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1" r:id="rId3"/>
    <p:sldMasterId id="2147483690" r:id="rId4"/>
    <p:sldMasterId id="2147483712" r:id="rId5"/>
  </p:sldMasterIdLst>
  <p:notesMasterIdLst>
    <p:notesMasterId r:id="rId14"/>
  </p:notesMasterIdLst>
  <p:sldIdLst>
    <p:sldId id="267" r:id="rId6"/>
    <p:sldId id="257" r:id="rId7"/>
    <p:sldId id="261" r:id="rId8"/>
    <p:sldId id="275" r:id="rId9"/>
    <p:sldId id="277" r:id="rId10"/>
    <p:sldId id="278" r:id="rId11"/>
    <p:sldId id="276" r:id="rId12"/>
    <p:sldId id="274"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insella, Denise" initials="KD" lastIdx="24" clrIdx="0">
    <p:extLst>
      <p:ext uri="{19B8F6BF-5375-455C-9EA6-DF929625EA0E}">
        <p15:presenceInfo xmlns:p15="http://schemas.microsoft.com/office/powerpoint/2012/main" userId="a5130327-f47f-4804-b3b3-c77194c213b0"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66" autoAdjust="0"/>
    <p:restoredTop sz="51061" autoAdjust="0"/>
  </p:normalViewPr>
  <p:slideViewPr>
    <p:cSldViewPr snapToGrid="0">
      <p:cViewPr varScale="1">
        <p:scale>
          <a:sx n="31" d="100"/>
          <a:sy n="31" d="100"/>
        </p:scale>
        <p:origin x="1768" y="16"/>
      </p:cViewPr>
      <p:guideLst/>
    </p:cSldViewPr>
  </p:slideViewPr>
  <p:notesTextViewPr>
    <p:cViewPr>
      <p:scale>
        <a:sx n="125" d="100"/>
        <a:sy n="125"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4B0FBF9-5264-4461-A326-CC617CF27CEC}" type="datetimeFigureOut">
              <a:rPr lang="en-GB" smtClean="0"/>
              <a:t>01/05/2018</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E27BC88-01CA-4DD6-922C-BE67AC7312D7}" type="slidenum">
              <a:rPr lang="en-GB" smtClean="0"/>
              <a:t>‹#›</a:t>
            </a:fld>
            <a:endParaRPr lang="en-GB"/>
          </a:p>
        </p:txBody>
      </p:sp>
    </p:spTree>
    <p:extLst>
      <p:ext uri="{BB962C8B-B14F-4D97-AF65-F5344CB8AC3E}">
        <p14:creationId xmlns:p14="http://schemas.microsoft.com/office/powerpoint/2010/main" val="33774273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1200" b="1" kern="1200" dirty="0">
                <a:solidFill>
                  <a:schemeClr val="tx1"/>
                </a:solidFill>
                <a:effectLst/>
                <a:latin typeface="+mn-lt"/>
                <a:ea typeface="+mn-ea"/>
                <a:cs typeface="+mn-cs"/>
              </a:rPr>
              <a:t>What do we mean by Innovation?</a:t>
            </a:r>
          </a:p>
          <a:p>
            <a:pPr lvl="0"/>
            <a:endParaRPr lang="en-GB" sz="1200" b="1" kern="1200" dirty="0">
              <a:solidFill>
                <a:schemeClr val="tx1"/>
              </a:solidFill>
              <a:effectLst/>
              <a:latin typeface="+mn-lt"/>
              <a:ea typeface="+mn-ea"/>
              <a:cs typeface="+mn-cs"/>
            </a:endParaRPr>
          </a:p>
          <a:p>
            <a:pPr lvl="0"/>
            <a:r>
              <a:rPr lang="en-GB" sz="1200" b="1" kern="1200" dirty="0">
                <a:solidFill>
                  <a:schemeClr val="tx1"/>
                </a:solidFill>
                <a:effectLst/>
                <a:latin typeface="+mn-lt"/>
                <a:ea typeface="+mn-ea"/>
                <a:cs typeface="+mn-cs"/>
              </a:rPr>
              <a:t>Different ways to approach innovation? Traditional versus New</a:t>
            </a:r>
            <a:endParaRPr lang="en-IE" sz="1200" kern="1200" dirty="0">
              <a:solidFill>
                <a:schemeClr val="tx1"/>
              </a:solidFill>
              <a:effectLst/>
              <a:latin typeface="+mn-lt"/>
              <a:ea typeface="+mn-ea"/>
              <a:cs typeface="+mn-cs"/>
            </a:endParaRPr>
          </a:p>
          <a:p>
            <a:pPr lvl="0"/>
            <a:endParaRPr lang="en-GB" sz="1200" b="1" kern="1200" dirty="0">
              <a:solidFill>
                <a:schemeClr val="tx1"/>
              </a:solidFill>
              <a:effectLst/>
              <a:latin typeface="+mn-lt"/>
              <a:ea typeface="+mn-ea"/>
              <a:cs typeface="+mn-cs"/>
            </a:endParaRPr>
          </a:p>
          <a:p>
            <a:pPr marL="0" lvl="0" indent="0">
              <a:buFont typeface="Arial" panose="020B0604020202020204" pitchFamily="34" charset="0"/>
              <a:buNone/>
            </a:pPr>
            <a:r>
              <a:rPr lang="en-GB" sz="1200" b="1" kern="1200" dirty="0">
                <a:solidFill>
                  <a:schemeClr val="tx1"/>
                </a:solidFill>
                <a:effectLst/>
                <a:latin typeface="+mn-lt"/>
                <a:ea typeface="+mn-ea"/>
                <a:cs typeface="+mn-cs"/>
              </a:rPr>
              <a:t>What insights have we gleaned? </a:t>
            </a:r>
          </a:p>
          <a:p>
            <a:pPr marL="171450" lvl="0" indent="-171450">
              <a:buFont typeface="Arial" panose="020B0604020202020204" pitchFamily="34" charset="0"/>
              <a:buChar char="•"/>
            </a:pPr>
            <a:r>
              <a:rPr lang="en-GB" sz="1200" b="1" kern="1200" dirty="0">
                <a:solidFill>
                  <a:schemeClr val="tx1"/>
                </a:solidFill>
                <a:effectLst/>
                <a:latin typeface="+mn-lt"/>
                <a:ea typeface="+mn-ea"/>
                <a:cs typeface="+mn-cs"/>
              </a:rPr>
              <a:t>Examples of different innovation journeys – Accenture, Save, Plan, YBI….</a:t>
            </a:r>
          </a:p>
          <a:p>
            <a:pPr marL="171450" lvl="0" indent="-171450">
              <a:buFont typeface="Arial" panose="020B0604020202020204" pitchFamily="34" charset="0"/>
              <a:buChar char="•"/>
            </a:pPr>
            <a:r>
              <a:rPr lang="en-GB" sz="1200" b="1" kern="1200" dirty="0">
                <a:solidFill>
                  <a:schemeClr val="tx1"/>
                </a:solidFill>
                <a:effectLst/>
                <a:latin typeface="+mn-lt"/>
                <a:ea typeface="+mn-ea"/>
                <a:cs typeface="+mn-cs"/>
              </a:rPr>
              <a:t>Cross cutting insights / closing remarks</a:t>
            </a:r>
            <a:br>
              <a:rPr lang="en-GB" sz="1200" b="1" kern="1200" dirty="0">
                <a:solidFill>
                  <a:schemeClr val="tx1"/>
                </a:solidFill>
                <a:effectLst/>
                <a:latin typeface="+mn-lt"/>
                <a:ea typeface="+mn-ea"/>
                <a:cs typeface="+mn-cs"/>
              </a:rPr>
            </a:br>
            <a:endParaRPr lang="en-IE" sz="1200" kern="1200" dirty="0">
              <a:solidFill>
                <a:schemeClr val="tx1"/>
              </a:solidFill>
              <a:effectLst/>
              <a:latin typeface="+mn-lt"/>
              <a:ea typeface="+mn-ea"/>
              <a:cs typeface="+mn-cs"/>
            </a:endParaRPr>
          </a:p>
        </p:txBody>
      </p:sp>
      <p:sp>
        <p:nvSpPr>
          <p:cNvPr id="4" name="Date Placeholder 3"/>
          <p:cNvSpPr>
            <a:spLocks noGrp="1"/>
          </p:cNvSpPr>
          <p:nvPr>
            <p:ph type="dt" idx="10"/>
          </p:nvPr>
        </p:nvSpPr>
        <p:spPr/>
        <p:txBody>
          <a:bodyPr/>
          <a:lstStyle/>
          <a:p>
            <a:pPr marL="0" marR="0" lvl="0" indent="0" algn="r" defTabSz="1087106" rtl="0" eaLnBrk="1" fontAlgn="auto" latinLnBrk="0" hangingPunct="1">
              <a:lnSpc>
                <a:spcPct val="100000"/>
              </a:lnSpc>
              <a:spcBef>
                <a:spcPts val="0"/>
              </a:spcBef>
              <a:spcAft>
                <a:spcPts val="0"/>
              </a:spcAft>
              <a:buClrTx/>
              <a:buSzTx/>
              <a:buFontTx/>
              <a:buNone/>
              <a:tabLst/>
              <a:defRPr/>
            </a:pPr>
            <a:fld id="{34169F44-2385-B74A-9E95-7C2F786C16B1}" type="datetime1">
              <a:rPr kumimoji="0" lang="en-US" sz="800" b="1" i="0" u="none" strike="noStrike" kern="1200" cap="none" spc="0" normalizeH="0" baseline="0" noProof="0" smtClean="0">
                <a:ln>
                  <a:noFill/>
                </a:ln>
                <a:solidFill>
                  <a:prstClr val="black"/>
                </a:solidFill>
                <a:effectLst/>
                <a:uLnTx/>
                <a:uFillTx/>
                <a:latin typeface="Arial Bold" charset="0"/>
                <a:ea typeface="+mn-ea"/>
                <a:cs typeface="+mn-cs"/>
              </a:rPr>
              <a:pPr marL="0" marR="0" lvl="0" indent="0" algn="r" defTabSz="1087106" rtl="0" eaLnBrk="1" fontAlgn="auto" latinLnBrk="0" hangingPunct="1">
                <a:lnSpc>
                  <a:spcPct val="100000"/>
                </a:lnSpc>
                <a:spcBef>
                  <a:spcPts val="0"/>
                </a:spcBef>
                <a:spcAft>
                  <a:spcPts val="0"/>
                </a:spcAft>
                <a:buClrTx/>
                <a:buSzTx/>
                <a:buFontTx/>
                <a:buNone/>
                <a:tabLst/>
                <a:defRPr/>
              </a:pPr>
              <a:t>5/1/2018</a:t>
            </a:fld>
            <a:endParaRPr kumimoji="0" lang="en-US" sz="800" b="1" i="0" u="none" strike="noStrike" kern="1200" cap="none" spc="0" normalizeH="0" baseline="0" noProof="0" dirty="0">
              <a:ln>
                <a:noFill/>
              </a:ln>
              <a:solidFill>
                <a:prstClr val="black"/>
              </a:solidFill>
              <a:effectLst/>
              <a:uLnTx/>
              <a:uFillTx/>
              <a:latin typeface="Arial Bold"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1087106" rtl="0" eaLnBrk="1" fontAlgn="auto" latinLnBrk="0" hangingPunct="1">
              <a:lnSpc>
                <a:spcPct val="100000"/>
              </a:lnSpc>
              <a:spcBef>
                <a:spcPts val="0"/>
              </a:spcBef>
              <a:spcAft>
                <a:spcPts val="0"/>
              </a:spcAft>
              <a:buClrTx/>
              <a:buSzTx/>
              <a:buFontTx/>
              <a:buNone/>
              <a:tabLst/>
              <a:defRPr/>
            </a:pPr>
            <a:fld id="{7E3CB35B-3B4E-4105-9585-896DC31E0C68}" type="slidenum">
              <a:rPr kumimoji="0" lang="en-US" sz="800" b="1" i="0" u="none" strike="noStrike" kern="1200" cap="none" spc="0" normalizeH="0" baseline="0" noProof="0" smtClean="0">
                <a:ln>
                  <a:noFill/>
                </a:ln>
                <a:solidFill>
                  <a:prstClr val="black"/>
                </a:solidFill>
                <a:effectLst/>
                <a:uLnTx/>
                <a:uFillTx/>
                <a:latin typeface="Arial Bold" charset="0"/>
                <a:ea typeface="+mn-ea"/>
                <a:cs typeface="+mn-cs"/>
              </a:rPr>
              <a:pPr marL="0" marR="0" lvl="0" indent="0" algn="r" defTabSz="1087106" rtl="0" eaLnBrk="1" fontAlgn="auto" latinLnBrk="0" hangingPunct="1">
                <a:lnSpc>
                  <a:spcPct val="100000"/>
                </a:lnSpc>
                <a:spcBef>
                  <a:spcPts val="0"/>
                </a:spcBef>
                <a:spcAft>
                  <a:spcPts val="0"/>
                </a:spcAft>
                <a:buClrTx/>
                <a:buSzTx/>
                <a:buFontTx/>
                <a:buNone/>
                <a:tabLst/>
                <a:defRPr/>
              </a:pPr>
              <a:t>1</a:t>
            </a:fld>
            <a:endParaRPr kumimoji="0" lang="en-US" sz="800" b="1" i="0" u="none" strike="noStrike" kern="1200" cap="none" spc="0" normalizeH="0" baseline="0" noProof="0" dirty="0">
              <a:ln>
                <a:noFill/>
              </a:ln>
              <a:solidFill>
                <a:prstClr val="black"/>
              </a:solidFill>
              <a:effectLst/>
              <a:uLnTx/>
              <a:uFillTx/>
              <a:latin typeface="Arial Bold" charset="0"/>
              <a:ea typeface="+mn-ea"/>
              <a:cs typeface="+mn-cs"/>
            </a:endParaRPr>
          </a:p>
        </p:txBody>
      </p:sp>
    </p:spTree>
    <p:extLst>
      <p:ext uri="{BB962C8B-B14F-4D97-AF65-F5344CB8AC3E}">
        <p14:creationId xmlns:p14="http://schemas.microsoft.com/office/powerpoint/2010/main" val="7992422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dirty="0"/>
              <a:t>Introduction:</a:t>
            </a:r>
          </a:p>
          <a:p>
            <a:r>
              <a:rPr lang="en-GB" sz="1200" dirty="0"/>
              <a:t>‘Innovation’ can mean different things to different people. We like to define it as “the delivery of new ideas that add value”. While showcasing new technologies, generating new ideas, and discussing future strategy are all important parts of moving forward, we see innovation as the broader journey a business goes on to enable it to continue to change over time, moving ideas through to implementation. </a:t>
            </a:r>
          </a:p>
          <a:p>
            <a:r>
              <a:rPr lang="en-GB" sz="1200" dirty="0"/>
              <a:t>From incremental improvements, to entirely new business models, we aim to help our clients create new value in their specific context and at a pace that works for them. </a:t>
            </a:r>
          </a:p>
          <a:p>
            <a:endParaRPr lang="en-GB"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dirty="0">
                <a:ln>
                  <a:noFill/>
                </a:ln>
                <a:solidFill>
                  <a:prstClr val="white"/>
                </a:solidFill>
                <a:effectLst/>
                <a:uLnTx/>
                <a:uFillTx/>
                <a:latin typeface="Graphik"/>
                <a:ea typeface="+mn-ea"/>
                <a:cs typeface="+mn-cs"/>
              </a:rPr>
              <a:t>Innovation is not about something separate to the way we do business with cli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dirty="0">
                <a:ln>
                  <a:noFill/>
                </a:ln>
                <a:solidFill>
                  <a:prstClr val="white"/>
                </a:solidFill>
                <a:effectLst/>
                <a:uLnTx/>
                <a:uFillTx/>
                <a:latin typeface="Graphik"/>
                <a:ea typeface="+mn-ea"/>
                <a:cs typeface="+mn-cs"/>
              </a:rPr>
              <a:t>It is about creating value – (as we are always focused on) but new value in new way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dirty="0">
                <a:ln>
                  <a:noFill/>
                </a:ln>
                <a:solidFill>
                  <a:prstClr val="white"/>
                </a:solidFill>
                <a:effectLst/>
                <a:uLnTx/>
                <a:uFillTx/>
                <a:latin typeface="Graphik"/>
                <a:ea typeface="+mn-ea"/>
                <a:cs typeface="+mn-cs"/>
              </a:rPr>
              <a:t>It is therefore INTEGRATED with our overall approach to driving value for clients</a:t>
            </a:r>
            <a:endParaRPr lang="en-GB" sz="1200" b="1" dirty="0"/>
          </a:p>
          <a:p>
            <a:endParaRPr lang="en-GB" sz="1200" b="1" dirty="0"/>
          </a:p>
          <a:p>
            <a:r>
              <a:rPr lang="en-GB" sz="1200" dirty="0"/>
              <a:t>The commercial world is changing. Consumer needs and preferences are evolving. </a:t>
            </a:r>
            <a:r>
              <a:rPr lang="en-GB" sz="1200" dirty="0" err="1"/>
              <a:t>Startups</a:t>
            </a:r>
            <a:r>
              <a:rPr lang="en-GB" sz="1200" dirty="0"/>
              <a:t> are disrupting established business models.</a:t>
            </a:r>
          </a:p>
          <a:p>
            <a:r>
              <a:rPr lang="en-GB" sz="1200" dirty="0"/>
              <a:t> </a:t>
            </a:r>
          </a:p>
          <a:p>
            <a:r>
              <a:rPr lang="en-GB" sz="1200" dirty="0"/>
              <a:t>We are rotating to become an innovation-led organisation. Let us explain how. </a:t>
            </a:r>
          </a:p>
          <a:p>
            <a:endParaRPr lang="en-GB" sz="1200" dirty="0"/>
          </a:p>
          <a:p>
            <a:r>
              <a:rPr lang="en-GB" sz="1200" dirty="0"/>
              <a:t>We are increasingly moving towards being innovation led, which for us means enabling clients to work with us end-end, from inspiration and ideation, through to prototyping, delivery and maintenance. </a:t>
            </a:r>
          </a:p>
          <a:p>
            <a:endParaRPr lang="en-GB" sz="1200" dirty="0"/>
          </a:p>
          <a:p>
            <a:endParaRPr lang="en-GB" sz="1200" dirty="0"/>
          </a:p>
          <a:p>
            <a:endParaRPr lang="en-GB" sz="1200" dirty="0"/>
          </a:p>
          <a:p>
            <a:endParaRPr lang="en-GB" dirty="0"/>
          </a:p>
        </p:txBody>
      </p:sp>
      <p:sp>
        <p:nvSpPr>
          <p:cNvPr id="4" name="Slide Number Placeholder 3"/>
          <p:cNvSpPr>
            <a:spLocks noGrp="1"/>
          </p:cNvSpPr>
          <p:nvPr>
            <p:ph type="sldNum" sz="quarter" idx="10"/>
          </p:nvPr>
        </p:nvSpPr>
        <p:spPr/>
        <p:txBody>
          <a:bodyPr/>
          <a:lstStyle/>
          <a:p>
            <a:fld id="{CE27BC88-01CA-4DD6-922C-BE67AC7312D7}" type="slidenum">
              <a:rPr lang="en-GB" smtClean="0"/>
              <a:t>2</a:t>
            </a:fld>
            <a:endParaRPr lang="en-GB"/>
          </a:p>
        </p:txBody>
      </p:sp>
    </p:spTree>
    <p:extLst>
      <p:ext uri="{BB962C8B-B14F-4D97-AF65-F5344CB8AC3E}">
        <p14:creationId xmlns:p14="http://schemas.microsoft.com/office/powerpoint/2010/main" val="4500346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s we increasingly bring new value to clients, we have developed a strong understanding of what is required for meaningful change to occur.</a:t>
            </a:r>
          </a:p>
          <a:p>
            <a:endParaRPr lang="en-GB" dirty="0"/>
          </a:p>
          <a:p>
            <a:endParaRPr lang="en-GB" dirty="0"/>
          </a:p>
        </p:txBody>
      </p:sp>
      <p:sp>
        <p:nvSpPr>
          <p:cNvPr id="4" name="Slide Number Placeholder 3"/>
          <p:cNvSpPr>
            <a:spLocks noGrp="1"/>
          </p:cNvSpPr>
          <p:nvPr>
            <p:ph type="sldNum" sz="quarter" idx="10"/>
          </p:nvPr>
        </p:nvSpPr>
        <p:spPr/>
        <p:txBody>
          <a:bodyPr/>
          <a:lstStyle/>
          <a:p>
            <a:fld id="{CE27BC88-01CA-4DD6-922C-BE67AC7312D7}" type="slidenum">
              <a:rPr lang="en-GB" smtClean="0"/>
              <a:t>3</a:t>
            </a:fld>
            <a:endParaRPr lang="en-GB"/>
          </a:p>
        </p:txBody>
      </p:sp>
    </p:spTree>
    <p:extLst>
      <p:ext uri="{BB962C8B-B14F-4D97-AF65-F5344CB8AC3E}">
        <p14:creationId xmlns:p14="http://schemas.microsoft.com/office/powerpoint/2010/main" val="41591307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epth of the history – previous slides talk about history - I myself had worked in region 2 </a:t>
            </a:r>
            <a:r>
              <a:rPr lang="en-GB" dirty="0" err="1"/>
              <a:t>yrs</a:t>
            </a:r>
            <a:r>
              <a:rPr lang="en-GB" dirty="0"/>
              <a:t> ago </a:t>
            </a:r>
            <a:r>
              <a:rPr lang="en-GB" dirty="0">
                <a:sym typeface="Wingdings" panose="05000000000000000000" pitchFamily="2" charset="2"/>
              </a:rPr>
              <a:t> Innovation workshop in San Jose gave opportunity to explore cool innovative things – but feeling was “this is great, now how can we apply it and create something tangible?”  Scope clarification </a:t>
            </a:r>
            <a:endParaRPr lang="en-GB" dirty="0"/>
          </a:p>
        </p:txBody>
      </p:sp>
      <p:sp>
        <p:nvSpPr>
          <p:cNvPr id="4" name="Slide Number Placeholder 3"/>
          <p:cNvSpPr>
            <a:spLocks noGrp="1"/>
          </p:cNvSpPr>
          <p:nvPr>
            <p:ph type="sldNum" sz="quarter" idx="10"/>
          </p:nvPr>
        </p:nvSpPr>
        <p:spPr/>
        <p:txBody>
          <a:bodyPr/>
          <a:lstStyle/>
          <a:p>
            <a:pPr marL="0" marR="0" lvl="0" indent="0" algn="r" defTabSz="1087106" rtl="0" eaLnBrk="1" fontAlgn="auto" latinLnBrk="0" hangingPunct="1">
              <a:lnSpc>
                <a:spcPct val="100000"/>
              </a:lnSpc>
              <a:spcBef>
                <a:spcPts val="0"/>
              </a:spcBef>
              <a:spcAft>
                <a:spcPts val="0"/>
              </a:spcAft>
              <a:buClrTx/>
              <a:buSzTx/>
              <a:buFontTx/>
              <a:buNone/>
              <a:tabLst/>
              <a:defRPr/>
            </a:pPr>
            <a:fld id="{51CBBF28-E2E0-44FA-9677-CBB7802ED0C6}"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87106" rtl="0" eaLnBrk="1" fontAlgn="auto" latinLnBrk="0" hangingPunct="1">
                <a:lnSpc>
                  <a:spcPct val="100000"/>
                </a:lnSpc>
                <a:spcBef>
                  <a:spcPts val="0"/>
                </a:spcBef>
                <a:spcAft>
                  <a:spcPts val="0"/>
                </a:spcAft>
                <a:buClrTx/>
                <a:buSzTx/>
                <a:buFontTx/>
                <a:buNone/>
                <a:tabLst/>
                <a:defRPr/>
              </a:pPr>
              <a:t>5</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26966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29251592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15.png"/><Relationship Id="rId18" Type="http://schemas.openxmlformats.org/officeDocument/2006/relationships/image" Target="../media/image18.emf"/><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7.png"/><Relationship Id="rId17" Type="http://schemas.openxmlformats.org/officeDocument/2006/relationships/image" Target="../media/image17.png"/><Relationship Id="rId2" Type="http://schemas.openxmlformats.org/officeDocument/2006/relationships/image" Target="../media/image19.png"/><Relationship Id="rId16" Type="http://schemas.openxmlformats.org/officeDocument/2006/relationships/image" Target="../media/image29.png"/><Relationship Id="rId20" Type="http://schemas.openxmlformats.org/officeDocument/2006/relationships/image" Target="../media/image30.emf"/><Relationship Id="rId1" Type="http://schemas.openxmlformats.org/officeDocument/2006/relationships/slideMaster" Target="../slideMasters/slideMaster3.xml"/><Relationship Id="rId6" Type="http://schemas.openxmlformats.org/officeDocument/2006/relationships/image" Target="../media/image23.png"/><Relationship Id="rId11" Type="http://schemas.openxmlformats.org/officeDocument/2006/relationships/image" Target="../media/image14.png"/><Relationship Id="rId5" Type="http://schemas.openxmlformats.org/officeDocument/2006/relationships/image" Target="../media/image22.png"/><Relationship Id="rId15" Type="http://schemas.openxmlformats.org/officeDocument/2006/relationships/image" Target="../media/image16.png"/><Relationship Id="rId10" Type="http://schemas.openxmlformats.org/officeDocument/2006/relationships/image" Target="../media/image26.png"/><Relationship Id="rId19" Type="http://schemas.openxmlformats.org/officeDocument/2006/relationships/image" Target="../media/image4.emf"/><Relationship Id="rId4" Type="http://schemas.openxmlformats.org/officeDocument/2006/relationships/image" Target="../media/image21.png"/><Relationship Id="rId9" Type="http://schemas.openxmlformats.org/officeDocument/2006/relationships/image" Target="../media/image13.png"/><Relationship Id="rId14" Type="http://schemas.openxmlformats.org/officeDocument/2006/relationships/image" Target="../media/image28.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28.png"/><Relationship Id="rId18" Type="http://schemas.openxmlformats.org/officeDocument/2006/relationships/image" Target="../media/image4.emf"/><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15.png"/><Relationship Id="rId17" Type="http://schemas.openxmlformats.org/officeDocument/2006/relationships/image" Target="../media/image18.emf"/><Relationship Id="rId2" Type="http://schemas.openxmlformats.org/officeDocument/2006/relationships/image" Target="../media/image20.png"/><Relationship Id="rId16" Type="http://schemas.openxmlformats.org/officeDocument/2006/relationships/image" Target="../media/image17.png"/><Relationship Id="rId1" Type="http://schemas.openxmlformats.org/officeDocument/2006/relationships/slideMaster" Target="../slideMasters/slideMaster3.xml"/><Relationship Id="rId6" Type="http://schemas.openxmlformats.org/officeDocument/2006/relationships/image" Target="../media/image24.png"/><Relationship Id="rId11" Type="http://schemas.openxmlformats.org/officeDocument/2006/relationships/image" Target="../media/image27.png"/><Relationship Id="rId5" Type="http://schemas.openxmlformats.org/officeDocument/2006/relationships/image" Target="../media/image23.png"/><Relationship Id="rId15" Type="http://schemas.openxmlformats.org/officeDocument/2006/relationships/image" Target="../media/image29.png"/><Relationship Id="rId10" Type="http://schemas.openxmlformats.org/officeDocument/2006/relationships/image" Target="../media/image14.png"/><Relationship Id="rId19" Type="http://schemas.openxmlformats.org/officeDocument/2006/relationships/image" Target="../media/image30.emf"/><Relationship Id="rId4" Type="http://schemas.openxmlformats.org/officeDocument/2006/relationships/image" Target="../media/image22.png"/><Relationship Id="rId9" Type="http://schemas.openxmlformats.org/officeDocument/2006/relationships/image" Target="../media/image26.png"/><Relationship Id="rId14" Type="http://schemas.openxmlformats.org/officeDocument/2006/relationships/image" Target="../media/image16.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28.png"/><Relationship Id="rId18" Type="http://schemas.openxmlformats.org/officeDocument/2006/relationships/image" Target="../media/image30.emf"/><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15.png"/><Relationship Id="rId17" Type="http://schemas.openxmlformats.org/officeDocument/2006/relationships/image" Target="../media/image18.emf"/><Relationship Id="rId2" Type="http://schemas.openxmlformats.org/officeDocument/2006/relationships/image" Target="../media/image20.png"/><Relationship Id="rId16" Type="http://schemas.openxmlformats.org/officeDocument/2006/relationships/image" Target="../media/image17.png"/><Relationship Id="rId1" Type="http://schemas.openxmlformats.org/officeDocument/2006/relationships/slideMaster" Target="../slideMasters/slideMaster3.xml"/><Relationship Id="rId6" Type="http://schemas.openxmlformats.org/officeDocument/2006/relationships/image" Target="../media/image24.png"/><Relationship Id="rId11" Type="http://schemas.openxmlformats.org/officeDocument/2006/relationships/image" Target="../media/image27.png"/><Relationship Id="rId5" Type="http://schemas.openxmlformats.org/officeDocument/2006/relationships/image" Target="../media/image23.png"/><Relationship Id="rId15" Type="http://schemas.openxmlformats.org/officeDocument/2006/relationships/image" Target="../media/image29.png"/><Relationship Id="rId10" Type="http://schemas.openxmlformats.org/officeDocument/2006/relationships/image" Target="../media/image14.png"/><Relationship Id="rId19" Type="http://schemas.openxmlformats.org/officeDocument/2006/relationships/image" Target="../media/image4.emf"/><Relationship Id="rId4" Type="http://schemas.openxmlformats.org/officeDocument/2006/relationships/image" Target="../media/image22.png"/><Relationship Id="rId9" Type="http://schemas.openxmlformats.org/officeDocument/2006/relationships/image" Target="../media/image26.png"/><Relationship Id="rId14" Type="http://schemas.openxmlformats.org/officeDocument/2006/relationships/image" Target="../media/image16.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28.pn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15.png"/><Relationship Id="rId17" Type="http://schemas.openxmlformats.org/officeDocument/2006/relationships/image" Target="../media/image18.emf"/><Relationship Id="rId2" Type="http://schemas.openxmlformats.org/officeDocument/2006/relationships/image" Target="../media/image20.png"/><Relationship Id="rId16" Type="http://schemas.openxmlformats.org/officeDocument/2006/relationships/image" Target="../media/image17.png"/><Relationship Id="rId1" Type="http://schemas.openxmlformats.org/officeDocument/2006/relationships/slideMaster" Target="../slideMasters/slideMaster3.xml"/><Relationship Id="rId6" Type="http://schemas.openxmlformats.org/officeDocument/2006/relationships/image" Target="../media/image24.png"/><Relationship Id="rId11" Type="http://schemas.openxmlformats.org/officeDocument/2006/relationships/image" Target="../media/image27.png"/><Relationship Id="rId5" Type="http://schemas.openxmlformats.org/officeDocument/2006/relationships/image" Target="../media/image23.png"/><Relationship Id="rId15" Type="http://schemas.openxmlformats.org/officeDocument/2006/relationships/image" Target="../media/image29.pn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26.png"/><Relationship Id="rId14" Type="http://schemas.openxmlformats.org/officeDocument/2006/relationships/image" Target="../media/image16.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28.pn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15.png"/><Relationship Id="rId17" Type="http://schemas.openxmlformats.org/officeDocument/2006/relationships/image" Target="../media/image18.emf"/><Relationship Id="rId2" Type="http://schemas.openxmlformats.org/officeDocument/2006/relationships/image" Target="../media/image20.png"/><Relationship Id="rId16" Type="http://schemas.openxmlformats.org/officeDocument/2006/relationships/image" Target="../media/image17.png"/><Relationship Id="rId1" Type="http://schemas.openxmlformats.org/officeDocument/2006/relationships/slideMaster" Target="../slideMasters/slideMaster3.xml"/><Relationship Id="rId6" Type="http://schemas.openxmlformats.org/officeDocument/2006/relationships/image" Target="../media/image24.png"/><Relationship Id="rId11" Type="http://schemas.openxmlformats.org/officeDocument/2006/relationships/image" Target="../media/image27.png"/><Relationship Id="rId5" Type="http://schemas.openxmlformats.org/officeDocument/2006/relationships/image" Target="../media/image23.png"/><Relationship Id="rId15" Type="http://schemas.openxmlformats.org/officeDocument/2006/relationships/image" Target="../media/image29.pn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26.png"/><Relationship Id="rId14" Type="http://schemas.openxmlformats.org/officeDocument/2006/relationships/image" Target="../media/image16.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9.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27.png"/><Relationship Id="rId2" Type="http://schemas.openxmlformats.org/officeDocument/2006/relationships/image" Target="../media/image31.png"/><Relationship Id="rId16" Type="http://schemas.openxmlformats.org/officeDocument/2006/relationships/image" Target="../media/image29.png"/><Relationship Id="rId1" Type="http://schemas.openxmlformats.org/officeDocument/2006/relationships/slideMaster" Target="../slideMasters/slideMaster3.xml"/><Relationship Id="rId6" Type="http://schemas.openxmlformats.org/officeDocument/2006/relationships/image" Target="../media/image35.png"/><Relationship Id="rId11" Type="http://schemas.openxmlformats.org/officeDocument/2006/relationships/image" Target="../media/image38.png"/><Relationship Id="rId5" Type="http://schemas.openxmlformats.org/officeDocument/2006/relationships/image" Target="../media/image34.png"/><Relationship Id="rId15" Type="http://schemas.openxmlformats.org/officeDocument/2006/relationships/image" Target="../media/image40.png"/><Relationship Id="rId10" Type="http://schemas.openxmlformats.org/officeDocument/2006/relationships/image" Target="../media/image26.png"/><Relationship Id="rId4" Type="http://schemas.openxmlformats.org/officeDocument/2006/relationships/image" Target="../media/image33.png"/><Relationship Id="rId9" Type="http://schemas.openxmlformats.org/officeDocument/2006/relationships/image" Target="../media/image37.png"/><Relationship Id="rId14" Type="http://schemas.openxmlformats.org/officeDocument/2006/relationships/image" Target="../media/image28.pn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15.png"/><Relationship Id="rId18" Type="http://schemas.openxmlformats.org/officeDocument/2006/relationships/image" Target="../media/image18.emf"/><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7.png"/><Relationship Id="rId17" Type="http://schemas.openxmlformats.org/officeDocument/2006/relationships/image" Target="../media/image17.png"/><Relationship Id="rId2" Type="http://schemas.openxmlformats.org/officeDocument/2006/relationships/image" Target="../media/image19.png"/><Relationship Id="rId16" Type="http://schemas.openxmlformats.org/officeDocument/2006/relationships/image" Target="../media/image29.png"/><Relationship Id="rId20" Type="http://schemas.openxmlformats.org/officeDocument/2006/relationships/image" Target="../media/image30.emf"/><Relationship Id="rId1" Type="http://schemas.openxmlformats.org/officeDocument/2006/relationships/slideMaster" Target="../slideMasters/slideMaster4.xml"/><Relationship Id="rId6" Type="http://schemas.openxmlformats.org/officeDocument/2006/relationships/image" Target="../media/image23.png"/><Relationship Id="rId11" Type="http://schemas.openxmlformats.org/officeDocument/2006/relationships/image" Target="../media/image14.png"/><Relationship Id="rId5" Type="http://schemas.openxmlformats.org/officeDocument/2006/relationships/image" Target="../media/image22.png"/><Relationship Id="rId15" Type="http://schemas.openxmlformats.org/officeDocument/2006/relationships/image" Target="../media/image16.png"/><Relationship Id="rId10" Type="http://schemas.openxmlformats.org/officeDocument/2006/relationships/image" Target="../media/image26.png"/><Relationship Id="rId19" Type="http://schemas.openxmlformats.org/officeDocument/2006/relationships/image" Target="../media/image4.emf"/><Relationship Id="rId4" Type="http://schemas.openxmlformats.org/officeDocument/2006/relationships/image" Target="../media/image21.png"/><Relationship Id="rId9" Type="http://schemas.openxmlformats.org/officeDocument/2006/relationships/image" Target="../media/image13.png"/><Relationship Id="rId14" Type="http://schemas.openxmlformats.org/officeDocument/2006/relationships/image" Target="../media/image28.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28.png"/><Relationship Id="rId18" Type="http://schemas.openxmlformats.org/officeDocument/2006/relationships/image" Target="../media/image4.emf"/><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15.png"/><Relationship Id="rId17" Type="http://schemas.openxmlformats.org/officeDocument/2006/relationships/image" Target="../media/image18.emf"/><Relationship Id="rId2" Type="http://schemas.openxmlformats.org/officeDocument/2006/relationships/image" Target="../media/image20.png"/><Relationship Id="rId16" Type="http://schemas.openxmlformats.org/officeDocument/2006/relationships/image" Target="../media/image17.png"/><Relationship Id="rId1" Type="http://schemas.openxmlformats.org/officeDocument/2006/relationships/slideMaster" Target="../slideMasters/slideMaster4.xml"/><Relationship Id="rId6" Type="http://schemas.openxmlformats.org/officeDocument/2006/relationships/image" Target="../media/image24.png"/><Relationship Id="rId11" Type="http://schemas.openxmlformats.org/officeDocument/2006/relationships/image" Target="../media/image27.png"/><Relationship Id="rId5" Type="http://schemas.openxmlformats.org/officeDocument/2006/relationships/image" Target="../media/image23.png"/><Relationship Id="rId15" Type="http://schemas.openxmlformats.org/officeDocument/2006/relationships/image" Target="../media/image29.png"/><Relationship Id="rId10" Type="http://schemas.openxmlformats.org/officeDocument/2006/relationships/image" Target="../media/image14.png"/><Relationship Id="rId19" Type="http://schemas.openxmlformats.org/officeDocument/2006/relationships/image" Target="../media/image30.emf"/><Relationship Id="rId4" Type="http://schemas.openxmlformats.org/officeDocument/2006/relationships/image" Target="../media/image22.png"/><Relationship Id="rId9" Type="http://schemas.openxmlformats.org/officeDocument/2006/relationships/image" Target="../media/image26.png"/><Relationship Id="rId14" Type="http://schemas.openxmlformats.org/officeDocument/2006/relationships/image" Target="../media/image16.pn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28.png"/><Relationship Id="rId18" Type="http://schemas.openxmlformats.org/officeDocument/2006/relationships/image" Target="../media/image30.emf"/><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15.png"/><Relationship Id="rId17" Type="http://schemas.openxmlformats.org/officeDocument/2006/relationships/image" Target="../media/image18.emf"/><Relationship Id="rId2" Type="http://schemas.openxmlformats.org/officeDocument/2006/relationships/image" Target="../media/image20.png"/><Relationship Id="rId16" Type="http://schemas.openxmlformats.org/officeDocument/2006/relationships/image" Target="../media/image17.png"/><Relationship Id="rId1" Type="http://schemas.openxmlformats.org/officeDocument/2006/relationships/slideMaster" Target="../slideMasters/slideMaster4.xml"/><Relationship Id="rId6" Type="http://schemas.openxmlformats.org/officeDocument/2006/relationships/image" Target="../media/image24.png"/><Relationship Id="rId11" Type="http://schemas.openxmlformats.org/officeDocument/2006/relationships/image" Target="../media/image27.png"/><Relationship Id="rId5" Type="http://schemas.openxmlformats.org/officeDocument/2006/relationships/image" Target="../media/image23.png"/><Relationship Id="rId15" Type="http://schemas.openxmlformats.org/officeDocument/2006/relationships/image" Target="../media/image29.png"/><Relationship Id="rId10" Type="http://schemas.openxmlformats.org/officeDocument/2006/relationships/image" Target="../media/image14.png"/><Relationship Id="rId19" Type="http://schemas.openxmlformats.org/officeDocument/2006/relationships/image" Target="../media/image4.emf"/><Relationship Id="rId4" Type="http://schemas.openxmlformats.org/officeDocument/2006/relationships/image" Target="../media/image22.png"/><Relationship Id="rId9" Type="http://schemas.openxmlformats.org/officeDocument/2006/relationships/image" Target="../media/image26.png"/><Relationship Id="rId14" Type="http://schemas.openxmlformats.org/officeDocument/2006/relationships/image" Target="../media/image16.pn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28.pn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15.png"/><Relationship Id="rId17" Type="http://schemas.openxmlformats.org/officeDocument/2006/relationships/image" Target="../media/image18.emf"/><Relationship Id="rId2" Type="http://schemas.openxmlformats.org/officeDocument/2006/relationships/image" Target="../media/image20.png"/><Relationship Id="rId16" Type="http://schemas.openxmlformats.org/officeDocument/2006/relationships/image" Target="../media/image17.png"/><Relationship Id="rId1" Type="http://schemas.openxmlformats.org/officeDocument/2006/relationships/slideMaster" Target="../slideMasters/slideMaster4.xml"/><Relationship Id="rId6" Type="http://schemas.openxmlformats.org/officeDocument/2006/relationships/image" Target="../media/image24.png"/><Relationship Id="rId11" Type="http://schemas.openxmlformats.org/officeDocument/2006/relationships/image" Target="../media/image27.png"/><Relationship Id="rId5" Type="http://schemas.openxmlformats.org/officeDocument/2006/relationships/image" Target="../media/image23.png"/><Relationship Id="rId15" Type="http://schemas.openxmlformats.org/officeDocument/2006/relationships/image" Target="../media/image29.pn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26.png"/><Relationship Id="rId14" Type="http://schemas.openxmlformats.org/officeDocument/2006/relationships/image" Target="../media/image16.pn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28.pn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15.png"/><Relationship Id="rId17" Type="http://schemas.openxmlformats.org/officeDocument/2006/relationships/image" Target="../media/image18.emf"/><Relationship Id="rId2" Type="http://schemas.openxmlformats.org/officeDocument/2006/relationships/image" Target="../media/image20.png"/><Relationship Id="rId16" Type="http://schemas.openxmlformats.org/officeDocument/2006/relationships/image" Target="../media/image17.png"/><Relationship Id="rId1" Type="http://schemas.openxmlformats.org/officeDocument/2006/relationships/slideMaster" Target="../slideMasters/slideMaster4.xml"/><Relationship Id="rId6" Type="http://schemas.openxmlformats.org/officeDocument/2006/relationships/image" Target="../media/image24.png"/><Relationship Id="rId11" Type="http://schemas.openxmlformats.org/officeDocument/2006/relationships/image" Target="../media/image27.png"/><Relationship Id="rId5" Type="http://schemas.openxmlformats.org/officeDocument/2006/relationships/image" Target="../media/image23.png"/><Relationship Id="rId15" Type="http://schemas.openxmlformats.org/officeDocument/2006/relationships/image" Target="../media/image29.pn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26.png"/><Relationship Id="rId14" Type="http://schemas.openxmlformats.org/officeDocument/2006/relationships/image" Target="../media/image16.png"/></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28.pn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15.png"/><Relationship Id="rId17" Type="http://schemas.openxmlformats.org/officeDocument/2006/relationships/image" Target="../media/image18.emf"/><Relationship Id="rId2" Type="http://schemas.openxmlformats.org/officeDocument/2006/relationships/image" Target="../media/image20.png"/><Relationship Id="rId16" Type="http://schemas.openxmlformats.org/officeDocument/2006/relationships/image" Target="../media/image17.png"/><Relationship Id="rId1" Type="http://schemas.openxmlformats.org/officeDocument/2006/relationships/slideMaster" Target="../slideMasters/slideMaster4.xml"/><Relationship Id="rId6" Type="http://schemas.openxmlformats.org/officeDocument/2006/relationships/image" Target="../media/image24.png"/><Relationship Id="rId11" Type="http://schemas.openxmlformats.org/officeDocument/2006/relationships/image" Target="../media/image27.png"/><Relationship Id="rId5" Type="http://schemas.openxmlformats.org/officeDocument/2006/relationships/image" Target="../media/image23.png"/><Relationship Id="rId15" Type="http://schemas.openxmlformats.org/officeDocument/2006/relationships/image" Target="../media/image29.png"/><Relationship Id="rId10" Type="http://schemas.openxmlformats.org/officeDocument/2006/relationships/image" Target="../media/image14.png"/><Relationship Id="rId4" Type="http://schemas.openxmlformats.org/officeDocument/2006/relationships/image" Target="../media/image22.png"/><Relationship Id="rId9" Type="http://schemas.openxmlformats.org/officeDocument/2006/relationships/image" Target="../media/image26.png"/><Relationship Id="rId14" Type="http://schemas.openxmlformats.org/officeDocument/2006/relationships/image" Target="../media/image16.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9.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27.png"/><Relationship Id="rId2" Type="http://schemas.openxmlformats.org/officeDocument/2006/relationships/image" Target="../media/image31.png"/><Relationship Id="rId16" Type="http://schemas.openxmlformats.org/officeDocument/2006/relationships/image" Target="../media/image29.png"/><Relationship Id="rId1" Type="http://schemas.openxmlformats.org/officeDocument/2006/relationships/slideMaster" Target="../slideMasters/slideMaster4.xml"/><Relationship Id="rId6" Type="http://schemas.openxmlformats.org/officeDocument/2006/relationships/image" Target="../media/image35.png"/><Relationship Id="rId11" Type="http://schemas.openxmlformats.org/officeDocument/2006/relationships/image" Target="../media/image38.png"/><Relationship Id="rId5" Type="http://schemas.openxmlformats.org/officeDocument/2006/relationships/image" Target="../media/image34.png"/><Relationship Id="rId15" Type="http://schemas.openxmlformats.org/officeDocument/2006/relationships/image" Target="../media/image40.png"/><Relationship Id="rId10" Type="http://schemas.openxmlformats.org/officeDocument/2006/relationships/image" Target="../media/image26.png"/><Relationship Id="rId4" Type="http://schemas.openxmlformats.org/officeDocument/2006/relationships/image" Target="../media/image33.png"/><Relationship Id="rId9" Type="http://schemas.openxmlformats.org/officeDocument/2006/relationships/image" Target="../media/image37.png"/><Relationship Id="rId14" Type="http://schemas.openxmlformats.org/officeDocument/2006/relationships/image" Target="../media/image28.png"/></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DD37F-3F6E-470A-A384-AC3344C4C86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00D2E0C7-6706-46D8-AEDB-744748F8C4A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A1F5ECF0-D42A-4FFB-AB95-C8342F03A1F1}"/>
              </a:ext>
            </a:extLst>
          </p:cNvPr>
          <p:cNvSpPr>
            <a:spLocks noGrp="1"/>
          </p:cNvSpPr>
          <p:nvPr>
            <p:ph type="dt" sz="half" idx="10"/>
          </p:nvPr>
        </p:nvSpPr>
        <p:spPr/>
        <p:txBody>
          <a:bodyPr/>
          <a:lstStyle/>
          <a:p>
            <a:fld id="{58A9AD06-EB04-40D2-9EFF-00449A73BF5C}" type="datetimeFigureOut">
              <a:rPr lang="en-GB" smtClean="0"/>
              <a:t>01/05/2018</a:t>
            </a:fld>
            <a:endParaRPr lang="en-GB"/>
          </a:p>
        </p:txBody>
      </p:sp>
      <p:sp>
        <p:nvSpPr>
          <p:cNvPr id="5" name="Footer Placeholder 4">
            <a:extLst>
              <a:ext uri="{FF2B5EF4-FFF2-40B4-BE49-F238E27FC236}">
                <a16:creationId xmlns:a16="http://schemas.microsoft.com/office/drawing/2014/main" id="{0D3C4E98-45D2-46C0-B03A-55BE9E83661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AF12A14-801B-41C8-91DB-81EB7A40079C}"/>
              </a:ext>
            </a:extLst>
          </p:cNvPr>
          <p:cNvSpPr>
            <a:spLocks noGrp="1"/>
          </p:cNvSpPr>
          <p:nvPr>
            <p:ph type="sldNum" sz="quarter" idx="12"/>
          </p:nvPr>
        </p:nvSpPr>
        <p:spPr/>
        <p:txBody>
          <a:bodyPr/>
          <a:lstStyle/>
          <a:p>
            <a:fld id="{B2DCE237-B187-49D9-B1C4-0C8AA0CDE574}" type="slidenum">
              <a:rPr lang="en-GB" smtClean="0"/>
              <a:t>‹#›</a:t>
            </a:fld>
            <a:endParaRPr lang="en-GB"/>
          </a:p>
        </p:txBody>
      </p:sp>
    </p:spTree>
    <p:extLst>
      <p:ext uri="{BB962C8B-B14F-4D97-AF65-F5344CB8AC3E}">
        <p14:creationId xmlns:p14="http://schemas.microsoft.com/office/powerpoint/2010/main" val="13537109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0B59F-717A-4172-AB4E-370F7DEDA49C}"/>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839DF72-CB75-4B2E-8CC5-63982DB034B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E83D419-FEB1-459E-BA89-8F78761B79B1}"/>
              </a:ext>
            </a:extLst>
          </p:cNvPr>
          <p:cNvSpPr>
            <a:spLocks noGrp="1"/>
          </p:cNvSpPr>
          <p:nvPr>
            <p:ph type="dt" sz="half" idx="10"/>
          </p:nvPr>
        </p:nvSpPr>
        <p:spPr/>
        <p:txBody>
          <a:bodyPr/>
          <a:lstStyle/>
          <a:p>
            <a:fld id="{58A9AD06-EB04-40D2-9EFF-00449A73BF5C}" type="datetimeFigureOut">
              <a:rPr lang="en-GB" smtClean="0"/>
              <a:t>01/05/2018</a:t>
            </a:fld>
            <a:endParaRPr lang="en-GB"/>
          </a:p>
        </p:txBody>
      </p:sp>
      <p:sp>
        <p:nvSpPr>
          <p:cNvPr id="5" name="Footer Placeholder 4">
            <a:extLst>
              <a:ext uri="{FF2B5EF4-FFF2-40B4-BE49-F238E27FC236}">
                <a16:creationId xmlns:a16="http://schemas.microsoft.com/office/drawing/2014/main" id="{2492ACAB-1CB9-433D-97D4-8A027200124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2807F47-7636-4731-A85A-B8E1C55B2049}"/>
              </a:ext>
            </a:extLst>
          </p:cNvPr>
          <p:cNvSpPr>
            <a:spLocks noGrp="1"/>
          </p:cNvSpPr>
          <p:nvPr>
            <p:ph type="sldNum" sz="quarter" idx="12"/>
          </p:nvPr>
        </p:nvSpPr>
        <p:spPr/>
        <p:txBody>
          <a:bodyPr/>
          <a:lstStyle/>
          <a:p>
            <a:fld id="{B2DCE237-B187-49D9-B1C4-0C8AA0CDE574}" type="slidenum">
              <a:rPr lang="en-GB" smtClean="0"/>
              <a:t>‹#›</a:t>
            </a:fld>
            <a:endParaRPr lang="en-GB"/>
          </a:p>
        </p:txBody>
      </p:sp>
    </p:spTree>
    <p:extLst>
      <p:ext uri="{BB962C8B-B14F-4D97-AF65-F5344CB8AC3E}">
        <p14:creationId xmlns:p14="http://schemas.microsoft.com/office/powerpoint/2010/main" val="4127651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DAD92CE-4C4D-42CC-B18A-6AF74AD1492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4A86BEF-A46A-4502-A241-29BA99C8FBF7}"/>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2F3F43D-70B3-4981-BA81-324761AD6319}"/>
              </a:ext>
            </a:extLst>
          </p:cNvPr>
          <p:cNvSpPr>
            <a:spLocks noGrp="1"/>
          </p:cNvSpPr>
          <p:nvPr>
            <p:ph type="dt" sz="half" idx="10"/>
          </p:nvPr>
        </p:nvSpPr>
        <p:spPr/>
        <p:txBody>
          <a:bodyPr/>
          <a:lstStyle/>
          <a:p>
            <a:fld id="{58A9AD06-EB04-40D2-9EFF-00449A73BF5C}" type="datetimeFigureOut">
              <a:rPr lang="en-GB" smtClean="0"/>
              <a:t>01/05/2018</a:t>
            </a:fld>
            <a:endParaRPr lang="en-GB"/>
          </a:p>
        </p:txBody>
      </p:sp>
      <p:sp>
        <p:nvSpPr>
          <p:cNvPr id="5" name="Footer Placeholder 4">
            <a:extLst>
              <a:ext uri="{FF2B5EF4-FFF2-40B4-BE49-F238E27FC236}">
                <a16:creationId xmlns:a16="http://schemas.microsoft.com/office/drawing/2014/main" id="{0E5CE8AE-B38C-44A9-A11D-CE581FCEE97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2F13EE8-E06C-490F-A0F7-1FF41BDE994F}"/>
              </a:ext>
            </a:extLst>
          </p:cNvPr>
          <p:cNvSpPr>
            <a:spLocks noGrp="1"/>
          </p:cNvSpPr>
          <p:nvPr>
            <p:ph type="sldNum" sz="quarter" idx="12"/>
          </p:nvPr>
        </p:nvSpPr>
        <p:spPr/>
        <p:txBody>
          <a:bodyPr/>
          <a:lstStyle/>
          <a:p>
            <a:fld id="{B2DCE237-B187-49D9-B1C4-0C8AA0CDE574}" type="slidenum">
              <a:rPr lang="en-GB" smtClean="0"/>
              <a:t>‹#›</a:t>
            </a:fld>
            <a:endParaRPr lang="en-GB"/>
          </a:p>
        </p:txBody>
      </p:sp>
    </p:spTree>
    <p:extLst>
      <p:ext uri="{BB962C8B-B14F-4D97-AF65-F5344CB8AC3E}">
        <p14:creationId xmlns:p14="http://schemas.microsoft.com/office/powerpoint/2010/main" val="27395598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4" imgW="395" imgH="396" progId="TCLayout.ActiveDocument.1">
                  <p:embed/>
                </p:oleObj>
              </mc:Choice>
              <mc:Fallback>
                <p:oleObj name="think-cell Slide" r:id="rId4" imgW="395" imgH="39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Slide Number Placeholder 2"/>
          <p:cNvSpPr>
            <a:spLocks noGrp="1"/>
          </p:cNvSpPr>
          <p:nvPr>
            <p:ph type="sldNum" sz="quarter" idx="10"/>
          </p:nvPr>
        </p:nvSpPr>
        <p:spPr>
          <a:xfrm>
            <a:off x="11521280" y="6550556"/>
            <a:ext cx="334195" cy="138499"/>
          </a:xfrm>
          <a:prstGeom prst="rect">
            <a:avLst/>
          </a:prstGeom>
        </p:spPr>
        <p:txBody>
          <a:bodyPr/>
          <a:lstStyle>
            <a:lvl1pPr>
              <a:defRPr b="0">
                <a:latin typeface="+mn-lt"/>
              </a:defRPr>
            </a:lvl1pPr>
          </a:lstStyle>
          <a:p>
            <a:fld id="{0D558541-60C9-42A2-8392-FF12533A6B7A}" type="slidenum">
              <a:rPr lang="en-US" smtClean="0"/>
              <a:pPr/>
              <a:t>‹#›</a:t>
            </a:fld>
            <a:endParaRPr lang="en-US" dirty="0"/>
          </a:p>
        </p:txBody>
      </p:sp>
      <p:sp>
        <p:nvSpPr>
          <p:cNvPr id="8" name="Text Placeholder 6"/>
          <p:cNvSpPr>
            <a:spLocks noGrp="1"/>
          </p:cNvSpPr>
          <p:nvPr>
            <p:ph type="body" sz="quarter" idx="13"/>
          </p:nvPr>
        </p:nvSpPr>
        <p:spPr>
          <a:xfrm>
            <a:off x="345017" y="1536700"/>
            <a:ext cx="11510458" cy="4940300"/>
          </a:xfrm>
        </p:spPr>
        <p:txBody>
          <a:bodyPr vert="horz" lIns="0" tIns="0" rIns="0" bIns="0" rtlCol="0">
            <a:noAutofit/>
          </a:bodyPr>
          <a:lstStyle>
            <a:lvl1pPr>
              <a:defRPr lang="en-US" sz="1800" dirty="0" smtClean="0"/>
            </a:lvl1pPr>
            <a:lvl2pPr marL="182875">
              <a:defRPr lang="en-US" sz="1800" dirty="0" smtClean="0"/>
            </a:lvl2pPr>
            <a:lvl3pPr marL="365751">
              <a:defRPr lang="en-US" sz="1800" dirty="0" smtClean="0"/>
            </a:lvl3pPr>
            <a:lvl4pPr>
              <a:defRPr lang="en-US" sz="1800" dirty="0" smtClean="0"/>
            </a:lvl4pPr>
            <a:lvl5pPr>
              <a:defRPr lang="en-US" sz="18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2" descr="http://www.savethechildren.org.uk/sites/all/themes/freshlime/ui/stc_logo.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715600" y="199141"/>
            <a:ext cx="1139850" cy="909074"/>
          </a:xfrm>
          <a:prstGeom prst="rect">
            <a:avLst/>
          </a:prstGeom>
          <a:noFill/>
          <a:extLst>
            <a:ext uri="{909E8E84-426E-40DD-AFC4-6F175D3DCCD1}">
              <a14:hiddenFill xmlns:a14="http://schemas.microsoft.com/office/drawing/2010/main">
                <a:solidFill>
                  <a:srgbClr val="FFFFFF"/>
                </a:solidFill>
              </a14:hiddenFill>
            </a:ext>
          </a:extLst>
        </p:spPr>
      </p:pic>
      <p:sp>
        <p:nvSpPr>
          <p:cNvPr id="14" name="Content Placeholder 2"/>
          <p:cNvSpPr>
            <a:spLocks noGrp="1"/>
          </p:cNvSpPr>
          <p:nvPr>
            <p:ph sz="quarter" idx="15" hasCustomPrompt="1"/>
          </p:nvPr>
        </p:nvSpPr>
        <p:spPr>
          <a:xfrm>
            <a:off x="345017" y="711464"/>
            <a:ext cx="10334009" cy="600856"/>
          </a:xfrm>
        </p:spPr>
        <p:txBody>
          <a:bodyPr/>
          <a:lstStyle>
            <a:lvl1pPr>
              <a:defRPr sz="2400" baseline="0">
                <a:solidFill>
                  <a:schemeClr val="tx1">
                    <a:lumMod val="65000"/>
                    <a:lumOff val="35000"/>
                  </a:schemeClr>
                </a:solidFill>
                <a:latin typeface="+mj-lt"/>
              </a:defRPr>
            </a:lvl1pPr>
          </a:lstStyle>
          <a:p>
            <a:pPr lvl="0"/>
            <a:r>
              <a:rPr lang="en-US" dirty="0"/>
              <a:t>CLICK TO EDIT TAGLINE</a:t>
            </a:r>
            <a:endParaRPr lang="en-CA" dirty="0"/>
          </a:p>
        </p:txBody>
      </p:sp>
      <p:sp>
        <p:nvSpPr>
          <p:cNvPr id="15" name="Title 3"/>
          <p:cNvSpPr>
            <a:spLocks noGrp="1"/>
          </p:cNvSpPr>
          <p:nvPr>
            <p:ph type="title"/>
          </p:nvPr>
        </p:nvSpPr>
        <p:spPr>
          <a:xfrm>
            <a:off x="345017" y="332077"/>
            <a:ext cx="10334009" cy="379388"/>
          </a:xfrm>
        </p:spPr>
        <p:txBody>
          <a:bodyPr anchor="t"/>
          <a:lstStyle>
            <a:lvl1pPr>
              <a:defRPr/>
            </a:lvl1pPr>
          </a:lstStyle>
          <a:p>
            <a:r>
              <a:rPr lang="en-US" dirty="0"/>
              <a:t>Click to edit Master title</a:t>
            </a:r>
          </a:p>
        </p:txBody>
      </p:sp>
    </p:spTree>
    <p:extLst>
      <p:ext uri="{BB962C8B-B14F-4D97-AF65-F5344CB8AC3E}">
        <p14:creationId xmlns:p14="http://schemas.microsoft.com/office/powerpoint/2010/main" val="42153388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Master: White">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33205" y="944879"/>
            <a:ext cx="4377367" cy="4541519"/>
          </a:xfrm>
          <a:prstGeom prst="rect">
            <a:avLst/>
          </a:prstGeom>
        </p:spPr>
      </p:pic>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6000">
                <a:solidFill>
                  <a:schemeClr val="tx1"/>
                </a:solidFill>
                <a:latin typeface="Graphik Black" panose="020B0A03030202060203" pitchFamily="34" charset="0"/>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70000"/>
              </a:lnSpc>
              <a:defRPr sz="4000" b="1" baseline="0">
                <a:solidFill>
                  <a:schemeClr val="tx1"/>
                </a:solidFill>
                <a:latin typeface="+mn-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17" indent="0">
              <a:buNone/>
              <a:defRPr/>
            </a:lvl6pPr>
            <a:lvl7pPr>
              <a:defRPr/>
            </a:lvl7pPr>
            <a:lvl8pPr>
              <a:defRPr/>
            </a:lvl8pPr>
          </a:lstStyle>
          <a:p>
            <a:pPr lvl="0"/>
            <a:r>
              <a:rPr lang="en-US" dirty="0"/>
              <a:t>subtitle</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 name="Group 4"/>
          <p:cNvGrpSpPr>
            <a:grpSpLocks noChangeAspect="1"/>
          </p:cNvGrpSpPr>
          <p:nvPr/>
        </p:nvGrpSpPr>
        <p:grpSpPr>
          <a:xfrm>
            <a:off x="9559232" y="5846780"/>
            <a:ext cx="2250858" cy="604157"/>
            <a:chOff x="9563100" y="1673029"/>
            <a:chExt cx="1389888" cy="373063"/>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63100" y="1825994"/>
              <a:ext cx="1389888" cy="220098"/>
            </a:xfrm>
            <a:prstGeom prst="rect">
              <a:avLst/>
            </a:prstGeom>
          </p:spPr>
        </p:pic>
        <p:sp>
          <p:nvSpPr>
            <p:cNvPr id="9" name="Freeform 5"/>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86710019"/>
      </p:ext>
    </p:extLst>
  </p:cSld>
  <p:clrMapOvr>
    <a:masterClrMapping/>
  </p:clrMapOvr>
  <p:hf hdr="0"/>
  <p:extLst mod="1">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Master: Black">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18294" y="934122"/>
            <a:ext cx="4404360" cy="4569524"/>
          </a:xfrm>
          <a:prstGeom prst="rect">
            <a:avLst/>
          </a:prstGeom>
        </p:spPr>
      </p:pic>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6000">
                <a:solidFill>
                  <a:schemeClr val="tx1"/>
                </a:solidFill>
                <a:latin typeface="Graphik Black" panose="020B0A03030202060203" pitchFamily="34" charset="0"/>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70000"/>
              </a:lnSpc>
              <a:defRPr sz="4000" b="1" baseline="0">
                <a:solidFill>
                  <a:schemeClr val="tx1"/>
                </a:solidFill>
                <a:latin typeface="+mn-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17" indent="0">
              <a:buNone/>
              <a:defRPr/>
            </a:lvl6pPr>
            <a:lvl7pPr>
              <a:defRPr/>
            </a:lvl7pPr>
            <a:lvl8pPr>
              <a:defRPr/>
            </a:lvl8pPr>
          </a:lstStyle>
          <a:p>
            <a:pPr lvl="0"/>
            <a:r>
              <a:rPr lang="en-US" dirty="0"/>
              <a:t>subtitle</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4" name="Group 13"/>
          <p:cNvGrpSpPr>
            <a:grpSpLocks noChangeAspect="1"/>
          </p:cNvGrpSpPr>
          <p:nvPr/>
        </p:nvGrpSpPr>
        <p:grpSpPr>
          <a:xfrm>
            <a:off x="9554578" y="5833249"/>
            <a:ext cx="2256422" cy="605651"/>
            <a:chOff x="9638475" y="1219200"/>
            <a:chExt cx="1389888" cy="373063"/>
          </a:xfrm>
        </p:grpSpPr>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38475" y="1372165"/>
              <a:ext cx="1389888" cy="220098"/>
            </a:xfrm>
            <a:prstGeom prst="rect">
              <a:avLst/>
            </a:prstGeom>
          </p:spPr>
        </p:pic>
        <p:sp>
          <p:nvSpPr>
            <p:cNvPr id="16" name="Freeform 5"/>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83533142"/>
      </p:ext>
    </p:extLst>
  </p:cSld>
  <p:clrMapOvr>
    <a:overrideClrMapping bg1="dk1" tx1="lt1" bg2="dk2" tx2="lt2" accent1="accent1" accent2="accent2" accent3="accent3" accent4="accent4" accent5="accent5" accent6="accent6" hlink="hlink" folHlink="folHlink"/>
  </p:clrMapOvr>
  <p:hf hdr="0"/>
  <p:extLst mod="1">
    <p:ext uri="{DCECCB84-F9BA-43D5-87BE-67443E8EF086}">
      <p15:sldGuideLst xmlns:p15="http://schemas.microsoft.com/office/powerpoint/2012/main">
        <p15:guide id="2" pos="3840">
          <p15:clr>
            <a:srgbClr val="FBAE40"/>
          </p15:clr>
        </p15:guide>
        <p15:guide id="3" pos="602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Master: White Centered 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49914" y="918370"/>
            <a:ext cx="4417239" cy="4582886"/>
          </a:xfrm>
          <a:prstGeom prst="rect">
            <a:avLst/>
          </a:prstGeom>
        </p:spPr>
      </p:pic>
      <p:grpSp>
        <p:nvGrpSpPr>
          <p:cNvPr id="10" name="Group 9"/>
          <p:cNvGrpSpPr>
            <a:grpSpLocks noChangeAspect="1"/>
          </p:cNvGrpSpPr>
          <p:nvPr/>
        </p:nvGrpSpPr>
        <p:grpSpPr>
          <a:xfrm>
            <a:off x="9559232" y="5846780"/>
            <a:ext cx="2250858" cy="604157"/>
            <a:chOff x="9563100" y="1673029"/>
            <a:chExt cx="1389888" cy="373063"/>
          </a:xfrm>
        </p:grpSpPr>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63100" y="1825994"/>
              <a:ext cx="1389888" cy="220098"/>
            </a:xfrm>
            <a:prstGeom prst="rect">
              <a:avLst/>
            </a:prstGeom>
          </p:spPr>
        </p:pic>
        <p:sp>
          <p:nvSpPr>
            <p:cNvPr id="12" name="Freeform 5"/>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00FF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hasCustomPrompt="1"/>
          </p:nvPr>
        </p:nvSpPr>
        <p:spPr>
          <a:xfrm>
            <a:off x="1849582" y="1936373"/>
            <a:ext cx="4246418" cy="2767405"/>
          </a:xfrm>
        </p:spPr>
        <p:txBody>
          <a:bodyPr tIns="0" anchor="t" anchorCtr="0">
            <a:noAutofit/>
          </a:bodyPr>
          <a:lstStyle>
            <a:lvl1pPr algn="l">
              <a:lnSpc>
                <a:spcPct val="70000"/>
              </a:lnSpc>
              <a:defRPr sz="6000">
                <a:solidFill>
                  <a:schemeClr val="tx1"/>
                </a:solidFill>
                <a:latin typeface="Graphik Black" panose="020B0A03030202060203" pitchFamily="34" charset="0"/>
              </a:defRPr>
            </a:lvl1pPr>
          </a:lstStyle>
          <a:p>
            <a:r>
              <a:rPr lang="en-US" dirty="0"/>
              <a:t>Click to edit title</a:t>
            </a:r>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1" baseline="0">
                <a:solidFill>
                  <a:schemeClr val="tx1"/>
                </a:solidFill>
                <a:latin typeface="+mn-lt"/>
              </a:defRPr>
            </a:lvl1pPr>
            <a:lvl2pPr marL="0" indent="0">
              <a:lnSpc>
                <a:spcPct val="100000"/>
              </a:lnSpc>
              <a:spcBef>
                <a:spcPts val="600"/>
              </a:spcBef>
              <a:spcAft>
                <a:spcPts val="0"/>
              </a:spcAft>
              <a:defRPr sz="2000" b="0" cap="none" baseline="0">
                <a:solidFill>
                  <a:schemeClr val="tx1"/>
                </a:solidFill>
                <a:latin typeface="+mn-lt"/>
              </a:defRPr>
            </a:lvl2pPr>
            <a:lvl3pPr marL="0" indent="0">
              <a:lnSpc>
                <a:spcPct val="100000"/>
              </a:lnSpc>
              <a:spcBef>
                <a:spcPts val="600"/>
              </a:spcBef>
              <a:spcAft>
                <a:spcPts val="0"/>
              </a:spcAft>
              <a:defRPr sz="1800" b="0" cap="none" baseline="0">
                <a:solidFill>
                  <a:schemeClr val="tx1"/>
                </a:solidFill>
                <a:latin typeface="+mn-lt"/>
              </a:defRPr>
            </a:lvl3pPr>
            <a:lvl4pPr marL="0" indent="0">
              <a:lnSpc>
                <a:spcPct val="100000"/>
              </a:lnSpc>
              <a:spcBef>
                <a:spcPts val="600"/>
              </a:spcBef>
              <a:buNone/>
              <a:defRPr sz="1800" b="0" cap="none" baseline="0">
                <a:solidFill>
                  <a:schemeClr val="tx1"/>
                </a:solidFill>
                <a:latin typeface="+mn-lt"/>
              </a:defRPr>
            </a:lvl4pPr>
            <a:lvl5pPr marL="0" indent="0">
              <a:lnSpc>
                <a:spcPct val="100000"/>
              </a:lnSpc>
              <a:spcBef>
                <a:spcPts val="600"/>
              </a:spcBef>
              <a:buNone/>
              <a:defRPr sz="1800" b="0" cap="none" baseline="0">
                <a:solidFill>
                  <a:schemeClr val="tx1"/>
                </a:solidFill>
                <a:latin typeface="+mn-lt"/>
              </a:defRPr>
            </a:lvl5pPr>
            <a:lvl6pPr marL="339717" indent="0">
              <a:buNone/>
              <a:defRPr/>
            </a:lvl6pPr>
            <a:lvl7pPr>
              <a:defRPr/>
            </a:lvl7pPr>
            <a:lvl8pPr>
              <a:defRPr/>
            </a:lvl8pPr>
          </a:lstStyle>
          <a:p>
            <a:pPr lvl="0"/>
            <a:r>
              <a:rPr lang="en-US" dirty="0"/>
              <a:t>subtit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432847"/>
      </p:ext>
    </p:extLst>
  </p:cSld>
  <p:clrMapOvr>
    <a:masterClrMapping/>
  </p:clrMapOvr>
  <p:hf hdr="0"/>
  <p:extLst mod="1">
    <p:ext uri="{DCECCB84-F9BA-43D5-87BE-67443E8EF086}">
      <p15:sldGuideLst xmlns:p15="http://schemas.microsoft.com/office/powerpoint/2012/main">
        <p15:guide id="1" pos="3840">
          <p15:clr>
            <a:srgbClr val="FBAE40"/>
          </p15:clr>
        </p15:guide>
        <p15:guide id="0" pos="600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Master: White Centered 2">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4429" y="928998"/>
            <a:ext cx="4386942" cy="4551453"/>
          </a:xfrm>
          <a:prstGeom prst="rect">
            <a:avLst/>
          </a:prstGeom>
        </p:spPr>
      </p:pic>
      <p:grpSp>
        <p:nvGrpSpPr>
          <p:cNvPr id="5" name="Group 4"/>
          <p:cNvGrpSpPr>
            <a:grpSpLocks noChangeAspect="1"/>
          </p:cNvGrpSpPr>
          <p:nvPr/>
        </p:nvGrpSpPr>
        <p:grpSpPr>
          <a:xfrm>
            <a:off x="9559232" y="5846780"/>
            <a:ext cx="2250858" cy="604157"/>
            <a:chOff x="9563100" y="1673029"/>
            <a:chExt cx="1389888" cy="373063"/>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63100" y="1825994"/>
              <a:ext cx="1389888" cy="220098"/>
            </a:xfrm>
            <a:prstGeom prst="rect">
              <a:avLst/>
            </a:prstGeom>
          </p:spPr>
        </p:pic>
        <p:sp>
          <p:nvSpPr>
            <p:cNvPr id="7" name="Freeform 5"/>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1E2E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hasCustomPrompt="1"/>
          </p:nvPr>
        </p:nvSpPr>
        <p:spPr>
          <a:xfrm>
            <a:off x="1849582" y="1943100"/>
            <a:ext cx="4246418" cy="2857500"/>
          </a:xfrm>
        </p:spPr>
        <p:txBody>
          <a:bodyPr tIns="0" anchor="t" anchorCtr="0">
            <a:noAutofit/>
          </a:bodyPr>
          <a:lstStyle>
            <a:lvl1pPr algn="l">
              <a:lnSpc>
                <a:spcPct val="70000"/>
              </a:lnSpc>
              <a:defRPr sz="6000">
                <a:solidFill>
                  <a:schemeClr val="tx1"/>
                </a:solidFill>
                <a:latin typeface="Graphik Black" panose="020B0A03030202060203" pitchFamily="34" charset="0"/>
              </a:defRPr>
            </a:lvl1pPr>
          </a:lstStyle>
          <a:p>
            <a:r>
              <a:rPr lang="en-US" dirty="0"/>
              <a:t>Click to edit title</a:t>
            </a:r>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1" baseline="0">
                <a:solidFill>
                  <a:schemeClr val="tx1"/>
                </a:solidFill>
                <a:latin typeface="+mn-lt"/>
              </a:defRPr>
            </a:lvl1pPr>
            <a:lvl2pPr marL="0" indent="0">
              <a:lnSpc>
                <a:spcPct val="100000"/>
              </a:lnSpc>
              <a:spcBef>
                <a:spcPts val="600"/>
              </a:spcBef>
              <a:spcAft>
                <a:spcPts val="0"/>
              </a:spcAft>
              <a:defRPr sz="2000" b="0" cap="none" baseline="0">
                <a:solidFill>
                  <a:schemeClr val="tx1"/>
                </a:solidFill>
                <a:latin typeface="+mn-lt"/>
              </a:defRPr>
            </a:lvl2pPr>
            <a:lvl3pPr marL="0" indent="0">
              <a:lnSpc>
                <a:spcPct val="100000"/>
              </a:lnSpc>
              <a:spcBef>
                <a:spcPts val="600"/>
              </a:spcBef>
              <a:spcAft>
                <a:spcPts val="0"/>
              </a:spcAft>
              <a:defRPr sz="1800" b="0" cap="none" baseline="0">
                <a:solidFill>
                  <a:schemeClr val="tx1"/>
                </a:solidFill>
                <a:latin typeface="+mn-lt"/>
              </a:defRPr>
            </a:lvl3pPr>
            <a:lvl4pPr marL="0" indent="0">
              <a:lnSpc>
                <a:spcPct val="100000"/>
              </a:lnSpc>
              <a:spcBef>
                <a:spcPts val="600"/>
              </a:spcBef>
              <a:buNone/>
              <a:defRPr sz="1800" b="0" cap="none" baseline="0">
                <a:solidFill>
                  <a:schemeClr val="tx1"/>
                </a:solidFill>
                <a:latin typeface="+mn-lt"/>
              </a:defRPr>
            </a:lvl4pPr>
            <a:lvl5pPr marL="0" indent="0">
              <a:lnSpc>
                <a:spcPct val="100000"/>
              </a:lnSpc>
              <a:spcBef>
                <a:spcPts val="600"/>
              </a:spcBef>
              <a:buNone/>
              <a:defRPr sz="1800" b="0" cap="none" baseline="0">
                <a:solidFill>
                  <a:schemeClr val="tx1"/>
                </a:solidFill>
                <a:latin typeface="+mn-lt"/>
              </a:defRPr>
            </a:lvl5pPr>
            <a:lvl6pPr marL="339717" indent="0">
              <a:buNone/>
              <a:defRPr/>
            </a:lvl6pPr>
            <a:lvl7pPr>
              <a:defRPr/>
            </a:lvl7pPr>
            <a:lvl8pPr>
              <a:defRPr/>
            </a:lvl8pPr>
          </a:lstStyle>
          <a:p>
            <a:pPr lvl="0"/>
            <a:r>
              <a:rPr lang="en-US" dirty="0"/>
              <a:t>subtit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42324606"/>
      </p:ext>
    </p:extLst>
  </p:cSld>
  <p:clrMapOvr>
    <a:masterClrMapping/>
  </p:clrMapOvr>
  <p:hf hdr="0"/>
  <p:extLst mod="1">
    <p:ext uri="{DCECCB84-F9BA-43D5-87BE-67443E8EF086}">
      <p15:sldGuideLst xmlns:p15="http://schemas.microsoft.com/office/powerpoint/2012/main">
        <p15:guide id="1" pos="3840">
          <p15:clr>
            <a:srgbClr val="FBAE40"/>
          </p15:clr>
        </p15:guide>
        <p15:guide id="2" pos="600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Master: White Centered 3">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58986" y="875211"/>
            <a:ext cx="4403271" cy="4568394"/>
          </a:xfrm>
          <a:prstGeom prst="rect">
            <a:avLst/>
          </a:prstGeom>
        </p:spPr>
      </p:pic>
      <p:grpSp>
        <p:nvGrpSpPr>
          <p:cNvPr id="5" name="Group 4"/>
          <p:cNvGrpSpPr>
            <a:grpSpLocks noChangeAspect="1"/>
          </p:cNvGrpSpPr>
          <p:nvPr/>
        </p:nvGrpSpPr>
        <p:grpSpPr>
          <a:xfrm>
            <a:off x="9559232" y="5846780"/>
            <a:ext cx="2250858" cy="604157"/>
            <a:chOff x="9563100" y="1673029"/>
            <a:chExt cx="1389888" cy="373063"/>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63100" y="1825994"/>
              <a:ext cx="1389888" cy="220098"/>
            </a:xfrm>
            <a:prstGeom prst="rect">
              <a:avLst/>
            </a:prstGeom>
          </p:spPr>
        </p:pic>
        <p:sp>
          <p:nvSpPr>
            <p:cNvPr id="7" name="Freeform 5"/>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hasCustomPrompt="1"/>
          </p:nvPr>
        </p:nvSpPr>
        <p:spPr>
          <a:xfrm>
            <a:off x="1849582" y="1943100"/>
            <a:ext cx="4246418" cy="2857500"/>
          </a:xfrm>
        </p:spPr>
        <p:txBody>
          <a:bodyPr tIns="0" anchor="t" anchorCtr="0">
            <a:noAutofit/>
          </a:bodyPr>
          <a:lstStyle>
            <a:lvl1pPr algn="l">
              <a:lnSpc>
                <a:spcPct val="70000"/>
              </a:lnSpc>
              <a:defRPr sz="6000">
                <a:solidFill>
                  <a:schemeClr val="tx1"/>
                </a:solidFill>
                <a:latin typeface="Graphik Black" panose="020B0A03030202060203" pitchFamily="34" charset="0"/>
              </a:defRPr>
            </a:lvl1pPr>
          </a:lstStyle>
          <a:p>
            <a:r>
              <a:rPr lang="en-US" dirty="0"/>
              <a:t>Click to edit title</a:t>
            </a:r>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1" baseline="0">
                <a:solidFill>
                  <a:schemeClr val="tx1"/>
                </a:solidFill>
                <a:latin typeface="+mn-lt"/>
              </a:defRPr>
            </a:lvl1pPr>
            <a:lvl2pPr marL="0" indent="0">
              <a:lnSpc>
                <a:spcPct val="100000"/>
              </a:lnSpc>
              <a:spcBef>
                <a:spcPts val="600"/>
              </a:spcBef>
              <a:spcAft>
                <a:spcPts val="0"/>
              </a:spcAft>
              <a:defRPr sz="2000" b="0" cap="none" baseline="0">
                <a:solidFill>
                  <a:schemeClr val="tx1"/>
                </a:solidFill>
                <a:latin typeface="+mn-lt"/>
              </a:defRPr>
            </a:lvl2pPr>
            <a:lvl3pPr marL="0" indent="0">
              <a:lnSpc>
                <a:spcPct val="100000"/>
              </a:lnSpc>
              <a:spcBef>
                <a:spcPts val="600"/>
              </a:spcBef>
              <a:spcAft>
                <a:spcPts val="0"/>
              </a:spcAft>
              <a:defRPr sz="1800" b="0" cap="none" baseline="0">
                <a:solidFill>
                  <a:schemeClr val="tx1"/>
                </a:solidFill>
                <a:latin typeface="+mn-lt"/>
              </a:defRPr>
            </a:lvl3pPr>
            <a:lvl4pPr marL="0" indent="0">
              <a:lnSpc>
                <a:spcPct val="100000"/>
              </a:lnSpc>
              <a:spcBef>
                <a:spcPts val="600"/>
              </a:spcBef>
              <a:buNone/>
              <a:defRPr sz="1800" b="0" cap="none" baseline="0">
                <a:solidFill>
                  <a:schemeClr val="tx1"/>
                </a:solidFill>
                <a:latin typeface="+mn-lt"/>
              </a:defRPr>
            </a:lvl4pPr>
            <a:lvl5pPr marL="0" indent="0">
              <a:lnSpc>
                <a:spcPct val="100000"/>
              </a:lnSpc>
              <a:spcBef>
                <a:spcPts val="600"/>
              </a:spcBef>
              <a:buNone/>
              <a:defRPr sz="1800" b="0" cap="none" baseline="0">
                <a:solidFill>
                  <a:schemeClr val="tx1"/>
                </a:solidFill>
                <a:latin typeface="+mn-lt"/>
              </a:defRPr>
            </a:lvl5pPr>
            <a:lvl6pPr marL="339717" indent="0">
              <a:buNone/>
              <a:defRPr/>
            </a:lvl6pPr>
            <a:lvl7pPr>
              <a:defRPr/>
            </a:lvl7pPr>
            <a:lvl8pPr>
              <a:defRPr/>
            </a:lvl8pPr>
          </a:lstStyle>
          <a:p>
            <a:pPr lvl="0"/>
            <a:r>
              <a:rPr lang="en-US" dirty="0"/>
              <a:t>subtit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67091438"/>
      </p:ext>
    </p:extLst>
  </p:cSld>
  <p:clrMapOvr>
    <a:masterClrMapping/>
  </p:clrMapOvr>
  <p:hf hdr="0"/>
  <p:extLst mod="1">
    <p:ext uri="{DCECCB84-F9BA-43D5-87BE-67443E8EF086}">
      <p15:sldGuideLst xmlns:p15="http://schemas.microsoft.com/office/powerpoint/2012/main">
        <p15:guide id="1" pos="3840">
          <p15:clr>
            <a:srgbClr val="FBAE40"/>
          </p15:clr>
        </p15:guide>
        <p15:guide id="2" pos="600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60EAC4-8D80-4849-8601-28976A6F0665}"/>
              </a:ext>
            </a:extLst>
          </p:cNvPr>
          <p:cNvSpPr>
            <a:spLocks noGrp="1"/>
          </p:cNvSpPr>
          <p:nvPr>
            <p:ph type="title"/>
          </p:nvPr>
        </p:nvSpPr>
        <p:spPr/>
        <p:txBody>
          <a:bodyPr/>
          <a:lstStyle/>
          <a:p>
            <a:r>
              <a:rPr lang="en-US"/>
              <a:t>Click to edit Master title style</a:t>
            </a:r>
            <a:endParaRPr lang="en-IE"/>
          </a:p>
        </p:txBody>
      </p:sp>
      <p:sp>
        <p:nvSpPr>
          <p:cNvPr id="3" name="Date Placeholder 2">
            <a:extLst>
              <a:ext uri="{FF2B5EF4-FFF2-40B4-BE49-F238E27FC236}">
                <a16:creationId xmlns:a16="http://schemas.microsoft.com/office/drawing/2014/main" id="{19C931EF-D7FB-488F-8196-E500954C9FA6}"/>
              </a:ext>
            </a:extLst>
          </p:cNvPr>
          <p:cNvSpPr>
            <a:spLocks noGrp="1"/>
          </p:cNvSpPr>
          <p:nvPr>
            <p:ph type="dt" sz="half" idx="10"/>
          </p:nvPr>
        </p:nvSpPr>
        <p:spPr/>
        <p:txBody>
          <a:bodyPr/>
          <a:lstStyle/>
          <a:p>
            <a:fld id="{8E831B37-8500-46EE-982F-D44B180C6C6C}" type="datetimeFigureOut">
              <a:rPr lang="en-IE" smtClean="0"/>
              <a:t>01/05/2018</a:t>
            </a:fld>
            <a:endParaRPr lang="en-IE"/>
          </a:p>
        </p:txBody>
      </p:sp>
      <p:sp>
        <p:nvSpPr>
          <p:cNvPr id="4" name="Footer Placeholder 3">
            <a:extLst>
              <a:ext uri="{FF2B5EF4-FFF2-40B4-BE49-F238E27FC236}">
                <a16:creationId xmlns:a16="http://schemas.microsoft.com/office/drawing/2014/main" id="{9200C154-F8DA-4DD9-B933-978399F13855}"/>
              </a:ext>
            </a:extLst>
          </p:cNvPr>
          <p:cNvSpPr>
            <a:spLocks noGrp="1"/>
          </p:cNvSpPr>
          <p:nvPr>
            <p:ph type="ftr" sz="quarter" idx="11"/>
          </p:nvPr>
        </p:nvSpPr>
        <p:spPr/>
        <p:txBody>
          <a:bodyPr/>
          <a:lstStyle/>
          <a:p>
            <a:endParaRPr lang="en-IE"/>
          </a:p>
        </p:txBody>
      </p:sp>
      <p:sp>
        <p:nvSpPr>
          <p:cNvPr id="5" name="Slide Number Placeholder 4">
            <a:extLst>
              <a:ext uri="{FF2B5EF4-FFF2-40B4-BE49-F238E27FC236}">
                <a16:creationId xmlns:a16="http://schemas.microsoft.com/office/drawing/2014/main" id="{9AE452F9-7504-4751-9147-491EE29C40AE}"/>
              </a:ext>
            </a:extLst>
          </p:cNvPr>
          <p:cNvSpPr>
            <a:spLocks noGrp="1"/>
          </p:cNvSpPr>
          <p:nvPr>
            <p:ph type="sldNum" sz="quarter" idx="12"/>
          </p:nvPr>
        </p:nvSpPr>
        <p:spPr/>
        <p:txBody>
          <a:bodyPr/>
          <a:lstStyle/>
          <a:p>
            <a:fld id="{C06C0FDB-F227-4AC5-90C5-969FB0D0BD30}" type="slidenum">
              <a:rPr lang="en-IE" smtClean="0"/>
              <a:t>‹#›</a:t>
            </a:fld>
            <a:endParaRPr lang="en-IE"/>
          </a:p>
        </p:txBody>
      </p:sp>
    </p:spTree>
    <p:extLst>
      <p:ext uri="{BB962C8B-B14F-4D97-AF65-F5344CB8AC3E}">
        <p14:creationId xmlns:p14="http://schemas.microsoft.com/office/powerpoint/2010/main" val="21053834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5" name="Text Placeholder 6"/>
          <p:cNvSpPr>
            <a:spLocks noGrp="1"/>
          </p:cNvSpPr>
          <p:nvPr>
            <p:ph type="body" sz="quarter" idx="13"/>
          </p:nvPr>
        </p:nvSpPr>
        <p:spPr>
          <a:xfrm>
            <a:off x="304799" y="1339273"/>
            <a:ext cx="5680365" cy="4727431"/>
          </a:xfrm>
        </p:spPr>
        <p:txBody>
          <a:bodyPr vert="horz" lIns="0" tIns="0" rIns="0" bIns="0" rtlCol="0">
            <a:noAutofit/>
          </a:bodyPr>
          <a:lstStyle>
            <a:lvl1pPr>
              <a:defRPr lang="en-US" sz="1600" dirty="0" smtClean="0"/>
            </a:lvl1pPr>
            <a:lvl2pPr marL="137156">
              <a:defRPr lang="en-US" sz="1600" dirty="0" smtClean="0"/>
            </a:lvl2pPr>
            <a:lvl3pPr marL="274313">
              <a:defRPr lang="en-US" sz="1600" dirty="0" smtClean="0"/>
            </a:lvl3pPr>
            <a:lvl4pPr>
              <a:defRPr lang="en-US" sz="1600" dirty="0" smtClean="0"/>
            </a:lvl4pPr>
            <a:lvl5pPr>
              <a:defRPr lang="en-US" sz="16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p:cNvSpPr>
            <a:spLocks noGrp="1"/>
          </p:cNvSpPr>
          <p:nvPr>
            <p:ph type="body" sz="quarter" idx="14"/>
          </p:nvPr>
        </p:nvSpPr>
        <p:spPr>
          <a:xfrm>
            <a:off x="6225308" y="1330469"/>
            <a:ext cx="5661891" cy="4727431"/>
          </a:xfrm>
        </p:spPr>
        <p:txBody>
          <a:bodyPr vert="horz" lIns="0" tIns="0" rIns="0" bIns="0" rtlCol="0">
            <a:noAutofit/>
          </a:bodyPr>
          <a:lstStyle>
            <a:lvl1pPr>
              <a:defRPr lang="en-US" sz="1600" dirty="0" smtClean="0"/>
            </a:lvl1pPr>
            <a:lvl2pPr marL="137156">
              <a:defRPr lang="en-US" sz="1600" dirty="0" smtClean="0"/>
            </a:lvl2pPr>
            <a:lvl3pPr marL="274313">
              <a:defRPr lang="en-US" sz="1600" dirty="0" smtClean="0"/>
            </a:lvl3pPr>
            <a:lvl4pPr>
              <a:defRPr lang="en-US" sz="1600" dirty="0" smtClean="0"/>
            </a:lvl4pPr>
            <a:lvl5pPr>
              <a:defRPr lang="en-US" sz="16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0" name="Slide Number Placeholder 2"/>
          <p:cNvSpPr>
            <a:spLocks noGrp="1"/>
          </p:cNvSpPr>
          <p:nvPr>
            <p:ph type="sldNum" sz="quarter" idx="10"/>
          </p:nvPr>
        </p:nvSpPr>
        <p:spPr>
          <a:xfrm>
            <a:off x="11100329" y="6418632"/>
            <a:ext cx="770951" cy="192287"/>
          </a:xfrm>
        </p:spPr>
        <p:txBody>
          <a:bodyPr/>
          <a:lstStyle/>
          <a:p>
            <a:fld id="{0D558541-60C9-42A2-8392-FF12533A6B7A}" type="slidenum">
              <a:rPr lang="en-US" smtClean="0">
                <a:solidFill>
                  <a:srgbClr val="919191"/>
                </a:solidFill>
              </a:rPr>
              <a:pPr/>
              <a:t>‹#›</a:t>
            </a:fld>
            <a:endParaRPr lang="en-US">
              <a:solidFill>
                <a:srgbClr val="919191"/>
              </a:solidFill>
            </a:endParaRPr>
          </a:p>
        </p:txBody>
      </p:sp>
      <p:sp>
        <p:nvSpPr>
          <p:cNvPr id="11" name="TextBox 3"/>
          <p:cNvSpPr txBox="1"/>
          <p:nvPr userDrawn="1"/>
        </p:nvSpPr>
        <p:spPr>
          <a:xfrm>
            <a:off x="4601154" y="6428555"/>
            <a:ext cx="2989692" cy="138499"/>
          </a:xfrm>
          <a:prstGeom prst="rect">
            <a:avLst/>
          </a:prstGeom>
        </p:spPr>
        <p:txBody>
          <a:bodyPr vert="horz" wrap="square" lIns="0" tIns="0" rIns="0" bIns="0" rtlCol="0">
            <a:spAutoFit/>
          </a:bodyPr>
          <a:lstStyle>
            <a:defPPr>
              <a:defRPr lang="en-US"/>
            </a:defPPr>
            <a:lvl1pPr marL="0" algn="l" defTabSz="815350" rtl="0" eaLnBrk="1" latinLnBrk="0" hangingPunct="1">
              <a:defRPr sz="1630" kern="1200">
                <a:solidFill>
                  <a:schemeClr val="tx1"/>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pPr algn="ctr" defTabSz="815330"/>
            <a:r>
              <a:rPr lang="en-US" sz="900">
                <a:solidFill>
                  <a:srgbClr val="919191"/>
                </a:solidFill>
              </a:rPr>
              <a:t>Copyright © 2017 Accenture  All rights reserved.</a:t>
            </a:r>
            <a:endParaRPr lang="en-AU" sz="900">
              <a:solidFill>
                <a:srgbClr val="919191"/>
              </a:solidFill>
            </a:endParaRPr>
          </a:p>
        </p:txBody>
      </p:sp>
      <p:pic>
        <p:nvPicPr>
          <p:cNvPr id="12" name="Picture 11"/>
          <p:cNvPicPr>
            <a:picLocks noChangeAspect="1"/>
          </p:cNvPicPr>
          <p:nvPr userDrawn="1"/>
        </p:nvPicPr>
        <p:blipFill>
          <a:blip r:embed="rId2">
            <a:lum bright="-100000"/>
          </a:blip>
          <a:stretch>
            <a:fillRect/>
          </a:stretch>
        </p:blipFill>
        <p:spPr>
          <a:xfrm>
            <a:off x="304800" y="6274602"/>
            <a:ext cx="1052945" cy="277771"/>
          </a:xfrm>
          <a:prstGeom prst="rect">
            <a:avLst/>
          </a:prstGeom>
        </p:spPr>
      </p:pic>
    </p:spTree>
    <p:extLst>
      <p:ext uri="{BB962C8B-B14F-4D97-AF65-F5344CB8AC3E}">
        <p14:creationId xmlns:p14="http://schemas.microsoft.com/office/powerpoint/2010/main" val="15318113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7A1EF-86A9-4445-81D3-F329B80DDB9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277692A-667B-4C0E-9316-84F183DA272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D9A71C1-3525-461E-9AF5-D7FEF3D10B37}"/>
              </a:ext>
            </a:extLst>
          </p:cNvPr>
          <p:cNvSpPr>
            <a:spLocks noGrp="1"/>
          </p:cNvSpPr>
          <p:nvPr>
            <p:ph type="dt" sz="half" idx="10"/>
          </p:nvPr>
        </p:nvSpPr>
        <p:spPr/>
        <p:txBody>
          <a:bodyPr/>
          <a:lstStyle/>
          <a:p>
            <a:fld id="{58A9AD06-EB04-40D2-9EFF-00449A73BF5C}" type="datetimeFigureOut">
              <a:rPr lang="en-GB" smtClean="0"/>
              <a:t>01/05/2018</a:t>
            </a:fld>
            <a:endParaRPr lang="en-GB"/>
          </a:p>
        </p:txBody>
      </p:sp>
      <p:sp>
        <p:nvSpPr>
          <p:cNvPr id="5" name="Footer Placeholder 4">
            <a:extLst>
              <a:ext uri="{FF2B5EF4-FFF2-40B4-BE49-F238E27FC236}">
                <a16:creationId xmlns:a16="http://schemas.microsoft.com/office/drawing/2014/main" id="{9772CA84-A9DB-40C2-9067-8CE6154BC94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B2243C8-0832-4D97-B98B-AC0691AADF22}"/>
              </a:ext>
            </a:extLst>
          </p:cNvPr>
          <p:cNvSpPr>
            <a:spLocks noGrp="1"/>
          </p:cNvSpPr>
          <p:nvPr>
            <p:ph type="sldNum" sz="quarter" idx="12"/>
          </p:nvPr>
        </p:nvSpPr>
        <p:spPr/>
        <p:txBody>
          <a:bodyPr/>
          <a:lstStyle/>
          <a:p>
            <a:fld id="{B2DCE237-B187-49D9-B1C4-0C8AA0CDE574}" type="slidenum">
              <a:rPr lang="en-GB" smtClean="0"/>
              <a:t>‹#›</a:t>
            </a:fld>
            <a:endParaRPr lang="en-GB"/>
          </a:p>
        </p:txBody>
      </p:sp>
    </p:spTree>
    <p:extLst>
      <p:ext uri="{BB962C8B-B14F-4D97-AF65-F5344CB8AC3E}">
        <p14:creationId xmlns:p14="http://schemas.microsoft.com/office/powerpoint/2010/main" val="35210357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Short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5715000" cy="990601"/>
          </a:xfrm>
        </p:spPr>
        <p:txBody>
          <a:bodyPr/>
          <a:lstStyle/>
          <a:p>
            <a:r>
              <a:rPr lang="en-US"/>
              <a:t>Click to edit Master title style</a:t>
            </a:r>
            <a:endParaRPr lang="en-US" dirty="0"/>
          </a:p>
        </p:txBody>
      </p:sp>
      <p:sp>
        <p:nvSpPr>
          <p:cNvPr id="3" name="Footer Placeholder 2"/>
          <p:cNvSpPr>
            <a:spLocks noGrp="1"/>
          </p:cNvSpPr>
          <p:nvPr>
            <p:ph type="ftr" sz="quarter" idx="20"/>
          </p:nvPr>
        </p:nvSpPr>
        <p:spPr/>
        <p:txBody>
          <a:bodyPr/>
          <a:lstStyle/>
          <a:p>
            <a:r>
              <a:rPr lang="en-US"/>
              <a:t>Copyright © 2017 Accenture. All rights reserved.</a:t>
            </a:r>
            <a:endParaRPr lang="en-US" dirty="0"/>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5839565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1_Cover">
    <p:bg>
      <p:bgPr>
        <a:gradFill>
          <a:gsLst>
            <a:gs pos="0">
              <a:srgbClr val="F1F3F2"/>
            </a:gs>
            <a:gs pos="37000">
              <a:srgbClr val="F7F7F7"/>
            </a:gs>
            <a:gs pos="68500">
              <a:srgbClr val="FAFAFA"/>
            </a:gs>
            <a:gs pos="100000">
              <a:schemeClr val="bg1"/>
            </a:gs>
          </a:gsLst>
          <a:lin ang="1200000" scaled="0"/>
        </a:gra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l="-1" r="-10356"/>
          <a:stretch/>
        </p:blipFill>
        <p:spPr>
          <a:xfrm>
            <a:off x="0" y="-27384"/>
            <a:ext cx="13512824" cy="6885384"/>
          </a:xfrm>
          <a:prstGeom prst="rect">
            <a:avLst/>
          </a:prstGeom>
        </p:spPr>
      </p:pic>
      <p:grpSp>
        <p:nvGrpSpPr>
          <p:cNvPr id="93" name="Master Brand 03 - Outline GTS" hidden="1"/>
          <p:cNvGrpSpPr>
            <a:grpSpLocks noChangeAspect="1"/>
          </p:cNvGrpSpPr>
          <p:nvPr userDrawn="1"/>
        </p:nvGrpSpPr>
        <p:grpSpPr bwMode="auto">
          <a:xfrm>
            <a:off x="2607278" y="1006057"/>
            <a:ext cx="4774072" cy="4870800"/>
            <a:chOff x="1620" y="-106"/>
            <a:chExt cx="4442" cy="4532"/>
          </a:xfrm>
        </p:grpSpPr>
        <p:sp>
          <p:nvSpPr>
            <p:cNvPr id="94" name="Freeform 5"/>
            <p:cNvSpPr>
              <a:spLocks/>
            </p:cNvSpPr>
            <p:nvPr userDrawn="1"/>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FFEA00"/>
                </a:gs>
                <a:gs pos="100000">
                  <a:srgbClr val="FFB600"/>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95" name="Freeform 6"/>
            <p:cNvSpPr>
              <a:spLocks/>
            </p:cNvSpPr>
            <p:nvPr userDrawn="1"/>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00BA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84" name="Master Brand 03 - GRADIENT GTS" hidden="1"/>
          <p:cNvGrpSpPr/>
          <p:nvPr userDrawn="1"/>
        </p:nvGrpSpPr>
        <p:grpSpPr>
          <a:xfrm>
            <a:off x="2607278" y="1026844"/>
            <a:ext cx="4751149" cy="4850013"/>
            <a:chOff x="336907" y="342900"/>
            <a:chExt cx="2298344" cy="2346169"/>
          </a:xfrm>
        </p:grpSpPr>
        <p:sp>
          <p:nvSpPr>
            <p:cNvPr id="85"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86"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EA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66" name="Master Brand 03 - DIMENSIONAL GTS" hidden="1"/>
          <p:cNvGrpSpPr/>
          <p:nvPr userDrawn="1"/>
        </p:nvGrpSpPr>
        <p:grpSpPr>
          <a:xfrm>
            <a:off x="2622518" y="1011604"/>
            <a:ext cx="4751149" cy="4850013"/>
            <a:chOff x="336907" y="342900"/>
            <a:chExt cx="2298344" cy="2346169"/>
          </a:xfrm>
        </p:grpSpPr>
        <p:sp>
          <p:nvSpPr>
            <p:cNvPr id="67"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68"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BA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87" name="Master Brand 02 - Outline GTS" hidden="1"/>
          <p:cNvGrpSpPr>
            <a:grpSpLocks noChangeAspect="1"/>
          </p:cNvGrpSpPr>
          <p:nvPr userDrawn="1"/>
        </p:nvGrpSpPr>
        <p:grpSpPr bwMode="auto">
          <a:xfrm>
            <a:off x="2607278" y="1006057"/>
            <a:ext cx="4774072" cy="4870800"/>
            <a:chOff x="1620" y="-106"/>
            <a:chExt cx="4442" cy="4532"/>
          </a:xfrm>
        </p:grpSpPr>
        <p:sp>
          <p:nvSpPr>
            <p:cNvPr id="88" name="Freeform 5"/>
            <p:cNvSpPr>
              <a:spLocks/>
            </p:cNvSpPr>
            <p:nvPr userDrawn="1"/>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00F3FF"/>
                </a:gs>
                <a:gs pos="100000">
                  <a:srgbClr val="2800FF"/>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89" name="Freeform 6"/>
            <p:cNvSpPr>
              <a:spLocks/>
            </p:cNvSpPr>
            <p:nvPr userDrawn="1"/>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00FF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80" name="Master Brand 02 - GRADIENT GTS" hidden="1"/>
          <p:cNvGrpSpPr/>
          <p:nvPr userDrawn="1"/>
        </p:nvGrpSpPr>
        <p:grpSpPr>
          <a:xfrm>
            <a:off x="2622518" y="1011604"/>
            <a:ext cx="4751149" cy="4850013"/>
            <a:chOff x="336907" y="342900"/>
            <a:chExt cx="2298344" cy="2346169"/>
          </a:xfrm>
        </p:grpSpPr>
        <p:sp>
          <p:nvSpPr>
            <p:cNvPr id="82"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83"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28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57" name="Master Brand 02 - DIMENSIONAL GTS" hidden="1"/>
          <p:cNvGrpSpPr/>
          <p:nvPr userDrawn="1"/>
        </p:nvGrpSpPr>
        <p:grpSpPr>
          <a:xfrm>
            <a:off x="2622518" y="1011604"/>
            <a:ext cx="4751149" cy="4850013"/>
            <a:chOff x="336907" y="342900"/>
            <a:chExt cx="2298344" cy="2346169"/>
          </a:xfrm>
        </p:grpSpPr>
        <p:sp>
          <p:nvSpPr>
            <p:cNvPr id="58"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59"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FF7D"/>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90" name="Master Brand 01 - Outline GTS" hidden="1"/>
          <p:cNvGrpSpPr>
            <a:grpSpLocks noChangeAspect="1"/>
          </p:cNvGrpSpPr>
          <p:nvPr userDrawn="1"/>
        </p:nvGrpSpPr>
        <p:grpSpPr bwMode="auto">
          <a:xfrm>
            <a:off x="2607278" y="1006057"/>
            <a:ext cx="4774072" cy="4870800"/>
            <a:chOff x="1620" y="-106"/>
            <a:chExt cx="4442" cy="4532"/>
          </a:xfrm>
        </p:grpSpPr>
        <p:sp>
          <p:nvSpPr>
            <p:cNvPr id="91" name="Freeform 5"/>
            <p:cNvSpPr>
              <a:spLocks/>
            </p:cNvSpPr>
            <p:nvPr userDrawn="1"/>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FFEA00"/>
                </a:gs>
                <a:gs pos="100000">
                  <a:srgbClr val="FFB600"/>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92" name="Freeform 6"/>
            <p:cNvSpPr>
              <a:spLocks/>
            </p:cNvSpPr>
            <p:nvPr userDrawn="1"/>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7E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74" name="Master Brand 01 - GRADIENT GTS" hidden="1"/>
          <p:cNvGrpSpPr/>
          <p:nvPr userDrawn="1"/>
        </p:nvGrpSpPr>
        <p:grpSpPr>
          <a:xfrm>
            <a:off x="2622518" y="1011604"/>
            <a:ext cx="4751149" cy="4850013"/>
            <a:chOff x="336907" y="342900"/>
            <a:chExt cx="2298344" cy="2346169"/>
          </a:xfrm>
        </p:grpSpPr>
        <p:sp>
          <p:nvSpPr>
            <p:cNvPr id="77"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78"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EA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51" name="Master Brand 01 - DIMENSIONAL GTS" hidden="1"/>
          <p:cNvGrpSpPr/>
          <p:nvPr userDrawn="1"/>
        </p:nvGrpSpPr>
        <p:grpSpPr>
          <a:xfrm>
            <a:off x="2622518" y="1011604"/>
            <a:ext cx="4751149" cy="4850013"/>
            <a:chOff x="336907" y="342900"/>
            <a:chExt cx="2298344" cy="2346169"/>
          </a:xfrm>
        </p:grpSpPr>
        <p:sp>
          <p:nvSpPr>
            <p:cNvPr id="52"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53"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7E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81" name="Consulting - GRADIENT GTS" hidden="1"/>
          <p:cNvSpPr>
            <a:spLocks/>
          </p:cNvSpPr>
          <p:nvPr userDrawn="1"/>
        </p:nvSpPr>
        <p:spPr bwMode="auto">
          <a:xfrm>
            <a:off x="2623154" y="1012417"/>
            <a:ext cx="4752000" cy="4849200"/>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00F3FF"/>
              </a:gs>
              <a:gs pos="98000">
                <a:srgbClr val="7E00FF"/>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71" name="Consulting - OUTLINED GTS" hidden="1"/>
          <p:cNvSpPr>
            <a:spLocks noEditPoints="1"/>
          </p:cNvSpPr>
          <p:nvPr userDrawn="1"/>
        </p:nvSpPr>
        <p:spPr bwMode="auto">
          <a:xfrm>
            <a:off x="2606930" y="1003887"/>
            <a:ext cx="4772285" cy="4872243"/>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7E00FF"/>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63" name="Consulting - DIMENSIONAL GTS" hidden="1"/>
          <p:cNvGrpSpPr/>
          <p:nvPr userDrawn="1"/>
        </p:nvGrpSpPr>
        <p:grpSpPr>
          <a:xfrm>
            <a:off x="2622518" y="1011604"/>
            <a:ext cx="4751149" cy="4850013"/>
            <a:chOff x="336907" y="342900"/>
            <a:chExt cx="2298344" cy="2346169"/>
          </a:xfrm>
        </p:grpSpPr>
        <p:sp>
          <p:nvSpPr>
            <p:cNvPr id="64"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7E00FF"/>
                </a:gs>
                <a:gs pos="100000">
                  <a:srgbClr val="380089"/>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65"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7E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79" name="Digital - GRADIENT GTS" hidden="1"/>
          <p:cNvSpPr>
            <a:spLocks/>
          </p:cNvSpPr>
          <p:nvPr userDrawn="1"/>
        </p:nvSpPr>
        <p:spPr bwMode="auto">
          <a:xfrm>
            <a:off x="2623154" y="1012417"/>
            <a:ext cx="4752000" cy="4849200"/>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FFB600"/>
              </a:gs>
              <a:gs pos="98000">
                <a:srgbClr val="FFFF00"/>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72" name="Digital - OUTLINED GTS" hidden="1"/>
          <p:cNvSpPr>
            <a:spLocks noEditPoints="1"/>
          </p:cNvSpPr>
          <p:nvPr userDrawn="1"/>
        </p:nvSpPr>
        <p:spPr bwMode="auto">
          <a:xfrm>
            <a:off x="2606930" y="1003887"/>
            <a:ext cx="4772285" cy="4872243"/>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FFFF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60" name="Digital - DIMENSIONAL GTS" hidden="1"/>
          <p:cNvGrpSpPr/>
          <p:nvPr userDrawn="1"/>
        </p:nvGrpSpPr>
        <p:grpSpPr>
          <a:xfrm>
            <a:off x="2622518" y="1011604"/>
            <a:ext cx="4751149" cy="4850013"/>
            <a:chOff x="336907" y="342900"/>
            <a:chExt cx="2298344" cy="2346169"/>
          </a:xfrm>
        </p:grpSpPr>
        <p:sp>
          <p:nvSpPr>
            <p:cNvPr id="61"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FF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62"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FF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76" name="Operations - GRADIENT GTS" hidden="1"/>
          <p:cNvSpPr>
            <a:spLocks/>
          </p:cNvSpPr>
          <p:nvPr userDrawn="1"/>
        </p:nvSpPr>
        <p:spPr bwMode="auto">
          <a:xfrm>
            <a:off x="2623154" y="1012417"/>
            <a:ext cx="4752000" cy="4849200"/>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2800FF"/>
              </a:gs>
              <a:gs pos="98000">
                <a:srgbClr val="00F3FF"/>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70" name="Operations - OUTLINED GTS" hidden="1"/>
          <p:cNvSpPr>
            <a:spLocks noEditPoints="1"/>
          </p:cNvSpPr>
          <p:nvPr userDrawn="1"/>
        </p:nvSpPr>
        <p:spPr bwMode="auto">
          <a:xfrm>
            <a:off x="2606930" y="1003887"/>
            <a:ext cx="4772285" cy="4872243"/>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00F3FF"/>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54" name="Operations - DIMENSIONAL GTS" hidden="1"/>
          <p:cNvGrpSpPr/>
          <p:nvPr userDrawn="1"/>
        </p:nvGrpSpPr>
        <p:grpSpPr>
          <a:xfrm>
            <a:off x="2622518" y="1011604"/>
            <a:ext cx="4751149" cy="4850013"/>
            <a:chOff x="336907" y="342900"/>
            <a:chExt cx="2298344" cy="2346169"/>
          </a:xfrm>
        </p:grpSpPr>
        <p:sp>
          <p:nvSpPr>
            <p:cNvPr id="55"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56"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73" name="Strategy - GRADIENT GTS" hidden="1"/>
          <p:cNvSpPr>
            <a:spLocks/>
          </p:cNvSpPr>
          <p:nvPr userDrawn="1"/>
        </p:nvSpPr>
        <p:spPr bwMode="auto">
          <a:xfrm>
            <a:off x="2623155" y="1011604"/>
            <a:ext cx="4750511" cy="4850013"/>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710012"/>
              </a:gs>
              <a:gs pos="98000">
                <a:srgbClr val="FF0000"/>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69" name="Strategy - OUTLINED GTS" hidden="1"/>
          <p:cNvSpPr>
            <a:spLocks noEditPoints="1"/>
          </p:cNvSpPr>
          <p:nvPr userDrawn="1"/>
        </p:nvSpPr>
        <p:spPr bwMode="auto">
          <a:xfrm>
            <a:off x="2606930" y="1003887"/>
            <a:ext cx="4772285" cy="4872243"/>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36" name="Strategy - DIMENSIONAL GTS" hidden="1"/>
          <p:cNvGrpSpPr/>
          <p:nvPr userDrawn="1"/>
        </p:nvGrpSpPr>
        <p:grpSpPr>
          <a:xfrm>
            <a:off x="2622518" y="1011604"/>
            <a:ext cx="4751149" cy="4850013"/>
            <a:chOff x="336907" y="342900"/>
            <a:chExt cx="2298344" cy="2346169"/>
          </a:xfrm>
        </p:grpSpPr>
        <p:sp>
          <p:nvSpPr>
            <p:cNvPr id="37"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0000"/>
                </a:gs>
                <a:gs pos="100000">
                  <a:srgbClr val="710012"/>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38"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75" name="Technology - GRADIENT GTS" hidden="1"/>
          <p:cNvSpPr>
            <a:spLocks/>
          </p:cNvSpPr>
          <p:nvPr userDrawn="1"/>
        </p:nvSpPr>
        <p:spPr bwMode="auto">
          <a:xfrm>
            <a:off x="2623154" y="1012417"/>
            <a:ext cx="4752000" cy="4849200"/>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00F3FF"/>
              </a:gs>
              <a:gs pos="98000">
                <a:srgbClr val="00FF00"/>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49" name="Technology - OUTLINED GTS" hidden="1"/>
          <p:cNvSpPr>
            <a:spLocks noEditPoints="1"/>
          </p:cNvSpPr>
          <p:nvPr userDrawn="1"/>
        </p:nvSpPr>
        <p:spPr bwMode="auto">
          <a:xfrm>
            <a:off x="2606930" y="1003887"/>
            <a:ext cx="4772285" cy="4872243"/>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00FF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6" name="Text Placeholder 9"/>
          <p:cNvSpPr>
            <a:spLocks noGrp="1"/>
          </p:cNvSpPr>
          <p:nvPr userDrawn="1">
            <p:ph type="body" sz="quarter" idx="12" hasCustomPrompt="1"/>
          </p:nvPr>
        </p:nvSpPr>
        <p:spPr>
          <a:xfrm>
            <a:off x="6766969" y="4344715"/>
            <a:ext cx="3859050" cy="1041195"/>
          </a:xfrm>
        </p:spPr>
        <p:txBody>
          <a:bodyPr anchor="b"/>
          <a:lstStyle>
            <a:lvl1pPr marL="0" indent="0">
              <a:lnSpc>
                <a:spcPct val="80000"/>
              </a:lnSpc>
              <a:buNone/>
              <a:defRPr sz="2000" b="0" i="0" cap="all" baseline="0">
                <a:solidFill>
                  <a:schemeClr val="tx1"/>
                </a:solidFill>
                <a:latin typeface="+mj-lt"/>
              </a:defRPr>
            </a:lvl1pPr>
          </a:lstStyle>
          <a:p>
            <a:pPr lvl="0"/>
            <a:r>
              <a:rPr lang="en-US" dirty="0"/>
              <a:t>SUBTITLE LINE</a:t>
            </a:r>
            <a:br>
              <a:rPr lang="en-US" dirty="0"/>
            </a:br>
            <a:r>
              <a:rPr lang="en-US" dirty="0"/>
              <a:t>SECOND LINE</a:t>
            </a:r>
          </a:p>
        </p:txBody>
      </p:sp>
      <p:sp>
        <p:nvSpPr>
          <p:cNvPr id="8" name="Title 2"/>
          <p:cNvSpPr>
            <a:spLocks noGrp="1"/>
          </p:cNvSpPr>
          <p:nvPr userDrawn="1">
            <p:ph type="title" hasCustomPrompt="1"/>
          </p:nvPr>
        </p:nvSpPr>
        <p:spPr>
          <a:xfrm>
            <a:off x="580830" y="1462236"/>
            <a:ext cx="5353246" cy="3948750"/>
          </a:xfrm>
        </p:spPr>
        <p:txBody>
          <a:bodyPr tIns="252000" anchor="ctr"/>
          <a:lstStyle>
            <a:lvl1pPr>
              <a:lnSpc>
                <a:spcPct val="70000"/>
              </a:lnSpc>
              <a:defRPr sz="7200" spc="-150" baseline="0">
                <a:solidFill>
                  <a:schemeClr val="tx1"/>
                </a:solidFill>
              </a:defRPr>
            </a:lvl1pPr>
          </a:lstStyle>
          <a:p>
            <a:r>
              <a:rPr lang="en-US" dirty="0"/>
              <a:t>Click </a:t>
            </a:r>
            <a:br>
              <a:rPr lang="en-US" dirty="0"/>
            </a:br>
            <a:r>
              <a:rPr lang="en-US" dirty="0"/>
              <a:t>to edit Master title</a:t>
            </a:r>
            <a:endParaRPr lang="en-AU" dirty="0"/>
          </a:p>
        </p:txBody>
      </p:sp>
      <p:pic>
        <p:nvPicPr>
          <p:cNvPr id="20" name="Accenture_Technology_WHITE" hidden="1"/>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7756800" y="464712"/>
            <a:ext cx="3855600" cy="618771"/>
          </a:xfrm>
          <a:prstGeom prst="rect">
            <a:avLst/>
          </a:prstGeom>
        </p:spPr>
      </p:pic>
      <p:pic>
        <p:nvPicPr>
          <p:cNvPr id="24" name="Accenture_Strategy_WHITE" hidden="1"/>
          <p:cNvPicPr>
            <a:picLocks noChangeAspect="1"/>
          </p:cNvPicPr>
          <p:nvPr userDrawn="1"/>
        </p:nvPicPr>
        <p:blipFill>
          <a:blip r:embed="rId4"/>
          <a:stretch>
            <a:fillRect/>
          </a:stretch>
        </p:blipFill>
        <p:spPr>
          <a:xfrm>
            <a:off x="7773000" y="459803"/>
            <a:ext cx="3276000" cy="623063"/>
          </a:xfrm>
          <a:prstGeom prst="rect">
            <a:avLst/>
          </a:prstGeom>
        </p:spPr>
      </p:pic>
      <p:pic>
        <p:nvPicPr>
          <p:cNvPr id="32" name="Accenture_Strategy_BLACK" hidden="1"/>
          <p:cNvPicPr>
            <a:picLocks noChangeAspect="1"/>
          </p:cNvPicPr>
          <p:nvPr userDrawn="1"/>
        </p:nvPicPr>
        <p:blipFill>
          <a:blip r:embed="rId5"/>
          <a:stretch>
            <a:fillRect/>
          </a:stretch>
        </p:blipFill>
        <p:spPr>
          <a:xfrm>
            <a:off x="7772739" y="459803"/>
            <a:ext cx="3276261" cy="623113"/>
          </a:xfrm>
          <a:prstGeom prst="rect">
            <a:avLst/>
          </a:prstGeom>
        </p:spPr>
      </p:pic>
      <p:pic>
        <p:nvPicPr>
          <p:cNvPr id="23" name="Accenture_Operations_WHITE" hidden="1"/>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7773225" y="476724"/>
            <a:ext cx="3704400" cy="613912"/>
          </a:xfrm>
          <a:prstGeom prst="rect">
            <a:avLst/>
          </a:prstGeom>
        </p:spPr>
      </p:pic>
      <p:pic>
        <p:nvPicPr>
          <p:cNvPr id="31" name="Accenture_Operations_BLACK" hidden="1"/>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7772739" y="476724"/>
            <a:ext cx="3704886" cy="613992"/>
          </a:xfrm>
          <a:prstGeom prst="rect">
            <a:avLst/>
          </a:prstGeom>
        </p:spPr>
      </p:pic>
      <p:pic>
        <p:nvPicPr>
          <p:cNvPr id="26" name="Accenture_Mobility_WHITE" hidden="1"/>
          <p:cNvPicPr>
            <a:picLocks noChangeAspect="1"/>
          </p:cNvPicPr>
          <p:nvPr userDrawn="1"/>
        </p:nvPicPr>
        <p:blipFill>
          <a:blip r:embed="rId8" cstate="hqprint">
            <a:extLst>
              <a:ext uri="{28A0092B-C50C-407E-A947-70E740481C1C}">
                <a14:useLocalDpi xmlns:a14="http://schemas.microsoft.com/office/drawing/2010/main"/>
              </a:ext>
            </a:extLst>
          </a:blip>
          <a:stretch>
            <a:fillRect/>
          </a:stretch>
        </p:blipFill>
        <p:spPr>
          <a:xfrm>
            <a:off x="7754100" y="651110"/>
            <a:ext cx="3866400" cy="684773"/>
          </a:xfrm>
          <a:prstGeom prst="rect">
            <a:avLst/>
          </a:prstGeom>
        </p:spPr>
      </p:pic>
      <p:pic>
        <p:nvPicPr>
          <p:cNvPr id="34" name="Accenture_Mobility_BLACK" hidden="1"/>
          <p:cNvPicPr>
            <a:picLocks noChangeAspect="1"/>
          </p:cNvPicPr>
          <p:nvPr userDrawn="1"/>
        </p:nvPicPr>
        <p:blipFill>
          <a:blip r:embed="rId9" cstate="hqprint">
            <a:extLst>
              <a:ext uri="{28A0092B-C50C-407E-A947-70E740481C1C}">
                <a14:useLocalDpi xmlns:a14="http://schemas.microsoft.com/office/drawing/2010/main"/>
              </a:ext>
            </a:extLst>
          </a:blip>
          <a:stretch>
            <a:fillRect/>
          </a:stretch>
        </p:blipFill>
        <p:spPr>
          <a:xfrm>
            <a:off x="7753350" y="651110"/>
            <a:ext cx="3867150" cy="684905"/>
          </a:xfrm>
          <a:prstGeom prst="rect">
            <a:avLst/>
          </a:prstGeom>
        </p:spPr>
      </p:pic>
      <p:pic>
        <p:nvPicPr>
          <p:cNvPr id="28" name="Accenture_Interactive_WHITE" hidden="1"/>
          <p:cNvPicPr>
            <a:picLocks noChangeAspect="1"/>
          </p:cNvPicPr>
          <p:nvPr userDrawn="1"/>
        </p:nvPicPr>
        <p:blipFill>
          <a:blip r:embed="rId10" cstate="hqprint">
            <a:extLst>
              <a:ext uri="{28A0092B-C50C-407E-A947-70E740481C1C}">
                <a14:useLocalDpi xmlns:a14="http://schemas.microsoft.com/office/drawing/2010/main"/>
              </a:ext>
            </a:extLst>
          </a:blip>
          <a:stretch>
            <a:fillRect/>
          </a:stretch>
        </p:blipFill>
        <p:spPr>
          <a:xfrm>
            <a:off x="7754100" y="657225"/>
            <a:ext cx="3866400" cy="683539"/>
          </a:xfrm>
          <a:prstGeom prst="rect">
            <a:avLst/>
          </a:prstGeom>
        </p:spPr>
      </p:pic>
      <p:pic>
        <p:nvPicPr>
          <p:cNvPr id="42" name="Accenture_Interactive_BLACK" hidden="1"/>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7754100" y="657225"/>
            <a:ext cx="3866400" cy="683539"/>
          </a:xfrm>
          <a:prstGeom prst="rect">
            <a:avLst/>
          </a:prstGeom>
        </p:spPr>
      </p:pic>
      <p:pic>
        <p:nvPicPr>
          <p:cNvPr id="25" name="Accenture_Analytics_WHITE" hidden="1"/>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a:off x="7753349" y="658010"/>
            <a:ext cx="3866400" cy="692114"/>
          </a:xfrm>
          <a:prstGeom prst="rect">
            <a:avLst/>
          </a:prstGeom>
        </p:spPr>
      </p:pic>
      <p:pic>
        <p:nvPicPr>
          <p:cNvPr id="33" name="Accenture_Analytics_BLACK" hidden="1"/>
          <p:cNvPicPr>
            <a:picLocks noChangeAspect="1"/>
          </p:cNvPicPr>
          <p:nvPr userDrawn="1"/>
        </p:nvPicPr>
        <p:blipFill>
          <a:blip r:embed="rId13" cstate="hqprint">
            <a:extLst>
              <a:ext uri="{28A0092B-C50C-407E-A947-70E740481C1C}">
                <a14:useLocalDpi xmlns:a14="http://schemas.microsoft.com/office/drawing/2010/main"/>
              </a:ext>
            </a:extLst>
          </a:blip>
          <a:stretch>
            <a:fillRect/>
          </a:stretch>
        </p:blipFill>
        <p:spPr>
          <a:xfrm>
            <a:off x="7753349" y="658010"/>
            <a:ext cx="3867151" cy="692249"/>
          </a:xfrm>
          <a:prstGeom prst="rect">
            <a:avLst/>
          </a:prstGeom>
        </p:spPr>
      </p:pic>
      <p:pic>
        <p:nvPicPr>
          <p:cNvPr id="27" name="Accenture_Digital_WHITE" hidden="1"/>
          <p:cNvPicPr>
            <a:picLocks noChangeAspect="1"/>
          </p:cNvPicPr>
          <p:nvPr userDrawn="1"/>
        </p:nvPicPr>
        <p:blipFill>
          <a:blip r:embed="rId14"/>
          <a:stretch>
            <a:fillRect/>
          </a:stretch>
        </p:blipFill>
        <p:spPr>
          <a:xfrm>
            <a:off x="7756425" y="467886"/>
            <a:ext cx="2959200" cy="635308"/>
          </a:xfrm>
          <a:prstGeom prst="rect">
            <a:avLst/>
          </a:prstGeom>
        </p:spPr>
      </p:pic>
      <p:pic>
        <p:nvPicPr>
          <p:cNvPr id="35" name="Accenture_Digital_BLACK" hidden="1"/>
          <p:cNvPicPr>
            <a:picLocks noChangeAspect="1"/>
          </p:cNvPicPr>
          <p:nvPr userDrawn="1"/>
        </p:nvPicPr>
        <p:blipFill>
          <a:blip r:embed="rId15"/>
          <a:stretch>
            <a:fillRect/>
          </a:stretch>
        </p:blipFill>
        <p:spPr>
          <a:xfrm>
            <a:off x="7756072" y="467886"/>
            <a:ext cx="2959553" cy="635385"/>
          </a:xfrm>
          <a:prstGeom prst="rect">
            <a:avLst/>
          </a:prstGeom>
        </p:spPr>
      </p:pic>
      <p:pic>
        <p:nvPicPr>
          <p:cNvPr id="22" name="Accenture_Consulting_WHITE" hidden="1"/>
          <p:cNvPicPr>
            <a:picLocks noChangeAspect="1"/>
          </p:cNvPicPr>
          <p:nvPr userDrawn="1"/>
        </p:nvPicPr>
        <p:blipFill>
          <a:blip r:embed="rId16"/>
          <a:stretch>
            <a:fillRect/>
          </a:stretch>
        </p:blipFill>
        <p:spPr>
          <a:xfrm>
            <a:off x="7755225" y="464711"/>
            <a:ext cx="3722400" cy="633721"/>
          </a:xfrm>
          <a:prstGeom prst="rect">
            <a:avLst/>
          </a:prstGeom>
        </p:spPr>
      </p:pic>
      <p:pic>
        <p:nvPicPr>
          <p:cNvPr id="30" name="Accenture_Consulting_BLACK" hidden="1"/>
          <p:cNvPicPr>
            <a:picLocks noChangeAspect="1"/>
          </p:cNvPicPr>
          <p:nvPr userDrawn="1"/>
        </p:nvPicPr>
        <p:blipFill>
          <a:blip r:embed="rId17"/>
          <a:stretch>
            <a:fillRect/>
          </a:stretch>
        </p:blipFill>
        <p:spPr>
          <a:xfrm>
            <a:off x="7756071" y="464711"/>
            <a:ext cx="3721554" cy="633578"/>
          </a:xfrm>
          <a:prstGeom prst="rect">
            <a:avLst/>
          </a:prstGeom>
        </p:spPr>
      </p:pic>
      <p:grpSp>
        <p:nvGrpSpPr>
          <p:cNvPr id="39" name="Accenture_MasterWHITE" hidden="1"/>
          <p:cNvGrpSpPr/>
          <p:nvPr userDrawn="1"/>
        </p:nvGrpSpPr>
        <p:grpSpPr>
          <a:xfrm>
            <a:off x="7782263" y="470921"/>
            <a:ext cx="1828462" cy="530297"/>
            <a:chOff x="457202" y="420673"/>
            <a:chExt cx="2182661" cy="633434"/>
          </a:xfrm>
        </p:grpSpPr>
        <p:sp>
          <p:nvSpPr>
            <p:cNvPr id="40" name="Freeform 6"/>
            <p:cNvSpPr>
              <a:spLocks noEditPoints="1"/>
            </p:cNvSpPr>
            <p:nvPr userDrawn="1"/>
          </p:nvSpPr>
          <p:spPr bwMode="auto">
            <a:xfrm>
              <a:off x="457202" y="668790"/>
              <a:ext cx="2182661" cy="385317"/>
            </a:xfrm>
            <a:custGeom>
              <a:avLst/>
              <a:gdLst>
                <a:gd name="T0" fmla="*/ 35 w 765"/>
                <a:gd name="T1" fmla="*/ 118 h 135"/>
                <a:gd name="T2" fmla="*/ 56 w 765"/>
                <a:gd name="T3" fmla="*/ 88 h 135"/>
                <a:gd name="T4" fmla="*/ 78 w 765"/>
                <a:gd name="T5" fmla="*/ 62 h 135"/>
                <a:gd name="T6" fmla="*/ 4 w 765"/>
                <a:gd name="T7" fmla="*/ 62 h 135"/>
                <a:gd name="T8" fmla="*/ 42 w 765"/>
                <a:gd name="T9" fmla="*/ 47 h 135"/>
                <a:gd name="T10" fmla="*/ 56 w 765"/>
                <a:gd name="T11" fmla="*/ 75 h 135"/>
                <a:gd name="T12" fmla="*/ 30 w 765"/>
                <a:gd name="T13" fmla="*/ 135 h 135"/>
                <a:gd name="T14" fmla="*/ 56 w 765"/>
                <a:gd name="T15" fmla="*/ 121 h 135"/>
                <a:gd name="T16" fmla="*/ 78 w 765"/>
                <a:gd name="T17" fmla="*/ 132 h 135"/>
                <a:gd name="T18" fmla="*/ 132 w 765"/>
                <a:gd name="T19" fmla="*/ 47 h 135"/>
                <a:gd name="T20" fmla="*/ 154 w 765"/>
                <a:gd name="T21" fmla="*/ 118 h 135"/>
                <a:gd name="T22" fmla="*/ 171 w 765"/>
                <a:gd name="T23" fmla="*/ 130 h 135"/>
                <a:gd name="T24" fmla="*/ 88 w 765"/>
                <a:gd name="T25" fmla="*/ 78 h 135"/>
                <a:gd name="T26" fmla="*/ 172 w 765"/>
                <a:gd name="T27" fmla="*/ 67 h 135"/>
                <a:gd name="T28" fmla="*/ 236 w 765"/>
                <a:gd name="T29" fmla="*/ 67 h 135"/>
                <a:gd name="T30" fmla="*/ 202 w 765"/>
                <a:gd name="T31" fmla="*/ 74 h 135"/>
                <a:gd name="T32" fmla="*/ 260 w 765"/>
                <a:gd name="T33" fmla="*/ 116 h 135"/>
                <a:gd name="T34" fmla="*/ 231 w 765"/>
                <a:gd name="T35" fmla="*/ 135 h 135"/>
                <a:gd name="T36" fmla="*/ 223 w 765"/>
                <a:gd name="T37" fmla="*/ 31 h 135"/>
                <a:gd name="T38" fmla="*/ 236 w 765"/>
                <a:gd name="T39" fmla="*/ 67 h 135"/>
                <a:gd name="T40" fmla="*/ 291 w 765"/>
                <a:gd name="T41" fmla="*/ 63 h 135"/>
                <a:gd name="T42" fmla="*/ 327 w 765"/>
                <a:gd name="T43" fmla="*/ 63 h 135"/>
                <a:gd name="T44" fmla="*/ 349 w 765"/>
                <a:gd name="T45" fmla="*/ 71 h 135"/>
                <a:gd name="T46" fmla="*/ 269 w 765"/>
                <a:gd name="T47" fmla="*/ 77 h 135"/>
                <a:gd name="T48" fmla="*/ 347 w 765"/>
                <a:gd name="T49" fmla="*/ 131 h 135"/>
                <a:gd name="T50" fmla="*/ 328 w 765"/>
                <a:gd name="T51" fmla="*/ 118 h 135"/>
                <a:gd name="T52" fmla="*/ 349 w 765"/>
                <a:gd name="T53" fmla="*/ 77 h 135"/>
                <a:gd name="T54" fmla="*/ 418 w 765"/>
                <a:gd name="T55" fmla="*/ 76 h 135"/>
                <a:gd name="T56" fmla="*/ 408 w 765"/>
                <a:gd name="T57" fmla="*/ 52 h 135"/>
                <a:gd name="T58" fmla="*/ 384 w 765"/>
                <a:gd name="T59" fmla="*/ 132 h 135"/>
                <a:gd name="T60" fmla="*/ 361 w 765"/>
                <a:gd name="T61" fmla="*/ 33 h 135"/>
                <a:gd name="T62" fmla="*/ 384 w 765"/>
                <a:gd name="T63" fmla="*/ 51 h 135"/>
                <a:gd name="T64" fmla="*/ 414 w 765"/>
                <a:gd name="T65" fmla="*/ 31 h 135"/>
                <a:gd name="T66" fmla="*/ 441 w 765"/>
                <a:gd name="T67" fmla="*/ 132 h 135"/>
                <a:gd name="T68" fmla="*/ 489 w 765"/>
                <a:gd name="T69" fmla="*/ 49 h 135"/>
                <a:gd name="T70" fmla="*/ 505 w 765"/>
                <a:gd name="T71" fmla="*/ 118 h 135"/>
                <a:gd name="T72" fmla="*/ 516 w 765"/>
                <a:gd name="T73" fmla="*/ 133 h 135"/>
                <a:gd name="T74" fmla="*/ 466 w 765"/>
                <a:gd name="T75" fmla="*/ 107 h 135"/>
                <a:gd name="T76" fmla="*/ 447 w 765"/>
                <a:gd name="T77" fmla="*/ 49 h 135"/>
                <a:gd name="T78" fmla="*/ 466 w 765"/>
                <a:gd name="T79" fmla="*/ 33 h 135"/>
                <a:gd name="T80" fmla="*/ 489 w 765"/>
                <a:gd name="T81" fmla="*/ 0 h 135"/>
                <a:gd name="T82" fmla="*/ 519 w 765"/>
                <a:gd name="T83" fmla="*/ 33 h 135"/>
                <a:gd name="T84" fmla="*/ 489 w 765"/>
                <a:gd name="T85" fmla="*/ 49 h 135"/>
                <a:gd name="T86" fmla="*/ 586 w 765"/>
                <a:gd name="T87" fmla="*/ 114 h 135"/>
                <a:gd name="T88" fmla="*/ 556 w 765"/>
                <a:gd name="T89" fmla="*/ 135 h 135"/>
                <a:gd name="T90" fmla="*/ 529 w 765"/>
                <a:gd name="T91" fmla="*/ 33 h 135"/>
                <a:gd name="T92" fmla="*/ 552 w 765"/>
                <a:gd name="T93" fmla="*/ 90 h 135"/>
                <a:gd name="T94" fmla="*/ 563 w 765"/>
                <a:gd name="T95" fmla="*/ 113 h 135"/>
                <a:gd name="T96" fmla="*/ 586 w 765"/>
                <a:gd name="T97" fmla="*/ 33 h 135"/>
                <a:gd name="T98" fmla="*/ 609 w 765"/>
                <a:gd name="T99" fmla="*/ 132 h 135"/>
                <a:gd name="T100" fmla="*/ 647 w 765"/>
                <a:gd name="T101" fmla="*/ 89 h 135"/>
                <a:gd name="T102" fmla="*/ 624 w 765"/>
                <a:gd name="T103" fmla="*/ 132 h 135"/>
                <a:gd name="T104" fmla="*/ 647 w 765"/>
                <a:gd name="T105" fmla="*/ 33 h 135"/>
                <a:gd name="T106" fmla="*/ 648 w 765"/>
                <a:gd name="T107" fmla="*/ 51 h 135"/>
                <a:gd name="T108" fmla="*/ 680 w 765"/>
                <a:gd name="T109" fmla="*/ 55 h 135"/>
                <a:gd name="T110" fmla="*/ 743 w 765"/>
                <a:gd name="T111" fmla="*/ 63 h 135"/>
                <a:gd name="T112" fmla="*/ 726 w 765"/>
                <a:gd name="T113" fmla="*/ 45 h 135"/>
                <a:gd name="T114" fmla="*/ 765 w 765"/>
                <a:gd name="T115" fmla="*/ 77 h 135"/>
                <a:gd name="T116" fmla="*/ 727 w 765"/>
                <a:gd name="T117" fmla="*/ 31 h 135"/>
                <a:gd name="T118" fmla="*/ 735 w 765"/>
                <a:gd name="T119" fmla="*/ 135 h 135"/>
                <a:gd name="T120" fmla="*/ 763 w 765"/>
                <a:gd name="T121" fmla="*/ 115 h 135"/>
                <a:gd name="T122" fmla="*/ 706 w 765"/>
                <a:gd name="T123" fmla="*/ 7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5" h="135">
                  <a:moveTo>
                    <a:pt x="56" y="88"/>
                  </a:moveTo>
                  <a:cubicBezTo>
                    <a:pt x="56" y="101"/>
                    <a:pt x="51" y="118"/>
                    <a:pt x="35" y="118"/>
                  </a:cubicBezTo>
                  <a:cubicBezTo>
                    <a:pt x="28" y="118"/>
                    <a:pt x="23" y="114"/>
                    <a:pt x="23" y="106"/>
                  </a:cubicBezTo>
                  <a:cubicBezTo>
                    <a:pt x="23" y="91"/>
                    <a:pt x="45" y="88"/>
                    <a:pt x="56" y="88"/>
                  </a:cubicBezTo>
                  <a:close/>
                  <a:moveTo>
                    <a:pt x="78" y="132"/>
                  </a:moveTo>
                  <a:cubicBezTo>
                    <a:pt x="78" y="62"/>
                    <a:pt x="78" y="62"/>
                    <a:pt x="78" y="62"/>
                  </a:cubicBezTo>
                  <a:cubicBezTo>
                    <a:pt x="78" y="38"/>
                    <a:pt x="63" y="31"/>
                    <a:pt x="42" y="31"/>
                  </a:cubicBezTo>
                  <a:cubicBezTo>
                    <a:pt x="21" y="31"/>
                    <a:pt x="4" y="39"/>
                    <a:pt x="4" y="62"/>
                  </a:cubicBezTo>
                  <a:cubicBezTo>
                    <a:pt x="27" y="62"/>
                    <a:pt x="27" y="62"/>
                    <a:pt x="27" y="62"/>
                  </a:cubicBezTo>
                  <a:cubicBezTo>
                    <a:pt x="27" y="52"/>
                    <a:pt x="32" y="47"/>
                    <a:pt x="42" y="47"/>
                  </a:cubicBezTo>
                  <a:cubicBezTo>
                    <a:pt x="53" y="47"/>
                    <a:pt x="56" y="55"/>
                    <a:pt x="56" y="65"/>
                  </a:cubicBezTo>
                  <a:cubicBezTo>
                    <a:pt x="56" y="75"/>
                    <a:pt x="56" y="75"/>
                    <a:pt x="56" y="75"/>
                  </a:cubicBezTo>
                  <a:cubicBezTo>
                    <a:pt x="33" y="76"/>
                    <a:pt x="0" y="79"/>
                    <a:pt x="0" y="109"/>
                  </a:cubicBezTo>
                  <a:cubicBezTo>
                    <a:pt x="0" y="125"/>
                    <a:pt x="14" y="135"/>
                    <a:pt x="30" y="135"/>
                  </a:cubicBezTo>
                  <a:cubicBezTo>
                    <a:pt x="41" y="135"/>
                    <a:pt x="51" y="131"/>
                    <a:pt x="56" y="121"/>
                  </a:cubicBezTo>
                  <a:cubicBezTo>
                    <a:pt x="56" y="121"/>
                    <a:pt x="56" y="121"/>
                    <a:pt x="56" y="121"/>
                  </a:cubicBezTo>
                  <a:cubicBezTo>
                    <a:pt x="56" y="132"/>
                    <a:pt x="56" y="132"/>
                    <a:pt x="56" y="132"/>
                  </a:cubicBezTo>
                  <a:lnTo>
                    <a:pt x="78" y="132"/>
                  </a:lnTo>
                  <a:close/>
                  <a:moveTo>
                    <a:pt x="147" y="67"/>
                  </a:moveTo>
                  <a:cubicBezTo>
                    <a:pt x="147" y="57"/>
                    <a:pt x="144" y="47"/>
                    <a:pt x="132" y="47"/>
                  </a:cubicBezTo>
                  <a:cubicBezTo>
                    <a:pt x="117" y="47"/>
                    <a:pt x="113" y="62"/>
                    <a:pt x="113" y="74"/>
                  </a:cubicBezTo>
                  <a:cubicBezTo>
                    <a:pt x="113" y="99"/>
                    <a:pt x="128" y="118"/>
                    <a:pt x="154" y="118"/>
                  </a:cubicBezTo>
                  <a:cubicBezTo>
                    <a:pt x="160" y="118"/>
                    <a:pt x="165" y="118"/>
                    <a:pt x="171" y="116"/>
                  </a:cubicBezTo>
                  <a:cubicBezTo>
                    <a:pt x="171" y="130"/>
                    <a:pt x="171" y="130"/>
                    <a:pt x="171" y="130"/>
                  </a:cubicBezTo>
                  <a:cubicBezTo>
                    <a:pt x="161" y="133"/>
                    <a:pt x="151" y="135"/>
                    <a:pt x="142" y="135"/>
                  </a:cubicBezTo>
                  <a:cubicBezTo>
                    <a:pt x="106" y="135"/>
                    <a:pt x="88" y="113"/>
                    <a:pt x="88" y="78"/>
                  </a:cubicBezTo>
                  <a:cubicBezTo>
                    <a:pt x="88" y="49"/>
                    <a:pt x="104" y="31"/>
                    <a:pt x="134" y="31"/>
                  </a:cubicBezTo>
                  <a:cubicBezTo>
                    <a:pt x="158" y="31"/>
                    <a:pt x="172" y="42"/>
                    <a:pt x="172" y="67"/>
                  </a:cubicBezTo>
                  <a:lnTo>
                    <a:pt x="147" y="67"/>
                  </a:lnTo>
                  <a:close/>
                  <a:moveTo>
                    <a:pt x="236" y="67"/>
                  </a:moveTo>
                  <a:cubicBezTo>
                    <a:pt x="236" y="57"/>
                    <a:pt x="233" y="47"/>
                    <a:pt x="221" y="47"/>
                  </a:cubicBezTo>
                  <a:cubicBezTo>
                    <a:pt x="206" y="47"/>
                    <a:pt x="202" y="62"/>
                    <a:pt x="202" y="74"/>
                  </a:cubicBezTo>
                  <a:cubicBezTo>
                    <a:pt x="202" y="99"/>
                    <a:pt x="217" y="118"/>
                    <a:pt x="243" y="118"/>
                  </a:cubicBezTo>
                  <a:cubicBezTo>
                    <a:pt x="249" y="118"/>
                    <a:pt x="254" y="118"/>
                    <a:pt x="260" y="116"/>
                  </a:cubicBezTo>
                  <a:cubicBezTo>
                    <a:pt x="260" y="130"/>
                    <a:pt x="260" y="130"/>
                    <a:pt x="260" y="130"/>
                  </a:cubicBezTo>
                  <a:cubicBezTo>
                    <a:pt x="250" y="133"/>
                    <a:pt x="241" y="135"/>
                    <a:pt x="231" y="135"/>
                  </a:cubicBezTo>
                  <a:cubicBezTo>
                    <a:pt x="195" y="135"/>
                    <a:pt x="177" y="113"/>
                    <a:pt x="177" y="78"/>
                  </a:cubicBezTo>
                  <a:cubicBezTo>
                    <a:pt x="177" y="49"/>
                    <a:pt x="193" y="31"/>
                    <a:pt x="223" y="31"/>
                  </a:cubicBezTo>
                  <a:cubicBezTo>
                    <a:pt x="247" y="31"/>
                    <a:pt x="261" y="42"/>
                    <a:pt x="261" y="67"/>
                  </a:cubicBezTo>
                  <a:lnTo>
                    <a:pt x="236" y="67"/>
                  </a:lnTo>
                  <a:close/>
                  <a:moveTo>
                    <a:pt x="327" y="63"/>
                  </a:moveTo>
                  <a:cubicBezTo>
                    <a:pt x="291" y="63"/>
                    <a:pt x="291" y="63"/>
                    <a:pt x="291" y="63"/>
                  </a:cubicBezTo>
                  <a:cubicBezTo>
                    <a:pt x="292" y="53"/>
                    <a:pt x="300" y="45"/>
                    <a:pt x="310" y="45"/>
                  </a:cubicBezTo>
                  <a:cubicBezTo>
                    <a:pt x="320" y="45"/>
                    <a:pt x="327" y="52"/>
                    <a:pt x="327" y="63"/>
                  </a:cubicBezTo>
                  <a:close/>
                  <a:moveTo>
                    <a:pt x="349" y="77"/>
                  </a:moveTo>
                  <a:cubicBezTo>
                    <a:pt x="349" y="71"/>
                    <a:pt x="349" y="71"/>
                    <a:pt x="349" y="71"/>
                  </a:cubicBezTo>
                  <a:cubicBezTo>
                    <a:pt x="349" y="47"/>
                    <a:pt x="337" y="31"/>
                    <a:pt x="311" y="31"/>
                  </a:cubicBezTo>
                  <a:cubicBezTo>
                    <a:pt x="282" y="31"/>
                    <a:pt x="269" y="49"/>
                    <a:pt x="269" y="77"/>
                  </a:cubicBezTo>
                  <a:cubicBezTo>
                    <a:pt x="269" y="110"/>
                    <a:pt x="283" y="135"/>
                    <a:pt x="319" y="135"/>
                  </a:cubicBezTo>
                  <a:cubicBezTo>
                    <a:pt x="328" y="135"/>
                    <a:pt x="338" y="134"/>
                    <a:pt x="347" y="131"/>
                  </a:cubicBezTo>
                  <a:cubicBezTo>
                    <a:pt x="347" y="115"/>
                    <a:pt x="347" y="115"/>
                    <a:pt x="347" y="115"/>
                  </a:cubicBezTo>
                  <a:cubicBezTo>
                    <a:pt x="341" y="117"/>
                    <a:pt x="334" y="118"/>
                    <a:pt x="328" y="118"/>
                  </a:cubicBezTo>
                  <a:cubicBezTo>
                    <a:pt x="305" y="118"/>
                    <a:pt x="290" y="98"/>
                    <a:pt x="290" y="77"/>
                  </a:cubicBezTo>
                  <a:lnTo>
                    <a:pt x="349" y="77"/>
                  </a:lnTo>
                  <a:close/>
                  <a:moveTo>
                    <a:pt x="418" y="132"/>
                  </a:moveTo>
                  <a:cubicBezTo>
                    <a:pt x="418" y="76"/>
                    <a:pt x="418" y="76"/>
                    <a:pt x="418" y="76"/>
                  </a:cubicBezTo>
                  <a:cubicBezTo>
                    <a:pt x="418" y="71"/>
                    <a:pt x="418" y="58"/>
                    <a:pt x="414" y="54"/>
                  </a:cubicBezTo>
                  <a:cubicBezTo>
                    <a:pt x="413" y="53"/>
                    <a:pt x="410" y="52"/>
                    <a:pt x="408" y="52"/>
                  </a:cubicBezTo>
                  <a:cubicBezTo>
                    <a:pt x="391" y="52"/>
                    <a:pt x="384" y="76"/>
                    <a:pt x="384" y="89"/>
                  </a:cubicBezTo>
                  <a:cubicBezTo>
                    <a:pt x="384" y="132"/>
                    <a:pt x="384" y="132"/>
                    <a:pt x="384" y="132"/>
                  </a:cubicBezTo>
                  <a:cubicBezTo>
                    <a:pt x="361" y="132"/>
                    <a:pt x="361" y="132"/>
                    <a:pt x="361" y="132"/>
                  </a:cubicBezTo>
                  <a:cubicBezTo>
                    <a:pt x="361" y="33"/>
                    <a:pt x="361" y="33"/>
                    <a:pt x="361" y="33"/>
                  </a:cubicBezTo>
                  <a:cubicBezTo>
                    <a:pt x="384" y="33"/>
                    <a:pt x="384" y="33"/>
                    <a:pt x="384" y="33"/>
                  </a:cubicBezTo>
                  <a:cubicBezTo>
                    <a:pt x="384" y="51"/>
                    <a:pt x="384" y="51"/>
                    <a:pt x="384" y="51"/>
                  </a:cubicBezTo>
                  <a:cubicBezTo>
                    <a:pt x="385" y="51"/>
                    <a:pt x="385" y="51"/>
                    <a:pt x="385" y="51"/>
                  </a:cubicBezTo>
                  <a:cubicBezTo>
                    <a:pt x="390" y="39"/>
                    <a:pt x="400" y="31"/>
                    <a:pt x="414" y="31"/>
                  </a:cubicBezTo>
                  <a:cubicBezTo>
                    <a:pt x="433" y="31"/>
                    <a:pt x="441" y="46"/>
                    <a:pt x="441" y="63"/>
                  </a:cubicBezTo>
                  <a:cubicBezTo>
                    <a:pt x="441" y="132"/>
                    <a:pt x="441" y="132"/>
                    <a:pt x="441" y="132"/>
                  </a:cubicBezTo>
                  <a:lnTo>
                    <a:pt x="418" y="132"/>
                  </a:lnTo>
                  <a:close/>
                  <a:moveTo>
                    <a:pt x="489" y="49"/>
                  </a:moveTo>
                  <a:cubicBezTo>
                    <a:pt x="489" y="96"/>
                    <a:pt x="489" y="96"/>
                    <a:pt x="489" y="96"/>
                  </a:cubicBezTo>
                  <a:cubicBezTo>
                    <a:pt x="489" y="108"/>
                    <a:pt x="491" y="118"/>
                    <a:pt x="505" y="118"/>
                  </a:cubicBezTo>
                  <a:cubicBezTo>
                    <a:pt x="509" y="118"/>
                    <a:pt x="512" y="118"/>
                    <a:pt x="516" y="117"/>
                  </a:cubicBezTo>
                  <a:cubicBezTo>
                    <a:pt x="516" y="133"/>
                    <a:pt x="516" y="133"/>
                    <a:pt x="516" y="133"/>
                  </a:cubicBezTo>
                  <a:cubicBezTo>
                    <a:pt x="510" y="134"/>
                    <a:pt x="503" y="135"/>
                    <a:pt x="497" y="135"/>
                  </a:cubicBezTo>
                  <a:cubicBezTo>
                    <a:pt x="477" y="135"/>
                    <a:pt x="466" y="128"/>
                    <a:pt x="466" y="107"/>
                  </a:cubicBezTo>
                  <a:cubicBezTo>
                    <a:pt x="466" y="49"/>
                    <a:pt x="466" y="49"/>
                    <a:pt x="466" y="49"/>
                  </a:cubicBezTo>
                  <a:cubicBezTo>
                    <a:pt x="447" y="49"/>
                    <a:pt x="447" y="49"/>
                    <a:pt x="447" y="49"/>
                  </a:cubicBezTo>
                  <a:cubicBezTo>
                    <a:pt x="447" y="33"/>
                    <a:pt x="447" y="33"/>
                    <a:pt x="447" y="33"/>
                  </a:cubicBezTo>
                  <a:cubicBezTo>
                    <a:pt x="466" y="33"/>
                    <a:pt x="466" y="33"/>
                    <a:pt x="466" y="33"/>
                  </a:cubicBezTo>
                  <a:cubicBezTo>
                    <a:pt x="466" y="9"/>
                    <a:pt x="466" y="9"/>
                    <a:pt x="466" y="9"/>
                  </a:cubicBezTo>
                  <a:cubicBezTo>
                    <a:pt x="489" y="0"/>
                    <a:pt x="489" y="0"/>
                    <a:pt x="489" y="0"/>
                  </a:cubicBezTo>
                  <a:cubicBezTo>
                    <a:pt x="489" y="33"/>
                    <a:pt x="489" y="33"/>
                    <a:pt x="489" y="33"/>
                  </a:cubicBezTo>
                  <a:cubicBezTo>
                    <a:pt x="519" y="33"/>
                    <a:pt x="519" y="33"/>
                    <a:pt x="519" y="33"/>
                  </a:cubicBezTo>
                  <a:cubicBezTo>
                    <a:pt x="519" y="49"/>
                    <a:pt x="519" y="49"/>
                    <a:pt x="519" y="49"/>
                  </a:cubicBezTo>
                  <a:lnTo>
                    <a:pt x="489" y="49"/>
                  </a:lnTo>
                  <a:close/>
                  <a:moveTo>
                    <a:pt x="586" y="132"/>
                  </a:moveTo>
                  <a:cubicBezTo>
                    <a:pt x="586" y="114"/>
                    <a:pt x="586" y="114"/>
                    <a:pt x="586" y="114"/>
                  </a:cubicBezTo>
                  <a:cubicBezTo>
                    <a:pt x="586" y="114"/>
                    <a:pt x="586" y="114"/>
                    <a:pt x="586" y="114"/>
                  </a:cubicBezTo>
                  <a:cubicBezTo>
                    <a:pt x="580" y="126"/>
                    <a:pt x="570" y="135"/>
                    <a:pt x="556" y="135"/>
                  </a:cubicBezTo>
                  <a:cubicBezTo>
                    <a:pt x="537" y="135"/>
                    <a:pt x="529" y="119"/>
                    <a:pt x="529" y="102"/>
                  </a:cubicBezTo>
                  <a:cubicBezTo>
                    <a:pt x="529" y="33"/>
                    <a:pt x="529" y="33"/>
                    <a:pt x="529" y="33"/>
                  </a:cubicBezTo>
                  <a:cubicBezTo>
                    <a:pt x="552" y="33"/>
                    <a:pt x="552" y="33"/>
                    <a:pt x="552" y="33"/>
                  </a:cubicBezTo>
                  <a:cubicBezTo>
                    <a:pt x="552" y="90"/>
                    <a:pt x="552" y="90"/>
                    <a:pt x="552" y="90"/>
                  </a:cubicBezTo>
                  <a:cubicBezTo>
                    <a:pt x="552" y="95"/>
                    <a:pt x="552" y="107"/>
                    <a:pt x="556" y="111"/>
                  </a:cubicBezTo>
                  <a:cubicBezTo>
                    <a:pt x="558" y="113"/>
                    <a:pt x="560" y="113"/>
                    <a:pt x="563" y="113"/>
                  </a:cubicBezTo>
                  <a:cubicBezTo>
                    <a:pt x="579" y="113"/>
                    <a:pt x="586" y="89"/>
                    <a:pt x="586" y="76"/>
                  </a:cubicBezTo>
                  <a:cubicBezTo>
                    <a:pt x="586" y="33"/>
                    <a:pt x="586" y="33"/>
                    <a:pt x="586" y="33"/>
                  </a:cubicBezTo>
                  <a:cubicBezTo>
                    <a:pt x="609" y="33"/>
                    <a:pt x="609" y="33"/>
                    <a:pt x="609" y="33"/>
                  </a:cubicBezTo>
                  <a:cubicBezTo>
                    <a:pt x="609" y="132"/>
                    <a:pt x="609" y="132"/>
                    <a:pt x="609" y="132"/>
                  </a:cubicBezTo>
                  <a:lnTo>
                    <a:pt x="586" y="132"/>
                  </a:lnTo>
                  <a:close/>
                  <a:moveTo>
                    <a:pt x="647" y="89"/>
                  </a:moveTo>
                  <a:cubicBezTo>
                    <a:pt x="647" y="132"/>
                    <a:pt x="647" y="132"/>
                    <a:pt x="647" y="132"/>
                  </a:cubicBezTo>
                  <a:cubicBezTo>
                    <a:pt x="624" y="132"/>
                    <a:pt x="624" y="132"/>
                    <a:pt x="624" y="132"/>
                  </a:cubicBezTo>
                  <a:cubicBezTo>
                    <a:pt x="624" y="33"/>
                    <a:pt x="624" y="33"/>
                    <a:pt x="624" y="33"/>
                  </a:cubicBezTo>
                  <a:cubicBezTo>
                    <a:pt x="647" y="33"/>
                    <a:pt x="647" y="33"/>
                    <a:pt x="647" y="33"/>
                  </a:cubicBezTo>
                  <a:cubicBezTo>
                    <a:pt x="647" y="51"/>
                    <a:pt x="647" y="51"/>
                    <a:pt x="647" y="51"/>
                  </a:cubicBezTo>
                  <a:cubicBezTo>
                    <a:pt x="648" y="51"/>
                    <a:pt x="648" y="51"/>
                    <a:pt x="648" y="51"/>
                  </a:cubicBezTo>
                  <a:cubicBezTo>
                    <a:pt x="655" y="37"/>
                    <a:pt x="663" y="31"/>
                    <a:pt x="680" y="31"/>
                  </a:cubicBezTo>
                  <a:cubicBezTo>
                    <a:pt x="680" y="55"/>
                    <a:pt x="680" y="55"/>
                    <a:pt x="680" y="55"/>
                  </a:cubicBezTo>
                  <a:cubicBezTo>
                    <a:pt x="656" y="55"/>
                    <a:pt x="647" y="65"/>
                    <a:pt x="647" y="89"/>
                  </a:cubicBezTo>
                  <a:close/>
                  <a:moveTo>
                    <a:pt x="743" y="63"/>
                  </a:moveTo>
                  <a:cubicBezTo>
                    <a:pt x="707" y="63"/>
                    <a:pt x="707" y="63"/>
                    <a:pt x="707" y="63"/>
                  </a:cubicBezTo>
                  <a:cubicBezTo>
                    <a:pt x="708" y="53"/>
                    <a:pt x="715" y="45"/>
                    <a:pt x="726" y="45"/>
                  </a:cubicBezTo>
                  <a:cubicBezTo>
                    <a:pt x="736" y="45"/>
                    <a:pt x="743" y="52"/>
                    <a:pt x="743" y="63"/>
                  </a:cubicBezTo>
                  <a:close/>
                  <a:moveTo>
                    <a:pt x="765" y="77"/>
                  </a:moveTo>
                  <a:cubicBezTo>
                    <a:pt x="765" y="71"/>
                    <a:pt x="765" y="71"/>
                    <a:pt x="765" y="71"/>
                  </a:cubicBezTo>
                  <a:cubicBezTo>
                    <a:pt x="765" y="47"/>
                    <a:pt x="753" y="31"/>
                    <a:pt x="727" y="31"/>
                  </a:cubicBezTo>
                  <a:cubicBezTo>
                    <a:pt x="698" y="31"/>
                    <a:pt x="685" y="49"/>
                    <a:pt x="685" y="77"/>
                  </a:cubicBezTo>
                  <a:cubicBezTo>
                    <a:pt x="685" y="110"/>
                    <a:pt x="699" y="135"/>
                    <a:pt x="735" y="135"/>
                  </a:cubicBezTo>
                  <a:cubicBezTo>
                    <a:pt x="744" y="135"/>
                    <a:pt x="754" y="134"/>
                    <a:pt x="763" y="131"/>
                  </a:cubicBezTo>
                  <a:cubicBezTo>
                    <a:pt x="763" y="115"/>
                    <a:pt x="763" y="115"/>
                    <a:pt x="763" y="115"/>
                  </a:cubicBezTo>
                  <a:cubicBezTo>
                    <a:pt x="757" y="117"/>
                    <a:pt x="750" y="118"/>
                    <a:pt x="744" y="118"/>
                  </a:cubicBezTo>
                  <a:cubicBezTo>
                    <a:pt x="721" y="118"/>
                    <a:pt x="706" y="98"/>
                    <a:pt x="706" y="77"/>
                  </a:cubicBezTo>
                  <a:lnTo>
                    <a:pt x="765" y="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41" name="Freeform 40"/>
            <p:cNvSpPr/>
            <p:nvPr/>
          </p:nvSpPr>
          <p:spPr>
            <a:xfrm>
              <a:off x="1739049" y="420673"/>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Graphik" panose="020B0503030202060203" pitchFamily="34" charset="0"/>
              </a:endParaRPr>
            </a:p>
          </p:txBody>
        </p:sp>
      </p:grpSp>
      <p:grpSp>
        <p:nvGrpSpPr>
          <p:cNvPr id="43" name="Accenture_MasterBLACK" hidden="1"/>
          <p:cNvGrpSpPr/>
          <p:nvPr userDrawn="1"/>
        </p:nvGrpSpPr>
        <p:grpSpPr>
          <a:xfrm>
            <a:off x="7767974" y="460549"/>
            <a:ext cx="1828462" cy="528825"/>
            <a:chOff x="476250" y="397668"/>
            <a:chExt cx="2195577" cy="635000"/>
          </a:xfrm>
        </p:grpSpPr>
        <p:sp>
          <p:nvSpPr>
            <p:cNvPr id="44" name="Freeform 43"/>
            <p:cNvSpPr>
              <a:spLocks/>
            </p:cNvSpPr>
            <p:nvPr/>
          </p:nvSpPr>
          <p:spPr bwMode="auto">
            <a:xfrm>
              <a:off x="1758865" y="397668"/>
              <a:ext cx="206059" cy="214470"/>
            </a:xfrm>
            <a:custGeom>
              <a:avLst/>
              <a:gdLst>
                <a:gd name="T0" fmla="*/ 0 w 72"/>
                <a:gd name="T1" fmla="*/ 0 h 74"/>
                <a:gd name="T2" fmla="*/ 0 w 72"/>
                <a:gd name="T3" fmla="*/ 2 h 74"/>
                <a:gd name="T4" fmla="*/ 0 w 72"/>
                <a:gd name="T5" fmla="*/ 16 h 74"/>
                <a:gd name="T6" fmla="*/ 53 w 72"/>
                <a:gd name="T7" fmla="*/ 37 h 74"/>
                <a:gd name="T8" fmla="*/ 0 w 72"/>
                <a:gd name="T9" fmla="*/ 57 h 74"/>
                <a:gd name="T10" fmla="*/ 0 w 72"/>
                <a:gd name="T11" fmla="*/ 74 h 74"/>
                <a:gd name="T12" fmla="*/ 72 w 72"/>
                <a:gd name="T13" fmla="*/ 44 h 74"/>
                <a:gd name="T14" fmla="*/ 72 w 72"/>
                <a:gd name="T15" fmla="*/ 29 h 74"/>
                <a:gd name="T16" fmla="*/ 0 w 72"/>
                <a:gd name="T1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0" y="0"/>
                  </a:moveTo>
                  <a:cubicBezTo>
                    <a:pt x="0" y="2"/>
                    <a:pt x="0" y="2"/>
                    <a:pt x="0" y="2"/>
                  </a:cubicBezTo>
                  <a:cubicBezTo>
                    <a:pt x="0" y="16"/>
                    <a:pt x="0" y="16"/>
                    <a:pt x="0" y="16"/>
                  </a:cubicBezTo>
                  <a:cubicBezTo>
                    <a:pt x="0" y="16"/>
                    <a:pt x="46" y="34"/>
                    <a:pt x="53" y="37"/>
                  </a:cubicBezTo>
                  <a:cubicBezTo>
                    <a:pt x="46" y="40"/>
                    <a:pt x="0" y="57"/>
                    <a:pt x="0" y="57"/>
                  </a:cubicBezTo>
                  <a:cubicBezTo>
                    <a:pt x="0" y="74"/>
                    <a:pt x="0" y="74"/>
                    <a:pt x="0" y="74"/>
                  </a:cubicBezTo>
                  <a:cubicBezTo>
                    <a:pt x="72" y="44"/>
                    <a:pt x="72" y="44"/>
                    <a:pt x="72" y="44"/>
                  </a:cubicBezTo>
                  <a:cubicBezTo>
                    <a:pt x="72" y="29"/>
                    <a:pt x="72" y="29"/>
                    <a:pt x="72" y="29"/>
                  </a:cubicBez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pic>
          <p:nvPicPr>
            <p:cNvPr id="45" name="Accenture Black"/>
            <p:cNvPicPr>
              <a:picLocks noChangeAspect="1"/>
            </p:cNvPicPr>
            <p:nvPr userDrawn="1"/>
          </p:nvPicPr>
          <p:blipFill>
            <a:blip r:embed="rId18" cstate="hqprint">
              <a:extLst>
                <a:ext uri="{28A0092B-C50C-407E-A947-70E740481C1C}">
                  <a14:useLocalDpi xmlns:a14="http://schemas.microsoft.com/office/drawing/2010/main"/>
                </a:ext>
              </a:extLst>
            </a:blip>
            <a:stretch>
              <a:fillRect/>
            </a:stretch>
          </p:blipFill>
          <p:spPr>
            <a:xfrm>
              <a:off x="476250" y="641561"/>
              <a:ext cx="2195577" cy="391107"/>
            </a:xfrm>
            <a:prstGeom prst="rect">
              <a:avLst/>
            </a:prstGeom>
          </p:spPr>
        </p:pic>
      </p:grpSp>
      <p:grpSp>
        <p:nvGrpSpPr>
          <p:cNvPr id="96" name="Group 95"/>
          <p:cNvGrpSpPr>
            <a:grpSpLocks noChangeAspect="1"/>
          </p:cNvGrpSpPr>
          <p:nvPr userDrawn="1"/>
        </p:nvGrpSpPr>
        <p:grpSpPr>
          <a:xfrm>
            <a:off x="9559232" y="335459"/>
            <a:ext cx="2250858" cy="604157"/>
            <a:chOff x="9563100" y="1673029"/>
            <a:chExt cx="1389888" cy="373063"/>
          </a:xfrm>
        </p:grpSpPr>
        <p:pic>
          <p:nvPicPr>
            <p:cNvPr id="97" name="Picture 96"/>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563100" y="1825994"/>
              <a:ext cx="1389888" cy="220098"/>
            </a:xfrm>
            <a:prstGeom prst="rect">
              <a:avLst/>
            </a:prstGeom>
          </p:spPr>
        </p:pic>
        <p:sp>
          <p:nvSpPr>
            <p:cNvPr id="98" name="Freeform 5"/>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Graphik" panose="020B0503030202060203" pitchFamily="34" charset="0"/>
              </a:endParaRPr>
            </a:p>
          </p:txBody>
        </p:sp>
      </p:grpSp>
      <p:pic>
        <p:nvPicPr>
          <p:cNvPr id="99" name="Picture 98"/>
          <p:cNvPicPr>
            <a:picLocks noChangeAspect="1"/>
          </p:cNvPicPr>
          <p:nvPr userDrawn="1"/>
        </p:nvPicPr>
        <p:blipFill>
          <a:blip r:embed="rId20"/>
          <a:stretch>
            <a:fillRect/>
          </a:stretch>
        </p:blipFill>
        <p:spPr>
          <a:xfrm>
            <a:off x="9947106" y="6279495"/>
            <a:ext cx="1833709" cy="351540"/>
          </a:xfrm>
          <a:prstGeom prst="rect">
            <a:avLst/>
          </a:prstGeom>
        </p:spPr>
      </p:pic>
    </p:spTree>
    <p:extLst>
      <p:ext uri="{BB962C8B-B14F-4D97-AF65-F5344CB8AC3E}">
        <p14:creationId xmlns:p14="http://schemas.microsoft.com/office/powerpoint/2010/main" val="3319116702"/>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4_Cover">
    <p:bg>
      <p:bgPr>
        <a:gradFill>
          <a:gsLst>
            <a:gs pos="0">
              <a:schemeClr val="bg1">
                <a:lumMod val="85000"/>
              </a:schemeClr>
            </a:gs>
            <a:gs pos="100000">
              <a:srgbClr val="ECECEC"/>
            </a:gs>
          </a:gsLst>
          <a:lin ang="1200000" scaled="0"/>
        </a:gradFill>
        <a:effectLst/>
      </p:bgPr>
    </p:bg>
    <p:spTree>
      <p:nvGrpSpPr>
        <p:cNvPr id="1" name=""/>
        <p:cNvGrpSpPr/>
        <p:nvPr/>
      </p:nvGrpSpPr>
      <p:grpSpPr>
        <a:xfrm>
          <a:off x="0" y="0"/>
          <a:ext cx="0" cy="0"/>
          <a:chOff x="0" y="0"/>
          <a:chExt cx="0" cy="0"/>
        </a:xfrm>
      </p:grpSpPr>
      <p:grpSp>
        <p:nvGrpSpPr>
          <p:cNvPr id="89" name="Master Brand 03 - Outline GTS" hidden="1"/>
          <p:cNvGrpSpPr>
            <a:grpSpLocks noChangeAspect="1"/>
          </p:cNvGrpSpPr>
          <p:nvPr userDrawn="1"/>
        </p:nvGrpSpPr>
        <p:grpSpPr bwMode="auto">
          <a:xfrm>
            <a:off x="1159200" y="455022"/>
            <a:ext cx="5949065" cy="6069600"/>
            <a:chOff x="1620" y="-106"/>
            <a:chExt cx="4442" cy="4532"/>
          </a:xfrm>
        </p:grpSpPr>
        <p:sp>
          <p:nvSpPr>
            <p:cNvPr id="90" name="Freeform 5"/>
            <p:cNvSpPr>
              <a:spLocks/>
            </p:cNvSpPr>
            <p:nvPr userDrawn="1"/>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FFEA00"/>
                </a:gs>
                <a:gs pos="100000">
                  <a:srgbClr val="FFB600"/>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91" name="Freeform 6"/>
            <p:cNvSpPr>
              <a:spLocks/>
            </p:cNvSpPr>
            <p:nvPr userDrawn="1"/>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00BA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83" name="Master Brand 03 - GRADIENT GTS" hidden="1"/>
          <p:cNvGrpSpPr/>
          <p:nvPr userDrawn="1"/>
        </p:nvGrpSpPr>
        <p:grpSpPr>
          <a:xfrm>
            <a:off x="1159200" y="456688"/>
            <a:ext cx="5944244" cy="6067934"/>
            <a:chOff x="336907" y="342900"/>
            <a:chExt cx="2298344" cy="2346169"/>
          </a:xfrm>
        </p:grpSpPr>
        <p:sp>
          <p:nvSpPr>
            <p:cNvPr id="84"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85"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EA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80" name="Master Brand 03 - DIMENSIONAL GTS" hidden="1"/>
          <p:cNvGrpSpPr/>
          <p:nvPr userDrawn="1"/>
        </p:nvGrpSpPr>
        <p:grpSpPr>
          <a:xfrm>
            <a:off x="1159200" y="456688"/>
            <a:ext cx="5944244" cy="6067934"/>
            <a:chOff x="336907" y="342900"/>
            <a:chExt cx="2298344" cy="2346169"/>
          </a:xfrm>
        </p:grpSpPr>
        <p:sp>
          <p:nvSpPr>
            <p:cNvPr id="81"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82"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BA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86" name="Master Brand 02 - Outline GTS" hidden="1"/>
          <p:cNvGrpSpPr>
            <a:grpSpLocks noChangeAspect="1"/>
          </p:cNvGrpSpPr>
          <p:nvPr userDrawn="1"/>
        </p:nvGrpSpPr>
        <p:grpSpPr bwMode="auto">
          <a:xfrm>
            <a:off x="1159200" y="455022"/>
            <a:ext cx="5949065" cy="6069600"/>
            <a:chOff x="1620" y="-106"/>
            <a:chExt cx="4442" cy="4532"/>
          </a:xfrm>
        </p:grpSpPr>
        <p:sp>
          <p:nvSpPr>
            <p:cNvPr id="87" name="Freeform 5"/>
            <p:cNvSpPr>
              <a:spLocks/>
            </p:cNvSpPr>
            <p:nvPr userDrawn="1"/>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00F3FF"/>
                </a:gs>
                <a:gs pos="100000">
                  <a:srgbClr val="2800FF"/>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88" name="Freeform 6"/>
            <p:cNvSpPr>
              <a:spLocks/>
            </p:cNvSpPr>
            <p:nvPr userDrawn="1"/>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00FF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77" name="Master Brand 02 - GRADIENT GTS" hidden="1"/>
          <p:cNvGrpSpPr/>
          <p:nvPr userDrawn="1"/>
        </p:nvGrpSpPr>
        <p:grpSpPr>
          <a:xfrm>
            <a:off x="1159200" y="456688"/>
            <a:ext cx="5944244" cy="6067934"/>
            <a:chOff x="336907" y="342900"/>
            <a:chExt cx="2298344" cy="2346169"/>
          </a:xfrm>
        </p:grpSpPr>
        <p:sp>
          <p:nvSpPr>
            <p:cNvPr id="78"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79"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28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74" name="Master Brand 02 - DIMENSIONAL GTS" hidden="1"/>
          <p:cNvGrpSpPr/>
          <p:nvPr userDrawn="1"/>
        </p:nvGrpSpPr>
        <p:grpSpPr>
          <a:xfrm>
            <a:off x="1159200" y="456688"/>
            <a:ext cx="5944244" cy="6067934"/>
            <a:chOff x="336907" y="342900"/>
            <a:chExt cx="2298344" cy="2346169"/>
          </a:xfrm>
        </p:grpSpPr>
        <p:sp>
          <p:nvSpPr>
            <p:cNvPr id="75"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76"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FF7D"/>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27" name="Master Brand 01 - Outline GTS" hidden="1"/>
          <p:cNvGrpSpPr>
            <a:grpSpLocks noChangeAspect="1"/>
          </p:cNvGrpSpPr>
          <p:nvPr userDrawn="1"/>
        </p:nvGrpSpPr>
        <p:grpSpPr bwMode="auto">
          <a:xfrm>
            <a:off x="1159200" y="455022"/>
            <a:ext cx="5949065" cy="6069600"/>
            <a:chOff x="1620" y="-106"/>
            <a:chExt cx="4442" cy="4532"/>
          </a:xfrm>
        </p:grpSpPr>
        <p:sp>
          <p:nvSpPr>
            <p:cNvPr id="31" name="Freeform 5"/>
            <p:cNvSpPr>
              <a:spLocks/>
            </p:cNvSpPr>
            <p:nvPr userDrawn="1"/>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FFEA00"/>
                </a:gs>
                <a:gs pos="100000">
                  <a:srgbClr val="FFB600"/>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32" name="Freeform 6"/>
            <p:cNvSpPr>
              <a:spLocks/>
            </p:cNvSpPr>
            <p:nvPr userDrawn="1"/>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7E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71" name="Master Brand 01 - GRADIENT GTS" hidden="1"/>
          <p:cNvGrpSpPr/>
          <p:nvPr userDrawn="1"/>
        </p:nvGrpSpPr>
        <p:grpSpPr>
          <a:xfrm>
            <a:off x="1159200" y="456688"/>
            <a:ext cx="5944244" cy="6067934"/>
            <a:chOff x="336907" y="342900"/>
            <a:chExt cx="2298344" cy="2346169"/>
          </a:xfrm>
        </p:grpSpPr>
        <p:sp>
          <p:nvSpPr>
            <p:cNvPr id="72"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FF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73"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FF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61" name="Master Brand 01 - DIMENSIONAL GTS" hidden="1"/>
          <p:cNvGrpSpPr/>
          <p:nvPr userDrawn="1"/>
        </p:nvGrpSpPr>
        <p:grpSpPr>
          <a:xfrm>
            <a:off x="1159200" y="456688"/>
            <a:ext cx="5944244" cy="6067934"/>
            <a:chOff x="336907" y="342900"/>
            <a:chExt cx="2298344" cy="2346169"/>
          </a:xfrm>
        </p:grpSpPr>
        <p:sp>
          <p:nvSpPr>
            <p:cNvPr id="62"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FF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63"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7E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60" name="Consulting - GRADIENT GTS" hidden="1"/>
          <p:cNvSpPr>
            <a:spLocks/>
          </p:cNvSpPr>
          <p:nvPr userDrawn="1"/>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00F3FF"/>
              </a:gs>
              <a:gs pos="100000">
                <a:srgbClr val="7E00FF"/>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6" name="Consulting - OUTLINED GTS" hidden="1"/>
          <p:cNvSpPr>
            <a:spLocks noEditPoints="1"/>
          </p:cNvSpPr>
          <p:nvPr userDrawn="1"/>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7E00FF"/>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48" name="Consulting - DIMENSIONAL GTS" hidden="1"/>
          <p:cNvGrpSpPr/>
          <p:nvPr userDrawn="1"/>
        </p:nvGrpSpPr>
        <p:grpSpPr>
          <a:xfrm>
            <a:off x="1159200" y="456688"/>
            <a:ext cx="5944244" cy="6067934"/>
            <a:chOff x="336907" y="342900"/>
            <a:chExt cx="2298344" cy="2346169"/>
          </a:xfrm>
        </p:grpSpPr>
        <p:sp>
          <p:nvSpPr>
            <p:cNvPr id="49"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100000">
                  <a:srgbClr val="380089"/>
                </a:gs>
                <a:gs pos="0">
                  <a:srgbClr val="7E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50"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7E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59" name="Digital - GRADIENT GTS" hidden="1"/>
          <p:cNvSpPr>
            <a:spLocks/>
          </p:cNvSpPr>
          <p:nvPr userDrawn="1"/>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FFB600"/>
              </a:gs>
              <a:gs pos="100000">
                <a:srgbClr val="FFFF00"/>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5" name="Digital - OUTLINED GTS" hidden="1"/>
          <p:cNvSpPr>
            <a:spLocks noEditPoints="1"/>
          </p:cNvSpPr>
          <p:nvPr userDrawn="1"/>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FFFF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45" name="Digital - DIMENSIONAL GTS" hidden="1"/>
          <p:cNvGrpSpPr/>
          <p:nvPr userDrawn="1"/>
        </p:nvGrpSpPr>
        <p:grpSpPr>
          <a:xfrm>
            <a:off x="1159200" y="456688"/>
            <a:ext cx="5944244" cy="6067934"/>
            <a:chOff x="336907" y="342900"/>
            <a:chExt cx="2298344" cy="2346169"/>
          </a:xfrm>
        </p:grpSpPr>
        <p:sp>
          <p:nvSpPr>
            <p:cNvPr id="46"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FF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47"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FF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58" name="Operations - GRADIENT GTS" hidden="1"/>
          <p:cNvSpPr>
            <a:spLocks/>
          </p:cNvSpPr>
          <p:nvPr userDrawn="1"/>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2800FF"/>
              </a:gs>
              <a:gs pos="100000">
                <a:srgbClr val="00F3FF"/>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4" name="Operations - OUTLINED GTS" hidden="1"/>
          <p:cNvSpPr>
            <a:spLocks noEditPoints="1"/>
          </p:cNvSpPr>
          <p:nvPr userDrawn="1"/>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00F3FF"/>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42" name="Operations - DIMENSIONAL GTS" hidden="1"/>
          <p:cNvGrpSpPr/>
          <p:nvPr userDrawn="1"/>
        </p:nvGrpSpPr>
        <p:grpSpPr>
          <a:xfrm>
            <a:off x="1159200" y="456688"/>
            <a:ext cx="5944244" cy="6067934"/>
            <a:chOff x="336907" y="342900"/>
            <a:chExt cx="2298344" cy="2346169"/>
          </a:xfrm>
        </p:grpSpPr>
        <p:sp>
          <p:nvSpPr>
            <p:cNvPr id="43"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44"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F3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57" name="Strategy - GRADIENT GTS" hidden="1"/>
          <p:cNvSpPr>
            <a:spLocks/>
          </p:cNvSpPr>
          <p:nvPr userDrawn="1"/>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100000">
                <a:srgbClr val="FF0000"/>
              </a:gs>
              <a:gs pos="0">
                <a:srgbClr val="710012"/>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3" name="Strategy - OUTLINED GTS" hidden="1"/>
          <p:cNvSpPr>
            <a:spLocks noEditPoints="1"/>
          </p:cNvSpPr>
          <p:nvPr userDrawn="1"/>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38" name="Strategy - DIMENSIONAL GTS" hidden="1"/>
          <p:cNvGrpSpPr/>
          <p:nvPr userDrawn="1"/>
        </p:nvGrpSpPr>
        <p:grpSpPr>
          <a:xfrm>
            <a:off x="1159200" y="456688"/>
            <a:ext cx="5944244" cy="6067934"/>
            <a:chOff x="336907" y="342900"/>
            <a:chExt cx="2298344" cy="2346169"/>
          </a:xfrm>
        </p:grpSpPr>
        <p:sp>
          <p:nvSpPr>
            <p:cNvPr id="40"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0000"/>
                </a:gs>
                <a:gs pos="100000">
                  <a:srgbClr val="710012"/>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41"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39" name="Technology - GRADIENT GTS" hidden="1"/>
          <p:cNvSpPr>
            <a:spLocks/>
          </p:cNvSpPr>
          <p:nvPr userDrawn="1"/>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00F3FF"/>
              </a:gs>
              <a:gs pos="98000">
                <a:srgbClr val="00FF00"/>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36" name="Technology - OUTLINED GTS" hidden="1"/>
          <p:cNvSpPr>
            <a:spLocks noEditPoints="1"/>
          </p:cNvSpPr>
          <p:nvPr userDrawn="1"/>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00FF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6" name="SubTitle" hidden="1"/>
          <p:cNvSpPr>
            <a:spLocks noGrp="1"/>
          </p:cNvSpPr>
          <p:nvPr userDrawn="1">
            <p:ph type="body" sz="quarter" idx="12" hasCustomPrompt="1"/>
          </p:nvPr>
        </p:nvSpPr>
        <p:spPr>
          <a:xfrm>
            <a:off x="7756071" y="5073855"/>
            <a:ext cx="3856329" cy="1041195"/>
          </a:xfrm>
        </p:spPr>
        <p:txBody>
          <a:bodyPr anchor="b"/>
          <a:lstStyle>
            <a:lvl1pPr marL="0" indent="0">
              <a:lnSpc>
                <a:spcPct val="80000"/>
              </a:lnSpc>
              <a:buNone/>
              <a:defRPr sz="2000" b="0" i="0" cap="all" baseline="0">
                <a:solidFill>
                  <a:schemeClr val="tx1"/>
                </a:solidFill>
                <a:latin typeface="+mj-lt"/>
              </a:defRPr>
            </a:lvl1pPr>
          </a:lstStyle>
          <a:p>
            <a:pPr lvl="0"/>
            <a:r>
              <a:rPr lang="en-US" dirty="0"/>
              <a:t>SUBTITLE LINE</a:t>
            </a:r>
            <a:br>
              <a:rPr lang="en-US" dirty="0"/>
            </a:br>
            <a:r>
              <a:rPr lang="en-US" dirty="0"/>
              <a:t>SECOND LINE</a:t>
            </a:r>
          </a:p>
        </p:txBody>
      </p:sp>
      <p:sp>
        <p:nvSpPr>
          <p:cNvPr id="8" name="MasterTitle"/>
          <p:cNvSpPr>
            <a:spLocks noGrp="1"/>
          </p:cNvSpPr>
          <p:nvPr userDrawn="1">
            <p:ph type="title" hasCustomPrompt="1"/>
          </p:nvPr>
        </p:nvSpPr>
        <p:spPr>
          <a:xfrm>
            <a:off x="579600" y="1462236"/>
            <a:ext cx="5354475" cy="3948750"/>
          </a:xfrm>
        </p:spPr>
        <p:txBody>
          <a:bodyPr tIns="252000" anchor="ctr"/>
          <a:lstStyle>
            <a:lvl1pPr>
              <a:lnSpc>
                <a:spcPct val="70000"/>
              </a:lnSpc>
              <a:defRPr sz="7200" spc="-150" baseline="0">
                <a:solidFill>
                  <a:schemeClr val="tx1"/>
                </a:solidFill>
              </a:defRPr>
            </a:lvl1pPr>
          </a:lstStyle>
          <a:p>
            <a:r>
              <a:rPr lang="en-US" dirty="0"/>
              <a:t>Click </a:t>
            </a:r>
            <a:br>
              <a:rPr lang="en-US" dirty="0"/>
            </a:br>
            <a:r>
              <a:rPr lang="en-US" dirty="0"/>
              <a:t>to edit Master title</a:t>
            </a:r>
            <a:endParaRPr lang="en-AU" dirty="0"/>
          </a:p>
        </p:txBody>
      </p:sp>
      <p:pic>
        <p:nvPicPr>
          <p:cNvPr id="2" name="Accenture_Technology_WHITE" hidden="1"/>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7756800" y="464712"/>
            <a:ext cx="3855600" cy="618771"/>
          </a:xfrm>
          <a:prstGeom prst="rect">
            <a:avLst/>
          </a:prstGeom>
        </p:spPr>
      </p:pic>
      <p:pic>
        <p:nvPicPr>
          <p:cNvPr id="7" name="Accenture_Strategy_WHITE" hidden="1"/>
          <p:cNvPicPr>
            <a:picLocks noChangeAspect="1"/>
          </p:cNvPicPr>
          <p:nvPr userDrawn="1"/>
        </p:nvPicPr>
        <p:blipFill>
          <a:blip r:embed="rId3"/>
          <a:stretch>
            <a:fillRect/>
          </a:stretch>
        </p:blipFill>
        <p:spPr>
          <a:xfrm>
            <a:off x="7773000" y="459803"/>
            <a:ext cx="3276000" cy="623063"/>
          </a:xfrm>
          <a:prstGeom prst="rect">
            <a:avLst/>
          </a:prstGeom>
        </p:spPr>
      </p:pic>
      <p:pic>
        <p:nvPicPr>
          <p:cNvPr id="17" name="Accenture_Strategy_BLACK" hidden="1"/>
          <p:cNvPicPr>
            <a:picLocks noChangeAspect="1"/>
          </p:cNvPicPr>
          <p:nvPr userDrawn="1"/>
        </p:nvPicPr>
        <p:blipFill>
          <a:blip r:embed="rId4"/>
          <a:stretch>
            <a:fillRect/>
          </a:stretch>
        </p:blipFill>
        <p:spPr>
          <a:xfrm>
            <a:off x="7772739" y="459803"/>
            <a:ext cx="3276261" cy="623113"/>
          </a:xfrm>
          <a:prstGeom prst="rect">
            <a:avLst/>
          </a:prstGeom>
        </p:spPr>
      </p:pic>
      <p:pic>
        <p:nvPicPr>
          <p:cNvPr id="14" name="Accenture_Operations_WHITE" hidden="1"/>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7773225" y="476724"/>
            <a:ext cx="3704400" cy="613912"/>
          </a:xfrm>
          <a:prstGeom prst="rect">
            <a:avLst/>
          </a:prstGeom>
        </p:spPr>
      </p:pic>
      <p:pic>
        <p:nvPicPr>
          <p:cNvPr id="16" name="Accenture_Operations_BLACK" hidden="1"/>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7772739" y="476724"/>
            <a:ext cx="3704886" cy="613992"/>
          </a:xfrm>
          <a:prstGeom prst="rect">
            <a:avLst/>
          </a:prstGeom>
        </p:spPr>
      </p:pic>
      <p:pic>
        <p:nvPicPr>
          <p:cNvPr id="4" name="Accenture_Mobility_WHITE" hidden="1"/>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7754100" y="651110"/>
            <a:ext cx="3866400" cy="684773"/>
          </a:xfrm>
          <a:prstGeom prst="rect">
            <a:avLst/>
          </a:prstGeom>
        </p:spPr>
      </p:pic>
      <p:pic>
        <p:nvPicPr>
          <p:cNvPr id="18" name="Accenture_Mobility_BLACK" hidden="1"/>
          <p:cNvPicPr>
            <a:picLocks noChangeAspect="1"/>
          </p:cNvPicPr>
          <p:nvPr userDrawn="1"/>
        </p:nvPicPr>
        <p:blipFill>
          <a:blip r:embed="rId8" cstate="hqprint">
            <a:extLst>
              <a:ext uri="{28A0092B-C50C-407E-A947-70E740481C1C}">
                <a14:useLocalDpi xmlns:a14="http://schemas.microsoft.com/office/drawing/2010/main"/>
              </a:ext>
            </a:extLst>
          </a:blip>
          <a:stretch>
            <a:fillRect/>
          </a:stretch>
        </p:blipFill>
        <p:spPr>
          <a:xfrm>
            <a:off x="7753350" y="651110"/>
            <a:ext cx="3867150" cy="684905"/>
          </a:xfrm>
          <a:prstGeom prst="rect">
            <a:avLst/>
          </a:prstGeom>
        </p:spPr>
      </p:pic>
      <p:pic>
        <p:nvPicPr>
          <p:cNvPr id="29" name="Accenture_Interactive_WHITE" hidden="1"/>
          <p:cNvPicPr>
            <a:picLocks noChangeAspect="1"/>
          </p:cNvPicPr>
          <p:nvPr userDrawn="1"/>
        </p:nvPicPr>
        <p:blipFill>
          <a:blip r:embed="rId9" cstate="hqprint">
            <a:extLst>
              <a:ext uri="{28A0092B-C50C-407E-A947-70E740481C1C}">
                <a14:useLocalDpi xmlns:a14="http://schemas.microsoft.com/office/drawing/2010/main"/>
              </a:ext>
            </a:extLst>
          </a:blip>
          <a:stretch>
            <a:fillRect/>
          </a:stretch>
        </p:blipFill>
        <p:spPr>
          <a:xfrm>
            <a:off x="7754100" y="657225"/>
            <a:ext cx="3866400" cy="683539"/>
          </a:xfrm>
          <a:prstGeom prst="rect">
            <a:avLst/>
          </a:prstGeom>
        </p:spPr>
      </p:pic>
      <p:pic>
        <p:nvPicPr>
          <p:cNvPr id="28" name="Accenture_Interactive_BLACK" hidden="1"/>
          <p:cNvPicPr>
            <a:picLocks noChangeAspect="1"/>
          </p:cNvPicPr>
          <p:nvPr userDrawn="1"/>
        </p:nvPicPr>
        <p:blipFill>
          <a:blip r:embed="rId10" cstate="hqprint">
            <a:extLst>
              <a:ext uri="{28A0092B-C50C-407E-A947-70E740481C1C}">
                <a14:useLocalDpi xmlns:a14="http://schemas.microsoft.com/office/drawing/2010/main"/>
              </a:ext>
            </a:extLst>
          </a:blip>
          <a:stretch>
            <a:fillRect/>
          </a:stretch>
        </p:blipFill>
        <p:spPr>
          <a:xfrm>
            <a:off x="7754100" y="657225"/>
            <a:ext cx="3866400" cy="683539"/>
          </a:xfrm>
          <a:prstGeom prst="rect">
            <a:avLst/>
          </a:prstGeom>
        </p:spPr>
      </p:pic>
      <p:pic>
        <p:nvPicPr>
          <p:cNvPr id="5" name="Accenture_Analytics_WHITE" hidden="1"/>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7753349" y="658010"/>
            <a:ext cx="3866400" cy="692114"/>
          </a:xfrm>
          <a:prstGeom prst="rect">
            <a:avLst/>
          </a:prstGeom>
        </p:spPr>
      </p:pic>
      <p:pic>
        <p:nvPicPr>
          <p:cNvPr id="11" name="Accenture_Analytics_BLACK" hidden="1"/>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a:off x="7753349" y="658010"/>
            <a:ext cx="3867151" cy="692249"/>
          </a:xfrm>
          <a:prstGeom prst="rect">
            <a:avLst/>
          </a:prstGeom>
        </p:spPr>
      </p:pic>
      <p:pic>
        <p:nvPicPr>
          <p:cNvPr id="12" name="Accenture_Analytics_WHITE" hidden="1"/>
          <p:cNvPicPr>
            <a:picLocks noChangeAspect="1"/>
          </p:cNvPicPr>
          <p:nvPr userDrawn="1"/>
        </p:nvPicPr>
        <p:blipFill>
          <a:blip r:embed="rId9" cstate="hqprint">
            <a:extLst>
              <a:ext uri="{28A0092B-C50C-407E-A947-70E740481C1C}">
                <a14:useLocalDpi xmlns:a14="http://schemas.microsoft.com/office/drawing/2010/main"/>
              </a:ext>
            </a:extLst>
          </a:blip>
          <a:stretch>
            <a:fillRect/>
          </a:stretch>
        </p:blipFill>
        <p:spPr>
          <a:xfrm>
            <a:off x="7754100" y="658010"/>
            <a:ext cx="3866400" cy="683539"/>
          </a:xfrm>
          <a:prstGeom prst="rect">
            <a:avLst/>
          </a:prstGeom>
        </p:spPr>
      </p:pic>
      <p:pic>
        <p:nvPicPr>
          <p:cNvPr id="3" name="Accenture_Digital_WHITE" hidden="1"/>
          <p:cNvPicPr>
            <a:picLocks noChangeAspect="1"/>
          </p:cNvPicPr>
          <p:nvPr userDrawn="1"/>
        </p:nvPicPr>
        <p:blipFill>
          <a:blip r:embed="rId13"/>
          <a:stretch>
            <a:fillRect/>
          </a:stretch>
        </p:blipFill>
        <p:spPr>
          <a:xfrm>
            <a:off x="7756425" y="467886"/>
            <a:ext cx="2959200" cy="635308"/>
          </a:xfrm>
          <a:prstGeom prst="rect">
            <a:avLst/>
          </a:prstGeom>
        </p:spPr>
      </p:pic>
      <p:pic>
        <p:nvPicPr>
          <p:cNvPr id="15" name="Accenture_Digital_BLACK" hidden="1"/>
          <p:cNvPicPr>
            <a:picLocks noChangeAspect="1"/>
          </p:cNvPicPr>
          <p:nvPr userDrawn="1"/>
        </p:nvPicPr>
        <p:blipFill>
          <a:blip r:embed="rId14"/>
          <a:stretch>
            <a:fillRect/>
          </a:stretch>
        </p:blipFill>
        <p:spPr>
          <a:xfrm>
            <a:off x="7756072" y="467886"/>
            <a:ext cx="2959553" cy="635385"/>
          </a:xfrm>
          <a:prstGeom prst="rect">
            <a:avLst/>
          </a:prstGeom>
        </p:spPr>
      </p:pic>
      <p:pic>
        <p:nvPicPr>
          <p:cNvPr id="26" name="Accenture_Consulting_WHITE" hidden="1"/>
          <p:cNvPicPr>
            <a:picLocks noChangeAspect="1"/>
          </p:cNvPicPr>
          <p:nvPr userDrawn="1"/>
        </p:nvPicPr>
        <p:blipFill>
          <a:blip r:embed="rId15"/>
          <a:stretch>
            <a:fillRect/>
          </a:stretch>
        </p:blipFill>
        <p:spPr>
          <a:xfrm>
            <a:off x="7755225" y="464711"/>
            <a:ext cx="3722400" cy="633721"/>
          </a:xfrm>
          <a:prstGeom prst="rect">
            <a:avLst/>
          </a:prstGeom>
        </p:spPr>
      </p:pic>
      <p:pic>
        <p:nvPicPr>
          <p:cNvPr id="13" name="Accenture_Consulting_BLACK" hidden="1"/>
          <p:cNvPicPr>
            <a:picLocks noChangeAspect="1"/>
          </p:cNvPicPr>
          <p:nvPr userDrawn="1"/>
        </p:nvPicPr>
        <p:blipFill>
          <a:blip r:embed="rId16"/>
          <a:stretch>
            <a:fillRect/>
          </a:stretch>
        </p:blipFill>
        <p:spPr>
          <a:xfrm>
            <a:off x="7756071" y="464711"/>
            <a:ext cx="3721554" cy="633578"/>
          </a:xfrm>
          <a:prstGeom prst="rect">
            <a:avLst/>
          </a:prstGeom>
        </p:spPr>
      </p:pic>
      <p:grpSp>
        <p:nvGrpSpPr>
          <p:cNvPr id="22" name="Accenture_MasterWHITE" hidden="1"/>
          <p:cNvGrpSpPr/>
          <p:nvPr userDrawn="1"/>
        </p:nvGrpSpPr>
        <p:grpSpPr>
          <a:xfrm>
            <a:off x="7782263" y="470921"/>
            <a:ext cx="1828462" cy="530297"/>
            <a:chOff x="457202" y="420673"/>
            <a:chExt cx="2182661" cy="633434"/>
          </a:xfrm>
        </p:grpSpPr>
        <p:sp>
          <p:nvSpPr>
            <p:cNvPr id="23" name="Freeform 6"/>
            <p:cNvSpPr>
              <a:spLocks noEditPoints="1"/>
            </p:cNvSpPr>
            <p:nvPr userDrawn="1"/>
          </p:nvSpPr>
          <p:spPr bwMode="auto">
            <a:xfrm>
              <a:off x="457202" y="668790"/>
              <a:ext cx="2182661" cy="385317"/>
            </a:xfrm>
            <a:custGeom>
              <a:avLst/>
              <a:gdLst>
                <a:gd name="T0" fmla="*/ 35 w 765"/>
                <a:gd name="T1" fmla="*/ 118 h 135"/>
                <a:gd name="T2" fmla="*/ 56 w 765"/>
                <a:gd name="T3" fmla="*/ 88 h 135"/>
                <a:gd name="T4" fmla="*/ 78 w 765"/>
                <a:gd name="T5" fmla="*/ 62 h 135"/>
                <a:gd name="T6" fmla="*/ 4 w 765"/>
                <a:gd name="T7" fmla="*/ 62 h 135"/>
                <a:gd name="T8" fmla="*/ 42 w 765"/>
                <a:gd name="T9" fmla="*/ 47 h 135"/>
                <a:gd name="T10" fmla="*/ 56 w 765"/>
                <a:gd name="T11" fmla="*/ 75 h 135"/>
                <a:gd name="T12" fmla="*/ 30 w 765"/>
                <a:gd name="T13" fmla="*/ 135 h 135"/>
                <a:gd name="T14" fmla="*/ 56 w 765"/>
                <a:gd name="T15" fmla="*/ 121 h 135"/>
                <a:gd name="T16" fmla="*/ 78 w 765"/>
                <a:gd name="T17" fmla="*/ 132 h 135"/>
                <a:gd name="T18" fmla="*/ 132 w 765"/>
                <a:gd name="T19" fmla="*/ 47 h 135"/>
                <a:gd name="T20" fmla="*/ 154 w 765"/>
                <a:gd name="T21" fmla="*/ 118 h 135"/>
                <a:gd name="T22" fmla="*/ 171 w 765"/>
                <a:gd name="T23" fmla="*/ 130 h 135"/>
                <a:gd name="T24" fmla="*/ 88 w 765"/>
                <a:gd name="T25" fmla="*/ 78 h 135"/>
                <a:gd name="T26" fmla="*/ 172 w 765"/>
                <a:gd name="T27" fmla="*/ 67 h 135"/>
                <a:gd name="T28" fmla="*/ 236 w 765"/>
                <a:gd name="T29" fmla="*/ 67 h 135"/>
                <a:gd name="T30" fmla="*/ 202 w 765"/>
                <a:gd name="T31" fmla="*/ 74 h 135"/>
                <a:gd name="T32" fmla="*/ 260 w 765"/>
                <a:gd name="T33" fmla="*/ 116 h 135"/>
                <a:gd name="T34" fmla="*/ 231 w 765"/>
                <a:gd name="T35" fmla="*/ 135 h 135"/>
                <a:gd name="T36" fmla="*/ 223 w 765"/>
                <a:gd name="T37" fmla="*/ 31 h 135"/>
                <a:gd name="T38" fmla="*/ 236 w 765"/>
                <a:gd name="T39" fmla="*/ 67 h 135"/>
                <a:gd name="T40" fmla="*/ 291 w 765"/>
                <a:gd name="T41" fmla="*/ 63 h 135"/>
                <a:gd name="T42" fmla="*/ 327 w 765"/>
                <a:gd name="T43" fmla="*/ 63 h 135"/>
                <a:gd name="T44" fmla="*/ 349 w 765"/>
                <a:gd name="T45" fmla="*/ 71 h 135"/>
                <a:gd name="T46" fmla="*/ 269 w 765"/>
                <a:gd name="T47" fmla="*/ 77 h 135"/>
                <a:gd name="T48" fmla="*/ 347 w 765"/>
                <a:gd name="T49" fmla="*/ 131 h 135"/>
                <a:gd name="T50" fmla="*/ 328 w 765"/>
                <a:gd name="T51" fmla="*/ 118 h 135"/>
                <a:gd name="T52" fmla="*/ 349 w 765"/>
                <a:gd name="T53" fmla="*/ 77 h 135"/>
                <a:gd name="T54" fmla="*/ 418 w 765"/>
                <a:gd name="T55" fmla="*/ 76 h 135"/>
                <a:gd name="T56" fmla="*/ 408 w 765"/>
                <a:gd name="T57" fmla="*/ 52 h 135"/>
                <a:gd name="T58" fmla="*/ 384 w 765"/>
                <a:gd name="T59" fmla="*/ 132 h 135"/>
                <a:gd name="T60" fmla="*/ 361 w 765"/>
                <a:gd name="T61" fmla="*/ 33 h 135"/>
                <a:gd name="T62" fmla="*/ 384 w 765"/>
                <a:gd name="T63" fmla="*/ 51 h 135"/>
                <a:gd name="T64" fmla="*/ 414 w 765"/>
                <a:gd name="T65" fmla="*/ 31 h 135"/>
                <a:gd name="T66" fmla="*/ 441 w 765"/>
                <a:gd name="T67" fmla="*/ 132 h 135"/>
                <a:gd name="T68" fmla="*/ 489 w 765"/>
                <a:gd name="T69" fmla="*/ 49 h 135"/>
                <a:gd name="T70" fmla="*/ 505 w 765"/>
                <a:gd name="T71" fmla="*/ 118 h 135"/>
                <a:gd name="T72" fmla="*/ 516 w 765"/>
                <a:gd name="T73" fmla="*/ 133 h 135"/>
                <a:gd name="T74" fmla="*/ 466 w 765"/>
                <a:gd name="T75" fmla="*/ 107 h 135"/>
                <a:gd name="T76" fmla="*/ 447 w 765"/>
                <a:gd name="T77" fmla="*/ 49 h 135"/>
                <a:gd name="T78" fmla="*/ 466 w 765"/>
                <a:gd name="T79" fmla="*/ 33 h 135"/>
                <a:gd name="T80" fmla="*/ 489 w 765"/>
                <a:gd name="T81" fmla="*/ 0 h 135"/>
                <a:gd name="T82" fmla="*/ 519 w 765"/>
                <a:gd name="T83" fmla="*/ 33 h 135"/>
                <a:gd name="T84" fmla="*/ 489 w 765"/>
                <a:gd name="T85" fmla="*/ 49 h 135"/>
                <a:gd name="T86" fmla="*/ 586 w 765"/>
                <a:gd name="T87" fmla="*/ 114 h 135"/>
                <a:gd name="T88" fmla="*/ 556 w 765"/>
                <a:gd name="T89" fmla="*/ 135 h 135"/>
                <a:gd name="T90" fmla="*/ 529 w 765"/>
                <a:gd name="T91" fmla="*/ 33 h 135"/>
                <a:gd name="T92" fmla="*/ 552 w 765"/>
                <a:gd name="T93" fmla="*/ 90 h 135"/>
                <a:gd name="T94" fmla="*/ 563 w 765"/>
                <a:gd name="T95" fmla="*/ 113 h 135"/>
                <a:gd name="T96" fmla="*/ 586 w 765"/>
                <a:gd name="T97" fmla="*/ 33 h 135"/>
                <a:gd name="T98" fmla="*/ 609 w 765"/>
                <a:gd name="T99" fmla="*/ 132 h 135"/>
                <a:gd name="T100" fmla="*/ 647 w 765"/>
                <a:gd name="T101" fmla="*/ 89 h 135"/>
                <a:gd name="T102" fmla="*/ 624 w 765"/>
                <a:gd name="T103" fmla="*/ 132 h 135"/>
                <a:gd name="T104" fmla="*/ 647 w 765"/>
                <a:gd name="T105" fmla="*/ 33 h 135"/>
                <a:gd name="T106" fmla="*/ 648 w 765"/>
                <a:gd name="T107" fmla="*/ 51 h 135"/>
                <a:gd name="T108" fmla="*/ 680 w 765"/>
                <a:gd name="T109" fmla="*/ 55 h 135"/>
                <a:gd name="T110" fmla="*/ 743 w 765"/>
                <a:gd name="T111" fmla="*/ 63 h 135"/>
                <a:gd name="T112" fmla="*/ 726 w 765"/>
                <a:gd name="T113" fmla="*/ 45 h 135"/>
                <a:gd name="T114" fmla="*/ 765 w 765"/>
                <a:gd name="T115" fmla="*/ 77 h 135"/>
                <a:gd name="T116" fmla="*/ 727 w 765"/>
                <a:gd name="T117" fmla="*/ 31 h 135"/>
                <a:gd name="T118" fmla="*/ 735 w 765"/>
                <a:gd name="T119" fmla="*/ 135 h 135"/>
                <a:gd name="T120" fmla="*/ 763 w 765"/>
                <a:gd name="T121" fmla="*/ 115 h 135"/>
                <a:gd name="T122" fmla="*/ 706 w 765"/>
                <a:gd name="T123" fmla="*/ 7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5" h="135">
                  <a:moveTo>
                    <a:pt x="56" y="88"/>
                  </a:moveTo>
                  <a:cubicBezTo>
                    <a:pt x="56" y="101"/>
                    <a:pt x="51" y="118"/>
                    <a:pt x="35" y="118"/>
                  </a:cubicBezTo>
                  <a:cubicBezTo>
                    <a:pt x="28" y="118"/>
                    <a:pt x="23" y="114"/>
                    <a:pt x="23" y="106"/>
                  </a:cubicBezTo>
                  <a:cubicBezTo>
                    <a:pt x="23" y="91"/>
                    <a:pt x="45" y="88"/>
                    <a:pt x="56" y="88"/>
                  </a:cubicBezTo>
                  <a:close/>
                  <a:moveTo>
                    <a:pt x="78" y="132"/>
                  </a:moveTo>
                  <a:cubicBezTo>
                    <a:pt x="78" y="62"/>
                    <a:pt x="78" y="62"/>
                    <a:pt x="78" y="62"/>
                  </a:cubicBezTo>
                  <a:cubicBezTo>
                    <a:pt x="78" y="38"/>
                    <a:pt x="63" y="31"/>
                    <a:pt x="42" y="31"/>
                  </a:cubicBezTo>
                  <a:cubicBezTo>
                    <a:pt x="21" y="31"/>
                    <a:pt x="4" y="39"/>
                    <a:pt x="4" y="62"/>
                  </a:cubicBezTo>
                  <a:cubicBezTo>
                    <a:pt x="27" y="62"/>
                    <a:pt x="27" y="62"/>
                    <a:pt x="27" y="62"/>
                  </a:cubicBezTo>
                  <a:cubicBezTo>
                    <a:pt x="27" y="52"/>
                    <a:pt x="32" y="47"/>
                    <a:pt x="42" y="47"/>
                  </a:cubicBezTo>
                  <a:cubicBezTo>
                    <a:pt x="53" y="47"/>
                    <a:pt x="56" y="55"/>
                    <a:pt x="56" y="65"/>
                  </a:cubicBezTo>
                  <a:cubicBezTo>
                    <a:pt x="56" y="75"/>
                    <a:pt x="56" y="75"/>
                    <a:pt x="56" y="75"/>
                  </a:cubicBezTo>
                  <a:cubicBezTo>
                    <a:pt x="33" y="76"/>
                    <a:pt x="0" y="79"/>
                    <a:pt x="0" y="109"/>
                  </a:cubicBezTo>
                  <a:cubicBezTo>
                    <a:pt x="0" y="125"/>
                    <a:pt x="14" y="135"/>
                    <a:pt x="30" y="135"/>
                  </a:cubicBezTo>
                  <a:cubicBezTo>
                    <a:pt x="41" y="135"/>
                    <a:pt x="51" y="131"/>
                    <a:pt x="56" y="121"/>
                  </a:cubicBezTo>
                  <a:cubicBezTo>
                    <a:pt x="56" y="121"/>
                    <a:pt x="56" y="121"/>
                    <a:pt x="56" y="121"/>
                  </a:cubicBezTo>
                  <a:cubicBezTo>
                    <a:pt x="56" y="132"/>
                    <a:pt x="56" y="132"/>
                    <a:pt x="56" y="132"/>
                  </a:cubicBezTo>
                  <a:lnTo>
                    <a:pt x="78" y="132"/>
                  </a:lnTo>
                  <a:close/>
                  <a:moveTo>
                    <a:pt x="147" y="67"/>
                  </a:moveTo>
                  <a:cubicBezTo>
                    <a:pt x="147" y="57"/>
                    <a:pt x="144" y="47"/>
                    <a:pt x="132" y="47"/>
                  </a:cubicBezTo>
                  <a:cubicBezTo>
                    <a:pt x="117" y="47"/>
                    <a:pt x="113" y="62"/>
                    <a:pt x="113" y="74"/>
                  </a:cubicBezTo>
                  <a:cubicBezTo>
                    <a:pt x="113" y="99"/>
                    <a:pt x="128" y="118"/>
                    <a:pt x="154" y="118"/>
                  </a:cubicBezTo>
                  <a:cubicBezTo>
                    <a:pt x="160" y="118"/>
                    <a:pt x="165" y="118"/>
                    <a:pt x="171" y="116"/>
                  </a:cubicBezTo>
                  <a:cubicBezTo>
                    <a:pt x="171" y="130"/>
                    <a:pt x="171" y="130"/>
                    <a:pt x="171" y="130"/>
                  </a:cubicBezTo>
                  <a:cubicBezTo>
                    <a:pt x="161" y="133"/>
                    <a:pt x="151" y="135"/>
                    <a:pt x="142" y="135"/>
                  </a:cubicBezTo>
                  <a:cubicBezTo>
                    <a:pt x="106" y="135"/>
                    <a:pt x="88" y="113"/>
                    <a:pt x="88" y="78"/>
                  </a:cubicBezTo>
                  <a:cubicBezTo>
                    <a:pt x="88" y="49"/>
                    <a:pt x="104" y="31"/>
                    <a:pt x="134" y="31"/>
                  </a:cubicBezTo>
                  <a:cubicBezTo>
                    <a:pt x="158" y="31"/>
                    <a:pt x="172" y="42"/>
                    <a:pt x="172" y="67"/>
                  </a:cubicBezTo>
                  <a:lnTo>
                    <a:pt x="147" y="67"/>
                  </a:lnTo>
                  <a:close/>
                  <a:moveTo>
                    <a:pt x="236" y="67"/>
                  </a:moveTo>
                  <a:cubicBezTo>
                    <a:pt x="236" y="57"/>
                    <a:pt x="233" y="47"/>
                    <a:pt x="221" y="47"/>
                  </a:cubicBezTo>
                  <a:cubicBezTo>
                    <a:pt x="206" y="47"/>
                    <a:pt x="202" y="62"/>
                    <a:pt x="202" y="74"/>
                  </a:cubicBezTo>
                  <a:cubicBezTo>
                    <a:pt x="202" y="99"/>
                    <a:pt x="217" y="118"/>
                    <a:pt x="243" y="118"/>
                  </a:cubicBezTo>
                  <a:cubicBezTo>
                    <a:pt x="249" y="118"/>
                    <a:pt x="254" y="118"/>
                    <a:pt x="260" y="116"/>
                  </a:cubicBezTo>
                  <a:cubicBezTo>
                    <a:pt x="260" y="130"/>
                    <a:pt x="260" y="130"/>
                    <a:pt x="260" y="130"/>
                  </a:cubicBezTo>
                  <a:cubicBezTo>
                    <a:pt x="250" y="133"/>
                    <a:pt x="241" y="135"/>
                    <a:pt x="231" y="135"/>
                  </a:cubicBezTo>
                  <a:cubicBezTo>
                    <a:pt x="195" y="135"/>
                    <a:pt x="177" y="113"/>
                    <a:pt x="177" y="78"/>
                  </a:cubicBezTo>
                  <a:cubicBezTo>
                    <a:pt x="177" y="49"/>
                    <a:pt x="193" y="31"/>
                    <a:pt x="223" y="31"/>
                  </a:cubicBezTo>
                  <a:cubicBezTo>
                    <a:pt x="247" y="31"/>
                    <a:pt x="261" y="42"/>
                    <a:pt x="261" y="67"/>
                  </a:cubicBezTo>
                  <a:lnTo>
                    <a:pt x="236" y="67"/>
                  </a:lnTo>
                  <a:close/>
                  <a:moveTo>
                    <a:pt x="327" y="63"/>
                  </a:moveTo>
                  <a:cubicBezTo>
                    <a:pt x="291" y="63"/>
                    <a:pt x="291" y="63"/>
                    <a:pt x="291" y="63"/>
                  </a:cubicBezTo>
                  <a:cubicBezTo>
                    <a:pt x="292" y="53"/>
                    <a:pt x="300" y="45"/>
                    <a:pt x="310" y="45"/>
                  </a:cubicBezTo>
                  <a:cubicBezTo>
                    <a:pt x="320" y="45"/>
                    <a:pt x="327" y="52"/>
                    <a:pt x="327" y="63"/>
                  </a:cubicBezTo>
                  <a:close/>
                  <a:moveTo>
                    <a:pt x="349" y="77"/>
                  </a:moveTo>
                  <a:cubicBezTo>
                    <a:pt x="349" y="71"/>
                    <a:pt x="349" y="71"/>
                    <a:pt x="349" y="71"/>
                  </a:cubicBezTo>
                  <a:cubicBezTo>
                    <a:pt x="349" y="47"/>
                    <a:pt x="337" y="31"/>
                    <a:pt x="311" y="31"/>
                  </a:cubicBezTo>
                  <a:cubicBezTo>
                    <a:pt x="282" y="31"/>
                    <a:pt x="269" y="49"/>
                    <a:pt x="269" y="77"/>
                  </a:cubicBezTo>
                  <a:cubicBezTo>
                    <a:pt x="269" y="110"/>
                    <a:pt x="283" y="135"/>
                    <a:pt x="319" y="135"/>
                  </a:cubicBezTo>
                  <a:cubicBezTo>
                    <a:pt x="328" y="135"/>
                    <a:pt x="338" y="134"/>
                    <a:pt x="347" y="131"/>
                  </a:cubicBezTo>
                  <a:cubicBezTo>
                    <a:pt x="347" y="115"/>
                    <a:pt x="347" y="115"/>
                    <a:pt x="347" y="115"/>
                  </a:cubicBezTo>
                  <a:cubicBezTo>
                    <a:pt x="341" y="117"/>
                    <a:pt x="334" y="118"/>
                    <a:pt x="328" y="118"/>
                  </a:cubicBezTo>
                  <a:cubicBezTo>
                    <a:pt x="305" y="118"/>
                    <a:pt x="290" y="98"/>
                    <a:pt x="290" y="77"/>
                  </a:cubicBezTo>
                  <a:lnTo>
                    <a:pt x="349" y="77"/>
                  </a:lnTo>
                  <a:close/>
                  <a:moveTo>
                    <a:pt x="418" y="132"/>
                  </a:moveTo>
                  <a:cubicBezTo>
                    <a:pt x="418" y="76"/>
                    <a:pt x="418" y="76"/>
                    <a:pt x="418" y="76"/>
                  </a:cubicBezTo>
                  <a:cubicBezTo>
                    <a:pt x="418" y="71"/>
                    <a:pt x="418" y="58"/>
                    <a:pt x="414" y="54"/>
                  </a:cubicBezTo>
                  <a:cubicBezTo>
                    <a:pt x="413" y="53"/>
                    <a:pt x="410" y="52"/>
                    <a:pt x="408" y="52"/>
                  </a:cubicBezTo>
                  <a:cubicBezTo>
                    <a:pt x="391" y="52"/>
                    <a:pt x="384" y="76"/>
                    <a:pt x="384" y="89"/>
                  </a:cubicBezTo>
                  <a:cubicBezTo>
                    <a:pt x="384" y="132"/>
                    <a:pt x="384" y="132"/>
                    <a:pt x="384" y="132"/>
                  </a:cubicBezTo>
                  <a:cubicBezTo>
                    <a:pt x="361" y="132"/>
                    <a:pt x="361" y="132"/>
                    <a:pt x="361" y="132"/>
                  </a:cubicBezTo>
                  <a:cubicBezTo>
                    <a:pt x="361" y="33"/>
                    <a:pt x="361" y="33"/>
                    <a:pt x="361" y="33"/>
                  </a:cubicBezTo>
                  <a:cubicBezTo>
                    <a:pt x="384" y="33"/>
                    <a:pt x="384" y="33"/>
                    <a:pt x="384" y="33"/>
                  </a:cubicBezTo>
                  <a:cubicBezTo>
                    <a:pt x="384" y="51"/>
                    <a:pt x="384" y="51"/>
                    <a:pt x="384" y="51"/>
                  </a:cubicBezTo>
                  <a:cubicBezTo>
                    <a:pt x="385" y="51"/>
                    <a:pt x="385" y="51"/>
                    <a:pt x="385" y="51"/>
                  </a:cubicBezTo>
                  <a:cubicBezTo>
                    <a:pt x="390" y="39"/>
                    <a:pt x="400" y="31"/>
                    <a:pt x="414" y="31"/>
                  </a:cubicBezTo>
                  <a:cubicBezTo>
                    <a:pt x="433" y="31"/>
                    <a:pt x="441" y="46"/>
                    <a:pt x="441" y="63"/>
                  </a:cubicBezTo>
                  <a:cubicBezTo>
                    <a:pt x="441" y="132"/>
                    <a:pt x="441" y="132"/>
                    <a:pt x="441" y="132"/>
                  </a:cubicBezTo>
                  <a:lnTo>
                    <a:pt x="418" y="132"/>
                  </a:lnTo>
                  <a:close/>
                  <a:moveTo>
                    <a:pt x="489" y="49"/>
                  </a:moveTo>
                  <a:cubicBezTo>
                    <a:pt x="489" y="96"/>
                    <a:pt x="489" y="96"/>
                    <a:pt x="489" y="96"/>
                  </a:cubicBezTo>
                  <a:cubicBezTo>
                    <a:pt x="489" y="108"/>
                    <a:pt x="491" y="118"/>
                    <a:pt x="505" y="118"/>
                  </a:cubicBezTo>
                  <a:cubicBezTo>
                    <a:pt x="509" y="118"/>
                    <a:pt x="512" y="118"/>
                    <a:pt x="516" y="117"/>
                  </a:cubicBezTo>
                  <a:cubicBezTo>
                    <a:pt x="516" y="133"/>
                    <a:pt x="516" y="133"/>
                    <a:pt x="516" y="133"/>
                  </a:cubicBezTo>
                  <a:cubicBezTo>
                    <a:pt x="510" y="134"/>
                    <a:pt x="503" y="135"/>
                    <a:pt x="497" y="135"/>
                  </a:cubicBezTo>
                  <a:cubicBezTo>
                    <a:pt x="477" y="135"/>
                    <a:pt x="466" y="128"/>
                    <a:pt x="466" y="107"/>
                  </a:cubicBezTo>
                  <a:cubicBezTo>
                    <a:pt x="466" y="49"/>
                    <a:pt x="466" y="49"/>
                    <a:pt x="466" y="49"/>
                  </a:cubicBezTo>
                  <a:cubicBezTo>
                    <a:pt x="447" y="49"/>
                    <a:pt x="447" y="49"/>
                    <a:pt x="447" y="49"/>
                  </a:cubicBezTo>
                  <a:cubicBezTo>
                    <a:pt x="447" y="33"/>
                    <a:pt x="447" y="33"/>
                    <a:pt x="447" y="33"/>
                  </a:cubicBezTo>
                  <a:cubicBezTo>
                    <a:pt x="466" y="33"/>
                    <a:pt x="466" y="33"/>
                    <a:pt x="466" y="33"/>
                  </a:cubicBezTo>
                  <a:cubicBezTo>
                    <a:pt x="466" y="9"/>
                    <a:pt x="466" y="9"/>
                    <a:pt x="466" y="9"/>
                  </a:cubicBezTo>
                  <a:cubicBezTo>
                    <a:pt x="489" y="0"/>
                    <a:pt x="489" y="0"/>
                    <a:pt x="489" y="0"/>
                  </a:cubicBezTo>
                  <a:cubicBezTo>
                    <a:pt x="489" y="33"/>
                    <a:pt x="489" y="33"/>
                    <a:pt x="489" y="33"/>
                  </a:cubicBezTo>
                  <a:cubicBezTo>
                    <a:pt x="519" y="33"/>
                    <a:pt x="519" y="33"/>
                    <a:pt x="519" y="33"/>
                  </a:cubicBezTo>
                  <a:cubicBezTo>
                    <a:pt x="519" y="49"/>
                    <a:pt x="519" y="49"/>
                    <a:pt x="519" y="49"/>
                  </a:cubicBezTo>
                  <a:lnTo>
                    <a:pt x="489" y="49"/>
                  </a:lnTo>
                  <a:close/>
                  <a:moveTo>
                    <a:pt x="586" y="132"/>
                  </a:moveTo>
                  <a:cubicBezTo>
                    <a:pt x="586" y="114"/>
                    <a:pt x="586" y="114"/>
                    <a:pt x="586" y="114"/>
                  </a:cubicBezTo>
                  <a:cubicBezTo>
                    <a:pt x="586" y="114"/>
                    <a:pt x="586" y="114"/>
                    <a:pt x="586" y="114"/>
                  </a:cubicBezTo>
                  <a:cubicBezTo>
                    <a:pt x="580" y="126"/>
                    <a:pt x="570" y="135"/>
                    <a:pt x="556" y="135"/>
                  </a:cubicBezTo>
                  <a:cubicBezTo>
                    <a:pt x="537" y="135"/>
                    <a:pt x="529" y="119"/>
                    <a:pt x="529" y="102"/>
                  </a:cubicBezTo>
                  <a:cubicBezTo>
                    <a:pt x="529" y="33"/>
                    <a:pt x="529" y="33"/>
                    <a:pt x="529" y="33"/>
                  </a:cubicBezTo>
                  <a:cubicBezTo>
                    <a:pt x="552" y="33"/>
                    <a:pt x="552" y="33"/>
                    <a:pt x="552" y="33"/>
                  </a:cubicBezTo>
                  <a:cubicBezTo>
                    <a:pt x="552" y="90"/>
                    <a:pt x="552" y="90"/>
                    <a:pt x="552" y="90"/>
                  </a:cubicBezTo>
                  <a:cubicBezTo>
                    <a:pt x="552" y="95"/>
                    <a:pt x="552" y="107"/>
                    <a:pt x="556" y="111"/>
                  </a:cubicBezTo>
                  <a:cubicBezTo>
                    <a:pt x="558" y="113"/>
                    <a:pt x="560" y="113"/>
                    <a:pt x="563" y="113"/>
                  </a:cubicBezTo>
                  <a:cubicBezTo>
                    <a:pt x="579" y="113"/>
                    <a:pt x="586" y="89"/>
                    <a:pt x="586" y="76"/>
                  </a:cubicBezTo>
                  <a:cubicBezTo>
                    <a:pt x="586" y="33"/>
                    <a:pt x="586" y="33"/>
                    <a:pt x="586" y="33"/>
                  </a:cubicBezTo>
                  <a:cubicBezTo>
                    <a:pt x="609" y="33"/>
                    <a:pt x="609" y="33"/>
                    <a:pt x="609" y="33"/>
                  </a:cubicBezTo>
                  <a:cubicBezTo>
                    <a:pt x="609" y="132"/>
                    <a:pt x="609" y="132"/>
                    <a:pt x="609" y="132"/>
                  </a:cubicBezTo>
                  <a:lnTo>
                    <a:pt x="586" y="132"/>
                  </a:lnTo>
                  <a:close/>
                  <a:moveTo>
                    <a:pt x="647" y="89"/>
                  </a:moveTo>
                  <a:cubicBezTo>
                    <a:pt x="647" y="132"/>
                    <a:pt x="647" y="132"/>
                    <a:pt x="647" y="132"/>
                  </a:cubicBezTo>
                  <a:cubicBezTo>
                    <a:pt x="624" y="132"/>
                    <a:pt x="624" y="132"/>
                    <a:pt x="624" y="132"/>
                  </a:cubicBezTo>
                  <a:cubicBezTo>
                    <a:pt x="624" y="33"/>
                    <a:pt x="624" y="33"/>
                    <a:pt x="624" y="33"/>
                  </a:cubicBezTo>
                  <a:cubicBezTo>
                    <a:pt x="647" y="33"/>
                    <a:pt x="647" y="33"/>
                    <a:pt x="647" y="33"/>
                  </a:cubicBezTo>
                  <a:cubicBezTo>
                    <a:pt x="647" y="51"/>
                    <a:pt x="647" y="51"/>
                    <a:pt x="647" y="51"/>
                  </a:cubicBezTo>
                  <a:cubicBezTo>
                    <a:pt x="648" y="51"/>
                    <a:pt x="648" y="51"/>
                    <a:pt x="648" y="51"/>
                  </a:cubicBezTo>
                  <a:cubicBezTo>
                    <a:pt x="655" y="37"/>
                    <a:pt x="663" y="31"/>
                    <a:pt x="680" y="31"/>
                  </a:cubicBezTo>
                  <a:cubicBezTo>
                    <a:pt x="680" y="55"/>
                    <a:pt x="680" y="55"/>
                    <a:pt x="680" y="55"/>
                  </a:cubicBezTo>
                  <a:cubicBezTo>
                    <a:pt x="656" y="55"/>
                    <a:pt x="647" y="65"/>
                    <a:pt x="647" y="89"/>
                  </a:cubicBezTo>
                  <a:close/>
                  <a:moveTo>
                    <a:pt x="743" y="63"/>
                  </a:moveTo>
                  <a:cubicBezTo>
                    <a:pt x="707" y="63"/>
                    <a:pt x="707" y="63"/>
                    <a:pt x="707" y="63"/>
                  </a:cubicBezTo>
                  <a:cubicBezTo>
                    <a:pt x="708" y="53"/>
                    <a:pt x="715" y="45"/>
                    <a:pt x="726" y="45"/>
                  </a:cubicBezTo>
                  <a:cubicBezTo>
                    <a:pt x="736" y="45"/>
                    <a:pt x="743" y="52"/>
                    <a:pt x="743" y="63"/>
                  </a:cubicBezTo>
                  <a:close/>
                  <a:moveTo>
                    <a:pt x="765" y="77"/>
                  </a:moveTo>
                  <a:cubicBezTo>
                    <a:pt x="765" y="71"/>
                    <a:pt x="765" y="71"/>
                    <a:pt x="765" y="71"/>
                  </a:cubicBezTo>
                  <a:cubicBezTo>
                    <a:pt x="765" y="47"/>
                    <a:pt x="753" y="31"/>
                    <a:pt x="727" y="31"/>
                  </a:cubicBezTo>
                  <a:cubicBezTo>
                    <a:pt x="698" y="31"/>
                    <a:pt x="685" y="49"/>
                    <a:pt x="685" y="77"/>
                  </a:cubicBezTo>
                  <a:cubicBezTo>
                    <a:pt x="685" y="110"/>
                    <a:pt x="699" y="135"/>
                    <a:pt x="735" y="135"/>
                  </a:cubicBezTo>
                  <a:cubicBezTo>
                    <a:pt x="744" y="135"/>
                    <a:pt x="754" y="134"/>
                    <a:pt x="763" y="131"/>
                  </a:cubicBezTo>
                  <a:cubicBezTo>
                    <a:pt x="763" y="115"/>
                    <a:pt x="763" y="115"/>
                    <a:pt x="763" y="115"/>
                  </a:cubicBezTo>
                  <a:cubicBezTo>
                    <a:pt x="757" y="117"/>
                    <a:pt x="750" y="118"/>
                    <a:pt x="744" y="118"/>
                  </a:cubicBezTo>
                  <a:cubicBezTo>
                    <a:pt x="721" y="118"/>
                    <a:pt x="706" y="98"/>
                    <a:pt x="706" y="77"/>
                  </a:cubicBezTo>
                  <a:lnTo>
                    <a:pt x="765" y="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24" name="Freeform 23"/>
            <p:cNvSpPr/>
            <p:nvPr/>
          </p:nvSpPr>
          <p:spPr>
            <a:xfrm>
              <a:off x="1739049" y="420673"/>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Graphik" panose="020B0503030202060203" pitchFamily="34" charset="0"/>
              </a:endParaRPr>
            </a:p>
          </p:txBody>
        </p:sp>
      </p:grpSp>
      <p:grpSp>
        <p:nvGrpSpPr>
          <p:cNvPr id="19" name="Accenture_MasterBLACK" hidden="1"/>
          <p:cNvGrpSpPr/>
          <p:nvPr userDrawn="1"/>
        </p:nvGrpSpPr>
        <p:grpSpPr>
          <a:xfrm>
            <a:off x="7767974" y="460549"/>
            <a:ext cx="1828462" cy="528825"/>
            <a:chOff x="476250" y="397668"/>
            <a:chExt cx="2195577" cy="635000"/>
          </a:xfrm>
        </p:grpSpPr>
        <p:sp>
          <p:nvSpPr>
            <p:cNvPr id="20" name="Freeform 19"/>
            <p:cNvSpPr>
              <a:spLocks/>
            </p:cNvSpPr>
            <p:nvPr/>
          </p:nvSpPr>
          <p:spPr bwMode="auto">
            <a:xfrm>
              <a:off x="1758865" y="397668"/>
              <a:ext cx="206059" cy="214470"/>
            </a:xfrm>
            <a:custGeom>
              <a:avLst/>
              <a:gdLst>
                <a:gd name="T0" fmla="*/ 0 w 72"/>
                <a:gd name="T1" fmla="*/ 0 h 74"/>
                <a:gd name="T2" fmla="*/ 0 w 72"/>
                <a:gd name="T3" fmla="*/ 2 h 74"/>
                <a:gd name="T4" fmla="*/ 0 w 72"/>
                <a:gd name="T5" fmla="*/ 16 h 74"/>
                <a:gd name="T6" fmla="*/ 53 w 72"/>
                <a:gd name="T7" fmla="*/ 37 h 74"/>
                <a:gd name="T8" fmla="*/ 0 w 72"/>
                <a:gd name="T9" fmla="*/ 57 h 74"/>
                <a:gd name="T10" fmla="*/ 0 w 72"/>
                <a:gd name="T11" fmla="*/ 74 h 74"/>
                <a:gd name="T12" fmla="*/ 72 w 72"/>
                <a:gd name="T13" fmla="*/ 44 h 74"/>
                <a:gd name="T14" fmla="*/ 72 w 72"/>
                <a:gd name="T15" fmla="*/ 29 h 74"/>
                <a:gd name="T16" fmla="*/ 0 w 72"/>
                <a:gd name="T1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0" y="0"/>
                  </a:moveTo>
                  <a:cubicBezTo>
                    <a:pt x="0" y="2"/>
                    <a:pt x="0" y="2"/>
                    <a:pt x="0" y="2"/>
                  </a:cubicBezTo>
                  <a:cubicBezTo>
                    <a:pt x="0" y="16"/>
                    <a:pt x="0" y="16"/>
                    <a:pt x="0" y="16"/>
                  </a:cubicBezTo>
                  <a:cubicBezTo>
                    <a:pt x="0" y="16"/>
                    <a:pt x="46" y="34"/>
                    <a:pt x="53" y="37"/>
                  </a:cubicBezTo>
                  <a:cubicBezTo>
                    <a:pt x="46" y="40"/>
                    <a:pt x="0" y="57"/>
                    <a:pt x="0" y="57"/>
                  </a:cubicBezTo>
                  <a:cubicBezTo>
                    <a:pt x="0" y="74"/>
                    <a:pt x="0" y="74"/>
                    <a:pt x="0" y="74"/>
                  </a:cubicBezTo>
                  <a:cubicBezTo>
                    <a:pt x="72" y="44"/>
                    <a:pt x="72" y="44"/>
                    <a:pt x="72" y="44"/>
                  </a:cubicBezTo>
                  <a:cubicBezTo>
                    <a:pt x="72" y="29"/>
                    <a:pt x="72" y="29"/>
                    <a:pt x="72" y="29"/>
                  </a:cubicBez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pic>
          <p:nvPicPr>
            <p:cNvPr id="21" name="Accenture Black"/>
            <p:cNvPicPr>
              <a:picLocks noChangeAspect="1"/>
            </p:cNvPicPr>
            <p:nvPr userDrawn="1"/>
          </p:nvPicPr>
          <p:blipFill>
            <a:blip r:embed="rId17" cstate="hqprint">
              <a:extLst>
                <a:ext uri="{28A0092B-C50C-407E-A947-70E740481C1C}">
                  <a14:useLocalDpi xmlns:a14="http://schemas.microsoft.com/office/drawing/2010/main"/>
                </a:ext>
              </a:extLst>
            </a:blip>
            <a:stretch>
              <a:fillRect/>
            </a:stretch>
          </p:blipFill>
          <p:spPr>
            <a:xfrm>
              <a:off x="476250" y="641561"/>
              <a:ext cx="2195577" cy="391107"/>
            </a:xfrm>
            <a:prstGeom prst="rect">
              <a:avLst/>
            </a:prstGeom>
          </p:spPr>
        </p:pic>
      </p:grpSp>
      <p:sp>
        <p:nvSpPr>
          <p:cNvPr id="37" name="AutoShape 7"/>
          <p:cNvSpPr>
            <a:spLocks noChangeAspect="1" noChangeArrowheads="1" noTextEdit="1"/>
          </p:cNvSpPr>
          <p:nvPr userDrawn="1"/>
        </p:nvSpPr>
        <p:spPr bwMode="auto">
          <a:xfrm>
            <a:off x="3446463" y="723900"/>
            <a:ext cx="5299075" cy="541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95" name="Group 94"/>
          <p:cNvGrpSpPr>
            <a:grpSpLocks noChangeAspect="1"/>
          </p:cNvGrpSpPr>
          <p:nvPr userDrawn="1"/>
        </p:nvGrpSpPr>
        <p:grpSpPr>
          <a:xfrm>
            <a:off x="9559232" y="335459"/>
            <a:ext cx="2250858" cy="604157"/>
            <a:chOff x="9563100" y="1673029"/>
            <a:chExt cx="1389888" cy="373063"/>
          </a:xfrm>
        </p:grpSpPr>
        <p:pic>
          <p:nvPicPr>
            <p:cNvPr id="96" name="Picture 95"/>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563100" y="1825994"/>
              <a:ext cx="1389888" cy="220098"/>
            </a:xfrm>
            <a:prstGeom prst="rect">
              <a:avLst/>
            </a:prstGeom>
          </p:spPr>
        </p:pic>
        <p:sp>
          <p:nvSpPr>
            <p:cNvPr id="97" name="Freeform 5"/>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Graphik" panose="020B0503030202060203" pitchFamily="34" charset="0"/>
              </a:endParaRPr>
            </a:p>
          </p:txBody>
        </p:sp>
      </p:grpSp>
      <p:sp>
        <p:nvSpPr>
          <p:cNvPr id="98" name="Text Placeholder 9"/>
          <p:cNvSpPr>
            <a:spLocks noGrp="1"/>
          </p:cNvSpPr>
          <p:nvPr>
            <p:ph type="body" sz="quarter" idx="13" hasCustomPrompt="1"/>
          </p:nvPr>
        </p:nvSpPr>
        <p:spPr>
          <a:xfrm>
            <a:off x="6766969" y="4344715"/>
            <a:ext cx="3859050" cy="1041195"/>
          </a:xfrm>
        </p:spPr>
        <p:txBody>
          <a:bodyPr anchor="b"/>
          <a:lstStyle>
            <a:lvl1pPr marL="0" indent="0">
              <a:lnSpc>
                <a:spcPct val="80000"/>
              </a:lnSpc>
              <a:buNone/>
              <a:defRPr sz="2000" b="0" i="0" cap="all" baseline="0">
                <a:solidFill>
                  <a:schemeClr val="tx1"/>
                </a:solidFill>
                <a:latin typeface="+mj-lt"/>
              </a:defRPr>
            </a:lvl1pPr>
          </a:lstStyle>
          <a:p>
            <a:pPr lvl="0"/>
            <a:r>
              <a:rPr lang="en-US" dirty="0"/>
              <a:t>SUBTITLE LINE</a:t>
            </a:r>
            <a:br>
              <a:rPr lang="en-US" dirty="0"/>
            </a:br>
            <a:r>
              <a:rPr lang="en-US" dirty="0"/>
              <a:t>SECOND LINE</a:t>
            </a:r>
          </a:p>
        </p:txBody>
      </p:sp>
      <p:pic>
        <p:nvPicPr>
          <p:cNvPr id="100" name="Picture 99"/>
          <p:cNvPicPr>
            <a:picLocks noChangeAspect="1"/>
          </p:cNvPicPr>
          <p:nvPr userDrawn="1"/>
        </p:nvPicPr>
        <p:blipFill>
          <a:blip r:embed="rId19"/>
          <a:stretch>
            <a:fillRect/>
          </a:stretch>
        </p:blipFill>
        <p:spPr>
          <a:xfrm>
            <a:off x="9947106" y="6279495"/>
            <a:ext cx="1833709" cy="351540"/>
          </a:xfrm>
          <a:prstGeom prst="rect">
            <a:avLst/>
          </a:prstGeom>
        </p:spPr>
      </p:pic>
    </p:spTree>
    <p:extLst>
      <p:ext uri="{BB962C8B-B14F-4D97-AF65-F5344CB8AC3E}">
        <p14:creationId xmlns:p14="http://schemas.microsoft.com/office/powerpoint/2010/main" val="373025931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32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2_Cover">
    <p:bg>
      <p:bgPr>
        <a:solidFill>
          <a:schemeClr val="bg1"/>
        </a:solidFill>
        <a:effectLst/>
      </p:bgPr>
    </p:bg>
    <p:spTree>
      <p:nvGrpSpPr>
        <p:cNvPr id="1" name=""/>
        <p:cNvGrpSpPr/>
        <p:nvPr/>
      </p:nvGrpSpPr>
      <p:grpSpPr>
        <a:xfrm>
          <a:off x="0" y="0"/>
          <a:ext cx="0" cy="0"/>
          <a:chOff x="0" y="0"/>
          <a:chExt cx="0" cy="0"/>
        </a:xfrm>
      </p:grpSpPr>
      <p:grpSp>
        <p:nvGrpSpPr>
          <p:cNvPr id="93" name="Master Brand 03 - Outline GTS" hidden="1"/>
          <p:cNvGrpSpPr>
            <a:grpSpLocks noChangeAspect="1"/>
          </p:cNvGrpSpPr>
          <p:nvPr userDrawn="1"/>
        </p:nvGrpSpPr>
        <p:grpSpPr bwMode="auto">
          <a:xfrm>
            <a:off x="2607278" y="1006057"/>
            <a:ext cx="4774072" cy="4870800"/>
            <a:chOff x="1620" y="-106"/>
            <a:chExt cx="4442" cy="4532"/>
          </a:xfrm>
        </p:grpSpPr>
        <p:sp>
          <p:nvSpPr>
            <p:cNvPr id="94" name="Freeform 5"/>
            <p:cNvSpPr>
              <a:spLocks/>
            </p:cNvSpPr>
            <p:nvPr userDrawn="1"/>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FFEA00"/>
                </a:gs>
                <a:gs pos="100000">
                  <a:srgbClr val="FFB600"/>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95" name="Freeform 6"/>
            <p:cNvSpPr>
              <a:spLocks/>
            </p:cNvSpPr>
            <p:nvPr userDrawn="1"/>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00BA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84" name="Master Brand 03 - GRADIENT GTS" hidden="1"/>
          <p:cNvGrpSpPr/>
          <p:nvPr userDrawn="1"/>
        </p:nvGrpSpPr>
        <p:grpSpPr>
          <a:xfrm>
            <a:off x="2607278" y="1026844"/>
            <a:ext cx="4751149" cy="4850013"/>
            <a:chOff x="336907" y="342900"/>
            <a:chExt cx="2298344" cy="2346169"/>
          </a:xfrm>
        </p:grpSpPr>
        <p:sp>
          <p:nvSpPr>
            <p:cNvPr id="85"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86"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EA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66" name="Master Brand 03 - DIMENSIONAL GTS" hidden="1"/>
          <p:cNvGrpSpPr/>
          <p:nvPr userDrawn="1"/>
        </p:nvGrpSpPr>
        <p:grpSpPr>
          <a:xfrm>
            <a:off x="2622518" y="1011604"/>
            <a:ext cx="4751149" cy="4850013"/>
            <a:chOff x="336907" y="342900"/>
            <a:chExt cx="2298344" cy="2346169"/>
          </a:xfrm>
        </p:grpSpPr>
        <p:sp>
          <p:nvSpPr>
            <p:cNvPr id="67"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68"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BA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87" name="Master Brand 02 - Outline GTS" hidden="1"/>
          <p:cNvGrpSpPr>
            <a:grpSpLocks noChangeAspect="1"/>
          </p:cNvGrpSpPr>
          <p:nvPr userDrawn="1"/>
        </p:nvGrpSpPr>
        <p:grpSpPr bwMode="auto">
          <a:xfrm>
            <a:off x="2607278" y="1006057"/>
            <a:ext cx="4774072" cy="4870800"/>
            <a:chOff x="1620" y="-106"/>
            <a:chExt cx="4442" cy="4532"/>
          </a:xfrm>
        </p:grpSpPr>
        <p:sp>
          <p:nvSpPr>
            <p:cNvPr id="88" name="Freeform 5"/>
            <p:cNvSpPr>
              <a:spLocks/>
            </p:cNvSpPr>
            <p:nvPr userDrawn="1"/>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00F3FF"/>
                </a:gs>
                <a:gs pos="100000">
                  <a:srgbClr val="2800FF"/>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89" name="Freeform 6"/>
            <p:cNvSpPr>
              <a:spLocks/>
            </p:cNvSpPr>
            <p:nvPr userDrawn="1"/>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00FF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80" name="Master Brand 02 - GRADIENT GTS" hidden="1"/>
          <p:cNvGrpSpPr/>
          <p:nvPr userDrawn="1"/>
        </p:nvGrpSpPr>
        <p:grpSpPr>
          <a:xfrm>
            <a:off x="2622518" y="1011604"/>
            <a:ext cx="4751149" cy="4850013"/>
            <a:chOff x="336907" y="342900"/>
            <a:chExt cx="2298344" cy="2346169"/>
          </a:xfrm>
        </p:grpSpPr>
        <p:sp>
          <p:nvSpPr>
            <p:cNvPr id="82"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83"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28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57" name="Master Brand 02 - DIMENSIONAL GTS" hidden="1"/>
          <p:cNvGrpSpPr/>
          <p:nvPr userDrawn="1"/>
        </p:nvGrpSpPr>
        <p:grpSpPr>
          <a:xfrm>
            <a:off x="2622518" y="1011604"/>
            <a:ext cx="4751149" cy="4850013"/>
            <a:chOff x="336907" y="342900"/>
            <a:chExt cx="2298344" cy="2346169"/>
          </a:xfrm>
        </p:grpSpPr>
        <p:sp>
          <p:nvSpPr>
            <p:cNvPr id="58"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59"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FF7D"/>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90" name="Master Brand 01 - Outline GTS" hidden="1"/>
          <p:cNvGrpSpPr>
            <a:grpSpLocks noChangeAspect="1"/>
          </p:cNvGrpSpPr>
          <p:nvPr userDrawn="1"/>
        </p:nvGrpSpPr>
        <p:grpSpPr bwMode="auto">
          <a:xfrm>
            <a:off x="2607278" y="1006057"/>
            <a:ext cx="4774072" cy="4870800"/>
            <a:chOff x="1620" y="-106"/>
            <a:chExt cx="4442" cy="4532"/>
          </a:xfrm>
        </p:grpSpPr>
        <p:sp>
          <p:nvSpPr>
            <p:cNvPr id="91" name="Freeform 5"/>
            <p:cNvSpPr>
              <a:spLocks/>
            </p:cNvSpPr>
            <p:nvPr userDrawn="1"/>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FFEA00"/>
                </a:gs>
                <a:gs pos="100000">
                  <a:srgbClr val="FFB600"/>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92" name="Freeform 6"/>
            <p:cNvSpPr>
              <a:spLocks/>
            </p:cNvSpPr>
            <p:nvPr userDrawn="1"/>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7E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74" name="Master Brand 01 - GRADIENT GTS" hidden="1"/>
          <p:cNvGrpSpPr/>
          <p:nvPr userDrawn="1"/>
        </p:nvGrpSpPr>
        <p:grpSpPr>
          <a:xfrm>
            <a:off x="2622518" y="1011604"/>
            <a:ext cx="4751149" cy="4850013"/>
            <a:chOff x="336907" y="342900"/>
            <a:chExt cx="2298344" cy="2346169"/>
          </a:xfrm>
        </p:grpSpPr>
        <p:sp>
          <p:nvSpPr>
            <p:cNvPr id="77"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78"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EA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51" name="Master Brand 01 - DIMENSIONAL GTS" hidden="1"/>
          <p:cNvGrpSpPr/>
          <p:nvPr userDrawn="1"/>
        </p:nvGrpSpPr>
        <p:grpSpPr>
          <a:xfrm>
            <a:off x="2622518" y="1011604"/>
            <a:ext cx="4751149" cy="4850013"/>
            <a:chOff x="336907" y="342900"/>
            <a:chExt cx="2298344" cy="2346169"/>
          </a:xfrm>
        </p:grpSpPr>
        <p:sp>
          <p:nvSpPr>
            <p:cNvPr id="52"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53"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7E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81" name="Consulting - GRADIENT GTS" hidden="1"/>
          <p:cNvSpPr>
            <a:spLocks/>
          </p:cNvSpPr>
          <p:nvPr userDrawn="1"/>
        </p:nvSpPr>
        <p:spPr bwMode="auto">
          <a:xfrm>
            <a:off x="2623154" y="1012417"/>
            <a:ext cx="4752000" cy="4849200"/>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00F3FF"/>
              </a:gs>
              <a:gs pos="98000">
                <a:srgbClr val="7E00FF"/>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71" name="Consulting - OUTLINED GTS" hidden="1"/>
          <p:cNvSpPr>
            <a:spLocks noEditPoints="1"/>
          </p:cNvSpPr>
          <p:nvPr userDrawn="1"/>
        </p:nvSpPr>
        <p:spPr bwMode="auto">
          <a:xfrm>
            <a:off x="2606930" y="1003887"/>
            <a:ext cx="4772285" cy="4872243"/>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7E00FF"/>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63" name="Consulting - DIMENSIONAL GTS" hidden="1"/>
          <p:cNvGrpSpPr/>
          <p:nvPr userDrawn="1"/>
        </p:nvGrpSpPr>
        <p:grpSpPr>
          <a:xfrm>
            <a:off x="2622518" y="1011604"/>
            <a:ext cx="4751149" cy="4850013"/>
            <a:chOff x="336907" y="342900"/>
            <a:chExt cx="2298344" cy="2346169"/>
          </a:xfrm>
        </p:grpSpPr>
        <p:sp>
          <p:nvSpPr>
            <p:cNvPr id="64"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7E00FF"/>
                </a:gs>
                <a:gs pos="100000">
                  <a:srgbClr val="380089"/>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65"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7E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79" name="Digital - GRADIENT GTS" hidden="1"/>
          <p:cNvSpPr>
            <a:spLocks/>
          </p:cNvSpPr>
          <p:nvPr userDrawn="1"/>
        </p:nvSpPr>
        <p:spPr bwMode="auto">
          <a:xfrm>
            <a:off x="2623154" y="1012417"/>
            <a:ext cx="4752000" cy="4849200"/>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FFB600"/>
              </a:gs>
              <a:gs pos="98000">
                <a:srgbClr val="FFFF00"/>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72" name="Digital - OUTLINED GTS" hidden="1"/>
          <p:cNvSpPr>
            <a:spLocks noEditPoints="1"/>
          </p:cNvSpPr>
          <p:nvPr userDrawn="1"/>
        </p:nvSpPr>
        <p:spPr bwMode="auto">
          <a:xfrm>
            <a:off x="2606930" y="1003887"/>
            <a:ext cx="4772285" cy="4872243"/>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FFFF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60" name="Digital - DIMENSIONAL GTS" hidden="1"/>
          <p:cNvGrpSpPr/>
          <p:nvPr userDrawn="1"/>
        </p:nvGrpSpPr>
        <p:grpSpPr>
          <a:xfrm>
            <a:off x="2622518" y="1011604"/>
            <a:ext cx="4751149" cy="4850013"/>
            <a:chOff x="336907" y="342900"/>
            <a:chExt cx="2298344" cy="2346169"/>
          </a:xfrm>
        </p:grpSpPr>
        <p:sp>
          <p:nvSpPr>
            <p:cNvPr id="61"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FF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62"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FF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76" name="Operations - GRADIENT GTS" hidden="1"/>
          <p:cNvSpPr>
            <a:spLocks/>
          </p:cNvSpPr>
          <p:nvPr userDrawn="1"/>
        </p:nvSpPr>
        <p:spPr bwMode="auto">
          <a:xfrm>
            <a:off x="2623154" y="1012417"/>
            <a:ext cx="4752000" cy="4849200"/>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2800FF"/>
              </a:gs>
              <a:gs pos="98000">
                <a:srgbClr val="00F3FF"/>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70" name="Operations - OUTLINED GTS" hidden="1"/>
          <p:cNvSpPr>
            <a:spLocks noEditPoints="1"/>
          </p:cNvSpPr>
          <p:nvPr userDrawn="1"/>
        </p:nvSpPr>
        <p:spPr bwMode="auto">
          <a:xfrm>
            <a:off x="2606930" y="1003887"/>
            <a:ext cx="4772285" cy="4872243"/>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00F3FF"/>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54" name="Operations - DIMENSIONAL GTS" hidden="1"/>
          <p:cNvGrpSpPr/>
          <p:nvPr userDrawn="1"/>
        </p:nvGrpSpPr>
        <p:grpSpPr>
          <a:xfrm>
            <a:off x="2622518" y="1011604"/>
            <a:ext cx="4751149" cy="4850013"/>
            <a:chOff x="336907" y="342900"/>
            <a:chExt cx="2298344" cy="2346169"/>
          </a:xfrm>
        </p:grpSpPr>
        <p:sp>
          <p:nvSpPr>
            <p:cNvPr id="55"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56"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73" name="Strategy - GRADIENT GTS" hidden="1"/>
          <p:cNvSpPr>
            <a:spLocks/>
          </p:cNvSpPr>
          <p:nvPr userDrawn="1"/>
        </p:nvSpPr>
        <p:spPr bwMode="auto">
          <a:xfrm>
            <a:off x="2623155" y="1011604"/>
            <a:ext cx="4750511" cy="4850013"/>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710012"/>
              </a:gs>
              <a:gs pos="98000">
                <a:srgbClr val="FF0000"/>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69" name="Strategy - OUTLINED GTS" hidden="1"/>
          <p:cNvSpPr>
            <a:spLocks noEditPoints="1"/>
          </p:cNvSpPr>
          <p:nvPr userDrawn="1"/>
        </p:nvSpPr>
        <p:spPr bwMode="auto">
          <a:xfrm>
            <a:off x="2606930" y="1003887"/>
            <a:ext cx="4772285" cy="4872243"/>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36" name="Strategy - DIMENSIONAL GTS" hidden="1"/>
          <p:cNvGrpSpPr/>
          <p:nvPr userDrawn="1"/>
        </p:nvGrpSpPr>
        <p:grpSpPr>
          <a:xfrm>
            <a:off x="2622518" y="1011604"/>
            <a:ext cx="4751149" cy="4850013"/>
            <a:chOff x="336907" y="342900"/>
            <a:chExt cx="2298344" cy="2346169"/>
          </a:xfrm>
        </p:grpSpPr>
        <p:sp>
          <p:nvSpPr>
            <p:cNvPr id="37"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0000"/>
                </a:gs>
                <a:gs pos="100000">
                  <a:srgbClr val="710012"/>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38"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75" name="Technology - GRADIENT GTS" hidden="1"/>
          <p:cNvSpPr>
            <a:spLocks/>
          </p:cNvSpPr>
          <p:nvPr userDrawn="1"/>
        </p:nvSpPr>
        <p:spPr bwMode="auto">
          <a:xfrm>
            <a:off x="2623154" y="1012417"/>
            <a:ext cx="4752000" cy="4849200"/>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00F3FF"/>
              </a:gs>
              <a:gs pos="98000">
                <a:srgbClr val="00FF00"/>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49" name="Technology - OUTLINED GTS" hidden="1"/>
          <p:cNvSpPr>
            <a:spLocks noEditPoints="1"/>
          </p:cNvSpPr>
          <p:nvPr userDrawn="1"/>
        </p:nvSpPr>
        <p:spPr bwMode="auto">
          <a:xfrm>
            <a:off x="2606930" y="1003887"/>
            <a:ext cx="4772285" cy="4872243"/>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00FF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pic>
        <p:nvPicPr>
          <p:cNvPr id="20" name="Accenture_Technology_WHITE" hidden="1"/>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7756800" y="464712"/>
            <a:ext cx="3855600" cy="618771"/>
          </a:xfrm>
          <a:prstGeom prst="rect">
            <a:avLst/>
          </a:prstGeom>
        </p:spPr>
      </p:pic>
      <p:pic>
        <p:nvPicPr>
          <p:cNvPr id="24" name="Accenture_Strategy_WHITE" hidden="1"/>
          <p:cNvPicPr>
            <a:picLocks noChangeAspect="1"/>
          </p:cNvPicPr>
          <p:nvPr userDrawn="1"/>
        </p:nvPicPr>
        <p:blipFill>
          <a:blip r:embed="rId3"/>
          <a:stretch>
            <a:fillRect/>
          </a:stretch>
        </p:blipFill>
        <p:spPr>
          <a:xfrm>
            <a:off x="7773000" y="459803"/>
            <a:ext cx="3276000" cy="623063"/>
          </a:xfrm>
          <a:prstGeom prst="rect">
            <a:avLst/>
          </a:prstGeom>
        </p:spPr>
      </p:pic>
      <p:pic>
        <p:nvPicPr>
          <p:cNvPr id="32" name="Accenture_Strategy_BLACK" hidden="1"/>
          <p:cNvPicPr>
            <a:picLocks noChangeAspect="1"/>
          </p:cNvPicPr>
          <p:nvPr userDrawn="1"/>
        </p:nvPicPr>
        <p:blipFill>
          <a:blip r:embed="rId4"/>
          <a:stretch>
            <a:fillRect/>
          </a:stretch>
        </p:blipFill>
        <p:spPr>
          <a:xfrm>
            <a:off x="7772739" y="459803"/>
            <a:ext cx="3276261" cy="623113"/>
          </a:xfrm>
          <a:prstGeom prst="rect">
            <a:avLst/>
          </a:prstGeom>
        </p:spPr>
      </p:pic>
      <p:pic>
        <p:nvPicPr>
          <p:cNvPr id="23" name="Accenture_Operations_WHITE" hidden="1"/>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7773225" y="476724"/>
            <a:ext cx="3704400" cy="613912"/>
          </a:xfrm>
          <a:prstGeom prst="rect">
            <a:avLst/>
          </a:prstGeom>
        </p:spPr>
      </p:pic>
      <p:pic>
        <p:nvPicPr>
          <p:cNvPr id="31" name="Accenture_Operations_BLACK" hidden="1"/>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7772739" y="476724"/>
            <a:ext cx="3704886" cy="613992"/>
          </a:xfrm>
          <a:prstGeom prst="rect">
            <a:avLst/>
          </a:prstGeom>
        </p:spPr>
      </p:pic>
      <p:pic>
        <p:nvPicPr>
          <p:cNvPr id="26" name="Accenture_Mobility_WHITE" hidden="1"/>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7754100" y="651110"/>
            <a:ext cx="3866400" cy="684773"/>
          </a:xfrm>
          <a:prstGeom prst="rect">
            <a:avLst/>
          </a:prstGeom>
        </p:spPr>
      </p:pic>
      <p:pic>
        <p:nvPicPr>
          <p:cNvPr id="34" name="Accenture_Mobility_BLACK" hidden="1"/>
          <p:cNvPicPr>
            <a:picLocks noChangeAspect="1"/>
          </p:cNvPicPr>
          <p:nvPr userDrawn="1"/>
        </p:nvPicPr>
        <p:blipFill>
          <a:blip r:embed="rId8" cstate="hqprint">
            <a:extLst>
              <a:ext uri="{28A0092B-C50C-407E-A947-70E740481C1C}">
                <a14:useLocalDpi xmlns:a14="http://schemas.microsoft.com/office/drawing/2010/main"/>
              </a:ext>
            </a:extLst>
          </a:blip>
          <a:stretch>
            <a:fillRect/>
          </a:stretch>
        </p:blipFill>
        <p:spPr>
          <a:xfrm>
            <a:off x="7753350" y="651110"/>
            <a:ext cx="3867150" cy="684905"/>
          </a:xfrm>
          <a:prstGeom prst="rect">
            <a:avLst/>
          </a:prstGeom>
        </p:spPr>
      </p:pic>
      <p:pic>
        <p:nvPicPr>
          <p:cNvPr id="28" name="Accenture_Interactive_WHITE" hidden="1"/>
          <p:cNvPicPr>
            <a:picLocks noChangeAspect="1"/>
          </p:cNvPicPr>
          <p:nvPr userDrawn="1"/>
        </p:nvPicPr>
        <p:blipFill>
          <a:blip r:embed="rId9" cstate="hqprint">
            <a:extLst>
              <a:ext uri="{28A0092B-C50C-407E-A947-70E740481C1C}">
                <a14:useLocalDpi xmlns:a14="http://schemas.microsoft.com/office/drawing/2010/main"/>
              </a:ext>
            </a:extLst>
          </a:blip>
          <a:stretch>
            <a:fillRect/>
          </a:stretch>
        </p:blipFill>
        <p:spPr>
          <a:xfrm>
            <a:off x="7754100" y="657225"/>
            <a:ext cx="3866400" cy="683539"/>
          </a:xfrm>
          <a:prstGeom prst="rect">
            <a:avLst/>
          </a:prstGeom>
        </p:spPr>
      </p:pic>
      <p:pic>
        <p:nvPicPr>
          <p:cNvPr id="42" name="Accenture_Interactive_BLACK" hidden="1"/>
          <p:cNvPicPr>
            <a:picLocks noChangeAspect="1"/>
          </p:cNvPicPr>
          <p:nvPr userDrawn="1"/>
        </p:nvPicPr>
        <p:blipFill>
          <a:blip r:embed="rId10" cstate="hqprint">
            <a:extLst>
              <a:ext uri="{28A0092B-C50C-407E-A947-70E740481C1C}">
                <a14:useLocalDpi xmlns:a14="http://schemas.microsoft.com/office/drawing/2010/main"/>
              </a:ext>
            </a:extLst>
          </a:blip>
          <a:stretch>
            <a:fillRect/>
          </a:stretch>
        </p:blipFill>
        <p:spPr>
          <a:xfrm>
            <a:off x="7754100" y="657225"/>
            <a:ext cx="3866400" cy="683539"/>
          </a:xfrm>
          <a:prstGeom prst="rect">
            <a:avLst/>
          </a:prstGeom>
        </p:spPr>
      </p:pic>
      <p:pic>
        <p:nvPicPr>
          <p:cNvPr id="25" name="Accenture_Analytics_WHITE" hidden="1"/>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7753349" y="658010"/>
            <a:ext cx="3866400" cy="692114"/>
          </a:xfrm>
          <a:prstGeom prst="rect">
            <a:avLst/>
          </a:prstGeom>
        </p:spPr>
      </p:pic>
      <p:pic>
        <p:nvPicPr>
          <p:cNvPr id="33" name="Accenture_Analytics_BLACK" hidden="1"/>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a:off x="7753349" y="658010"/>
            <a:ext cx="3867151" cy="692249"/>
          </a:xfrm>
          <a:prstGeom prst="rect">
            <a:avLst/>
          </a:prstGeom>
        </p:spPr>
      </p:pic>
      <p:pic>
        <p:nvPicPr>
          <p:cNvPr id="27" name="Accenture_Digital_WHITE" hidden="1"/>
          <p:cNvPicPr>
            <a:picLocks noChangeAspect="1"/>
          </p:cNvPicPr>
          <p:nvPr userDrawn="1"/>
        </p:nvPicPr>
        <p:blipFill>
          <a:blip r:embed="rId13"/>
          <a:stretch>
            <a:fillRect/>
          </a:stretch>
        </p:blipFill>
        <p:spPr>
          <a:xfrm>
            <a:off x="7756425" y="467886"/>
            <a:ext cx="2959200" cy="635308"/>
          </a:xfrm>
          <a:prstGeom prst="rect">
            <a:avLst/>
          </a:prstGeom>
        </p:spPr>
      </p:pic>
      <p:pic>
        <p:nvPicPr>
          <p:cNvPr id="35" name="Accenture_Digital_BLACK" hidden="1"/>
          <p:cNvPicPr>
            <a:picLocks noChangeAspect="1"/>
          </p:cNvPicPr>
          <p:nvPr userDrawn="1"/>
        </p:nvPicPr>
        <p:blipFill>
          <a:blip r:embed="rId14"/>
          <a:stretch>
            <a:fillRect/>
          </a:stretch>
        </p:blipFill>
        <p:spPr>
          <a:xfrm>
            <a:off x="7756072" y="467886"/>
            <a:ext cx="2959553" cy="635385"/>
          </a:xfrm>
          <a:prstGeom prst="rect">
            <a:avLst/>
          </a:prstGeom>
        </p:spPr>
      </p:pic>
      <p:pic>
        <p:nvPicPr>
          <p:cNvPr id="22" name="Accenture_Consulting_WHITE" hidden="1"/>
          <p:cNvPicPr>
            <a:picLocks noChangeAspect="1"/>
          </p:cNvPicPr>
          <p:nvPr userDrawn="1"/>
        </p:nvPicPr>
        <p:blipFill>
          <a:blip r:embed="rId15"/>
          <a:stretch>
            <a:fillRect/>
          </a:stretch>
        </p:blipFill>
        <p:spPr>
          <a:xfrm>
            <a:off x="7755225" y="464711"/>
            <a:ext cx="3722400" cy="633721"/>
          </a:xfrm>
          <a:prstGeom prst="rect">
            <a:avLst/>
          </a:prstGeom>
        </p:spPr>
      </p:pic>
      <p:pic>
        <p:nvPicPr>
          <p:cNvPr id="30" name="Accenture_Consulting_BLACK" hidden="1"/>
          <p:cNvPicPr>
            <a:picLocks noChangeAspect="1"/>
          </p:cNvPicPr>
          <p:nvPr userDrawn="1"/>
        </p:nvPicPr>
        <p:blipFill>
          <a:blip r:embed="rId16"/>
          <a:stretch>
            <a:fillRect/>
          </a:stretch>
        </p:blipFill>
        <p:spPr>
          <a:xfrm>
            <a:off x="7756071" y="464711"/>
            <a:ext cx="3721554" cy="633578"/>
          </a:xfrm>
          <a:prstGeom prst="rect">
            <a:avLst/>
          </a:prstGeom>
        </p:spPr>
      </p:pic>
      <p:grpSp>
        <p:nvGrpSpPr>
          <p:cNvPr id="39" name="Accenture_MasterWHITE" hidden="1"/>
          <p:cNvGrpSpPr/>
          <p:nvPr userDrawn="1"/>
        </p:nvGrpSpPr>
        <p:grpSpPr>
          <a:xfrm>
            <a:off x="7782263" y="470921"/>
            <a:ext cx="1828462" cy="530297"/>
            <a:chOff x="457202" y="420673"/>
            <a:chExt cx="2182661" cy="633434"/>
          </a:xfrm>
        </p:grpSpPr>
        <p:sp>
          <p:nvSpPr>
            <p:cNvPr id="40" name="Freeform 6"/>
            <p:cNvSpPr>
              <a:spLocks noEditPoints="1"/>
            </p:cNvSpPr>
            <p:nvPr userDrawn="1"/>
          </p:nvSpPr>
          <p:spPr bwMode="auto">
            <a:xfrm>
              <a:off x="457202" y="668790"/>
              <a:ext cx="2182661" cy="385317"/>
            </a:xfrm>
            <a:custGeom>
              <a:avLst/>
              <a:gdLst>
                <a:gd name="T0" fmla="*/ 35 w 765"/>
                <a:gd name="T1" fmla="*/ 118 h 135"/>
                <a:gd name="T2" fmla="*/ 56 w 765"/>
                <a:gd name="T3" fmla="*/ 88 h 135"/>
                <a:gd name="T4" fmla="*/ 78 w 765"/>
                <a:gd name="T5" fmla="*/ 62 h 135"/>
                <a:gd name="T6" fmla="*/ 4 w 765"/>
                <a:gd name="T7" fmla="*/ 62 h 135"/>
                <a:gd name="T8" fmla="*/ 42 w 765"/>
                <a:gd name="T9" fmla="*/ 47 h 135"/>
                <a:gd name="T10" fmla="*/ 56 w 765"/>
                <a:gd name="T11" fmla="*/ 75 h 135"/>
                <a:gd name="T12" fmla="*/ 30 w 765"/>
                <a:gd name="T13" fmla="*/ 135 h 135"/>
                <a:gd name="T14" fmla="*/ 56 w 765"/>
                <a:gd name="T15" fmla="*/ 121 h 135"/>
                <a:gd name="T16" fmla="*/ 78 w 765"/>
                <a:gd name="T17" fmla="*/ 132 h 135"/>
                <a:gd name="T18" fmla="*/ 132 w 765"/>
                <a:gd name="T19" fmla="*/ 47 h 135"/>
                <a:gd name="T20" fmla="*/ 154 w 765"/>
                <a:gd name="T21" fmla="*/ 118 h 135"/>
                <a:gd name="T22" fmla="*/ 171 w 765"/>
                <a:gd name="T23" fmla="*/ 130 h 135"/>
                <a:gd name="T24" fmla="*/ 88 w 765"/>
                <a:gd name="T25" fmla="*/ 78 h 135"/>
                <a:gd name="T26" fmla="*/ 172 w 765"/>
                <a:gd name="T27" fmla="*/ 67 h 135"/>
                <a:gd name="T28" fmla="*/ 236 w 765"/>
                <a:gd name="T29" fmla="*/ 67 h 135"/>
                <a:gd name="T30" fmla="*/ 202 w 765"/>
                <a:gd name="T31" fmla="*/ 74 h 135"/>
                <a:gd name="T32" fmla="*/ 260 w 765"/>
                <a:gd name="T33" fmla="*/ 116 h 135"/>
                <a:gd name="T34" fmla="*/ 231 w 765"/>
                <a:gd name="T35" fmla="*/ 135 h 135"/>
                <a:gd name="T36" fmla="*/ 223 w 765"/>
                <a:gd name="T37" fmla="*/ 31 h 135"/>
                <a:gd name="T38" fmla="*/ 236 w 765"/>
                <a:gd name="T39" fmla="*/ 67 h 135"/>
                <a:gd name="T40" fmla="*/ 291 w 765"/>
                <a:gd name="T41" fmla="*/ 63 h 135"/>
                <a:gd name="T42" fmla="*/ 327 w 765"/>
                <a:gd name="T43" fmla="*/ 63 h 135"/>
                <a:gd name="T44" fmla="*/ 349 w 765"/>
                <a:gd name="T45" fmla="*/ 71 h 135"/>
                <a:gd name="T46" fmla="*/ 269 w 765"/>
                <a:gd name="T47" fmla="*/ 77 h 135"/>
                <a:gd name="T48" fmla="*/ 347 w 765"/>
                <a:gd name="T49" fmla="*/ 131 h 135"/>
                <a:gd name="T50" fmla="*/ 328 w 765"/>
                <a:gd name="T51" fmla="*/ 118 h 135"/>
                <a:gd name="T52" fmla="*/ 349 w 765"/>
                <a:gd name="T53" fmla="*/ 77 h 135"/>
                <a:gd name="T54" fmla="*/ 418 w 765"/>
                <a:gd name="T55" fmla="*/ 76 h 135"/>
                <a:gd name="T56" fmla="*/ 408 w 765"/>
                <a:gd name="T57" fmla="*/ 52 h 135"/>
                <a:gd name="T58" fmla="*/ 384 w 765"/>
                <a:gd name="T59" fmla="*/ 132 h 135"/>
                <a:gd name="T60" fmla="*/ 361 w 765"/>
                <a:gd name="T61" fmla="*/ 33 h 135"/>
                <a:gd name="T62" fmla="*/ 384 w 765"/>
                <a:gd name="T63" fmla="*/ 51 h 135"/>
                <a:gd name="T64" fmla="*/ 414 w 765"/>
                <a:gd name="T65" fmla="*/ 31 h 135"/>
                <a:gd name="T66" fmla="*/ 441 w 765"/>
                <a:gd name="T67" fmla="*/ 132 h 135"/>
                <a:gd name="T68" fmla="*/ 489 w 765"/>
                <a:gd name="T69" fmla="*/ 49 h 135"/>
                <a:gd name="T70" fmla="*/ 505 w 765"/>
                <a:gd name="T71" fmla="*/ 118 h 135"/>
                <a:gd name="T72" fmla="*/ 516 w 765"/>
                <a:gd name="T73" fmla="*/ 133 h 135"/>
                <a:gd name="T74" fmla="*/ 466 w 765"/>
                <a:gd name="T75" fmla="*/ 107 h 135"/>
                <a:gd name="T76" fmla="*/ 447 w 765"/>
                <a:gd name="T77" fmla="*/ 49 h 135"/>
                <a:gd name="T78" fmla="*/ 466 w 765"/>
                <a:gd name="T79" fmla="*/ 33 h 135"/>
                <a:gd name="T80" fmla="*/ 489 w 765"/>
                <a:gd name="T81" fmla="*/ 0 h 135"/>
                <a:gd name="T82" fmla="*/ 519 w 765"/>
                <a:gd name="T83" fmla="*/ 33 h 135"/>
                <a:gd name="T84" fmla="*/ 489 w 765"/>
                <a:gd name="T85" fmla="*/ 49 h 135"/>
                <a:gd name="T86" fmla="*/ 586 w 765"/>
                <a:gd name="T87" fmla="*/ 114 h 135"/>
                <a:gd name="T88" fmla="*/ 556 w 765"/>
                <a:gd name="T89" fmla="*/ 135 h 135"/>
                <a:gd name="T90" fmla="*/ 529 w 765"/>
                <a:gd name="T91" fmla="*/ 33 h 135"/>
                <a:gd name="T92" fmla="*/ 552 w 765"/>
                <a:gd name="T93" fmla="*/ 90 h 135"/>
                <a:gd name="T94" fmla="*/ 563 w 765"/>
                <a:gd name="T95" fmla="*/ 113 h 135"/>
                <a:gd name="T96" fmla="*/ 586 w 765"/>
                <a:gd name="T97" fmla="*/ 33 h 135"/>
                <a:gd name="T98" fmla="*/ 609 w 765"/>
                <a:gd name="T99" fmla="*/ 132 h 135"/>
                <a:gd name="T100" fmla="*/ 647 w 765"/>
                <a:gd name="T101" fmla="*/ 89 h 135"/>
                <a:gd name="T102" fmla="*/ 624 w 765"/>
                <a:gd name="T103" fmla="*/ 132 h 135"/>
                <a:gd name="T104" fmla="*/ 647 w 765"/>
                <a:gd name="T105" fmla="*/ 33 h 135"/>
                <a:gd name="T106" fmla="*/ 648 w 765"/>
                <a:gd name="T107" fmla="*/ 51 h 135"/>
                <a:gd name="T108" fmla="*/ 680 w 765"/>
                <a:gd name="T109" fmla="*/ 55 h 135"/>
                <a:gd name="T110" fmla="*/ 743 w 765"/>
                <a:gd name="T111" fmla="*/ 63 h 135"/>
                <a:gd name="T112" fmla="*/ 726 w 765"/>
                <a:gd name="T113" fmla="*/ 45 h 135"/>
                <a:gd name="T114" fmla="*/ 765 w 765"/>
                <a:gd name="T115" fmla="*/ 77 h 135"/>
                <a:gd name="T116" fmla="*/ 727 w 765"/>
                <a:gd name="T117" fmla="*/ 31 h 135"/>
                <a:gd name="T118" fmla="*/ 735 w 765"/>
                <a:gd name="T119" fmla="*/ 135 h 135"/>
                <a:gd name="T120" fmla="*/ 763 w 765"/>
                <a:gd name="T121" fmla="*/ 115 h 135"/>
                <a:gd name="T122" fmla="*/ 706 w 765"/>
                <a:gd name="T123" fmla="*/ 7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5" h="135">
                  <a:moveTo>
                    <a:pt x="56" y="88"/>
                  </a:moveTo>
                  <a:cubicBezTo>
                    <a:pt x="56" y="101"/>
                    <a:pt x="51" y="118"/>
                    <a:pt x="35" y="118"/>
                  </a:cubicBezTo>
                  <a:cubicBezTo>
                    <a:pt x="28" y="118"/>
                    <a:pt x="23" y="114"/>
                    <a:pt x="23" y="106"/>
                  </a:cubicBezTo>
                  <a:cubicBezTo>
                    <a:pt x="23" y="91"/>
                    <a:pt x="45" y="88"/>
                    <a:pt x="56" y="88"/>
                  </a:cubicBezTo>
                  <a:close/>
                  <a:moveTo>
                    <a:pt x="78" y="132"/>
                  </a:moveTo>
                  <a:cubicBezTo>
                    <a:pt x="78" y="62"/>
                    <a:pt x="78" y="62"/>
                    <a:pt x="78" y="62"/>
                  </a:cubicBezTo>
                  <a:cubicBezTo>
                    <a:pt x="78" y="38"/>
                    <a:pt x="63" y="31"/>
                    <a:pt x="42" y="31"/>
                  </a:cubicBezTo>
                  <a:cubicBezTo>
                    <a:pt x="21" y="31"/>
                    <a:pt x="4" y="39"/>
                    <a:pt x="4" y="62"/>
                  </a:cubicBezTo>
                  <a:cubicBezTo>
                    <a:pt x="27" y="62"/>
                    <a:pt x="27" y="62"/>
                    <a:pt x="27" y="62"/>
                  </a:cubicBezTo>
                  <a:cubicBezTo>
                    <a:pt x="27" y="52"/>
                    <a:pt x="32" y="47"/>
                    <a:pt x="42" y="47"/>
                  </a:cubicBezTo>
                  <a:cubicBezTo>
                    <a:pt x="53" y="47"/>
                    <a:pt x="56" y="55"/>
                    <a:pt x="56" y="65"/>
                  </a:cubicBezTo>
                  <a:cubicBezTo>
                    <a:pt x="56" y="75"/>
                    <a:pt x="56" y="75"/>
                    <a:pt x="56" y="75"/>
                  </a:cubicBezTo>
                  <a:cubicBezTo>
                    <a:pt x="33" y="76"/>
                    <a:pt x="0" y="79"/>
                    <a:pt x="0" y="109"/>
                  </a:cubicBezTo>
                  <a:cubicBezTo>
                    <a:pt x="0" y="125"/>
                    <a:pt x="14" y="135"/>
                    <a:pt x="30" y="135"/>
                  </a:cubicBezTo>
                  <a:cubicBezTo>
                    <a:pt x="41" y="135"/>
                    <a:pt x="51" y="131"/>
                    <a:pt x="56" y="121"/>
                  </a:cubicBezTo>
                  <a:cubicBezTo>
                    <a:pt x="56" y="121"/>
                    <a:pt x="56" y="121"/>
                    <a:pt x="56" y="121"/>
                  </a:cubicBezTo>
                  <a:cubicBezTo>
                    <a:pt x="56" y="132"/>
                    <a:pt x="56" y="132"/>
                    <a:pt x="56" y="132"/>
                  </a:cubicBezTo>
                  <a:lnTo>
                    <a:pt x="78" y="132"/>
                  </a:lnTo>
                  <a:close/>
                  <a:moveTo>
                    <a:pt x="147" y="67"/>
                  </a:moveTo>
                  <a:cubicBezTo>
                    <a:pt x="147" y="57"/>
                    <a:pt x="144" y="47"/>
                    <a:pt x="132" y="47"/>
                  </a:cubicBezTo>
                  <a:cubicBezTo>
                    <a:pt x="117" y="47"/>
                    <a:pt x="113" y="62"/>
                    <a:pt x="113" y="74"/>
                  </a:cubicBezTo>
                  <a:cubicBezTo>
                    <a:pt x="113" y="99"/>
                    <a:pt x="128" y="118"/>
                    <a:pt x="154" y="118"/>
                  </a:cubicBezTo>
                  <a:cubicBezTo>
                    <a:pt x="160" y="118"/>
                    <a:pt x="165" y="118"/>
                    <a:pt x="171" y="116"/>
                  </a:cubicBezTo>
                  <a:cubicBezTo>
                    <a:pt x="171" y="130"/>
                    <a:pt x="171" y="130"/>
                    <a:pt x="171" y="130"/>
                  </a:cubicBezTo>
                  <a:cubicBezTo>
                    <a:pt x="161" y="133"/>
                    <a:pt x="151" y="135"/>
                    <a:pt x="142" y="135"/>
                  </a:cubicBezTo>
                  <a:cubicBezTo>
                    <a:pt x="106" y="135"/>
                    <a:pt x="88" y="113"/>
                    <a:pt x="88" y="78"/>
                  </a:cubicBezTo>
                  <a:cubicBezTo>
                    <a:pt x="88" y="49"/>
                    <a:pt x="104" y="31"/>
                    <a:pt x="134" y="31"/>
                  </a:cubicBezTo>
                  <a:cubicBezTo>
                    <a:pt x="158" y="31"/>
                    <a:pt x="172" y="42"/>
                    <a:pt x="172" y="67"/>
                  </a:cubicBezTo>
                  <a:lnTo>
                    <a:pt x="147" y="67"/>
                  </a:lnTo>
                  <a:close/>
                  <a:moveTo>
                    <a:pt x="236" y="67"/>
                  </a:moveTo>
                  <a:cubicBezTo>
                    <a:pt x="236" y="57"/>
                    <a:pt x="233" y="47"/>
                    <a:pt x="221" y="47"/>
                  </a:cubicBezTo>
                  <a:cubicBezTo>
                    <a:pt x="206" y="47"/>
                    <a:pt x="202" y="62"/>
                    <a:pt x="202" y="74"/>
                  </a:cubicBezTo>
                  <a:cubicBezTo>
                    <a:pt x="202" y="99"/>
                    <a:pt x="217" y="118"/>
                    <a:pt x="243" y="118"/>
                  </a:cubicBezTo>
                  <a:cubicBezTo>
                    <a:pt x="249" y="118"/>
                    <a:pt x="254" y="118"/>
                    <a:pt x="260" y="116"/>
                  </a:cubicBezTo>
                  <a:cubicBezTo>
                    <a:pt x="260" y="130"/>
                    <a:pt x="260" y="130"/>
                    <a:pt x="260" y="130"/>
                  </a:cubicBezTo>
                  <a:cubicBezTo>
                    <a:pt x="250" y="133"/>
                    <a:pt x="241" y="135"/>
                    <a:pt x="231" y="135"/>
                  </a:cubicBezTo>
                  <a:cubicBezTo>
                    <a:pt x="195" y="135"/>
                    <a:pt x="177" y="113"/>
                    <a:pt x="177" y="78"/>
                  </a:cubicBezTo>
                  <a:cubicBezTo>
                    <a:pt x="177" y="49"/>
                    <a:pt x="193" y="31"/>
                    <a:pt x="223" y="31"/>
                  </a:cubicBezTo>
                  <a:cubicBezTo>
                    <a:pt x="247" y="31"/>
                    <a:pt x="261" y="42"/>
                    <a:pt x="261" y="67"/>
                  </a:cubicBezTo>
                  <a:lnTo>
                    <a:pt x="236" y="67"/>
                  </a:lnTo>
                  <a:close/>
                  <a:moveTo>
                    <a:pt x="327" y="63"/>
                  </a:moveTo>
                  <a:cubicBezTo>
                    <a:pt x="291" y="63"/>
                    <a:pt x="291" y="63"/>
                    <a:pt x="291" y="63"/>
                  </a:cubicBezTo>
                  <a:cubicBezTo>
                    <a:pt x="292" y="53"/>
                    <a:pt x="300" y="45"/>
                    <a:pt x="310" y="45"/>
                  </a:cubicBezTo>
                  <a:cubicBezTo>
                    <a:pt x="320" y="45"/>
                    <a:pt x="327" y="52"/>
                    <a:pt x="327" y="63"/>
                  </a:cubicBezTo>
                  <a:close/>
                  <a:moveTo>
                    <a:pt x="349" y="77"/>
                  </a:moveTo>
                  <a:cubicBezTo>
                    <a:pt x="349" y="71"/>
                    <a:pt x="349" y="71"/>
                    <a:pt x="349" y="71"/>
                  </a:cubicBezTo>
                  <a:cubicBezTo>
                    <a:pt x="349" y="47"/>
                    <a:pt x="337" y="31"/>
                    <a:pt x="311" y="31"/>
                  </a:cubicBezTo>
                  <a:cubicBezTo>
                    <a:pt x="282" y="31"/>
                    <a:pt x="269" y="49"/>
                    <a:pt x="269" y="77"/>
                  </a:cubicBezTo>
                  <a:cubicBezTo>
                    <a:pt x="269" y="110"/>
                    <a:pt x="283" y="135"/>
                    <a:pt x="319" y="135"/>
                  </a:cubicBezTo>
                  <a:cubicBezTo>
                    <a:pt x="328" y="135"/>
                    <a:pt x="338" y="134"/>
                    <a:pt x="347" y="131"/>
                  </a:cubicBezTo>
                  <a:cubicBezTo>
                    <a:pt x="347" y="115"/>
                    <a:pt x="347" y="115"/>
                    <a:pt x="347" y="115"/>
                  </a:cubicBezTo>
                  <a:cubicBezTo>
                    <a:pt x="341" y="117"/>
                    <a:pt x="334" y="118"/>
                    <a:pt x="328" y="118"/>
                  </a:cubicBezTo>
                  <a:cubicBezTo>
                    <a:pt x="305" y="118"/>
                    <a:pt x="290" y="98"/>
                    <a:pt x="290" y="77"/>
                  </a:cubicBezTo>
                  <a:lnTo>
                    <a:pt x="349" y="77"/>
                  </a:lnTo>
                  <a:close/>
                  <a:moveTo>
                    <a:pt x="418" y="132"/>
                  </a:moveTo>
                  <a:cubicBezTo>
                    <a:pt x="418" y="76"/>
                    <a:pt x="418" y="76"/>
                    <a:pt x="418" y="76"/>
                  </a:cubicBezTo>
                  <a:cubicBezTo>
                    <a:pt x="418" y="71"/>
                    <a:pt x="418" y="58"/>
                    <a:pt x="414" y="54"/>
                  </a:cubicBezTo>
                  <a:cubicBezTo>
                    <a:pt x="413" y="53"/>
                    <a:pt x="410" y="52"/>
                    <a:pt x="408" y="52"/>
                  </a:cubicBezTo>
                  <a:cubicBezTo>
                    <a:pt x="391" y="52"/>
                    <a:pt x="384" y="76"/>
                    <a:pt x="384" y="89"/>
                  </a:cubicBezTo>
                  <a:cubicBezTo>
                    <a:pt x="384" y="132"/>
                    <a:pt x="384" y="132"/>
                    <a:pt x="384" y="132"/>
                  </a:cubicBezTo>
                  <a:cubicBezTo>
                    <a:pt x="361" y="132"/>
                    <a:pt x="361" y="132"/>
                    <a:pt x="361" y="132"/>
                  </a:cubicBezTo>
                  <a:cubicBezTo>
                    <a:pt x="361" y="33"/>
                    <a:pt x="361" y="33"/>
                    <a:pt x="361" y="33"/>
                  </a:cubicBezTo>
                  <a:cubicBezTo>
                    <a:pt x="384" y="33"/>
                    <a:pt x="384" y="33"/>
                    <a:pt x="384" y="33"/>
                  </a:cubicBezTo>
                  <a:cubicBezTo>
                    <a:pt x="384" y="51"/>
                    <a:pt x="384" y="51"/>
                    <a:pt x="384" y="51"/>
                  </a:cubicBezTo>
                  <a:cubicBezTo>
                    <a:pt x="385" y="51"/>
                    <a:pt x="385" y="51"/>
                    <a:pt x="385" y="51"/>
                  </a:cubicBezTo>
                  <a:cubicBezTo>
                    <a:pt x="390" y="39"/>
                    <a:pt x="400" y="31"/>
                    <a:pt x="414" y="31"/>
                  </a:cubicBezTo>
                  <a:cubicBezTo>
                    <a:pt x="433" y="31"/>
                    <a:pt x="441" y="46"/>
                    <a:pt x="441" y="63"/>
                  </a:cubicBezTo>
                  <a:cubicBezTo>
                    <a:pt x="441" y="132"/>
                    <a:pt x="441" y="132"/>
                    <a:pt x="441" y="132"/>
                  </a:cubicBezTo>
                  <a:lnTo>
                    <a:pt x="418" y="132"/>
                  </a:lnTo>
                  <a:close/>
                  <a:moveTo>
                    <a:pt x="489" y="49"/>
                  </a:moveTo>
                  <a:cubicBezTo>
                    <a:pt x="489" y="96"/>
                    <a:pt x="489" y="96"/>
                    <a:pt x="489" y="96"/>
                  </a:cubicBezTo>
                  <a:cubicBezTo>
                    <a:pt x="489" y="108"/>
                    <a:pt x="491" y="118"/>
                    <a:pt x="505" y="118"/>
                  </a:cubicBezTo>
                  <a:cubicBezTo>
                    <a:pt x="509" y="118"/>
                    <a:pt x="512" y="118"/>
                    <a:pt x="516" y="117"/>
                  </a:cubicBezTo>
                  <a:cubicBezTo>
                    <a:pt x="516" y="133"/>
                    <a:pt x="516" y="133"/>
                    <a:pt x="516" y="133"/>
                  </a:cubicBezTo>
                  <a:cubicBezTo>
                    <a:pt x="510" y="134"/>
                    <a:pt x="503" y="135"/>
                    <a:pt x="497" y="135"/>
                  </a:cubicBezTo>
                  <a:cubicBezTo>
                    <a:pt x="477" y="135"/>
                    <a:pt x="466" y="128"/>
                    <a:pt x="466" y="107"/>
                  </a:cubicBezTo>
                  <a:cubicBezTo>
                    <a:pt x="466" y="49"/>
                    <a:pt x="466" y="49"/>
                    <a:pt x="466" y="49"/>
                  </a:cubicBezTo>
                  <a:cubicBezTo>
                    <a:pt x="447" y="49"/>
                    <a:pt x="447" y="49"/>
                    <a:pt x="447" y="49"/>
                  </a:cubicBezTo>
                  <a:cubicBezTo>
                    <a:pt x="447" y="33"/>
                    <a:pt x="447" y="33"/>
                    <a:pt x="447" y="33"/>
                  </a:cubicBezTo>
                  <a:cubicBezTo>
                    <a:pt x="466" y="33"/>
                    <a:pt x="466" y="33"/>
                    <a:pt x="466" y="33"/>
                  </a:cubicBezTo>
                  <a:cubicBezTo>
                    <a:pt x="466" y="9"/>
                    <a:pt x="466" y="9"/>
                    <a:pt x="466" y="9"/>
                  </a:cubicBezTo>
                  <a:cubicBezTo>
                    <a:pt x="489" y="0"/>
                    <a:pt x="489" y="0"/>
                    <a:pt x="489" y="0"/>
                  </a:cubicBezTo>
                  <a:cubicBezTo>
                    <a:pt x="489" y="33"/>
                    <a:pt x="489" y="33"/>
                    <a:pt x="489" y="33"/>
                  </a:cubicBezTo>
                  <a:cubicBezTo>
                    <a:pt x="519" y="33"/>
                    <a:pt x="519" y="33"/>
                    <a:pt x="519" y="33"/>
                  </a:cubicBezTo>
                  <a:cubicBezTo>
                    <a:pt x="519" y="49"/>
                    <a:pt x="519" y="49"/>
                    <a:pt x="519" y="49"/>
                  </a:cubicBezTo>
                  <a:lnTo>
                    <a:pt x="489" y="49"/>
                  </a:lnTo>
                  <a:close/>
                  <a:moveTo>
                    <a:pt x="586" y="132"/>
                  </a:moveTo>
                  <a:cubicBezTo>
                    <a:pt x="586" y="114"/>
                    <a:pt x="586" y="114"/>
                    <a:pt x="586" y="114"/>
                  </a:cubicBezTo>
                  <a:cubicBezTo>
                    <a:pt x="586" y="114"/>
                    <a:pt x="586" y="114"/>
                    <a:pt x="586" y="114"/>
                  </a:cubicBezTo>
                  <a:cubicBezTo>
                    <a:pt x="580" y="126"/>
                    <a:pt x="570" y="135"/>
                    <a:pt x="556" y="135"/>
                  </a:cubicBezTo>
                  <a:cubicBezTo>
                    <a:pt x="537" y="135"/>
                    <a:pt x="529" y="119"/>
                    <a:pt x="529" y="102"/>
                  </a:cubicBezTo>
                  <a:cubicBezTo>
                    <a:pt x="529" y="33"/>
                    <a:pt x="529" y="33"/>
                    <a:pt x="529" y="33"/>
                  </a:cubicBezTo>
                  <a:cubicBezTo>
                    <a:pt x="552" y="33"/>
                    <a:pt x="552" y="33"/>
                    <a:pt x="552" y="33"/>
                  </a:cubicBezTo>
                  <a:cubicBezTo>
                    <a:pt x="552" y="90"/>
                    <a:pt x="552" y="90"/>
                    <a:pt x="552" y="90"/>
                  </a:cubicBezTo>
                  <a:cubicBezTo>
                    <a:pt x="552" y="95"/>
                    <a:pt x="552" y="107"/>
                    <a:pt x="556" y="111"/>
                  </a:cubicBezTo>
                  <a:cubicBezTo>
                    <a:pt x="558" y="113"/>
                    <a:pt x="560" y="113"/>
                    <a:pt x="563" y="113"/>
                  </a:cubicBezTo>
                  <a:cubicBezTo>
                    <a:pt x="579" y="113"/>
                    <a:pt x="586" y="89"/>
                    <a:pt x="586" y="76"/>
                  </a:cubicBezTo>
                  <a:cubicBezTo>
                    <a:pt x="586" y="33"/>
                    <a:pt x="586" y="33"/>
                    <a:pt x="586" y="33"/>
                  </a:cubicBezTo>
                  <a:cubicBezTo>
                    <a:pt x="609" y="33"/>
                    <a:pt x="609" y="33"/>
                    <a:pt x="609" y="33"/>
                  </a:cubicBezTo>
                  <a:cubicBezTo>
                    <a:pt x="609" y="132"/>
                    <a:pt x="609" y="132"/>
                    <a:pt x="609" y="132"/>
                  </a:cubicBezTo>
                  <a:lnTo>
                    <a:pt x="586" y="132"/>
                  </a:lnTo>
                  <a:close/>
                  <a:moveTo>
                    <a:pt x="647" y="89"/>
                  </a:moveTo>
                  <a:cubicBezTo>
                    <a:pt x="647" y="132"/>
                    <a:pt x="647" y="132"/>
                    <a:pt x="647" y="132"/>
                  </a:cubicBezTo>
                  <a:cubicBezTo>
                    <a:pt x="624" y="132"/>
                    <a:pt x="624" y="132"/>
                    <a:pt x="624" y="132"/>
                  </a:cubicBezTo>
                  <a:cubicBezTo>
                    <a:pt x="624" y="33"/>
                    <a:pt x="624" y="33"/>
                    <a:pt x="624" y="33"/>
                  </a:cubicBezTo>
                  <a:cubicBezTo>
                    <a:pt x="647" y="33"/>
                    <a:pt x="647" y="33"/>
                    <a:pt x="647" y="33"/>
                  </a:cubicBezTo>
                  <a:cubicBezTo>
                    <a:pt x="647" y="51"/>
                    <a:pt x="647" y="51"/>
                    <a:pt x="647" y="51"/>
                  </a:cubicBezTo>
                  <a:cubicBezTo>
                    <a:pt x="648" y="51"/>
                    <a:pt x="648" y="51"/>
                    <a:pt x="648" y="51"/>
                  </a:cubicBezTo>
                  <a:cubicBezTo>
                    <a:pt x="655" y="37"/>
                    <a:pt x="663" y="31"/>
                    <a:pt x="680" y="31"/>
                  </a:cubicBezTo>
                  <a:cubicBezTo>
                    <a:pt x="680" y="55"/>
                    <a:pt x="680" y="55"/>
                    <a:pt x="680" y="55"/>
                  </a:cubicBezTo>
                  <a:cubicBezTo>
                    <a:pt x="656" y="55"/>
                    <a:pt x="647" y="65"/>
                    <a:pt x="647" y="89"/>
                  </a:cubicBezTo>
                  <a:close/>
                  <a:moveTo>
                    <a:pt x="743" y="63"/>
                  </a:moveTo>
                  <a:cubicBezTo>
                    <a:pt x="707" y="63"/>
                    <a:pt x="707" y="63"/>
                    <a:pt x="707" y="63"/>
                  </a:cubicBezTo>
                  <a:cubicBezTo>
                    <a:pt x="708" y="53"/>
                    <a:pt x="715" y="45"/>
                    <a:pt x="726" y="45"/>
                  </a:cubicBezTo>
                  <a:cubicBezTo>
                    <a:pt x="736" y="45"/>
                    <a:pt x="743" y="52"/>
                    <a:pt x="743" y="63"/>
                  </a:cubicBezTo>
                  <a:close/>
                  <a:moveTo>
                    <a:pt x="765" y="77"/>
                  </a:moveTo>
                  <a:cubicBezTo>
                    <a:pt x="765" y="71"/>
                    <a:pt x="765" y="71"/>
                    <a:pt x="765" y="71"/>
                  </a:cubicBezTo>
                  <a:cubicBezTo>
                    <a:pt x="765" y="47"/>
                    <a:pt x="753" y="31"/>
                    <a:pt x="727" y="31"/>
                  </a:cubicBezTo>
                  <a:cubicBezTo>
                    <a:pt x="698" y="31"/>
                    <a:pt x="685" y="49"/>
                    <a:pt x="685" y="77"/>
                  </a:cubicBezTo>
                  <a:cubicBezTo>
                    <a:pt x="685" y="110"/>
                    <a:pt x="699" y="135"/>
                    <a:pt x="735" y="135"/>
                  </a:cubicBezTo>
                  <a:cubicBezTo>
                    <a:pt x="744" y="135"/>
                    <a:pt x="754" y="134"/>
                    <a:pt x="763" y="131"/>
                  </a:cubicBezTo>
                  <a:cubicBezTo>
                    <a:pt x="763" y="115"/>
                    <a:pt x="763" y="115"/>
                    <a:pt x="763" y="115"/>
                  </a:cubicBezTo>
                  <a:cubicBezTo>
                    <a:pt x="757" y="117"/>
                    <a:pt x="750" y="118"/>
                    <a:pt x="744" y="118"/>
                  </a:cubicBezTo>
                  <a:cubicBezTo>
                    <a:pt x="721" y="118"/>
                    <a:pt x="706" y="98"/>
                    <a:pt x="706" y="77"/>
                  </a:cubicBezTo>
                  <a:lnTo>
                    <a:pt x="765" y="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41" name="Freeform 40"/>
            <p:cNvSpPr/>
            <p:nvPr/>
          </p:nvSpPr>
          <p:spPr>
            <a:xfrm>
              <a:off x="1739049" y="420673"/>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Graphik" panose="020B0503030202060203" pitchFamily="34" charset="0"/>
              </a:endParaRPr>
            </a:p>
          </p:txBody>
        </p:sp>
      </p:grpSp>
      <p:grpSp>
        <p:nvGrpSpPr>
          <p:cNvPr id="43" name="Accenture_MasterBLACK" hidden="1"/>
          <p:cNvGrpSpPr/>
          <p:nvPr userDrawn="1"/>
        </p:nvGrpSpPr>
        <p:grpSpPr>
          <a:xfrm>
            <a:off x="7767974" y="460549"/>
            <a:ext cx="1828462" cy="528825"/>
            <a:chOff x="476250" y="397668"/>
            <a:chExt cx="2195577" cy="635000"/>
          </a:xfrm>
        </p:grpSpPr>
        <p:sp>
          <p:nvSpPr>
            <p:cNvPr id="44" name="Freeform 43"/>
            <p:cNvSpPr>
              <a:spLocks/>
            </p:cNvSpPr>
            <p:nvPr/>
          </p:nvSpPr>
          <p:spPr bwMode="auto">
            <a:xfrm>
              <a:off x="1758865" y="397668"/>
              <a:ext cx="206059" cy="214470"/>
            </a:xfrm>
            <a:custGeom>
              <a:avLst/>
              <a:gdLst>
                <a:gd name="T0" fmla="*/ 0 w 72"/>
                <a:gd name="T1" fmla="*/ 0 h 74"/>
                <a:gd name="T2" fmla="*/ 0 w 72"/>
                <a:gd name="T3" fmla="*/ 2 h 74"/>
                <a:gd name="T4" fmla="*/ 0 w 72"/>
                <a:gd name="T5" fmla="*/ 16 h 74"/>
                <a:gd name="T6" fmla="*/ 53 w 72"/>
                <a:gd name="T7" fmla="*/ 37 h 74"/>
                <a:gd name="T8" fmla="*/ 0 w 72"/>
                <a:gd name="T9" fmla="*/ 57 h 74"/>
                <a:gd name="T10" fmla="*/ 0 w 72"/>
                <a:gd name="T11" fmla="*/ 74 h 74"/>
                <a:gd name="T12" fmla="*/ 72 w 72"/>
                <a:gd name="T13" fmla="*/ 44 h 74"/>
                <a:gd name="T14" fmla="*/ 72 w 72"/>
                <a:gd name="T15" fmla="*/ 29 h 74"/>
                <a:gd name="T16" fmla="*/ 0 w 72"/>
                <a:gd name="T1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0" y="0"/>
                  </a:moveTo>
                  <a:cubicBezTo>
                    <a:pt x="0" y="2"/>
                    <a:pt x="0" y="2"/>
                    <a:pt x="0" y="2"/>
                  </a:cubicBezTo>
                  <a:cubicBezTo>
                    <a:pt x="0" y="16"/>
                    <a:pt x="0" y="16"/>
                    <a:pt x="0" y="16"/>
                  </a:cubicBezTo>
                  <a:cubicBezTo>
                    <a:pt x="0" y="16"/>
                    <a:pt x="46" y="34"/>
                    <a:pt x="53" y="37"/>
                  </a:cubicBezTo>
                  <a:cubicBezTo>
                    <a:pt x="46" y="40"/>
                    <a:pt x="0" y="57"/>
                    <a:pt x="0" y="57"/>
                  </a:cubicBezTo>
                  <a:cubicBezTo>
                    <a:pt x="0" y="74"/>
                    <a:pt x="0" y="74"/>
                    <a:pt x="0" y="74"/>
                  </a:cubicBezTo>
                  <a:cubicBezTo>
                    <a:pt x="72" y="44"/>
                    <a:pt x="72" y="44"/>
                    <a:pt x="72" y="44"/>
                  </a:cubicBezTo>
                  <a:cubicBezTo>
                    <a:pt x="72" y="29"/>
                    <a:pt x="72" y="29"/>
                    <a:pt x="72" y="29"/>
                  </a:cubicBez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pic>
          <p:nvPicPr>
            <p:cNvPr id="45" name="Accenture Black"/>
            <p:cNvPicPr>
              <a:picLocks noChangeAspect="1"/>
            </p:cNvPicPr>
            <p:nvPr userDrawn="1"/>
          </p:nvPicPr>
          <p:blipFill>
            <a:blip r:embed="rId17" cstate="hqprint">
              <a:extLst>
                <a:ext uri="{28A0092B-C50C-407E-A947-70E740481C1C}">
                  <a14:useLocalDpi xmlns:a14="http://schemas.microsoft.com/office/drawing/2010/main"/>
                </a:ext>
              </a:extLst>
            </a:blip>
            <a:stretch>
              <a:fillRect/>
            </a:stretch>
          </p:blipFill>
          <p:spPr>
            <a:xfrm>
              <a:off x="476250" y="641561"/>
              <a:ext cx="2195577" cy="391107"/>
            </a:xfrm>
            <a:prstGeom prst="rect">
              <a:avLst/>
            </a:prstGeom>
          </p:spPr>
        </p:pic>
      </p:grpSp>
      <p:sp>
        <p:nvSpPr>
          <p:cNvPr id="96" name="MasterTitle"/>
          <p:cNvSpPr>
            <a:spLocks noGrp="1"/>
          </p:cNvSpPr>
          <p:nvPr>
            <p:ph type="title" hasCustomPrompt="1"/>
          </p:nvPr>
        </p:nvSpPr>
        <p:spPr>
          <a:xfrm>
            <a:off x="579600" y="1462236"/>
            <a:ext cx="5354475" cy="3948750"/>
          </a:xfrm>
        </p:spPr>
        <p:txBody>
          <a:bodyPr tIns="252000" anchor="ctr"/>
          <a:lstStyle>
            <a:lvl1pPr>
              <a:lnSpc>
                <a:spcPct val="70000"/>
              </a:lnSpc>
              <a:defRPr sz="7200" spc="-150" baseline="0">
                <a:solidFill>
                  <a:schemeClr val="tx1"/>
                </a:solidFill>
              </a:defRPr>
            </a:lvl1pPr>
          </a:lstStyle>
          <a:p>
            <a:r>
              <a:rPr lang="en-US" dirty="0"/>
              <a:t>Click </a:t>
            </a:r>
            <a:br>
              <a:rPr lang="en-US" dirty="0"/>
            </a:br>
            <a:r>
              <a:rPr lang="en-US" dirty="0"/>
              <a:t>to edit Master title</a:t>
            </a:r>
            <a:endParaRPr lang="en-AU" dirty="0"/>
          </a:p>
        </p:txBody>
      </p:sp>
      <p:sp>
        <p:nvSpPr>
          <p:cNvPr id="99" name="Text Placeholder 9"/>
          <p:cNvSpPr>
            <a:spLocks noGrp="1"/>
          </p:cNvSpPr>
          <p:nvPr>
            <p:ph type="body" sz="quarter" idx="12" hasCustomPrompt="1"/>
          </p:nvPr>
        </p:nvSpPr>
        <p:spPr>
          <a:xfrm>
            <a:off x="6766969" y="4344715"/>
            <a:ext cx="3859050" cy="1041195"/>
          </a:xfrm>
        </p:spPr>
        <p:txBody>
          <a:bodyPr anchor="b"/>
          <a:lstStyle>
            <a:lvl1pPr marL="0" indent="0">
              <a:lnSpc>
                <a:spcPct val="80000"/>
              </a:lnSpc>
              <a:buNone/>
              <a:defRPr sz="2000" b="0" i="0" cap="all" baseline="0">
                <a:solidFill>
                  <a:schemeClr val="tx1"/>
                </a:solidFill>
                <a:latin typeface="+mj-lt"/>
              </a:defRPr>
            </a:lvl1pPr>
          </a:lstStyle>
          <a:p>
            <a:pPr lvl="0"/>
            <a:r>
              <a:rPr lang="en-US" dirty="0"/>
              <a:t>SUBTITLE LINE</a:t>
            </a:r>
            <a:br>
              <a:rPr lang="en-US" dirty="0"/>
            </a:br>
            <a:r>
              <a:rPr lang="en-US" dirty="0"/>
              <a:t>SECOND LINE</a:t>
            </a:r>
          </a:p>
        </p:txBody>
      </p:sp>
      <p:pic>
        <p:nvPicPr>
          <p:cNvPr id="101" name="Picture 100"/>
          <p:cNvPicPr>
            <a:picLocks noChangeAspect="1"/>
          </p:cNvPicPr>
          <p:nvPr userDrawn="1"/>
        </p:nvPicPr>
        <p:blipFill>
          <a:blip r:embed="rId18"/>
          <a:stretch>
            <a:fillRect/>
          </a:stretch>
        </p:blipFill>
        <p:spPr>
          <a:xfrm>
            <a:off x="9947106" y="6279495"/>
            <a:ext cx="1833709" cy="351540"/>
          </a:xfrm>
          <a:prstGeom prst="rect">
            <a:avLst/>
          </a:prstGeom>
        </p:spPr>
      </p:pic>
      <p:grpSp>
        <p:nvGrpSpPr>
          <p:cNvPr id="102" name="Group 101"/>
          <p:cNvGrpSpPr>
            <a:grpSpLocks noChangeAspect="1"/>
          </p:cNvGrpSpPr>
          <p:nvPr userDrawn="1"/>
        </p:nvGrpSpPr>
        <p:grpSpPr>
          <a:xfrm>
            <a:off x="9559232" y="335459"/>
            <a:ext cx="2250858" cy="604157"/>
            <a:chOff x="9563100" y="1673029"/>
            <a:chExt cx="1389888" cy="373063"/>
          </a:xfrm>
        </p:grpSpPr>
        <p:pic>
          <p:nvPicPr>
            <p:cNvPr id="103" name="Picture 102"/>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563100" y="1825994"/>
              <a:ext cx="1389888" cy="220098"/>
            </a:xfrm>
            <a:prstGeom prst="rect">
              <a:avLst/>
            </a:prstGeom>
          </p:spPr>
        </p:pic>
        <p:sp>
          <p:nvSpPr>
            <p:cNvPr id="104" name="Freeform 5"/>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Graphik" panose="020B0503030202060203" pitchFamily="34" charset="0"/>
              </a:endParaRPr>
            </a:p>
          </p:txBody>
        </p:sp>
      </p:grpSp>
    </p:spTree>
    <p:extLst>
      <p:ext uri="{BB962C8B-B14F-4D97-AF65-F5344CB8AC3E}">
        <p14:creationId xmlns:p14="http://schemas.microsoft.com/office/powerpoint/2010/main" val="3113679435"/>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5_Cover">
    <p:bg>
      <p:bgPr>
        <a:gradFill>
          <a:gsLst>
            <a:gs pos="0">
              <a:srgbClr val="F1F3F2"/>
            </a:gs>
            <a:gs pos="37000">
              <a:srgbClr val="F7F7F7"/>
            </a:gs>
            <a:gs pos="68500">
              <a:srgbClr val="FAFAFA"/>
            </a:gs>
            <a:gs pos="100000">
              <a:schemeClr val="bg1"/>
            </a:gs>
          </a:gsLst>
          <a:lin ang="1200000" scaled="0"/>
        </a:gradFill>
        <a:effectLst/>
      </p:bgPr>
    </p:bg>
    <p:spTree>
      <p:nvGrpSpPr>
        <p:cNvPr id="1" name=""/>
        <p:cNvGrpSpPr/>
        <p:nvPr/>
      </p:nvGrpSpPr>
      <p:grpSpPr>
        <a:xfrm>
          <a:off x="0" y="0"/>
          <a:ext cx="0" cy="0"/>
          <a:chOff x="0" y="0"/>
          <a:chExt cx="0" cy="0"/>
        </a:xfrm>
      </p:grpSpPr>
      <p:grpSp>
        <p:nvGrpSpPr>
          <p:cNvPr id="89" name="Master Brand 03 - Outline GTS" hidden="1"/>
          <p:cNvGrpSpPr>
            <a:grpSpLocks noChangeAspect="1"/>
          </p:cNvGrpSpPr>
          <p:nvPr userDrawn="1"/>
        </p:nvGrpSpPr>
        <p:grpSpPr bwMode="auto">
          <a:xfrm>
            <a:off x="1159200" y="455022"/>
            <a:ext cx="5949065" cy="6069600"/>
            <a:chOff x="1620" y="-106"/>
            <a:chExt cx="4442" cy="4532"/>
          </a:xfrm>
        </p:grpSpPr>
        <p:sp>
          <p:nvSpPr>
            <p:cNvPr id="90" name="Freeform 5"/>
            <p:cNvSpPr>
              <a:spLocks/>
            </p:cNvSpPr>
            <p:nvPr userDrawn="1"/>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FFEA00"/>
                </a:gs>
                <a:gs pos="100000">
                  <a:srgbClr val="FFB600"/>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91" name="Freeform 6"/>
            <p:cNvSpPr>
              <a:spLocks/>
            </p:cNvSpPr>
            <p:nvPr userDrawn="1"/>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00BA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83" name="Master Brand 03 - GRADIENT GTS" hidden="1"/>
          <p:cNvGrpSpPr/>
          <p:nvPr userDrawn="1"/>
        </p:nvGrpSpPr>
        <p:grpSpPr>
          <a:xfrm>
            <a:off x="1159200" y="456688"/>
            <a:ext cx="5944244" cy="6067934"/>
            <a:chOff x="336907" y="342900"/>
            <a:chExt cx="2298344" cy="2346169"/>
          </a:xfrm>
        </p:grpSpPr>
        <p:sp>
          <p:nvSpPr>
            <p:cNvPr id="84"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85"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EA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80" name="Master Brand 03 - DIMENSIONAL GTS" hidden="1"/>
          <p:cNvGrpSpPr/>
          <p:nvPr userDrawn="1"/>
        </p:nvGrpSpPr>
        <p:grpSpPr>
          <a:xfrm>
            <a:off x="1159200" y="456688"/>
            <a:ext cx="5944244" cy="6067934"/>
            <a:chOff x="336907" y="342900"/>
            <a:chExt cx="2298344" cy="2346169"/>
          </a:xfrm>
        </p:grpSpPr>
        <p:sp>
          <p:nvSpPr>
            <p:cNvPr id="81"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82"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BA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86" name="Master Brand 02 - Outline GTS" hidden="1"/>
          <p:cNvGrpSpPr>
            <a:grpSpLocks noChangeAspect="1"/>
          </p:cNvGrpSpPr>
          <p:nvPr userDrawn="1"/>
        </p:nvGrpSpPr>
        <p:grpSpPr bwMode="auto">
          <a:xfrm>
            <a:off x="1159200" y="455022"/>
            <a:ext cx="5949065" cy="6069600"/>
            <a:chOff x="1620" y="-106"/>
            <a:chExt cx="4442" cy="4532"/>
          </a:xfrm>
        </p:grpSpPr>
        <p:sp>
          <p:nvSpPr>
            <p:cNvPr id="87" name="Freeform 5"/>
            <p:cNvSpPr>
              <a:spLocks/>
            </p:cNvSpPr>
            <p:nvPr userDrawn="1"/>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00F3FF"/>
                </a:gs>
                <a:gs pos="100000">
                  <a:srgbClr val="2800FF"/>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88" name="Freeform 6"/>
            <p:cNvSpPr>
              <a:spLocks/>
            </p:cNvSpPr>
            <p:nvPr userDrawn="1"/>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00FF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77" name="Master Brand 02 - GRADIENT GTS" hidden="1"/>
          <p:cNvGrpSpPr/>
          <p:nvPr userDrawn="1"/>
        </p:nvGrpSpPr>
        <p:grpSpPr>
          <a:xfrm>
            <a:off x="1159200" y="456688"/>
            <a:ext cx="5944244" cy="6067934"/>
            <a:chOff x="336907" y="342900"/>
            <a:chExt cx="2298344" cy="2346169"/>
          </a:xfrm>
        </p:grpSpPr>
        <p:sp>
          <p:nvSpPr>
            <p:cNvPr id="78"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79"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28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74" name="Master Brand 02 - DIMENSIONAL GTS" hidden="1"/>
          <p:cNvGrpSpPr/>
          <p:nvPr userDrawn="1"/>
        </p:nvGrpSpPr>
        <p:grpSpPr>
          <a:xfrm>
            <a:off x="1159200" y="456688"/>
            <a:ext cx="5944244" cy="6067934"/>
            <a:chOff x="336907" y="342900"/>
            <a:chExt cx="2298344" cy="2346169"/>
          </a:xfrm>
        </p:grpSpPr>
        <p:sp>
          <p:nvSpPr>
            <p:cNvPr id="75"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76"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FF7D"/>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27" name="Master Brand 01 - Outline GTS" hidden="1"/>
          <p:cNvGrpSpPr>
            <a:grpSpLocks noChangeAspect="1"/>
          </p:cNvGrpSpPr>
          <p:nvPr userDrawn="1"/>
        </p:nvGrpSpPr>
        <p:grpSpPr bwMode="auto">
          <a:xfrm>
            <a:off x="1159200" y="455022"/>
            <a:ext cx="5949065" cy="6069600"/>
            <a:chOff x="1620" y="-106"/>
            <a:chExt cx="4442" cy="4532"/>
          </a:xfrm>
        </p:grpSpPr>
        <p:sp>
          <p:nvSpPr>
            <p:cNvPr id="31" name="Freeform 5"/>
            <p:cNvSpPr>
              <a:spLocks/>
            </p:cNvSpPr>
            <p:nvPr userDrawn="1"/>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FFEA00"/>
                </a:gs>
                <a:gs pos="100000">
                  <a:srgbClr val="FFB600"/>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32" name="Freeform 6"/>
            <p:cNvSpPr>
              <a:spLocks/>
            </p:cNvSpPr>
            <p:nvPr userDrawn="1"/>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7E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71" name="Master Brand 01 - GRADIENT GTS" hidden="1"/>
          <p:cNvGrpSpPr/>
          <p:nvPr userDrawn="1"/>
        </p:nvGrpSpPr>
        <p:grpSpPr>
          <a:xfrm>
            <a:off x="1159200" y="456688"/>
            <a:ext cx="5944244" cy="6067934"/>
            <a:chOff x="336907" y="342900"/>
            <a:chExt cx="2298344" cy="2346169"/>
          </a:xfrm>
        </p:grpSpPr>
        <p:sp>
          <p:nvSpPr>
            <p:cNvPr id="72"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FF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73"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FF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61" name="Master Brand 01 - DIMENSIONAL GTS" hidden="1"/>
          <p:cNvGrpSpPr/>
          <p:nvPr userDrawn="1"/>
        </p:nvGrpSpPr>
        <p:grpSpPr>
          <a:xfrm>
            <a:off x="1159200" y="456688"/>
            <a:ext cx="5944244" cy="6067934"/>
            <a:chOff x="336907" y="342900"/>
            <a:chExt cx="2298344" cy="2346169"/>
          </a:xfrm>
        </p:grpSpPr>
        <p:sp>
          <p:nvSpPr>
            <p:cNvPr id="62"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FF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63"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7E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60" name="Consulting - GRADIENT GTS" hidden="1"/>
          <p:cNvSpPr>
            <a:spLocks/>
          </p:cNvSpPr>
          <p:nvPr userDrawn="1"/>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00F3FF"/>
              </a:gs>
              <a:gs pos="100000">
                <a:srgbClr val="7E00FF"/>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6" name="Consulting - OUTLINED GTS" hidden="1"/>
          <p:cNvSpPr>
            <a:spLocks noEditPoints="1"/>
          </p:cNvSpPr>
          <p:nvPr userDrawn="1"/>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7E00FF"/>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48" name="Consulting - DIMENSIONAL GTS" hidden="1"/>
          <p:cNvGrpSpPr/>
          <p:nvPr userDrawn="1"/>
        </p:nvGrpSpPr>
        <p:grpSpPr>
          <a:xfrm>
            <a:off x="1159200" y="456688"/>
            <a:ext cx="5944244" cy="6067934"/>
            <a:chOff x="336907" y="342900"/>
            <a:chExt cx="2298344" cy="2346169"/>
          </a:xfrm>
        </p:grpSpPr>
        <p:sp>
          <p:nvSpPr>
            <p:cNvPr id="49"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100000">
                  <a:srgbClr val="380089"/>
                </a:gs>
                <a:gs pos="0">
                  <a:srgbClr val="7E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50"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7E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59" name="Digital - GRADIENT GTS" hidden="1"/>
          <p:cNvSpPr>
            <a:spLocks/>
          </p:cNvSpPr>
          <p:nvPr userDrawn="1"/>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FFB600"/>
              </a:gs>
              <a:gs pos="100000">
                <a:srgbClr val="FFFF00"/>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5" name="Digital - OUTLINED GTS" hidden="1"/>
          <p:cNvSpPr>
            <a:spLocks noEditPoints="1"/>
          </p:cNvSpPr>
          <p:nvPr userDrawn="1"/>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FFFF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45" name="Digital - DIMENSIONAL GTS" hidden="1"/>
          <p:cNvGrpSpPr/>
          <p:nvPr userDrawn="1"/>
        </p:nvGrpSpPr>
        <p:grpSpPr>
          <a:xfrm>
            <a:off x="1159200" y="456688"/>
            <a:ext cx="5944244" cy="6067934"/>
            <a:chOff x="336907" y="342900"/>
            <a:chExt cx="2298344" cy="2346169"/>
          </a:xfrm>
        </p:grpSpPr>
        <p:sp>
          <p:nvSpPr>
            <p:cNvPr id="46"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FF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47"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FF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58" name="Operations - GRADIENT GTS" hidden="1"/>
          <p:cNvSpPr>
            <a:spLocks/>
          </p:cNvSpPr>
          <p:nvPr userDrawn="1"/>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2800FF"/>
              </a:gs>
              <a:gs pos="100000">
                <a:srgbClr val="00F3FF"/>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4" name="Operations - OUTLINED GTS" hidden="1"/>
          <p:cNvSpPr>
            <a:spLocks noEditPoints="1"/>
          </p:cNvSpPr>
          <p:nvPr userDrawn="1"/>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00F3FF"/>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42" name="Operations - DIMENSIONAL GTS" hidden="1"/>
          <p:cNvGrpSpPr/>
          <p:nvPr userDrawn="1"/>
        </p:nvGrpSpPr>
        <p:grpSpPr>
          <a:xfrm>
            <a:off x="1159200" y="456688"/>
            <a:ext cx="5944244" cy="6067934"/>
            <a:chOff x="336907" y="342900"/>
            <a:chExt cx="2298344" cy="2346169"/>
          </a:xfrm>
        </p:grpSpPr>
        <p:sp>
          <p:nvSpPr>
            <p:cNvPr id="43"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44"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F3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57" name="Strategy - GRADIENT GTS" hidden="1"/>
          <p:cNvSpPr>
            <a:spLocks/>
          </p:cNvSpPr>
          <p:nvPr userDrawn="1"/>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100000">
                <a:srgbClr val="FF0000"/>
              </a:gs>
              <a:gs pos="0">
                <a:srgbClr val="710012"/>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3" name="Strategy - OUTLINED GTS" hidden="1"/>
          <p:cNvSpPr>
            <a:spLocks noEditPoints="1"/>
          </p:cNvSpPr>
          <p:nvPr userDrawn="1"/>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38" name="Strategy - DIMENSIONAL GTS" hidden="1"/>
          <p:cNvGrpSpPr/>
          <p:nvPr userDrawn="1"/>
        </p:nvGrpSpPr>
        <p:grpSpPr>
          <a:xfrm>
            <a:off x="1159200" y="456688"/>
            <a:ext cx="5944244" cy="6067934"/>
            <a:chOff x="336907" y="342900"/>
            <a:chExt cx="2298344" cy="2346169"/>
          </a:xfrm>
        </p:grpSpPr>
        <p:sp>
          <p:nvSpPr>
            <p:cNvPr id="40"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0000"/>
                </a:gs>
                <a:gs pos="100000">
                  <a:srgbClr val="710012"/>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41"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39" name="Technology - GRADIENT GTS" hidden="1"/>
          <p:cNvSpPr>
            <a:spLocks/>
          </p:cNvSpPr>
          <p:nvPr userDrawn="1"/>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00F3FF"/>
              </a:gs>
              <a:gs pos="98000">
                <a:srgbClr val="00FF00"/>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36" name="Technology - OUTLINED GTS" hidden="1"/>
          <p:cNvSpPr>
            <a:spLocks noEditPoints="1"/>
          </p:cNvSpPr>
          <p:nvPr userDrawn="1"/>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00FF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6" name="SubTitle" hidden="1"/>
          <p:cNvSpPr>
            <a:spLocks noGrp="1"/>
          </p:cNvSpPr>
          <p:nvPr userDrawn="1">
            <p:ph type="body" sz="quarter" idx="12" hasCustomPrompt="1"/>
          </p:nvPr>
        </p:nvSpPr>
        <p:spPr>
          <a:xfrm>
            <a:off x="7756071" y="5073855"/>
            <a:ext cx="3856329" cy="1041195"/>
          </a:xfrm>
        </p:spPr>
        <p:txBody>
          <a:bodyPr anchor="b"/>
          <a:lstStyle>
            <a:lvl1pPr marL="0" indent="0">
              <a:lnSpc>
                <a:spcPct val="80000"/>
              </a:lnSpc>
              <a:buNone/>
              <a:defRPr sz="2000" b="0" i="0" cap="all" baseline="0">
                <a:solidFill>
                  <a:schemeClr val="tx1"/>
                </a:solidFill>
                <a:latin typeface="+mj-lt"/>
              </a:defRPr>
            </a:lvl1pPr>
          </a:lstStyle>
          <a:p>
            <a:pPr lvl="0"/>
            <a:r>
              <a:rPr lang="en-US" dirty="0"/>
              <a:t>SUBTITLE LINE</a:t>
            </a:r>
            <a:br>
              <a:rPr lang="en-US" dirty="0"/>
            </a:br>
            <a:r>
              <a:rPr lang="en-US" dirty="0"/>
              <a:t>SECOND LINE</a:t>
            </a:r>
          </a:p>
        </p:txBody>
      </p:sp>
      <p:pic>
        <p:nvPicPr>
          <p:cNvPr id="2" name="Accenture_Technology_WHITE" hidden="1"/>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7756800" y="464712"/>
            <a:ext cx="3855600" cy="618771"/>
          </a:xfrm>
          <a:prstGeom prst="rect">
            <a:avLst/>
          </a:prstGeom>
        </p:spPr>
      </p:pic>
      <p:pic>
        <p:nvPicPr>
          <p:cNvPr id="7" name="Accenture_Strategy_WHITE" hidden="1"/>
          <p:cNvPicPr>
            <a:picLocks noChangeAspect="1"/>
          </p:cNvPicPr>
          <p:nvPr userDrawn="1"/>
        </p:nvPicPr>
        <p:blipFill>
          <a:blip r:embed="rId3"/>
          <a:stretch>
            <a:fillRect/>
          </a:stretch>
        </p:blipFill>
        <p:spPr>
          <a:xfrm>
            <a:off x="7773000" y="459803"/>
            <a:ext cx="3276000" cy="623063"/>
          </a:xfrm>
          <a:prstGeom prst="rect">
            <a:avLst/>
          </a:prstGeom>
        </p:spPr>
      </p:pic>
      <p:pic>
        <p:nvPicPr>
          <p:cNvPr id="17" name="Accenture_Strategy_BLACK" hidden="1"/>
          <p:cNvPicPr>
            <a:picLocks noChangeAspect="1"/>
          </p:cNvPicPr>
          <p:nvPr userDrawn="1"/>
        </p:nvPicPr>
        <p:blipFill>
          <a:blip r:embed="rId4"/>
          <a:stretch>
            <a:fillRect/>
          </a:stretch>
        </p:blipFill>
        <p:spPr>
          <a:xfrm>
            <a:off x="7772739" y="459803"/>
            <a:ext cx="3276261" cy="623113"/>
          </a:xfrm>
          <a:prstGeom prst="rect">
            <a:avLst/>
          </a:prstGeom>
        </p:spPr>
      </p:pic>
      <p:pic>
        <p:nvPicPr>
          <p:cNvPr id="14" name="Accenture_Operations_WHITE" hidden="1"/>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7773225" y="476724"/>
            <a:ext cx="3704400" cy="613912"/>
          </a:xfrm>
          <a:prstGeom prst="rect">
            <a:avLst/>
          </a:prstGeom>
        </p:spPr>
      </p:pic>
      <p:pic>
        <p:nvPicPr>
          <p:cNvPr id="16" name="Accenture_Operations_BLACK" hidden="1"/>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7772739" y="476724"/>
            <a:ext cx="3704886" cy="613992"/>
          </a:xfrm>
          <a:prstGeom prst="rect">
            <a:avLst/>
          </a:prstGeom>
        </p:spPr>
      </p:pic>
      <p:pic>
        <p:nvPicPr>
          <p:cNvPr id="4" name="Accenture_Mobility_WHITE" hidden="1"/>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7754100" y="651110"/>
            <a:ext cx="3866400" cy="684773"/>
          </a:xfrm>
          <a:prstGeom prst="rect">
            <a:avLst/>
          </a:prstGeom>
        </p:spPr>
      </p:pic>
      <p:pic>
        <p:nvPicPr>
          <p:cNvPr id="18" name="Accenture_Mobility_BLACK" hidden="1"/>
          <p:cNvPicPr>
            <a:picLocks noChangeAspect="1"/>
          </p:cNvPicPr>
          <p:nvPr userDrawn="1"/>
        </p:nvPicPr>
        <p:blipFill>
          <a:blip r:embed="rId8" cstate="hqprint">
            <a:extLst>
              <a:ext uri="{28A0092B-C50C-407E-A947-70E740481C1C}">
                <a14:useLocalDpi xmlns:a14="http://schemas.microsoft.com/office/drawing/2010/main"/>
              </a:ext>
            </a:extLst>
          </a:blip>
          <a:stretch>
            <a:fillRect/>
          </a:stretch>
        </p:blipFill>
        <p:spPr>
          <a:xfrm>
            <a:off x="7753350" y="651110"/>
            <a:ext cx="3867150" cy="684905"/>
          </a:xfrm>
          <a:prstGeom prst="rect">
            <a:avLst/>
          </a:prstGeom>
        </p:spPr>
      </p:pic>
      <p:pic>
        <p:nvPicPr>
          <p:cNvPr id="29" name="Accenture_Interactive_WHITE" hidden="1"/>
          <p:cNvPicPr>
            <a:picLocks noChangeAspect="1"/>
          </p:cNvPicPr>
          <p:nvPr userDrawn="1"/>
        </p:nvPicPr>
        <p:blipFill>
          <a:blip r:embed="rId9" cstate="hqprint">
            <a:extLst>
              <a:ext uri="{28A0092B-C50C-407E-A947-70E740481C1C}">
                <a14:useLocalDpi xmlns:a14="http://schemas.microsoft.com/office/drawing/2010/main"/>
              </a:ext>
            </a:extLst>
          </a:blip>
          <a:stretch>
            <a:fillRect/>
          </a:stretch>
        </p:blipFill>
        <p:spPr>
          <a:xfrm>
            <a:off x="7754100" y="657225"/>
            <a:ext cx="3866400" cy="683539"/>
          </a:xfrm>
          <a:prstGeom prst="rect">
            <a:avLst/>
          </a:prstGeom>
        </p:spPr>
      </p:pic>
      <p:pic>
        <p:nvPicPr>
          <p:cNvPr id="28" name="Accenture_Interactive_BLACK" hidden="1"/>
          <p:cNvPicPr>
            <a:picLocks noChangeAspect="1"/>
          </p:cNvPicPr>
          <p:nvPr userDrawn="1"/>
        </p:nvPicPr>
        <p:blipFill>
          <a:blip r:embed="rId10" cstate="hqprint">
            <a:extLst>
              <a:ext uri="{28A0092B-C50C-407E-A947-70E740481C1C}">
                <a14:useLocalDpi xmlns:a14="http://schemas.microsoft.com/office/drawing/2010/main"/>
              </a:ext>
            </a:extLst>
          </a:blip>
          <a:stretch>
            <a:fillRect/>
          </a:stretch>
        </p:blipFill>
        <p:spPr>
          <a:xfrm>
            <a:off x="7754100" y="657225"/>
            <a:ext cx="3866400" cy="683539"/>
          </a:xfrm>
          <a:prstGeom prst="rect">
            <a:avLst/>
          </a:prstGeom>
        </p:spPr>
      </p:pic>
      <p:pic>
        <p:nvPicPr>
          <p:cNvPr id="5" name="Accenture_Analytics_WHITE" hidden="1"/>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7753349" y="658010"/>
            <a:ext cx="3866400" cy="692114"/>
          </a:xfrm>
          <a:prstGeom prst="rect">
            <a:avLst/>
          </a:prstGeom>
        </p:spPr>
      </p:pic>
      <p:pic>
        <p:nvPicPr>
          <p:cNvPr id="11" name="Accenture_Analytics_BLACK" hidden="1"/>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a:off x="7753349" y="658010"/>
            <a:ext cx="3867151" cy="692249"/>
          </a:xfrm>
          <a:prstGeom prst="rect">
            <a:avLst/>
          </a:prstGeom>
        </p:spPr>
      </p:pic>
      <p:pic>
        <p:nvPicPr>
          <p:cNvPr id="12" name="Accenture_Analytics_WHITE" hidden="1"/>
          <p:cNvPicPr>
            <a:picLocks noChangeAspect="1"/>
          </p:cNvPicPr>
          <p:nvPr userDrawn="1"/>
        </p:nvPicPr>
        <p:blipFill>
          <a:blip r:embed="rId9" cstate="hqprint">
            <a:extLst>
              <a:ext uri="{28A0092B-C50C-407E-A947-70E740481C1C}">
                <a14:useLocalDpi xmlns:a14="http://schemas.microsoft.com/office/drawing/2010/main"/>
              </a:ext>
            </a:extLst>
          </a:blip>
          <a:stretch>
            <a:fillRect/>
          </a:stretch>
        </p:blipFill>
        <p:spPr>
          <a:xfrm>
            <a:off x="7754100" y="658010"/>
            <a:ext cx="3866400" cy="683539"/>
          </a:xfrm>
          <a:prstGeom prst="rect">
            <a:avLst/>
          </a:prstGeom>
        </p:spPr>
      </p:pic>
      <p:pic>
        <p:nvPicPr>
          <p:cNvPr id="3" name="Accenture_Digital_WHITE" hidden="1"/>
          <p:cNvPicPr>
            <a:picLocks noChangeAspect="1"/>
          </p:cNvPicPr>
          <p:nvPr userDrawn="1"/>
        </p:nvPicPr>
        <p:blipFill>
          <a:blip r:embed="rId13"/>
          <a:stretch>
            <a:fillRect/>
          </a:stretch>
        </p:blipFill>
        <p:spPr>
          <a:xfrm>
            <a:off x="7756425" y="467886"/>
            <a:ext cx="2959200" cy="635308"/>
          </a:xfrm>
          <a:prstGeom prst="rect">
            <a:avLst/>
          </a:prstGeom>
        </p:spPr>
      </p:pic>
      <p:pic>
        <p:nvPicPr>
          <p:cNvPr id="15" name="Accenture_Digital_BLACK" hidden="1"/>
          <p:cNvPicPr>
            <a:picLocks noChangeAspect="1"/>
          </p:cNvPicPr>
          <p:nvPr userDrawn="1"/>
        </p:nvPicPr>
        <p:blipFill>
          <a:blip r:embed="rId14"/>
          <a:stretch>
            <a:fillRect/>
          </a:stretch>
        </p:blipFill>
        <p:spPr>
          <a:xfrm>
            <a:off x="7756072" y="467886"/>
            <a:ext cx="2959553" cy="635385"/>
          </a:xfrm>
          <a:prstGeom prst="rect">
            <a:avLst/>
          </a:prstGeom>
        </p:spPr>
      </p:pic>
      <p:pic>
        <p:nvPicPr>
          <p:cNvPr id="26" name="Accenture_Consulting_WHITE" hidden="1"/>
          <p:cNvPicPr>
            <a:picLocks noChangeAspect="1"/>
          </p:cNvPicPr>
          <p:nvPr userDrawn="1"/>
        </p:nvPicPr>
        <p:blipFill>
          <a:blip r:embed="rId15"/>
          <a:stretch>
            <a:fillRect/>
          </a:stretch>
        </p:blipFill>
        <p:spPr>
          <a:xfrm>
            <a:off x="7755225" y="464711"/>
            <a:ext cx="3722400" cy="633721"/>
          </a:xfrm>
          <a:prstGeom prst="rect">
            <a:avLst/>
          </a:prstGeom>
        </p:spPr>
      </p:pic>
      <p:pic>
        <p:nvPicPr>
          <p:cNvPr id="13" name="Accenture_Consulting_BLACK" hidden="1"/>
          <p:cNvPicPr>
            <a:picLocks noChangeAspect="1"/>
          </p:cNvPicPr>
          <p:nvPr userDrawn="1"/>
        </p:nvPicPr>
        <p:blipFill>
          <a:blip r:embed="rId16"/>
          <a:stretch>
            <a:fillRect/>
          </a:stretch>
        </p:blipFill>
        <p:spPr>
          <a:xfrm>
            <a:off x="7756071" y="464711"/>
            <a:ext cx="3721554" cy="633578"/>
          </a:xfrm>
          <a:prstGeom prst="rect">
            <a:avLst/>
          </a:prstGeom>
        </p:spPr>
      </p:pic>
      <p:grpSp>
        <p:nvGrpSpPr>
          <p:cNvPr id="22" name="Accenture_MasterWHITE" hidden="1"/>
          <p:cNvGrpSpPr/>
          <p:nvPr userDrawn="1"/>
        </p:nvGrpSpPr>
        <p:grpSpPr>
          <a:xfrm>
            <a:off x="7782263" y="470921"/>
            <a:ext cx="1828462" cy="530297"/>
            <a:chOff x="457202" y="420673"/>
            <a:chExt cx="2182661" cy="633434"/>
          </a:xfrm>
        </p:grpSpPr>
        <p:sp>
          <p:nvSpPr>
            <p:cNvPr id="23" name="Freeform 6"/>
            <p:cNvSpPr>
              <a:spLocks noEditPoints="1"/>
            </p:cNvSpPr>
            <p:nvPr userDrawn="1"/>
          </p:nvSpPr>
          <p:spPr bwMode="auto">
            <a:xfrm>
              <a:off x="457202" y="668790"/>
              <a:ext cx="2182661" cy="385317"/>
            </a:xfrm>
            <a:custGeom>
              <a:avLst/>
              <a:gdLst>
                <a:gd name="T0" fmla="*/ 35 w 765"/>
                <a:gd name="T1" fmla="*/ 118 h 135"/>
                <a:gd name="T2" fmla="*/ 56 w 765"/>
                <a:gd name="T3" fmla="*/ 88 h 135"/>
                <a:gd name="T4" fmla="*/ 78 w 765"/>
                <a:gd name="T5" fmla="*/ 62 h 135"/>
                <a:gd name="T6" fmla="*/ 4 w 765"/>
                <a:gd name="T7" fmla="*/ 62 h 135"/>
                <a:gd name="T8" fmla="*/ 42 w 765"/>
                <a:gd name="T9" fmla="*/ 47 h 135"/>
                <a:gd name="T10" fmla="*/ 56 w 765"/>
                <a:gd name="T11" fmla="*/ 75 h 135"/>
                <a:gd name="T12" fmla="*/ 30 w 765"/>
                <a:gd name="T13" fmla="*/ 135 h 135"/>
                <a:gd name="T14" fmla="*/ 56 w 765"/>
                <a:gd name="T15" fmla="*/ 121 h 135"/>
                <a:gd name="T16" fmla="*/ 78 w 765"/>
                <a:gd name="T17" fmla="*/ 132 h 135"/>
                <a:gd name="T18" fmla="*/ 132 w 765"/>
                <a:gd name="T19" fmla="*/ 47 h 135"/>
                <a:gd name="T20" fmla="*/ 154 w 765"/>
                <a:gd name="T21" fmla="*/ 118 h 135"/>
                <a:gd name="T22" fmla="*/ 171 w 765"/>
                <a:gd name="T23" fmla="*/ 130 h 135"/>
                <a:gd name="T24" fmla="*/ 88 w 765"/>
                <a:gd name="T25" fmla="*/ 78 h 135"/>
                <a:gd name="T26" fmla="*/ 172 w 765"/>
                <a:gd name="T27" fmla="*/ 67 h 135"/>
                <a:gd name="T28" fmla="*/ 236 w 765"/>
                <a:gd name="T29" fmla="*/ 67 h 135"/>
                <a:gd name="T30" fmla="*/ 202 w 765"/>
                <a:gd name="T31" fmla="*/ 74 h 135"/>
                <a:gd name="T32" fmla="*/ 260 w 765"/>
                <a:gd name="T33" fmla="*/ 116 h 135"/>
                <a:gd name="T34" fmla="*/ 231 w 765"/>
                <a:gd name="T35" fmla="*/ 135 h 135"/>
                <a:gd name="T36" fmla="*/ 223 w 765"/>
                <a:gd name="T37" fmla="*/ 31 h 135"/>
                <a:gd name="T38" fmla="*/ 236 w 765"/>
                <a:gd name="T39" fmla="*/ 67 h 135"/>
                <a:gd name="T40" fmla="*/ 291 w 765"/>
                <a:gd name="T41" fmla="*/ 63 h 135"/>
                <a:gd name="T42" fmla="*/ 327 w 765"/>
                <a:gd name="T43" fmla="*/ 63 h 135"/>
                <a:gd name="T44" fmla="*/ 349 w 765"/>
                <a:gd name="T45" fmla="*/ 71 h 135"/>
                <a:gd name="T46" fmla="*/ 269 w 765"/>
                <a:gd name="T47" fmla="*/ 77 h 135"/>
                <a:gd name="T48" fmla="*/ 347 w 765"/>
                <a:gd name="T49" fmla="*/ 131 h 135"/>
                <a:gd name="T50" fmla="*/ 328 w 765"/>
                <a:gd name="T51" fmla="*/ 118 h 135"/>
                <a:gd name="T52" fmla="*/ 349 w 765"/>
                <a:gd name="T53" fmla="*/ 77 h 135"/>
                <a:gd name="T54" fmla="*/ 418 w 765"/>
                <a:gd name="T55" fmla="*/ 76 h 135"/>
                <a:gd name="T56" fmla="*/ 408 w 765"/>
                <a:gd name="T57" fmla="*/ 52 h 135"/>
                <a:gd name="T58" fmla="*/ 384 w 765"/>
                <a:gd name="T59" fmla="*/ 132 h 135"/>
                <a:gd name="T60" fmla="*/ 361 w 765"/>
                <a:gd name="T61" fmla="*/ 33 h 135"/>
                <a:gd name="T62" fmla="*/ 384 w 765"/>
                <a:gd name="T63" fmla="*/ 51 h 135"/>
                <a:gd name="T64" fmla="*/ 414 w 765"/>
                <a:gd name="T65" fmla="*/ 31 h 135"/>
                <a:gd name="T66" fmla="*/ 441 w 765"/>
                <a:gd name="T67" fmla="*/ 132 h 135"/>
                <a:gd name="T68" fmla="*/ 489 w 765"/>
                <a:gd name="T69" fmla="*/ 49 h 135"/>
                <a:gd name="T70" fmla="*/ 505 w 765"/>
                <a:gd name="T71" fmla="*/ 118 h 135"/>
                <a:gd name="T72" fmla="*/ 516 w 765"/>
                <a:gd name="T73" fmla="*/ 133 h 135"/>
                <a:gd name="T74" fmla="*/ 466 w 765"/>
                <a:gd name="T75" fmla="*/ 107 h 135"/>
                <a:gd name="T76" fmla="*/ 447 w 765"/>
                <a:gd name="T77" fmla="*/ 49 h 135"/>
                <a:gd name="T78" fmla="*/ 466 w 765"/>
                <a:gd name="T79" fmla="*/ 33 h 135"/>
                <a:gd name="T80" fmla="*/ 489 w 765"/>
                <a:gd name="T81" fmla="*/ 0 h 135"/>
                <a:gd name="T82" fmla="*/ 519 w 765"/>
                <a:gd name="T83" fmla="*/ 33 h 135"/>
                <a:gd name="T84" fmla="*/ 489 w 765"/>
                <a:gd name="T85" fmla="*/ 49 h 135"/>
                <a:gd name="T86" fmla="*/ 586 w 765"/>
                <a:gd name="T87" fmla="*/ 114 h 135"/>
                <a:gd name="T88" fmla="*/ 556 w 765"/>
                <a:gd name="T89" fmla="*/ 135 h 135"/>
                <a:gd name="T90" fmla="*/ 529 w 765"/>
                <a:gd name="T91" fmla="*/ 33 h 135"/>
                <a:gd name="T92" fmla="*/ 552 w 765"/>
                <a:gd name="T93" fmla="*/ 90 h 135"/>
                <a:gd name="T94" fmla="*/ 563 w 765"/>
                <a:gd name="T95" fmla="*/ 113 h 135"/>
                <a:gd name="T96" fmla="*/ 586 w 765"/>
                <a:gd name="T97" fmla="*/ 33 h 135"/>
                <a:gd name="T98" fmla="*/ 609 w 765"/>
                <a:gd name="T99" fmla="*/ 132 h 135"/>
                <a:gd name="T100" fmla="*/ 647 w 765"/>
                <a:gd name="T101" fmla="*/ 89 h 135"/>
                <a:gd name="T102" fmla="*/ 624 w 765"/>
                <a:gd name="T103" fmla="*/ 132 h 135"/>
                <a:gd name="T104" fmla="*/ 647 w 765"/>
                <a:gd name="T105" fmla="*/ 33 h 135"/>
                <a:gd name="T106" fmla="*/ 648 w 765"/>
                <a:gd name="T107" fmla="*/ 51 h 135"/>
                <a:gd name="T108" fmla="*/ 680 w 765"/>
                <a:gd name="T109" fmla="*/ 55 h 135"/>
                <a:gd name="T110" fmla="*/ 743 w 765"/>
                <a:gd name="T111" fmla="*/ 63 h 135"/>
                <a:gd name="T112" fmla="*/ 726 w 765"/>
                <a:gd name="T113" fmla="*/ 45 h 135"/>
                <a:gd name="T114" fmla="*/ 765 w 765"/>
                <a:gd name="T115" fmla="*/ 77 h 135"/>
                <a:gd name="T116" fmla="*/ 727 w 765"/>
                <a:gd name="T117" fmla="*/ 31 h 135"/>
                <a:gd name="T118" fmla="*/ 735 w 765"/>
                <a:gd name="T119" fmla="*/ 135 h 135"/>
                <a:gd name="T120" fmla="*/ 763 w 765"/>
                <a:gd name="T121" fmla="*/ 115 h 135"/>
                <a:gd name="T122" fmla="*/ 706 w 765"/>
                <a:gd name="T123" fmla="*/ 7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5" h="135">
                  <a:moveTo>
                    <a:pt x="56" y="88"/>
                  </a:moveTo>
                  <a:cubicBezTo>
                    <a:pt x="56" y="101"/>
                    <a:pt x="51" y="118"/>
                    <a:pt x="35" y="118"/>
                  </a:cubicBezTo>
                  <a:cubicBezTo>
                    <a:pt x="28" y="118"/>
                    <a:pt x="23" y="114"/>
                    <a:pt x="23" y="106"/>
                  </a:cubicBezTo>
                  <a:cubicBezTo>
                    <a:pt x="23" y="91"/>
                    <a:pt x="45" y="88"/>
                    <a:pt x="56" y="88"/>
                  </a:cubicBezTo>
                  <a:close/>
                  <a:moveTo>
                    <a:pt x="78" y="132"/>
                  </a:moveTo>
                  <a:cubicBezTo>
                    <a:pt x="78" y="62"/>
                    <a:pt x="78" y="62"/>
                    <a:pt x="78" y="62"/>
                  </a:cubicBezTo>
                  <a:cubicBezTo>
                    <a:pt x="78" y="38"/>
                    <a:pt x="63" y="31"/>
                    <a:pt x="42" y="31"/>
                  </a:cubicBezTo>
                  <a:cubicBezTo>
                    <a:pt x="21" y="31"/>
                    <a:pt x="4" y="39"/>
                    <a:pt x="4" y="62"/>
                  </a:cubicBezTo>
                  <a:cubicBezTo>
                    <a:pt x="27" y="62"/>
                    <a:pt x="27" y="62"/>
                    <a:pt x="27" y="62"/>
                  </a:cubicBezTo>
                  <a:cubicBezTo>
                    <a:pt x="27" y="52"/>
                    <a:pt x="32" y="47"/>
                    <a:pt x="42" y="47"/>
                  </a:cubicBezTo>
                  <a:cubicBezTo>
                    <a:pt x="53" y="47"/>
                    <a:pt x="56" y="55"/>
                    <a:pt x="56" y="65"/>
                  </a:cubicBezTo>
                  <a:cubicBezTo>
                    <a:pt x="56" y="75"/>
                    <a:pt x="56" y="75"/>
                    <a:pt x="56" y="75"/>
                  </a:cubicBezTo>
                  <a:cubicBezTo>
                    <a:pt x="33" y="76"/>
                    <a:pt x="0" y="79"/>
                    <a:pt x="0" y="109"/>
                  </a:cubicBezTo>
                  <a:cubicBezTo>
                    <a:pt x="0" y="125"/>
                    <a:pt x="14" y="135"/>
                    <a:pt x="30" y="135"/>
                  </a:cubicBezTo>
                  <a:cubicBezTo>
                    <a:pt x="41" y="135"/>
                    <a:pt x="51" y="131"/>
                    <a:pt x="56" y="121"/>
                  </a:cubicBezTo>
                  <a:cubicBezTo>
                    <a:pt x="56" y="121"/>
                    <a:pt x="56" y="121"/>
                    <a:pt x="56" y="121"/>
                  </a:cubicBezTo>
                  <a:cubicBezTo>
                    <a:pt x="56" y="132"/>
                    <a:pt x="56" y="132"/>
                    <a:pt x="56" y="132"/>
                  </a:cubicBezTo>
                  <a:lnTo>
                    <a:pt x="78" y="132"/>
                  </a:lnTo>
                  <a:close/>
                  <a:moveTo>
                    <a:pt x="147" y="67"/>
                  </a:moveTo>
                  <a:cubicBezTo>
                    <a:pt x="147" y="57"/>
                    <a:pt x="144" y="47"/>
                    <a:pt x="132" y="47"/>
                  </a:cubicBezTo>
                  <a:cubicBezTo>
                    <a:pt x="117" y="47"/>
                    <a:pt x="113" y="62"/>
                    <a:pt x="113" y="74"/>
                  </a:cubicBezTo>
                  <a:cubicBezTo>
                    <a:pt x="113" y="99"/>
                    <a:pt x="128" y="118"/>
                    <a:pt x="154" y="118"/>
                  </a:cubicBezTo>
                  <a:cubicBezTo>
                    <a:pt x="160" y="118"/>
                    <a:pt x="165" y="118"/>
                    <a:pt x="171" y="116"/>
                  </a:cubicBezTo>
                  <a:cubicBezTo>
                    <a:pt x="171" y="130"/>
                    <a:pt x="171" y="130"/>
                    <a:pt x="171" y="130"/>
                  </a:cubicBezTo>
                  <a:cubicBezTo>
                    <a:pt x="161" y="133"/>
                    <a:pt x="151" y="135"/>
                    <a:pt x="142" y="135"/>
                  </a:cubicBezTo>
                  <a:cubicBezTo>
                    <a:pt x="106" y="135"/>
                    <a:pt x="88" y="113"/>
                    <a:pt x="88" y="78"/>
                  </a:cubicBezTo>
                  <a:cubicBezTo>
                    <a:pt x="88" y="49"/>
                    <a:pt x="104" y="31"/>
                    <a:pt x="134" y="31"/>
                  </a:cubicBezTo>
                  <a:cubicBezTo>
                    <a:pt x="158" y="31"/>
                    <a:pt x="172" y="42"/>
                    <a:pt x="172" y="67"/>
                  </a:cubicBezTo>
                  <a:lnTo>
                    <a:pt x="147" y="67"/>
                  </a:lnTo>
                  <a:close/>
                  <a:moveTo>
                    <a:pt x="236" y="67"/>
                  </a:moveTo>
                  <a:cubicBezTo>
                    <a:pt x="236" y="57"/>
                    <a:pt x="233" y="47"/>
                    <a:pt x="221" y="47"/>
                  </a:cubicBezTo>
                  <a:cubicBezTo>
                    <a:pt x="206" y="47"/>
                    <a:pt x="202" y="62"/>
                    <a:pt x="202" y="74"/>
                  </a:cubicBezTo>
                  <a:cubicBezTo>
                    <a:pt x="202" y="99"/>
                    <a:pt x="217" y="118"/>
                    <a:pt x="243" y="118"/>
                  </a:cubicBezTo>
                  <a:cubicBezTo>
                    <a:pt x="249" y="118"/>
                    <a:pt x="254" y="118"/>
                    <a:pt x="260" y="116"/>
                  </a:cubicBezTo>
                  <a:cubicBezTo>
                    <a:pt x="260" y="130"/>
                    <a:pt x="260" y="130"/>
                    <a:pt x="260" y="130"/>
                  </a:cubicBezTo>
                  <a:cubicBezTo>
                    <a:pt x="250" y="133"/>
                    <a:pt x="241" y="135"/>
                    <a:pt x="231" y="135"/>
                  </a:cubicBezTo>
                  <a:cubicBezTo>
                    <a:pt x="195" y="135"/>
                    <a:pt x="177" y="113"/>
                    <a:pt x="177" y="78"/>
                  </a:cubicBezTo>
                  <a:cubicBezTo>
                    <a:pt x="177" y="49"/>
                    <a:pt x="193" y="31"/>
                    <a:pt x="223" y="31"/>
                  </a:cubicBezTo>
                  <a:cubicBezTo>
                    <a:pt x="247" y="31"/>
                    <a:pt x="261" y="42"/>
                    <a:pt x="261" y="67"/>
                  </a:cubicBezTo>
                  <a:lnTo>
                    <a:pt x="236" y="67"/>
                  </a:lnTo>
                  <a:close/>
                  <a:moveTo>
                    <a:pt x="327" y="63"/>
                  </a:moveTo>
                  <a:cubicBezTo>
                    <a:pt x="291" y="63"/>
                    <a:pt x="291" y="63"/>
                    <a:pt x="291" y="63"/>
                  </a:cubicBezTo>
                  <a:cubicBezTo>
                    <a:pt x="292" y="53"/>
                    <a:pt x="300" y="45"/>
                    <a:pt x="310" y="45"/>
                  </a:cubicBezTo>
                  <a:cubicBezTo>
                    <a:pt x="320" y="45"/>
                    <a:pt x="327" y="52"/>
                    <a:pt x="327" y="63"/>
                  </a:cubicBezTo>
                  <a:close/>
                  <a:moveTo>
                    <a:pt x="349" y="77"/>
                  </a:moveTo>
                  <a:cubicBezTo>
                    <a:pt x="349" y="71"/>
                    <a:pt x="349" y="71"/>
                    <a:pt x="349" y="71"/>
                  </a:cubicBezTo>
                  <a:cubicBezTo>
                    <a:pt x="349" y="47"/>
                    <a:pt x="337" y="31"/>
                    <a:pt x="311" y="31"/>
                  </a:cubicBezTo>
                  <a:cubicBezTo>
                    <a:pt x="282" y="31"/>
                    <a:pt x="269" y="49"/>
                    <a:pt x="269" y="77"/>
                  </a:cubicBezTo>
                  <a:cubicBezTo>
                    <a:pt x="269" y="110"/>
                    <a:pt x="283" y="135"/>
                    <a:pt x="319" y="135"/>
                  </a:cubicBezTo>
                  <a:cubicBezTo>
                    <a:pt x="328" y="135"/>
                    <a:pt x="338" y="134"/>
                    <a:pt x="347" y="131"/>
                  </a:cubicBezTo>
                  <a:cubicBezTo>
                    <a:pt x="347" y="115"/>
                    <a:pt x="347" y="115"/>
                    <a:pt x="347" y="115"/>
                  </a:cubicBezTo>
                  <a:cubicBezTo>
                    <a:pt x="341" y="117"/>
                    <a:pt x="334" y="118"/>
                    <a:pt x="328" y="118"/>
                  </a:cubicBezTo>
                  <a:cubicBezTo>
                    <a:pt x="305" y="118"/>
                    <a:pt x="290" y="98"/>
                    <a:pt x="290" y="77"/>
                  </a:cubicBezTo>
                  <a:lnTo>
                    <a:pt x="349" y="77"/>
                  </a:lnTo>
                  <a:close/>
                  <a:moveTo>
                    <a:pt x="418" y="132"/>
                  </a:moveTo>
                  <a:cubicBezTo>
                    <a:pt x="418" y="76"/>
                    <a:pt x="418" y="76"/>
                    <a:pt x="418" y="76"/>
                  </a:cubicBezTo>
                  <a:cubicBezTo>
                    <a:pt x="418" y="71"/>
                    <a:pt x="418" y="58"/>
                    <a:pt x="414" y="54"/>
                  </a:cubicBezTo>
                  <a:cubicBezTo>
                    <a:pt x="413" y="53"/>
                    <a:pt x="410" y="52"/>
                    <a:pt x="408" y="52"/>
                  </a:cubicBezTo>
                  <a:cubicBezTo>
                    <a:pt x="391" y="52"/>
                    <a:pt x="384" y="76"/>
                    <a:pt x="384" y="89"/>
                  </a:cubicBezTo>
                  <a:cubicBezTo>
                    <a:pt x="384" y="132"/>
                    <a:pt x="384" y="132"/>
                    <a:pt x="384" y="132"/>
                  </a:cubicBezTo>
                  <a:cubicBezTo>
                    <a:pt x="361" y="132"/>
                    <a:pt x="361" y="132"/>
                    <a:pt x="361" y="132"/>
                  </a:cubicBezTo>
                  <a:cubicBezTo>
                    <a:pt x="361" y="33"/>
                    <a:pt x="361" y="33"/>
                    <a:pt x="361" y="33"/>
                  </a:cubicBezTo>
                  <a:cubicBezTo>
                    <a:pt x="384" y="33"/>
                    <a:pt x="384" y="33"/>
                    <a:pt x="384" y="33"/>
                  </a:cubicBezTo>
                  <a:cubicBezTo>
                    <a:pt x="384" y="51"/>
                    <a:pt x="384" y="51"/>
                    <a:pt x="384" y="51"/>
                  </a:cubicBezTo>
                  <a:cubicBezTo>
                    <a:pt x="385" y="51"/>
                    <a:pt x="385" y="51"/>
                    <a:pt x="385" y="51"/>
                  </a:cubicBezTo>
                  <a:cubicBezTo>
                    <a:pt x="390" y="39"/>
                    <a:pt x="400" y="31"/>
                    <a:pt x="414" y="31"/>
                  </a:cubicBezTo>
                  <a:cubicBezTo>
                    <a:pt x="433" y="31"/>
                    <a:pt x="441" y="46"/>
                    <a:pt x="441" y="63"/>
                  </a:cubicBezTo>
                  <a:cubicBezTo>
                    <a:pt x="441" y="132"/>
                    <a:pt x="441" y="132"/>
                    <a:pt x="441" y="132"/>
                  </a:cubicBezTo>
                  <a:lnTo>
                    <a:pt x="418" y="132"/>
                  </a:lnTo>
                  <a:close/>
                  <a:moveTo>
                    <a:pt x="489" y="49"/>
                  </a:moveTo>
                  <a:cubicBezTo>
                    <a:pt x="489" y="96"/>
                    <a:pt x="489" y="96"/>
                    <a:pt x="489" y="96"/>
                  </a:cubicBezTo>
                  <a:cubicBezTo>
                    <a:pt x="489" y="108"/>
                    <a:pt x="491" y="118"/>
                    <a:pt x="505" y="118"/>
                  </a:cubicBezTo>
                  <a:cubicBezTo>
                    <a:pt x="509" y="118"/>
                    <a:pt x="512" y="118"/>
                    <a:pt x="516" y="117"/>
                  </a:cubicBezTo>
                  <a:cubicBezTo>
                    <a:pt x="516" y="133"/>
                    <a:pt x="516" y="133"/>
                    <a:pt x="516" y="133"/>
                  </a:cubicBezTo>
                  <a:cubicBezTo>
                    <a:pt x="510" y="134"/>
                    <a:pt x="503" y="135"/>
                    <a:pt x="497" y="135"/>
                  </a:cubicBezTo>
                  <a:cubicBezTo>
                    <a:pt x="477" y="135"/>
                    <a:pt x="466" y="128"/>
                    <a:pt x="466" y="107"/>
                  </a:cubicBezTo>
                  <a:cubicBezTo>
                    <a:pt x="466" y="49"/>
                    <a:pt x="466" y="49"/>
                    <a:pt x="466" y="49"/>
                  </a:cubicBezTo>
                  <a:cubicBezTo>
                    <a:pt x="447" y="49"/>
                    <a:pt x="447" y="49"/>
                    <a:pt x="447" y="49"/>
                  </a:cubicBezTo>
                  <a:cubicBezTo>
                    <a:pt x="447" y="33"/>
                    <a:pt x="447" y="33"/>
                    <a:pt x="447" y="33"/>
                  </a:cubicBezTo>
                  <a:cubicBezTo>
                    <a:pt x="466" y="33"/>
                    <a:pt x="466" y="33"/>
                    <a:pt x="466" y="33"/>
                  </a:cubicBezTo>
                  <a:cubicBezTo>
                    <a:pt x="466" y="9"/>
                    <a:pt x="466" y="9"/>
                    <a:pt x="466" y="9"/>
                  </a:cubicBezTo>
                  <a:cubicBezTo>
                    <a:pt x="489" y="0"/>
                    <a:pt x="489" y="0"/>
                    <a:pt x="489" y="0"/>
                  </a:cubicBezTo>
                  <a:cubicBezTo>
                    <a:pt x="489" y="33"/>
                    <a:pt x="489" y="33"/>
                    <a:pt x="489" y="33"/>
                  </a:cubicBezTo>
                  <a:cubicBezTo>
                    <a:pt x="519" y="33"/>
                    <a:pt x="519" y="33"/>
                    <a:pt x="519" y="33"/>
                  </a:cubicBezTo>
                  <a:cubicBezTo>
                    <a:pt x="519" y="49"/>
                    <a:pt x="519" y="49"/>
                    <a:pt x="519" y="49"/>
                  </a:cubicBezTo>
                  <a:lnTo>
                    <a:pt x="489" y="49"/>
                  </a:lnTo>
                  <a:close/>
                  <a:moveTo>
                    <a:pt x="586" y="132"/>
                  </a:moveTo>
                  <a:cubicBezTo>
                    <a:pt x="586" y="114"/>
                    <a:pt x="586" y="114"/>
                    <a:pt x="586" y="114"/>
                  </a:cubicBezTo>
                  <a:cubicBezTo>
                    <a:pt x="586" y="114"/>
                    <a:pt x="586" y="114"/>
                    <a:pt x="586" y="114"/>
                  </a:cubicBezTo>
                  <a:cubicBezTo>
                    <a:pt x="580" y="126"/>
                    <a:pt x="570" y="135"/>
                    <a:pt x="556" y="135"/>
                  </a:cubicBezTo>
                  <a:cubicBezTo>
                    <a:pt x="537" y="135"/>
                    <a:pt x="529" y="119"/>
                    <a:pt x="529" y="102"/>
                  </a:cubicBezTo>
                  <a:cubicBezTo>
                    <a:pt x="529" y="33"/>
                    <a:pt x="529" y="33"/>
                    <a:pt x="529" y="33"/>
                  </a:cubicBezTo>
                  <a:cubicBezTo>
                    <a:pt x="552" y="33"/>
                    <a:pt x="552" y="33"/>
                    <a:pt x="552" y="33"/>
                  </a:cubicBezTo>
                  <a:cubicBezTo>
                    <a:pt x="552" y="90"/>
                    <a:pt x="552" y="90"/>
                    <a:pt x="552" y="90"/>
                  </a:cubicBezTo>
                  <a:cubicBezTo>
                    <a:pt x="552" y="95"/>
                    <a:pt x="552" y="107"/>
                    <a:pt x="556" y="111"/>
                  </a:cubicBezTo>
                  <a:cubicBezTo>
                    <a:pt x="558" y="113"/>
                    <a:pt x="560" y="113"/>
                    <a:pt x="563" y="113"/>
                  </a:cubicBezTo>
                  <a:cubicBezTo>
                    <a:pt x="579" y="113"/>
                    <a:pt x="586" y="89"/>
                    <a:pt x="586" y="76"/>
                  </a:cubicBezTo>
                  <a:cubicBezTo>
                    <a:pt x="586" y="33"/>
                    <a:pt x="586" y="33"/>
                    <a:pt x="586" y="33"/>
                  </a:cubicBezTo>
                  <a:cubicBezTo>
                    <a:pt x="609" y="33"/>
                    <a:pt x="609" y="33"/>
                    <a:pt x="609" y="33"/>
                  </a:cubicBezTo>
                  <a:cubicBezTo>
                    <a:pt x="609" y="132"/>
                    <a:pt x="609" y="132"/>
                    <a:pt x="609" y="132"/>
                  </a:cubicBezTo>
                  <a:lnTo>
                    <a:pt x="586" y="132"/>
                  </a:lnTo>
                  <a:close/>
                  <a:moveTo>
                    <a:pt x="647" y="89"/>
                  </a:moveTo>
                  <a:cubicBezTo>
                    <a:pt x="647" y="132"/>
                    <a:pt x="647" y="132"/>
                    <a:pt x="647" y="132"/>
                  </a:cubicBezTo>
                  <a:cubicBezTo>
                    <a:pt x="624" y="132"/>
                    <a:pt x="624" y="132"/>
                    <a:pt x="624" y="132"/>
                  </a:cubicBezTo>
                  <a:cubicBezTo>
                    <a:pt x="624" y="33"/>
                    <a:pt x="624" y="33"/>
                    <a:pt x="624" y="33"/>
                  </a:cubicBezTo>
                  <a:cubicBezTo>
                    <a:pt x="647" y="33"/>
                    <a:pt x="647" y="33"/>
                    <a:pt x="647" y="33"/>
                  </a:cubicBezTo>
                  <a:cubicBezTo>
                    <a:pt x="647" y="51"/>
                    <a:pt x="647" y="51"/>
                    <a:pt x="647" y="51"/>
                  </a:cubicBezTo>
                  <a:cubicBezTo>
                    <a:pt x="648" y="51"/>
                    <a:pt x="648" y="51"/>
                    <a:pt x="648" y="51"/>
                  </a:cubicBezTo>
                  <a:cubicBezTo>
                    <a:pt x="655" y="37"/>
                    <a:pt x="663" y="31"/>
                    <a:pt x="680" y="31"/>
                  </a:cubicBezTo>
                  <a:cubicBezTo>
                    <a:pt x="680" y="55"/>
                    <a:pt x="680" y="55"/>
                    <a:pt x="680" y="55"/>
                  </a:cubicBezTo>
                  <a:cubicBezTo>
                    <a:pt x="656" y="55"/>
                    <a:pt x="647" y="65"/>
                    <a:pt x="647" y="89"/>
                  </a:cubicBezTo>
                  <a:close/>
                  <a:moveTo>
                    <a:pt x="743" y="63"/>
                  </a:moveTo>
                  <a:cubicBezTo>
                    <a:pt x="707" y="63"/>
                    <a:pt x="707" y="63"/>
                    <a:pt x="707" y="63"/>
                  </a:cubicBezTo>
                  <a:cubicBezTo>
                    <a:pt x="708" y="53"/>
                    <a:pt x="715" y="45"/>
                    <a:pt x="726" y="45"/>
                  </a:cubicBezTo>
                  <a:cubicBezTo>
                    <a:pt x="736" y="45"/>
                    <a:pt x="743" y="52"/>
                    <a:pt x="743" y="63"/>
                  </a:cubicBezTo>
                  <a:close/>
                  <a:moveTo>
                    <a:pt x="765" y="77"/>
                  </a:moveTo>
                  <a:cubicBezTo>
                    <a:pt x="765" y="71"/>
                    <a:pt x="765" y="71"/>
                    <a:pt x="765" y="71"/>
                  </a:cubicBezTo>
                  <a:cubicBezTo>
                    <a:pt x="765" y="47"/>
                    <a:pt x="753" y="31"/>
                    <a:pt x="727" y="31"/>
                  </a:cubicBezTo>
                  <a:cubicBezTo>
                    <a:pt x="698" y="31"/>
                    <a:pt x="685" y="49"/>
                    <a:pt x="685" y="77"/>
                  </a:cubicBezTo>
                  <a:cubicBezTo>
                    <a:pt x="685" y="110"/>
                    <a:pt x="699" y="135"/>
                    <a:pt x="735" y="135"/>
                  </a:cubicBezTo>
                  <a:cubicBezTo>
                    <a:pt x="744" y="135"/>
                    <a:pt x="754" y="134"/>
                    <a:pt x="763" y="131"/>
                  </a:cubicBezTo>
                  <a:cubicBezTo>
                    <a:pt x="763" y="115"/>
                    <a:pt x="763" y="115"/>
                    <a:pt x="763" y="115"/>
                  </a:cubicBezTo>
                  <a:cubicBezTo>
                    <a:pt x="757" y="117"/>
                    <a:pt x="750" y="118"/>
                    <a:pt x="744" y="118"/>
                  </a:cubicBezTo>
                  <a:cubicBezTo>
                    <a:pt x="721" y="118"/>
                    <a:pt x="706" y="98"/>
                    <a:pt x="706" y="77"/>
                  </a:cubicBezTo>
                  <a:lnTo>
                    <a:pt x="765" y="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24" name="Freeform 23"/>
            <p:cNvSpPr/>
            <p:nvPr/>
          </p:nvSpPr>
          <p:spPr>
            <a:xfrm>
              <a:off x="1739049" y="420673"/>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Graphik" panose="020B0503030202060203" pitchFamily="34" charset="0"/>
              </a:endParaRPr>
            </a:p>
          </p:txBody>
        </p:sp>
      </p:grpSp>
      <p:grpSp>
        <p:nvGrpSpPr>
          <p:cNvPr id="19" name="Accenture_MasterBLACK" hidden="1"/>
          <p:cNvGrpSpPr/>
          <p:nvPr userDrawn="1"/>
        </p:nvGrpSpPr>
        <p:grpSpPr>
          <a:xfrm>
            <a:off x="7767974" y="460549"/>
            <a:ext cx="1828462" cy="528825"/>
            <a:chOff x="476250" y="397668"/>
            <a:chExt cx="2195577" cy="635000"/>
          </a:xfrm>
        </p:grpSpPr>
        <p:sp>
          <p:nvSpPr>
            <p:cNvPr id="20" name="Freeform 19"/>
            <p:cNvSpPr>
              <a:spLocks/>
            </p:cNvSpPr>
            <p:nvPr/>
          </p:nvSpPr>
          <p:spPr bwMode="auto">
            <a:xfrm>
              <a:off x="1758865" y="397668"/>
              <a:ext cx="206059" cy="214470"/>
            </a:xfrm>
            <a:custGeom>
              <a:avLst/>
              <a:gdLst>
                <a:gd name="T0" fmla="*/ 0 w 72"/>
                <a:gd name="T1" fmla="*/ 0 h 74"/>
                <a:gd name="T2" fmla="*/ 0 w 72"/>
                <a:gd name="T3" fmla="*/ 2 h 74"/>
                <a:gd name="T4" fmla="*/ 0 w 72"/>
                <a:gd name="T5" fmla="*/ 16 h 74"/>
                <a:gd name="T6" fmla="*/ 53 w 72"/>
                <a:gd name="T7" fmla="*/ 37 h 74"/>
                <a:gd name="T8" fmla="*/ 0 w 72"/>
                <a:gd name="T9" fmla="*/ 57 h 74"/>
                <a:gd name="T10" fmla="*/ 0 w 72"/>
                <a:gd name="T11" fmla="*/ 74 h 74"/>
                <a:gd name="T12" fmla="*/ 72 w 72"/>
                <a:gd name="T13" fmla="*/ 44 h 74"/>
                <a:gd name="T14" fmla="*/ 72 w 72"/>
                <a:gd name="T15" fmla="*/ 29 h 74"/>
                <a:gd name="T16" fmla="*/ 0 w 72"/>
                <a:gd name="T1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0" y="0"/>
                  </a:moveTo>
                  <a:cubicBezTo>
                    <a:pt x="0" y="2"/>
                    <a:pt x="0" y="2"/>
                    <a:pt x="0" y="2"/>
                  </a:cubicBezTo>
                  <a:cubicBezTo>
                    <a:pt x="0" y="16"/>
                    <a:pt x="0" y="16"/>
                    <a:pt x="0" y="16"/>
                  </a:cubicBezTo>
                  <a:cubicBezTo>
                    <a:pt x="0" y="16"/>
                    <a:pt x="46" y="34"/>
                    <a:pt x="53" y="37"/>
                  </a:cubicBezTo>
                  <a:cubicBezTo>
                    <a:pt x="46" y="40"/>
                    <a:pt x="0" y="57"/>
                    <a:pt x="0" y="57"/>
                  </a:cubicBezTo>
                  <a:cubicBezTo>
                    <a:pt x="0" y="74"/>
                    <a:pt x="0" y="74"/>
                    <a:pt x="0" y="74"/>
                  </a:cubicBezTo>
                  <a:cubicBezTo>
                    <a:pt x="72" y="44"/>
                    <a:pt x="72" y="44"/>
                    <a:pt x="72" y="44"/>
                  </a:cubicBezTo>
                  <a:cubicBezTo>
                    <a:pt x="72" y="29"/>
                    <a:pt x="72" y="29"/>
                    <a:pt x="72" y="29"/>
                  </a:cubicBez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pic>
          <p:nvPicPr>
            <p:cNvPr id="21" name="Accenture Black"/>
            <p:cNvPicPr>
              <a:picLocks noChangeAspect="1"/>
            </p:cNvPicPr>
            <p:nvPr userDrawn="1"/>
          </p:nvPicPr>
          <p:blipFill>
            <a:blip r:embed="rId17" cstate="hqprint">
              <a:extLst>
                <a:ext uri="{28A0092B-C50C-407E-A947-70E740481C1C}">
                  <a14:useLocalDpi xmlns:a14="http://schemas.microsoft.com/office/drawing/2010/main"/>
                </a:ext>
              </a:extLst>
            </a:blip>
            <a:stretch>
              <a:fillRect/>
            </a:stretch>
          </p:blipFill>
          <p:spPr>
            <a:xfrm>
              <a:off x="476250" y="641561"/>
              <a:ext cx="2195577" cy="391107"/>
            </a:xfrm>
            <a:prstGeom prst="rect">
              <a:avLst/>
            </a:prstGeom>
          </p:spPr>
        </p:pic>
      </p:grpSp>
    </p:spTree>
    <p:extLst>
      <p:ext uri="{BB962C8B-B14F-4D97-AF65-F5344CB8AC3E}">
        <p14:creationId xmlns:p14="http://schemas.microsoft.com/office/powerpoint/2010/main" val="10377095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320">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6_Cover">
    <p:bg>
      <p:bgPr>
        <a:solidFill>
          <a:schemeClr val="tx1"/>
        </a:solidFill>
        <a:effectLst/>
      </p:bgPr>
    </p:bg>
    <p:spTree>
      <p:nvGrpSpPr>
        <p:cNvPr id="1" name=""/>
        <p:cNvGrpSpPr/>
        <p:nvPr/>
      </p:nvGrpSpPr>
      <p:grpSpPr>
        <a:xfrm>
          <a:off x="0" y="0"/>
          <a:ext cx="0" cy="0"/>
          <a:chOff x="0" y="0"/>
          <a:chExt cx="0" cy="0"/>
        </a:xfrm>
      </p:grpSpPr>
      <p:grpSp>
        <p:nvGrpSpPr>
          <p:cNvPr id="89" name="Master Brand 03 - Outline GTS" hidden="1"/>
          <p:cNvGrpSpPr>
            <a:grpSpLocks noChangeAspect="1"/>
          </p:cNvGrpSpPr>
          <p:nvPr userDrawn="1"/>
        </p:nvGrpSpPr>
        <p:grpSpPr bwMode="auto">
          <a:xfrm>
            <a:off x="1159200" y="455022"/>
            <a:ext cx="5949065" cy="6069600"/>
            <a:chOff x="1620" y="-106"/>
            <a:chExt cx="4442" cy="4532"/>
          </a:xfrm>
        </p:grpSpPr>
        <p:sp>
          <p:nvSpPr>
            <p:cNvPr id="90" name="Freeform 5"/>
            <p:cNvSpPr>
              <a:spLocks/>
            </p:cNvSpPr>
            <p:nvPr userDrawn="1"/>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FFEA00"/>
                </a:gs>
                <a:gs pos="100000">
                  <a:srgbClr val="FFB600"/>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91" name="Freeform 6"/>
            <p:cNvSpPr>
              <a:spLocks/>
            </p:cNvSpPr>
            <p:nvPr userDrawn="1"/>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00BA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83" name="Master Brand 03 - GRADIENT GTS" hidden="1"/>
          <p:cNvGrpSpPr/>
          <p:nvPr userDrawn="1"/>
        </p:nvGrpSpPr>
        <p:grpSpPr>
          <a:xfrm>
            <a:off x="1159200" y="456688"/>
            <a:ext cx="5944244" cy="6067934"/>
            <a:chOff x="336907" y="342900"/>
            <a:chExt cx="2298344" cy="2346169"/>
          </a:xfrm>
        </p:grpSpPr>
        <p:sp>
          <p:nvSpPr>
            <p:cNvPr id="84"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85"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EA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80" name="Master Brand 03 - DIMENSIONAL GTS" hidden="1"/>
          <p:cNvGrpSpPr/>
          <p:nvPr userDrawn="1"/>
        </p:nvGrpSpPr>
        <p:grpSpPr>
          <a:xfrm>
            <a:off x="1159200" y="456688"/>
            <a:ext cx="5944244" cy="6067934"/>
            <a:chOff x="336907" y="342900"/>
            <a:chExt cx="2298344" cy="2346169"/>
          </a:xfrm>
        </p:grpSpPr>
        <p:sp>
          <p:nvSpPr>
            <p:cNvPr id="81"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82"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BA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86" name="Master Brand 02 - Outline GTS" hidden="1"/>
          <p:cNvGrpSpPr>
            <a:grpSpLocks noChangeAspect="1"/>
          </p:cNvGrpSpPr>
          <p:nvPr userDrawn="1"/>
        </p:nvGrpSpPr>
        <p:grpSpPr bwMode="auto">
          <a:xfrm>
            <a:off x="1159200" y="455022"/>
            <a:ext cx="5949065" cy="6069600"/>
            <a:chOff x="1620" y="-106"/>
            <a:chExt cx="4442" cy="4532"/>
          </a:xfrm>
        </p:grpSpPr>
        <p:sp>
          <p:nvSpPr>
            <p:cNvPr id="87" name="Freeform 5"/>
            <p:cNvSpPr>
              <a:spLocks/>
            </p:cNvSpPr>
            <p:nvPr userDrawn="1"/>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00F3FF"/>
                </a:gs>
                <a:gs pos="100000">
                  <a:srgbClr val="2800FF"/>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88" name="Freeform 6"/>
            <p:cNvSpPr>
              <a:spLocks/>
            </p:cNvSpPr>
            <p:nvPr userDrawn="1"/>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00FF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77" name="Master Brand 02 - GRADIENT GTS" hidden="1"/>
          <p:cNvGrpSpPr/>
          <p:nvPr userDrawn="1"/>
        </p:nvGrpSpPr>
        <p:grpSpPr>
          <a:xfrm>
            <a:off x="1159200" y="456688"/>
            <a:ext cx="5944244" cy="6067934"/>
            <a:chOff x="336907" y="342900"/>
            <a:chExt cx="2298344" cy="2346169"/>
          </a:xfrm>
        </p:grpSpPr>
        <p:sp>
          <p:nvSpPr>
            <p:cNvPr id="78"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79"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28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74" name="Master Brand 02 - DIMENSIONAL GTS" hidden="1"/>
          <p:cNvGrpSpPr/>
          <p:nvPr userDrawn="1"/>
        </p:nvGrpSpPr>
        <p:grpSpPr>
          <a:xfrm>
            <a:off x="1159200" y="456688"/>
            <a:ext cx="5944244" cy="6067934"/>
            <a:chOff x="336907" y="342900"/>
            <a:chExt cx="2298344" cy="2346169"/>
          </a:xfrm>
        </p:grpSpPr>
        <p:sp>
          <p:nvSpPr>
            <p:cNvPr id="75"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76"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FF7D"/>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27" name="Master Brand 01 - Outline GTS" hidden="1"/>
          <p:cNvGrpSpPr>
            <a:grpSpLocks noChangeAspect="1"/>
          </p:cNvGrpSpPr>
          <p:nvPr userDrawn="1"/>
        </p:nvGrpSpPr>
        <p:grpSpPr bwMode="auto">
          <a:xfrm>
            <a:off x="1159200" y="455022"/>
            <a:ext cx="5949065" cy="6069600"/>
            <a:chOff x="1620" y="-106"/>
            <a:chExt cx="4442" cy="4532"/>
          </a:xfrm>
        </p:grpSpPr>
        <p:sp>
          <p:nvSpPr>
            <p:cNvPr id="31" name="Freeform 5"/>
            <p:cNvSpPr>
              <a:spLocks/>
            </p:cNvSpPr>
            <p:nvPr userDrawn="1"/>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FFEA00"/>
                </a:gs>
                <a:gs pos="100000">
                  <a:srgbClr val="FFB600"/>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32" name="Freeform 6"/>
            <p:cNvSpPr>
              <a:spLocks/>
            </p:cNvSpPr>
            <p:nvPr userDrawn="1"/>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7E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71" name="Master Brand 01 - GRADIENT GTS" hidden="1"/>
          <p:cNvGrpSpPr/>
          <p:nvPr userDrawn="1"/>
        </p:nvGrpSpPr>
        <p:grpSpPr>
          <a:xfrm>
            <a:off x="1159200" y="456688"/>
            <a:ext cx="5944244" cy="6067934"/>
            <a:chOff x="336907" y="342900"/>
            <a:chExt cx="2298344" cy="2346169"/>
          </a:xfrm>
        </p:grpSpPr>
        <p:sp>
          <p:nvSpPr>
            <p:cNvPr id="72"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FF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73"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FF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61" name="Master Brand 01 - DIMENSIONAL GTS" hidden="1"/>
          <p:cNvGrpSpPr/>
          <p:nvPr userDrawn="1"/>
        </p:nvGrpSpPr>
        <p:grpSpPr>
          <a:xfrm>
            <a:off x="1159200" y="456688"/>
            <a:ext cx="5944244" cy="6067934"/>
            <a:chOff x="336907" y="342900"/>
            <a:chExt cx="2298344" cy="2346169"/>
          </a:xfrm>
        </p:grpSpPr>
        <p:sp>
          <p:nvSpPr>
            <p:cNvPr id="62"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FF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63"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7E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60" name="Consulting - GRADIENT GTS" hidden="1"/>
          <p:cNvSpPr>
            <a:spLocks/>
          </p:cNvSpPr>
          <p:nvPr userDrawn="1"/>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00F3FF"/>
              </a:gs>
              <a:gs pos="100000">
                <a:srgbClr val="7E00FF"/>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6" name="Consulting - OUTLINED GTS" hidden="1"/>
          <p:cNvSpPr>
            <a:spLocks noEditPoints="1"/>
          </p:cNvSpPr>
          <p:nvPr userDrawn="1"/>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7E00FF"/>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48" name="Consulting - DIMENSIONAL GTS" hidden="1"/>
          <p:cNvGrpSpPr/>
          <p:nvPr userDrawn="1"/>
        </p:nvGrpSpPr>
        <p:grpSpPr>
          <a:xfrm>
            <a:off x="1159200" y="456688"/>
            <a:ext cx="5944244" cy="6067934"/>
            <a:chOff x="336907" y="342900"/>
            <a:chExt cx="2298344" cy="2346169"/>
          </a:xfrm>
        </p:grpSpPr>
        <p:sp>
          <p:nvSpPr>
            <p:cNvPr id="49"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100000">
                  <a:srgbClr val="380089"/>
                </a:gs>
                <a:gs pos="0">
                  <a:srgbClr val="7E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50"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7E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59" name="Digital - GRADIENT GTS" hidden="1"/>
          <p:cNvSpPr>
            <a:spLocks/>
          </p:cNvSpPr>
          <p:nvPr userDrawn="1"/>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FFB600"/>
              </a:gs>
              <a:gs pos="100000">
                <a:srgbClr val="FFFF00"/>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5" name="Digital - OUTLINED GTS" hidden="1"/>
          <p:cNvSpPr>
            <a:spLocks noEditPoints="1"/>
          </p:cNvSpPr>
          <p:nvPr userDrawn="1"/>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FFFF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45" name="Digital - DIMENSIONAL GTS" hidden="1"/>
          <p:cNvGrpSpPr/>
          <p:nvPr userDrawn="1"/>
        </p:nvGrpSpPr>
        <p:grpSpPr>
          <a:xfrm>
            <a:off x="1159200" y="456688"/>
            <a:ext cx="5944244" cy="6067934"/>
            <a:chOff x="336907" y="342900"/>
            <a:chExt cx="2298344" cy="2346169"/>
          </a:xfrm>
        </p:grpSpPr>
        <p:sp>
          <p:nvSpPr>
            <p:cNvPr id="46"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FF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47"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FF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58" name="Operations - GRADIENT GTS" hidden="1"/>
          <p:cNvSpPr>
            <a:spLocks/>
          </p:cNvSpPr>
          <p:nvPr userDrawn="1"/>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2800FF"/>
              </a:gs>
              <a:gs pos="100000">
                <a:srgbClr val="00F3FF"/>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4" name="Operations - OUTLINED GTS" hidden="1"/>
          <p:cNvSpPr>
            <a:spLocks noEditPoints="1"/>
          </p:cNvSpPr>
          <p:nvPr userDrawn="1"/>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00F3FF"/>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42" name="Operations - DIMENSIONAL GTS" hidden="1"/>
          <p:cNvGrpSpPr/>
          <p:nvPr userDrawn="1"/>
        </p:nvGrpSpPr>
        <p:grpSpPr>
          <a:xfrm>
            <a:off x="1159200" y="456688"/>
            <a:ext cx="5944244" cy="6067934"/>
            <a:chOff x="336907" y="342900"/>
            <a:chExt cx="2298344" cy="2346169"/>
          </a:xfrm>
        </p:grpSpPr>
        <p:sp>
          <p:nvSpPr>
            <p:cNvPr id="43"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44"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F3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57" name="Strategy - GRADIENT GTS" hidden="1"/>
          <p:cNvSpPr>
            <a:spLocks/>
          </p:cNvSpPr>
          <p:nvPr userDrawn="1"/>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100000">
                <a:srgbClr val="FF0000"/>
              </a:gs>
              <a:gs pos="0">
                <a:srgbClr val="710012"/>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3" name="Strategy - OUTLINED GTS" hidden="1"/>
          <p:cNvSpPr>
            <a:spLocks noEditPoints="1"/>
          </p:cNvSpPr>
          <p:nvPr userDrawn="1"/>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38" name="Strategy - DIMENSIONAL GTS" hidden="1"/>
          <p:cNvGrpSpPr/>
          <p:nvPr userDrawn="1"/>
        </p:nvGrpSpPr>
        <p:grpSpPr>
          <a:xfrm>
            <a:off x="1159200" y="456688"/>
            <a:ext cx="5944244" cy="6067934"/>
            <a:chOff x="336907" y="342900"/>
            <a:chExt cx="2298344" cy="2346169"/>
          </a:xfrm>
        </p:grpSpPr>
        <p:sp>
          <p:nvSpPr>
            <p:cNvPr id="40"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0000"/>
                </a:gs>
                <a:gs pos="100000">
                  <a:srgbClr val="710012"/>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41"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39" name="Technology - GRADIENT GTS" hidden="1"/>
          <p:cNvSpPr>
            <a:spLocks/>
          </p:cNvSpPr>
          <p:nvPr userDrawn="1"/>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00F3FF"/>
              </a:gs>
              <a:gs pos="98000">
                <a:srgbClr val="00FF00"/>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36" name="Technology - OUTLINED GTS" hidden="1"/>
          <p:cNvSpPr>
            <a:spLocks noEditPoints="1"/>
          </p:cNvSpPr>
          <p:nvPr userDrawn="1"/>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00FF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6" name="SubTitle" hidden="1"/>
          <p:cNvSpPr>
            <a:spLocks noGrp="1"/>
          </p:cNvSpPr>
          <p:nvPr userDrawn="1">
            <p:ph type="body" sz="quarter" idx="12" hasCustomPrompt="1"/>
          </p:nvPr>
        </p:nvSpPr>
        <p:spPr>
          <a:xfrm>
            <a:off x="7756071" y="5073855"/>
            <a:ext cx="3856329" cy="1041195"/>
          </a:xfrm>
        </p:spPr>
        <p:txBody>
          <a:bodyPr anchor="b"/>
          <a:lstStyle>
            <a:lvl1pPr marL="0" indent="0">
              <a:lnSpc>
                <a:spcPct val="80000"/>
              </a:lnSpc>
              <a:buNone/>
              <a:defRPr sz="2000" b="0" i="0" cap="all" baseline="0">
                <a:solidFill>
                  <a:schemeClr val="tx1"/>
                </a:solidFill>
                <a:latin typeface="+mj-lt"/>
              </a:defRPr>
            </a:lvl1pPr>
          </a:lstStyle>
          <a:p>
            <a:pPr lvl="0"/>
            <a:r>
              <a:rPr lang="en-US" dirty="0"/>
              <a:t>SUBTITLE LINE</a:t>
            </a:r>
            <a:br>
              <a:rPr lang="en-US" dirty="0"/>
            </a:br>
            <a:r>
              <a:rPr lang="en-US" dirty="0"/>
              <a:t>SECOND LINE</a:t>
            </a:r>
          </a:p>
        </p:txBody>
      </p:sp>
      <p:pic>
        <p:nvPicPr>
          <p:cNvPr id="2" name="Accenture_Technology_WHITE" hidden="1"/>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7756800" y="464712"/>
            <a:ext cx="3855600" cy="618771"/>
          </a:xfrm>
          <a:prstGeom prst="rect">
            <a:avLst/>
          </a:prstGeom>
        </p:spPr>
      </p:pic>
      <p:pic>
        <p:nvPicPr>
          <p:cNvPr id="7" name="Accenture_Strategy_WHITE" hidden="1"/>
          <p:cNvPicPr>
            <a:picLocks noChangeAspect="1"/>
          </p:cNvPicPr>
          <p:nvPr userDrawn="1"/>
        </p:nvPicPr>
        <p:blipFill>
          <a:blip r:embed="rId3"/>
          <a:stretch>
            <a:fillRect/>
          </a:stretch>
        </p:blipFill>
        <p:spPr>
          <a:xfrm>
            <a:off x="7773000" y="459803"/>
            <a:ext cx="3276000" cy="623063"/>
          </a:xfrm>
          <a:prstGeom prst="rect">
            <a:avLst/>
          </a:prstGeom>
        </p:spPr>
      </p:pic>
      <p:pic>
        <p:nvPicPr>
          <p:cNvPr id="17" name="Accenture_Strategy_BLACK" hidden="1"/>
          <p:cNvPicPr>
            <a:picLocks noChangeAspect="1"/>
          </p:cNvPicPr>
          <p:nvPr userDrawn="1"/>
        </p:nvPicPr>
        <p:blipFill>
          <a:blip r:embed="rId4"/>
          <a:stretch>
            <a:fillRect/>
          </a:stretch>
        </p:blipFill>
        <p:spPr>
          <a:xfrm>
            <a:off x="7772739" y="459803"/>
            <a:ext cx="3276261" cy="623113"/>
          </a:xfrm>
          <a:prstGeom prst="rect">
            <a:avLst/>
          </a:prstGeom>
        </p:spPr>
      </p:pic>
      <p:pic>
        <p:nvPicPr>
          <p:cNvPr id="14" name="Accenture_Operations_WHITE" hidden="1"/>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7773225" y="476724"/>
            <a:ext cx="3704400" cy="613912"/>
          </a:xfrm>
          <a:prstGeom prst="rect">
            <a:avLst/>
          </a:prstGeom>
        </p:spPr>
      </p:pic>
      <p:pic>
        <p:nvPicPr>
          <p:cNvPr id="16" name="Accenture_Operations_BLACK" hidden="1"/>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7772739" y="476724"/>
            <a:ext cx="3704886" cy="613992"/>
          </a:xfrm>
          <a:prstGeom prst="rect">
            <a:avLst/>
          </a:prstGeom>
        </p:spPr>
      </p:pic>
      <p:pic>
        <p:nvPicPr>
          <p:cNvPr id="4" name="Accenture_Mobility_WHITE" hidden="1"/>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a:off x="7754100" y="651110"/>
            <a:ext cx="3866400" cy="684773"/>
          </a:xfrm>
          <a:prstGeom prst="rect">
            <a:avLst/>
          </a:prstGeom>
        </p:spPr>
      </p:pic>
      <p:pic>
        <p:nvPicPr>
          <p:cNvPr id="18" name="Accenture_Mobility_BLACK" hidden="1"/>
          <p:cNvPicPr>
            <a:picLocks noChangeAspect="1"/>
          </p:cNvPicPr>
          <p:nvPr userDrawn="1"/>
        </p:nvPicPr>
        <p:blipFill>
          <a:blip r:embed="rId8" cstate="hqprint">
            <a:extLst>
              <a:ext uri="{28A0092B-C50C-407E-A947-70E740481C1C}">
                <a14:useLocalDpi xmlns:a14="http://schemas.microsoft.com/office/drawing/2010/main"/>
              </a:ext>
            </a:extLst>
          </a:blip>
          <a:stretch>
            <a:fillRect/>
          </a:stretch>
        </p:blipFill>
        <p:spPr>
          <a:xfrm>
            <a:off x="7753350" y="651110"/>
            <a:ext cx="3867150" cy="684905"/>
          </a:xfrm>
          <a:prstGeom prst="rect">
            <a:avLst/>
          </a:prstGeom>
        </p:spPr>
      </p:pic>
      <p:pic>
        <p:nvPicPr>
          <p:cNvPr id="29" name="Accenture_Interactive_WHITE" hidden="1"/>
          <p:cNvPicPr>
            <a:picLocks noChangeAspect="1"/>
          </p:cNvPicPr>
          <p:nvPr userDrawn="1"/>
        </p:nvPicPr>
        <p:blipFill>
          <a:blip r:embed="rId9" cstate="hqprint">
            <a:extLst>
              <a:ext uri="{28A0092B-C50C-407E-A947-70E740481C1C}">
                <a14:useLocalDpi xmlns:a14="http://schemas.microsoft.com/office/drawing/2010/main"/>
              </a:ext>
            </a:extLst>
          </a:blip>
          <a:stretch>
            <a:fillRect/>
          </a:stretch>
        </p:blipFill>
        <p:spPr>
          <a:xfrm>
            <a:off x="7754100" y="657225"/>
            <a:ext cx="3866400" cy="683539"/>
          </a:xfrm>
          <a:prstGeom prst="rect">
            <a:avLst/>
          </a:prstGeom>
        </p:spPr>
      </p:pic>
      <p:pic>
        <p:nvPicPr>
          <p:cNvPr id="28" name="Accenture_Interactive_BLACK" hidden="1"/>
          <p:cNvPicPr>
            <a:picLocks noChangeAspect="1"/>
          </p:cNvPicPr>
          <p:nvPr userDrawn="1"/>
        </p:nvPicPr>
        <p:blipFill>
          <a:blip r:embed="rId10" cstate="hqprint">
            <a:extLst>
              <a:ext uri="{28A0092B-C50C-407E-A947-70E740481C1C}">
                <a14:useLocalDpi xmlns:a14="http://schemas.microsoft.com/office/drawing/2010/main"/>
              </a:ext>
            </a:extLst>
          </a:blip>
          <a:stretch>
            <a:fillRect/>
          </a:stretch>
        </p:blipFill>
        <p:spPr>
          <a:xfrm>
            <a:off x="7754100" y="657225"/>
            <a:ext cx="3866400" cy="683539"/>
          </a:xfrm>
          <a:prstGeom prst="rect">
            <a:avLst/>
          </a:prstGeom>
        </p:spPr>
      </p:pic>
      <p:pic>
        <p:nvPicPr>
          <p:cNvPr id="5" name="Accenture_Analytics_WHITE" hidden="1"/>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7753349" y="658010"/>
            <a:ext cx="3866400" cy="692114"/>
          </a:xfrm>
          <a:prstGeom prst="rect">
            <a:avLst/>
          </a:prstGeom>
        </p:spPr>
      </p:pic>
      <p:pic>
        <p:nvPicPr>
          <p:cNvPr id="11" name="Accenture_Analytics_BLACK" hidden="1"/>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a:off x="7753349" y="658010"/>
            <a:ext cx="3867151" cy="692249"/>
          </a:xfrm>
          <a:prstGeom prst="rect">
            <a:avLst/>
          </a:prstGeom>
        </p:spPr>
      </p:pic>
      <p:pic>
        <p:nvPicPr>
          <p:cNvPr id="12" name="Accenture_Analytics_WHITE" hidden="1"/>
          <p:cNvPicPr>
            <a:picLocks noChangeAspect="1"/>
          </p:cNvPicPr>
          <p:nvPr userDrawn="1"/>
        </p:nvPicPr>
        <p:blipFill>
          <a:blip r:embed="rId9" cstate="hqprint">
            <a:extLst>
              <a:ext uri="{28A0092B-C50C-407E-A947-70E740481C1C}">
                <a14:useLocalDpi xmlns:a14="http://schemas.microsoft.com/office/drawing/2010/main"/>
              </a:ext>
            </a:extLst>
          </a:blip>
          <a:stretch>
            <a:fillRect/>
          </a:stretch>
        </p:blipFill>
        <p:spPr>
          <a:xfrm>
            <a:off x="7754100" y="658010"/>
            <a:ext cx="3866400" cy="683539"/>
          </a:xfrm>
          <a:prstGeom prst="rect">
            <a:avLst/>
          </a:prstGeom>
        </p:spPr>
      </p:pic>
      <p:pic>
        <p:nvPicPr>
          <p:cNvPr id="3" name="Accenture_Digital_WHITE" hidden="1"/>
          <p:cNvPicPr>
            <a:picLocks noChangeAspect="1"/>
          </p:cNvPicPr>
          <p:nvPr userDrawn="1"/>
        </p:nvPicPr>
        <p:blipFill>
          <a:blip r:embed="rId13"/>
          <a:stretch>
            <a:fillRect/>
          </a:stretch>
        </p:blipFill>
        <p:spPr>
          <a:xfrm>
            <a:off x="7756425" y="467886"/>
            <a:ext cx="2959200" cy="635308"/>
          </a:xfrm>
          <a:prstGeom prst="rect">
            <a:avLst/>
          </a:prstGeom>
        </p:spPr>
      </p:pic>
      <p:pic>
        <p:nvPicPr>
          <p:cNvPr id="15" name="Accenture_Digital_BLACK" hidden="1"/>
          <p:cNvPicPr>
            <a:picLocks noChangeAspect="1"/>
          </p:cNvPicPr>
          <p:nvPr userDrawn="1"/>
        </p:nvPicPr>
        <p:blipFill>
          <a:blip r:embed="rId14"/>
          <a:stretch>
            <a:fillRect/>
          </a:stretch>
        </p:blipFill>
        <p:spPr>
          <a:xfrm>
            <a:off x="7756072" y="467886"/>
            <a:ext cx="2959553" cy="635385"/>
          </a:xfrm>
          <a:prstGeom prst="rect">
            <a:avLst/>
          </a:prstGeom>
        </p:spPr>
      </p:pic>
      <p:pic>
        <p:nvPicPr>
          <p:cNvPr id="26" name="Accenture_Consulting_WHITE" hidden="1"/>
          <p:cNvPicPr>
            <a:picLocks noChangeAspect="1"/>
          </p:cNvPicPr>
          <p:nvPr userDrawn="1"/>
        </p:nvPicPr>
        <p:blipFill>
          <a:blip r:embed="rId15"/>
          <a:stretch>
            <a:fillRect/>
          </a:stretch>
        </p:blipFill>
        <p:spPr>
          <a:xfrm>
            <a:off x="7755225" y="464711"/>
            <a:ext cx="3722400" cy="633721"/>
          </a:xfrm>
          <a:prstGeom prst="rect">
            <a:avLst/>
          </a:prstGeom>
        </p:spPr>
      </p:pic>
      <p:pic>
        <p:nvPicPr>
          <p:cNvPr id="13" name="Accenture_Consulting_BLACK" hidden="1"/>
          <p:cNvPicPr>
            <a:picLocks noChangeAspect="1"/>
          </p:cNvPicPr>
          <p:nvPr userDrawn="1"/>
        </p:nvPicPr>
        <p:blipFill>
          <a:blip r:embed="rId16"/>
          <a:stretch>
            <a:fillRect/>
          </a:stretch>
        </p:blipFill>
        <p:spPr>
          <a:xfrm>
            <a:off x="7756071" y="464711"/>
            <a:ext cx="3721554" cy="633578"/>
          </a:xfrm>
          <a:prstGeom prst="rect">
            <a:avLst/>
          </a:prstGeom>
        </p:spPr>
      </p:pic>
      <p:grpSp>
        <p:nvGrpSpPr>
          <p:cNvPr id="22" name="Accenture_MasterWHITE" hidden="1"/>
          <p:cNvGrpSpPr/>
          <p:nvPr userDrawn="1"/>
        </p:nvGrpSpPr>
        <p:grpSpPr>
          <a:xfrm>
            <a:off x="7782263" y="470921"/>
            <a:ext cx="1828462" cy="530297"/>
            <a:chOff x="457202" y="420673"/>
            <a:chExt cx="2182661" cy="633434"/>
          </a:xfrm>
        </p:grpSpPr>
        <p:sp>
          <p:nvSpPr>
            <p:cNvPr id="23" name="Freeform 6"/>
            <p:cNvSpPr>
              <a:spLocks noEditPoints="1"/>
            </p:cNvSpPr>
            <p:nvPr userDrawn="1"/>
          </p:nvSpPr>
          <p:spPr bwMode="auto">
            <a:xfrm>
              <a:off x="457202" y="668790"/>
              <a:ext cx="2182661" cy="385317"/>
            </a:xfrm>
            <a:custGeom>
              <a:avLst/>
              <a:gdLst>
                <a:gd name="T0" fmla="*/ 35 w 765"/>
                <a:gd name="T1" fmla="*/ 118 h 135"/>
                <a:gd name="T2" fmla="*/ 56 w 765"/>
                <a:gd name="T3" fmla="*/ 88 h 135"/>
                <a:gd name="T4" fmla="*/ 78 w 765"/>
                <a:gd name="T5" fmla="*/ 62 h 135"/>
                <a:gd name="T6" fmla="*/ 4 w 765"/>
                <a:gd name="T7" fmla="*/ 62 h 135"/>
                <a:gd name="T8" fmla="*/ 42 w 765"/>
                <a:gd name="T9" fmla="*/ 47 h 135"/>
                <a:gd name="T10" fmla="*/ 56 w 765"/>
                <a:gd name="T11" fmla="*/ 75 h 135"/>
                <a:gd name="T12" fmla="*/ 30 w 765"/>
                <a:gd name="T13" fmla="*/ 135 h 135"/>
                <a:gd name="T14" fmla="*/ 56 w 765"/>
                <a:gd name="T15" fmla="*/ 121 h 135"/>
                <a:gd name="T16" fmla="*/ 78 w 765"/>
                <a:gd name="T17" fmla="*/ 132 h 135"/>
                <a:gd name="T18" fmla="*/ 132 w 765"/>
                <a:gd name="T19" fmla="*/ 47 h 135"/>
                <a:gd name="T20" fmla="*/ 154 w 765"/>
                <a:gd name="T21" fmla="*/ 118 h 135"/>
                <a:gd name="T22" fmla="*/ 171 w 765"/>
                <a:gd name="T23" fmla="*/ 130 h 135"/>
                <a:gd name="T24" fmla="*/ 88 w 765"/>
                <a:gd name="T25" fmla="*/ 78 h 135"/>
                <a:gd name="T26" fmla="*/ 172 w 765"/>
                <a:gd name="T27" fmla="*/ 67 h 135"/>
                <a:gd name="T28" fmla="*/ 236 w 765"/>
                <a:gd name="T29" fmla="*/ 67 h 135"/>
                <a:gd name="T30" fmla="*/ 202 w 765"/>
                <a:gd name="T31" fmla="*/ 74 h 135"/>
                <a:gd name="T32" fmla="*/ 260 w 765"/>
                <a:gd name="T33" fmla="*/ 116 h 135"/>
                <a:gd name="T34" fmla="*/ 231 w 765"/>
                <a:gd name="T35" fmla="*/ 135 h 135"/>
                <a:gd name="T36" fmla="*/ 223 w 765"/>
                <a:gd name="T37" fmla="*/ 31 h 135"/>
                <a:gd name="T38" fmla="*/ 236 w 765"/>
                <a:gd name="T39" fmla="*/ 67 h 135"/>
                <a:gd name="T40" fmla="*/ 291 w 765"/>
                <a:gd name="T41" fmla="*/ 63 h 135"/>
                <a:gd name="T42" fmla="*/ 327 w 765"/>
                <a:gd name="T43" fmla="*/ 63 h 135"/>
                <a:gd name="T44" fmla="*/ 349 w 765"/>
                <a:gd name="T45" fmla="*/ 71 h 135"/>
                <a:gd name="T46" fmla="*/ 269 w 765"/>
                <a:gd name="T47" fmla="*/ 77 h 135"/>
                <a:gd name="T48" fmla="*/ 347 w 765"/>
                <a:gd name="T49" fmla="*/ 131 h 135"/>
                <a:gd name="T50" fmla="*/ 328 w 765"/>
                <a:gd name="T51" fmla="*/ 118 h 135"/>
                <a:gd name="T52" fmla="*/ 349 w 765"/>
                <a:gd name="T53" fmla="*/ 77 h 135"/>
                <a:gd name="T54" fmla="*/ 418 w 765"/>
                <a:gd name="T55" fmla="*/ 76 h 135"/>
                <a:gd name="T56" fmla="*/ 408 w 765"/>
                <a:gd name="T57" fmla="*/ 52 h 135"/>
                <a:gd name="T58" fmla="*/ 384 w 765"/>
                <a:gd name="T59" fmla="*/ 132 h 135"/>
                <a:gd name="T60" fmla="*/ 361 w 765"/>
                <a:gd name="T61" fmla="*/ 33 h 135"/>
                <a:gd name="T62" fmla="*/ 384 w 765"/>
                <a:gd name="T63" fmla="*/ 51 h 135"/>
                <a:gd name="T64" fmla="*/ 414 w 765"/>
                <a:gd name="T65" fmla="*/ 31 h 135"/>
                <a:gd name="T66" fmla="*/ 441 w 765"/>
                <a:gd name="T67" fmla="*/ 132 h 135"/>
                <a:gd name="T68" fmla="*/ 489 w 765"/>
                <a:gd name="T69" fmla="*/ 49 h 135"/>
                <a:gd name="T70" fmla="*/ 505 w 765"/>
                <a:gd name="T71" fmla="*/ 118 h 135"/>
                <a:gd name="T72" fmla="*/ 516 w 765"/>
                <a:gd name="T73" fmla="*/ 133 h 135"/>
                <a:gd name="T74" fmla="*/ 466 w 765"/>
                <a:gd name="T75" fmla="*/ 107 h 135"/>
                <a:gd name="T76" fmla="*/ 447 w 765"/>
                <a:gd name="T77" fmla="*/ 49 h 135"/>
                <a:gd name="T78" fmla="*/ 466 w 765"/>
                <a:gd name="T79" fmla="*/ 33 h 135"/>
                <a:gd name="T80" fmla="*/ 489 w 765"/>
                <a:gd name="T81" fmla="*/ 0 h 135"/>
                <a:gd name="T82" fmla="*/ 519 w 765"/>
                <a:gd name="T83" fmla="*/ 33 h 135"/>
                <a:gd name="T84" fmla="*/ 489 w 765"/>
                <a:gd name="T85" fmla="*/ 49 h 135"/>
                <a:gd name="T86" fmla="*/ 586 w 765"/>
                <a:gd name="T87" fmla="*/ 114 h 135"/>
                <a:gd name="T88" fmla="*/ 556 w 765"/>
                <a:gd name="T89" fmla="*/ 135 h 135"/>
                <a:gd name="T90" fmla="*/ 529 w 765"/>
                <a:gd name="T91" fmla="*/ 33 h 135"/>
                <a:gd name="T92" fmla="*/ 552 w 765"/>
                <a:gd name="T93" fmla="*/ 90 h 135"/>
                <a:gd name="T94" fmla="*/ 563 w 765"/>
                <a:gd name="T95" fmla="*/ 113 h 135"/>
                <a:gd name="T96" fmla="*/ 586 w 765"/>
                <a:gd name="T97" fmla="*/ 33 h 135"/>
                <a:gd name="T98" fmla="*/ 609 w 765"/>
                <a:gd name="T99" fmla="*/ 132 h 135"/>
                <a:gd name="T100" fmla="*/ 647 w 765"/>
                <a:gd name="T101" fmla="*/ 89 h 135"/>
                <a:gd name="T102" fmla="*/ 624 w 765"/>
                <a:gd name="T103" fmla="*/ 132 h 135"/>
                <a:gd name="T104" fmla="*/ 647 w 765"/>
                <a:gd name="T105" fmla="*/ 33 h 135"/>
                <a:gd name="T106" fmla="*/ 648 w 765"/>
                <a:gd name="T107" fmla="*/ 51 h 135"/>
                <a:gd name="T108" fmla="*/ 680 w 765"/>
                <a:gd name="T109" fmla="*/ 55 h 135"/>
                <a:gd name="T110" fmla="*/ 743 w 765"/>
                <a:gd name="T111" fmla="*/ 63 h 135"/>
                <a:gd name="T112" fmla="*/ 726 w 765"/>
                <a:gd name="T113" fmla="*/ 45 h 135"/>
                <a:gd name="T114" fmla="*/ 765 w 765"/>
                <a:gd name="T115" fmla="*/ 77 h 135"/>
                <a:gd name="T116" fmla="*/ 727 w 765"/>
                <a:gd name="T117" fmla="*/ 31 h 135"/>
                <a:gd name="T118" fmla="*/ 735 w 765"/>
                <a:gd name="T119" fmla="*/ 135 h 135"/>
                <a:gd name="T120" fmla="*/ 763 w 765"/>
                <a:gd name="T121" fmla="*/ 115 h 135"/>
                <a:gd name="T122" fmla="*/ 706 w 765"/>
                <a:gd name="T123" fmla="*/ 7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5" h="135">
                  <a:moveTo>
                    <a:pt x="56" y="88"/>
                  </a:moveTo>
                  <a:cubicBezTo>
                    <a:pt x="56" y="101"/>
                    <a:pt x="51" y="118"/>
                    <a:pt x="35" y="118"/>
                  </a:cubicBezTo>
                  <a:cubicBezTo>
                    <a:pt x="28" y="118"/>
                    <a:pt x="23" y="114"/>
                    <a:pt x="23" y="106"/>
                  </a:cubicBezTo>
                  <a:cubicBezTo>
                    <a:pt x="23" y="91"/>
                    <a:pt x="45" y="88"/>
                    <a:pt x="56" y="88"/>
                  </a:cubicBezTo>
                  <a:close/>
                  <a:moveTo>
                    <a:pt x="78" y="132"/>
                  </a:moveTo>
                  <a:cubicBezTo>
                    <a:pt x="78" y="62"/>
                    <a:pt x="78" y="62"/>
                    <a:pt x="78" y="62"/>
                  </a:cubicBezTo>
                  <a:cubicBezTo>
                    <a:pt x="78" y="38"/>
                    <a:pt x="63" y="31"/>
                    <a:pt x="42" y="31"/>
                  </a:cubicBezTo>
                  <a:cubicBezTo>
                    <a:pt x="21" y="31"/>
                    <a:pt x="4" y="39"/>
                    <a:pt x="4" y="62"/>
                  </a:cubicBezTo>
                  <a:cubicBezTo>
                    <a:pt x="27" y="62"/>
                    <a:pt x="27" y="62"/>
                    <a:pt x="27" y="62"/>
                  </a:cubicBezTo>
                  <a:cubicBezTo>
                    <a:pt x="27" y="52"/>
                    <a:pt x="32" y="47"/>
                    <a:pt x="42" y="47"/>
                  </a:cubicBezTo>
                  <a:cubicBezTo>
                    <a:pt x="53" y="47"/>
                    <a:pt x="56" y="55"/>
                    <a:pt x="56" y="65"/>
                  </a:cubicBezTo>
                  <a:cubicBezTo>
                    <a:pt x="56" y="75"/>
                    <a:pt x="56" y="75"/>
                    <a:pt x="56" y="75"/>
                  </a:cubicBezTo>
                  <a:cubicBezTo>
                    <a:pt x="33" y="76"/>
                    <a:pt x="0" y="79"/>
                    <a:pt x="0" y="109"/>
                  </a:cubicBezTo>
                  <a:cubicBezTo>
                    <a:pt x="0" y="125"/>
                    <a:pt x="14" y="135"/>
                    <a:pt x="30" y="135"/>
                  </a:cubicBezTo>
                  <a:cubicBezTo>
                    <a:pt x="41" y="135"/>
                    <a:pt x="51" y="131"/>
                    <a:pt x="56" y="121"/>
                  </a:cubicBezTo>
                  <a:cubicBezTo>
                    <a:pt x="56" y="121"/>
                    <a:pt x="56" y="121"/>
                    <a:pt x="56" y="121"/>
                  </a:cubicBezTo>
                  <a:cubicBezTo>
                    <a:pt x="56" y="132"/>
                    <a:pt x="56" y="132"/>
                    <a:pt x="56" y="132"/>
                  </a:cubicBezTo>
                  <a:lnTo>
                    <a:pt x="78" y="132"/>
                  </a:lnTo>
                  <a:close/>
                  <a:moveTo>
                    <a:pt x="147" y="67"/>
                  </a:moveTo>
                  <a:cubicBezTo>
                    <a:pt x="147" y="57"/>
                    <a:pt x="144" y="47"/>
                    <a:pt x="132" y="47"/>
                  </a:cubicBezTo>
                  <a:cubicBezTo>
                    <a:pt x="117" y="47"/>
                    <a:pt x="113" y="62"/>
                    <a:pt x="113" y="74"/>
                  </a:cubicBezTo>
                  <a:cubicBezTo>
                    <a:pt x="113" y="99"/>
                    <a:pt x="128" y="118"/>
                    <a:pt x="154" y="118"/>
                  </a:cubicBezTo>
                  <a:cubicBezTo>
                    <a:pt x="160" y="118"/>
                    <a:pt x="165" y="118"/>
                    <a:pt x="171" y="116"/>
                  </a:cubicBezTo>
                  <a:cubicBezTo>
                    <a:pt x="171" y="130"/>
                    <a:pt x="171" y="130"/>
                    <a:pt x="171" y="130"/>
                  </a:cubicBezTo>
                  <a:cubicBezTo>
                    <a:pt x="161" y="133"/>
                    <a:pt x="151" y="135"/>
                    <a:pt x="142" y="135"/>
                  </a:cubicBezTo>
                  <a:cubicBezTo>
                    <a:pt x="106" y="135"/>
                    <a:pt x="88" y="113"/>
                    <a:pt x="88" y="78"/>
                  </a:cubicBezTo>
                  <a:cubicBezTo>
                    <a:pt x="88" y="49"/>
                    <a:pt x="104" y="31"/>
                    <a:pt x="134" y="31"/>
                  </a:cubicBezTo>
                  <a:cubicBezTo>
                    <a:pt x="158" y="31"/>
                    <a:pt x="172" y="42"/>
                    <a:pt x="172" y="67"/>
                  </a:cubicBezTo>
                  <a:lnTo>
                    <a:pt x="147" y="67"/>
                  </a:lnTo>
                  <a:close/>
                  <a:moveTo>
                    <a:pt x="236" y="67"/>
                  </a:moveTo>
                  <a:cubicBezTo>
                    <a:pt x="236" y="57"/>
                    <a:pt x="233" y="47"/>
                    <a:pt x="221" y="47"/>
                  </a:cubicBezTo>
                  <a:cubicBezTo>
                    <a:pt x="206" y="47"/>
                    <a:pt x="202" y="62"/>
                    <a:pt x="202" y="74"/>
                  </a:cubicBezTo>
                  <a:cubicBezTo>
                    <a:pt x="202" y="99"/>
                    <a:pt x="217" y="118"/>
                    <a:pt x="243" y="118"/>
                  </a:cubicBezTo>
                  <a:cubicBezTo>
                    <a:pt x="249" y="118"/>
                    <a:pt x="254" y="118"/>
                    <a:pt x="260" y="116"/>
                  </a:cubicBezTo>
                  <a:cubicBezTo>
                    <a:pt x="260" y="130"/>
                    <a:pt x="260" y="130"/>
                    <a:pt x="260" y="130"/>
                  </a:cubicBezTo>
                  <a:cubicBezTo>
                    <a:pt x="250" y="133"/>
                    <a:pt x="241" y="135"/>
                    <a:pt x="231" y="135"/>
                  </a:cubicBezTo>
                  <a:cubicBezTo>
                    <a:pt x="195" y="135"/>
                    <a:pt x="177" y="113"/>
                    <a:pt x="177" y="78"/>
                  </a:cubicBezTo>
                  <a:cubicBezTo>
                    <a:pt x="177" y="49"/>
                    <a:pt x="193" y="31"/>
                    <a:pt x="223" y="31"/>
                  </a:cubicBezTo>
                  <a:cubicBezTo>
                    <a:pt x="247" y="31"/>
                    <a:pt x="261" y="42"/>
                    <a:pt x="261" y="67"/>
                  </a:cubicBezTo>
                  <a:lnTo>
                    <a:pt x="236" y="67"/>
                  </a:lnTo>
                  <a:close/>
                  <a:moveTo>
                    <a:pt x="327" y="63"/>
                  </a:moveTo>
                  <a:cubicBezTo>
                    <a:pt x="291" y="63"/>
                    <a:pt x="291" y="63"/>
                    <a:pt x="291" y="63"/>
                  </a:cubicBezTo>
                  <a:cubicBezTo>
                    <a:pt x="292" y="53"/>
                    <a:pt x="300" y="45"/>
                    <a:pt x="310" y="45"/>
                  </a:cubicBezTo>
                  <a:cubicBezTo>
                    <a:pt x="320" y="45"/>
                    <a:pt x="327" y="52"/>
                    <a:pt x="327" y="63"/>
                  </a:cubicBezTo>
                  <a:close/>
                  <a:moveTo>
                    <a:pt x="349" y="77"/>
                  </a:moveTo>
                  <a:cubicBezTo>
                    <a:pt x="349" y="71"/>
                    <a:pt x="349" y="71"/>
                    <a:pt x="349" y="71"/>
                  </a:cubicBezTo>
                  <a:cubicBezTo>
                    <a:pt x="349" y="47"/>
                    <a:pt x="337" y="31"/>
                    <a:pt x="311" y="31"/>
                  </a:cubicBezTo>
                  <a:cubicBezTo>
                    <a:pt x="282" y="31"/>
                    <a:pt x="269" y="49"/>
                    <a:pt x="269" y="77"/>
                  </a:cubicBezTo>
                  <a:cubicBezTo>
                    <a:pt x="269" y="110"/>
                    <a:pt x="283" y="135"/>
                    <a:pt x="319" y="135"/>
                  </a:cubicBezTo>
                  <a:cubicBezTo>
                    <a:pt x="328" y="135"/>
                    <a:pt x="338" y="134"/>
                    <a:pt x="347" y="131"/>
                  </a:cubicBezTo>
                  <a:cubicBezTo>
                    <a:pt x="347" y="115"/>
                    <a:pt x="347" y="115"/>
                    <a:pt x="347" y="115"/>
                  </a:cubicBezTo>
                  <a:cubicBezTo>
                    <a:pt x="341" y="117"/>
                    <a:pt x="334" y="118"/>
                    <a:pt x="328" y="118"/>
                  </a:cubicBezTo>
                  <a:cubicBezTo>
                    <a:pt x="305" y="118"/>
                    <a:pt x="290" y="98"/>
                    <a:pt x="290" y="77"/>
                  </a:cubicBezTo>
                  <a:lnTo>
                    <a:pt x="349" y="77"/>
                  </a:lnTo>
                  <a:close/>
                  <a:moveTo>
                    <a:pt x="418" y="132"/>
                  </a:moveTo>
                  <a:cubicBezTo>
                    <a:pt x="418" y="76"/>
                    <a:pt x="418" y="76"/>
                    <a:pt x="418" y="76"/>
                  </a:cubicBezTo>
                  <a:cubicBezTo>
                    <a:pt x="418" y="71"/>
                    <a:pt x="418" y="58"/>
                    <a:pt x="414" y="54"/>
                  </a:cubicBezTo>
                  <a:cubicBezTo>
                    <a:pt x="413" y="53"/>
                    <a:pt x="410" y="52"/>
                    <a:pt x="408" y="52"/>
                  </a:cubicBezTo>
                  <a:cubicBezTo>
                    <a:pt x="391" y="52"/>
                    <a:pt x="384" y="76"/>
                    <a:pt x="384" y="89"/>
                  </a:cubicBezTo>
                  <a:cubicBezTo>
                    <a:pt x="384" y="132"/>
                    <a:pt x="384" y="132"/>
                    <a:pt x="384" y="132"/>
                  </a:cubicBezTo>
                  <a:cubicBezTo>
                    <a:pt x="361" y="132"/>
                    <a:pt x="361" y="132"/>
                    <a:pt x="361" y="132"/>
                  </a:cubicBezTo>
                  <a:cubicBezTo>
                    <a:pt x="361" y="33"/>
                    <a:pt x="361" y="33"/>
                    <a:pt x="361" y="33"/>
                  </a:cubicBezTo>
                  <a:cubicBezTo>
                    <a:pt x="384" y="33"/>
                    <a:pt x="384" y="33"/>
                    <a:pt x="384" y="33"/>
                  </a:cubicBezTo>
                  <a:cubicBezTo>
                    <a:pt x="384" y="51"/>
                    <a:pt x="384" y="51"/>
                    <a:pt x="384" y="51"/>
                  </a:cubicBezTo>
                  <a:cubicBezTo>
                    <a:pt x="385" y="51"/>
                    <a:pt x="385" y="51"/>
                    <a:pt x="385" y="51"/>
                  </a:cubicBezTo>
                  <a:cubicBezTo>
                    <a:pt x="390" y="39"/>
                    <a:pt x="400" y="31"/>
                    <a:pt x="414" y="31"/>
                  </a:cubicBezTo>
                  <a:cubicBezTo>
                    <a:pt x="433" y="31"/>
                    <a:pt x="441" y="46"/>
                    <a:pt x="441" y="63"/>
                  </a:cubicBezTo>
                  <a:cubicBezTo>
                    <a:pt x="441" y="132"/>
                    <a:pt x="441" y="132"/>
                    <a:pt x="441" y="132"/>
                  </a:cubicBezTo>
                  <a:lnTo>
                    <a:pt x="418" y="132"/>
                  </a:lnTo>
                  <a:close/>
                  <a:moveTo>
                    <a:pt x="489" y="49"/>
                  </a:moveTo>
                  <a:cubicBezTo>
                    <a:pt x="489" y="96"/>
                    <a:pt x="489" y="96"/>
                    <a:pt x="489" y="96"/>
                  </a:cubicBezTo>
                  <a:cubicBezTo>
                    <a:pt x="489" y="108"/>
                    <a:pt x="491" y="118"/>
                    <a:pt x="505" y="118"/>
                  </a:cubicBezTo>
                  <a:cubicBezTo>
                    <a:pt x="509" y="118"/>
                    <a:pt x="512" y="118"/>
                    <a:pt x="516" y="117"/>
                  </a:cubicBezTo>
                  <a:cubicBezTo>
                    <a:pt x="516" y="133"/>
                    <a:pt x="516" y="133"/>
                    <a:pt x="516" y="133"/>
                  </a:cubicBezTo>
                  <a:cubicBezTo>
                    <a:pt x="510" y="134"/>
                    <a:pt x="503" y="135"/>
                    <a:pt x="497" y="135"/>
                  </a:cubicBezTo>
                  <a:cubicBezTo>
                    <a:pt x="477" y="135"/>
                    <a:pt x="466" y="128"/>
                    <a:pt x="466" y="107"/>
                  </a:cubicBezTo>
                  <a:cubicBezTo>
                    <a:pt x="466" y="49"/>
                    <a:pt x="466" y="49"/>
                    <a:pt x="466" y="49"/>
                  </a:cubicBezTo>
                  <a:cubicBezTo>
                    <a:pt x="447" y="49"/>
                    <a:pt x="447" y="49"/>
                    <a:pt x="447" y="49"/>
                  </a:cubicBezTo>
                  <a:cubicBezTo>
                    <a:pt x="447" y="33"/>
                    <a:pt x="447" y="33"/>
                    <a:pt x="447" y="33"/>
                  </a:cubicBezTo>
                  <a:cubicBezTo>
                    <a:pt x="466" y="33"/>
                    <a:pt x="466" y="33"/>
                    <a:pt x="466" y="33"/>
                  </a:cubicBezTo>
                  <a:cubicBezTo>
                    <a:pt x="466" y="9"/>
                    <a:pt x="466" y="9"/>
                    <a:pt x="466" y="9"/>
                  </a:cubicBezTo>
                  <a:cubicBezTo>
                    <a:pt x="489" y="0"/>
                    <a:pt x="489" y="0"/>
                    <a:pt x="489" y="0"/>
                  </a:cubicBezTo>
                  <a:cubicBezTo>
                    <a:pt x="489" y="33"/>
                    <a:pt x="489" y="33"/>
                    <a:pt x="489" y="33"/>
                  </a:cubicBezTo>
                  <a:cubicBezTo>
                    <a:pt x="519" y="33"/>
                    <a:pt x="519" y="33"/>
                    <a:pt x="519" y="33"/>
                  </a:cubicBezTo>
                  <a:cubicBezTo>
                    <a:pt x="519" y="49"/>
                    <a:pt x="519" y="49"/>
                    <a:pt x="519" y="49"/>
                  </a:cubicBezTo>
                  <a:lnTo>
                    <a:pt x="489" y="49"/>
                  </a:lnTo>
                  <a:close/>
                  <a:moveTo>
                    <a:pt x="586" y="132"/>
                  </a:moveTo>
                  <a:cubicBezTo>
                    <a:pt x="586" y="114"/>
                    <a:pt x="586" y="114"/>
                    <a:pt x="586" y="114"/>
                  </a:cubicBezTo>
                  <a:cubicBezTo>
                    <a:pt x="586" y="114"/>
                    <a:pt x="586" y="114"/>
                    <a:pt x="586" y="114"/>
                  </a:cubicBezTo>
                  <a:cubicBezTo>
                    <a:pt x="580" y="126"/>
                    <a:pt x="570" y="135"/>
                    <a:pt x="556" y="135"/>
                  </a:cubicBezTo>
                  <a:cubicBezTo>
                    <a:pt x="537" y="135"/>
                    <a:pt x="529" y="119"/>
                    <a:pt x="529" y="102"/>
                  </a:cubicBezTo>
                  <a:cubicBezTo>
                    <a:pt x="529" y="33"/>
                    <a:pt x="529" y="33"/>
                    <a:pt x="529" y="33"/>
                  </a:cubicBezTo>
                  <a:cubicBezTo>
                    <a:pt x="552" y="33"/>
                    <a:pt x="552" y="33"/>
                    <a:pt x="552" y="33"/>
                  </a:cubicBezTo>
                  <a:cubicBezTo>
                    <a:pt x="552" y="90"/>
                    <a:pt x="552" y="90"/>
                    <a:pt x="552" y="90"/>
                  </a:cubicBezTo>
                  <a:cubicBezTo>
                    <a:pt x="552" y="95"/>
                    <a:pt x="552" y="107"/>
                    <a:pt x="556" y="111"/>
                  </a:cubicBezTo>
                  <a:cubicBezTo>
                    <a:pt x="558" y="113"/>
                    <a:pt x="560" y="113"/>
                    <a:pt x="563" y="113"/>
                  </a:cubicBezTo>
                  <a:cubicBezTo>
                    <a:pt x="579" y="113"/>
                    <a:pt x="586" y="89"/>
                    <a:pt x="586" y="76"/>
                  </a:cubicBezTo>
                  <a:cubicBezTo>
                    <a:pt x="586" y="33"/>
                    <a:pt x="586" y="33"/>
                    <a:pt x="586" y="33"/>
                  </a:cubicBezTo>
                  <a:cubicBezTo>
                    <a:pt x="609" y="33"/>
                    <a:pt x="609" y="33"/>
                    <a:pt x="609" y="33"/>
                  </a:cubicBezTo>
                  <a:cubicBezTo>
                    <a:pt x="609" y="132"/>
                    <a:pt x="609" y="132"/>
                    <a:pt x="609" y="132"/>
                  </a:cubicBezTo>
                  <a:lnTo>
                    <a:pt x="586" y="132"/>
                  </a:lnTo>
                  <a:close/>
                  <a:moveTo>
                    <a:pt x="647" y="89"/>
                  </a:moveTo>
                  <a:cubicBezTo>
                    <a:pt x="647" y="132"/>
                    <a:pt x="647" y="132"/>
                    <a:pt x="647" y="132"/>
                  </a:cubicBezTo>
                  <a:cubicBezTo>
                    <a:pt x="624" y="132"/>
                    <a:pt x="624" y="132"/>
                    <a:pt x="624" y="132"/>
                  </a:cubicBezTo>
                  <a:cubicBezTo>
                    <a:pt x="624" y="33"/>
                    <a:pt x="624" y="33"/>
                    <a:pt x="624" y="33"/>
                  </a:cubicBezTo>
                  <a:cubicBezTo>
                    <a:pt x="647" y="33"/>
                    <a:pt x="647" y="33"/>
                    <a:pt x="647" y="33"/>
                  </a:cubicBezTo>
                  <a:cubicBezTo>
                    <a:pt x="647" y="51"/>
                    <a:pt x="647" y="51"/>
                    <a:pt x="647" y="51"/>
                  </a:cubicBezTo>
                  <a:cubicBezTo>
                    <a:pt x="648" y="51"/>
                    <a:pt x="648" y="51"/>
                    <a:pt x="648" y="51"/>
                  </a:cubicBezTo>
                  <a:cubicBezTo>
                    <a:pt x="655" y="37"/>
                    <a:pt x="663" y="31"/>
                    <a:pt x="680" y="31"/>
                  </a:cubicBezTo>
                  <a:cubicBezTo>
                    <a:pt x="680" y="55"/>
                    <a:pt x="680" y="55"/>
                    <a:pt x="680" y="55"/>
                  </a:cubicBezTo>
                  <a:cubicBezTo>
                    <a:pt x="656" y="55"/>
                    <a:pt x="647" y="65"/>
                    <a:pt x="647" y="89"/>
                  </a:cubicBezTo>
                  <a:close/>
                  <a:moveTo>
                    <a:pt x="743" y="63"/>
                  </a:moveTo>
                  <a:cubicBezTo>
                    <a:pt x="707" y="63"/>
                    <a:pt x="707" y="63"/>
                    <a:pt x="707" y="63"/>
                  </a:cubicBezTo>
                  <a:cubicBezTo>
                    <a:pt x="708" y="53"/>
                    <a:pt x="715" y="45"/>
                    <a:pt x="726" y="45"/>
                  </a:cubicBezTo>
                  <a:cubicBezTo>
                    <a:pt x="736" y="45"/>
                    <a:pt x="743" y="52"/>
                    <a:pt x="743" y="63"/>
                  </a:cubicBezTo>
                  <a:close/>
                  <a:moveTo>
                    <a:pt x="765" y="77"/>
                  </a:moveTo>
                  <a:cubicBezTo>
                    <a:pt x="765" y="71"/>
                    <a:pt x="765" y="71"/>
                    <a:pt x="765" y="71"/>
                  </a:cubicBezTo>
                  <a:cubicBezTo>
                    <a:pt x="765" y="47"/>
                    <a:pt x="753" y="31"/>
                    <a:pt x="727" y="31"/>
                  </a:cubicBezTo>
                  <a:cubicBezTo>
                    <a:pt x="698" y="31"/>
                    <a:pt x="685" y="49"/>
                    <a:pt x="685" y="77"/>
                  </a:cubicBezTo>
                  <a:cubicBezTo>
                    <a:pt x="685" y="110"/>
                    <a:pt x="699" y="135"/>
                    <a:pt x="735" y="135"/>
                  </a:cubicBezTo>
                  <a:cubicBezTo>
                    <a:pt x="744" y="135"/>
                    <a:pt x="754" y="134"/>
                    <a:pt x="763" y="131"/>
                  </a:cubicBezTo>
                  <a:cubicBezTo>
                    <a:pt x="763" y="115"/>
                    <a:pt x="763" y="115"/>
                    <a:pt x="763" y="115"/>
                  </a:cubicBezTo>
                  <a:cubicBezTo>
                    <a:pt x="757" y="117"/>
                    <a:pt x="750" y="118"/>
                    <a:pt x="744" y="118"/>
                  </a:cubicBezTo>
                  <a:cubicBezTo>
                    <a:pt x="721" y="118"/>
                    <a:pt x="706" y="98"/>
                    <a:pt x="706" y="77"/>
                  </a:cubicBezTo>
                  <a:lnTo>
                    <a:pt x="765" y="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24" name="Freeform 23"/>
            <p:cNvSpPr/>
            <p:nvPr/>
          </p:nvSpPr>
          <p:spPr>
            <a:xfrm>
              <a:off x="1739049" y="420673"/>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Graphik" panose="020B0503030202060203" pitchFamily="34" charset="0"/>
              </a:endParaRPr>
            </a:p>
          </p:txBody>
        </p:sp>
      </p:grpSp>
      <p:grpSp>
        <p:nvGrpSpPr>
          <p:cNvPr id="19" name="Accenture_MasterBLACK" hidden="1"/>
          <p:cNvGrpSpPr/>
          <p:nvPr userDrawn="1"/>
        </p:nvGrpSpPr>
        <p:grpSpPr>
          <a:xfrm>
            <a:off x="7767974" y="460549"/>
            <a:ext cx="1828462" cy="528825"/>
            <a:chOff x="476250" y="397668"/>
            <a:chExt cx="2195577" cy="635000"/>
          </a:xfrm>
        </p:grpSpPr>
        <p:sp>
          <p:nvSpPr>
            <p:cNvPr id="20" name="Freeform 19"/>
            <p:cNvSpPr>
              <a:spLocks/>
            </p:cNvSpPr>
            <p:nvPr/>
          </p:nvSpPr>
          <p:spPr bwMode="auto">
            <a:xfrm>
              <a:off x="1758865" y="397668"/>
              <a:ext cx="206059" cy="214470"/>
            </a:xfrm>
            <a:custGeom>
              <a:avLst/>
              <a:gdLst>
                <a:gd name="T0" fmla="*/ 0 w 72"/>
                <a:gd name="T1" fmla="*/ 0 h 74"/>
                <a:gd name="T2" fmla="*/ 0 w 72"/>
                <a:gd name="T3" fmla="*/ 2 h 74"/>
                <a:gd name="T4" fmla="*/ 0 w 72"/>
                <a:gd name="T5" fmla="*/ 16 h 74"/>
                <a:gd name="T6" fmla="*/ 53 w 72"/>
                <a:gd name="T7" fmla="*/ 37 h 74"/>
                <a:gd name="T8" fmla="*/ 0 w 72"/>
                <a:gd name="T9" fmla="*/ 57 h 74"/>
                <a:gd name="T10" fmla="*/ 0 w 72"/>
                <a:gd name="T11" fmla="*/ 74 h 74"/>
                <a:gd name="T12" fmla="*/ 72 w 72"/>
                <a:gd name="T13" fmla="*/ 44 h 74"/>
                <a:gd name="T14" fmla="*/ 72 w 72"/>
                <a:gd name="T15" fmla="*/ 29 h 74"/>
                <a:gd name="T16" fmla="*/ 0 w 72"/>
                <a:gd name="T1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0" y="0"/>
                  </a:moveTo>
                  <a:cubicBezTo>
                    <a:pt x="0" y="2"/>
                    <a:pt x="0" y="2"/>
                    <a:pt x="0" y="2"/>
                  </a:cubicBezTo>
                  <a:cubicBezTo>
                    <a:pt x="0" y="16"/>
                    <a:pt x="0" y="16"/>
                    <a:pt x="0" y="16"/>
                  </a:cubicBezTo>
                  <a:cubicBezTo>
                    <a:pt x="0" y="16"/>
                    <a:pt x="46" y="34"/>
                    <a:pt x="53" y="37"/>
                  </a:cubicBezTo>
                  <a:cubicBezTo>
                    <a:pt x="46" y="40"/>
                    <a:pt x="0" y="57"/>
                    <a:pt x="0" y="57"/>
                  </a:cubicBezTo>
                  <a:cubicBezTo>
                    <a:pt x="0" y="74"/>
                    <a:pt x="0" y="74"/>
                    <a:pt x="0" y="74"/>
                  </a:cubicBezTo>
                  <a:cubicBezTo>
                    <a:pt x="72" y="44"/>
                    <a:pt x="72" y="44"/>
                    <a:pt x="72" y="44"/>
                  </a:cubicBezTo>
                  <a:cubicBezTo>
                    <a:pt x="72" y="29"/>
                    <a:pt x="72" y="29"/>
                    <a:pt x="72" y="29"/>
                  </a:cubicBez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pic>
          <p:nvPicPr>
            <p:cNvPr id="21" name="Accenture Black"/>
            <p:cNvPicPr>
              <a:picLocks noChangeAspect="1"/>
            </p:cNvPicPr>
            <p:nvPr userDrawn="1"/>
          </p:nvPicPr>
          <p:blipFill>
            <a:blip r:embed="rId17" cstate="hqprint">
              <a:extLst>
                <a:ext uri="{28A0092B-C50C-407E-A947-70E740481C1C}">
                  <a14:useLocalDpi xmlns:a14="http://schemas.microsoft.com/office/drawing/2010/main"/>
                </a:ext>
              </a:extLst>
            </a:blip>
            <a:stretch>
              <a:fillRect/>
            </a:stretch>
          </p:blipFill>
          <p:spPr>
            <a:xfrm>
              <a:off x="476250" y="641561"/>
              <a:ext cx="2195577" cy="391107"/>
            </a:xfrm>
            <a:prstGeom prst="rect">
              <a:avLst/>
            </a:prstGeom>
          </p:spPr>
        </p:pic>
      </p:grpSp>
    </p:spTree>
    <p:extLst>
      <p:ext uri="{BB962C8B-B14F-4D97-AF65-F5344CB8AC3E}">
        <p14:creationId xmlns:p14="http://schemas.microsoft.com/office/powerpoint/2010/main" val="128511162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320">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Section intr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5019" y="1803400"/>
            <a:ext cx="5589056" cy="4254500"/>
          </a:xfrm>
        </p:spPr>
        <p:txBody>
          <a:bodyPr/>
          <a:lstStyle>
            <a:lvl1pPr>
              <a:lnSpc>
                <a:spcPct val="80000"/>
              </a:lnSpc>
              <a:defRPr sz="5067" cap="all" baseline="0">
                <a:solidFill>
                  <a:schemeClr val="accent3"/>
                </a:solidFill>
              </a:defRPr>
            </a:lvl1pPr>
          </a:lstStyle>
          <a:p>
            <a:r>
              <a:rPr lang="en-US" dirty="0"/>
              <a:t>SECTION INTRO</a:t>
            </a:r>
          </a:p>
        </p:txBody>
      </p:sp>
      <p:sp>
        <p:nvSpPr>
          <p:cNvPr id="3" name="Slide Number Placeholder 2"/>
          <p:cNvSpPr>
            <a:spLocks noGrp="1"/>
          </p:cNvSpPr>
          <p:nvPr>
            <p:ph type="sldNum" sz="quarter" idx="10"/>
          </p:nvPr>
        </p:nvSpPr>
        <p:spPr/>
        <p:txBody>
          <a:bodyPr/>
          <a:lstStyle>
            <a:lvl1pPr>
              <a:defRPr b="0">
                <a:latin typeface="Graphik" panose="020B0503030202060203" pitchFamily="34" charset="0"/>
              </a:defRPr>
            </a:lvl1pPr>
          </a:lstStyle>
          <a:p>
            <a:fld id="{0D558541-60C9-42A2-8392-FF12533A6B7A}" type="slidenum">
              <a:rPr lang="en-US" smtClean="0"/>
              <a:pPr/>
              <a:t>‹#›</a:t>
            </a:fld>
            <a:endParaRPr lang="en-US" dirty="0"/>
          </a:p>
        </p:txBody>
      </p:sp>
      <p:sp>
        <p:nvSpPr>
          <p:cNvPr id="8" name="Text Placeholder 7"/>
          <p:cNvSpPr>
            <a:spLocks noGrp="1"/>
          </p:cNvSpPr>
          <p:nvPr>
            <p:ph type="body" sz="quarter" idx="11"/>
          </p:nvPr>
        </p:nvSpPr>
        <p:spPr>
          <a:xfrm>
            <a:off x="6276975" y="1763713"/>
            <a:ext cx="5578475" cy="4294187"/>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7611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b="0">
                <a:latin typeface="Graphik" panose="020B0503030202060203" pitchFamily="34" charset="0"/>
              </a:defRPr>
            </a:lvl1pPr>
          </a:lstStyle>
          <a:p>
            <a:fld id="{0D558541-60C9-42A2-8392-FF12533A6B7A}" type="slidenum">
              <a:rPr lang="en-US" smtClean="0"/>
              <a:pPr/>
              <a:t>‹#›</a:t>
            </a:fld>
            <a:endParaRPr lang="en-US" dirty="0"/>
          </a:p>
        </p:txBody>
      </p:sp>
      <p:sp>
        <p:nvSpPr>
          <p:cNvPr id="4" name="Title 3"/>
          <p:cNvSpPr>
            <a:spLocks noGrp="1"/>
          </p:cNvSpPr>
          <p:nvPr>
            <p:ph type="title"/>
          </p:nvPr>
        </p:nvSpPr>
        <p:spPr>
          <a:xfrm>
            <a:off x="345017" y="332076"/>
            <a:ext cx="10027707" cy="776139"/>
          </a:xfrm>
        </p:spPr>
        <p:txBody>
          <a:bodyPr/>
          <a:lstStyle>
            <a:lvl1pPr>
              <a:defRPr>
                <a:solidFill>
                  <a:schemeClr val="accent3"/>
                </a:solidFill>
              </a:defRPr>
            </a:lvl1pPr>
          </a:lstStyle>
          <a:p>
            <a:r>
              <a:rPr lang="en-US" dirty="0"/>
              <a:t>Click to edit Master title style</a:t>
            </a:r>
          </a:p>
        </p:txBody>
      </p:sp>
      <p:sp>
        <p:nvSpPr>
          <p:cNvPr id="7" name="Text Placeholder 6"/>
          <p:cNvSpPr>
            <a:spLocks noGrp="1"/>
          </p:cNvSpPr>
          <p:nvPr>
            <p:ph type="body" sz="quarter" idx="13"/>
          </p:nvPr>
        </p:nvSpPr>
        <p:spPr>
          <a:xfrm>
            <a:off x="345017" y="1763713"/>
            <a:ext cx="10027707" cy="4294187"/>
          </a:xfrm>
        </p:spPr>
        <p:txBody>
          <a:bodyPr vert="horz" lIns="0" tIns="0" rIns="0" bIns="0" rtlCol="0">
            <a:noAutofit/>
          </a:bodyPr>
          <a:lstStyle>
            <a:lvl1pPr>
              <a:defRPr lang="en-US" sz="1800" dirty="0" smtClean="0"/>
            </a:lvl1pPr>
            <a:lvl2pPr marL="182875">
              <a:defRPr lang="en-US" sz="1800" dirty="0" smtClean="0"/>
            </a:lvl2pPr>
            <a:lvl3pPr marL="365751">
              <a:defRPr lang="en-US" sz="1800" dirty="0" smtClean="0"/>
            </a:lvl3pPr>
            <a:lvl4pPr>
              <a:defRPr lang="en-US" sz="1800" dirty="0" smtClean="0"/>
            </a:lvl4pPr>
            <a:lvl5pPr>
              <a:defRPr lang="en-US" sz="180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92132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llout &amp; cop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b="0">
                <a:latin typeface="Graphik" panose="020B0503030202060203" pitchFamily="34" charset="0"/>
              </a:defRPr>
            </a:lvl1pPr>
          </a:lstStyle>
          <a:p>
            <a:fld id="{0D558541-60C9-42A2-8392-FF12533A6B7A}" type="slidenum">
              <a:rPr lang="en-US" smtClean="0"/>
              <a:pPr/>
              <a:t>‹#›</a:t>
            </a:fld>
            <a:endParaRPr lang="en-US" dirty="0"/>
          </a:p>
        </p:txBody>
      </p:sp>
      <p:sp>
        <p:nvSpPr>
          <p:cNvPr id="4" name="Title 3"/>
          <p:cNvSpPr>
            <a:spLocks noGrp="1"/>
          </p:cNvSpPr>
          <p:nvPr>
            <p:ph type="title"/>
          </p:nvPr>
        </p:nvSpPr>
        <p:spPr/>
        <p:txBody>
          <a:bodyPr/>
          <a:lstStyle>
            <a:lvl1pPr>
              <a:defRPr>
                <a:solidFill>
                  <a:schemeClr val="accent3"/>
                </a:solidFill>
              </a:defRPr>
            </a:lvl1pPr>
          </a:lstStyle>
          <a:p>
            <a:r>
              <a:rPr lang="en-US" dirty="0"/>
              <a:t>Click to edit Master title style</a:t>
            </a:r>
          </a:p>
        </p:txBody>
      </p:sp>
      <p:sp>
        <p:nvSpPr>
          <p:cNvPr id="7" name="Text Placeholder 6"/>
          <p:cNvSpPr>
            <a:spLocks noGrp="1"/>
          </p:cNvSpPr>
          <p:nvPr>
            <p:ph type="body" sz="quarter" idx="13"/>
          </p:nvPr>
        </p:nvSpPr>
        <p:spPr>
          <a:xfrm>
            <a:off x="345019" y="1763713"/>
            <a:ext cx="5589056" cy="4294187"/>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4"/>
          </p:nvPr>
        </p:nvSpPr>
        <p:spPr>
          <a:xfrm>
            <a:off x="6276975" y="1763714"/>
            <a:ext cx="5578475" cy="4294186"/>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13735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allout &amp; 2 columns">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45017" y="1763729"/>
            <a:ext cx="3583476" cy="4294171"/>
          </a:xfrm>
        </p:spPr>
        <p:txBody>
          <a:bodyPr vert="horz" lIns="0" tIns="0" rIns="0" bIns="0" rtlCol="0">
            <a:noAutofit/>
          </a:bodyPr>
          <a:lstStyle>
            <a:lvl1pPr>
              <a:defRPr lang="en-US" sz="1800" dirty="0" smtClean="0"/>
            </a:lvl1pPr>
            <a:lvl2pPr>
              <a:defRPr lang="en-US" sz="1800" dirty="0" smtClean="0"/>
            </a:lvl2pPr>
            <a:lvl3pPr>
              <a:defRPr lang="en-US" sz="1800" dirty="0" smtClean="0"/>
            </a:lvl3pPr>
            <a:lvl4pPr>
              <a:defRPr lang="en-US" sz="1800" dirty="0" smtClean="0"/>
            </a:lvl4pPr>
            <a:lvl5pPr>
              <a:defRPr lang="en-US" sz="180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defRPr b="0">
                <a:latin typeface="Graphik" panose="020B0503030202060203" pitchFamily="34" charset="0"/>
              </a:defRPr>
            </a:lvl1pPr>
          </a:lstStyle>
          <a:p>
            <a:fld id="{0D558541-60C9-42A2-8392-FF12533A6B7A}" type="slidenum">
              <a:rPr lang="en-US" smtClean="0"/>
              <a:pPr/>
              <a:t>‹#›</a:t>
            </a:fld>
            <a:endParaRPr lang="en-US" dirty="0"/>
          </a:p>
        </p:txBody>
      </p:sp>
      <p:sp>
        <p:nvSpPr>
          <p:cNvPr id="4" name="Title 3"/>
          <p:cNvSpPr>
            <a:spLocks noGrp="1"/>
          </p:cNvSpPr>
          <p:nvPr>
            <p:ph type="title"/>
          </p:nvPr>
        </p:nvSpPr>
        <p:spPr/>
        <p:txBody>
          <a:bodyPr/>
          <a:lstStyle/>
          <a:p>
            <a:r>
              <a:rPr lang="en-US" dirty="0"/>
              <a:t>Click to edit Master title style</a:t>
            </a:r>
          </a:p>
        </p:txBody>
      </p:sp>
      <p:sp>
        <p:nvSpPr>
          <p:cNvPr id="10" name="Text Placeholder 7"/>
          <p:cNvSpPr>
            <a:spLocks noGrp="1"/>
          </p:cNvSpPr>
          <p:nvPr>
            <p:ph type="body" sz="quarter" idx="14"/>
          </p:nvPr>
        </p:nvSpPr>
        <p:spPr>
          <a:xfrm>
            <a:off x="8256656" y="1763713"/>
            <a:ext cx="3598794"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7"/>
          <p:cNvSpPr>
            <a:spLocks noGrp="1"/>
          </p:cNvSpPr>
          <p:nvPr>
            <p:ph type="body" sz="quarter" idx="15"/>
          </p:nvPr>
        </p:nvSpPr>
        <p:spPr>
          <a:xfrm>
            <a:off x="4271392" y="1763713"/>
            <a:ext cx="3642363"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92648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6F338F-E120-420A-AF6F-996DC2C450F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13DF9C78-5407-437F-9099-B753370C16B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5A369BA-5EE2-4DC1-BA4A-B6C71D3EDBA4}"/>
              </a:ext>
            </a:extLst>
          </p:cNvPr>
          <p:cNvSpPr>
            <a:spLocks noGrp="1"/>
          </p:cNvSpPr>
          <p:nvPr>
            <p:ph type="dt" sz="half" idx="10"/>
          </p:nvPr>
        </p:nvSpPr>
        <p:spPr/>
        <p:txBody>
          <a:bodyPr/>
          <a:lstStyle/>
          <a:p>
            <a:fld id="{58A9AD06-EB04-40D2-9EFF-00449A73BF5C}" type="datetimeFigureOut">
              <a:rPr lang="en-GB" smtClean="0"/>
              <a:t>01/05/2018</a:t>
            </a:fld>
            <a:endParaRPr lang="en-GB"/>
          </a:p>
        </p:txBody>
      </p:sp>
      <p:sp>
        <p:nvSpPr>
          <p:cNvPr id="5" name="Footer Placeholder 4">
            <a:extLst>
              <a:ext uri="{FF2B5EF4-FFF2-40B4-BE49-F238E27FC236}">
                <a16:creationId xmlns:a16="http://schemas.microsoft.com/office/drawing/2014/main" id="{7AC51CE1-B169-470E-895A-15AB87CD480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C889C58-2C66-4DD5-BA4E-28E3434C48EB}"/>
              </a:ext>
            </a:extLst>
          </p:cNvPr>
          <p:cNvSpPr>
            <a:spLocks noGrp="1"/>
          </p:cNvSpPr>
          <p:nvPr>
            <p:ph type="sldNum" sz="quarter" idx="12"/>
          </p:nvPr>
        </p:nvSpPr>
        <p:spPr/>
        <p:txBody>
          <a:bodyPr/>
          <a:lstStyle/>
          <a:p>
            <a:fld id="{B2DCE237-B187-49D9-B1C4-0C8AA0CDE574}" type="slidenum">
              <a:rPr lang="en-GB" smtClean="0"/>
              <a:t>‹#›</a:t>
            </a:fld>
            <a:endParaRPr lang="en-GB"/>
          </a:p>
        </p:txBody>
      </p:sp>
    </p:spTree>
    <p:extLst>
      <p:ext uri="{BB962C8B-B14F-4D97-AF65-F5344CB8AC3E}">
        <p14:creationId xmlns:p14="http://schemas.microsoft.com/office/powerpoint/2010/main" val="15180832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b="1">
                <a:latin typeface="Graphik" panose="020B0503030202060203" pitchFamily="34" charset="0"/>
              </a:defRPr>
            </a:lvl1pPr>
          </a:lstStyle>
          <a:p>
            <a:fld id="{0D558541-60C9-42A2-8392-FF12533A6B7A}"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
        <p:nvSpPr>
          <p:cNvPr id="8" name="Text Placeholder 7"/>
          <p:cNvSpPr>
            <a:spLocks noGrp="1"/>
          </p:cNvSpPr>
          <p:nvPr>
            <p:ph type="body" sz="quarter" idx="14"/>
          </p:nvPr>
        </p:nvSpPr>
        <p:spPr>
          <a:xfrm>
            <a:off x="3314700" y="1763713"/>
            <a:ext cx="2619375"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7"/>
          <p:cNvSpPr>
            <a:spLocks noGrp="1"/>
          </p:cNvSpPr>
          <p:nvPr>
            <p:ph type="body" sz="quarter" idx="15"/>
          </p:nvPr>
        </p:nvSpPr>
        <p:spPr>
          <a:xfrm>
            <a:off x="345016" y="1763713"/>
            <a:ext cx="2626784"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6"/>
          </p:nvPr>
        </p:nvSpPr>
        <p:spPr>
          <a:xfrm>
            <a:off x="9239250" y="1763713"/>
            <a:ext cx="2616200"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7"/>
          <p:cNvSpPr>
            <a:spLocks noGrp="1"/>
          </p:cNvSpPr>
          <p:nvPr>
            <p:ph type="body" sz="quarter" idx="17"/>
          </p:nvPr>
        </p:nvSpPr>
        <p:spPr>
          <a:xfrm>
            <a:off x="6276975" y="1763713"/>
            <a:ext cx="2619374"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61436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py &amp; content (chart, picture)">
    <p:spTree>
      <p:nvGrpSpPr>
        <p:cNvPr id="1" name=""/>
        <p:cNvGrpSpPr/>
        <p:nvPr/>
      </p:nvGrpSpPr>
      <p:grpSpPr>
        <a:xfrm>
          <a:off x="0" y="0"/>
          <a:ext cx="0" cy="0"/>
          <a:chOff x="0" y="0"/>
          <a:chExt cx="0" cy="0"/>
        </a:xfrm>
      </p:grpSpPr>
      <p:sp>
        <p:nvSpPr>
          <p:cNvPr id="14" name="Content Placeholder 13"/>
          <p:cNvSpPr>
            <a:spLocks noGrp="1"/>
          </p:cNvSpPr>
          <p:nvPr>
            <p:ph sz="quarter" idx="18"/>
          </p:nvPr>
        </p:nvSpPr>
        <p:spPr>
          <a:xfrm>
            <a:off x="4800600" y="1763713"/>
            <a:ext cx="7054849" cy="4294187"/>
          </a:xfrm>
        </p:spPr>
        <p:txBody>
          <a:bodyPr/>
          <a:lstStyle>
            <a:lvl1pPr>
              <a:defRPr sz="1800"/>
            </a:lvl1pPr>
            <a:lvl2pPr>
              <a:defRPr sz="1800"/>
            </a:lvl2pPr>
            <a:lvl3pPr>
              <a:defRPr sz="18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defRPr b="0">
                <a:latin typeface="Graphik" panose="020B0503030202060203" pitchFamily="34" charset="0"/>
              </a:defRPr>
            </a:lvl1pPr>
          </a:lstStyle>
          <a:p>
            <a:fld id="{0D558541-60C9-42A2-8392-FF12533A6B7A}"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
        <p:nvSpPr>
          <p:cNvPr id="9" name="Text Placeholder 7"/>
          <p:cNvSpPr>
            <a:spLocks noGrp="1"/>
          </p:cNvSpPr>
          <p:nvPr>
            <p:ph type="body" sz="quarter" idx="15"/>
          </p:nvPr>
        </p:nvSpPr>
        <p:spPr>
          <a:xfrm>
            <a:off x="345017" y="1763713"/>
            <a:ext cx="4103158"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11086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b="0"/>
            </a:lvl1pPr>
          </a:lstStyle>
          <a:p>
            <a:fld id="{0D558541-60C9-42A2-8392-FF12533A6B7A}"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
        <p:nvSpPr>
          <p:cNvPr id="3" name="Content Placeholder 2"/>
          <p:cNvSpPr>
            <a:spLocks noGrp="1"/>
          </p:cNvSpPr>
          <p:nvPr>
            <p:ph sz="quarter" idx="15" hasCustomPrompt="1"/>
          </p:nvPr>
        </p:nvSpPr>
        <p:spPr>
          <a:xfrm>
            <a:off x="345018" y="1763713"/>
            <a:ext cx="11510432" cy="4294187"/>
          </a:xfrm>
        </p:spPr>
        <p:txBody>
          <a:bodyPr/>
          <a:lstStyle>
            <a:lvl1pPr>
              <a:defRPr sz="1800" baseline="0"/>
            </a:lvl1pPr>
          </a:lstStyle>
          <a:p>
            <a:pPr lvl="0"/>
            <a:r>
              <a:rPr lang="en-US" dirty="0"/>
              <a:t>Content: chart, graph, picture.</a:t>
            </a:r>
          </a:p>
        </p:txBody>
      </p:sp>
    </p:spTree>
    <p:extLst>
      <p:ext uri="{BB962C8B-B14F-4D97-AF65-F5344CB8AC3E}">
        <p14:creationId xmlns:p14="http://schemas.microsoft.com/office/powerpoint/2010/main" val="34372659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defRPr b="0"/>
            </a:lvl1pPr>
          </a:lstStyle>
          <a:p>
            <a:fld id="{0D558541-60C9-42A2-8392-FF12533A6B7A}" type="slidenum">
              <a:rPr lang="en-US" smtClean="0"/>
              <a:pPr/>
              <a:t>‹#›</a:t>
            </a:fld>
            <a:endParaRPr 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09118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defRPr b="0"/>
            </a:lvl1pPr>
          </a:lstStyle>
          <a:p>
            <a:fld id="{0D558541-60C9-42A2-8392-FF12533A6B7A}" type="slidenum">
              <a:rPr lang="en-US" smtClean="0"/>
              <a:pPr/>
              <a:t>‹#›</a:t>
            </a:fld>
            <a:endParaRPr lang="en-US"/>
          </a:p>
        </p:txBody>
      </p:sp>
    </p:spTree>
    <p:extLst>
      <p:ext uri="{BB962C8B-B14F-4D97-AF65-F5344CB8AC3E}">
        <p14:creationId xmlns:p14="http://schemas.microsoft.com/office/powerpoint/2010/main" val="40945547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gradFill>
          <a:gsLst>
            <a:gs pos="0">
              <a:schemeClr val="accent3"/>
            </a:gs>
            <a:gs pos="100000">
              <a:schemeClr val="accent5"/>
            </a:gs>
          </a:gsLst>
          <a:lin ang="1200000" scaled="0"/>
        </a:gra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4963" y="2730724"/>
            <a:ext cx="8561387" cy="1213672"/>
          </a:xfrm>
        </p:spPr>
        <p:txBody>
          <a:bodyPr anchor="ctr"/>
          <a:lstStyle>
            <a:lvl1pPr>
              <a:lnSpc>
                <a:spcPct val="80000"/>
              </a:lnSpc>
              <a:defRPr sz="5867" cap="all" baseline="0">
                <a:solidFill>
                  <a:schemeClr val="bg1"/>
                </a:solidFill>
              </a:defRPr>
            </a:lvl1pPr>
          </a:lstStyle>
          <a:p>
            <a:r>
              <a:rPr lang="en-US" dirty="0"/>
              <a:t>divider</a:t>
            </a:r>
          </a:p>
        </p:txBody>
      </p:sp>
      <p:pic>
        <p:nvPicPr>
          <p:cNvPr id="31" name="Accenture_Technology_WHITE" hidden="1"/>
          <p:cNvPicPr>
            <a:picLocks noChangeAspect="1"/>
          </p:cNvPicPr>
          <p:nvPr userDrawn="1"/>
        </p:nvPicPr>
        <p:blipFill>
          <a:blip r:embed="rId2"/>
          <a:stretch>
            <a:fillRect/>
          </a:stretch>
        </p:blipFill>
        <p:spPr>
          <a:xfrm>
            <a:off x="338798" y="6246366"/>
            <a:ext cx="2023200" cy="324696"/>
          </a:xfrm>
          <a:prstGeom prst="rect">
            <a:avLst/>
          </a:prstGeom>
        </p:spPr>
      </p:pic>
      <p:pic>
        <p:nvPicPr>
          <p:cNvPr id="18" name="Accenture_Strategy_WHITEOUT" hidden="1"/>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345018" y="6243522"/>
            <a:ext cx="1728810" cy="328803"/>
          </a:xfrm>
          <a:prstGeom prst="rect">
            <a:avLst/>
          </a:prstGeom>
        </p:spPr>
      </p:pic>
      <p:pic>
        <p:nvPicPr>
          <p:cNvPr id="5" name="Accenture_Strategy_WHITE" hidden="1"/>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345018" y="6243676"/>
            <a:ext cx="1728000" cy="328649"/>
          </a:xfrm>
          <a:prstGeom prst="rect">
            <a:avLst/>
          </a:prstGeom>
        </p:spPr>
      </p:pic>
      <p:pic>
        <p:nvPicPr>
          <p:cNvPr id="34" name="Accenture_Operations_WHITEOUT" hidden="1"/>
          <p:cNvPicPr>
            <a:picLocks noChangeAspect="1"/>
          </p:cNvPicPr>
          <p:nvPr userDrawn="1"/>
        </p:nvPicPr>
        <p:blipFill>
          <a:blip r:embed="rId5">
            <a:extLst/>
          </a:blip>
          <a:stretch>
            <a:fillRect/>
          </a:stretch>
        </p:blipFill>
        <p:spPr>
          <a:xfrm>
            <a:off x="346538" y="6249458"/>
            <a:ext cx="1972800" cy="326942"/>
          </a:xfrm>
          <a:prstGeom prst="rect">
            <a:avLst/>
          </a:prstGeom>
        </p:spPr>
      </p:pic>
      <p:pic>
        <p:nvPicPr>
          <p:cNvPr id="33" name="Accenture_Operations_WHITE" hidden="1"/>
          <p:cNvPicPr>
            <a:picLocks noChangeAspect="1"/>
          </p:cNvPicPr>
          <p:nvPr userDrawn="1"/>
        </p:nvPicPr>
        <p:blipFill>
          <a:blip r:embed="rId6"/>
          <a:stretch>
            <a:fillRect/>
          </a:stretch>
        </p:blipFill>
        <p:spPr>
          <a:xfrm>
            <a:off x="346538" y="6249458"/>
            <a:ext cx="1972800" cy="326942"/>
          </a:xfrm>
          <a:prstGeom prst="rect">
            <a:avLst/>
          </a:prstGeom>
        </p:spPr>
      </p:pic>
      <p:pic>
        <p:nvPicPr>
          <p:cNvPr id="35" name="Accenture_Mobility_WHITEOUT" hidden="1"/>
          <p:cNvPicPr>
            <a:picLocks noChangeAspect="1"/>
          </p:cNvPicPr>
          <p:nvPr userDrawn="1"/>
        </p:nvPicPr>
        <p:blipFill>
          <a:blip r:embed="rId7">
            <a:extLst/>
          </a:blip>
          <a:stretch>
            <a:fillRect/>
          </a:stretch>
        </p:blipFill>
        <p:spPr>
          <a:xfrm>
            <a:off x="334963" y="6341042"/>
            <a:ext cx="2044800" cy="362152"/>
          </a:xfrm>
          <a:prstGeom prst="rect">
            <a:avLst/>
          </a:prstGeom>
        </p:spPr>
      </p:pic>
      <p:pic>
        <p:nvPicPr>
          <p:cNvPr id="19" name="Accenture_Mobility_WHITE" hidden="1"/>
          <p:cNvPicPr>
            <a:picLocks noChangeAspect="1"/>
          </p:cNvPicPr>
          <p:nvPr userDrawn="1"/>
        </p:nvPicPr>
        <p:blipFill>
          <a:blip r:embed="rId8"/>
          <a:stretch>
            <a:fillRect/>
          </a:stretch>
        </p:blipFill>
        <p:spPr>
          <a:xfrm>
            <a:off x="334963" y="6341042"/>
            <a:ext cx="2044800" cy="362152"/>
          </a:xfrm>
          <a:prstGeom prst="rect">
            <a:avLst/>
          </a:prstGeom>
        </p:spPr>
      </p:pic>
      <p:pic>
        <p:nvPicPr>
          <p:cNvPr id="36" name="Accenture_Interactive_WHITEOUT" hidden="1"/>
          <p:cNvPicPr>
            <a:picLocks noChangeAspect="1"/>
          </p:cNvPicPr>
          <p:nvPr userDrawn="1"/>
        </p:nvPicPr>
        <p:blipFill>
          <a:blip r:embed="rId9">
            <a:extLst/>
          </a:blip>
          <a:stretch>
            <a:fillRect/>
          </a:stretch>
        </p:blipFill>
        <p:spPr>
          <a:xfrm>
            <a:off x="338798" y="6341000"/>
            <a:ext cx="2041200" cy="360863"/>
          </a:xfrm>
          <a:prstGeom prst="rect">
            <a:avLst/>
          </a:prstGeom>
        </p:spPr>
      </p:pic>
      <p:pic>
        <p:nvPicPr>
          <p:cNvPr id="26" name="Accenture_Interactive_WHITE" hidden="1"/>
          <p:cNvPicPr>
            <a:picLocks noChangeAspect="1"/>
          </p:cNvPicPr>
          <p:nvPr userDrawn="1"/>
        </p:nvPicPr>
        <p:blipFill>
          <a:blip r:embed="rId10"/>
          <a:stretch>
            <a:fillRect/>
          </a:stretch>
        </p:blipFill>
        <p:spPr>
          <a:xfrm>
            <a:off x="338798" y="6341000"/>
            <a:ext cx="2041200" cy="360863"/>
          </a:xfrm>
          <a:prstGeom prst="rect">
            <a:avLst/>
          </a:prstGeom>
        </p:spPr>
      </p:pic>
      <p:pic>
        <p:nvPicPr>
          <p:cNvPr id="38" name="Accenture_Analytics_WHITEOUT" hidden="1"/>
          <p:cNvPicPr>
            <a:picLocks noChangeAspect="1"/>
          </p:cNvPicPr>
          <p:nvPr userDrawn="1"/>
        </p:nvPicPr>
        <p:blipFill>
          <a:blip r:embed="rId11">
            <a:extLst/>
          </a:blip>
          <a:stretch>
            <a:fillRect/>
          </a:stretch>
        </p:blipFill>
        <p:spPr>
          <a:xfrm>
            <a:off x="338798" y="6338829"/>
            <a:ext cx="2023200" cy="362168"/>
          </a:xfrm>
          <a:prstGeom prst="rect">
            <a:avLst/>
          </a:prstGeom>
        </p:spPr>
      </p:pic>
      <p:pic>
        <p:nvPicPr>
          <p:cNvPr id="37" name="Accenture_Analytics_WHITE" hidden="1"/>
          <p:cNvPicPr>
            <a:picLocks noChangeAspect="1"/>
          </p:cNvPicPr>
          <p:nvPr userDrawn="1"/>
        </p:nvPicPr>
        <p:blipFill>
          <a:blip r:embed="rId12"/>
          <a:stretch>
            <a:fillRect/>
          </a:stretch>
        </p:blipFill>
        <p:spPr>
          <a:xfrm>
            <a:off x="338798" y="6338829"/>
            <a:ext cx="2023200" cy="362168"/>
          </a:xfrm>
          <a:prstGeom prst="rect">
            <a:avLst/>
          </a:prstGeom>
        </p:spPr>
      </p:pic>
      <p:pic>
        <p:nvPicPr>
          <p:cNvPr id="16" name="Accenture_Digital_WHITEOUT" hidden="1"/>
          <p:cNvPicPr>
            <a:picLocks noChangeAspect="1"/>
          </p:cNvPicPr>
          <p:nvPr userDrawn="1"/>
        </p:nvPicPr>
        <p:blipFill>
          <a:blip r:embed="rId13" cstate="hqprint">
            <a:extLst>
              <a:ext uri="{28A0092B-C50C-407E-A947-70E740481C1C}">
                <a14:useLocalDpi xmlns:a14="http://schemas.microsoft.com/office/drawing/2010/main"/>
              </a:ext>
            </a:extLst>
          </a:blip>
          <a:stretch>
            <a:fillRect/>
          </a:stretch>
        </p:blipFill>
        <p:spPr>
          <a:xfrm>
            <a:off x="336280" y="6246019"/>
            <a:ext cx="1545637" cy="331832"/>
          </a:xfrm>
          <a:prstGeom prst="rect">
            <a:avLst/>
          </a:prstGeom>
        </p:spPr>
      </p:pic>
      <p:pic>
        <p:nvPicPr>
          <p:cNvPr id="8" name="Accenture_Digital_WHITE" hidden="1"/>
          <p:cNvPicPr>
            <a:picLocks noChangeAspect="1"/>
          </p:cNvPicPr>
          <p:nvPr userDrawn="1"/>
        </p:nvPicPr>
        <p:blipFill>
          <a:blip r:embed="rId14" cstate="hqprint">
            <a:extLst>
              <a:ext uri="{28A0092B-C50C-407E-A947-70E740481C1C}">
                <a14:useLocalDpi xmlns:a14="http://schemas.microsoft.com/office/drawing/2010/main"/>
              </a:ext>
            </a:extLst>
          </a:blip>
          <a:stretch>
            <a:fillRect/>
          </a:stretch>
        </p:blipFill>
        <p:spPr>
          <a:xfrm>
            <a:off x="336280" y="6246285"/>
            <a:ext cx="1544400" cy="331566"/>
          </a:xfrm>
          <a:prstGeom prst="rect">
            <a:avLst/>
          </a:prstGeom>
        </p:spPr>
      </p:pic>
      <p:pic>
        <p:nvPicPr>
          <p:cNvPr id="15" name="Accenture_Consulting_WHITEOUT" hidden="1"/>
          <p:cNvPicPr>
            <a:picLocks noChangeAspect="1"/>
          </p:cNvPicPr>
          <p:nvPr userDrawn="1"/>
        </p:nvPicPr>
        <p:blipFill>
          <a:blip r:embed="rId15" cstate="hqprint">
            <a:extLst>
              <a:ext uri="{28A0092B-C50C-407E-A947-70E740481C1C}">
                <a14:useLocalDpi xmlns:a14="http://schemas.microsoft.com/office/drawing/2010/main"/>
              </a:ext>
            </a:extLst>
          </a:blip>
          <a:stretch>
            <a:fillRect/>
          </a:stretch>
        </p:blipFill>
        <p:spPr>
          <a:xfrm>
            <a:off x="338799" y="6244783"/>
            <a:ext cx="1942440" cy="330692"/>
          </a:xfrm>
          <a:prstGeom prst="rect">
            <a:avLst/>
          </a:prstGeom>
        </p:spPr>
      </p:pic>
      <p:pic>
        <p:nvPicPr>
          <p:cNvPr id="4" name="Accenture_Consulting_WHITE" hidden="1"/>
          <p:cNvPicPr>
            <a:picLocks noChangeAspect="1"/>
          </p:cNvPicPr>
          <p:nvPr userDrawn="1"/>
        </p:nvPicPr>
        <p:blipFill>
          <a:blip r:embed="rId16" cstate="hqprint">
            <a:extLst>
              <a:ext uri="{28A0092B-C50C-407E-A947-70E740481C1C}">
                <a14:useLocalDpi xmlns:a14="http://schemas.microsoft.com/office/drawing/2010/main"/>
              </a:ext>
            </a:extLst>
          </a:blip>
          <a:stretch>
            <a:fillRect/>
          </a:stretch>
        </p:blipFill>
        <p:spPr>
          <a:xfrm>
            <a:off x="337239" y="6244518"/>
            <a:ext cx="1944000" cy="330957"/>
          </a:xfrm>
          <a:prstGeom prst="rect">
            <a:avLst/>
          </a:prstGeom>
        </p:spPr>
      </p:pic>
      <p:grpSp>
        <p:nvGrpSpPr>
          <p:cNvPr id="23" name="Accenture_Master" hidden="1"/>
          <p:cNvGrpSpPr/>
          <p:nvPr userDrawn="1"/>
        </p:nvGrpSpPr>
        <p:grpSpPr>
          <a:xfrm>
            <a:off x="345019" y="6246662"/>
            <a:ext cx="957526" cy="277705"/>
            <a:chOff x="457202" y="420673"/>
            <a:chExt cx="2182661" cy="633434"/>
          </a:xfrm>
        </p:grpSpPr>
        <p:sp>
          <p:nvSpPr>
            <p:cNvPr id="24" name="Freeform 6"/>
            <p:cNvSpPr>
              <a:spLocks noEditPoints="1"/>
            </p:cNvSpPr>
            <p:nvPr userDrawn="1"/>
          </p:nvSpPr>
          <p:spPr bwMode="auto">
            <a:xfrm>
              <a:off x="457202" y="668790"/>
              <a:ext cx="2182661" cy="385317"/>
            </a:xfrm>
            <a:custGeom>
              <a:avLst/>
              <a:gdLst>
                <a:gd name="T0" fmla="*/ 35 w 765"/>
                <a:gd name="T1" fmla="*/ 118 h 135"/>
                <a:gd name="T2" fmla="*/ 56 w 765"/>
                <a:gd name="T3" fmla="*/ 88 h 135"/>
                <a:gd name="T4" fmla="*/ 78 w 765"/>
                <a:gd name="T5" fmla="*/ 62 h 135"/>
                <a:gd name="T6" fmla="*/ 4 w 765"/>
                <a:gd name="T7" fmla="*/ 62 h 135"/>
                <a:gd name="T8" fmla="*/ 42 w 765"/>
                <a:gd name="T9" fmla="*/ 47 h 135"/>
                <a:gd name="T10" fmla="*/ 56 w 765"/>
                <a:gd name="T11" fmla="*/ 75 h 135"/>
                <a:gd name="T12" fmla="*/ 30 w 765"/>
                <a:gd name="T13" fmla="*/ 135 h 135"/>
                <a:gd name="T14" fmla="*/ 56 w 765"/>
                <a:gd name="T15" fmla="*/ 121 h 135"/>
                <a:gd name="T16" fmla="*/ 78 w 765"/>
                <a:gd name="T17" fmla="*/ 132 h 135"/>
                <a:gd name="T18" fmla="*/ 132 w 765"/>
                <a:gd name="T19" fmla="*/ 47 h 135"/>
                <a:gd name="T20" fmla="*/ 154 w 765"/>
                <a:gd name="T21" fmla="*/ 118 h 135"/>
                <a:gd name="T22" fmla="*/ 171 w 765"/>
                <a:gd name="T23" fmla="*/ 130 h 135"/>
                <a:gd name="T24" fmla="*/ 88 w 765"/>
                <a:gd name="T25" fmla="*/ 78 h 135"/>
                <a:gd name="T26" fmla="*/ 172 w 765"/>
                <a:gd name="T27" fmla="*/ 67 h 135"/>
                <a:gd name="T28" fmla="*/ 236 w 765"/>
                <a:gd name="T29" fmla="*/ 67 h 135"/>
                <a:gd name="T30" fmla="*/ 202 w 765"/>
                <a:gd name="T31" fmla="*/ 74 h 135"/>
                <a:gd name="T32" fmla="*/ 260 w 765"/>
                <a:gd name="T33" fmla="*/ 116 h 135"/>
                <a:gd name="T34" fmla="*/ 231 w 765"/>
                <a:gd name="T35" fmla="*/ 135 h 135"/>
                <a:gd name="T36" fmla="*/ 223 w 765"/>
                <a:gd name="T37" fmla="*/ 31 h 135"/>
                <a:gd name="T38" fmla="*/ 236 w 765"/>
                <a:gd name="T39" fmla="*/ 67 h 135"/>
                <a:gd name="T40" fmla="*/ 291 w 765"/>
                <a:gd name="T41" fmla="*/ 63 h 135"/>
                <a:gd name="T42" fmla="*/ 327 w 765"/>
                <a:gd name="T43" fmla="*/ 63 h 135"/>
                <a:gd name="T44" fmla="*/ 349 w 765"/>
                <a:gd name="T45" fmla="*/ 71 h 135"/>
                <a:gd name="T46" fmla="*/ 269 w 765"/>
                <a:gd name="T47" fmla="*/ 77 h 135"/>
                <a:gd name="T48" fmla="*/ 347 w 765"/>
                <a:gd name="T49" fmla="*/ 131 h 135"/>
                <a:gd name="T50" fmla="*/ 328 w 765"/>
                <a:gd name="T51" fmla="*/ 118 h 135"/>
                <a:gd name="T52" fmla="*/ 349 w 765"/>
                <a:gd name="T53" fmla="*/ 77 h 135"/>
                <a:gd name="T54" fmla="*/ 418 w 765"/>
                <a:gd name="T55" fmla="*/ 76 h 135"/>
                <a:gd name="T56" fmla="*/ 408 w 765"/>
                <a:gd name="T57" fmla="*/ 52 h 135"/>
                <a:gd name="T58" fmla="*/ 384 w 765"/>
                <a:gd name="T59" fmla="*/ 132 h 135"/>
                <a:gd name="T60" fmla="*/ 361 w 765"/>
                <a:gd name="T61" fmla="*/ 33 h 135"/>
                <a:gd name="T62" fmla="*/ 384 w 765"/>
                <a:gd name="T63" fmla="*/ 51 h 135"/>
                <a:gd name="T64" fmla="*/ 414 w 765"/>
                <a:gd name="T65" fmla="*/ 31 h 135"/>
                <a:gd name="T66" fmla="*/ 441 w 765"/>
                <a:gd name="T67" fmla="*/ 132 h 135"/>
                <a:gd name="T68" fmla="*/ 489 w 765"/>
                <a:gd name="T69" fmla="*/ 49 h 135"/>
                <a:gd name="T70" fmla="*/ 505 w 765"/>
                <a:gd name="T71" fmla="*/ 118 h 135"/>
                <a:gd name="T72" fmla="*/ 516 w 765"/>
                <a:gd name="T73" fmla="*/ 133 h 135"/>
                <a:gd name="T74" fmla="*/ 466 w 765"/>
                <a:gd name="T75" fmla="*/ 107 h 135"/>
                <a:gd name="T76" fmla="*/ 447 w 765"/>
                <a:gd name="T77" fmla="*/ 49 h 135"/>
                <a:gd name="T78" fmla="*/ 466 w 765"/>
                <a:gd name="T79" fmla="*/ 33 h 135"/>
                <a:gd name="T80" fmla="*/ 489 w 765"/>
                <a:gd name="T81" fmla="*/ 0 h 135"/>
                <a:gd name="T82" fmla="*/ 519 w 765"/>
                <a:gd name="T83" fmla="*/ 33 h 135"/>
                <a:gd name="T84" fmla="*/ 489 w 765"/>
                <a:gd name="T85" fmla="*/ 49 h 135"/>
                <a:gd name="T86" fmla="*/ 586 w 765"/>
                <a:gd name="T87" fmla="*/ 114 h 135"/>
                <a:gd name="T88" fmla="*/ 556 w 765"/>
                <a:gd name="T89" fmla="*/ 135 h 135"/>
                <a:gd name="T90" fmla="*/ 529 w 765"/>
                <a:gd name="T91" fmla="*/ 33 h 135"/>
                <a:gd name="T92" fmla="*/ 552 w 765"/>
                <a:gd name="T93" fmla="*/ 90 h 135"/>
                <a:gd name="T94" fmla="*/ 563 w 765"/>
                <a:gd name="T95" fmla="*/ 113 h 135"/>
                <a:gd name="T96" fmla="*/ 586 w 765"/>
                <a:gd name="T97" fmla="*/ 33 h 135"/>
                <a:gd name="T98" fmla="*/ 609 w 765"/>
                <a:gd name="T99" fmla="*/ 132 h 135"/>
                <a:gd name="T100" fmla="*/ 647 w 765"/>
                <a:gd name="T101" fmla="*/ 89 h 135"/>
                <a:gd name="T102" fmla="*/ 624 w 765"/>
                <a:gd name="T103" fmla="*/ 132 h 135"/>
                <a:gd name="T104" fmla="*/ 647 w 765"/>
                <a:gd name="T105" fmla="*/ 33 h 135"/>
                <a:gd name="T106" fmla="*/ 648 w 765"/>
                <a:gd name="T107" fmla="*/ 51 h 135"/>
                <a:gd name="T108" fmla="*/ 680 w 765"/>
                <a:gd name="T109" fmla="*/ 55 h 135"/>
                <a:gd name="T110" fmla="*/ 743 w 765"/>
                <a:gd name="T111" fmla="*/ 63 h 135"/>
                <a:gd name="T112" fmla="*/ 726 w 765"/>
                <a:gd name="T113" fmla="*/ 45 h 135"/>
                <a:gd name="T114" fmla="*/ 765 w 765"/>
                <a:gd name="T115" fmla="*/ 77 h 135"/>
                <a:gd name="T116" fmla="*/ 727 w 765"/>
                <a:gd name="T117" fmla="*/ 31 h 135"/>
                <a:gd name="T118" fmla="*/ 735 w 765"/>
                <a:gd name="T119" fmla="*/ 135 h 135"/>
                <a:gd name="T120" fmla="*/ 763 w 765"/>
                <a:gd name="T121" fmla="*/ 115 h 135"/>
                <a:gd name="T122" fmla="*/ 706 w 765"/>
                <a:gd name="T123" fmla="*/ 7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5" h="135">
                  <a:moveTo>
                    <a:pt x="56" y="88"/>
                  </a:moveTo>
                  <a:cubicBezTo>
                    <a:pt x="56" y="101"/>
                    <a:pt x="51" y="118"/>
                    <a:pt x="35" y="118"/>
                  </a:cubicBezTo>
                  <a:cubicBezTo>
                    <a:pt x="28" y="118"/>
                    <a:pt x="23" y="114"/>
                    <a:pt x="23" y="106"/>
                  </a:cubicBezTo>
                  <a:cubicBezTo>
                    <a:pt x="23" y="91"/>
                    <a:pt x="45" y="88"/>
                    <a:pt x="56" y="88"/>
                  </a:cubicBezTo>
                  <a:close/>
                  <a:moveTo>
                    <a:pt x="78" y="132"/>
                  </a:moveTo>
                  <a:cubicBezTo>
                    <a:pt x="78" y="62"/>
                    <a:pt x="78" y="62"/>
                    <a:pt x="78" y="62"/>
                  </a:cubicBezTo>
                  <a:cubicBezTo>
                    <a:pt x="78" y="38"/>
                    <a:pt x="63" y="31"/>
                    <a:pt x="42" y="31"/>
                  </a:cubicBezTo>
                  <a:cubicBezTo>
                    <a:pt x="21" y="31"/>
                    <a:pt x="4" y="39"/>
                    <a:pt x="4" y="62"/>
                  </a:cubicBezTo>
                  <a:cubicBezTo>
                    <a:pt x="27" y="62"/>
                    <a:pt x="27" y="62"/>
                    <a:pt x="27" y="62"/>
                  </a:cubicBezTo>
                  <a:cubicBezTo>
                    <a:pt x="27" y="52"/>
                    <a:pt x="32" y="47"/>
                    <a:pt x="42" y="47"/>
                  </a:cubicBezTo>
                  <a:cubicBezTo>
                    <a:pt x="53" y="47"/>
                    <a:pt x="56" y="55"/>
                    <a:pt x="56" y="65"/>
                  </a:cubicBezTo>
                  <a:cubicBezTo>
                    <a:pt x="56" y="75"/>
                    <a:pt x="56" y="75"/>
                    <a:pt x="56" y="75"/>
                  </a:cubicBezTo>
                  <a:cubicBezTo>
                    <a:pt x="33" y="76"/>
                    <a:pt x="0" y="79"/>
                    <a:pt x="0" y="109"/>
                  </a:cubicBezTo>
                  <a:cubicBezTo>
                    <a:pt x="0" y="125"/>
                    <a:pt x="14" y="135"/>
                    <a:pt x="30" y="135"/>
                  </a:cubicBezTo>
                  <a:cubicBezTo>
                    <a:pt x="41" y="135"/>
                    <a:pt x="51" y="131"/>
                    <a:pt x="56" y="121"/>
                  </a:cubicBezTo>
                  <a:cubicBezTo>
                    <a:pt x="56" y="121"/>
                    <a:pt x="56" y="121"/>
                    <a:pt x="56" y="121"/>
                  </a:cubicBezTo>
                  <a:cubicBezTo>
                    <a:pt x="56" y="132"/>
                    <a:pt x="56" y="132"/>
                    <a:pt x="56" y="132"/>
                  </a:cubicBezTo>
                  <a:lnTo>
                    <a:pt x="78" y="132"/>
                  </a:lnTo>
                  <a:close/>
                  <a:moveTo>
                    <a:pt x="147" y="67"/>
                  </a:moveTo>
                  <a:cubicBezTo>
                    <a:pt x="147" y="57"/>
                    <a:pt x="144" y="47"/>
                    <a:pt x="132" y="47"/>
                  </a:cubicBezTo>
                  <a:cubicBezTo>
                    <a:pt x="117" y="47"/>
                    <a:pt x="113" y="62"/>
                    <a:pt x="113" y="74"/>
                  </a:cubicBezTo>
                  <a:cubicBezTo>
                    <a:pt x="113" y="99"/>
                    <a:pt x="128" y="118"/>
                    <a:pt x="154" y="118"/>
                  </a:cubicBezTo>
                  <a:cubicBezTo>
                    <a:pt x="160" y="118"/>
                    <a:pt x="165" y="118"/>
                    <a:pt x="171" y="116"/>
                  </a:cubicBezTo>
                  <a:cubicBezTo>
                    <a:pt x="171" y="130"/>
                    <a:pt x="171" y="130"/>
                    <a:pt x="171" y="130"/>
                  </a:cubicBezTo>
                  <a:cubicBezTo>
                    <a:pt x="161" y="133"/>
                    <a:pt x="151" y="135"/>
                    <a:pt x="142" y="135"/>
                  </a:cubicBezTo>
                  <a:cubicBezTo>
                    <a:pt x="106" y="135"/>
                    <a:pt x="88" y="113"/>
                    <a:pt x="88" y="78"/>
                  </a:cubicBezTo>
                  <a:cubicBezTo>
                    <a:pt x="88" y="49"/>
                    <a:pt x="104" y="31"/>
                    <a:pt x="134" y="31"/>
                  </a:cubicBezTo>
                  <a:cubicBezTo>
                    <a:pt x="158" y="31"/>
                    <a:pt x="172" y="42"/>
                    <a:pt x="172" y="67"/>
                  </a:cubicBezTo>
                  <a:lnTo>
                    <a:pt x="147" y="67"/>
                  </a:lnTo>
                  <a:close/>
                  <a:moveTo>
                    <a:pt x="236" y="67"/>
                  </a:moveTo>
                  <a:cubicBezTo>
                    <a:pt x="236" y="57"/>
                    <a:pt x="233" y="47"/>
                    <a:pt x="221" y="47"/>
                  </a:cubicBezTo>
                  <a:cubicBezTo>
                    <a:pt x="206" y="47"/>
                    <a:pt x="202" y="62"/>
                    <a:pt x="202" y="74"/>
                  </a:cubicBezTo>
                  <a:cubicBezTo>
                    <a:pt x="202" y="99"/>
                    <a:pt x="217" y="118"/>
                    <a:pt x="243" y="118"/>
                  </a:cubicBezTo>
                  <a:cubicBezTo>
                    <a:pt x="249" y="118"/>
                    <a:pt x="254" y="118"/>
                    <a:pt x="260" y="116"/>
                  </a:cubicBezTo>
                  <a:cubicBezTo>
                    <a:pt x="260" y="130"/>
                    <a:pt x="260" y="130"/>
                    <a:pt x="260" y="130"/>
                  </a:cubicBezTo>
                  <a:cubicBezTo>
                    <a:pt x="250" y="133"/>
                    <a:pt x="241" y="135"/>
                    <a:pt x="231" y="135"/>
                  </a:cubicBezTo>
                  <a:cubicBezTo>
                    <a:pt x="195" y="135"/>
                    <a:pt x="177" y="113"/>
                    <a:pt x="177" y="78"/>
                  </a:cubicBezTo>
                  <a:cubicBezTo>
                    <a:pt x="177" y="49"/>
                    <a:pt x="193" y="31"/>
                    <a:pt x="223" y="31"/>
                  </a:cubicBezTo>
                  <a:cubicBezTo>
                    <a:pt x="247" y="31"/>
                    <a:pt x="261" y="42"/>
                    <a:pt x="261" y="67"/>
                  </a:cubicBezTo>
                  <a:lnTo>
                    <a:pt x="236" y="67"/>
                  </a:lnTo>
                  <a:close/>
                  <a:moveTo>
                    <a:pt x="327" y="63"/>
                  </a:moveTo>
                  <a:cubicBezTo>
                    <a:pt x="291" y="63"/>
                    <a:pt x="291" y="63"/>
                    <a:pt x="291" y="63"/>
                  </a:cubicBezTo>
                  <a:cubicBezTo>
                    <a:pt x="292" y="53"/>
                    <a:pt x="300" y="45"/>
                    <a:pt x="310" y="45"/>
                  </a:cubicBezTo>
                  <a:cubicBezTo>
                    <a:pt x="320" y="45"/>
                    <a:pt x="327" y="52"/>
                    <a:pt x="327" y="63"/>
                  </a:cubicBezTo>
                  <a:close/>
                  <a:moveTo>
                    <a:pt x="349" y="77"/>
                  </a:moveTo>
                  <a:cubicBezTo>
                    <a:pt x="349" y="71"/>
                    <a:pt x="349" y="71"/>
                    <a:pt x="349" y="71"/>
                  </a:cubicBezTo>
                  <a:cubicBezTo>
                    <a:pt x="349" y="47"/>
                    <a:pt x="337" y="31"/>
                    <a:pt x="311" y="31"/>
                  </a:cubicBezTo>
                  <a:cubicBezTo>
                    <a:pt x="282" y="31"/>
                    <a:pt x="269" y="49"/>
                    <a:pt x="269" y="77"/>
                  </a:cubicBezTo>
                  <a:cubicBezTo>
                    <a:pt x="269" y="110"/>
                    <a:pt x="283" y="135"/>
                    <a:pt x="319" y="135"/>
                  </a:cubicBezTo>
                  <a:cubicBezTo>
                    <a:pt x="328" y="135"/>
                    <a:pt x="338" y="134"/>
                    <a:pt x="347" y="131"/>
                  </a:cubicBezTo>
                  <a:cubicBezTo>
                    <a:pt x="347" y="115"/>
                    <a:pt x="347" y="115"/>
                    <a:pt x="347" y="115"/>
                  </a:cubicBezTo>
                  <a:cubicBezTo>
                    <a:pt x="341" y="117"/>
                    <a:pt x="334" y="118"/>
                    <a:pt x="328" y="118"/>
                  </a:cubicBezTo>
                  <a:cubicBezTo>
                    <a:pt x="305" y="118"/>
                    <a:pt x="290" y="98"/>
                    <a:pt x="290" y="77"/>
                  </a:cubicBezTo>
                  <a:lnTo>
                    <a:pt x="349" y="77"/>
                  </a:lnTo>
                  <a:close/>
                  <a:moveTo>
                    <a:pt x="418" y="132"/>
                  </a:moveTo>
                  <a:cubicBezTo>
                    <a:pt x="418" y="76"/>
                    <a:pt x="418" y="76"/>
                    <a:pt x="418" y="76"/>
                  </a:cubicBezTo>
                  <a:cubicBezTo>
                    <a:pt x="418" y="71"/>
                    <a:pt x="418" y="58"/>
                    <a:pt x="414" y="54"/>
                  </a:cubicBezTo>
                  <a:cubicBezTo>
                    <a:pt x="413" y="53"/>
                    <a:pt x="410" y="52"/>
                    <a:pt x="408" y="52"/>
                  </a:cubicBezTo>
                  <a:cubicBezTo>
                    <a:pt x="391" y="52"/>
                    <a:pt x="384" y="76"/>
                    <a:pt x="384" y="89"/>
                  </a:cubicBezTo>
                  <a:cubicBezTo>
                    <a:pt x="384" y="132"/>
                    <a:pt x="384" y="132"/>
                    <a:pt x="384" y="132"/>
                  </a:cubicBezTo>
                  <a:cubicBezTo>
                    <a:pt x="361" y="132"/>
                    <a:pt x="361" y="132"/>
                    <a:pt x="361" y="132"/>
                  </a:cubicBezTo>
                  <a:cubicBezTo>
                    <a:pt x="361" y="33"/>
                    <a:pt x="361" y="33"/>
                    <a:pt x="361" y="33"/>
                  </a:cubicBezTo>
                  <a:cubicBezTo>
                    <a:pt x="384" y="33"/>
                    <a:pt x="384" y="33"/>
                    <a:pt x="384" y="33"/>
                  </a:cubicBezTo>
                  <a:cubicBezTo>
                    <a:pt x="384" y="51"/>
                    <a:pt x="384" y="51"/>
                    <a:pt x="384" y="51"/>
                  </a:cubicBezTo>
                  <a:cubicBezTo>
                    <a:pt x="385" y="51"/>
                    <a:pt x="385" y="51"/>
                    <a:pt x="385" y="51"/>
                  </a:cubicBezTo>
                  <a:cubicBezTo>
                    <a:pt x="390" y="39"/>
                    <a:pt x="400" y="31"/>
                    <a:pt x="414" y="31"/>
                  </a:cubicBezTo>
                  <a:cubicBezTo>
                    <a:pt x="433" y="31"/>
                    <a:pt x="441" y="46"/>
                    <a:pt x="441" y="63"/>
                  </a:cubicBezTo>
                  <a:cubicBezTo>
                    <a:pt x="441" y="132"/>
                    <a:pt x="441" y="132"/>
                    <a:pt x="441" y="132"/>
                  </a:cubicBezTo>
                  <a:lnTo>
                    <a:pt x="418" y="132"/>
                  </a:lnTo>
                  <a:close/>
                  <a:moveTo>
                    <a:pt x="489" y="49"/>
                  </a:moveTo>
                  <a:cubicBezTo>
                    <a:pt x="489" y="96"/>
                    <a:pt x="489" y="96"/>
                    <a:pt x="489" y="96"/>
                  </a:cubicBezTo>
                  <a:cubicBezTo>
                    <a:pt x="489" y="108"/>
                    <a:pt x="491" y="118"/>
                    <a:pt x="505" y="118"/>
                  </a:cubicBezTo>
                  <a:cubicBezTo>
                    <a:pt x="509" y="118"/>
                    <a:pt x="512" y="118"/>
                    <a:pt x="516" y="117"/>
                  </a:cubicBezTo>
                  <a:cubicBezTo>
                    <a:pt x="516" y="133"/>
                    <a:pt x="516" y="133"/>
                    <a:pt x="516" y="133"/>
                  </a:cubicBezTo>
                  <a:cubicBezTo>
                    <a:pt x="510" y="134"/>
                    <a:pt x="503" y="135"/>
                    <a:pt x="497" y="135"/>
                  </a:cubicBezTo>
                  <a:cubicBezTo>
                    <a:pt x="477" y="135"/>
                    <a:pt x="466" y="128"/>
                    <a:pt x="466" y="107"/>
                  </a:cubicBezTo>
                  <a:cubicBezTo>
                    <a:pt x="466" y="49"/>
                    <a:pt x="466" y="49"/>
                    <a:pt x="466" y="49"/>
                  </a:cubicBezTo>
                  <a:cubicBezTo>
                    <a:pt x="447" y="49"/>
                    <a:pt x="447" y="49"/>
                    <a:pt x="447" y="49"/>
                  </a:cubicBezTo>
                  <a:cubicBezTo>
                    <a:pt x="447" y="33"/>
                    <a:pt x="447" y="33"/>
                    <a:pt x="447" y="33"/>
                  </a:cubicBezTo>
                  <a:cubicBezTo>
                    <a:pt x="466" y="33"/>
                    <a:pt x="466" y="33"/>
                    <a:pt x="466" y="33"/>
                  </a:cubicBezTo>
                  <a:cubicBezTo>
                    <a:pt x="466" y="9"/>
                    <a:pt x="466" y="9"/>
                    <a:pt x="466" y="9"/>
                  </a:cubicBezTo>
                  <a:cubicBezTo>
                    <a:pt x="489" y="0"/>
                    <a:pt x="489" y="0"/>
                    <a:pt x="489" y="0"/>
                  </a:cubicBezTo>
                  <a:cubicBezTo>
                    <a:pt x="489" y="33"/>
                    <a:pt x="489" y="33"/>
                    <a:pt x="489" y="33"/>
                  </a:cubicBezTo>
                  <a:cubicBezTo>
                    <a:pt x="519" y="33"/>
                    <a:pt x="519" y="33"/>
                    <a:pt x="519" y="33"/>
                  </a:cubicBezTo>
                  <a:cubicBezTo>
                    <a:pt x="519" y="49"/>
                    <a:pt x="519" y="49"/>
                    <a:pt x="519" y="49"/>
                  </a:cubicBezTo>
                  <a:lnTo>
                    <a:pt x="489" y="49"/>
                  </a:lnTo>
                  <a:close/>
                  <a:moveTo>
                    <a:pt x="586" y="132"/>
                  </a:moveTo>
                  <a:cubicBezTo>
                    <a:pt x="586" y="114"/>
                    <a:pt x="586" y="114"/>
                    <a:pt x="586" y="114"/>
                  </a:cubicBezTo>
                  <a:cubicBezTo>
                    <a:pt x="586" y="114"/>
                    <a:pt x="586" y="114"/>
                    <a:pt x="586" y="114"/>
                  </a:cubicBezTo>
                  <a:cubicBezTo>
                    <a:pt x="580" y="126"/>
                    <a:pt x="570" y="135"/>
                    <a:pt x="556" y="135"/>
                  </a:cubicBezTo>
                  <a:cubicBezTo>
                    <a:pt x="537" y="135"/>
                    <a:pt x="529" y="119"/>
                    <a:pt x="529" y="102"/>
                  </a:cubicBezTo>
                  <a:cubicBezTo>
                    <a:pt x="529" y="33"/>
                    <a:pt x="529" y="33"/>
                    <a:pt x="529" y="33"/>
                  </a:cubicBezTo>
                  <a:cubicBezTo>
                    <a:pt x="552" y="33"/>
                    <a:pt x="552" y="33"/>
                    <a:pt x="552" y="33"/>
                  </a:cubicBezTo>
                  <a:cubicBezTo>
                    <a:pt x="552" y="90"/>
                    <a:pt x="552" y="90"/>
                    <a:pt x="552" y="90"/>
                  </a:cubicBezTo>
                  <a:cubicBezTo>
                    <a:pt x="552" y="95"/>
                    <a:pt x="552" y="107"/>
                    <a:pt x="556" y="111"/>
                  </a:cubicBezTo>
                  <a:cubicBezTo>
                    <a:pt x="558" y="113"/>
                    <a:pt x="560" y="113"/>
                    <a:pt x="563" y="113"/>
                  </a:cubicBezTo>
                  <a:cubicBezTo>
                    <a:pt x="579" y="113"/>
                    <a:pt x="586" y="89"/>
                    <a:pt x="586" y="76"/>
                  </a:cubicBezTo>
                  <a:cubicBezTo>
                    <a:pt x="586" y="33"/>
                    <a:pt x="586" y="33"/>
                    <a:pt x="586" y="33"/>
                  </a:cubicBezTo>
                  <a:cubicBezTo>
                    <a:pt x="609" y="33"/>
                    <a:pt x="609" y="33"/>
                    <a:pt x="609" y="33"/>
                  </a:cubicBezTo>
                  <a:cubicBezTo>
                    <a:pt x="609" y="132"/>
                    <a:pt x="609" y="132"/>
                    <a:pt x="609" y="132"/>
                  </a:cubicBezTo>
                  <a:lnTo>
                    <a:pt x="586" y="132"/>
                  </a:lnTo>
                  <a:close/>
                  <a:moveTo>
                    <a:pt x="647" y="89"/>
                  </a:moveTo>
                  <a:cubicBezTo>
                    <a:pt x="647" y="132"/>
                    <a:pt x="647" y="132"/>
                    <a:pt x="647" y="132"/>
                  </a:cubicBezTo>
                  <a:cubicBezTo>
                    <a:pt x="624" y="132"/>
                    <a:pt x="624" y="132"/>
                    <a:pt x="624" y="132"/>
                  </a:cubicBezTo>
                  <a:cubicBezTo>
                    <a:pt x="624" y="33"/>
                    <a:pt x="624" y="33"/>
                    <a:pt x="624" y="33"/>
                  </a:cubicBezTo>
                  <a:cubicBezTo>
                    <a:pt x="647" y="33"/>
                    <a:pt x="647" y="33"/>
                    <a:pt x="647" y="33"/>
                  </a:cubicBezTo>
                  <a:cubicBezTo>
                    <a:pt x="647" y="51"/>
                    <a:pt x="647" y="51"/>
                    <a:pt x="647" y="51"/>
                  </a:cubicBezTo>
                  <a:cubicBezTo>
                    <a:pt x="648" y="51"/>
                    <a:pt x="648" y="51"/>
                    <a:pt x="648" y="51"/>
                  </a:cubicBezTo>
                  <a:cubicBezTo>
                    <a:pt x="655" y="37"/>
                    <a:pt x="663" y="31"/>
                    <a:pt x="680" y="31"/>
                  </a:cubicBezTo>
                  <a:cubicBezTo>
                    <a:pt x="680" y="55"/>
                    <a:pt x="680" y="55"/>
                    <a:pt x="680" y="55"/>
                  </a:cubicBezTo>
                  <a:cubicBezTo>
                    <a:pt x="656" y="55"/>
                    <a:pt x="647" y="65"/>
                    <a:pt x="647" y="89"/>
                  </a:cubicBezTo>
                  <a:close/>
                  <a:moveTo>
                    <a:pt x="743" y="63"/>
                  </a:moveTo>
                  <a:cubicBezTo>
                    <a:pt x="707" y="63"/>
                    <a:pt x="707" y="63"/>
                    <a:pt x="707" y="63"/>
                  </a:cubicBezTo>
                  <a:cubicBezTo>
                    <a:pt x="708" y="53"/>
                    <a:pt x="715" y="45"/>
                    <a:pt x="726" y="45"/>
                  </a:cubicBezTo>
                  <a:cubicBezTo>
                    <a:pt x="736" y="45"/>
                    <a:pt x="743" y="52"/>
                    <a:pt x="743" y="63"/>
                  </a:cubicBezTo>
                  <a:close/>
                  <a:moveTo>
                    <a:pt x="765" y="77"/>
                  </a:moveTo>
                  <a:cubicBezTo>
                    <a:pt x="765" y="71"/>
                    <a:pt x="765" y="71"/>
                    <a:pt x="765" y="71"/>
                  </a:cubicBezTo>
                  <a:cubicBezTo>
                    <a:pt x="765" y="47"/>
                    <a:pt x="753" y="31"/>
                    <a:pt x="727" y="31"/>
                  </a:cubicBezTo>
                  <a:cubicBezTo>
                    <a:pt x="698" y="31"/>
                    <a:pt x="685" y="49"/>
                    <a:pt x="685" y="77"/>
                  </a:cubicBezTo>
                  <a:cubicBezTo>
                    <a:pt x="685" y="110"/>
                    <a:pt x="699" y="135"/>
                    <a:pt x="735" y="135"/>
                  </a:cubicBezTo>
                  <a:cubicBezTo>
                    <a:pt x="744" y="135"/>
                    <a:pt x="754" y="134"/>
                    <a:pt x="763" y="131"/>
                  </a:cubicBezTo>
                  <a:cubicBezTo>
                    <a:pt x="763" y="115"/>
                    <a:pt x="763" y="115"/>
                    <a:pt x="763" y="115"/>
                  </a:cubicBezTo>
                  <a:cubicBezTo>
                    <a:pt x="757" y="117"/>
                    <a:pt x="750" y="118"/>
                    <a:pt x="744" y="118"/>
                  </a:cubicBezTo>
                  <a:cubicBezTo>
                    <a:pt x="721" y="118"/>
                    <a:pt x="706" y="98"/>
                    <a:pt x="706" y="77"/>
                  </a:cubicBezTo>
                  <a:lnTo>
                    <a:pt x="765" y="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25" name="Freeform 24"/>
            <p:cNvSpPr/>
            <p:nvPr/>
          </p:nvSpPr>
          <p:spPr>
            <a:xfrm>
              <a:off x="1739049" y="420673"/>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Graphik" panose="020B0503030202060203" pitchFamily="34" charset="0"/>
              </a:endParaRPr>
            </a:p>
          </p:txBody>
        </p:sp>
      </p:grpSp>
      <p:grpSp>
        <p:nvGrpSpPr>
          <p:cNvPr id="20" name="Group 10" hidden="1"/>
          <p:cNvGrpSpPr>
            <a:grpSpLocks noChangeAspect="1"/>
          </p:cNvGrpSpPr>
          <p:nvPr userDrawn="1"/>
        </p:nvGrpSpPr>
        <p:grpSpPr bwMode="auto">
          <a:xfrm>
            <a:off x="336907" y="342900"/>
            <a:ext cx="2298344" cy="2346169"/>
            <a:chOff x="1292" y="-440"/>
            <a:chExt cx="5094" cy="5200"/>
          </a:xfrm>
        </p:grpSpPr>
        <p:sp>
          <p:nvSpPr>
            <p:cNvPr id="21" name="Freeform 11"/>
            <p:cNvSpPr>
              <a:spLocks/>
            </p:cNvSpPr>
            <p:nvPr userDrawn="1"/>
          </p:nvSpPr>
          <p:spPr bwMode="auto">
            <a:xfrm>
              <a:off x="1292" y="-440"/>
              <a:ext cx="5094" cy="3130"/>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gradFill flip="none" rotWithShape="1">
              <a:gsLst>
                <a:gs pos="0">
                  <a:schemeClr val="accent1"/>
                </a:gs>
                <a:gs pos="100000">
                  <a:schemeClr val="accent2"/>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22" name="Freeform 12"/>
            <p:cNvSpPr>
              <a:spLocks/>
            </p:cNvSpPr>
            <p:nvPr userDrawn="1"/>
          </p:nvSpPr>
          <p:spPr bwMode="auto">
            <a:xfrm>
              <a:off x="1292" y="1644"/>
              <a:ext cx="5094" cy="3116"/>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chemeClr val="accent2"/>
                </a:gs>
                <a:gs pos="100000">
                  <a:schemeClr val="accent1"/>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Tree>
    <p:extLst>
      <p:ext uri="{BB962C8B-B14F-4D97-AF65-F5344CB8AC3E}">
        <p14:creationId xmlns:p14="http://schemas.microsoft.com/office/powerpoint/2010/main" val="3844482157"/>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D558541-60C9-42A2-8392-FF12533A6B7A}" type="slidenum">
              <a:rPr lang="en-US" smtClean="0"/>
              <a:pPr/>
              <a:t>‹#›</a:t>
            </a:fld>
            <a:endParaRPr lang="en-US" dirty="0"/>
          </a:p>
        </p:txBody>
      </p:sp>
      <p:pic>
        <p:nvPicPr>
          <p:cNvPr id="5" name="Picture 4"/>
          <p:cNvPicPr>
            <a:picLocks noChangeAspect="1"/>
          </p:cNvPicPr>
          <p:nvPr userDrawn="1"/>
        </p:nvPicPr>
        <p:blipFill rotWithShape="1">
          <a:blip r:embed="rId2" cstate="hqprint">
            <a:extLst>
              <a:ext uri="{28A0092B-C50C-407E-A947-70E740481C1C}">
                <a14:useLocalDpi xmlns:a14="http://schemas.microsoft.com/office/drawing/2010/main"/>
              </a:ext>
            </a:extLst>
          </a:blip>
          <a:srcRect l="-2"/>
          <a:stretch/>
        </p:blipFill>
        <p:spPr>
          <a:xfrm>
            <a:off x="-168620" y="1"/>
            <a:ext cx="12055819" cy="6857143"/>
          </a:xfrm>
          <a:prstGeom prst="rect">
            <a:avLst/>
          </a:prstGeom>
        </p:spPr>
      </p:pic>
    </p:spTree>
    <p:extLst>
      <p:ext uri="{BB962C8B-B14F-4D97-AF65-F5344CB8AC3E}">
        <p14:creationId xmlns:p14="http://schemas.microsoft.com/office/powerpoint/2010/main" val="39797461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Divider: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571500"/>
            <a:ext cx="8572500" cy="2971800"/>
          </a:xfrm>
        </p:spPr>
        <p:txBody>
          <a:bodyPr tIns="0" anchor="t" anchorCtr="0">
            <a:noAutofit/>
          </a:bodyPr>
          <a:lstStyle>
            <a:lvl1pPr algn="l">
              <a:lnSpc>
                <a:spcPct val="70000"/>
              </a:lnSpc>
              <a:defRPr sz="8000" spc="-150" baseline="0">
                <a:latin typeface="Graphik Black" panose="020B0A03030202060203" pitchFamily="34" charset="0"/>
              </a:defRPr>
            </a:lvl1pPr>
          </a:lstStyle>
          <a:p>
            <a:r>
              <a:rPr lang="en-US" dirty="0"/>
              <a:t>Click to EDIT TITLE</a:t>
            </a:r>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65000"/>
              </a:lnSpc>
              <a:spcAft>
                <a:spcPts val="600"/>
              </a:spcAft>
              <a:defRPr sz="4400" b="1" spc="-150" baseline="0">
                <a:latin typeface="+mn-lt"/>
              </a:defRPr>
            </a:lvl1pPr>
            <a:lvl2pPr marL="0" indent="0">
              <a:lnSpc>
                <a:spcPct val="100000"/>
              </a:lnSpc>
              <a:spcAft>
                <a:spcPts val="600"/>
              </a:spcAft>
              <a:defRPr sz="4400" b="0" cap="none" baseline="0">
                <a:latin typeface="+mn-lt"/>
              </a:defRPr>
            </a:lvl2pPr>
            <a:lvl3pPr marL="0" indent="0">
              <a:lnSpc>
                <a:spcPct val="100000"/>
              </a:lnSpc>
              <a:spcAft>
                <a:spcPts val="600"/>
              </a:spcAft>
              <a:defRPr sz="28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dirty="0" err="1"/>
              <a:t>fIrst</a:t>
            </a:r>
            <a:r>
              <a:rPr lang="en-US" dirty="0"/>
              <a: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73891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itle Master: Dark">
    <p:bg>
      <p:bgPr>
        <a:gradFill>
          <a:gsLst>
            <a:gs pos="0">
              <a:srgbClr val="000088"/>
            </a:gs>
            <a:gs pos="93000">
              <a:schemeClr val="accent1"/>
            </a:gs>
          </a:gsLst>
          <a:lin ang="1800000" scaled="0"/>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686800" cy="3086100"/>
          </a:xfrm>
        </p:spPr>
        <p:txBody>
          <a:bodyPr tIns="0" anchor="t" anchorCtr="0">
            <a:noAutofit/>
          </a:bodyPr>
          <a:lstStyle>
            <a:lvl1pPr algn="l">
              <a:lnSpc>
                <a:spcPct val="70000"/>
              </a:lnSpc>
              <a:defRPr sz="8000">
                <a:solidFill>
                  <a:schemeClr val="bg1"/>
                </a:solidFill>
              </a:defRPr>
            </a:lvl1pPr>
          </a:lstStyle>
          <a:p>
            <a:r>
              <a:rPr lang="en-US"/>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1588">
              <a:lnSpc>
                <a:spcPct val="70000"/>
              </a:lnSpc>
              <a:defRPr sz="4000" b="0" baseline="0">
                <a:solidFill>
                  <a:schemeClr val="bg1"/>
                </a:solidFill>
                <a:latin typeface="Arial Black" panose="020B0A04020102020204" pitchFamily="34" charset="0"/>
              </a:defRPr>
            </a:lvl1pPr>
            <a:lvl2pPr marL="55561" indent="0">
              <a:lnSpc>
                <a:spcPct val="80000"/>
              </a:lnSpc>
              <a:spcAft>
                <a:spcPts val="0"/>
              </a:spcAft>
              <a:defRPr sz="2400" b="0" cap="all" baseline="0">
                <a:solidFill>
                  <a:schemeClr val="bg1"/>
                </a:solidFill>
                <a:latin typeface="Arial Black" panose="020B0A04020102020204" pitchFamily="34" charset="0"/>
              </a:defRPr>
            </a:lvl2pPr>
            <a:lvl3pPr marL="55561" indent="0">
              <a:lnSpc>
                <a:spcPct val="80000"/>
              </a:lnSpc>
              <a:spcAft>
                <a:spcPts val="0"/>
              </a:spcAft>
              <a:defRPr sz="1800" b="0" cap="all" baseline="0">
                <a:solidFill>
                  <a:schemeClr val="bg1"/>
                </a:solidFill>
                <a:latin typeface="Arial Black" panose="020B0A04020102020204" pitchFamily="34" charset="0"/>
              </a:defRPr>
            </a:lvl3pPr>
            <a:lvl4pPr marL="55561" indent="0">
              <a:lnSpc>
                <a:spcPct val="80000"/>
              </a:lnSpc>
              <a:buNone/>
              <a:defRPr sz="1800" b="0" cap="all" baseline="0">
                <a:solidFill>
                  <a:schemeClr val="bg1"/>
                </a:solidFill>
                <a:latin typeface="Arial Black" panose="020B0A04020102020204" pitchFamily="34" charset="0"/>
              </a:defRPr>
            </a:lvl4pPr>
            <a:lvl5pPr marL="55561" indent="0">
              <a:lnSpc>
                <a:spcPct val="80000"/>
              </a:lnSpc>
              <a:buNone/>
              <a:defRPr sz="1800" b="0" cap="all" baseline="0">
                <a:solidFill>
                  <a:schemeClr val="bg1"/>
                </a:solidFill>
                <a:latin typeface="Arial Black" panose="020B0A04020102020204" pitchFamily="34"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4"/>
          </p:nvPr>
        </p:nvSpPr>
        <p:spPr>
          <a:xfrm>
            <a:off x="9052560" y="266700"/>
            <a:ext cx="2857501" cy="6438900"/>
          </a:xfrm>
        </p:spPr>
        <p:txBody>
          <a:bodyPr/>
          <a:lstStyle>
            <a:lvl1pPr marL="0" indent="0">
              <a:defRPr sz="2800" b="0">
                <a:solidFill>
                  <a:schemeClr val="accent6"/>
                </a:solidFill>
                <a:latin typeface="Arial Black" panose="020B0A04020102020204" pitchFamily="34" charset="0"/>
              </a:defRPr>
            </a:lvl1pPr>
            <a:lvl2pPr marL="0" indent="0">
              <a:spcAft>
                <a:spcPts val="0"/>
              </a:spcAft>
              <a:defRPr sz="2200" b="0">
                <a:solidFill>
                  <a:schemeClr val="bg1"/>
                </a:solidFill>
                <a:latin typeface="Arial" panose="020B0604020202020204" pitchFamily="34" charset="0"/>
                <a:cs typeface="Arial" panose="020B0604020202020204" pitchFamily="34" charset="0"/>
              </a:defRPr>
            </a:lvl2pPr>
            <a:lvl3pPr marL="0" indent="0">
              <a:lnSpc>
                <a:spcPct val="90000"/>
              </a:lnSpc>
              <a:spcAft>
                <a:spcPts val="0"/>
              </a:spcAft>
              <a:buFont typeface="Arial" panose="020B0604020202020204" pitchFamily="34" charset="0"/>
              <a:buNone/>
              <a:defRPr sz="1800" b="0">
                <a:solidFill>
                  <a:schemeClr val="bg1"/>
                </a:solidFill>
                <a:latin typeface="Arial" panose="020B0604020202020204" pitchFamily="34" charset="0"/>
                <a:cs typeface="Arial" panose="020B0604020202020204" pitchFamily="34" charset="0"/>
              </a:defRPr>
            </a:lvl3pPr>
            <a:lvl4pPr marL="0" indent="0">
              <a:lnSpc>
                <a:spcPct val="90000"/>
              </a:lnSpc>
              <a:spcBef>
                <a:spcPts val="1200"/>
              </a:spcBef>
              <a:spcAft>
                <a:spcPts val="0"/>
              </a:spcAft>
              <a:buNone/>
              <a:defRPr sz="1400" b="0">
                <a:solidFill>
                  <a:schemeClr val="bg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bg1"/>
                </a:solidFill>
              </a:defRPr>
            </a:lvl5pPr>
            <a:lvl6pPr marL="344479" indent="-173034">
              <a:buFont typeface="Graphik" panose="020B0503030202060203" pitchFamily="34" charset="0"/>
              <a:buChar char="–"/>
              <a:defRPr sz="1600">
                <a:solidFill>
                  <a:schemeClr val="bg1"/>
                </a:solidFill>
              </a:defRPr>
            </a:lvl6pPr>
            <a:lvl7pPr marL="0" indent="0">
              <a:defRPr sz="1400" b="1">
                <a:solidFill>
                  <a:schemeClr val="bg1"/>
                </a:solidFill>
                <a:latin typeface="+mj-lt"/>
              </a:defRPr>
            </a:lvl7pPr>
            <a:lvl8pPr marL="0" indent="0">
              <a:defRPr sz="1400" baseline="0">
                <a:solidFill>
                  <a:schemeClr val="bg1"/>
                </a:solidFill>
                <a:latin typeface="+mn-lt"/>
              </a:defRPr>
            </a:lvl8pPr>
            <a:lvl9pPr marL="0" indent="0">
              <a:lnSpc>
                <a:spcPct val="100000"/>
              </a:lnSpc>
              <a:spcAft>
                <a:spcPts val="800"/>
              </a:spcAft>
              <a:defRPr sz="1400">
                <a:solidFill>
                  <a:schemeClr val="bg1"/>
                </a:solidFill>
                <a:latin typeface="+mn-lt"/>
              </a:defRPr>
            </a:lvl9pPr>
          </a:lstStyle>
          <a:p>
            <a:pPr lvl="0"/>
            <a:r>
              <a:rPr lang="en-US"/>
              <a:t>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Arial" panose="020B0604020202020204" pitchFamily="34" charset="0"/>
                <a:cs typeface="Arial" panose="020B0604020202020204" pitchFamily="34" charset="0"/>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3682923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11_Cover">
    <p:bg>
      <p:bgPr>
        <a:gradFill>
          <a:gsLst>
            <a:gs pos="0">
              <a:srgbClr val="F1F3F2"/>
            </a:gs>
            <a:gs pos="37000">
              <a:srgbClr val="F7F7F7"/>
            </a:gs>
            <a:gs pos="68500">
              <a:srgbClr val="FAFAFA"/>
            </a:gs>
            <a:gs pos="100000">
              <a:schemeClr val="bg1"/>
            </a:gs>
          </a:gsLst>
          <a:lin ang="1200000" scaled="0"/>
        </a:gra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l="-1" r="-10356"/>
          <a:stretch/>
        </p:blipFill>
        <p:spPr>
          <a:xfrm>
            <a:off x="0" y="-27384"/>
            <a:ext cx="13512824" cy="6885384"/>
          </a:xfrm>
          <a:prstGeom prst="rect">
            <a:avLst/>
          </a:prstGeom>
        </p:spPr>
      </p:pic>
      <p:grpSp>
        <p:nvGrpSpPr>
          <p:cNvPr id="93" name="Master Brand 03 - Outline GTS" hidden="1"/>
          <p:cNvGrpSpPr>
            <a:grpSpLocks noChangeAspect="1"/>
          </p:cNvGrpSpPr>
          <p:nvPr/>
        </p:nvGrpSpPr>
        <p:grpSpPr bwMode="auto">
          <a:xfrm>
            <a:off x="2607278" y="1006057"/>
            <a:ext cx="4774072" cy="4870800"/>
            <a:chOff x="1620" y="-106"/>
            <a:chExt cx="4442" cy="4532"/>
          </a:xfrm>
        </p:grpSpPr>
        <p:sp>
          <p:nvSpPr>
            <p:cNvPr id="94" name="Freeform 5"/>
            <p:cNvSpPr>
              <a:spLocks/>
            </p:cNvSpPr>
            <p:nvPr/>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FFEA00"/>
                </a:gs>
                <a:gs pos="100000">
                  <a:srgbClr val="FFB600"/>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95" name="Freeform 6"/>
            <p:cNvSpPr>
              <a:spLocks/>
            </p:cNvSpPr>
            <p:nvPr/>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00BA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84" name="Master Brand 03 - GRADIENT GTS" hidden="1"/>
          <p:cNvGrpSpPr/>
          <p:nvPr/>
        </p:nvGrpSpPr>
        <p:grpSpPr>
          <a:xfrm>
            <a:off x="2607278" y="1026844"/>
            <a:ext cx="4751149" cy="4850013"/>
            <a:chOff x="336907" y="342900"/>
            <a:chExt cx="2298344" cy="2346169"/>
          </a:xfrm>
        </p:grpSpPr>
        <p:sp>
          <p:nvSpPr>
            <p:cNvPr id="85"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86"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EA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66" name="Master Brand 03 - DIMENSIONAL GTS" hidden="1"/>
          <p:cNvGrpSpPr/>
          <p:nvPr/>
        </p:nvGrpSpPr>
        <p:grpSpPr>
          <a:xfrm>
            <a:off x="2622518" y="1011604"/>
            <a:ext cx="4751149" cy="4850013"/>
            <a:chOff x="336907" y="342900"/>
            <a:chExt cx="2298344" cy="2346169"/>
          </a:xfrm>
        </p:grpSpPr>
        <p:sp>
          <p:nvSpPr>
            <p:cNvPr id="67"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68"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BA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87" name="Master Brand 02 - Outline GTS" hidden="1"/>
          <p:cNvGrpSpPr>
            <a:grpSpLocks noChangeAspect="1"/>
          </p:cNvGrpSpPr>
          <p:nvPr/>
        </p:nvGrpSpPr>
        <p:grpSpPr bwMode="auto">
          <a:xfrm>
            <a:off x="2607278" y="1006057"/>
            <a:ext cx="4774072" cy="4870800"/>
            <a:chOff x="1620" y="-106"/>
            <a:chExt cx="4442" cy="4532"/>
          </a:xfrm>
        </p:grpSpPr>
        <p:sp>
          <p:nvSpPr>
            <p:cNvPr id="88" name="Freeform 5"/>
            <p:cNvSpPr>
              <a:spLocks/>
            </p:cNvSpPr>
            <p:nvPr/>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00F3FF"/>
                </a:gs>
                <a:gs pos="100000">
                  <a:srgbClr val="2800FF"/>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89" name="Freeform 6"/>
            <p:cNvSpPr>
              <a:spLocks/>
            </p:cNvSpPr>
            <p:nvPr/>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00FF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80" name="Master Brand 02 - GRADIENT GTS" hidden="1"/>
          <p:cNvGrpSpPr/>
          <p:nvPr/>
        </p:nvGrpSpPr>
        <p:grpSpPr>
          <a:xfrm>
            <a:off x="2622518" y="1011604"/>
            <a:ext cx="4751149" cy="4850013"/>
            <a:chOff x="336907" y="342900"/>
            <a:chExt cx="2298344" cy="2346169"/>
          </a:xfrm>
        </p:grpSpPr>
        <p:sp>
          <p:nvSpPr>
            <p:cNvPr id="82"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83"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28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57" name="Master Brand 02 - DIMENSIONAL GTS" hidden="1"/>
          <p:cNvGrpSpPr/>
          <p:nvPr/>
        </p:nvGrpSpPr>
        <p:grpSpPr>
          <a:xfrm>
            <a:off x="2622518" y="1011604"/>
            <a:ext cx="4751149" cy="4850013"/>
            <a:chOff x="336907" y="342900"/>
            <a:chExt cx="2298344" cy="2346169"/>
          </a:xfrm>
        </p:grpSpPr>
        <p:sp>
          <p:nvSpPr>
            <p:cNvPr id="58"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59"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FF7D"/>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90" name="Master Brand 01 - Outline GTS" hidden="1"/>
          <p:cNvGrpSpPr>
            <a:grpSpLocks noChangeAspect="1"/>
          </p:cNvGrpSpPr>
          <p:nvPr/>
        </p:nvGrpSpPr>
        <p:grpSpPr bwMode="auto">
          <a:xfrm>
            <a:off x="2607278" y="1006057"/>
            <a:ext cx="4774072" cy="4870800"/>
            <a:chOff x="1620" y="-106"/>
            <a:chExt cx="4442" cy="4532"/>
          </a:xfrm>
        </p:grpSpPr>
        <p:sp>
          <p:nvSpPr>
            <p:cNvPr id="91" name="Freeform 5"/>
            <p:cNvSpPr>
              <a:spLocks/>
            </p:cNvSpPr>
            <p:nvPr/>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FFEA00"/>
                </a:gs>
                <a:gs pos="100000">
                  <a:srgbClr val="FFB600"/>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92" name="Freeform 6"/>
            <p:cNvSpPr>
              <a:spLocks/>
            </p:cNvSpPr>
            <p:nvPr/>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7E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74" name="Master Brand 01 - GRADIENT GTS" hidden="1"/>
          <p:cNvGrpSpPr/>
          <p:nvPr/>
        </p:nvGrpSpPr>
        <p:grpSpPr>
          <a:xfrm>
            <a:off x="2622518" y="1011604"/>
            <a:ext cx="4751149" cy="4850013"/>
            <a:chOff x="336907" y="342900"/>
            <a:chExt cx="2298344" cy="2346169"/>
          </a:xfrm>
        </p:grpSpPr>
        <p:sp>
          <p:nvSpPr>
            <p:cNvPr id="77"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78"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EA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51" name="Master Brand 01 - DIMENSIONAL GTS" hidden="1"/>
          <p:cNvGrpSpPr/>
          <p:nvPr/>
        </p:nvGrpSpPr>
        <p:grpSpPr>
          <a:xfrm>
            <a:off x="2622518" y="1011604"/>
            <a:ext cx="4751149" cy="4850013"/>
            <a:chOff x="336907" y="342900"/>
            <a:chExt cx="2298344" cy="2346169"/>
          </a:xfrm>
        </p:grpSpPr>
        <p:sp>
          <p:nvSpPr>
            <p:cNvPr id="52"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53"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7E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81" name="Consulting - GRADIENT GTS" hidden="1"/>
          <p:cNvSpPr>
            <a:spLocks/>
          </p:cNvSpPr>
          <p:nvPr/>
        </p:nvSpPr>
        <p:spPr bwMode="auto">
          <a:xfrm>
            <a:off x="2623154" y="1012417"/>
            <a:ext cx="4752000" cy="4849200"/>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00F3FF"/>
              </a:gs>
              <a:gs pos="98000">
                <a:srgbClr val="7E00FF"/>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71" name="Consulting - OUTLINED GTS" hidden="1"/>
          <p:cNvSpPr>
            <a:spLocks noEditPoints="1"/>
          </p:cNvSpPr>
          <p:nvPr/>
        </p:nvSpPr>
        <p:spPr bwMode="auto">
          <a:xfrm>
            <a:off x="2606930" y="1003887"/>
            <a:ext cx="4772285" cy="4872243"/>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7E00FF"/>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63" name="Consulting - DIMENSIONAL GTS" hidden="1"/>
          <p:cNvGrpSpPr/>
          <p:nvPr/>
        </p:nvGrpSpPr>
        <p:grpSpPr>
          <a:xfrm>
            <a:off x="2622518" y="1011604"/>
            <a:ext cx="4751149" cy="4850013"/>
            <a:chOff x="336907" y="342900"/>
            <a:chExt cx="2298344" cy="2346169"/>
          </a:xfrm>
        </p:grpSpPr>
        <p:sp>
          <p:nvSpPr>
            <p:cNvPr id="64"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7E00FF"/>
                </a:gs>
                <a:gs pos="100000">
                  <a:srgbClr val="380089"/>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65"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7E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79" name="Digital - GRADIENT GTS" hidden="1"/>
          <p:cNvSpPr>
            <a:spLocks/>
          </p:cNvSpPr>
          <p:nvPr/>
        </p:nvSpPr>
        <p:spPr bwMode="auto">
          <a:xfrm>
            <a:off x="2623154" y="1012417"/>
            <a:ext cx="4752000" cy="4849200"/>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FFB600"/>
              </a:gs>
              <a:gs pos="98000">
                <a:srgbClr val="FFFF00"/>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72" name="Digital - OUTLINED GTS" hidden="1"/>
          <p:cNvSpPr>
            <a:spLocks noEditPoints="1"/>
          </p:cNvSpPr>
          <p:nvPr/>
        </p:nvSpPr>
        <p:spPr bwMode="auto">
          <a:xfrm>
            <a:off x="2606930" y="1003887"/>
            <a:ext cx="4772285" cy="4872243"/>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FFFF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60" name="Digital - DIMENSIONAL GTS" hidden="1"/>
          <p:cNvGrpSpPr/>
          <p:nvPr/>
        </p:nvGrpSpPr>
        <p:grpSpPr>
          <a:xfrm>
            <a:off x="2622518" y="1011604"/>
            <a:ext cx="4751149" cy="4850013"/>
            <a:chOff x="336907" y="342900"/>
            <a:chExt cx="2298344" cy="2346169"/>
          </a:xfrm>
        </p:grpSpPr>
        <p:sp>
          <p:nvSpPr>
            <p:cNvPr id="61"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FF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62"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FF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76" name="Operations - GRADIENT GTS" hidden="1"/>
          <p:cNvSpPr>
            <a:spLocks/>
          </p:cNvSpPr>
          <p:nvPr/>
        </p:nvSpPr>
        <p:spPr bwMode="auto">
          <a:xfrm>
            <a:off x="2623154" y="1012417"/>
            <a:ext cx="4752000" cy="4849200"/>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2800FF"/>
              </a:gs>
              <a:gs pos="98000">
                <a:srgbClr val="00F3FF"/>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70" name="Operations - OUTLINED GTS" hidden="1"/>
          <p:cNvSpPr>
            <a:spLocks noEditPoints="1"/>
          </p:cNvSpPr>
          <p:nvPr/>
        </p:nvSpPr>
        <p:spPr bwMode="auto">
          <a:xfrm>
            <a:off x="2606930" y="1003887"/>
            <a:ext cx="4772285" cy="4872243"/>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00F3FF"/>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54" name="Operations - DIMENSIONAL GTS" hidden="1"/>
          <p:cNvGrpSpPr/>
          <p:nvPr/>
        </p:nvGrpSpPr>
        <p:grpSpPr>
          <a:xfrm>
            <a:off x="2622518" y="1011604"/>
            <a:ext cx="4751149" cy="4850013"/>
            <a:chOff x="336907" y="342900"/>
            <a:chExt cx="2298344" cy="2346169"/>
          </a:xfrm>
        </p:grpSpPr>
        <p:sp>
          <p:nvSpPr>
            <p:cNvPr id="55"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56"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73" name="Strategy - GRADIENT GTS" hidden="1"/>
          <p:cNvSpPr>
            <a:spLocks/>
          </p:cNvSpPr>
          <p:nvPr/>
        </p:nvSpPr>
        <p:spPr bwMode="auto">
          <a:xfrm>
            <a:off x="2623155" y="1011604"/>
            <a:ext cx="4750511" cy="4850013"/>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710012"/>
              </a:gs>
              <a:gs pos="98000">
                <a:srgbClr val="FF0000"/>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69" name="Strategy - OUTLINED GTS" hidden="1"/>
          <p:cNvSpPr>
            <a:spLocks noEditPoints="1"/>
          </p:cNvSpPr>
          <p:nvPr/>
        </p:nvSpPr>
        <p:spPr bwMode="auto">
          <a:xfrm>
            <a:off x="2606930" y="1003887"/>
            <a:ext cx="4772285" cy="4872243"/>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36" name="Strategy - DIMENSIONAL GTS" hidden="1"/>
          <p:cNvGrpSpPr/>
          <p:nvPr/>
        </p:nvGrpSpPr>
        <p:grpSpPr>
          <a:xfrm>
            <a:off x="2622518" y="1011604"/>
            <a:ext cx="4751149" cy="4850013"/>
            <a:chOff x="336907" y="342900"/>
            <a:chExt cx="2298344" cy="2346169"/>
          </a:xfrm>
        </p:grpSpPr>
        <p:sp>
          <p:nvSpPr>
            <p:cNvPr id="37"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0000"/>
                </a:gs>
                <a:gs pos="100000">
                  <a:srgbClr val="710012"/>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38"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75" name="Technology - GRADIENT GTS" hidden="1"/>
          <p:cNvSpPr>
            <a:spLocks/>
          </p:cNvSpPr>
          <p:nvPr/>
        </p:nvSpPr>
        <p:spPr bwMode="auto">
          <a:xfrm>
            <a:off x="2623154" y="1012417"/>
            <a:ext cx="4752000" cy="4849200"/>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00F3FF"/>
              </a:gs>
              <a:gs pos="98000">
                <a:srgbClr val="00FF00"/>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49" name="Technology - OUTLINED GTS" hidden="1"/>
          <p:cNvSpPr>
            <a:spLocks noEditPoints="1"/>
          </p:cNvSpPr>
          <p:nvPr/>
        </p:nvSpPr>
        <p:spPr bwMode="auto">
          <a:xfrm>
            <a:off x="2606930" y="1003887"/>
            <a:ext cx="4772285" cy="4872243"/>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00FF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6" name="Text Placeholder 9"/>
          <p:cNvSpPr>
            <a:spLocks noGrp="1"/>
          </p:cNvSpPr>
          <p:nvPr>
            <p:ph type="body" sz="quarter" idx="12" hasCustomPrompt="1"/>
          </p:nvPr>
        </p:nvSpPr>
        <p:spPr>
          <a:xfrm>
            <a:off x="6766969" y="4344715"/>
            <a:ext cx="3859050" cy="1041195"/>
          </a:xfrm>
        </p:spPr>
        <p:txBody>
          <a:bodyPr anchor="b"/>
          <a:lstStyle>
            <a:lvl1pPr marL="0" indent="0">
              <a:lnSpc>
                <a:spcPct val="80000"/>
              </a:lnSpc>
              <a:buNone/>
              <a:defRPr sz="2000" b="0" i="0" cap="all" baseline="0">
                <a:solidFill>
                  <a:schemeClr val="tx1"/>
                </a:solidFill>
                <a:latin typeface="+mj-lt"/>
              </a:defRPr>
            </a:lvl1pPr>
          </a:lstStyle>
          <a:p>
            <a:pPr lvl="0"/>
            <a:r>
              <a:rPr lang="en-US" dirty="0"/>
              <a:t>SUBTITLE LINE</a:t>
            </a:r>
            <a:br>
              <a:rPr lang="en-US" dirty="0"/>
            </a:br>
            <a:r>
              <a:rPr lang="en-US" dirty="0"/>
              <a:t>SECOND LINE</a:t>
            </a:r>
          </a:p>
        </p:txBody>
      </p:sp>
      <p:sp>
        <p:nvSpPr>
          <p:cNvPr id="8" name="Title 2"/>
          <p:cNvSpPr>
            <a:spLocks noGrp="1"/>
          </p:cNvSpPr>
          <p:nvPr>
            <p:ph type="title" hasCustomPrompt="1"/>
          </p:nvPr>
        </p:nvSpPr>
        <p:spPr>
          <a:xfrm>
            <a:off x="580830" y="1462236"/>
            <a:ext cx="5353246" cy="3948750"/>
          </a:xfrm>
        </p:spPr>
        <p:txBody>
          <a:bodyPr tIns="252000" anchor="ctr"/>
          <a:lstStyle>
            <a:lvl1pPr>
              <a:lnSpc>
                <a:spcPct val="70000"/>
              </a:lnSpc>
              <a:defRPr sz="7200" spc="-150" baseline="0">
                <a:solidFill>
                  <a:schemeClr val="tx1"/>
                </a:solidFill>
              </a:defRPr>
            </a:lvl1pPr>
          </a:lstStyle>
          <a:p>
            <a:r>
              <a:rPr lang="en-US" dirty="0"/>
              <a:t>Click </a:t>
            </a:r>
            <a:br>
              <a:rPr lang="en-US" dirty="0"/>
            </a:br>
            <a:r>
              <a:rPr lang="en-US" dirty="0"/>
              <a:t>to edit Master title</a:t>
            </a:r>
            <a:endParaRPr lang="en-AU" dirty="0"/>
          </a:p>
        </p:txBody>
      </p:sp>
      <p:pic>
        <p:nvPicPr>
          <p:cNvPr id="20" name="Accenture_Technology_WHITE" hidden="1"/>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7756800" y="464712"/>
            <a:ext cx="3855600" cy="618771"/>
          </a:xfrm>
          <a:prstGeom prst="rect">
            <a:avLst/>
          </a:prstGeom>
        </p:spPr>
      </p:pic>
      <p:pic>
        <p:nvPicPr>
          <p:cNvPr id="24" name="Accenture_Strategy_WHITE" hidden="1"/>
          <p:cNvPicPr>
            <a:picLocks noChangeAspect="1"/>
          </p:cNvPicPr>
          <p:nvPr/>
        </p:nvPicPr>
        <p:blipFill>
          <a:blip r:embed="rId4"/>
          <a:stretch>
            <a:fillRect/>
          </a:stretch>
        </p:blipFill>
        <p:spPr>
          <a:xfrm>
            <a:off x="7773000" y="459803"/>
            <a:ext cx="3276000" cy="623063"/>
          </a:xfrm>
          <a:prstGeom prst="rect">
            <a:avLst/>
          </a:prstGeom>
        </p:spPr>
      </p:pic>
      <p:pic>
        <p:nvPicPr>
          <p:cNvPr id="32" name="Accenture_Strategy_BLACK" hidden="1"/>
          <p:cNvPicPr>
            <a:picLocks noChangeAspect="1"/>
          </p:cNvPicPr>
          <p:nvPr/>
        </p:nvPicPr>
        <p:blipFill>
          <a:blip r:embed="rId5"/>
          <a:stretch>
            <a:fillRect/>
          </a:stretch>
        </p:blipFill>
        <p:spPr>
          <a:xfrm>
            <a:off x="7772739" y="459803"/>
            <a:ext cx="3276261" cy="623113"/>
          </a:xfrm>
          <a:prstGeom prst="rect">
            <a:avLst/>
          </a:prstGeom>
        </p:spPr>
      </p:pic>
      <p:pic>
        <p:nvPicPr>
          <p:cNvPr id="23" name="Accenture_Operations_WHITE" hidden="1"/>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7773225" y="476724"/>
            <a:ext cx="3704400" cy="613912"/>
          </a:xfrm>
          <a:prstGeom prst="rect">
            <a:avLst/>
          </a:prstGeom>
        </p:spPr>
      </p:pic>
      <p:pic>
        <p:nvPicPr>
          <p:cNvPr id="31" name="Accenture_Operations_BLACK" hidden="1"/>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7772739" y="476724"/>
            <a:ext cx="3704886" cy="613992"/>
          </a:xfrm>
          <a:prstGeom prst="rect">
            <a:avLst/>
          </a:prstGeom>
        </p:spPr>
      </p:pic>
      <p:pic>
        <p:nvPicPr>
          <p:cNvPr id="26" name="Accenture_Mobility_WHITE" hidden="1"/>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7754100" y="651110"/>
            <a:ext cx="3866400" cy="684773"/>
          </a:xfrm>
          <a:prstGeom prst="rect">
            <a:avLst/>
          </a:prstGeom>
        </p:spPr>
      </p:pic>
      <p:pic>
        <p:nvPicPr>
          <p:cNvPr id="34" name="Accenture_Mobility_BLACK" hidden="1"/>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7753350" y="651110"/>
            <a:ext cx="3867150" cy="684905"/>
          </a:xfrm>
          <a:prstGeom prst="rect">
            <a:avLst/>
          </a:prstGeom>
        </p:spPr>
      </p:pic>
      <p:pic>
        <p:nvPicPr>
          <p:cNvPr id="28" name="Accenture_Interactive_WHITE" hidden="1"/>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7754100" y="657225"/>
            <a:ext cx="3866400" cy="683539"/>
          </a:xfrm>
          <a:prstGeom prst="rect">
            <a:avLst/>
          </a:prstGeom>
        </p:spPr>
      </p:pic>
      <p:pic>
        <p:nvPicPr>
          <p:cNvPr id="42" name="Accenture_Interactive_BLACK" hidden="1"/>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7754100" y="657225"/>
            <a:ext cx="3866400" cy="683539"/>
          </a:xfrm>
          <a:prstGeom prst="rect">
            <a:avLst/>
          </a:prstGeom>
        </p:spPr>
      </p:pic>
      <p:pic>
        <p:nvPicPr>
          <p:cNvPr id="25" name="Accenture_Analytics_WHITE" hidden="1"/>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7753349" y="658010"/>
            <a:ext cx="3866400" cy="692114"/>
          </a:xfrm>
          <a:prstGeom prst="rect">
            <a:avLst/>
          </a:prstGeom>
        </p:spPr>
      </p:pic>
      <p:pic>
        <p:nvPicPr>
          <p:cNvPr id="33" name="Accenture_Analytics_BLACK" hidden="1"/>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7753349" y="658010"/>
            <a:ext cx="3867151" cy="692249"/>
          </a:xfrm>
          <a:prstGeom prst="rect">
            <a:avLst/>
          </a:prstGeom>
        </p:spPr>
      </p:pic>
      <p:pic>
        <p:nvPicPr>
          <p:cNvPr id="27" name="Accenture_Digital_WHITE" hidden="1"/>
          <p:cNvPicPr>
            <a:picLocks noChangeAspect="1"/>
          </p:cNvPicPr>
          <p:nvPr/>
        </p:nvPicPr>
        <p:blipFill>
          <a:blip r:embed="rId14"/>
          <a:stretch>
            <a:fillRect/>
          </a:stretch>
        </p:blipFill>
        <p:spPr>
          <a:xfrm>
            <a:off x="7756425" y="467886"/>
            <a:ext cx="2959200" cy="635308"/>
          </a:xfrm>
          <a:prstGeom prst="rect">
            <a:avLst/>
          </a:prstGeom>
        </p:spPr>
      </p:pic>
      <p:pic>
        <p:nvPicPr>
          <p:cNvPr id="35" name="Accenture_Digital_BLACK" hidden="1"/>
          <p:cNvPicPr>
            <a:picLocks noChangeAspect="1"/>
          </p:cNvPicPr>
          <p:nvPr/>
        </p:nvPicPr>
        <p:blipFill>
          <a:blip r:embed="rId15"/>
          <a:stretch>
            <a:fillRect/>
          </a:stretch>
        </p:blipFill>
        <p:spPr>
          <a:xfrm>
            <a:off x="7756072" y="467886"/>
            <a:ext cx="2959553" cy="635385"/>
          </a:xfrm>
          <a:prstGeom prst="rect">
            <a:avLst/>
          </a:prstGeom>
        </p:spPr>
      </p:pic>
      <p:pic>
        <p:nvPicPr>
          <p:cNvPr id="22" name="Accenture_Consulting_WHITE" hidden="1"/>
          <p:cNvPicPr>
            <a:picLocks noChangeAspect="1"/>
          </p:cNvPicPr>
          <p:nvPr/>
        </p:nvPicPr>
        <p:blipFill>
          <a:blip r:embed="rId16"/>
          <a:stretch>
            <a:fillRect/>
          </a:stretch>
        </p:blipFill>
        <p:spPr>
          <a:xfrm>
            <a:off x="7755225" y="464711"/>
            <a:ext cx="3722400" cy="633721"/>
          </a:xfrm>
          <a:prstGeom prst="rect">
            <a:avLst/>
          </a:prstGeom>
        </p:spPr>
      </p:pic>
      <p:pic>
        <p:nvPicPr>
          <p:cNvPr id="30" name="Accenture_Consulting_BLACK" hidden="1"/>
          <p:cNvPicPr>
            <a:picLocks noChangeAspect="1"/>
          </p:cNvPicPr>
          <p:nvPr/>
        </p:nvPicPr>
        <p:blipFill>
          <a:blip r:embed="rId17"/>
          <a:stretch>
            <a:fillRect/>
          </a:stretch>
        </p:blipFill>
        <p:spPr>
          <a:xfrm>
            <a:off x="7756071" y="464711"/>
            <a:ext cx="3721554" cy="633578"/>
          </a:xfrm>
          <a:prstGeom prst="rect">
            <a:avLst/>
          </a:prstGeom>
        </p:spPr>
      </p:pic>
      <p:grpSp>
        <p:nvGrpSpPr>
          <p:cNvPr id="39" name="Accenture_MasterWHITE" hidden="1"/>
          <p:cNvGrpSpPr/>
          <p:nvPr/>
        </p:nvGrpSpPr>
        <p:grpSpPr>
          <a:xfrm>
            <a:off x="7782263" y="470921"/>
            <a:ext cx="1828462" cy="530297"/>
            <a:chOff x="457202" y="420673"/>
            <a:chExt cx="2182661" cy="633434"/>
          </a:xfrm>
        </p:grpSpPr>
        <p:sp>
          <p:nvSpPr>
            <p:cNvPr id="40" name="Freeform 6"/>
            <p:cNvSpPr>
              <a:spLocks noEditPoints="1"/>
            </p:cNvSpPr>
            <p:nvPr/>
          </p:nvSpPr>
          <p:spPr bwMode="auto">
            <a:xfrm>
              <a:off x="457202" y="668790"/>
              <a:ext cx="2182661" cy="385317"/>
            </a:xfrm>
            <a:custGeom>
              <a:avLst/>
              <a:gdLst>
                <a:gd name="T0" fmla="*/ 35 w 765"/>
                <a:gd name="T1" fmla="*/ 118 h 135"/>
                <a:gd name="T2" fmla="*/ 56 w 765"/>
                <a:gd name="T3" fmla="*/ 88 h 135"/>
                <a:gd name="T4" fmla="*/ 78 w 765"/>
                <a:gd name="T5" fmla="*/ 62 h 135"/>
                <a:gd name="T6" fmla="*/ 4 w 765"/>
                <a:gd name="T7" fmla="*/ 62 h 135"/>
                <a:gd name="T8" fmla="*/ 42 w 765"/>
                <a:gd name="T9" fmla="*/ 47 h 135"/>
                <a:gd name="T10" fmla="*/ 56 w 765"/>
                <a:gd name="T11" fmla="*/ 75 h 135"/>
                <a:gd name="T12" fmla="*/ 30 w 765"/>
                <a:gd name="T13" fmla="*/ 135 h 135"/>
                <a:gd name="T14" fmla="*/ 56 w 765"/>
                <a:gd name="T15" fmla="*/ 121 h 135"/>
                <a:gd name="T16" fmla="*/ 78 w 765"/>
                <a:gd name="T17" fmla="*/ 132 h 135"/>
                <a:gd name="T18" fmla="*/ 132 w 765"/>
                <a:gd name="T19" fmla="*/ 47 h 135"/>
                <a:gd name="T20" fmla="*/ 154 w 765"/>
                <a:gd name="T21" fmla="*/ 118 h 135"/>
                <a:gd name="T22" fmla="*/ 171 w 765"/>
                <a:gd name="T23" fmla="*/ 130 h 135"/>
                <a:gd name="T24" fmla="*/ 88 w 765"/>
                <a:gd name="T25" fmla="*/ 78 h 135"/>
                <a:gd name="T26" fmla="*/ 172 w 765"/>
                <a:gd name="T27" fmla="*/ 67 h 135"/>
                <a:gd name="T28" fmla="*/ 236 w 765"/>
                <a:gd name="T29" fmla="*/ 67 h 135"/>
                <a:gd name="T30" fmla="*/ 202 w 765"/>
                <a:gd name="T31" fmla="*/ 74 h 135"/>
                <a:gd name="T32" fmla="*/ 260 w 765"/>
                <a:gd name="T33" fmla="*/ 116 h 135"/>
                <a:gd name="T34" fmla="*/ 231 w 765"/>
                <a:gd name="T35" fmla="*/ 135 h 135"/>
                <a:gd name="T36" fmla="*/ 223 w 765"/>
                <a:gd name="T37" fmla="*/ 31 h 135"/>
                <a:gd name="T38" fmla="*/ 236 w 765"/>
                <a:gd name="T39" fmla="*/ 67 h 135"/>
                <a:gd name="T40" fmla="*/ 291 w 765"/>
                <a:gd name="T41" fmla="*/ 63 h 135"/>
                <a:gd name="T42" fmla="*/ 327 w 765"/>
                <a:gd name="T43" fmla="*/ 63 h 135"/>
                <a:gd name="T44" fmla="*/ 349 w 765"/>
                <a:gd name="T45" fmla="*/ 71 h 135"/>
                <a:gd name="T46" fmla="*/ 269 w 765"/>
                <a:gd name="T47" fmla="*/ 77 h 135"/>
                <a:gd name="T48" fmla="*/ 347 w 765"/>
                <a:gd name="T49" fmla="*/ 131 h 135"/>
                <a:gd name="T50" fmla="*/ 328 w 765"/>
                <a:gd name="T51" fmla="*/ 118 h 135"/>
                <a:gd name="T52" fmla="*/ 349 w 765"/>
                <a:gd name="T53" fmla="*/ 77 h 135"/>
                <a:gd name="T54" fmla="*/ 418 w 765"/>
                <a:gd name="T55" fmla="*/ 76 h 135"/>
                <a:gd name="T56" fmla="*/ 408 w 765"/>
                <a:gd name="T57" fmla="*/ 52 h 135"/>
                <a:gd name="T58" fmla="*/ 384 w 765"/>
                <a:gd name="T59" fmla="*/ 132 h 135"/>
                <a:gd name="T60" fmla="*/ 361 w 765"/>
                <a:gd name="T61" fmla="*/ 33 h 135"/>
                <a:gd name="T62" fmla="*/ 384 w 765"/>
                <a:gd name="T63" fmla="*/ 51 h 135"/>
                <a:gd name="T64" fmla="*/ 414 w 765"/>
                <a:gd name="T65" fmla="*/ 31 h 135"/>
                <a:gd name="T66" fmla="*/ 441 w 765"/>
                <a:gd name="T67" fmla="*/ 132 h 135"/>
                <a:gd name="T68" fmla="*/ 489 w 765"/>
                <a:gd name="T69" fmla="*/ 49 h 135"/>
                <a:gd name="T70" fmla="*/ 505 w 765"/>
                <a:gd name="T71" fmla="*/ 118 h 135"/>
                <a:gd name="T72" fmla="*/ 516 w 765"/>
                <a:gd name="T73" fmla="*/ 133 h 135"/>
                <a:gd name="T74" fmla="*/ 466 w 765"/>
                <a:gd name="T75" fmla="*/ 107 h 135"/>
                <a:gd name="T76" fmla="*/ 447 w 765"/>
                <a:gd name="T77" fmla="*/ 49 h 135"/>
                <a:gd name="T78" fmla="*/ 466 w 765"/>
                <a:gd name="T79" fmla="*/ 33 h 135"/>
                <a:gd name="T80" fmla="*/ 489 w 765"/>
                <a:gd name="T81" fmla="*/ 0 h 135"/>
                <a:gd name="T82" fmla="*/ 519 w 765"/>
                <a:gd name="T83" fmla="*/ 33 h 135"/>
                <a:gd name="T84" fmla="*/ 489 w 765"/>
                <a:gd name="T85" fmla="*/ 49 h 135"/>
                <a:gd name="T86" fmla="*/ 586 w 765"/>
                <a:gd name="T87" fmla="*/ 114 h 135"/>
                <a:gd name="T88" fmla="*/ 556 w 765"/>
                <a:gd name="T89" fmla="*/ 135 h 135"/>
                <a:gd name="T90" fmla="*/ 529 w 765"/>
                <a:gd name="T91" fmla="*/ 33 h 135"/>
                <a:gd name="T92" fmla="*/ 552 w 765"/>
                <a:gd name="T93" fmla="*/ 90 h 135"/>
                <a:gd name="T94" fmla="*/ 563 w 765"/>
                <a:gd name="T95" fmla="*/ 113 h 135"/>
                <a:gd name="T96" fmla="*/ 586 w 765"/>
                <a:gd name="T97" fmla="*/ 33 h 135"/>
                <a:gd name="T98" fmla="*/ 609 w 765"/>
                <a:gd name="T99" fmla="*/ 132 h 135"/>
                <a:gd name="T100" fmla="*/ 647 w 765"/>
                <a:gd name="T101" fmla="*/ 89 h 135"/>
                <a:gd name="T102" fmla="*/ 624 w 765"/>
                <a:gd name="T103" fmla="*/ 132 h 135"/>
                <a:gd name="T104" fmla="*/ 647 w 765"/>
                <a:gd name="T105" fmla="*/ 33 h 135"/>
                <a:gd name="T106" fmla="*/ 648 w 765"/>
                <a:gd name="T107" fmla="*/ 51 h 135"/>
                <a:gd name="T108" fmla="*/ 680 w 765"/>
                <a:gd name="T109" fmla="*/ 55 h 135"/>
                <a:gd name="T110" fmla="*/ 743 w 765"/>
                <a:gd name="T111" fmla="*/ 63 h 135"/>
                <a:gd name="T112" fmla="*/ 726 w 765"/>
                <a:gd name="T113" fmla="*/ 45 h 135"/>
                <a:gd name="T114" fmla="*/ 765 w 765"/>
                <a:gd name="T115" fmla="*/ 77 h 135"/>
                <a:gd name="T116" fmla="*/ 727 w 765"/>
                <a:gd name="T117" fmla="*/ 31 h 135"/>
                <a:gd name="T118" fmla="*/ 735 w 765"/>
                <a:gd name="T119" fmla="*/ 135 h 135"/>
                <a:gd name="T120" fmla="*/ 763 w 765"/>
                <a:gd name="T121" fmla="*/ 115 h 135"/>
                <a:gd name="T122" fmla="*/ 706 w 765"/>
                <a:gd name="T123" fmla="*/ 7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5" h="135">
                  <a:moveTo>
                    <a:pt x="56" y="88"/>
                  </a:moveTo>
                  <a:cubicBezTo>
                    <a:pt x="56" y="101"/>
                    <a:pt x="51" y="118"/>
                    <a:pt x="35" y="118"/>
                  </a:cubicBezTo>
                  <a:cubicBezTo>
                    <a:pt x="28" y="118"/>
                    <a:pt x="23" y="114"/>
                    <a:pt x="23" y="106"/>
                  </a:cubicBezTo>
                  <a:cubicBezTo>
                    <a:pt x="23" y="91"/>
                    <a:pt x="45" y="88"/>
                    <a:pt x="56" y="88"/>
                  </a:cubicBezTo>
                  <a:close/>
                  <a:moveTo>
                    <a:pt x="78" y="132"/>
                  </a:moveTo>
                  <a:cubicBezTo>
                    <a:pt x="78" y="62"/>
                    <a:pt x="78" y="62"/>
                    <a:pt x="78" y="62"/>
                  </a:cubicBezTo>
                  <a:cubicBezTo>
                    <a:pt x="78" y="38"/>
                    <a:pt x="63" y="31"/>
                    <a:pt x="42" y="31"/>
                  </a:cubicBezTo>
                  <a:cubicBezTo>
                    <a:pt x="21" y="31"/>
                    <a:pt x="4" y="39"/>
                    <a:pt x="4" y="62"/>
                  </a:cubicBezTo>
                  <a:cubicBezTo>
                    <a:pt x="27" y="62"/>
                    <a:pt x="27" y="62"/>
                    <a:pt x="27" y="62"/>
                  </a:cubicBezTo>
                  <a:cubicBezTo>
                    <a:pt x="27" y="52"/>
                    <a:pt x="32" y="47"/>
                    <a:pt x="42" y="47"/>
                  </a:cubicBezTo>
                  <a:cubicBezTo>
                    <a:pt x="53" y="47"/>
                    <a:pt x="56" y="55"/>
                    <a:pt x="56" y="65"/>
                  </a:cubicBezTo>
                  <a:cubicBezTo>
                    <a:pt x="56" y="75"/>
                    <a:pt x="56" y="75"/>
                    <a:pt x="56" y="75"/>
                  </a:cubicBezTo>
                  <a:cubicBezTo>
                    <a:pt x="33" y="76"/>
                    <a:pt x="0" y="79"/>
                    <a:pt x="0" y="109"/>
                  </a:cubicBezTo>
                  <a:cubicBezTo>
                    <a:pt x="0" y="125"/>
                    <a:pt x="14" y="135"/>
                    <a:pt x="30" y="135"/>
                  </a:cubicBezTo>
                  <a:cubicBezTo>
                    <a:pt x="41" y="135"/>
                    <a:pt x="51" y="131"/>
                    <a:pt x="56" y="121"/>
                  </a:cubicBezTo>
                  <a:cubicBezTo>
                    <a:pt x="56" y="121"/>
                    <a:pt x="56" y="121"/>
                    <a:pt x="56" y="121"/>
                  </a:cubicBezTo>
                  <a:cubicBezTo>
                    <a:pt x="56" y="132"/>
                    <a:pt x="56" y="132"/>
                    <a:pt x="56" y="132"/>
                  </a:cubicBezTo>
                  <a:lnTo>
                    <a:pt x="78" y="132"/>
                  </a:lnTo>
                  <a:close/>
                  <a:moveTo>
                    <a:pt x="147" y="67"/>
                  </a:moveTo>
                  <a:cubicBezTo>
                    <a:pt x="147" y="57"/>
                    <a:pt x="144" y="47"/>
                    <a:pt x="132" y="47"/>
                  </a:cubicBezTo>
                  <a:cubicBezTo>
                    <a:pt x="117" y="47"/>
                    <a:pt x="113" y="62"/>
                    <a:pt x="113" y="74"/>
                  </a:cubicBezTo>
                  <a:cubicBezTo>
                    <a:pt x="113" y="99"/>
                    <a:pt x="128" y="118"/>
                    <a:pt x="154" y="118"/>
                  </a:cubicBezTo>
                  <a:cubicBezTo>
                    <a:pt x="160" y="118"/>
                    <a:pt x="165" y="118"/>
                    <a:pt x="171" y="116"/>
                  </a:cubicBezTo>
                  <a:cubicBezTo>
                    <a:pt x="171" y="130"/>
                    <a:pt x="171" y="130"/>
                    <a:pt x="171" y="130"/>
                  </a:cubicBezTo>
                  <a:cubicBezTo>
                    <a:pt x="161" y="133"/>
                    <a:pt x="151" y="135"/>
                    <a:pt x="142" y="135"/>
                  </a:cubicBezTo>
                  <a:cubicBezTo>
                    <a:pt x="106" y="135"/>
                    <a:pt x="88" y="113"/>
                    <a:pt x="88" y="78"/>
                  </a:cubicBezTo>
                  <a:cubicBezTo>
                    <a:pt x="88" y="49"/>
                    <a:pt x="104" y="31"/>
                    <a:pt x="134" y="31"/>
                  </a:cubicBezTo>
                  <a:cubicBezTo>
                    <a:pt x="158" y="31"/>
                    <a:pt x="172" y="42"/>
                    <a:pt x="172" y="67"/>
                  </a:cubicBezTo>
                  <a:lnTo>
                    <a:pt x="147" y="67"/>
                  </a:lnTo>
                  <a:close/>
                  <a:moveTo>
                    <a:pt x="236" y="67"/>
                  </a:moveTo>
                  <a:cubicBezTo>
                    <a:pt x="236" y="57"/>
                    <a:pt x="233" y="47"/>
                    <a:pt x="221" y="47"/>
                  </a:cubicBezTo>
                  <a:cubicBezTo>
                    <a:pt x="206" y="47"/>
                    <a:pt x="202" y="62"/>
                    <a:pt x="202" y="74"/>
                  </a:cubicBezTo>
                  <a:cubicBezTo>
                    <a:pt x="202" y="99"/>
                    <a:pt x="217" y="118"/>
                    <a:pt x="243" y="118"/>
                  </a:cubicBezTo>
                  <a:cubicBezTo>
                    <a:pt x="249" y="118"/>
                    <a:pt x="254" y="118"/>
                    <a:pt x="260" y="116"/>
                  </a:cubicBezTo>
                  <a:cubicBezTo>
                    <a:pt x="260" y="130"/>
                    <a:pt x="260" y="130"/>
                    <a:pt x="260" y="130"/>
                  </a:cubicBezTo>
                  <a:cubicBezTo>
                    <a:pt x="250" y="133"/>
                    <a:pt x="241" y="135"/>
                    <a:pt x="231" y="135"/>
                  </a:cubicBezTo>
                  <a:cubicBezTo>
                    <a:pt x="195" y="135"/>
                    <a:pt x="177" y="113"/>
                    <a:pt x="177" y="78"/>
                  </a:cubicBezTo>
                  <a:cubicBezTo>
                    <a:pt x="177" y="49"/>
                    <a:pt x="193" y="31"/>
                    <a:pt x="223" y="31"/>
                  </a:cubicBezTo>
                  <a:cubicBezTo>
                    <a:pt x="247" y="31"/>
                    <a:pt x="261" y="42"/>
                    <a:pt x="261" y="67"/>
                  </a:cubicBezTo>
                  <a:lnTo>
                    <a:pt x="236" y="67"/>
                  </a:lnTo>
                  <a:close/>
                  <a:moveTo>
                    <a:pt x="327" y="63"/>
                  </a:moveTo>
                  <a:cubicBezTo>
                    <a:pt x="291" y="63"/>
                    <a:pt x="291" y="63"/>
                    <a:pt x="291" y="63"/>
                  </a:cubicBezTo>
                  <a:cubicBezTo>
                    <a:pt x="292" y="53"/>
                    <a:pt x="300" y="45"/>
                    <a:pt x="310" y="45"/>
                  </a:cubicBezTo>
                  <a:cubicBezTo>
                    <a:pt x="320" y="45"/>
                    <a:pt x="327" y="52"/>
                    <a:pt x="327" y="63"/>
                  </a:cubicBezTo>
                  <a:close/>
                  <a:moveTo>
                    <a:pt x="349" y="77"/>
                  </a:moveTo>
                  <a:cubicBezTo>
                    <a:pt x="349" y="71"/>
                    <a:pt x="349" y="71"/>
                    <a:pt x="349" y="71"/>
                  </a:cubicBezTo>
                  <a:cubicBezTo>
                    <a:pt x="349" y="47"/>
                    <a:pt x="337" y="31"/>
                    <a:pt x="311" y="31"/>
                  </a:cubicBezTo>
                  <a:cubicBezTo>
                    <a:pt x="282" y="31"/>
                    <a:pt x="269" y="49"/>
                    <a:pt x="269" y="77"/>
                  </a:cubicBezTo>
                  <a:cubicBezTo>
                    <a:pt x="269" y="110"/>
                    <a:pt x="283" y="135"/>
                    <a:pt x="319" y="135"/>
                  </a:cubicBezTo>
                  <a:cubicBezTo>
                    <a:pt x="328" y="135"/>
                    <a:pt x="338" y="134"/>
                    <a:pt x="347" y="131"/>
                  </a:cubicBezTo>
                  <a:cubicBezTo>
                    <a:pt x="347" y="115"/>
                    <a:pt x="347" y="115"/>
                    <a:pt x="347" y="115"/>
                  </a:cubicBezTo>
                  <a:cubicBezTo>
                    <a:pt x="341" y="117"/>
                    <a:pt x="334" y="118"/>
                    <a:pt x="328" y="118"/>
                  </a:cubicBezTo>
                  <a:cubicBezTo>
                    <a:pt x="305" y="118"/>
                    <a:pt x="290" y="98"/>
                    <a:pt x="290" y="77"/>
                  </a:cubicBezTo>
                  <a:lnTo>
                    <a:pt x="349" y="77"/>
                  </a:lnTo>
                  <a:close/>
                  <a:moveTo>
                    <a:pt x="418" y="132"/>
                  </a:moveTo>
                  <a:cubicBezTo>
                    <a:pt x="418" y="76"/>
                    <a:pt x="418" y="76"/>
                    <a:pt x="418" y="76"/>
                  </a:cubicBezTo>
                  <a:cubicBezTo>
                    <a:pt x="418" y="71"/>
                    <a:pt x="418" y="58"/>
                    <a:pt x="414" y="54"/>
                  </a:cubicBezTo>
                  <a:cubicBezTo>
                    <a:pt x="413" y="53"/>
                    <a:pt x="410" y="52"/>
                    <a:pt x="408" y="52"/>
                  </a:cubicBezTo>
                  <a:cubicBezTo>
                    <a:pt x="391" y="52"/>
                    <a:pt x="384" y="76"/>
                    <a:pt x="384" y="89"/>
                  </a:cubicBezTo>
                  <a:cubicBezTo>
                    <a:pt x="384" y="132"/>
                    <a:pt x="384" y="132"/>
                    <a:pt x="384" y="132"/>
                  </a:cubicBezTo>
                  <a:cubicBezTo>
                    <a:pt x="361" y="132"/>
                    <a:pt x="361" y="132"/>
                    <a:pt x="361" y="132"/>
                  </a:cubicBezTo>
                  <a:cubicBezTo>
                    <a:pt x="361" y="33"/>
                    <a:pt x="361" y="33"/>
                    <a:pt x="361" y="33"/>
                  </a:cubicBezTo>
                  <a:cubicBezTo>
                    <a:pt x="384" y="33"/>
                    <a:pt x="384" y="33"/>
                    <a:pt x="384" y="33"/>
                  </a:cubicBezTo>
                  <a:cubicBezTo>
                    <a:pt x="384" y="51"/>
                    <a:pt x="384" y="51"/>
                    <a:pt x="384" y="51"/>
                  </a:cubicBezTo>
                  <a:cubicBezTo>
                    <a:pt x="385" y="51"/>
                    <a:pt x="385" y="51"/>
                    <a:pt x="385" y="51"/>
                  </a:cubicBezTo>
                  <a:cubicBezTo>
                    <a:pt x="390" y="39"/>
                    <a:pt x="400" y="31"/>
                    <a:pt x="414" y="31"/>
                  </a:cubicBezTo>
                  <a:cubicBezTo>
                    <a:pt x="433" y="31"/>
                    <a:pt x="441" y="46"/>
                    <a:pt x="441" y="63"/>
                  </a:cubicBezTo>
                  <a:cubicBezTo>
                    <a:pt x="441" y="132"/>
                    <a:pt x="441" y="132"/>
                    <a:pt x="441" y="132"/>
                  </a:cubicBezTo>
                  <a:lnTo>
                    <a:pt x="418" y="132"/>
                  </a:lnTo>
                  <a:close/>
                  <a:moveTo>
                    <a:pt x="489" y="49"/>
                  </a:moveTo>
                  <a:cubicBezTo>
                    <a:pt x="489" y="96"/>
                    <a:pt x="489" y="96"/>
                    <a:pt x="489" y="96"/>
                  </a:cubicBezTo>
                  <a:cubicBezTo>
                    <a:pt x="489" y="108"/>
                    <a:pt x="491" y="118"/>
                    <a:pt x="505" y="118"/>
                  </a:cubicBezTo>
                  <a:cubicBezTo>
                    <a:pt x="509" y="118"/>
                    <a:pt x="512" y="118"/>
                    <a:pt x="516" y="117"/>
                  </a:cubicBezTo>
                  <a:cubicBezTo>
                    <a:pt x="516" y="133"/>
                    <a:pt x="516" y="133"/>
                    <a:pt x="516" y="133"/>
                  </a:cubicBezTo>
                  <a:cubicBezTo>
                    <a:pt x="510" y="134"/>
                    <a:pt x="503" y="135"/>
                    <a:pt x="497" y="135"/>
                  </a:cubicBezTo>
                  <a:cubicBezTo>
                    <a:pt x="477" y="135"/>
                    <a:pt x="466" y="128"/>
                    <a:pt x="466" y="107"/>
                  </a:cubicBezTo>
                  <a:cubicBezTo>
                    <a:pt x="466" y="49"/>
                    <a:pt x="466" y="49"/>
                    <a:pt x="466" y="49"/>
                  </a:cubicBezTo>
                  <a:cubicBezTo>
                    <a:pt x="447" y="49"/>
                    <a:pt x="447" y="49"/>
                    <a:pt x="447" y="49"/>
                  </a:cubicBezTo>
                  <a:cubicBezTo>
                    <a:pt x="447" y="33"/>
                    <a:pt x="447" y="33"/>
                    <a:pt x="447" y="33"/>
                  </a:cubicBezTo>
                  <a:cubicBezTo>
                    <a:pt x="466" y="33"/>
                    <a:pt x="466" y="33"/>
                    <a:pt x="466" y="33"/>
                  </a:cubicBezTo>
                  <a:cubicBezTo>
                    <a:pt x="466" y="9"/>
                    <a:pt x="466" y="9"/>
                    <a:pt x="466" y="9"/>
                  </a:cubicBezTo>
                  <a:cubicBezTo>
                    <a:pt x="489" y="0"/>
                    <a:pt x="489" y="0"/>
                    <a:pt x="489" y="0"/>
                  </a:cubicBezTo>
                  <a:cubicBezTo>
                    <a:pt x="489" y="33"/>
                    <a:pt x="489" y="33"/>
                    <a:pt x="489" y="33"/>
                  </a:cubicBezTo>
                  <a:cubicBezTo>
                    <a:pt x="519" y="33"/>
                    <a:pt x="519" y="33"/>
                    <a:pt x="519" y="33"/>
                  </a:cubicBezTo>
                  <a:cubicBezTo>
                    <a:pt x="519" y="49"/>
                    <a:pt x="519" y="49"/>
                    <a:pt x="519" y="49"/>
                  </a:cubicBezTo>
                  <a:lnTo>
                    <a:pt x="489" y="49"/>
                  </a:lnTo>
                  <a:close/>
                  <a:moveTo>
                    <a:pt x="586" y="132"/>
                  </a:moveTo>
                  <a:cubicBezTo>
                    <a:pt x="586" y="114"/>
                    <a:pt x="586" y="114"/>
                    <a:pt x="586" y="114"/>
                  </a:cubicBezTo>
                  <a:cubicBezTo>
                    <a:pt x="586" y="114"/>
                    <a:pt x="586" y="114"/>
                    <a:pt x="586" y="114"/>
                  </a:cubicBezTo>
                  <a:cubicBezTo>
                    <a:pt x="580" y="126"/>
                    <a:pt x="570" y="135"/>
                    <a:pt x="556" y="135"/>
                  </a:cubicBezTo>
                  <a:cubicBezTo>
                    <a:pt x="537" y="135"/>
                    <a:pt x="529" y="119"/>
                    <a:pt x="529" y="102"/>
                  </a:cubicBezTo>
                  <a:cubicBezTo>
                    <a:pt x="529" y="33"/>
                    <a:pt x="529" y="33"/>
                    <a:pt x="529" y="33"/>
                  </a:cubicBezTo>
                  <a:cubicBezTo>
                    <a:pt x="552" y="33"/>
                    <a:pt x="552" y="33"/>
                    <a:pt x="552" y="33"/>
                  </a:cubicBezTo>
                  <a:cubicBezTo>
                    <a:pt x="552" y="90"/>
                    <a:pt x="552" y="90"/>
                    <a:pt x="552" y="90"/>
                  </a:cubicBezTo>
                  <a:cubicBezTo>
                    <a:pt x="552" y="95"/>
                    <a:pt x="552" y="107"/>
                    <a:pt x="556" y="111"/>
                  </a:cubicBezTo>
                  <a:cubicBezTo>
                    <a:pt x="558" y="113"/>
                    <a:pt x="560" y="113"/>
                    <a:pt x="563" y="113"/>
                  </a:cubicBezTo>
                  <a:cubicBezTo>
                    <a:pt x="579" y="113"/>
                    <a:pt x="586" y="89"/>
                    <a:pt x="586" y="76"/>
                  </a:cubicBezTo>
                  <a:cubicBezTo>
                    <a:pt x="586" y="33"/>
                    <a:pt x="586" y="33"/>
                    <a:pt x="586" y="33"/>
                  </a:cubicBezTo>
                  <a:cubicBezTo>
                    <a:pt x="609" y="33"/>
                    <a:pt x="609" y="33"/>
                    <a:pt x="609" y="33"/>
                  </a:cubicBezTo>
                  <a:cubicBezTo>
                    <a:pt x="609" y="132"/>
                    <a:pt x="609" y="132"/>
                    <a:pt x="609" y="132"/>
                  </a:cubicBezTo>
                  <a:lnTo>
                    <a:pt x="586" y="132"/>
                  </a:lnTo>
                  <a:close/>
                  <a:moveTo>
                    <a:pt x="647" y="89"/>
                  </a:moveTo>
                  <a:cubicBezTo>
                    <a:pt x="647" y="132"/>
                    <a:pt x="647" y="132"/>
                    <a:pt x="647" y="132"/>
                  </a:cubicBezTo>
                  <a:cubicBezTo>
                    <a:pt x="624" y="132"/>
                    <a:pt x="624" y="132"/>
                    <a:pt x="624" y="132"/>
                  </a:cubicBezTo>
                  <a:cubicBezTo>
                    <a:pt x="624" y="33"/>
                    <a:pt x="624" y="33"/>
                    <a:pt x="624" y="33"/>
                  </a:cubicBezTo>
                  <a:cubicBezTo>
                    <a:pt x="647" y="33"/>
                    <a:pt x="647" y="33"/>
                    <a:pt x="647" y="33"/>
                  </a:cubicBezTo>
                  <a:cubicBezTo>
                    <a:pt x="647" y="51"/>
                    <a:pt x="647" y="51"/>
                    <a:pt x="647" y="51"/>
                  </a:cubicBezTo>
                  <a:cubicBezTo>
                    <a:pt x="648" y="51"/>
                    <a:pt x="648" y="51"/>
                    <a:pt x="648" y="51"/>
                  </a:cubicBezTo>
                  <a:cubicBezTo>
                    <a:pt x="655" y="37"/>
                    <a:pt x="663" y="31"/>
                    <a:pt x="680" y="31"/>
                  </a:cubicBezTo>
                  <a:cubicBezTo>
                    <a:pt x="680" y="55"/>
                    <a:pt x="680" y="55"/>
                    <a:pt x="680" y="55"/>
                  </a:cubicBezTo>
                  <a:cubicBezTo>
                    <a:pt x="656" y="55"/>
                    <a:pt x="647" y="65"/>
                    <a:pt x="647" y="89"/>
                  </a:cubicBezTo>
                  <a:close/>
                  <a:moveTo>
                    <a:pt x="743" y="63"/>
                  </a:moveTo>
                  <a:cubicBezTo>
                    <a:pt x="707" y="63"/>
                    <a:pt x="707" y="63"/>
                    <a:pt x="707" y="63"/>
                  </a:cubicBezTo>
                  <a:cubicBezTo>
                    <a:pt x="708" y="53"/>
                    <a:pt x="715" y="45"/>
                    <a:pt x="726" y="45"/>
                  </a:cubicBezTo>
                  <a:cubicBezTo>
                    <a:pt x="736" y="45"/>
                    <a:pt x="743" y="52"/>
                    <a:pt x="743" y="63"/>
                  </a:cubicBezTo>
                  <a:close/>
                  <a:moveTo>
                    <a:pt x="765" y="77"/>
                  </a:moveTo>
                  <a:cubicBezTo>
                    <a:pt x="765" y="71"/>
                    <a:pt x="765" y="71"/>
                    <a:pt x="765" y="71"/>
                  </a:cubicBezTo>
                  <a:cubicBezTo>
                    <a:pt x="765" y="47"/>
                    <a:pt x="753" y="31"/>
                    <a:pt x="727" y="31"/>
                  </a:cubicBezTo>
                  <a:cubicBezTo>
                    <a:pt x="698" y="31"/>
                    <a:pt x="685" y="49"/>
                    <a:pt x="685" y="77"/>
                  </a:cubicBezTo>
                  <a:cubicBezTo>
                    <a:pt x="685" y="110"/>
                    <a:pt x="699" y="135"/>
                    <a:pt x="735" y="135"/>
                  </a:cubicBezTo>
                  <a:cubicBezTo>
                    <a:pt x="744" y="135"/>
                    <a:pt x="754" y="134"/>
                    <a:pt x="763" y="131"/>
                  </a:cubicBezTo>
                  <a:cubicBezTo>
                    <a:pt x="763" y="115"/>
                    <a:pt x="763" y="115"/>
                    <a:pt x="763" y="115"/>
                  </a:cubicBezTo>
                  <a:cubicBezTo>
                    <a:pt x="757" y="117"/>
                    <a:pt x="750" y="118"/>
                    <a:pt x="744" y="118"/>
                  </a:cubicBezTo>
                  <a:cubicBezTo>
                    <a:pt x="721" y="118"/>
                    <a:pt x="706" y="98"/>
                    <a:pt x="706" y="77"/>
                  </a:cubicBezTo>
                  <a:lnTo>
                    <a:pt x="765" y="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41" name="Freeform 40"/>
            <p:cNvSpPr/>
            <p:nvPr/>
          </p:nvSpPr>
          <p:spPr>
            <a:xfrm>
              <a:off x="1739049" y="420673"/>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Graphik" panose="020B0503030202060203" pitchFamily="34" charset="0"/>
              </a:endParaRPr>
            </a:p>
          </p:txBody>
        </p:sp>
      </p:grpSp>
      <p:grpSp>
        <p:nvGrpSpPr>
          <p:cNvPr id="43" name="Accenture_MasterBLACK" hidden="1"/>
          <p:cNvGrpSpPr/>
          <p:nvPr/>
        </p:nvGrpSpPr>
        <p:grpSpPr>
          <a:xfrm>
            <a:off x="7767974" y="460549"/>
            <a:ext cx="1828462" cy="528825"/>
            <a:chOff x="476250" y="397668"/>
            <a:chExt cx="2195577" cy="635000"/>
          </a:xfrm>
        </p:grpSpPr>
        <p:sp>
          <p:nvSpPr>
            <p:cNvPr id="44" name="Freeform 43"/>
            <p:cNvSpPr>
              <a:spLocks/>
            </p:cNvSpPr>
            <p:nvPr/>
          </p:nvSpPr>
          <p:spPr bwMode="auto">
            <a:xfrm>
              <a:off x="1758865" y="397668"/>
              <a:ext cx="206059" cy="214470"/>
            </a:xfrm>
            <a:custGeom>
              <a:avLst/>
              <a:gdLst>
                <a:gd name="T0" fmla="*/ 0 w 72"/>
                <a:gd name="T1" fmla="*/ 0 h 74"/>
                <a:gd name="T2" fmla="*/ 0 w 72"/>
                <a:gd name="T3" fmla="*/ 2 h 74"/>
                <a:gd name="T4" fmla="*/ 0 w 72"/>
                <a:gd name="T5" fmla="*/ 16 h 74"/>
                <a:gd name="T6" fmla="*/ 53 w 72"/>
                <a:gd name="T7" fmla="*/ 37 h 74"/>
                <a:gd name="T8" fmla="*/ 0 w 72"/>
                <a:gd name="T9" fmla="*/ 57 h 74"/>
                <a:gd name="T10" fmla="*/ 0 w 72"/>
                <a:gd name="T11" fmla="*/ 74 h 74"/>
                <a:gd name="T12" fmla="*/ 72 w 72"/>
                <a:gd name="T13" fmla="*/ 44 h 74"/>
                <a:gd name="T14" fmla="*/ 72 w 72"/>
                <a:gd name="T15" fmla="*/ 29 h 74"/>
                <a:gd name="T16" fmla="*/ 0 w 72"/>
                <a:gd name="T1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0" y="0"/>
                  </a:moveTo>
                  <a:cubicBezTo>
                    <a:pt x="0" y="2"/>
                    <a:pt x="0" y="2"/>
                    <a:pt x="0" y="2"/>
                  </a:cubicBezTo>
                  <a:cubicBezTo>
                    <a:pt x="0" y="16"/>
                    <a:pt x="0" y="16"/>
                    <a:pt x="0" y="16"/>
                  </a:cubicBezTo>
                  <a:cubicBezTo>
                    <a:pt x="0" y="16"/>
                    <a:pt x="46" y="34"/>
                    <a:pt x="53" y="37"/>
                  </a:cubicBezTo>
                  <a:cubicBezTo>
                    <a:pt x="46" y="40"/>
                    <a:pt x="0" y="57"/>
                    <a:pt x="0" y="57"/>
                  </a:cubicBezTo>
                  <a:cubicBezTo>
                    <a:pt x="0" y="74"/>
                    <a:pt x="0" y="74"/>
                    <a:pt x="0" y="74"/>
                  </a:cubicBezTo>
                  <a:cubicBezTo>
                    <a:pt x="72" y="44"/>
                    <a:pt x="72" y="44"/>
                    <a:pt x="72" y="44"/>
                  </a:cubicBezTo>
                  <a:cubicBezTo>
                    <a:pt x="72" y="29"/>
                    <a:pt x="72" y="29"/>
                    <a:pt x="72" y="29"/>
                  </a:cubicBez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pic>
          <p:nvPicPr>
            <p:cNvPr id="45" name="Accenture Black"/>
            <p:cNvPicPr>
              <a:picLocks noChangeAspect="1"/>
            </p:cNvPicPr>
            <p:nvPr/>
          </p:nvPicPr>
          <p:blipFill>
            <a:blip r:embed="rId18" cstate="hqprint">
              <a:extLst>
                <a:ext uri="{28A0092B-C50C-407E-A947-70E740481C1C}">
                  <a14:useLocalDpi xmlns:a14="http://schemas.microsoft.com/office/drawing/2010/main"/>
                </a:ext>
              </a:extLst>
            </a:blip>
            <a:stretch>
              <a:fillRect/>
            </a:stretch>
          </p:blipFill>
          <p:spPr>
            <a:xfrm>
              <a:off x="476250" y="641561"/>
              <a:ext cx="2195577" cy="391107"/>
            </a:xfrm>
            <a:prstGeom prst="rect">
              <a:avLst/>
            </a:prstGeom>
          </p:spPr>
        </p:pic>
      </p:grpSp>
      <p:grpSp>
        <p:nvGrpSpPr>
          <p:cNvPr id="96" name="Group 95"/>
          <p:cNvGrpSpPr>
            <a:grpSpLocks noChangeAspect="1"/>
          </p:cNvGrpSpPr>
          <p:nvPr/>
        </p:nvGrpSpPr>
        <p:grpSpPr>
          <a:xfrm>
            <a:off x="9559232" y="335459"/>
            <a:ext cx="2250858" cy="604157"/>
            <a:chOff x="9563100" y="1673029"/>
            <a:chExt cx="1389888" cy="373063"/>
          </a:xfrm>
        </p:grpSpPr>
        <p:pic>
          <p:nvPicPr>
            <p:cNvPr id="97" name="Picture 96"/>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563100" y="1825994"/>
              <a:ext cx="1389888" cy="220098"/>
            </a:xfrm>
            <a:prstGeom prst="rect">
              <a:avLst/>
            </a:prstGeom>
          </p:spPr>
        </p:pic>
        <p:sp>
          <p:nvSpPr>
            <p:cNvPr id="98" name="Freeform 5"/>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Graphik" panose="020B0503030202060203" pitchFamily="34" charset="0"/>
              </a:endParaRPr>
            </a:p>
          </p:txBody>
        </p:sp>
      </p:grpSp>
      <p:pic>
        <p:nvPicPr>
          <p:cNvPr id="99" name="Picture 98"/>
          <p:cNvPicPr>
            <a:picLocks noChangeAspect="1"/>
          </p:cNvPicPr>
          <p:nvPr/>
        </p:nvPicPr>
        <p:blipFill>
          <a:blip r:embed="rId20"/>
          <a:stretch>
            <a:fillRect/>
          </a:stretch>
        </p:blipFill>
        <p:spPr>
          <a:xfrm>
            <a:off x="9947106" y="6279495"/>
            <a:ext cx="1833709" cy="351540"/>
          </a:xfrm>
          <a:prstGeom prst="rect">
            <a:avLst/>
          </a:prstGeom>
        </p:spPr>
      </p:pic>
    </p:spTree>
    <p:extLst>
      <p:ext uri="{BB962C8B-B14F-4D97-AF65-F5344CB8AC3E}">
        <p14:creationId xmlns:p14="http://schemas.microsoft.com/office/powerpoint/2010/main" val="228825008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BA469-93D6-4F6E-91D7-76642AB6A49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1F5745C-9CB7-437B-98E0-AF22C237A75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6695EF8F-DE0A-478B-8360-09666F39904E}"/>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ABB270CE-A63A-4917-BAE0-2E0319980D76}"/>
              </a:ext>
            </a:extLst>
          </p:cNvPr>
          <p:cNvSpPr>
            <a:spLocks noGrp="1"/>
          </p:cNvSpPr>
          <p:nvPr>
            <p:ph type="dt" sz="half" idx="10"/>
          </p:nvPr>
        </p:nvSpPr>
        <p:spPr/>
        <p:txBody>
          <a:bodyPr/>
          <a:lstStyle/>
          <a:p>
            <a:fld id="{58A9AD06-EB04-40D2-9EFF-00449A73BF5C}" type="datetimeFigureOut">
              <a:rPr lang="en-GB" smtClean="0"/>
              <a:t>01/05/2018</a:t>
            </a:fld>
            <a:endParaRPr lang="en-GB"/>
          </a:p>
        </p:txBody>
      </p:sp>
      <p:sp>
        <p:nvSpPr>
          <p:cNvPr id="6" name="Footer Placeholder 5">
            <a:extLst>
              <a:ext uri="{FF2B5EF4-FFF2-40B4-BE49-F238E27FC236}">
                <a16:creationId xmlns:a16="http://schemas.microsoft.com/office/drawing/2014/main" id="{78C2189F-3B39-45B1-9389-B69E8FE0081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BBFDF2F-78CA-40E9-B9CC-0DC84DA6EB7D}"/>
              </a:ext>
            </a:extLst>
          </p:cNvPr>
          <p:cNvSpPr>
            <a:spLocks noGrp="1"/>
          </p:cNvSpPr>
          <p:nvPr>
            <p:ph type="sldNum" sz="quarter" idx="12"/>
          </p:nvPr>
        </p:nvSpPr>
        <p:spPr/>
        <p:txBody>
          <a:bodyPr/>
          <a:lstStyle/>
          <a:p>
            <a:fld id="{B2DCE237-B187-49D9-B1C4-0C8AA0CDE574}" type="slidenum">
              <a:rPr lang="en-GB" smtClean="0"/>
              <a:t>‹#›</a:t>
            </a:fld>
            <a:endParaRPr lang="en-GB"/>
          </a:p>
        </p:txBody>
      </p:sp>
    </p:spTree>
    <p:extLst>
      <p:ext uri="{BB962C8B-B14F-4D97-AF65-F5344CB8AC3E}">
        <p14:creationId xmlns:p14="http://schemas.microsoft.com/office/powerpoint/2010/main" val="37936906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14_Cover">
    <p:bg>
      <p:bgPr>
        <a:gradFill>
          <a:gsLst>
            <a:gs pos="0">
              <a:schemeClr val="bg1">
                <a:lumMod val="85000"/>
              </a:schemeClr>
            </a:gs>
            <a:gs pos="100000">
              <a:srgbClr val="ECECEC"/>
            </a:gs>
          </a:gsLst>
          <a:lin ang="1200000" scaled="0"/>
        </a:gradFill>
        <a:effectLst/>
      </p:bgPr>
    </p:bg>
    <p:spTree>
      <p:nvGrpSpPr>
        <p:cNvPr id="1" name=""/>
        <p:cNvGrpSpPr/>
        <p:nvPr/>
      </p:nvGrpSpPr>
      <p:grpSpPr>
        <a:xfrm>
          <a:off x="0" y="0"/>
          <a:ext cx="0" cy="0"/>
          <a:chOff x="0" y="0"/>
          <a:chExt cx="0" cy="0"/>
        </a:xfrm>
      </p:grpSpPr>
      <p:grpSp>
        <p:nvGrpSpPr>
          <p:cNvPr id="89" name="Master Brand 03 - Outline GTS" hidden="1"/>
          <p:cNvGrpSpPr>
            <a:grpSpLocks noChangeAspect="1"/>
          </p:cNvGrpSpPr>
          <p:nvPr/>
        </p:nvGrpSpPr>
        <p:grpSpPr bwMode="auto">
          <a:xfrm>
            <a:off x="1159200" y="455022"/>
            <a:ext cx="5949065" cy="6069600"/>
            <a:chOff x="1620" y="-106"/>
            <a:chExt cx="4442" cy="4532"/>
          </a:xfrm>
        </p:grpSpPr>
        <p:sp>
          <p:nvSpPr>
            <p:cNvPr id="90" name="Freeform 5"/>
            <p:cNvSpPr>
              <a:spLocks/>
            </p:cNvSpPr>
            <p:nvPr/>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FFEA00"/>
                </a:gs>
                <a:gs pos="100000">
                  <a:srgbClr val="FFB600"/>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91" name="Freeform 6"/>
            <p:cNvSpPr>
              <a:spLocks/>
            </p:cNvSpPr>
            <p:nvPr/>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00BA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83" name="Master Brand 03 - GRADIENT GTS" hidden="1"/>
          <p:cNvGrpSpPr/>
          <p:nvPr/>
        </p:nvGrpSpPr>
        <p:grpSpPr>
          <a:xfrm>
            <a:off x="1159200" y="456688"/>
            <a:ext cx="5944244" cy="6067934"/>
            <a:chOff x="336907" y="342900"/>
            <a:chExt cx="2298344" cy="2346169"/>
          </a:xfrm>
        </p:grpSpPr>
        <p:sp>
          <p:nvSpPr>
            <p:cNvPr id="84"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85"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EA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80" name="Master Brand 03 - DIMENSIONAL GTS" hidden="1"/>
          <p:cNvGrpSpPr/>
          <p:nvPr/>
        </p:nvGrpSpPr>
        <p:grpSpPr>
          <a:xfrm>
            <a:off x="1159200" y="456688"/>
            <a:ext cx="5944244" cy="6067934"/>
            <a:chOff x="336907" y="342900"/>
            <a:chExt cx="2298344" cy="2346169"/>
          </a:xfrm>
        </p:grpSpPr>
        <p:sp>
          <p:nvSpPr>
            <p:cNvPr id="81"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82"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BA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86" name="Master Brand 02 - Outline GTS" hidden="1"/>
          <p:cNvGrpSpPr>
            <a:grpSpLocks noChangeAspect="1"/>
          </p:cNvGrpSpPr>
          <p:nvPr/>
        </p:nvGrpSpPr>
        <p:grpSpPr bwMode="auto">
          <a:xfrm>
            <a:off x="1159200" y="455022"/>
            <a:ext cx="5949065" cy="6069600"/>
            <a:chOff x="1620" y="-106"/>
            <a:chExt cx="4442" cy="4532"/>
          </a:xfrm>
        </p:grpSpPr>
        <p:sp>
          <p:nvSpPr>
            <p:cNvPr id="87" name="Freeform 5"/>
            <p:cNvSpPr>
              <a:spLocks/>
            </p:cNvSpPr>
            <p:nvPr/>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00F3FF"/>
                </a:gs>
                <a:gs pos="100000">
                  <a:srgbClr val="2800FF"/>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88" name="Freeform 6"/>
            <p:cNvSpPr>
              <a:spLocks/>
            </p:cNvSpPr>
            <p:nvPr/>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00FF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77" name="Master Brand 02 - GRADIENT GTS" hidden="1"/>
          <p:cNvGrpSpPr/>
          <p:nvPr/>
        </p:nvGrpSpPr>
        <p:grpSpPr>
          <a:xfrm>
            <a:off x="1159200" y="456688"/>
            <a:ext cx="5944244" cy="6067934"/>
            <a:chOff x="336907" y="342900"/>
            <a:chExt cx="2298344" cy="2346169"/>
          </a:xfrm>
        </p:grpSpPr>
        <p:sp>
          <p:nvSpPr>
            <p:cNvPr id="78"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79"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28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74" name="Master Brand 02 - DIMENSIONAL GTS" hidden="1"/>
          <p:cNvGrpSpPr/>
          <p:nvPr/>
        </p:nvGrpSpPr>
        <p:grpSpPr>
          <a:xfrm>
            <a:off x="1159200" y="456688"/>
            <a:ext cx="5944244" cy="6067934"/>
            <a:chOff x="336907" y="342900"/>
            <a:chExt cx="2298344" cy="2346169"/>
          </a:xfrm>
        </p:grpSpPr>
        <p:sp>
          <p:nvSpPr>
            <p:cNvPr id="75"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76"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FF7D"/>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27" name="Master Brand 01 - Outline GTS" hidden="1"/>
          <p:cNvGrpSpPr>
            <a:grpSpLocks noChangeAspect="1"/>
          </p:cNvGrpSpPr>
          <p:nvPr/>
        </p:nvGrpSpPr>
        <p:grpSpPr bwMode="auto">
          <a:xfrm>
            <a:off x="1159200" y="455022"/>
            <a:ext cx="5949065" cy="6069600"/>
            <a:chOff x="1620" y="-106"/>
            <a:chExt cx="4442" cy="4532"/>
          </a:xfrm>
        </p:grpSpPr>
        <p:sp>
          <p:nvSpPr>
            <p:cNvPr id="31" name="Freeform 5"/>
            <p:cNvSpPr>
              <a:spLocks/>
            </p:cNvSpPr>
            <p:nvPr/>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FFEA00"/>
                </a:gs>
                <a:gs pos="100000">
                  <a:srgbClr val="FFB600"/>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32" name="Freeform 6"/>
            <p:cNvSpPr>
              <a:spLocks/>
            </p:cNvSpPr>
            <p:nvPr/>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7E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71" name="Master Brand 01 - GRADIENT GTS" hidden="1"/>
          <p:cNvGrpSpPr/>
          <p:nvPr/>
        </p:nvGrpSpPr>
        <p:grpSpPr>
          <a:xfrm>
            <a:off x="1159200" y="456688"/>
            <a:ext cx="5944244" cy="6067934"/>
            <a:chOff x="336907" y="342900"/>
            <a:chExt cx="2298344" cy="2346169"/>
          </a:xfrm>
        </p:grpSpPr>
        <p:sp>
          <p:nvSpPr>
            <p:cNvPr id="72"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FF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73"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FF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61" name="Master Brand 01 - DIMENSIONAL GTS" hidden="1"/>
          <p:cNvGrpSpPr/>
          <p:nvPr/>
        </p:nvGrpSpPr>
        <p:grpSpPr>
          <a:xfrm>
            <a:off x="1159200" y="456688"/>
            <a:ext cx="5944244" cy="6067934"/>
            <a:chOff x="336907" y="342900"/>
            <a:chExt cx="2298344" cy="2346169"/>
          </a:xfrm>
        </p:grpSpPr>
        <p:sp>
          <p:nvSpPr>
            <p:cNvPr id="62"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FF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63"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7E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60" name="Consulting - GRADIENT GTS" hidden="1"/>
          <p:cNvSpPr>
            <a:spLocks/>
          </p:cNvSpPr>
          <p:nvPr/>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00F3FF"/>
              </a:gs>
              <a:gs pos="100000">
                <a:srgbClr val="7E00FF"/>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6" name="Consulting - OUTLINED GTS" hidden="1"/>
          <p:cNvSpPr>
            <a:spLocks noEditPoints="1"/>
          </p:cNvSpPr>
          <p:nvPr/>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7E00FF"/>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48" name="Consulting - DIMENSIONAL GTS" hidden="1"/>
          <p:cNvGrpSpPr/>
          <p:nvPr/>
        </p:nvGrpSpPr>
        <p:grpSpPr>
          <a:xfrm>
            <a:off x="1159200" y="456688"/>
            <a:ext cx="5944244" cy="6067934"/>
            <a:chOff x="336907" y="342900"/>
            <a:chExt cx="2298344" cy="2346169"/>
          </a:xfrm>
        </p:grpSpPr>
        <p:sp>
          <p:nvSpPr>
            <p:cNvPr id="49"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100000">
                  <a:srgbClr val="380089"/>
                </a:gs>
                <a:gs pos="0">
                  <a:srgbClr val="7E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50"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7E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59" name="Digital - GRADIENT GTS" hidden="1"/>
          <p:cNvSpPr>
            <a:spLocks/>
          </p:cNvSpPr>
          <p:nvPr/>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FFB600"/>
              </a:gs>
              <a:gs pos="100000">
                <a:srgbClr val="FFFF00"/>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5" name="Digital - OUTLINED GTS" hidden="1"/>
          <p:cNvSpPr>
            <a:spLocks noEditPoints="1"/>
          </p:cNvSpPr>
          <p:nvPr/>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FFFF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45" name="Digital - DIMENSIONAL GTS" hidden="1"/>
          <p:cNvGrpSpPr/>
          <p:nvPr/>
        </p:nvGrpSpPr>
        <p:grpSpPr>
          <a:xfrm>
            <a:off x="1159200" y="456688"/>
            <a:ext cx="5944244" cy="6067934"/>
            <a:chOff x="336907" y="342900"/>
            <a:chExt cx="2298344" cy="2346169"/>
          </a:xfrm>
        </p:grpSpPr>
        <p:sp>
          <p:nvSpPr>
            <p:cNvPr id="46"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FF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47"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FF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58" name="Operations - GRADIENT GTS" hidden="1"/>
          <p:cNvSpPr>
            <a:spLocks/>
          </p:cNvSpPr>
          <p:nvPr/>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2800FF"/>
              </a:gs>
              <a:gs pos="100000">
                <a:srgbClr val="00F3FF"/>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4" name="Operations - OUTLINED GTS" hidden="1"/>
          <p:cNvSpPr>
            <a:spLocks noEditPoints="1"/>
          </p:cNvSpPr>
          <p:nvPr/>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00F3FF"/>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42" name="Operations - DIMENSIONAL GTS" hidden="1"/>
          <p:cNvGrpSpPr/>
          <p:nvPr/>
        </p:nvGrpSpPr>
        <p:grpSpPr>
          <a:xfrm>
            <a:off x="1159200" y="456688"/>
            <a:ext cx="5944244" cy="6067934"/>
            <a:chOff x="336907" y="342900"/>
            <a:chExt cx="2298344" cy="2346169"/>
          </a:xfrm>
        </p:grpSpPr>
        <p:sp>
          <p:nvSpPr>
            <p:cNvPr id="43"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44"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F3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57" name="Strategy - GRADIENT GTS" hidden="1"/>
          <p:cNvSpPr>
            <a:spLocks/>
          </p:cNvSpPr>
          <p:nvPr/>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100000">
                <a:srgbClr val="FF0000"/>
              </a:gs>
              <a:gs pos="0">
                <a:srgbClr val="710012"/>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3" name="Strategy - OUTLINED GTS" hidden="1"/>
          <p:cNvSpPr>
            <a:spLocks noEditPoints="1"/>
          </p:cNvSpPr>
          <p:nvPr/>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38" name="Strategy - DIMENSIONAL GTS" hidden="1"/>
          <p:cNvGrpSpPr/>
          <p:nvPr/>
        </p:nvGrpSpPr>
        <p:grpSpPr>
          <a:xfrm>
            <a:off x="1159200" y="456688"/>
            <a:ext cx="5944244" cy="6067934"/>
            <a:chOff x="336907" y="342900"/>
            <a:chExt cx="2298344" cy="2346169"/>
          </a:xfrm>
        </p:grpSpPr>
        <p:sp>
          <p:nvSpPr>
            <p:cNvPr id="40"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0000"/>
                </a:gs>
                <a:gs pos="100000">
                  <a:srgbClr val="710012"/>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41"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39" name="Technology - GRADIENT GTS" hidden="1"/>
          <p:cNvSpPr>
            <a:spLocks/>
          </p:cNvSpPr>
          <p:nvPr/>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00F3FF"/>
              </a:gs>
              <a:gs pos="98000">
                <a:srgbClr val="00FF00"/>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36" name="Technology - OUTLINED GTS" hidden="1"/>
          <p:cNvSpPr>
            <a:spLocks noEditPoints="1"/>
          </p:cNvSpPr>
          <p:nvPr/>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00FF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6" name="SubTitle" hidden="1"/>
          <p:cNvSpPr>
            <a:spLocks noGrp="1"/>
          </p:cNvSpPr>
          <p:nvPr>
            <p:ph type="body" sz="quarter" idx="12" hasCustomPrompt="1"/>
          </p:nvPr>
        </p:nvSpPr>
        <p:spPr>
          <a:xfrm>
            <a:off x="7756071" y="5073855"/>
            <a:ext cx="3856329" cy="1041195"/>
          </a:xfrm>
        </p:spPr>
        <p:txBody>
          <a:bodyPr anchor="b"/>
          <a:lstStyle>
            <a:lvl1pPr marL="0" indent="0">
              <a:lnSpc>
                <a:spcPct val="80000"/>
              </a:lnSpc>
              <a:buNone/>
              <a:defRPr sz="2000" b="0" i="0" cap="all" baseline="0">
                <a:solidFill>
                  <a:schemeClr val="tx1"/>
                </a:solidFill>
                <a:latin typeface="+mj-lt"/>
              </a:defRPr>
            </a:lvl1pPr>
          </a:lstStyle>
          <a:p>
            <a:pPr lvl="0"/>
            <a:r>
              <a:rPr lang="en-US" dirty="0"/>
              <a:t>SUBTITLE LINE</a:t>
            </a:r>
            <a:br>
              <a:rPr lang="en-US" dirty="0"/>
            </a:br>
            <a:r>
              <a:rPr lang="en-US" dirty="0"/>
              <a:t>SECOND LINE</a:t>
            </a:r>
          </a:p>
        </p:txBody>
      </p:sp>
      <p:sp>
        <p:nvSpPr>
          <p:cNvPr id="8" name="MasterTitle"/>
          <p:cNvSpPr>
            <a:spLocks noGrp="1"/>
          </p:cNvSpPr>
          <p:nvPr>
            <p:ph type="title" hasCustomPrompt="1"/>
          </p:nvPr>
        </p:nvSpPr>
        <p:spPr>
          <a:xfrm>
            <a:off x="579600" y="1462236"/>
            <a:ext cx="5354475" cy="3948750"/>
          </a:xfrm>
        </p:spPr>
        <p:txBody>
          <a:bodyPr tIns="252000" anchor="ctr"/>
          <a:lstStyle>
            <a:lvl1pPr>
              <a:lnSpc>
                <a:spcPct val="70000"/>
              </a:lnSpc>
              <a:defRPr sz="7200" spc="-150" baseline="0">
                <a:solidFill>
                  <a:schemeClr val="tx1"/>
                </a:solidFill>
              </a:defRPr>
            </a:lvl1pPr>
          </a:lstStyle>
          <a:p>
            <a:r>
              <a:rPr lang="en-US" dirty="0"/>
              <a:t>Click </a:t>
            </a:r>
            <a:br>
              <a:rPr lang="en-US" dirty="0"/>
            </a:br>
            <a:r>
              <a:rPr lang="en-US" dirty="0"/>
              <a:t>to edit Master title</a:t>
            </a:r>
            <a:endParaRPr lang="en-AU" dirty="0"/>
          </a:p>
        </p:txBody>
      </p:sp>
      <p:pic>
        <p:nvPicPr>
          <p:cNvPr id="2" name="Accenture_Technology_WHITE" hidden="1"/>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7756800" y="464712"/>
            <a:ext cx="3855600" cy="618771"/>
          </a:xfrm>
          <a:prstGeom prst="rect">
            <a:avLst/>
          </a:prstGeom>
        </p:spPr>
      </p:pic>
      <p:pic>
        <p:nvPicPr>
          <p:cNvPr id="7" name="Accenture_Strategy_WHITE" hidden="1"/>
          <p:cNvPicPr>
            <a:picLocks noChangeAspect="1"/>
          </p:cNvPicPr>
          <p:nvPr/>
        </p:nvPicPr>
        <p:blipFill>
          <a:blip r:embed="rId3"/>
          <a:stretch>
            <a:fillRect/>
          </a:stretch>
        </p:blipFill>
        <p:spPr>
          <a:xfrm>
            <a:off x="7773000" y="459803"/>
            <a:ext cx="3276000" cy="623063"/>
          </a:xfrm>
          <a:prstGeom prst="rect">
            <a:avLst/>
          </a:prstGeom>
        </p:spPr>
      </p:pic>
      <p:pic>
        <p:nvPicPr>
          <p:cNvPr id="17" name="Accenture_Strategy_BLACK" hidden="1"/>
          <p:cNvPicPr>
            <a:picLocks noChangeAspect="1"/>
          </p:cNvPicPr>
          <p:nvPr/>
        </p:nvPicPr>
        <p:blipFill>
          <a:blip r:embed="rId4"/>
          <a:stretch>
            <a:fillRect/>
          </a:stretch>
        </p:blipFill>
        <p:spPr>
          <a:xfrm>
            <a:off x="7772739" y="459803"/>
            <a:ext cx="3276261" cy="623113"/>
          </a:xfrm>
          <a:prstGeom prst="rect">
            <a:avLst/>
          </a:prstGeom>
        </p:spPr>
      </p:pic>
      <p:pic>
        <p:nvPicPr>
          <p:cNvPr id="14" name="Accenture_Operations_WHITE" hidden="1"/>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7773225" y="476724"/>
            <a:ext cx="3704400" cy="613912"/>
          </a:xfrm>
          <a:prstGeom prst="rect">
            <a:avLst/>
          </a:prstGeom>
        </p:spPr>
      </p:pic>
      <p:pic>
        <p:nvPicPr>
          <p:cNvPr id="16" name="Accenture_Operations_BLACK" hidden="1"/>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7772739" y="476724"/>
            <a:ext cx="3704886" cy="613992"/>
          </a:xfrm>
          <a:prstGeom prst="rect">
            <a:avLst/>
          </a:prstGeom>
        </p:spPr>
      </p:pic>
      <p:pic>
        <p:nvPicPr>
          <p:cNvPr id="4" name="Accenture_Mobility_WHITE" hidden="1"/>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7754100" y="651110"/>
            <a:ext cx="3866400" cy="684773"/>
          </a:xfrm>
          <a:prstGeom prst="rect">
            <a:avLst/>
          </a:prstGeom>
        </p:spPr>
      </p:pic>
      <p:pic>
        <p:nvPicPr>
          <p:cNvPr id="18" name="Accenture_Mobility_BLACK" hidden="1"/>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7753350" y="651110"/>
            <a:ext cx="3867150" cy="684905"/>
          </a:xfrm>
          <a:prstGeom prst="rect">
            <a:avLst/>
          </a:prstGeom>
        </p:spPr>
      </p:pic>
      <p:pic>
        <p:nvPicPr>
          <p:cNvPr id="29" name="Accenture_Interactive_WHITE" hidden="1"/>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7754100" y="657225"/>
            <a:ext cx="3866400" cy="683539"/>
          </a:xfrm>
          <a:prstGeom prst="rect">
            <a:avLst/>
          </a:prstGeom>
        </p:spPr>
      </p:pic>
      <p:pic>
        <p:nvPicPr>
          <p:cNvPr id="28" name="Accenture_Interactive_BLACK" hidden="1"/>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7754100" y="657225"/>
            <a:ext cx="3866400" cy="683539"/>
          </a:xfrm>
          <a:prstGeom prst="rect">
            <a:avLst/>
          </a:prstGeom>
        </p:spPr>
      </p:pic>
      <p:pic>
        <p:nvPicPr>
          <p:cNvPr id="5" name="Accenture_Analytics_WHITE" hidden="1"/>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7753349" y="658010"/>
            <a:ext cx="3866400" cy="692114"/>
          </a:xfrm>
          <a:prstGeom prst="rect">
            <a:avLst/>
          </a:prstGeom>
        </p:spPr>
      </p:pic>
      <p:pic>
        <p:nvPicPr>
          <p:cNvPr id="11" name="Accenture_Analytics_BLACK" hidden="1"/>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7753349" y="658010"/>
            <a:ext cx="3867151" cy="692249"/>
          </a:xfrm>
          <a:prstGeom prst="rect">
            <a:avLst/>
          </a:prstGeom>
        </p:spPr>
      </p:pic>
      <p:pic>
        <p:nvPicPr>
          <p:cNvPr id="12" name="Accenture_Analytics_WHITE" hidden="1"/>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7754100" y="658010"/>
            <a:ext cx="3866400" cy="683539"/>
          </a:xfrm>
          <a:prstGeom prst="rect">
            <a:avLst/>
          </a:prstGeom>
        </p:spPr>
      </p:pic>
      <p:pic>
        <p:nvPicPr>
          <p:cNvPr id="3" name="Accenture_Digital_WHITE" hidden="1"/>
          <p:cNvPicPr>
            <a:picLocks noChangeAspect="1"/>
          </p:cNvPicPr>
          <p:nvPr/>
        </p:nvPicPr>
        <p:blipFill>
          <a:blip r:embed="rId13"/>
          <a:stretch>
            <a:fillRect/>
          </a:stretch>
        </p:blipFill>
        <p:spPr>
          <a:xfrm>
            <a:off x="7756425" y="467886"/>
            <a:ext cx="2959200" cy="635308"/>
          </a:xfrm>
          <a:prstGeom prst="rect">
            <a:avLst/>
          </a:prstGeom>
        </p:spPr>
      </p:pic>
      <p:pic>
        <p:nvPicPr>
          <p:cNvPr id="15" name="Accenture_Digital_BLACK" hidden="1"/>
          <p:cNvPicPr>
            <a:picLocks noChangeAspect="1"/>
          </p:cNvPicPr>
          <p:nvPr/>
        </p:nvPicPr>
        <p:blipFill>
          <a:blip r:embed="rId14"/>
          <a:stretch>
            <a:fillRect/>
          </a:stretch>
        </p:blipFill>
        <p:spPr>
          <a:xfrm>
            <a:off x="7756072" y="467886"/>
            <a:ext cx="2959553" cy="635385"/>
          </a:xfrm>
          <a:prstGeom prst="rect">
            <a:avLst/>
          </a:prstGeom>
        </p:spPr>
      </p:pic>
      <p:pic>
        <p:nvPicPr>
          <p:cNvPr id="26" name="Accenture_Consulting_WHITE" hidden="1"/>
          <p:cNvPicPr>
            <a:picLocks noChangeAspect="1"/>
          </p:cNvPicPr>
          <p:nvPr/>
        </p:nvPicPr>
        <p:blipFill>
          <a:blip r:embed="rId15"/>
          <a:stretch>
            <a:fillRect/>
          </a:stretch>
        </p:blipFill>
        <p:spPr>
          <a:xfrm>
            <a:off x="7755225" y="464711"/>
            <a:ext cx="3722400" cy="633721"/>
          </a:xfrm>
          <a:prstGeom prst="rect">
            <a:avLst/>
          </a:prstGeom>
        </p:spPr>
      </p:pic>
      <p:pic>
        <p:nvPicPr>
          <p:cNvPr id="13" name="Accenture_Consulting_BLACK" hidden="1"/>
          <p:cNvPicPr>
            <a:picLocks noChangeAspect="1"/>
          </p:cNvPicPr>
          <p:nvPr/>
        </p:nvPicPr>
        <p:blipFill>
          <a:blip r:embed="rId16"/>
          <a:stretch>
            <a:fillRect/>
          </a:stretch>
        </p:blipFill>
        <p:spPr>
          <a:xfrm>
            <a:off x="7756071" y="464711"/>
            <a:ext cx="3721554" cy="633578"/>
          </a:xfrm>
          <a:prstGeom prst="rect">
            <a:avLst/>
          </a:prstGeom>
        </p:spPr>
      </p:pic>
      <p:grpSp>
        <p:nvGrpSpPr>
          <p:cNvPr id="22" name="Accenture_MasterWHITE" hidden="1"/>
          <p:cNvGrpSpPr/>
          <p:nvPr/>
        </p:nvGrpSpPr>
        <p:grpSpPr>
          <a:xfrm>
            <a:off x="7782263" y="470921"/>
            <a:ext cx="1828462" cy="530297"/>
            <a:chOff x="457202" y="420673"/>
            <a:chExt cx="2182661" cy="633434"/>
          </a:xfrm>
        </p:grpSpPr>
        <p:sp>
          <p:nvSpPr>
            <p:cNvPr id="23" name="Freeform 6"/>
            <p:cNvSpPr>
              <a:spLocks noEditPoints="1"/>
            </p:cNvSpPr>
            <p:nvPr/>
          </p:nvSpPr>
          <p:spPr bwMode="auto">
            <a:xfrm>
              <a:off x="457202" y="668790"/>
              <a:ext cx="2182661" cy="385317"/>
            </a:xfrm>
            <a:custGeom>
              <a:avLst/>
              <a:gdLst>
                <a:gd name="T0" fmla="*/ 35 w 765"/>
                <a:gd name="T1" fmla="*/ 118 h 135"/>
                <a:gd name="T2" fmla="*/ 56 w 765"/>
                <a:gd name="T3" fmla="*/ 88 h 135"/>
                <a:gd name="T4" fmla="*/ 78 w 765"/>
                <a:gd name="T5" fmla="*/ 62 h 135"/>
                <a:gd name="T6" fmla="*/ 4 w 765"/>
                <a:gd name="T7" fmla="*/ 62 h 135"/>
                <a:gd name="T8" fmla="*/ 42 w 765"/>
                <a:gd name="T9" fmla="*/ 47 h 135"/>
                <a:gd name="T10" fmla="*/ 56 w 765"/>
                <a:gd name="T11" fmla="*/ 75 h 135"/>
                <a:gd name="T12" fmla="*/ 30 w 765"/>
                <a:gd name="T13" fmla="*/ 135 h 135"/>
                <a:gd name="T14" fmla="*/ 56 w 765"/>
                <a:gd name="T15" fmla="*/ 121 h 135"/>
                <a:gd name="T16" fmla="*/ 78 w 765"/>
                <a:gd name="T17" fmla="*/ 132 h 135"/>
                <a:gd name="T18" fmla="*/ 132 w 765"/>
                <a:gd name="T19" fmla="*/ 47 h 135"/>
                <a:gd name="T20" fmla="*/ 154 w 765"/>
                <a:gd name="T21" fmla="*/ 118 h 135"/>
                <a:gd name="T22" fmla="*/ 171 w 765"/>
                <a:gd name="T23" fmla="*/ 130 h 135"/>
                <a:gd name="T24" fmla="*/ 88 w 765"/>
                <a:gd name="T25" fmla="*/ 78 h 135"/>
                <a:gd name="T26" fmla="*/ 172 w 765"/>
                <a:gd name="T27" fmla="*/ 67 h 135"/>
                <a:gd name="T28" fmla="*/ 236 w 765"/>
                <a:gd name="T29" fmla="*/ 67 h 135"/>
                <a:gd name="T30" fmla="*/ 202 w 765"/>
                <a:gd name="T31" fmla="*/ 74 h 135"/>
                <a:gd name="T32" fmla="*/ 260 w 765"/>
                <a:gd name="T33" fmla="*/ 116 h 135"/>
                <a:gd name="T34" fmla="*/ 231 w 765"/>
                <a:gd name="T35" fmla="*/ 135 h 135"/>
                <a:gd name="T36" fmla="*/ 223 w 765"/>
                <a:gd name="T37" fmla="*/ 31 h 135"/>
                <a:gd name="T38" fmla="*/ 236 w 765"/>
                <a:gd name="T39" fmla="*/ 67 h 135"/>
                <a:gd name="T40" fmla="*/ 291 w 765"/>
                <a:gd name="T41" fmla="*/ 63 h 135"/>
                <a:gd name="T42" fmla="*/ 327 w 765"/>
                <a:gd name="T43" fmla="*/ 63 h 135"/>
                <a:gd name="T44" fmla="*/ 349 w 765"/>
                <a:gd name="T45" fmla="*/ 71 h 135"/>
                <a:gd name="T46" fmla="*/ 269 w 765"/>
                <a:gd name="T47" fmla="*/ 77 h 135"/>
                <a:gd name="T48" fmla="*/ 347 w 765"/>
                <a:gd name="T49" fmla="*/ 131 h 135"/>
                <a:gd name="T50" fmla="*/ 328 w 765"/>
                <a:gd name="T51" fmla="*/ 118 h 135"/>
                <a:gd name="T52" fmla="*/ 349 w 765"/>
                <a:gd name="T53" fmla="*/ 77 h 135"/>
                <a:gd name="T54" fmla="*/ 418 w 765"/>
                <a:gd name="T55" fmla="*/ 76 h 135"/>
                <a:gd name="T56" fmla="*/ 408 w 765"/>
                <a:gd name="T57" fmla="*/ 52 h 135"/>
                <a:gd name="T58" fmla="*/ 384 w 765"/>
                <a:gd name="T59" fmla="*/ 132 h 135"/>
                <a:gd name="T60" fmla="*/ 361 w 765"/>
                <a:gd name="T61" fmla="*/ 33 h 135"/>
                <a:gd name="T62" fmla="*/ 384 w 765"/>
                <a:gd name="T63" fmla="*/ 51 h 135"/>
                <a:gd name="T64" fmla="*/ 414 w 765"/>
                <a:gd name="T65" fmla="*/ 31 h 135"/>
                <a:gd name="T66" fmla="*/ 441 w 765"/>
                <a:gd name="T67" fmla="*/ 132 h 135"/>
                <a:gd name="T68" fmla="*/ 489 w 765"/>
                <a:gd name="T69" fmla="*/ 49 h 135"/>
                <a:gd name="T70" fmla="*/ 505 w 765"/>
                <a:gd name="T71" fmla="*/ 118 h 135"/>
                <a:gd name="T72" fmla="*/ 516 w 765"/>
                <a:gd name="T73" fmla="*/ 133 h 135"/>
                <a:gd name="T74" fmla="*/ 466 w 765"/>
                <a:gd name="T75" fmla="*/ 107 h 135"/>
                <a:gd name="T76" fmla="*/ 447 w 765"/>
                <a:gd name="T77" fmla="*/ 49 h 135"/>
                <a:gd name="T78" fmla="*/ 466 w 765"/>
                <a:gd name="T79" fmla="*/ 33 h 135"/>
                <a:gd name="T80" fmla="*/ 489 w 765"/>
                <a:gd name="T81" fmla="*/ 0 h 135"/>
                <a:gd name="T82" fmla="*/ 519 w 765"/>
                <a:gd name="T83" fmla="*/ 33 h 135"/>
                <a:gd name="T84" fmla="*/ 489 w 765"/>
                <a:gd name="T85" fmla="*/ 49 h 135"/>
                <a:gd name="T86" fmla="*/ 586 w 765"/>
                <a:gd name="T87" fmla="*/ 114 h 135"/>
                <a:gd name="T88" fmla="*/ 556 w 765"/>
                <a:gd name="T89" fmla="*/ 135 h 135"/>
                <a:gd name="T90" fmla="*/ 529 w 765"/>
                <a:gd name="T91" fmla="*/ 33 h 135"/>
                <a:gd name="T92" fmla="*/ 552 w 765"/>
                <a:gd name="T93" fmla="*/ 90 h 135"/>
                <a:gd name="T94" fmla="*/ 563 w 765"/>
                <a:gd name="T95" fmla="*/ 113 h 135"/>
                <a:gd name="T96" fmla="*/ 586 w 765"/>
                <a:gd name="T97" fmla="*/ 33 h 135"/>
                <a:gd name="T98" fmla="*/ 609 w 765"/>
                <a:gd name="T99" fmla="*/ 132 h 135"/>
                <a:gd name="T100" fmla="*/ 647 w 765"/>
                <a:gd name="T101" fmla="*/ 89 h 135"/>
                <a:gd name="T102" fmla="*/ 624 w 765"/>
                <a:gd name="T103" fmla="*/ 132 h 135"/>
                <a:gd name="T104" fmla="*/ 647 w 765"/>
                <a:gd name="T105" fmla="*/ 33 h 135"/>
                <a:gd name="T106" fmla="*/ 648 w 765"/>
                <a:gd name="T107" fmla="*/ 51 h 135"/>
                <a:gd name="T108" fmla="*/ 680 w 765"/>
                <a:gd name="T109" fmla="*/ 55 h 135"/>
                <a:gd name="T110" fmla="*/ 743 w 765"/>
                <a:gd name="T111" fmla="*/ 63 h 135"/>
                <a:gd name="T112" fmla="*/ 726 w 765"/>
                <a:gd name="T113" fmla="*/ 45 h 135"/>
                <a:gd name="T114" fmla="*/ 765 w 765"/>
                <a:gd name="T115" fmla="*/ 77 h 135"/>
                <a:gd name="T116" fmla="*/ 727 w 765"/>
                <a:gd name="T117" fmla="*/ 31 h 135"/>
                <a:gd name="T118" fmla="*/ 735 w 765"/>
                <a:gd name="T119" fmla="*/ 135 h 135"/>
                <a:gd name="T120" fmla="*/ 763 w 765"/>
                <a:gd name="T121" fmla="*/ 115 h 135"/>
                <a:gd name="T122" fmla="*/ 706 w 765"/>
                <a:gd name="T123" fmla="*/ 7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5" h="135">
                  <a:moveTo>
                    <a:pt x="56" y="88"/>
                  </a:moveTo>
                  <a:cubicBezTo>
                    <a:pt x="56" y="101"/>
                    <a:pt x="51" y="118"/>
                    <a:pt x="35" y="118"/>
                  </a:cubicBezTo>
                  <a:cubicBezTo>
                    <a:pt x="28" y="118"/>
                    <a:pt x="23" y="114"/>
                    <a:pt x="23" y="106"/>
                  </a:cubicBezTo>
                  <a:cubicBezTo>
                    <a:pt x="23" y="91"/>
                    <a:pt x="45" y="88"/>
                    <a:pt x="56" y="88"/>
                  </a:cubicBezTo>
                  <a:close/>
                  <a:moveTo>
                    <a:pt x="78" y="132"/>
                  </a:moveTo>
                  <a:cubicBezTo>
                    <a:pt x="78" y="62"/>
                    <a:pt x="78" y="62"/>
                    <a:pt x="78" y="62"/>
                  </a:cubicBezTo>
                  <a:cubicBezTo>
                    <a:pt x="78" y="38"/>
                    <a:pt x="63" y="31"/>
                    <a:pt x="42" y="31"/>
                  </a:cubicBezTo>
                  <a:cubicBezTo>
                    <a:pt x="21" y="31"/>
                    <a:pt x="4" y="39"/>
                    <a:pt x="4" y="62"/>
                  </a:cubicBezTo>
                  <a:cubicBezTo>
                    <a:pt x="27" y="62"/>
                    <a:pt x="27" y="62"/>
                    <a:pt x="27" y="62"/>
                  </a:cubicBezTo>
                  <a:cubicBezTo>
                    <a:pt x="27" y="52"/>
                    <a:pt x="32" y="47"/>
                    <a:pt x="42" y="47"/>
                  </a:cubicBezTo>
                  <a:cubicBezTo>
                    <a:pt x="53" y="47"/>
                    <a:pt x="56" y="55"/>
                    <a:pt x="56" y="65"/>
                  </a:cubicBezTo>
                  <a:cubicBezTo>
                    <a:pt x="56" y="75"/>
                    <a:pt x="56" y="75"/>
                    <a:pt x="56" y="75"/>
                  </a:cubicBezTo>
                  <a:cubicBezTo>
                    <a:pt x="33" y="76"/>
                    <a:pt x="0" y="79"/>
                    <a:pt x="0" y="109"/>
                  </a:cubicBezTo>
                  <a:cubicBezTo>
                    <a:pt x="0" y="125"/>
                    <a:pt x="14" y="135"/>
                    <a:pt x="30" y="135"/>
                  </a:cubicBezTo>
                  <a:cubicBezTo>
                    <a:pt x="41" y="135"/>
                    <a:pt x="51" y="131"/>
                    <a:pt x="56" y="121"/>
                  </a:cubicBezTo>
                  <a:cubicBezTo>
                    <a:pt x="56" y="121"/>
                    <a:pt x="56" y="121"/>
                    <a:pt x="56" y="121"/>
                  </a:cubicBezTo>
                  <a:cubicBezTo>
                    <a:pt x="56" y="132"/>
                    <a:pt x="56" y="132"/>
                    <a:pt x="56" y="132"/>
                  </a:cubicBezTo>
                  <a:lnTo>
                    <a:pt x="78" y="132"/>
                  </a:lnTo>
                  <a:close/>
                  <a:moveTo>
                    <a:pt x="147" y="67"/>
                  </a:moveTo>
                  <a:cubicBezTo>
                    <a:pt x="147" y="57"/>
                    <a:pt x="144" y="47"/>
                    <a:pt x="132" y="47"/>
                  </a:cubicBezTo>
                  <a:cubicBezTo>
                    <a:pt x="117" y="47"/>
                    <a:pt x="113" y="62"/>
                    <a:pt x="113" y="74"/>
                  </a:cubicBezTo>
                  <a:cubicBezTo>
                    <a:pt x="113" y="99"/>
                    <a:pt x="128" y="118"/>
                    <a:pt x="154" y="118"/>
                  </a:cubicBezTo>
                  <a:cubicBezTo>
                    <a:pt x="160" y="118"/>
                    <a:pt x="165" y="118"/>
                    <a:pt x="171" y="116"/>
                  </a:cubicBezTo>
                  <a:cubicBezTo>
                    <a:pt x="171" y="130"/>
                    <a:pt x="171" y="130"/>
                    <a:pt x="171" y="130"/>
                  </a:cubicBezTo>
                  <a:cubicBezTo>
                    <a:pt x="161" y="133"/>
                    <a:pt x="151" y="135"/>
                    <a:pt x="142" y="135"/>
                  </a:cubicBezTo>
                  <a:cubicBezTo>
                    <a:pt x="106" y="135"/>
                    <a:pt x="88" y="113"/>
                    <a:pt x="88" y="78"/>
                  </a:cubicBezTo>
                  <a:cubicBezTo>
                    <a:pt x="88" y="49"/>
                    <a:pt x="104" y="31"/>
                    <a:pt x="134" y="31"/>
                  </a:cubicBezTo>
                  <a:cubicBezTo>
                    <a:pt x="158" y="31"/>
                    <a:pt x="172" y="42"/>
                    <a:pt x="172" y="67"/>
                  </a:cubicBezTo>
                  <a:lnTo>
                    <a:pt x="147" y="67"/>
                  </a:lnTo>
                  <a:close/>
                  <a:moveTo>
                    <a:pt x="236" y="67"/>
                  </a:moveTo>
                  <a:cubicBezTo>
                    <a:pt x="236" y="57"/>
                    <a:pt x="233" y="47"/>
                    <a:pt x="221" y="47"/>
                  </a:cubicBezTo>
                  <a:cubicBezTo>
                    <a:pt x="206" y="47"/>
                    <a:pt x="202" y="62"/>
                    <a:pt x="202" y="74"/>
                  </a:cubicBezTo>
                  <a:cubicBezTo>
                    <a:pt x="202" y="99"/>
                    <a:pt x="217" y="118"/>
                    <a:pt x="243" y="118"/>
                  </a:cubicBezTo>
                  <a:cubicBezTo>
                    <a:pt x="249" y="118"/>
                    <a:pt x="254" y="118"/>
                    <a:pt x="260" y="116"/>
                  </a:cubicBezTo>
                  <a:cubicBezTo>
                    <a:pt x="260" y="130"/>
                    <a:pt x="260" y="130"/>
                    <a:pt x="260" y="130"/>
                  </a:cubicBezTo>
                  <a:cubicBezTo>
                    <a:pt x="250" y="133"/>
                    <a:pt x="241" y="135"/>
                    <a:pt x="231" y="135"/>
                  </a:cubicBezTo>
                  <a:cubicBezTo>
                    <a:pt x="195" y="135"/>
                    <a:pt x="177" y="113"/>
                    <a:pt x="177" y="78"/>
                  </a:cubicBezTo>
                  <a:cubicBezTo>
                    <a:pt x="177" y="49"/>
                    <a:pt x="193" y="31"/>
                    <a:pt x="223" y="31"/>
                  </a:cubicBezTo>
                  <a:cubicBezTo>
                    <a:pt x="247" y="31"/>
                    <a:pt x="261" y="42"/>
                    <a:pt x="261" y="67"/>
                  </a:cubicBezTo>
                  <a:lnTo>
                    <a:pt x="236" y="67"/>
                  </a:lnTo>
                  <a:close/>
                  <a:moveTo>
                    <a:pt x="327" y="63"/>
                  </a:moveTo>
                  <a:cubicBezTo>
                    <a:pt x="291" y="63"/>
                    <a:pt x="291" y="63"/>
                    <a:pt x="291" y="63"/>
                  </a:cubicBezTo>
                  <a:cubicBezTo>
                    <a:pt x="292" y="53"/>
                    <a:pt x="300" y="45"/>
                    <a:pt x="310" y="45"/>
                  </a:cubicBezTo>
                  <a:cubicBezTo>
                    <a:pt x="320" y="45"/>
                    <a:pt x="327" y="52"/>
                    <a:pt x="327" y="63"/>
                  </a:cubicBezTo>
                  <a:close/>
                  <a:moveTo>
                    <a:pt x="349" y="77"/>
                  </a:moveTo>
                  <a:cubicBezTo>
                    <a:pt x="349" y="71"/>
                    <a:pt x="349" y="71"/>
                    <a:pt x="349" y="71"/>
                  </a:cubicBezTo>
                  <a:cubicBezTo>
                    <a:pt x="349" y="47"/>
                    <a:pt x="337" y="31"/>
                    <a:pt x="311" y="31"/>
                  </a:cubicBezTo>
                  <a:cubicBezTo>
                    <a:pt x="282" y="31"/>
                    <a:pt x="269" y="49"/>
                    <a:pt x="269" y="77"/>
                  </a:cubicBezTo>
                  <a:cubicBezTo>
                    <a:pt x="269" y="110"/>
                    <a:pt x="283" y="135"/>
                    <a:pt x="319" y="135"/>
                  </a:cubicBezTo>
                  <a:cubicBezTo>
                    <a:pt x="328" y="135"/>
                    <a:pt x="338" y="134"/>
                    <a:pt x="347" y="131"/>
                  </a:cubicBezTo>
                  <a:cubicBezTo>
                    <a:pt x="347" y="115"/>
                    <a:pt x="347" y="115"/>
                    <a:pt x="347" y="115"/>
                  </a:cubicBezTo>
                  <a:cubicBezTo>
                    <a:pt x="341" y="117"/>
                    <a:pt x="334" y="118"/>
                    <a:pt x="328" y="118"/>
                  </a:cubicBezTo>
                  <a:cubicBezTo>
                    <a:pt x="305" y="118"/>
                    <a:pt x="290" y="98"/>
                    <a:pt x="290" y="77"/>
                  </a:cubicBezTo>
                  <a:lnTo>
                    <a:pt x="349" y="77"/>
                  </a:lnTo>
                  <a:close/>
                  <a:moveTo>
                    <a:pt x="418" y="132"/>
                  </a:moveTo>
                  <a:cubicBezTo>
                    <a:pt x="418" y="76"/>
                    <a:pt x="418" y="76"/>
                    <a:pt x="418" y="76"/>
                  </a:cubicBezTo>
                  <a:cubicBezTo>
                    <a:pt x="418" y="71"/>
                    <a:pt x="418" y="58"/>
                    <a:pt x="414" y="54"/>
                  </a:cubicBezTo>
                  <a:cubicBezTo>
                    <a:pt x="413" y="53"/>
                    <a:pt x="410" y="52"/>
                    <a:pt x="408" y="52"/>
                  </a:cubicBezTo>
                  <a:cubicBezTo>
                    <a:pt x="391" y="52"/>
                    <a:pt x="384" y="76"/>
                    <a:pt x="384" y="89"/>
                  </a:cubicBezTo>
                  <a:cubicBezTo>
                    <a:pt x="384" y="132"/>
                    <a:pt x="384" y="132"/>
                    <a:pt x="384" y="132"/>
                  </a:cubicBezTo>
                  <a:cubicBezTo>
                    <a:pt x="361" y="132"/>
                    <a:pt x="361" y="132"/>
                    <a:pt x="361" y="132"/>
                  </a:cubicBezTo>
                  <a:cubicBezTo>
                    <a:pt x="361" y="33"/>
                    <a:pt x="361" y="33"/>
                    <a:pt x="361" y="33"/>
                  </a:cubicBezTo>
                  <a:cubicBezTo>
                    <a:pt x="384" y="33"/>
                    <a:pt x="384" y="33"/>
                    <a:pt x="384" y="33"/>
                  </a:cubicBezTo>
                  <a:cubicBezTo>
                    <a:pt x="384" y="51"/>
                    <a:pt x="384" y="51"/>
                    <a:pt x="384" y="51"/>
                  </a:cubicBezTo>
                  <a:cubicBezTo>
                    <a:pt x="385" y="51"/>
                    <a:pt x="385" y="51"/>
                    <a:pt x="385" y="51"/>
                  </a:cubicBezTo>
                  <a:cubicBezTo>
                    <a:pt x="390" y="39"/>
                    <a:pt x="400" y="31"/>
                    <a:pt x="414" y="31"/>
                  </a:cubicBezTo>
                  <a:cubicBezTo>
                    <a:pt x="433" y="31"/>
                    <a:pt x="441" y="46"/>
                    <a:pt x="441" y="63"/>
                  </a:cubicBezTo>
                  <a:cubicBezTo>
                    <a:pt x="441" y="132"/>
                    <a:pt x="441" y="132"/>
                    <a:pt x="441" y="132"/>
                  </a:cubicBezTo>
                  <a:lnTo>
                    <a:pt x="418" y="132"/>
                  </a:lnTo>
                  <a:close/>
                  <a:moveTo>
                    <a:pt x="489" y="49"/>
                  </a:moveTo>
                  <a:cubicBezTo>
                    <a:pt x="489" y="96"/>
                    <a:pt x="489" y="96"/>
                    <a:pt x="489" y="96"/>
                  </a:cubicBezTo>
                  <a:cubicBezTo>
                    <a:pt x="489" y="108"/>
                    <a:pt x="491" y="118"/>
                    <a:pt x="505" y="118"/>
                  </a:cubicBezTo>
                  <a:cubicBezTo>
                    <a:pt x="509" y="118"/>
                    <a:pt x="512" y="118"/>
                    <a:pt x="516" y="117"/>
                  </a:cubicBezTo>
                  <a:cubicBezTo>
                    <a:pt x="516" y="133"/>
                    <a:pt x="516" y="133"/>
                    <a:pt x="516" y="133"/>
                  </a:cubicBezTo>
                  <a:cubicBezTo>
                    <a:pt x="510" y="134"/>
                    <a:pt x="503" y="135"/>
                    <a:pt x="497" y="135"/>
                  </a:cubicBezTo>
                  <a:cubicBezTo>
                    <a:pt x="477" y="135"/>
                    <a:pt x="466" y="128"/>
                    <a:pt x="466" y="107"/>
                  </a:cubicBezTo>
                  <a:cubicBezTo>
                    <a:pt x="466" y="49"/>
                    <a:pt x="466" y="49"/>
                    <a:pt x="466" y="49"/>
                  </a:cubicBezTo>
                  <a:cubicBezTo>
                    <a:pt x="447" y="49"/>
                    <a:pt x="447" y="49"/>
                    <a:pt x="447" y="49"/>
                  </a:cubicBezTo>
                  <a:cubicBezTo>
                    <a:pt x="447" y="33"/>
                    <a:pt x="447" y="33"/>
                    <a:pt x="447" y="33"/>
                  </a:cubicBezTo>
                  <a:cubicBezTo>
                    <a:pt x="466" y="33"/>
                    <a:pt x="466" y="33"/>
                    <a:pt x="466" y="33"/>
                  </a:cubicBezTo>
                  <a:cubicBezTo>
                    <a:pt x="466" y="9"/>
                    <a:pt x="466" y="9"/>
                    <a:pt x="466" y="9"/>
                  </a:cubicBezTo>
                  <a:cubicBezTo>
                    <a:pt x="489" y="0"/>
                    <a:pt x="489" y="0"/>
                    <a:pt x="489" y="0"/>
                  </a:cubicBezTo>
                  <a:cubicBezTo>
                    <a:pt x="489" y="33"/>
                    <a:pt x="489" y="33"/>
                    <a:pt x="489" y="33"/>
                  </a:cubicBezTo>
                  <a:cubicBezTo>
                    <a:pt x="519" y="33"/>
                    <a:pt x="519" y="33"/>
                    <a:pt x="519" y="33"/>
                  </a:cubicBezTo>
                  <a:cubicBezTo>
                    <a:pt x="519" y="49"/>
                    <a:pt x="519" y="49"/>
                    <a:pt x="519" y="49"/>
                  </a:cubicBezTo>
                  <a:lnTo>
                    <a:pt x="489" y="49"/>
                  </a:lnTo>
                  <a:close/>
                  <a:moveTo>
                    <a:pt x="586" y="132"/>
                  </a:moveTo>
                  <a:cubicBezTo>
                    <a:pt x="586" y="114"/>
                    <a:pt x="586" y="114"/>
                    <a:pt x="586" y="114"/>
                  </a:cubicBezTo>
                  <a:cubicBezTo>
                    <a:pt x="586" y="114"/>
                    <a:pt x="586" y="114"/>
                    <a:pt x="586" y="114"/>
                  </a:cubicBezTo>
                  <a:cubicBezTo>
                    <a:pt x="580" y="126"/>
                    <a:pt x="570" y="135"/>
                    <a:pt x="556" y="135"/>
                  </a:cubicBezTo>
                  <a:cubicBezTo>
                    <a:pt x="537" y="135"/>
                    <a:pt x="529" y="119"/>
                    <a:pt x="529" y="102"/>
                  </a:cubicBezTo>
                  <a:cubicBezTo>
                    <a:pt x="529" y="33"/>
                    <a:pt x="529" y="33"/>
                    <a:pt x="529" y="33"/>
                  </a:cubicBezTo>
                  <a:cubicBezTo>
                    <a:pt x="552" y="33"/>
                    <a:pt x="552" y="33"/>
                    <a:pt x="552" y="33"/>
                  </a:cubicBezTo>
                  <a:cubicBezTo>
                    <a:pt x="552" y="90"/>
                    <a:pt x="552" y="90"/>
                    <a:pt x="552" y="90"/>
                  </a:cubicBezTo>
                  <a:cubicBezTo>
                    <a:pt x="552" y="95"/>
                    <a:pt x="552" y="107"/>
                    <a:pt x="556" y="111"/>
                  </a:cubicBezTo>
                  <a:cubicBezTo>
                    <a:pt x="558" y="113"/>
                    <a:pt x="560" y="113"/>
                    <a:pt x="563" y="113"/>
                  </a:cubicBezTo>
                  <a:cubicBezTo>
                    <a:pt x="579" y="113"/>
                    <a:pt x="586" y="89"/>
                    <a:pt x="586" y="76"/>
                  </a:cubicBezTo>
                  <a:cubicBezTo>
                    <a:pt x="586" y="33"/>
                    <a:pt x="586" y="33"/>
                    <a:pt x="586" y="33"/>
                  </a:cubicBezTo>
                  <a:cubicBezTo>
                    <a:pt x="609" y="33"/>
                    <a:pt x="609" y="33"/>
                    <a:pt x="609" y="33"/>
                  </a:cubicBezTo>
                  <a:cubicBezTo>
                    <a:pt x="609" y="132"/>
                    <a:pt x="609" y="132"/>
                    <a:pt x="609" y="132"/>
                  </a:cubicBezTo>
                  <a:lnTo>
                    <a:pt x="586" y="132"/>
                  </a:lnTo>
                  <a:close/>
                  <a:moveTo>
                    <a:pt x="647" y="89"/>
                  </a:moveTo>
                  <a:cubicBezTo>
                    <a:pt x="647" y="132"/>
                    <a:pt x="647" y="132"/>
                    <a:pt x="647" y="132"/>
                  </a:cubicBezTo>
                  <a:cubicBezTo>
                    <a:pt x="624" y="132"/>
                    <a:pt x="624" y="132"/>
                    <a:pt x="624" y="132"/>
                  </a:cubicBezTo>
                  <a:cubicBezTo>
                    <a:pt x="624" y="33"/>
                    <a:pt x="624" y="33"/>
                    <a:pt x="624" y="33"/>
                  </a:cubicBezTo>
                  <a:cubicBezTo>
                    <a:pt x="647" y="33"/>
                    <a:pt x="647" y="33"/>
                    <a:pt x="647" y="33"/>
                  </a:cubicBezTo>
                  <a:cubicBezTo>
                    <a:pt x="647" y="51"/>
                    <a:pt x="647" y="51"/>
                    <a:pt x="647" y="51"/>
                  </a:cubicBezTo>
                  <a:cubicBezTo>
                    <a:pt x="648" y="51"/>
                    <a:pt x="648" y="51"/>
                    <a:pt x="648" y="51"/>
                  </a:cubicBezTo>
                  <a:cubicBezTo>
                    <a:pt x="655" y="37"/>
                    <a:pt x="663" y="31"/>
                    <a:pt x="680" y="31"/>
                  </a:cubicBezTo>
                  <a:cubicBezTo>
                    <a:pt x="680" y="55"/>
                    <a:pt x="680" y="55"/>
                    <a:pt x="680" y="55"/>
                  </a:cubicBezTo>
                  <a:cubicBezTo>
                    <a:pt x="656" y="55"/>
                    <a:pt x="647" y="65"/>
                    <a:pt x="647" y="89"/>
                  </a:cubicBezTo>
                  <a:close/>
                  <a:moveTo>
                    <a:pt x="743" y="63"/>
                  </a:moveTo>
                  <a:cubicBezTo>
                    <a:pt x="707" y="63"/>
                    <a:pt x="707" y="63"/>
                    <a:pt x="707" y="63"/>
                  </a:cubicBezTo>
                  <a:cubicBezTo>
                    <a:pt x="708" y="53"/>
                    <a:pt x="715" y="45"/>
                    <a:pt x="726" y="45"/>
                  </a:cubicBezTo>
                  <a:cubicBezTo>
                    <a:pt x="736" y="45"/>
                    <a:pt x="743" y="52"/>
                    <a:pt x="743" y="63"/>
                  </a:cubicBezTo>
                  <a:close/>
                  <a:moveTo>
                    <a:pt x="765" y="77"/>
                  </a:moveTo>
                  <a:cubicBezTo>
                    <a:pt x="765" y="71"/>
                    <a:pt x="765" y="71"/>
                    <a:pt x="765" y="71"/>
                  </a:cubicBezTo>
                  <a:cubicBezTo>
                    <a:pt x="765" y="47"/>
                    <a:pt x="753" y="31"/>
                    <a:pt x="727" y="31"/>
                  </a:cubicBezTo>
                  <a:cubicBezTo>
                    <a:pt x="698" y="31"/>
                    <a:pt x="685" y="49"/>
                    <a:pt x="685" y="77"/>
                  </a:cubicBezTo>
                  <a:cubicBezTo>
                    <a:pt x="685" y="110"/>
                    <a:pt x="699" y="135"/>
                    <a:pt x="735" y="135"/>
                  </a:cubicBezTo>
                  <a:cubicBezTo>
                    <a:pt x="744" y="135"/>
                    <a:pt x="754" y="134"/>
                    <a:pt x="763" y="131"/>
                  </a:cubicBezTo>
                  <a:cubicBezTo>
                    <a:pt x="763" y="115"/>
                    <a:pt x="763" y="115"/>
                    <a:pt x="763" y="115"/>
                  </a:cubicBezTo>
                  <a:cubicBezTo>
                    <a:pt x="757" y="117"/>
                    <a:pt x="750" y="118"/>
                    <a:pt x="744" y="118"/>
                  </a:cubicBezTo>
                  <a:cubicBezTo>
                    <a:pt x="721" y="118"/>
                    <a:pt x="706" y="98"/>
                    <a:pt x="706" y="77"/>
                  </a:cubicBezTo>
                  <a:lnTo>
                    <a:pt x="765" y="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24" name="Freeform 23"/>
            <p:cNvSpPr/>
            <p:nvPr/>
          </p:nvSpPr>
          <p:spPr>
            <a:xfrm>
              <a:off x="1739049" y="420673"/>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Graphik" panose="020B0503030202060203" pitchFamily="34" charset="0"/>
              </a:endParaRPr>
            </a:p>
          </p:txBody>
        </p:sp>
      </p:grpSp>
      <p:grpSp>
        <p:nvGrpSpPr>
          <p:cNvPr id="19" name="Accenture_MasterBLACK" hidden="1"/>
          <p:cNvGrpSpPr/>
          <p:nvPr/>
        </p:nvGrpSpPr>
        <p:grpSpPr>
          <a:xfrm>
            <a:off x="7767974" y="460549"/>
            <a:ext cx="1828462" cy="528825"/>
            <a:chOff x="476250" y="397668"/>
            <a:chExt cx="2195577" cy="635000"/>
          </a:xfrm>
        </p:grpSpPr>
        <p:sp>
          <p:nvSpPr>
            <p:cNvPr id="20" name="Freeform 19"/>
            <p:cNvSpPr>
              <a:spLocks/>
            </p:cNvSpPr>
            <p:nvPr/>
          </p:nvSpPr>
          <p:spPr bwMode="auto">
            <a:xfrm>
              <a:off x="1758865" y="397668"/>
              <a:ext cx="206059" cy="214470"/>
            </a:xfrm>
            <a:custGeom>
              <a:avLst/>
              <a:gdLst>
                <a:gd name="T0" fmla="*/ 0 w 72"/>
                <a:gd name="T1" fmla="*/ 0 h 74"/>
                <a:gd name="T2" fmla="*/ 0 w 72"/>
                <a:gd name="T3" fmla="*/ 2 h 74"/>
                <a:gd name="T4" fmla="*/ 0 w 72"/>
                <a:gd name="T5" fmla="*/ 16 h 74"/>
                <a:gd name="T6" fmla="*/ 53 w 72"/>
                <a:gd name="T7" fmla="*/ 37 h 74"/>
                <a:gd name="T8" fmla="*/ 0 w 72"/>
                <a:gd name="T9" fmla="*/ 57 h 74"/>
                <a:gd name="T10" fmla="*/ 0 w 72"/>
                <a:gd name="T11" fmla="*/ 74 h 74"/>
                <a:gd name="T12" fmla="*/ 72 w 72"/>
                <a:gd name="T13" fmla="*/ 44 h 74"/>
                <a:gd name="T14" fmla="*/ 72 w 72"/>
                <a:gd name="T15" fmla="*/ 29 h 74"/>
                <a:gd name="T16" fmla="*/ 0 w 72"/>
                <a:gd name="T1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0" y="0"/>
                  </a:moveTo>
                  <a:cubicBezTo>
                    <a:pt x="0" y="2"/>
                    <a:pt x="0" y="2"/>
                    <a:pt x="0" y="2"/>
                  </a:cubicBezTo>
                  <a:cubicBezTo>
                    <a:pt x="0" y="16"/>
                    <a:pt x="0" y="16"/>
                    <a:pt x="0" y="16"/>
                  </a:cubicBezTo>
                  <a:cubicBezTo>
                    <a:pt x="0" y="16"/>
                    <a:pt x="46" y="34"/>
                    <a:pt x="53" y="37"/>
                  </a:cubicBezTo>
                  <a:cubicBezTo>
                    <a:pt x="46" y="40"/>
                    <a:pt x="0" y="57"/>
                    <a:pt x="0" y="57"/>
                  </a:cubicBezTo>
                  <a:cubicBezTo>
                    <a:pt x="0" y="74"/>
                    <a:pt x="0" y="74"/>
                    <a:pt x="0" y="74"/>
                  </a:cubicBezTo>
                  <a:cubicBezTo>
                    <a:pt x="72" y="44"/>
                    <a:pt x="72" y="44"/>
                    <a:pt x="72" y="44"/>
                  </a:cubicBezTo>
                  <a:cubicBezTo>
                    <a:pt x="72" y="29"/>
                    <a:pt x="72" y="29"/>
                    <a:pt x="72" y="29"/>
                  </a:cubicBez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pic>
          <p:nvPicPr>
            <p:cNvPr id="21" name="Accenture Black"/>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a:off x="476250" y="641561"/>
              <a:ext cx="2195577" cy="391107"/>
            </a:xfrm>
            <a:prstGeom prst="rect">
              <a:avLst/>
            </a:prstGeom>
          </p:spPr>
        </p:pic>
      </p:grpSp>
      <p:sp>
        <p:nvSpPr>
          <p:cNvPr id="37" name="AutoShape 7"/>
          <p:cNvSpPr>
            <a:spLocks noChangeAspect="1" noChangeArrowheads="1" noTextEdit="1"/>
          </p:cNvSpPr>
          <p:nvPr/>
        </p:nvSpPr>
        <p:spPr bwMode="auto">
          <a:xfrm>
            <a:off x="3446463" y="723900"/>
            <a:ext cx="5299075" cy="541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95" name="Group 94"/>
          <p:cNvGrpSpPr>
            <a:grpSpLocks noChangeAspect="1"/>
          </p:cNvGrpSpPr>
          <p:nvPr/>
        </p:nvGrpSpPr>
        <p:grpSpPr>
          <a:xfrm>
            <a:off x="9559232" y="335459"/>
            <a:ext cx="2250858" cy="604157"/>
            <a:chOff x="9563100" y="1673029"/>
            <a:chExt cx="1389888" cy="373063"/>
          </a:xfrm>
        </p:grpSpPr>
        <p:pic>
          <p:nvPicPr>
            <p:cNvPr id="96" name="Picture 95"/>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563100" y="1825994"/>
              <a:ext cx="1389888" cy="220098"/>
            </a:xfrm>
            <a:prstGeom prst="rect">
              <a:avLst/>
            </a:prstGeom>
          </p:spPr>
        </p:pic>
        <p:sp>
          <p:nvSpPr>
            <p:cNvPr id="97" name="Freeform 5"/>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Graphik" panose="020B0503030202060203" pitchFamily="34" charset="0"/>
              </a:endParaRPr>
            </a:p>
          </p:txBody>
        </p:sp>
      </p:grpSp>
      <p:sp>
        <p:nvSpPr>
          <p:cNvPr id="98" name="Text Placeholder 9"/>
          <p:cNvSpPr>
            <a:spLocks noGrp="1"/>
          </p:cNvSpPr>
          <p:nvPr>
            <p:ph type="body" sz="quarter" idx="13" hasCustomPrompt="1"/>
          </p:nvPr>
        </p:nvSpPr>
        <p:spPr>
          <a:xfrm>
            <a:off x="6766969" y="4344715"/>
            <a:ext cx="3859050" cy="1041195"/>
          </a:xfrm>
        </p:spPr>
        <p:txBody>
          <a:bodyPr anchor="b"/>
          <a:lstStyle>
            <a:lvl1pPr marL="0" indent="0">
              <a:lnSpc>
                <a:spcPct val="80000"/>
              </a:lnSpc>
              <a:buNone/>
              <a:defRPr sz="2000" b="0" i="0" cap="all" baseline="0">
                <a:solidFill>
                  <a:schemeClr val="tx1"/>
                </a:solidFill>
                <a:latin typeface="+mj-lt"/>
              </a:defRPr>
            </a:lvl1pPr>
          </a:lstStyle>
          <a:p>
            <a:pPr lvl="0"/>
            <a:r>
              <a:rPr lang="en-US" dirty="0"/>
              <a:t>SUBTITLE LINE</a:t>
            </a:r>
            <a:br>
              <a:rPr lang="en-US" dirty="0"/>
            </a:br>
            <a:r>
              <a:rPr lang="en-US" dirty="0"/>
              <a:t>SECOND LINE</a:t>
            </a:r>
          </a:p>
        </p:txBody>
      </p:sp>
      <p:pic>
        <p:nvPicPr>
          <p:cNvPr id="100" name="Picture 99"/>
          <p:cNvPicPr>
            <a:picLocks noChangeAspect="1"/>
          </p:cNvPicPr>
          <p:nvPr/>
        </p:nvPicPr>
        <p:blipFill>
          <a:blip r:embed="rId19"/>
          <a:stretch>
            <a:fillRect/>
          </a:stretch>
        </p:blipFill>
        <p:spPr>
          <a:xfrm>
            <a:off x="9947106" y="6279495"/>
            <a:ext cx="1833709" cy="351540"/>
          </a:xfrm>
          <a:prstGeom prst="rect">
            <a:avLst/>
          </a:prstGeom>
        </p:spPr>
      </p:pic>
    </p:spTree>
    <p:extLst>
      <p:ext uri="{BB962C8B-B14F-4D97-AF65-F5344CB8AC3E}">
        <p14:creationId xmlns:p14="http://schemas.microsoft.com/office/powerpoint/2010/main" val="363881886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320">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12_Cover">
    <p:bg>
      <p:bgPr>
        <a:solidFill>
          <a:schemeClr val="bg1"/>
        </a:solidFill>
        <a:effectLst/>
      </p:bgPr>
    </p:bg>
    <p:spTree>
      <p:nvGrpSpPr>
        <p:cNvPr id="1" name=""/>
        <p:cNvGrpSpPr/>
        <p:nvPr/>
      </p:nvGrpSpPr>
      <p:grpSpPr>
        <a:xfrm>
          <a:off x="0" y="0"/>
          <a:ext cx="0" cy="0"/>
          <a:chOff x="0" y="0"/>
          <a:chExt cx="0" cy="0"/>
        </a:xfrm>
      </p:grpSpPr>
      <p:grpSp>
        <p:nvGrpSpPr>
          <p:cNvPr id="93" name="Master Brand 03 - Outline GTS" hidden="1"/>
          <p:cNvGrpSpPr>
            <a:grpSpLocks noChangeAspect="1"/>
          </p:cNvGrpSpPr>
          <p:nvPr/>
        </p:nvGrpSpPr>
        <p:grpSpPr bwMode="auto">
          <a:xfrm>
            <a:off x="2607278" y="1006057"/>
            <a:ext cx="4774072" cy="4870800"/>
            <a:chOff x="1620" y="-106"/>
            <a:chExt cx="4442" cy="4532"/>
          </a:xfrm>
        </p:grpSpPr>
        <p:sp>
          <p:nvSpPr>
            <p:cNvPr id="94" name="Freeform 5"/>
            <p:cNvSpPr>
              <a:spLocks/>
            </p:cNvSpPr>
            <p:nvPr/>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FFEA00"/>
                </a:gs>
                <a:gs pos="100000">
                  <a:srgbClr val="FFB600"/>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95" name="Freeform 6"/>
            <p:cNvSpPr>
              <a:spLocks/>
            </p:cNvSpPr>
            <p:nvPr/>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00BA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84" name="Master Brand 03 - GRADIENT GTS" hidden="1"/>
          <p:cNvGrpSpPr/>
          <p:nvPr/>
        </p:nvGrpSpPr>
        <p:grpSpPr>
          <a:xfrm>
            <a:off x="2607278" y="1026844"/>
            <a:ext cx="4751149" cy="4850013"/>
            <a:chOff x="336907" y="342900"/>
            <a:chExt cx="2298344" cy="2346169"/>
          </a:xfrm>
        </p:grpSpPr>
        <p:sp>
          <p:nvSpPr>
            <p:cNvPr id="85"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86"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EA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66" name="Master Brand 03 - DIMENSIONAL GTS" hidden="1"/>
          <p:cNvGrpSpPr/>
          <p:nvPr/>
        </p:nvGrpSpPr>
        <p:grpSpPr>
          <a:xfrm>
            <a:off x="2622518" y="1011604"/>
            <a:ext cx="4751149" cy="4850013"/>
            <a:chOff x="336907" y="342900"/>
            <a:chExt cx="2298344" cy="2346169"/>
          </a:xfrm>
        </p:grpSpPr>
        <p:sp>
          <p:nvSpPr>
            <p:cNvPr id="67"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68"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BA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87" name="Master Brand 02 - Outline GTS" hidden="1"/>
          <p:cNvGrpSpPr>
            <a:grpSpLocks noChangeAspect="1"/>
          </p:cNvGrpSpPr>
          <p:nvPr/>
        </p:nvGrpSpPr>
        <p:grpSpPr bwMode="auto">
          <a:xfrm>
            <a:off x="2607278" y="1006057"/>
            <a:ext cx="4774072" cy="4870800"/>
            <a:chOff x="1620" y="-106"/>
            <a:chExt cx="4442" cy="4532"/>
          </a:xfrm>
        </p:grpSpPr>
        <p:sp>
          <p:nvSpPr>
            <p:cNvPr id="88" name="Freeform 5"/>
            <p:cNvSpPr>
              <a:spLocks/>
            </p:cNvSpPr>
            <p:nvPr/>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00F3FF"/>
                </a:gs>
                <a:gs pos="100000">
                  <a:srgbClr val="2800FF"/>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89" name="Freeform 6"/>
            <p:cNvSpPr>
              <a:spLocks/>
            </p:cNvSpPr>
            <p:nvPr/>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00FF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80" name="Master Brand 02 - GRADIENT GTS" hidden="1"/>
          <p:cNvGrpSpPr/>
          <p:nvPr/>
        </p:nvGrpSpPr>
        <p:grpSpPr>
          <a:xfrm>
            <a:off x="2622518" y="1011604"/>
            <a:ext cx="4751149" cy="4850013"/>
            <a:chOff x="336907" y="342900"/>
            <a:chExt cx="2298344" cy="2346169"/>
          </a:xfrm>
        </p:grpSpPr>
        <p:sp>
          <p:nvSpPr>
            <p:cNvPr id="82"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83"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28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57" name="Master Brand 02 - DIMENSIONAL GTS" hidden="1"/>
          <p:cNvGrpSpPr/>
          <p:nvPr/>
        </p:nvGrpSpPr>
        <p:grpSpPr>
          <a:xfrm>
            <a:off x="2622518" y="1011604"/>
            <a:ext cx="4751149" cy="4850013"/>
            <a:chOff x="336907" y="342900"/>
            <a:chExt cx="2298344" cy="2346169"/>
          </a:xfrm>
        </p:grpSpPr>
        <p:sp>
          <p:nvSpPr>
            <p:cNvPr id="58"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59"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FF7D"/>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90" name="Master Brand 01 - Outline GTS" hidden="1"/>
          <p:cNvGrpSpPr>
            <a:grpSpLocks noChangeAspect="1"/>
          </p:cNvGrpSpPr>
          <p:nvPr/>
        </p:nvGrpSpPr>
        <p:grpSpPr bwMode="auto">
          <a:xfrm>
            <a:off x="2607278" y="1006057"/>
            <a:ext cx="4774072" cy="4870800"/>
            <a:chOff x="1620" y="-106"/>
            <a:chExt cx="4442" cy="4532"/>
          </a:xfrm>
        </p:grpSpPr>
        <p:sp>
          <p:nvSpPr>
            <p:cNvPr id="91" name="Freeform 5"/>
            <p:cNvSpPr>
              <a:spLocks/>
            </p:cNvSpPr>
            <p:nvPr/>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FFEA00"/>
                </a:gs>
                <a:gs pos="100000">
                  <a:srgbClr val="FFB600"/>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92" name="Freeform 6"/>
            <p:cNvSpPr>
              <a:spLocks/>
            </p:cNvSpPr>
            <p:nvPr/>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7E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74" name="Master Brand 01 - GRADIENT GTS" hidden="1"/>
          <p:cNvGrpSpPr/>
          <p:nvPr/>
        </p:nvGrpSpPr>
        <p:grpSpPr>
          <a:xfrm>
            <a:off x="2622518" y="1011604"/>
            <a:ext cx="4751149" cy="4850013"/>
            <a:chOff x="336907" y="342900"/>
            <a:chExt cx="2298344" cy="2346169"/>
          </a:xfrm>
        </p:grpSpPr>
        <p:sp>
          <p:nvSpPr>
            <p:cNvPr id="77"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78"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EA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51" name="Master Brand 01 - DIMENSIONAL GTS" hidden="1"/>
          <p:cNvGrpSpPr/>
          <p:nvPr/>
        </p:nvGrpSpPr>
        <p:grpSpPr>
          <a:xfrm>
            <a:off x="2622518" y="1011604"/>
            <a:ext cx="4751149" cy="4850013"/>
            <a:chOff x="336907" y="342900"/>
            <a:chExt cx="2298344" cy="2346169"/>
          </a:xfrm>
        </p:grpSpPr>
        <p:sp>
          <p:nvSpPr>
            <p:cNvPr id="52"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53"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7E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81" name="Consulting - GRADIENT GTS" hidden="1"/>
          <p:cNvSpPr>
            <a:spLocks/>
          </p:cNvSpPr>
          <p:nvPr/>
        </p:nvSpPr>
        <p:spPr bwMode="auto">
          <a:xfrm>
            <a:off x="2623154" y="1012417"/>
            <a:ext cx="4752000" cy="4849200"/>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00F3FF"/>
              </a:gs>
              <a:gs pos="98000">
                <a:srgbClr val="7E00FF"/>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71" name="Consulting - OUTLINED GTS" hidden="1"/>
          <p:cNvSpPr>
            <a:spLocks noEditPoints="1"/>
          </p:cNvSpPr>
          <p:nvPr/>
        </p:nvSpPr>
        <p:spPr bwMode="auto">
          <a:xfrm>
            <a:off x="2606930" y="1003887"/>
            <a:ext cx="4772285" cy="4872243"/>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7E00FF"/>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63" name="Consulting - DIMENSIONAL GTS" hidden="1"/>
          <p:cNvGrpSpPr/>
          <p:nvPr/>
        </p:nvGrpSpPr>
        <p:grpSpPr>
          <a:xfrm>
            <a:off x="2622518" y="1011604"/>
            <a:ext cx="4751149" cy="4850013"/>
            <a:chOff x="336907" y="342900"/>
            <a:chExt cx="2298344" cy="2346169"/>
          </a:xfrm>
        </p:grpSpPr>
        <p:sp>
          <p:nvSpPr>
            <p:cNvPr id="64"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7E00FF"/>
                </a:gs>
                <a:gs pos="100000">
                  <a:srgbClr val="380089"/>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65"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7E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79" name="Digital - GRADIENT GTS" hidden="1"/>
          <p:cNvSpPr>
            <a:spLocks/>
          </p:cNvSpPr>
          <p:nvPr/>
        </p:nvSpPr>
        <p:spPr bwMode="auto">
          <a:xfrm>
            <a:off x="2623154" y="1012417"/>
            <a:ext cx="4752000" cy="4849200"/>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FFB600"/>
              </a:gs>
              <a:gs pos="98000">
                <a:srgbClr val="FFFF00"/>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72" name="Digital - OUTLINED GTS" hidden="1"/>
          <p:cNvSpPr>
            <a:spLocks noEditPoints="1"/>
          </p:cNvSpPr>
          <p:nvPr/>
        </p:nvSpPr>
        <p:spPr bwMode="auto">
          <a:xfrm>
            <a:off x="2606930" y="1003887"/>
            <a:ext cx="4772285" cy="4872243"/>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FFFF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60" name="Digital - DIMENSIONAL GTS" hidden="1"/>
          <p:cNvGrpSpPr/>
          <p:nvPr/>
        </p:nvGrpSpPr>
        <p:grpSpPr>
          <a:xfrm>
            <a:off x="2622518" y="1011604"/>
            <a:ext cx="4751149" cy="4850013"/>
            <a:chOff x="336907" y="342900"/>
            <a:chExt cx="2298344" cy="2346169"/>
          </a:xfrm>
        </p:grpSpPr>
        <p:sp>
          <p:nvSpPr>
            <p:cNvPr id="61"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FF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62"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FF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76" name="Operations - GRADIENT GTS" hidden="1"/>
          <p:cNvSpPr>
            <a:spLocks/>
          </p:cNvSpPr>
          <p:nvPr/>
        </p:nvSpPr>
        <p:spPr bwMode="auto">
          <a:xfrm>
            <a:off x="2623154" y="1012417"/>
            <a:ext cx="4752000" cy="4849200"/>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2800FF"/>
              </a:gs>
              <a:gs pos="98000">
                <a:srgbClr val="00F3FF"/>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70" name="Operations - OUTLINED GTS" hidden="1"/>
          <p:cNvSpPr>
            <a:spLocks noEditPoints="1"/>
          </p:cNvSpPr>
          <p:nvPr/>
        </p:nvSpPr>
        <p:spPr bwMode="auto">
          <a:xfrm>
            <a:off x="2606930" y="1003887"/>
            <a:ext cx="4772285" cy="4872243"/>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00F3FF"/>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54" name="Operations - DIMENSIONAL GTS" hidden="1"/>
          <p:cNvGrpSpPr/>
          <p:nvPr/>
        </p:nvGrpSpPr>
        <p:grpSpPr>
          <a:xfrm>
            <a:off x="2622518" y="1011604"/>
            <a:ext cx="4751149" cy="4850013"/>
            <a:chOff x="336907" y="342900"/>
            <a:chExt cx="2298344" cy="2346169"/>
          </a:xfrm>
        </p:grpSpPr>
        <p:sp>
          <p:nvSpPr>
            <p:cNvPr id="55"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56"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73" name="Strategy - GRADIENT GTS" hidden="1"/>
          <p:cNvSpPr>
            <a:spLocks/>
          </p:cNvSpPr>
          <p:nvPr/>
        </p:nvSpPr>
        <p:spPr bwMode="auto">
          <a:xfrm>
            <a:off x="2623155" y="1011604"/>
            <a:ext cx="4750511" cy="4850013"/>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710012"/>
              </a:gs>
              <a:gs pos="98000">
                <a:srgbClr val="FF0000"/>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69" name="Strategy - OUTLINED GTS" hidden="1"/>
          <p:cNvSpPr>
            <a:spLocks noEditPoints="1"/>
          </p:cNvSpPr>
          <p:nvPr/>
        </p:nvSpPr>
        <p:spPr bwMode="auto">
          <a:xfrm>
            <a:off x="2606930" y="1003887"/>
            <a:ext cx="4772285" cy="4872243"/>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36" name="Strategy - DIMENSIONAL GTS" hidden="1"/>
          <p:cNvGrpSpPr/>
          <p:nvPr/>
        </p:nvGrpSpPr>
        <p:grpSpPr>
          <a:xfrm>
            <a:off x="2622518" y="1011604"/>
            <a:ext cx="4751149" cy="4850013"/>
            <a:chOff x="336907" y="342900"/>
            <a:chExt cx="2298344" cy="2346169"/>
          </a:xfrm>
        </p:grpSpPr>
        <p:sp>
          <p:nvSpPr>
            <p:cNvPr id="37"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0000"/>
                </a:gs>
                <a:gs pos="100000">
                  <a:srgbClr val="710012"/>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38"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75" name="Technology - GRADIENT GTS" hidden="1"/>
          <p:cNvSpPr>
            <a:spLocks/>
          </p:cNvSpPr>
          <p:nvPr/>
        </p:nvSpPr>
        <p:spPr bwMode="auto">
          <a:xfrm>
            <a:off x="2623154" y="1012417"/>
            <a:ext cx="4752000" cy="4849200"/>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00F3FF"/>
              </a:gs>
              <a:gs pos="98000">
                <a:srgbClr val="00FF00"/>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49" name="Technology - OUTLINED GTS" hidden="1"/>
          <p:cNvSpPr>
            <a:spLocks noEditPoints="1"/>
          </p:cNvSpPr>
          <p:nvPr/>
        </p:nvSpPr>
        <p:spPr bwMode="auto">
          <a:xfrm>
            <a:off x="2606930" y="1003887"/>
            <a:ext cx="4772285" cy="4872243"/>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00FF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pic>
        <p:nvPicPr>
          <p:cNvPr id="20" name="Accenture_Technology_WHITE" hidden="1"/>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7756800" y="464712"/>
            <a:ext cx="3855600" cy="618771"/>
          </a:xfrm>
          <a:prstGeom prst="rect">
            <a:avLst/>
          </a:prstGeom>
        </p:spPr>
      </p:pic>
      <p:pic>
        <p:nvPicPr>
          <p:cNvPr id="24" name="Accenture_Strategy_WHITE" hidden="1"/>
          <p:cNvPicPr>
            <a:picLocks noChangeAspect="1"/>
          </p:cNvPicPr>
          <p:nvPr/>
        </p:nvPicPr>
        <p:blipFill>
          <a:blip r:embed="rId3"/>
          <a:stretch>
            <a:fillRect/>
          </a:stretch>
        </p:blipFill>
        <p:spPr>
          <a:xfrm>
            <a:off x="7773000" y="459803"/>
            <a:ext cx="3276000" cy="623063"/>
          </a:xfrm>
          <a:prstGeom prst="rect">
            <a:avLst/>
          </a:prstGeom>
        </p:spPr>
      </p:pic>
      <p:pic>
        <p:nvPicPr>
          <p:cNvPr id="32" name="Accenture_Strategy_BLACK" hidden="1"/>
          <p:cNvPicPr>
            <a:picLocks noChangeAspect="1"/>
          </p:cNvPicPr>
          <p:nvPr/>
        </p:nvPicPr>
        <p:blipFill>
          <a:blip r:embed="rId4"/>
          <a:stretch>
            <a:fillRect/>
          </a:stretch>
        </p:blipFill>
        <p:spPr>
          <a:xfrm>
            <a:off x="7772739" y="459803"/>
            <a:ext cx="3276261" cy="623113"/>
          </a:xfrm>
          <a:prstGeom prst="rect">
            <a:avLst/>
          </a:prstGeom>
        </p:spPr>
      </p:pic>
      <p:pic>
        <p:nvPicPr>
          <p:cNvPr id="23" name="Accenture_Operations_WHITE" hidden="1"/>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7773225" y="476724"/>
            <a:ext cx="3704400" cy="613912"/>
          </a:xfrm>
          <a:prstGeom prst="rect">
            <a:avLst/>
          </a:prstGeom>
        </p:spPr>
      </p:pic>
      <p:pic>
        <p:nvPicPr>
          <p:cNvPr id="31" name="Accenture_Operations_BLACK" hidden="1"/>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7772739" y="476724"/>
            <a:ext cx="3704886" cy="613992"/>
          </a:xfrm>
          <a:prstGeom prst="rect">
            <a:avLst/>
          </a:prstGeom>
        </p:spPr>
      </p:pic>
      <p:pic>
        <p:nvPicPr>
          <p:cNvPr id="26" name="Accenture_Mobility_WHITE" hidden="1"/>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7754100" y="651110"/>
            <a:ext cx="3866400" cy="684773"/>
          </a:xfrm>
          <a:prstGeom prst="rect">
            <a:avLst/>
          </a:prstGeom>
        </p:spPr>
      </p:pic>
      <p:pic>
        <p:nvPicPr>
          <p:cNvPr id="34" name="Accenture_Mobility_BLACK" hidden="1"/>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7753350" y="651110"/>
            <a:ext cx="3867150" cy="684905"/>
          </a:xfrm>
          <a:prstGeom prst="rect">
            <a:avLst/>
          </a:prstGeom>
        </p:spPr>
      </p:pic>
      <p:pic>
        <p:nvPicPr>
          <p:cNvPr id="28" name="Accenture_Interactive_WHITE" hidden="1"/>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7754100" y="657225"/>
            <a:ext cx="3866400" cy="683539"/>
          </a:xfrm>
          <a:prstGeom prst="rect">
            <a:avLst/>
          </a:prstGeom>
        </p:spPr>
      </p:pic>
      <p:pic>
        <p:nvPicPr>
          <p:cNvPr id="42" name="Accenture_Interactive_BLACK" hidden="1"/>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7754100" y="657225"/>
            <a:ext cx="3866400" cy="683539"/>
          </a:xfrm>
          <a:prstGeom prst="rect">
            <a:avLst/>
          </a:prstGeom>
        </p:spPr>
      </p:pic>
      <p:pic>
        <p:nvPicPr>
          <p:cNvPr id="25" name="Accenture_Analytics_WHITE" hidden="1"/>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7753349" y="658010"/>
            <a:ext cx="3866400" cy="692114"/>
          </a:xfrm>
          <a:prstGeom prst="rect">
            <a:avLst/>
          </a:prstGeom>
        </p:spPr>
      </p:pic>
      <p:pic>
        <p:nvPicPr>
          <p:cNvPr id="33" name="Accenture_Analytics_BLACK" hidden="1"/>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7753349" y="658010"/>
            <a:ext cx="3867151" cy="692249"/>
          </a:xfrm>
          <a:prstGeom prst="rect">
            <a:avLst/>
          </a:prstGeom>
        </p:spPr>
      </p:pic>
      <p:pic>
        <p:nvPicPr>
          <p:cNvPr id="27" name="Accenture_Digital_WHITE" hidden="1"/>
          <p:cNvPicPr>
            <a:picLocks noChangeAspect="1"/>
          </p:cNvPicPr>
          <p:nvPr/>
        </p:nvPicPr>
        <p:blipFill>
          <a:blip r:embed="rId13"/>
          <a:stretch>
            <a:fillRect/>
          </a:stretch>
        </p:blipFill>
        <p:spPr>
          <a:xfrm>
            <a:off x="7756425" y="467886"/>
            <a:ext cx="2959200" cy="635308"/>
          </a:xfrm>
          <a:prstGeom prst="rect">
            <a:avLst/>
          </a:prstGeom>
        </p:spPr>
      </p:pic>
      <p:pic>
        <p:nvPicPr>
          <p:cNvPr id="35" name="Accenture_Digital_BLACK" hidden="1"/>
          <p:cNvPicPr>
            <a:picLocks noChangeAspect="1"/>
          </p:cNvPicPr>
          <p:nvPr/>
        </p:nvPicPr>
        <p:blipFill>
          <a:blip r:embed="rId14"/>
          <a:stretch>
            <a:fillRect/>
          </a:stretch>
        </p:blipFill>
        <p:spPr>
          <a:xfrm>
            <a:off x="7756072" y="467886"/>
            <a:ext cx="2959553" cy="635385"/>
          </a:xfrm>
          <a:prstGeom prst="rect">
            <a:avLst/>
          </a:prstGeom>
        </p:spPr>
      </p:pic>
      <p:pic>
        <p:nvPicPr>
          <p:cNvPr id="22" name="Accenture_Consulting_WHITE" hidden="1"/>
          <p:cNvPicPr>
            <a:picLocks noChangeAspect="1"/>
          </p:cNvPicPr>
          <p:nvPr/>
        </p:nvPicPr>
        <p:blipFill>
          <a:blip r:embed="rId15"/>
          <a:stretch>
            <a:fillRect/>
          </a:stretch>
        </p:blipFill>
        <p:spPr>
          <a:xfrm>
            <a:off x="7755225" y="464711"/>
            <a:ext cx="3722400" cy="633721"/>
          </a:xfrm>
          <a:prstGeom prst="rect">
            <a:avLst/>
          </a:prstGeom>
        </p:spPr>
      </p:pic>
      <p:pic>
        <p:nvPicPr>
          <p:cNvPr id="30" name="Accenture_Consulting_BLACK" hidden="1"/>
          <p:cNvPicPr>
            <a:picLocks noChangeAspect="1"/>
          </p:cNvPicPr>
          <p:nvPr/>
        </p:nvPicPr>
        <p:blipFill>
          <a:blip r:embed="rId16"/>
          <a:stretch>
            <a:fillRect/>
          </a:stretch>
        </p:blipFill>
        <p:spPr>
          <a:xfrm>
            <a:off x="7756071" y="464711"/>
            <a:ext cx="3721554" cy="633578"/>
          </a:xfrm>
          <a:prstGeom prst="rect">
            <a:avLst/>
          </a:prstGeom>
        </p:spPr>
      </p:pic>
      <p:grpSp>
        <p:nvGrpSpPr>
          <p:cNvPr id="39" name="Accenture_MasterWHITE" hidden="1"/>
          <p:cNvGrpSpPr/>
          <p:nvPr/>
        </p:nvGrpSpPr>
        <p:grpSpPr>
          <a:xfrm>
            <a:off x="7782263" y="470921"/>
            <a:ext cx="1828462" cy="530297"/>
            <a:chOff x="457202" y="420673"/>
            <a:chExt cx="2182661" cy="633434"/>
          </a:xfrm>
        </p:grpSpPr>
        <p:sp>
          <p:nvSpPr>
            <p:cNvPr id="40" name="Freeform 6"/>
            <p:cNvSpPr>
              <a:spLocks noEditPoints="1"/>
            </p:cNvSpPr>
            <p:nvPr/>
          </p:nvSpPr>
          <p:spPr bwMode="auto">
            <a:xfrm>
              <a:off x="457202" y="668790"/>
              <a:ext cx="2182661" cy="385317"/>
            </a:xfrm>
            <a:custGeom>
              <a:avLst/>
              <a:gdLst>
                <a:gd name="T0" fmla="*/ 35 w 765"/>
                <a:gd name="T1" fmla="*/ 118 h 135"/>
                <a:gd name="T2" fmla="*/ 56 w 765"/>
                <a:gd name="T3" fmla="*/ 88 h 135"/>
                <a:gd name="T4" fmla="*/ 78 w 765"/>
                <a:gd name="T5" fmla="*/ 62 h 135"/>
                <a:gd name="T6" fmla="*/ 4 w 765"/>
                <a:gd name="T7" fmla="*/ 62 h 135"/>
                <a:gd name="T8" fmla="*/ 42 w 765"/>
                <a:gd name="T9" fmla="*/ 47 h 135"/>
                <a:gd name="T10" fmla="*/ 56 w 765"/>
                <a:gd name="T11" fmla="*/ 75 h 135"/>
                <a:gd name="T12" fmla="*/ 30 w 765"/>
                <a:gd name="T13" fmla="*/ 135 h 135"/>
                <a:gd name="T14" fmla="*/ 56 w 765"/>
                <a:gd name="T15" fmla="*/ 121 h 135"/>
                <a:gd name="T16" fmla="*/ 78 w 765"/>
                <a:gd name="T17" fmla="*/ 132 h 135"/>
                <a:gd name="T18" fmla="*/ 132 w 765"/>
                <a:gd name="T19" fmla="*/ 47 h 135"/>
                <a:gd name="T20" fmla="*/ 154 w 765"/>
                <a:gd name="T21" fmla="*/ 118 h 135"/>
                <a:gd name="T22" fmla="*/ 171 w 765"/>
                <a:gd name="T23" fmla="*/ 130 h 135"/>
                <a:gd name="T24" fmla="*/ 88 w 765"/>
                <a:gd name="T25" fmla="*/ 78 h 135"/>
                <a:gd name="T26" fmla="*/ 172 w 765"/>
                <a:gd name="T27" fmla="*/ 67 h 135"/>
                <a:gd name="T28" fmla="*/ 236 w 765"/>
                <a:gd name="T29" fmla="*/ 67 h 135"/>
                <a:gd name="T30" fmla="*/ 202 w 765"/>
                <a:gd name="T31" fmla="*/ 74 h 135"/>
                <a:gd name="T32" fmla="*/ 260 w 765"/>
                <a:gd name="T33" fmla="*/ 116 h 135"/>
                <a:gd name="T34" fmla="*/ 231 w 765"/>
                <a:gd name="T35" fmla="*/ 135 h 135"/>
                <a:gd name="T36" fmla="*/ 223 w 765"/>
                <a:gd name="T37" fmla="*/ 31 h 135"/>
                <a:gd name="T38" fmla="*/ 236 w 765"/>
                <a:gd name="T39" fmla="*/ 67 h 135"/>
                <a:gd name="T40" fmla="*/ 291 w 765"/>
                <a:gd name="T41" fmla="*/ 63 h 135"/>
                <a:gd name="T42" fmla="*/ 327 w 765"/>
                <a:gd name="T43" fmla="*/ 63 h 135"/>
                <a:gd name="T44" fmla="*/ 349 w 765"/>
                <a:gd name="T45" fmla="*/ 71 h 135"/>
                <a:gd name="T46" fmla="*/ 269 w 765"/>
                <a:gd name="T47" fmla="*/ 77 h 135"/>
                <a:gd name="T48" fmla="*/ 347 w 765"/>
                <a:gd name="T49" fmla="*/ 131 h 135"/>
                <a:gd name="T50" fmla="*/ 328 w 765"/>
                <a:gd name="T51" fmla="*/ 118 h 135"/>
                <a:gd name="T52" fmla="*/ 349 w 765"/>
                <a:gd name="T53" fmla="*/ 77 h 135"/>
                <a:gd name="T54" fmla="*/ 418 w 765"/>
                <a:gd name="T55" fmla="*/ 76 h 135"/>
                <a:gd name="T56" fmla="*/ 408 w 765"/>
                <a:gd name="T57" fmla="*/ 52 h 135"/>
                <a:gd name="T58" fmla="*/ 384 w 765"/>
                <a:gd name="T59" fmla="*/ 132 h 135"/>
                <a:gd name="T60" fmla="*/ 361 w 765"/>
                <a:gd name="T61" fmla="*/ 33 h 135"/>
                <a:gd name="T62" fmla="*/ 384 w 765"/>
                <a:gd name="T63" fmla="*/ 51 h 135"/>
                <a:gd name="T64" fmla="*/ 414 w 765"/>
                <a:gd name="T65" fmla="*/ 31 h 135"/>
                <a:gd name="T66" fmla="*/ 441 w 765"/>
                <a:gd name="T67" fmla="*/ 132 h 135"/>
                <a:gd name="T68" fmla="*/ 489 w 765"/>
                <a:gd name="T69" fmla="*/ 49 h 135"/>
                <a:gd name="T70" fmla="*/ 505 w 765"/>
                <a:gd name="T71" fmla="*/ 118 h 135"/>
                <a:gd name="T72" fmla="*/ 516 w 765"/>
                <a:gd name="T73" fmla="*/ 133 h 135"/>
                <a:gd name="T74" fmla="*/ 466 w 765"/>
                <a:gd name="T75" fmla="*/ 107 h 135"/>
                <a:gd name="T76" fmla="*/ 447 w 765"/>
                <a:gd name="T77" fmla="*/ 49 h 135"/>
                <a:gd name="T78" fmla="*/ 466 w 765"/>
                <a:gd name="T79" fmla="*/ 33 h 135"/>
                <a:gd name="T80" fmla="*/ 489 w 765"/>
                <a:gd name="T81" fmla="*/ 0 h 135"/>
                <a:gd name="T82" fmla="*/ 519 w 765"/>
                <a:gd name="T83" fmla="*/ 33 h 135"/>
                <a:gd name="T84" fmla="*/ 489 w 765"/>
                <a:gd name="T85" fmla="*/ 49 h 135"/>
                <a:gd name="T86" fmla="*/ 586 w 765"/>
                <a:gd name="T87" fmla="*/ 114 h 135"/>
                <a:gd name="T88" fmla="*/ 556 w 765"/>
                <a:gd name="T89" fmla="*/ 135 h 135"/>
                <a:gd name="T90" fmla="*/ 529 w 765"/>
                <a:gd name="T91" fmla="*/ 33 h 135"/>
                <a:gd name="T92" fmla="*/ 552 w 765"/>
                <a:gd name="T93" fmla="*/ 90 h 135"/>
                <a:gd name="T94" fmla="*/ 563 w 765"/>
                <a:gd name="T95" fmla="*/ 113 h 135"/>
                <a:gd name="T96" fmla="*/ 586 w 765"/>
                <a:gd name="T97" fmla="*/ 33 h 135"/>
                <a:gd name="T98" fmla="*/ 609 w 765"/>
                <a:gd name="T99" fmla="*/ 132 h 135"/>
                <a:gd name="T100" fmla="*/ 647 w 765"/>
                <a:gd name="T101" fmla="*/ 89 h 135"/>
                <a:gd name="T102" fmla="*/ 624 w 765"/>
                <a:gd name="T103" fmla="*/ 132 h 135"/>
                <a:gd name="T104" fmla="*/ 647 w 765"/>
                <a:gd name="T105" fmla="*/ 33 h 135"/>
                <a:gd name="T106" fmla="*/ 648 w 765"/>
                <a:gd name="T107" fmla="*/ 51 h 135"/>
                <a:gd name="T108" fmla="*/ 680 w 765"/>
                <a:gd name="T109" fmla="*/ 55 h 135"/>
                <a:gd name="T110" fmla="*/ 743 w 765"/>
                <a:gd name="T111" fmla="*/ 63 h 135"/>
                <a:gd name="T112" fmla="*/ 726 w 765"/>
                <a:gd name="T113" fmla="*/ 45 h 135"/>
                <a:gd name="T114" fmla="*/ 765 w 765"/>
                <a:gd name="T115" fmla="*/ 77 h 135"/>
                <a:gd name="T116" fmla="*/ 727 w 765"/>
                <a:gd name="T117" fmla="*/ 31 h 135"/>
                <a:gd name="T118" fmla="*/ 735 w 765"/>
                <a:gd name="T119" fmla="*/ 135 h 135"/>
                <a:gd name="T120" fmla="*/ 763 w 765"/>
                <a:gd name="T121" fmla="*/ 115 h 135"/>
                <a:gd name="T122" fmla="*/ 706 w 765"/>
                <a:gd name="T123" fmla="*/ 7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5" h="135">
                  <a:moveTo>
                    <a:pt x="56" y="88"/>
                  </a:moveTo>
                  <a:cubicBezTo>
                    <a:pt x="56" y="101"/>
                    <a:pt x="51" y="118"/>
                    <a:pt x="35" y="118"/>
                  </a:cubicBezTo>
                  <a:cubicBezTo>
                    <a:pt x="28" y="118"/>
                    <a:pt x="23" y="114"/>
                    <a:pt x="23" y="106"/>
                  </a:cubicBezTo>
                  <a:cubicBezTo>
                    <a:pt x="23" y="91"/>
                    <a:pt x="45" y="88"/>
                    <a:pt x="56" y="88"/>
                  </a:cubicBezTo>
                  <a:close/>
                  <a:moveTo>
                    <a:pt x="78" y="132"/>
                  </a:moveTo>
                  <a:cubicBezTo>
                    <a:pt x="78" y="62"/>
                    <a:pt x="78" y="62"/>
                    <a:pt x="78" y="62"/>
                  </a:cubicBezTo>
                  <a:cubicBezTo>
                    <a:pt x="78" y="38"/>
                    <a:pt x="63" y="31"/>
                    <a:pt x="42" y="31"/>
                  </a:cubicBezTo>
                  <a:cubicBezTo>
                    <a:pt x="21" y="31"/>
                    <a:pt x="4" y="39"/>
                    <a:pt x="4" y="62"/>
                  </a:cubicBezTo>
                  <a:cubicBezTo>
                    <a:pt x="27" y="62"/>
                    <a:pt x="27" y="62"/>
                    <a:pt x="27" y="62"/>
                  </a:cubicBezTo>
                  <a:cubicBezTo>
                    <a:pt x="27" y="52"/>
                    <a:pt x="32" y="47"/>
                    <a:pt x="42" y="47"/>
                  </a:cubicBezTo>
                  <a:cubicBezTo>
                    <a:pt x="53" y="47"/>
                    <a:pt x="56" y="55"/>
                    <a:pt x="56" y="65"/>
                  </a:cubicBezTo>
                  <a:cubicBezTo>
                    <a:pt x="56" y="75"/>
                    <a:pt x="56" y="75"/>
                    <a:pt x="56" y="75"/>
                  </a:cubicBezTo>
                  <a:cubicBezTo>
                    <a:pt x="33" y="76"/>
                    <a:pt x="0" y="79"/>
                    <a:pt x="0" y="109"/>
                  </a:cubicBezTo>
                  <a:cubicBezTo>
                    <a:pt x="0" y="125"/>
                    <a:pt x="14" y="135"/>
                    <a:pt x="30" y="135"/>
                  </a:cubicBezTo>
                  <a:cubicBezTo>
                    <a:pt x="41" y="135"/>
                    <a:pt x="51" y="131"/>
                    <a:pt x="56" y="121"/>
                  </a:cubicBezTo>
                  <a:cubicBezTo>
                    <a:pt x="56" y="121"/>
                    <a:pt x="56" y="121"/>
                    <a:pt x="56" y="121"/>
                  </a:cubicBezTo>
                  <a:cubicBezTo>
                    <a:pt x="56" y="132"/>
                    <a:pt x="56" y="132"/>
                    <a:pt x="56" y="132"/>
                  </a:cubicBezTo>
                  <a:lnTo>
                    <a:pt x="78" y="132"/>
                  </a:lnTo>
                  <a:close/>
                  <a:moveTo>
                    <a:pt x="147" y="67"/>
                  </a:moveTo>
                  <a:cubicBezTo>
                    <a:pt x="147" y="57"/>
                    <a:pt x="144" y="47"/>
                    <a:pt x="132" y="47"/>
                  </a:cubicBezTo>
                  <a:cubicBezTo>
                    <a:pt x="117" y="47"/>
                    <a:pt x="113" y="62"/>
                    <a:pt x="113" y="74"/>
                  </a:cubicBezTo>
                  <a:cubicBezTo>
                    <a:pt x="113" y="99"/>
                    <a:pt x="128" y="118"/>
                    <a:pt x="154" y="118"/>
                  </a:cubicBezTo>
                  <a:cubicBezTo>
                    <a:pt x="160" y="118"/>
                    <a:pt x="165" y="118"/>
                    <a:pt x="171" y="116"/>
                  </a:cubicBezTo>
                  <a:cubicBezTo>
                    <a:pt x="171" y="130"/>
                    <a:pt x="171" y="130"/>
                    <a:pt x="171" y="130"/>
                  </a:cubicBezTo>
                  <a:cubicBezTo>
                    <a:pt x="161" y="133"/>
                    <a:pt x="151" y="135"/>
                    <a:pt x="142" y="135"/>
                  </a:cubicBezTo>
                  <a:cubicBezTo>
                    <a:pt x="106" y="135"/>
                    <a:pt x="88" y="113"/>
                    <a:pt x="88" y="78"/>
                  </a:cubicBezTo>
                  <a:cubicBezTo>
                    <a:pt x="88" y="49"/>
                    <a:pt x="104" y="31"/>
                    <a:pt x="134" y="31"/>
                  </a:cubicBezTo>
                  <a:cubicBezTo>
                    <a:pt x="158" y="31"/>
                    <a:pt x="172" y="42"/>
                    <a:pt x="172" y="67"/>
                  </a:cubicBezTo>
                  <a:lnTo>
                    <a:pt x="147" y="67"/>
                  </a:lnTo>
                  <a:close/>
                  <a:moveTo>
                    <a:pt x="236" y="67"/>
                  </a:moveTo>
                  <a:cubicBezTo>
                    <a:pt x="236" y="57"/>
                    <a:pt x="233" y="47"/>
                    <a:pt x="221" y="47"/>
                  </a:cubicBezTo>
                  <a:cubicBezTo>
                    <a:pt x="206" y="47"/>
                    <a:pt x="202" y="62"/>
                    <a:pt x="202" y="74"/>
                  </a:cubicBezTo>
                  <a:cubicBezTo>
                    <a:pt x="202" y="99"/>
                    <a:pt x="217" y="118"/>
                    <a:pt x="243" y="118"/>
                  </a:cubicBezTo>
                  <a:cubicBezTo>
                    <a:pt x="249" y="118"/>
                    <a:pt x="254" y="118"/>
                    <a:pt x="260" y="116"/>
                  </a:cubicBezTo>
                  <a:cubicBezTo>
                    <a:pt x="260" y="130"/>
                    <a:pt x="260" y="130"/>
                    <a:pt x="260" y="130"/>
                  </a:cubicBezTo>
                  <a:cubicBezTo>
                    <a:pt x="250" y="133"/>
                    <a:pt x="241" y="135"/>
                    <a:pt x="231" y="135"/>
                  </a:cubicBezTo>
                  <a:cubicBezTo>
                    <a:pt x="195" y="135"/>
                    <a:pt x="177" y="113"/>
                    <a:pt x="177" y="78"/>
                  </a:cubicBezTo>
                  <a:cubicBezTo>
                    <a:pt x="177" y="49"/>
                    <a:pt x="193" y="31"/>
                    <a:pt x="223" y="31"/>
                  </a:cubicBezTo>
                  <a:cubicBezTo>
                    <a:pt x="247" y="31"/>
                    <a:pt x="261" y="42"/>
                    <a:pt x="261" y="67"/>
                  </a:cubicBezTo>
                  <a:lnTo>
                    <a:pt x="236" y="67"/>
                  </a:lnTo>
                  <a:close/>
                  <a:moveTo>
                    <a:pt x="327" y="63"/>
                  </a:moveTo>
                  <a:cubicBezTo>
                    <a:pt x="291" y="63"/>
                    <a:pt x="291" y="63"/>
                    <a:pt x="291" y="63"/>
                  </a:cubicBezTo>
                  <a:cubicBezTo>
                    <a:pt x="292" y="53"/>
                    <a:pt x="300" y="45"/>
                    <a:pt x="310" y="45"/>
                  </a:cubicBezTo>
                  <a:cubicBezTo>
                    <a:pt x="320" y="45"/>
                    <a:pt x="327" y="52"/>
                    <a:pt x="327" y="63"/>
                  </a:cubicBezTo>
                  <a:close/>
                  <a:moveTo>
                    <a:pt x="349" y="77"/>
                  </a:moveTo>
                  <a:cubicBezTo>
                    <a:pt x="349" y="71"/>
                    <a:pt x="349" y="71"/>
                    <a:pt x="349" y="71"/>
                  </a:cubicBezTo>
                  <a:cubicBezTo>
                    <a:pt x="349" y="47"/>
                    <a:pt x="337" y="31"/>
                    <a:pt x="311" y="31"/>
                  </a:cubicBezTo>
                  <a:cubicBezTo>
                    <a:pt x="282" y="31"/>
                    <a:pt x="269" y="49"/>
                    <a:pt x="269" y="77"/>
                  </a:cubicBezTo>
                  <a:cubicBezTo>
                    <a:pt x="269" y="110"/>
                    <a:pt x="283" y="135"/>
                    <a:pt x="319" y="135"/>
                  </a:cubicBezTo>
                  <a:cubicBezTo>
                    <a:pt x="328" y="135"/>
                    <a:pt x="338" y="134"/>
                    <a:pt x="347" y="131"/>
                  </a:cubicBezTo>
                  <a:cubicBezTo>
                    <a:pt x="347" y="115"/>
                    <a:pt x="347" y="115"/>
                    <a:pt x="347" y="115"/>
                  </a:cubicBezTo>
                  <a:cubicBezTo>
                    <a:pt x="341" y="117"/>
                    <a:pt x="334" y="118"/>
                    <a:pt x="328" y="118"/>
                  </a:cubicBezTo>
                  <a:cubicBezTo>
                    <a:pt x="305" y="118"/>
                    <a:pt x="290" y="98"/>
                    <a:pt x="290" y="77"/>
                  </a:cubicBezTo>
                  <a:lnTo>
                    <a:pt x="349" y="77"/>
                  </a:lnTo>
                  <a:close/>
                  <a:moveTo>
                    <a:pt x="418" y="132"/>
                  </a:moveTo>
                  <a:cubicBezTo>
                    <a:pt x="418" y="76"/>
                    <a:pt x="418" y="76"/>
                    <a:pt x="418" y="76"/>
                  </a:cubicBezTo>
                  <a:cubicBezTo>
                    <a:pt x="418" y="71"/>
                    <a:pt x="418" y="58"/>
                    <a:pt x="414" y="54"/>
                  </a:cubicBezTo>
                  <a:cubicBezTo>
                    <a:pt x="413" y="53"/>
                    <a:pt x="410" y="52"/>
                    <a:pt x="408" y="52"/>
                  </a:cubicBezTo>
                  <a:cubicBezTo>
                    <a:pt x="391" y="52"/>
                    <a:pt x="384" y="76"/>
                    <a:pt x="384" y="89"/>
                  </a:cubicBezTo>
                  <a:cubicBezTo>
                    <a:pt x="384" y="132"/>
                    <a:pt x="384" y="132"/>
                    <a:pt x="384" y="132"/>
                  </a:cubicBezTo>
                  <a:cubicBezTo>
                    <a:pt x="361" y="132"/>
                    <a:pt x="361" y="132"/>
                    <a:pt x="361" y="132"/>
                  </a:cubicBezTo>
                  <a:cubicBezTo>
                    <a:pt x="361" y="33"/>
                    <a:pt x="361" y="33"/>
                    <a:pt x="361" y="33"/>
                  </a:cubicBezTo>
                  <a:cubicBezTo>
                    <a:pt x="384" y="33"/>
                    <a:pt x="384" y="33"/>
                    <a:pt x="384" y="33"/>
                  </a:cubicBezTo>
                  <a:cubicBezTo>
                    <a:pt x="384" y="51"/>
                    <a:pt x="384" y="51"/>
                    <a:pt x="384" y="51"/>
                  </a:cubicBezTo>
                  <a:cubicBezTo>
                    <a:pt x="385" y="51"/>
                    <a:pt x="385" y="51"/>
                    <a:pt x="385" y="51"/>
                  </a:cubicBezTo>
                  <a:cubicBezTo>
                    <a:pt x="390" y="39"/>
                    <a:pt x="400" y="31"/>
                    <a:pt x="414" y="31"/>
                  </a:cubicBezTo>
                  <a:cubicBezTo>
                    <a:pt x="433" y="31"/>
                    <a:pt x="441" y="46"/>
                    <a:pt x="441" y="63"/>
                  </a:cubicBezTo>
                  <a:cubicBezTo>
                    <a:pt x="441" y="132"/>
                    <a:pt x="441" y="132"/>
                    <a:pt x="441" y="132"/>
                  </a:cubicBezTo>
                  <a:lnTo>
                    <a:pt x="418" y="132"/>
                  </a:lnTo>
                  <a:close/>
                  <a:moveTo>
                    <a:pt x="489" y="49"/>
                  </a:moveTo>
                  <a:cubicBezTo>
                    <a:pt x="489" y="96"/>
                    <a:pt x="489" y="96"/>
                    <a:pt x="489" y="96"/>
                  </a:cubicBezTo>
                  <a:cubicBezTo>
                    <a:pt x="489" y="108"/>
                    <a:pt x="491" y="118"/>
                    <a:pt x="505" y="118"/>
                  </a:cubicBezTo>
                  <a:cubicBezTo>
                    <a:pt x="509" y="118"/>
                    <a:pt x="512" y="118"/>
                    <a:pt x="516" y="117"/>
                  </a:cubicBezTo>
                  <a:cubicBezTo>
                    <a:pt x="516" y="133"/>
                    <a:pt x="516" y="133"/>
                    <a:pt x="516" y="133"/>
                  </a:cubicBezTo>
                  <a:cubicBezTo>
                    <a:pt x="510" y="134"/>
                    <a:pt x="503" y="135"/>
                    <a:pt x="497" y="135"/>
                  </a:cubicBezTo>
                  <a:cubicBezTo>
                    <a:pt x="477" y="135"/>
                    <a:pt x="466" y="128"/>
                    <a:pt x="466" y="107"/>
                  </a:cubicBezTo>
                  <a:cubicBezTo>
                    <a:pt x="466" y="49"/>
                    <a:pt x="466" y="49"/>
                    <a:pt x="466" y="49"/>
                  </a:cubicBezTo>
                  <a:cubicBezTo>
                    <a:pt x="447" y="49"/>
                    <a:pt x="447" y="49"/>
                    <a:pt x="447" y="49"/>
                  </a:cubicBezTo>
                  <a:cubicBezTo>
                    <a:pt x="447" y="33"/>
                    <a:pt x="447" y="33"/>
                    <a:pt x="447" y="33"/>
                  </a:cubicBezTo>
                  <a:cubicBezTo>
                    <a:pt x="466" y="33"/>
                    <a:pt x="466" y="33"/>
                    <a:pt x="466" y="33"/>
                  </a:cubicBezTo>
                  <a:cubicBezTo>
                    <a:pt x="466" y="9"/>
                    <a:pt x="466" y="9"/>
                    <a:pt x="466" y="9"/>
                  </a:cubicBezTo>
                  <a:cubicBezTo>
                    <a:pt x="489" y="0"/>
                    <a:pt x="489" y="0"/>
                    <a:pt x="489" y="0"/>
                  </a:cubicBezTo>
                  <a:cubicBezTo>
                    <a:pt x="489" y="33"/>
                    <a:pt x="489" y="33"/>
                    <a:pt x="489" y="33"/>
                  </a:cubicBezTo>
                  <a:cubicBezTo>
                    <a:pt x="519" y="33"/>
                    <a:pt x="519" y="33"/>
                    <a:pt x="519" y="33"/>
                  </a:cubicBezTo>
                  <a:cubicBezTo>
                    <a:pt x="519" y="49"/>
                    <a:pt x="519" y="49"/>
                    <a:pt x="519" y="49"/>
                  </a:cubicBezTo>
                  <a:lnTo>
                    <a:pt x="489" y="49"/>
                  </a:lnTo>
                  <a:close/>
                  <a:moveTo>
                    <a:pt x="586" y="132"/>
                  </a:moveTo>
                  <a:cubicBezTo>
                    <a:pt x="586" y="114"/>
                    <a:pt x="586" y="114"/>
                    <a:pt x="586" y="114"/>
                  </a:cubicBezTo>
                  <a:cubicBezTo>
                    <a:pt x="586" y="114"/>
                    <a:pt x="586" y="114"/>
                    <a:pt x="586" y="114"/>
                  </a:cubicBezTo>
                  <a:cubicBezTo>
                    <a:pt x="580" y="126"/>
                    <a:pt x="570" y="135"/>
                    <a:pt x="556" y="135"/>
                  </a:cubicBezTo>
                  <a:cubicBezTo>
                    <a:pt x="537" y="135"/>
                    <a:pt x="529" y="119"/>
                    <a:pt x="529" y="102"/>
                  </a:cubicBezTo>
                  <a:cubicBezTo>
                    <a:pt x="529" y="33"/>
                    <a:pt x="529" y="33"/>
                    <a:pt x="529" y="33"/>
                  </a:cubicBezTo>
                  <a:cubicBezTo>
                    <a:pt x="552" y="33"/>
                    <a:pt x="552" y="33"/>
                    <a:pt x="552" y="33"/>
                  </a:cubicBezTo>
                  <a:cubicBezTo>
                    <a:pt x="552" y="90"/>
                    <a:pt x="552" y="90"/>
                    <a:pt x="552" y="90"/>
                  </a:cubicBezTo>
                  <a:cubicBezTo>
                    <a:pt x="552" y="95"/>
                    <a:pt x="552" y="107"/>
                    <a:pt x="556" y="111"/>
                  </a:cubicBezTo>
                  <a:cubicBezTo>
                    <a:pt x="558" y="113"/>
                    <a:pt x="560" y="113"/>
                    <a:pt x="563" y="113"/>
                  </a:cubicBezTo>
                  <a:cubicBezTo>
                    <a:pt x="579" y="113"/>
                    <a:pt x="586" y="89"/>
                    <a:pt x="586" y="76"/>
                  </a:cubicBezTo>
                  <a:cubicBezTo>
                    <a:pt x="586" y="33"/>
                    <a:pt x="586" y="33"/>
                    <a:pt x="586" y="33"/>
                  </a:cubicBezTo>
                  <a:cubicBezTo>
                    <a:pt x="609" y="33"/>
                    <a:pt x="609" y="33"/>
                    <a:pt x="609" y="33"/>
                  </a:cubicBezTo>
                  <a:cubicBezTo>
                    <a:pt x="609" y="132"/>
                    <a:pt x="609" y="132"/>
                    <a:pt x="609" y="132"/>
                  </a:cubicBezTo>
                  <a:lnTo>
                    <a:pt x="586" y="132"/>
                  </a:lnTo>
                  <a:close/>
                  <a:moveTo>
                    <a:pt x="647" y="89"/>
                  </a:moveTo>
                  <a:cubicBezTo>
                    <a:pt x="647" y="132"/>
                    <a:pt x="647" y="132"/>
                    <a:pt x="647" y="132"/>
                  </a:cubicBezTo>
                  <a:cubicBezTo>
                    <a:pt x="624" y="132"/>
                    <a:pt x="624" y="132"/>
                    <a:pt x="624" y="132"/>
                  </a:cubicBezTo>
                  <a:cubicBezTo>
                    <a:pt x="624" y="33"/>
                    <a:pt x="624" y="33"/>
                    <a:pt x="624" y="33"/>
                  </a:cubicBezTo>
                  <a:cubicBezTo>
                    <a:pt x="647" y="33"/>
                    <a:pt x="647" y="33"/>
                    <a:pt x="647" y="33"/>
                  </a:cubicBezTo>
                  <a:cubicBezTo>
                    <a:pt x="647" y="51"/>
                    <a:pt x="647" y="51"/>
                    <a:pt x="647" y="51"/>
                  </a:cubicBezTo>
                  <a:cubicBezTo>
                    <a:pt x="648" y="51"/>
                    <a:pt x="648" y="51"/>
                    <a:pt x="648" y="51"/>
                  </a:cubicBezTo>
                  <a:cubicBezTo>
                    <a:pt x="655" y="37"/>
                    <a:pt x="663" y="31"/>
                    <a:pt x="680" y="31"/>
                  </a:cubicBezTo>
                  <a:cubicBezTo>
                    <a:pt x="680" y="55"/>
                    <a:pt x="680" y="55"/>
                    <a:pt x="680" y="55"/>
                  </a:cubicBezTo>
                  <a:cubicBezTo>
                    <a:pt x="656" y="55"/>
                    <a:pt x="647" y="65"/>
                    <a:pt x="647" y="89"/>
                  </a:cubicBezTo>
                  <a:close/>
                  <a:moveTo>
                    <a:pt x="743" y="63"/>
                  </a:moveTo>
                  <a:cubicBezTo>
                    <a:pt x="707" y="63"/>
                    <a:pt x="707" y="63"/>
                    <a:pt x="707" y="63"/>
                  </a:cubicBezTo>
                  <a:cubicBezTo>
                    <a:pt x="708" y="53"/>
                    <a:pt x="715" y="45"/>
                    <a:pt x="726" y="45"/>
                  </a:cubicBezTo>
                  <a:cubicBezTo>
                    <a:pt x="736" y="45"/>
                    <a:pt x="743" y="52"/>
                    <a:pt x="743" y="63"/>
                  </a:cubicBezTo>
                  <a:close/>
                  <a:moveTo>
                    <a:pt x="765" y="77"/>
                  </a:moveTo>
                  <a:cubicBezTo>
                    <a:pt x="765" y="71"/>
                    <a:pt x="765" y="71"/>
                    <a:pt x="765" y="71"/>
                  </a:cubicBezTo>
                  <a:cubicBezTo>
                    <a:pt x="765" y="47"/>
                    <a:pt x="753" y="31"/>
                    <a:pt x="727" y="31"/>
                  </a:cubicBezTo>
                  <a:cubicBezTo>
                    <a:pt x="698" y="31"/>
                    <a:pt x="685" y="49"/>
                    <a:pt x="685" y="77"/>
                  </a:cubicBezTo>
                  <a:cubicBezTo>
                    <a:pt x="685" y="110"/>
                    <a:pt x="699" y="135"/>
                    <a:pt x="735" y="135"/>
                  </a:cubicBezTo>
                  <a:cubicBezTo>
                    <a:pt x="744" y="135"/>
                    <a:pt x="754" y="134"/>
                    <a:pt x="763" y="131"/>
                  </a:cubicBezTo>
                  <a:cubicBezTo>
                    <a:pt x="763" y="115"/>
                    <a:pt x="763" y="115"/>
                    <a:pt x="763" y="115"/>
                  </a:cubicBezTo>
                  <a:cubicBezTo>
                    <a:pt x="757" y="117"/>
                    <a:pt x="750" y="118"/>
                    <a:pt x="744" y="118"/>
                  </a:cubicBezTo>
                  <a:cubicBezTo>
                    <a:pt x="721" y="118"/>
                    <a:pt x="706" y="98"/>
                    <a:pt x="706" y="77"/>
                  </a:cubicBezTo>
                  <a:lnTo>
                    <a:pt x="765" y="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41" name="Freeform 40"/>
            <p:cNvSpPr/>
            <p:nvPr/>
          </p:nvSpPr>
          <p:spPr>
            <a:xfrm>
              <a:off x="1739049" y="420673"/>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Graphik" panose="020B0503030202060203" pitchFamily="34" charset="0"/>
              </a:endParaRPr>
            </a:p>
          </p:txBody>
        </p:sp>
      </p:grpSp>
      <p:grpSp>
        <p:nvGrpSpPr>
          <p:cNvPr id="43" name="Accenture_MasterBLACK" hidden="1"/>
          <p:cNvGrpSpPr/>
          <p:nvPr/>
        </p:nvGrpSpPr>
        <p:grpSpPr>
          <a:xfrm>
            <a:off x="7767974" y="460549"/>
            <a:ext cx="1828462" cy="528825"/>
            <a:chOff x="476250" y="397668"/>
            <a:chExt cx="2195577" cy="635000"/>
          </a:xfrm>
        </p:grpSpPr>
        <p:sp>
          <p:nvSpPr>
            <p:cNvPr id="44" name="Freeform 43"/>
            <p:cNvSpPr>
              <a:spLocks/>
            </p:cNvSpPr>
            <p:nvPr/>
          </p:nvSpPr>
          <p:spPr bwMode="auto">
            <a:xfrm>
              <a:off x="1758865" y="397668"/>
              <a:ext cx="206059" cy="214470"/>
            </a:xfrm>
            <a:custGeom>
              <a:avLst/>
              <a:gdLst>
                <a:gd name="T0" fmla="*/ 0 w 72"/>
                <a:gd name="T1" fmla="*/ 0 h 74"/>
                <a:gd name="T2" fmla="*/ 0 w 72"/>
                <a:gd name="T3" fmla="*/ 2 h 74"/>
                <a:gd name="T4" fmla="*/ 0 w 72"/>
                <a:gd name="T5" fmla="*/ 16 h 74"/>
                <a:gd name="T6" fmla="*/ 53 w 72"/>
                <a:gd name="T7" fmla="*/ 37 h 74"/>
                <a:gd name="T8" fmla="*/ 0 w 72"/>
                <a:gd name="T9" fmla="*/ 57 h 74"/>
                <a:gd name="T10" fmla="*/ 0 w 72"/>
                <a:gd name="T11" fmla="*/ 74 h 74"/>
                <a:gd name="T12" fmla="*/ 72 w 72"/>
                <a:gd name="T13" fmla="*/ 44 h 74"/>
                <a:gd name="T14" fmla="*/ 72 w 72"/>
                <a:gd name="T15" fmla="*/ 29 h 74"/>
                <a:gd name="T16" fmla="*/ 0 w 72"/>
                <a:gd name="T1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0" y="0"/>
                  </a:moveTo>
                  <a:cubicBezTo>
                    <a:pt x="0" y="2"/>
                    <a:pt x="0" y="2"/>
                    <a:pt x="0" y="2"/>
                  </a:cubicBezTo>
                  <a:cubicBezTo>
                    <a:pt x="0" y="16"/>
                    <a:pt x="0" y="16"/>
                    <a:pt x="0" y="16"/>
                  </a:cubicBezTo>
                  <a:cubicBezTo>
                    <a:pt x="0" y="16"/>
                    <a:pt x="46" y="34"/>
                    <a:pt x="53" y="37"/>
                  </a:cubicBezTo>
                  <a:cubicBezTo>
                    <a:pt x="46" y="40"/>
                    <a:pt x="0" y="57"/>
                    <a:pt x="0" y="57"/>
                  </a:cubicBezTo>
                  <a:cubicBezTo>
                    <a:pt x="0" y="74"/>
                    <a:pt x="0" y="74"/>
                    <a:pt x="0" y="74"/>
                  </a:cubicBezTo>
                  <a:cubicBezTo>
                    <a:pt x="72" y="44"/>
                    <a:pt x="72" y="44"/>
                    <a:pt x="72" y="44"/>
                  </a:cubicBezTo>
                  <a:cubicBezTo>
                    <a:pt x="72" y="29"/>
                    <a:pt x="72" y="29"/>
                    <a:pt x="72" y="29"/>
                  </a:cubicBez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pic>
          <p:nvPicPr>
            <p:cNvPr id="45" name="Accenture Black"/>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a:off x="476250" y="641561"/>
              <a:ext cx="2195577" cy="391107"/>
            </a:xfrm>
            <a:prstGeom prst="rect">
              <a:avLst/>
            </a:prstGeom>
          </p:spPr>
        </p:pic>
      </p:grpSp>
      <p:sp>
        <p:nvSpPr>
          <p:cNvPr id="96" name="MasterTitle"/>
          <p:cNvSpPr>
            <a:spLocks noGrp="1"/>
          </p:cNvSpPr>
          <p:nvPr>
            <p:ph type="title" hasCustomPrompt="1"/>
          </p:nvPr>
        </p:nvSpPr>
        <p:spPr>
          <a:xfrm>
            <a:off x="579600" y="1462236"/>
            <a:ext cx="5354475" cy="3948750"/>
          </a:xfrm>
        </p:spPr>
        <p:txBody>
          <a:bodyPr tIns="252000" anchor="ctr"/>
          <a:lstStyle>
            <a:lvl1pPr>
              <a:lnSpc>
                <a:spcPct val="70000"/>
              </a:lnSpc>
              <a:defRPr sz="7200" spc="-150" baseline="0">
                <a:solidFill>
                  <a:schemeClr val="tx1"/>
                </a:solidFill>
              </a:defRPr>
            </a:lvl1pPr>
          </a:lstStyle>
          <a:p>
            <a:r>
              <a:rPr lang="en-US" dirty="0"/>
              <a:t>Click </a:t>
            </a:r>
            <a:br>
              <a:rPr lang="en-US" dirty="0"/>
            </a:br>
            <a:r>
              <a:rPr lang="en-US" dirty="0"/>
              <a:t>to edit Master title</a:t>
            </a:r>
            <a:endParaRPr lang="en-AU" dirty="0"/>
          </a:p>
        </p:txBody>
      </p:sp>
      <p:sp>
        <p:nvSpPr>
          <p:cNvPr id="99" name="Text Placeholder 9"/>
          <p:cNvSpPr>
            <a:spLocks noGrp="1"/>
          </p:cNvSpPr>
          <p:nvPr>
            <p:ph type="body" sz="quarter" idx="12" hasCustomPrompt="1"/>
          </p:nvPr>
        </p:nvSpPr>
        <p:spPr>
          <a:xfrm>
            <a:off x="6766969" y="4344715"/>
            <a:ext cx="3859050" cy="1041195"/>
          </a:xfrm>
        </p:spPr>
        <p:txBody>
          <a:bodyPr anchor="b"/>
          <a:lstStyle>
            <a:lvl1pPr marL="0" indent="0">
              <a:lnSpc>
                <a:spcPct val="80000"/>
              </a:lnSpc>
              <a:buNone/>
              <a:defRPr sz="2000" b="0" i="0" cap="all" baseline="0">
                <a:solidFill>
                  <a:schemeClr val="tx1"/>
                </a:solidFill>
                <a:latin typeface="+mj-lt"/>
              </a:defRPr>
            </a:lvl1pPr>
          </a:lstStyle>
          <a:p>
            <a:pPr lvl="0"/>
            <a:r>
              <a:rPr lang="en-US" dirty="0"/>
              <a:t>SUBTITLE LINE</a:t>
            </a:r>
            <a:br>
              <a:rPr lang="en-US" dirty="0"/>
            </a:br>
            <a:r>
              <a:rPr lang="en-US" dirty="0"/>
              <a:t>SECOND LINE</a:t>
            </a:r>
          </a:p>
        </p:txBody>
      </p:sp>
      <p:pic>
        <p:nvPicPr>
          <p:cNvPr id="101" name="Picture 100"/>
          <p:cNvPicPr>
            <a:picLocks noChangeAspect="1"/>
          </p:cNvPicPr>
          <p:nvPr/>
        </p:nvPicPr>
        <p:blipFill>
          <a:blip r:embed="rId18"/>
          <a:stretch>
            <a:fillRect/>
          </a:stretch>
        </p:blipFill>
        <p:spPr>
          <a:xfrm>
            <a:off x="9947106" y="6279495"/>
            <a:ext cx="1833709" cy="351540"/>
          </a:xfrm>
          <a:prstGeom prst="rect">
            <a:avLst/>
          </a:prstGeom>
        </p:spPr>
      </p:pic>
      <p:grpSp>
        <p:nvGrpSpPr>
          <p:cNvPr id="102" name="Group 101"/>
          <p:cNvGrpSpPr>
            <a:grpSpLocks noChangeAspect="1"/>
          </p:cNvGrpSpPr>
          <p:nvPr/>
        </p:nvGrpSpPr>
        <p:grpSpPr>
          <a:xfrm>
            <a:off x="9559232" y="335459"/>
            <a:ext cx="2250858" cy="604157"/>
            <a:chOff x="9563100" y="1673029"/>
            <a:chExt cx="1389888" cy="373063"/>
          </a:xfrm>
        </p:grpSpPr>
        <p:pic>
          <p:nvPicPr>
            <p:cNvPr id="103" name="Picture 102"/>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563100" y="1825994"/>
              <a:ext cx="1389888" cy="220098"/>
            </a:xfrm>
            <a:prstGeom prst="rect">
              <a:avLst/>
            </a:prstGeom>
          </p:spPr>
        </p:pic>
        <p:sp>
          <p:nvSpPr>
            <p:cNvPr id="104" name="Freeform 5"/>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Graphik" panose="020B0503030202060203" pitchFamily="34" charset="0"/>
              </a:endParaRPr>
            </a:p>
          </p:txBody>
        </p:sp>
      </p:grpSp>
    </p:spTree>
    <p:extLst>
      <p:ext uri="{BB962C8B-B14F-4D97-AF65-F5344CB8AC3E}">
        <p14:creationId xmlns:p14="http://schemas.microsoft.com/office/powerpoint/2010/main" val="3646180066"/>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17_Cover">
    <p:bg>
      <p:bgPr>
        <a:solidFill>
          <a:schemeClr val="tx1"/>
        </a:solidFill>
        <a:effectLst/>
      </p:bgPr>
    </p:bg>
    <p:spTree>
      <p:nvGrpSpPr>
        <p:cNvPr id="1" name=""/>
        <p:cNvGrpSpPr/>
        <p:nvPr/>
      </p:nvGrpSpPr>
      <p:grpSpPr>
        <a:xfrm>
          <a:off x="0" y="0"/>
          <a:ext cx="0" cy="0"/>
          <a:chOff x="0" y="0"/>
          <a:chExt cx="0" cy="0"/>
        </a:xfrm>
      </p:grpSpPr>
      <p:grpSp>
        <p:nvGrpSpPr>
          <p:cNvPr id="89" name="Master Brand 03 - Outline GTS" hidden="1"/>
          <p:cNvGrpSpPr>
            <a:grpSpLocks noChangeAspect="1"/>
          </p:cNvGrpSpPr>
          <p:nvPr/>
        </p:nvGrpSpPr>
        <p:grpSpPr bwMode="auto">
          <a:xfrm>
            <a:off x="1159200" y="455022"/>
            <a:ext cx="5949065" cy="6069600"/>
            <a:chOff x="1620" y="-106"/>
            <a:chExt cx="4442" cy="4532"/>
          </a:xfrm>
        </p:grpSpPr>
        <p:sp>
          <p:nvSpPr>
            <p:cNvPr id="90" name="Freeform 5"/>
            <p:cNvSpPr>
              <a:spLocks/>
            </p:cNvSpPr>
            <p:nvPr/>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FFEA00"/>
                </a:gs>
                <a:gs pos="100000">
                  <a:srgbClr val="FFB600"/>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91" name="Freeform 6"/>
            <p:cNvSpPr>
              <a:spLocks/>
            </p:cNvSpPr>
            <p:nvPr/>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00BA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83" name="Master Brand 03 - GRADIENT GTS" hidden="1"/>
          <p:cNvGrpSpPr/>
          <p:nvPr/>
        </p:nvGrpSpPr>
        <p:grpSpPr>
          <a:xfrm>
            <a:off x="1159200" y="456688"/>
            <a:ext cx="5944244" cy="6067934"/>
            <a:chOff x="336907" y="342900"/>
            <a:chExt cx="2298344" cy="2346169"/>
          </a:xfrm>
        </p:grpSpPr>
        <p:sp>
          <p:nvSpPr>
            <p:cNvPr id="84"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85"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EA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80" name="Master Brand 03 - DIMENSIONAL GTS" hidden="1"/>
          <p:cNvGrpSpPr/>
          <p:nvPr/>
        </p:nvGrpSpPr>
        <p:grpSpPr>
          <a:xfrm>
            <a:off x="1159200" y="456688"/>
            <a:ext cx="5944244" cy="6067934"/>
            <a:chOff x="336907" y="342900"/>
            <a:chExt cx="2298344" cy="2346169"/>
          </a:xfrm>
        </p:grpSpPr>
        <p:sp>
          <p:nvSpPr>
            <p:cNvPr id="81"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82"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BA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86" name="Master Brand 02 - Outline GTS" hidden="1"/>
          <p:cNvGrpSpPr>
            <a:grpSpLocks noChangeAspect="1"/>
          </p:cNvGrpSpPr>
          <p:nvPr/>
        </p:nvGrpSpPr>
        <p:grpSpPr bwMode="auto">
          <a:xfrm>
            <a:off x="1159200" y="455022"/>
            <a:ext cx="5949065" cy="6069600"/>
            <a:chOff x="1620" y="-106"/>
            <a:chExt cx="4442" cy="4532"/>
          </a:xfrm>
        </p:grpSpPr>
        <p:sp>
          <p:nvSpPr>
            <p:cNvPr id="87" name="Freeform 5"/>
            <p:cNvSpPr>
              <a:spLocks/>
            </p:cNvSpPr>
            <p:nvPr/>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00F3FF"/>
                </a:gs>
                <a:gs pos="100000">
                  <a:srgbClr val="2800FF"/>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88" name="Freeform 6"/>
            <p:cNvSpPr>
              <a:spLocks/>
            </p:cNvSpPr>
            <p:nvPr/>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00FF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77" name="Master Brand 02 - GRADIENT GTS" hidden="1"/>
          <p:cNvGrpSpPr/>
          <p:nvPr/>
        </p:nvGrpSpPr>
        <p:grpSpPr>
          <a:xfrm>
            <a:off x="1159200" y="456688"/>
            <a:ext cx="5944244" cy="6067934"/>
            <a:chOff x="336907" y="342900"/>
            <a:chExt cx="2298344" cy="2346169"/>
          </a:xfrm>
        </p:grpSpPr>
        <p:sp>
          <p:nvSpPr>
            <p:cNvPr id="78"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79"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28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74" name="Master Brand 02 - DIMENSIONAL GTS" hidden="1"/>
          <p:cNvGrpSpPr/>
          <p:nvPr/>
        </p:nvGrpSpPr>
        <p:grpSpPr>
          <a:xfrm>
            <a:off x="1159200" y="456688"/>
            <a:ext cx="5944244" cy="6067934"/>
            <a:chOff x="336907" y="342900"/>
            <a:chExt cx="2298344" cy="2346169"/>
          </a:xfrm>
        </p:grpSpPr>
        <p:sp>
          <p:nvSpPr>
            <p:cNvPr id="75"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76"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FF7D"/>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27" name="Master Brand 01 - Outline GTS" hidden="1"/>
          <p:cNvGrpSpPr>
            <a:grpSpLocks noChangeAspect="1"/>
          </p:cNvGrpSpPr>
          <p:nvPr/>
        </p:nvGrpSpPr>
        <p:grpSpPr bwMode="auto">
          <a:xfrm>
            <a:off x="1159200" y="455022"/>
            <a:ext cx="5949065" cy="6069600"/>
            <a:chOff x="1620" y="-106"/>
            <a:chExt cx="4442" cy="4532"/>
          </a:xfrm>
        </p:grpSpPr>
        <p:sp>
          <p:nvSpPr>
            <p:cNvPr id="31" name="Freeform 5"/>
            <p:cNvSpPr>
              <a:spLocks/>
            </p:cNvSpPr>
            <p:nvPr/>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FFEA00"/>
                </a:gs>
                <a:gs pos="100000">
                  <a:srgbClr val="FFB600"/>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32" name="Freeform 6"/>
            <p:cNvSpPr>
              <a:spLocks/>
            </p:cNvSpPr>
            <p:nvPr/>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7E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71" name="Master Brand 01 - GRADIENT GTS" hidden="1"/>
          <p:cNvGrpSpPr/>
          <p:nvPr/>
        </p:nvGrpSpPr>
        <p:grpSpPr>
          <a:xfrm>
            <a:off x="1159200" y="456688"/>
            <a:ext cx="5944244" cy="6067934"/>
            <a:chOff x="336907" y="342900"/>
            <a:chExt cx="2298344" cy="2346169"/>
          </a:xfrm>
        </p:grpSpPr>
        <p:sp>
          <p:nvSpPr>
            <p:cNvPr id="72"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FF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73"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FF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61" name="Master Brand 01 - DIMENSIONAL GTS" hidden="1"/>
          <p:cNvGrpSpPr/>
          <p:nvPr/>
        </p:nvGrpSpPr>
        <p:grpSpPr>
          <a:xfrm>
            <a:off x="1159200" y="456688"/>
            <a:ext cx="5944244" cy="6067934"/>
            <a:chOff x="336907" y="342900"/>
            <a:chExt cx="2298344" cy="2346169"/>
          </a:xfrm>
        </p:grpSpPr>
        <p:sp>
          <p:nvSpPr>
            <p:cNvPr id="62"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FF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63"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7E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60" name="Consulting - GRADIENT GTS" hidden="1"/>
          <p:cNvSpPr>
            <a:spLocks/>
          </p:cNvSpPr>
          <p:nvPr/>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00F3FF"/>
              </a:gs>
              <a:gs pos="100000">
                <a:srgbClr val="7E00FF"/>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6" name="Consulting - OUTLINED GTS" hidden="1"/>
          <p:cNvSpPr>
            <a:spLocks noEditPoints="1"/>
          </p:cNvSpPr>
          <p:nvPr/>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7E00FF"/>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48" name="Consulting - DIMENSIONAL GTS" hidden="1"/>
          <p:cNvGrpSpPr/>
          <p:nvPr/>
        </p:nvGrpSpPr>
        <p:grpSpPr>
          <a:xfrm>
            <a:off x="1159200" y="456688"/>
            <a:ext cx="5944244" cy="6067934"/>
            <a:chOff x="336907" y="342900"/>
            <a:chExt cx="2298344" cy="2346169"/>
          </a:xfrm>
        </p:grpSpPr>
        <p:sp>
          <p:nvSpPr>
            <p:cNvPr id="49"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100000">
                  <a:srgbClr val="380089"/>
                </a:gs>
                <a:gs pos="0">
                  <a:srgbClr val="7E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50"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7E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59" name="Digital - GRADIENT GTS" hidden="1"/>
          <p:cNvSpPr>
            <a:spLocks/>
          </p:cNvSpPr>
          <p:nvPr/>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FFB600"/>
              </a:gs>
              <a:gs pos="100000">
                <a:srgbClr val="FFFF00"/>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5" name="Digital - OUTLINED GTS" hidden="1"/>
          <p:cNvSpPr>
            <a:spLocks noEditPoints="1"/>
          </p:cNvSpPr>
          <p:nvPr/>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FFFF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45" name="Digital - DIMENSIONAL GTS" hidden="1"/>
          <p:cNvGrpSpPr/>
          <p:nvPr/>
        </p:nvGrpSpPr>
        <p:grpSpPr>
          <a:xfrm>
            <a:off x="1159200" y="456688"/>
            <a:ext cx="5944244" cy="6067934"/>
            <a:chOff x="336907" y="342900"/>
            <a:chExt cx="2298344" cy="2346169"/>
          </a:xfrm>
        </p:grpSpPr>
        <p:sp>
          <p:nvSpPr>
            <p:cNvPr id="46"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FF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47"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FF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58" name="Operations - GRADIENT GTS" hidden="1"/>
          <p:cNvSpPr>
            <a:spLocks/>
          </p:cNvSpPr>
          <p:nvPr/>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2800FF"/>
              </a:gs>
              <a:gs pos="100000">
                <a:srgbClr val="00F3FF"/>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4" name="Operations - OUTLINED GTS" hidden="1"/>
          <p:cNvSpPr>
            <a:spLocks noEditPoints="1"/>
          </p:cNvSpPr>
          <p:nvPr/>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00F3FF"/>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42" name="Operations - DIMENSIONAL GTS" hidden="1"/>
          <p:cNvGrpSpPr/>
          <p:nvPr/>
        </p:nvGrpSpPr>
        <p:grpSpPr>
          <a:xfrm>
            <a:off x="1159200" y="456688"/>
            <a:ext cx="5944244" cy="6067934"/>
            <a:chOff x="336907" y="342900"/>
            <a:chExt cx="2298344" cy="2346169"/>
          </a:xfrm>
        </p:grpSpPr>
        <p:sp>
          <p:nvSpPr>
            <p:cNvPr id="43"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44"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F3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57" name="Strategy - GRADIENT GTS" hidden="1"/>
          <p:cNvSpPr>
            <a:spLocks/>
          </p:cNvSpPr>
          <p:nvPr/>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100000">
                <a:srgbClr val="FF0000"/>
              </a:gs>
              <a:gs pos="0">
                <a:srgbClr val="710012"/>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3" name="Strategy - OUTLINED GTS" hidden="1"/>
          <p:cNvSpPr>
            <a:spLocks noEditPoints="1"/>
          </p:cNvSpPr>
          <p:nvPr/>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38" name="Strategy - DIMENSIONAL GTS" hidden="1"/>
          <p:cNvGrpSpPr/>
          <p:nvPr/>
        </p:nvGrpSpPr>
        <p:grpSpPr>
          <a:xfrm>
            <a:off x="1159200" y="456688"/>
            <a:ext cx="5944244" cy="6067934"/>
            <a:chOff x="336907" y="342900"/>
            <a:chExt cx="2298344" cy="2346169"/>
          </a:xfrm>
        </p:grpSpPr>
        <p:sp>
          <p:nvSpPr>
            <p:cNvPr id="40"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0000"/>
                </a:gs>
                <a:gs pos="100000">
                  <a:srgbClr val="710012"/>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41"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39" name="Technology - GRADIENT GTS" hidden="1"/>
          <p:cNvSpPr>
            <a:spLocks/>
          </p:cNvSpPr>
          <p:nvPr/>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00F3FF"/>
              </a:gs>
              <a:gs pos="98000">
                <a:srgbClr val="00FF00"/>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36" name="Technology - OUTLINED GTS" hidden="1"/>
          <p:cNvSpPr>
            <a:spLocks noEditPoints="1"/>
          </p:cNvSpPr>
          <p:nvPr/>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00FF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6" name="SubTitle" hidden="1"/>
          <p:cNvSpPr>
            <a:spLocks noGrp="1"/>
          </p:cNvSpPr>
          <p:nvPr>
            <p:ph type="body" sz="quarter" idx="12" hasCustomPrompt="1"/>
          </p:nvPr>
        </p:nvSpPr>
        <p:spPr>
          <a:xfrm>
            <a:off x="7756071" y="5073855"/>
            <a:ext cx="3856329" cy="1041195"/>
          </a:xfrm>
        </p:spPr>
        <p:txBody>
          <a:bodyPr anchor="b"/>
          <a:lstStyle>
            <a:lvl1pPr marL="0" indent="0">
              <a:lnSpc>
                <a:spcPct val="80000"/>
              </a:lnSpc>
              <a:buNone/>
              <a:defRPr sz="2000" b="0" i="0" cap="all" baseline="0">
                <a:solidFill>
                  <a:schemeClr val="tx1"/>
                </a:solidFill>
                <a:latin typeface="+mj-lt"/>
              </a:defRPr>
            </a:lvl1pPr>
          </a:lstStyle>
          <a:p>
            <a:pPr lvl="0"/>
            <a:r>
              <a:rPr lang="en-US" dirty="0"/>
              <a:t>SUBTITLE LINE</a:t>
            </a:r>
            <a:br>
              <a:rPr lang="en-US" dirty="0"/>
            </a:br>
            <a:r>
              <a:rPr lang="en-US" dirty="0"/>
              <a:t>SECOND LINE</a:t>
            </a:r>
          </a:p>
        </p:txBody>
      </p:sp>
      <p:pic>
        <p:nvPicPr>
          <p:cNvPr id="2" name="Accenture_Technology_WHITE" hidden="1"/>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7756800" y="464712"/>
            <a:ext cx="3855600" cy="618771"/>
          </a:xfrm>
          <a:prstGeom prst="rect">
            <a:avLst/>
          </a:prstGeom>
        </p:spPr>
      </p:pic>
      <p:pic>
        <p:nvPicPr>
          <p:cNvPr id="7" name="Accenture_Strategy_WHITE" hidden="1"/>
          <p:cNvPicPr>
            <a:picLocks noChangeAspect="1"/>
          </p:cNvPicPr>
          <p:nvPr/>
        </p:nvPicPr>
        <p:blipFill>
          <a:blip r:embed="rId3"/>
          <a:stretch>
            <a:fillRect/>
          </a:stretch>
        </p:blipFill>
        <p:spPr>
          <a:xfrm>
            <a:off x="7773000" y="459803"/>
            <a:ext cx="3276000" cy="623063"/>
          </a:xfrm>
          <a:prstGeom prst="rect">
            <a:avLst/>
          </a:prstGeom>
        </p:spPr>
      </p:pic>
      <p:pic>
        <p:nvPicPr>
          <p:cNvPr id="17" name="Accenture_Strategy_BLACK" hidden="1"/>
          <p:cNvPicPr>
            <a:picLocks noChangeAspect="1"/>
          </p:cNvPicPr>
          <p:nvPr/>
        </p:nvPicPr>
        <p:blipFill>
          <a:blip r:embed="rId4"/>
          <a:stretch>
            <a:fillRect/>
          </a:stretch>
        </p:blipFill>
        <p:spPr>
          <a:xfrm>
            <a:off x="7772739" y="459803"/>
            <a:ext cx="3276261" cy="623113"/>
          </a:xfrm>
          <a:prstGeom prst="rect">
            <a:avLst/>
          </a:prstGeom>
        </p:spPr>
      </p:pic>
      <p:pic>
        <p:nvPicPr>
          <p:cNvPr id="14" name="Accenture_Operations_WHITE" hidden="1"/>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7773225" y="476724"/>
            <a:ext cx="3704400" cy="613912"/>
          </a:xfrm>
          <a:prstGeom prst="rect">
            <a:avLst/>
          </a:prstGeom>
        </p:spPr>
      </p:pic>
      <p:pic>
        <p:nvPicPr>
          <p:cNvPr id="16" name="Accenture_Operations_BLACK" hidden="1"/>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7772739" y="476724"/>
            <a:ext cx="3704886" cy="613992"/>
          </a:xfrm>
          <a:prstGeom prst="rect">
            <a:avLst/>
          </a:prstGeom>
        </p:spPr>
      </p:pic>
      <p:pic>
        <p:nvPicPr>
          <p:cNvPr id="4" name="Accenture_Mobility_WHITE" hidden="1"/>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7754100" y="651110"/>
            <a:ext cx="3866400" cy="684773"/>
          </a:xfrm>
          <a:prstGeom prst="rect">
            <a:avLst/>
          </a:prstGeom>
        </p:spPr>
      </p:pic>
      <p:pic>
        <p:nvPicPr>
          <p:cNvPr id="18" name="Accenture_Mobility_BLACK" hidden="1"/>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7753350" y="651110"/>
            <a:ext cx="3867150" cy="684905"/>
          </a:xfrm>
          <a:prstGeom prst="rect">
            <a:avLst/>
          </a:prstGeom>
        </p:spPr>
      </p:pic>
      <p:pic>
        <p:nvPicPr>
          <p:cNvPr id="29" name="Accenture_Interactive_WHITE" hidden="1"/>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7754100" y="657225"/>
            <a:ext cx="3866400" cy="683539"/>
          </a:xfrm>
          <a:prstGeom prst="rect">
            <a:avLst/>
          </a:prstGeom>
        </p:spPr>
      </p:pic>
      <p:pic>
        <p:nvPicPr>
          <p:cNvPr id="28" name="Accenture_Interactive_BLACK" hidden="1"/>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7754100" y="657225"/>
            <a:ext cx="3866400" cy="683539"/>
          </a:xfrm>
          <a:prstGeom prst="rect">
            <a:avLst/>
          </a:prstGeom>
        </p:spPr>
      </p:pic>
      <p:pic>
        <p:nvPicPr>
          <p:cNvPr id="5" name="Accenture_Analytics_WHITE" hidden="1"/>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7753349" y="658010"/>
            <a:ext cx="3866400" cy="692114"/>
          </a:xfrm>
          <a:prstGeom prst="rect">
            <a:avLst/>
          </a:prstGeom>
        </p:spPr>
      </p:pic>
      <p:pic>
        <p:nvPicPr>
          <p:cNvPr id="11" name="Accenture_Analytics_BLACK" hidden="1"/>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7753349" y="658010"/>
            <a:ext cx="3867151" cy="692249"/>
          </a:xfrm>
          <a:prstGeom prst="rect">
            <a:avLst/>
          </a:prstGeom>
        </p:spPr>
      </p:pic>
      <p:pic>
        <p:nvPicPr>
          <p:cNvPr id="12" name="Accenture_Analytics_WHITE" hidden="1"/>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7754100" y="658010"/>
            <a:ext cx="3866400" cy="683539"/>
          </a:xfrm>
          <a:prstGeom prst="rect">
            <a:avLst/>
          </a:prstGeom>
        </p:spPr>
      </p:pic>
      <p:pic>
        <p:nvPicPr>
          <p:cNvPr id="3" name="Accenture_Digital_WHITE" hidden="1"/>
          <p:cNvPicPr>
            <a:picLocks noChangeAspect="1"/>
          </p:cNvPicPr>
          <p:nvPr/>
        </p:nvPicPr>
        <p:blipFill>
          <a:blip r:embed="rId13"/>
          <a:stretch>
            <a:fillRect/>
          </a:stretch>
        </p:blipFill>
        <p:spPr>
          <a:xfrm>
            <a:off x="7756425" y="467886"/>
            <a:ext cx="2959200" cy="635308"/>
          </a:xfrm>
          <a:prstGeom prst="rect">
            <a:avLst/>
          </a:prstGeom>
        </p:spPr>
      </p:pic>
      <p:pic>
        <p:nvPicPr>
          <p:cNvPr id="15" name="Accenture_Digital_BLACK" hidden="1"/>
          <p:cNvPicPr>
            <a:picLocks noChangeAspect="1"/>
          </p:cNvPicPr>
          <p:nvPr/>
        </p:nvPicPr>
        <p:blipFill>
          <a:blip r:embed="rId14"/>
          <a:stretch>
            <a:fillRect/>
          </a:stretch>
        </p:blipFill>
        <p:spPr>
          <a:xfrm>
            <a:off x="7756072" y="467886"/>
            <a:ext cx="2959553" cy="635385"/>
          </a:xfrm>
          <a:prstGeom prst="rect">
            <a:avLst/>
          </a:prstGeom>
        </p:spPr>
      </p:pic>
      <p:pic>
        <p:nvPicPr>
          <p:cNvPr id="26" name="Accenture_Consulting_WHITE" hidden="1"/>
          <p:cNvPicPr>
            <a:picLocks noChangeAspect="1"/>
          </p:cNvPicPr>
          <p:nvPr/>
        </p:nvPicPr>
        <p:blipFill>
          <a:blip r:embed="rId15"/>
          <a:stretch>
            <a:fillRect/>
          </a:stretch>
        </p:blipFill>
        <p:spPr>
          <a:xfrm>
            <a:off x="7755225" y="464711"/>
            <a:ext cx="3722400" cy="633721"/>
          </a:xfrm>
          <a:prstGeom prst="rect">
            <a:avLst/>
          </a:prstGeom>
        </p:spPr>
      </p:pic>
      <p:pic>
        <p:nvPicPr>
          <p:cNvPr id="13" name="Accenture_Consulting_BLACK" hidden="1"/>
          <p:cNvPicPr>
            <a:picLocks noChangeAspect="1"/>
          </p:cNvPicPr>
          <p:nvPr/>
        </p:nvPicPr>
        <p:blipFill>
          <a:blip r:embed="rId16"/>
          <a:stretch>
            <a:fillRect/>
          </a:stretch>
        </p:blipFill>
        <p:spPr>
          <a:xfrm>
            <a:off x="7756071" y="464711"/>
            <a:ext cx="3721554" cy="633578"/>
          </a:xfrm>
          <a:prstGeom prst="rect">
            <a:avLst/>
          </a:prstGeom>
        </p:spPr>
      </p:pic>
      <p:grpSp>
        <p:nvGrpSpPr>
          <p:cNvPr id="22" name="Accenture_MasterWHITE" hidden="1"/>
          <p:cNvGrpSpPr/>
          <p:nvPr/>
        </p:nvGrpSpPr>
        <p:grpSpPr>
          <a:xfrm>
            <a:off x="7782263" y="470921"/>
            <a:ext cx="1828462" cy="530297"/>
            <a:chOff x="457202" y="420673"/>
            <a:chExt cx="2182661" cy="633434"/>
          </a:xfrm>
        </p:grpSpPr>
        <p:sp>
          <p:nvSpPr>
            <p:cNvPr id="23" name="Freeform 6"/>
            <p:cNvSpPr>
              <a:spLocks noEditPoints="1"/>
            </p:cNvSpPr>
            <p:nvPr/>
          </p:nvSpPr>
          <p:spPr bwMode="auto">
            <a:xfrm>
              <a:off x="457202" y="668790"/>
              <a:ext cx="2182661" cy="385317"/>
            </a:xfrm>
            <a:custGeom>
              <a:avLst/>
              <a:gdLst>
                <a:gd name="T0" fmla="*/ 35 w 765"/>
                <a:gd name="T1" fmla="*/ 118 h 135"/>
                <a:gd name="T2" fmla="*/ 56 w 765"/>
                <a:gd name="T3" fmla="*/ 88 h 135"/>
                <a:gd name="T4" fmla="*/ 78 w 765"/>
                <a:gd name="T5" fmla="*/ 62 h 135"/>
                <a:gd name="T6" fmla="*/ 4 w 765"/>
                <a:gd name="T7" fmla="*/ 62 h 135"/>
                <a:gd name="T8" fmla="*/ 42 w 765"/>
                <a:gd name="T9" fmla="*/ 47 h 135"/>
                <a:gd name="T10" fmla="*/ 56 w 765"/>
                <a:gd name="T11" fmla="*/ 75 h 135"/>
                <a:gd name="T12" fmla="*/ 30 w 765"/>
                <a:gd name="T13" fmla="*/ 135 h 135"/>
                <a:gd name="T14" fmla="*/ 56 w 765"/>
                <a:gd name="T15" fmla="*/ 121 h 135"/>
                <a:gd name="T16" fmla="*/ 78 w 765"/>
                <a:gd name="T17" fmla="*/ 132 h 135"/>
                <a:gd name="T18" fmla="*/ 132 w 765"/>
                <a:gd name="T19" fmla="*/ 47 h 135"/>
                <a:gd name="T20" fmla="*/ 154 w 765"/>
                <a:gd name="T21" fmla="*/ 118 h 135"/>
                <a:gd name="T22" fmla="*/ 171 w 765"/>
                <a:gd name="T23" fmla="*/ 130 h 135"/>
                <a:gd name="T24" fmla="*/ 88 w 765"/>
                <a:gd name="T25" fmla="*/ 78 h 135"/>
                <a:gd name="T26" fmla="*/ 172 w 765"/>
                <a:gd name="T27" fmla="*/ 67 h 135"/>
                <a:gd name="T28" fmla="*/ 236 w 765"/>
                <a:gd name="T29" fmla="*/ 67 h 135"/>
                <a:gd name="T30" fmla="*/ 202 w 765"/>
                <a:gd name="T31" fmla="*/ 74 h 135"/>
                <a:gd name="T32" fmla="*/ 260 w 765"/>
                <a:gd name="T33" fmla="*/ 116 h 135"/>
                <a:gd name="T34" fmla="*/ 231 w 765"/>
                <a:gd name="T35" fmla="*/ 135 h 135"/>
                <a:gd name="T36" fmla="*/ 223 w 765"/>
                <a:gd name="T37" fmla="*/ 31 h 135"/>
                <a:gd name="T38" fmla="*/ 236 w 765"/>
                <a:gd name="T39" fmla="*/ 67 h 135"/>
                <a:gd name="T40" fmla="*/ 291 w 765"/>
                <a:gd name="T41" fmla="*/ 63 h 135"/>
                <a:gd name="T42" fmla="*/ 327 w 765"/>
                <a:gd name="T43" fmla="*/ 63 h 135"/>
                <a:gd name="T44" fmla="*/ 349 w 765"/>
                <a:gd name="T45" fmla="*/ 71 h 135"/>
                <a:gd name="T46" fmla="*/ 269 w 765"/>
                <a:gd name="T47" fmla="*/ 77 h 135"/>
                <a:gd name="T48" fmla="*/ 347 w 765"/>
                <a:gd name="T49" fmla="*/ 131 h 135"/>
                <a:gd name="T50" fmla="*/ 328 w 765"/>
                <a:gd name="T51" fmla="*/ 118 h 135"/>
                <a:gd name="T52" fmla="*/ 349 w 765"/>
                <a:gd name="T53" fmla="*/ 77 h 135"/>
                <a:gd name="T54" fmla="*/ 418 w 765"/>
                <a:gd name="T55" fmla="*/ 76 h 135"/>
                <a:gd name="T56" fmla="*/ 408 w 765"/>
                <a:gd name="T57" fmla="*/ 52 h 135"/>
                <a:gd name="T58" fmla="*/ 384 w 765"/>
                <a:gd name="T59" fmla="*/ 132 h 135"/>
                <a:gd name="T60" fmla="*/ 361 w 765"/>
                <a:gd name="T61" fmla="*/ 33 h 135"/>
                <a:gd name="T62" fmla="*/ 384 w 765"/>
                <a:gd name="T63" fmla="*/ 51 h 135"/>
                <a:gd name="T64" fmla="*/ 414 w 765"/>
                <a:gd name="T65" fmla="*/ 31 h 135"/>
                <a:gd name="T66" fmla="*/ 441 w 765"/>
                <a:gd name="T67" fmla="*/ 132 h 135"/>
                <a:gd name="T68" fmla="*/ 489 w 765"/>
                <a:gd name="T69" fmla="*/ 49 h 135"/>
                <a:gd name="T70" fmla="*/ 505 w 765"/>
                <a:gd name="T71" fmla="*/ 118 h 135"/>
                <a:gd name="T72" fmla="*/ 516 w 765"/>
                <a:gd name="T73" fmla="*/ 133 h 135"/>
                <a:gd name="T74" fmla="*/ 466 w 765"/>
                <a:gd name="T75" fmla="*/ 107 h 135"/>
                <a:gd name="T76" fmla="*/ 447 w 765"/>
                <a:gd name="T77" fmla="*/ 49 h 135"/>
                <a:gd name="T78" fmla="*/ 466 w 765"/>
                <a:gd name="T79" fmla="*/ 33 h 135"/>
                <a:gd name="T80" fmla="*/ 489 w 765"/>
                <a:gd name="T81" fmla="*/ 0 h 135"/>
                <a:gd name="T82" fmla="*/ 519 w 765"/>
                <a:gd name="T83" fmla="*/ 33 h 135"/>
                <a:gd name="T84" fmla="*/ 489 w 765"/>
                <a:gd name="T85" fmla="*/ 49 h 135"/>
                <a:gd name="T86" fmla="*/ 586 w 765"/>
                <a:gd name="T87" fmla="*/ 114 h 135"/>
                <a:gd name="T88" fmla="*/ 556 w 765"/>
                <a:gd name="T89" fmla="*/ 135 h 135"/>
                <a:gd name="T90" fmla="*/ 529 w 765"/>
                <a:gd name="T91" fmla="*/ 33 h 135"/>
                <a:gd name="T92" fmla="*/ 552 w 765"/>
                <a:gd name="T93" fmla="*/ 90 h 135"/>
                <a:gd name="T94" fmla="*/ 563 w 765"/>
                <a:gd name="T95" fmla="*/ 113 h 135"/>
                <a:gd name="T96" fmla="*/ 586 w 765"/>
                <a:gd name="T97" fmla="*/ 33 h 135"/>
                <a:gd name="T98" fmla="*/ 609 w 765"/>
                <a:gd name="T99" fmla="*/ 132 h 135"/>
                <a:gd name="T100" fmla="*/ 647 w 765"/>
                <a:gd name="T101" fmla="*/ 89 h 135"/>
                <a:gd name="T102" fmla="*/ 624 w 765"/>
                <a:gd name="T103" fmla="*/ 132 h 135"/>
                <a:gd name="T104" fmla="*/ 647 w 765"/>
                <a:gd name="T105" fmla="*/ 33 h 135"/>
                <a:gd name="T106" fmla="*/ 648 w 765"/>
                <a:gd name="T107" fmla="*/ 51 h 135"/>
                <a:gd name="T108" fmla="*/ 680 w 765"/>
                <a:gd name="T109" fmla="*/ 55 h 135"/>
                <a:gd name="T110" fmla="*/ 743 w 765"/>
                <a:gd name="T111" fmla="*/ 63 h 135"/>
                <a:gd name="T112" fmla="*/ 726 w 765"/>
                <a:gd name="T113" fmla="*/ 45 h 135"/>
                <a:gd name="T114" fmla="*/ 765 w 765"/>
                <a:gd name="T115" fmla="*/ 77 h 135"/>
                <a:gd name="T116" fmla="*/ 727 w 765"/>
                <a:gd name="T117" fmla="*/ 31 h 135"/>
                <a:gd name="T118" fmla="*/ 735 w 765"/>
                <a:gd name="T119" fmla="*/ 135 h 135"/>
                <a:gd name="T120" fmla="*/ 763 w 765"/>
                <a:gd name="T121" fmla="*/ 115 h 135"/>
                <a:gd name="T122" fmla="*/ 706 w 765"/>
                <a:gd name="T123" fmla="*/ 7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5" h="135">
                  <a:moveTo>
                    <a:pt x="56" y="88"/>
                  </a:moveTo>
                  <a:cubicBezTo>
                    <a:pt x="56" y="101"/>
                    <a:pt x="51" y="118"/>
                    <a:pt x="35" y="118"/>
                  </a:cubicBezTo>
                  <a:cubicBezTo>
                    <a:pt x="28" y="118"/>
                    <a:pt x="23" y="114"/>
                    <a:pt x="23" y="106"/>
                  </a:cubicBezTo>
                  <a:cubicBezTo>
                    <a:pt x="23" y="91"/>
                    <a:pt x="45" y="88"/>
                    <a:pt x="56" y="88"/>
                  </a:cubicBezTo>
                  <a:close/>
                  <a:moveTo>
                    <a:pt x="78" y="132"/>
                  </a:moveTo>
                  <a:cubicBezTo>
                    <a:pt x="78" y="62"/>
                    <a:pt x="78" y="62"/>
                    <a:pt x="78" y="62"/>
                  </a:cubicBezTo>
                  <a:cubicBezTo>
                    <a:pt x="78" y="38"/>
                    <a:pt x="63" y="31"/>
                    <a:pt x="42" y="31"/>
                  </a:cubicBezTo>
                  <a:cubicBezTo>
                    <a:pt x="21" y="31"/>
                    <a:pt x="4" y="39"/>
                    <a:pt x="4" y="62"/>
                  </a:cubicBezTo>
                  <a:cubicBezTo>
                    <a:pt x="27" y="62"/>
                    <a:pt x="27" y="62"/>
                    <a:pt x="27" y="62"/>
                  </a:cubicBezTo>
                  <a:cubicBezTo>
                    <a:pt x="27" y="52"/>
                    <a:pt x="32" y="47"/>
                    <a:pt x="42" y="47"/>
                  </a:cubicBezTo>
                  <a:cubicBezTo>
                    <a:pt x="53" y="47"/>
                    <a:pt x="56" y="55"/>
                    <a:pt x="56" y="65"/>
                  </a:cubicBezTo>
                  <a:cubicBezTo>
                    <a:pt x="56" y="75"/>
                    <a:pt x="56" y="75"/>
                    <a:pt x="56" y="75"/>
                  </a:cubicBezTo>
                  <a:cubicBezTo>
                    <a:pt x="33" y="76"/>
                    <a:pt x="0" y="79"/>
                    <a:pt x="0" y="109"/>
                  </a:cubicBezTo>
                  <a:cubicBezTo>
                    <a:pt x="0" y="125"/>
                    <a:pt x="14" y="135"/>
                    <a:pt x="30" y="135"/>
                  </a:cubicBezTo>
                  <a:cubicBezTo>
                    <a:pt x="41" y="135"/>
                    <a:pt x="51" y="131"/>
                    <a:pt x="56" y="121"/>
                  </a:cubicBezTo>
                  <a:cubicBezTo>
                    <a:pt x="56" y="121"/>
                    <a:pt x="56" y="121"/>
                    <a:pt x="56" y="121"/>
                  </a:cubicBezTo>
                  <a:cubicBezTo>
                    <a:pt x="56" y="132"/>
                    <a:pt x="56" y="132"/>
                    <a:pt x="56" y="132"/>
                  </a:cubicBezTo>
                  <a:lnTo>
                    <a:pt x="78" y="132"/>
                  </a:lnTo>
                  <a:close/>
                  <a:moveTo>
                    <a:pt x="147" y="67"/>
                  </a:moveTo>
                  <a:cubicBezTo>
                    <a:pt x="147" y="57"/>
                    <a:pt x="144" y="47"/>
                    <a:pt x="132" y="47"/>
                  </a:cubicBezTo>
                  <a:cubicBezTo>
                    <a:pt x="117" y="47"/>
                    <a:pt x="113" y="62"/>
                    <a:pt x="113" y="74"/>
                  </a:cubicBezTo>
                  <a:cubicBezTo>
                    <a:pt x="113" y="99"/>
                    <a:pt x="128" y="118"/>
                    <a:pt x="154" y="118"/>
                  </a:cubicBezTo>
                  <a:cubicBezTo>
                    <a:pt x="160" y="118"/>
                    <a:pt x="165" y="118"/>
                    <a:pt x="171" y="116"/>
                  </a:cubicBezTo>
                  <a:cubicBezTo>
                    <a:pt x="171" y="130"/>
                    <a:pt x="171" y="130"/>
                    <a:pt x="171" y="130"/>
                  </a:cubicBezTo>
                  <a:cubicBezTo>
                    <a:pt x="161" y="133"/>
                    <a:pt x="151" y="135"/>
                    <a:pt x="142" y="135"/>
                  </a:cubicBezTo>
                  <a:cubicBezTo>
                    <a:pt x="106" y="135"/>
                    <a:pt x="88" y="113"/>
                    <a:pt x="88" y="78"/>
                  </a:cubicBezTo>
                  <a:cubicBezTo>
                    <a:pt x="88" y="49"/>
                    <a:pt x="104" y="31"/>
                    <a:pt x="134" y="31"/>
                  </a:cubicBezTo>
                  <a:cubicBezTo>
                    <a:pt x="158" y="31"/>
                    <a:pt x="172" y="42"/>
                    <a:pt x="172" y="67"/>
                  </a:cubicBezTo>
                  <a:lnTo>
                    <a:pt x="147" y="67"/>
                  </a:lnTo>
                  <a:close/>
                  <a:moveTo>
                    <a:pt x="236" y="67"/>
                  </a:moveTo>
                  <a:cubicBezTo>
                    <a:pt x="236" y="57"/>
                    <a:pt x="233" y="47"/>
                    <a:pt x="221" y="47"/>
                  </a:cubicBezTo>
                  <a:cubicBezTo>
                    <a:pt x="206" y="47"/>
                    <a:pt x="202" y="62"/>
                    <a:pt x="202" y="74"/>
                  </a:cubicBezTo>
                  <a:cubicBezTo>
                    <a:pt x="202" y="99"/>
                    <a:pt x="217" y="118"/>
                    <a:pt x="243" y="118"/>
                  </a:cubicBezTo>
                  <a:cubicBezTo>
                    <a:pt x="249" y="118"/>
                    <a:pt x="254" y="118"/>
                    <a:pt x="260" y="116"/>
                  </a:cubicBezTo>
                  <a:cubicBezTo>
                    <a:pt x="260" y="130"/>
                    <a:pt x="260" y="130"/>
                    <a:pt x="260" y="130"/>
                  </a:cubicBezTo>
                  <a:cubicBezTo>
                    <a:pt x="250" y="133"/>
                    <a:pt x="241" y="135"/>
                    <a:pt x="231" y="135"/>
                  </a:cubicBezTo>
                  <a:cubicBezTo>
                    <a:pt x="195" y="135"/>
                    <a:pt x="177" y="113"/>
                    <a:pt x="177" y="78"/>
                  </a:cubicBezTo>
                  <a:cubicBezTo>
                    <a:pt x="177" y="49"/>
                    <a:pt x="193" y="31"/>
                    <a:pt x="223" y="31"/>
                  </a:cubicBezTo>
                  <a:cubicBezTo>
                    <a:pt x="247" y="31"/>
                    <a:pt x="261" y="42"/>
                    <a:pt x="261" y="67"/>
                  </a:cubicBezTo>
                  <a:lnTo>
                    <a:pt x="236" y="67"/>
                  </a:lnTo>
                  <a:close/>
                  <a:moveTo>
                    <a:pt x="327" y="63"/>
                  </a:moveTo>
                  <a:cubicBezTo>
                    <a:pt x="291" y="63"/>
                    <a:pt x="291" y="63"/>
                    <a:pt x="291" y="63"/>
                  </a:cubicBezTo>
                  <a:cubicBezTo>
                    <a:pt x="292" y="53"/>
                    <a:pt x="300" y="45"/>
                    <a:pt x="310" y="45"/>
                  </a:cubicBezTo>
                  <a:cubicBezTo>
                    <a:pt x="320" y="45"/>
                    <a:pt x="327" y="52"/>
                    <a:pt x="327" y="63"/>
                  </a:cubicBezTo>
                  <a:close/>
                  <a:moveTo>
                    <a:pt x="349" y="77"/>
                  </a:moveTo>
                  <a:cubicBezTo>
                    <a:pt x="349" y="71"/>
                    <a:pt x="349" y="71"/>
                    <a:pt x="349" y="71"/>
                  </a:cubicBezTo>
                  <a:cubicBezTo>
                    <a:pt x="349" y="47"/>
                    <a:pt x="337" y="31"/>
                    <a:pt x="311" y="31"/>
                  </a:cubicBezTo>
                  <a:cubicBezTo>
                    <a:pt x="282" y="31"/>
                    <a:pt x="269" y="49"/>
                    <a:pt x="269" y="77"/>
                  </a:cubicBezTo>
                  <a:cubicBezTo>
                    <a:pt x="269" y="110"/>
                    <a:pt x="283" y="135"/>
                    <a:pt x="319" y="135"/>
                  </a:cubicBezTo>
                  <a:cubicBezTo>
                    <a:pt x="328" y="135"/>
                    <a:pt x="338" y="134"/>
                    <a:pt x="347" y="131"/>
                  </a:cubicBezTo>
                  <a:cubicBezTo>
                    <a:pt x="347" y="115"/>
                    <a:pt x="347" y="115"/>
                    <a:pt x="347" y="115"/>
                  </a:cubicBezTo>
                  <a:cubicBezTo>
                    <a:pt x="341" y="117"/>
                    <a:pt x="334" y="118"/>
                    <a:pt x="328" y="118"/>
                  </a:cubicBezTo>
                  <a:cubicBezTo>
                    <a:pt x="305" y="118"/>
                    <a:pt x="290" y="98"/>
                    <a:pt x="290" y="77"/>
                  </a:cubicBezTo>
                  <a:lnTo>
                    <a:pt x="349" y="77"/>
                  </a:lnTo>
                  <a:close/>
                  <a:moveTo>
                    <a:pt x="418" y="132"/>
                  </a:moveTo>
                  <a:cubicBezTo>
                    <a:pt x="418" y="76"/>
                    <a:pt x="418" y="76"/>
                    <a:pt x="418" y="76"/>
                  </a:cubicBezTo>
                  <a:cubicBezTo>
                    <a:pt x="418" y="71"/>
                    <a:pt x="418" y="58"/>
                    <a:pt x="414" y="54"/>
                  </a:cubicBezTo>
                  <a:cubicBezTo>
                    <a:pt x="413" y="53"/>
                    <a:pt x="410" y="52"/>
                    <a:pt x="408" y="52"/>
                  </a:cubicBezTo>
                  <a:cubicBezTo>
                    <a:pt x="391" y="52"/>
                    <a:pt x="384" y="76"/>
                    <a:pt x="384" y="89"/>
                  </a:cubicBezTo>
                  <a:cubicBezTo>
                    <a:pt x="384" y="132"/>
                    <a:pt x="384" y="132"/>
                    <a:pt x="384" y="132"/>
                  </a:cubicBezTo>
                  <a:cubicBezTo>
                    <a:pt x="361" y="132"/>
                    <a:pt x="361" y="132"/>
                    <a:pt x="361" y="132"/>
                  </a:cubicBezTo>
                  <a:cubicBezTo>
                    <a:pt x="361" y="33"/>
                    <a:pt x="361" y="33"/>
                    <a:pt x="361" y="33"/>
                  </a:cubicBezTo>
                  <a:cubicBezTo>
                    <a:pt x="384" y="33"/>
                    <a:pt x="384" y="33"/>
                    <a:pt x="384" y="33"/>
                  </a:cubicBezTo>
                  <a:cubicBezTo>
                    <a:pt x="384" y="51"/>
                    <a:pt x="384" y="51"/>
                    <a:pt x="384" y="51"/>
                  </a:cubicBezTo>
                  <a:cubicBezTo>
                    <a:pt x="385" y="51"/>
                    <a:pt x="385" y="51"/>
                    <a:pt x="385" y="51"/>
                  </a:cubicBezTo>
                  <a:cubicBezTo>
                    <a:pt x="390" y="39"/>
                    <a:pt x="400" y="31"/>
                    <a:pt x="414" y="31"/>
                  </a:cubicBezTo>
                  <a:cubicBezTo>
                    <a:pt x="433" y="31"/>
                    <a:pt x="441" y="46"/>
                    <a:pt x="441" y="63"/>
                  </a:cubicBezTo>
                  <a:cubicBezTo>
                    <a:pt x="441" y="132"/>
                    <a:pt x="441" y="132"/>
                    <a:pt x="441" y="132"/>
                  </a:cubicBezTo>
                  <a:lnTo>
                    <a:pt x="418" y="132"/>
                  </a:lnTo>
                  <a:close/>
                  <a:moveTo>
                    <a:pt x="489" y="49"/>
                  </a:moveTo>
                  <a:cubicBezTo>
                    <a:pt x="489" y="96"/>
                    <a:pt x="489" y="96"/>
                    <a:pt x="489" y="96"/>
                  </a:cubicBezTo>
                  <a:cubicBezTo>
                    <a:pt x="489" y="108"/>
                    <a:pt x="491" y="118"/>
                    <a:pt x="505" y="118"/>
                  </a:cubicBezTo>
                  <a:cubicBezTo>
                    <a:pt x="509" y="118"/>
                    <a:pt x="512" y="118"/>
                    <a:pt x="516" y="117"/>
                  </a:cubicBezTo>
                  <a:cubicBezTo>
                    <a:pt x="516" y="133"/>
                    <a:pt x="516" y="133"/>
                    <a:pt x="516" y="133"/>
                  </a:cubicBezTo>
                  <a:cubicBezTo>
                    <a:pt x="510" y="134"/>
                    <a:pt x="503" y="135"/>
                    <a:pt x="497" y="135"/>
                  </a:cubicBezTo>
                  <a:cubicBezTo>
                    <a:pt x="477" y="135"/>
                    <a:pt x="466" y="128"/>
                    <a:pt x="466" y="107"/>
                  </a:cubicBezTo>
                  <a:cubicBezTo>
                    <a:pt x="466" y="49"/>
                    <a:pt x="466" y="49"/>
                    <a:pt x="466" y="49"/>
                  </a:cubicBezTo>
                  <a:cubicBezTo>
                    <a:pt x="447" y="49"/>
                    <a:pt x="447" y="49"/>
                    <a:pt x="447" y="49"/>
                  </a:cubicBezTo>
                  <a:cubicBezTo>
                    <a:pt x="447" y="33"/>
                    <a:pt x="447" y="33"/>
                    <a:pt x="447" y="33"/>
                  </a:cubicBezTo>
                  <a:cubicBezTo>
                    <a:pt x="466" y="33"/>
                    <a:pt x="466" y="33"/>
                    <a:pt x="466" y="33"/>
                  </a:cubicBezTo>
                  <a:cubicBezTo>
                    <a:pt x="466" y="9"/>
                    <a:pt x="466" y="9"/>
                    <a:pt x="466" y="9"/>
                  </a:cubicBezTo>
                  <a:cubicBezTo>
                    <a:pt x="489" y="0"/>
                    <a:pt x="489" y="0"/>
                    <a:pt x="489" y="0"/>
                  </a:cubicBezTo>
                  <a:cubicBezTo>
                    <a:pt x="489" y="33"/>
                    <a:pt x="489" y="33"/>
                    <a:pt x="489" y="33"/>
                  </a:cubicBezTo>
                  <a:cubicBezTo>
                    <a:pt x="519" y="33"/>
                    <a:pt x="519" y="33"/>
                    <a:pt x="519" y="33"/>
                  </a:cubicBezTo>
                  <a:cubicBezTo>
                    <a:pt x="519" y="49"/>
                    <a:pt x="519" y="49"/>
                    <a:pt x="519" y="49"/>
                  </a:cubicBezTo>
                  <a:lnTo>
                    <a:pt x="489" y="49"/>
                  </a:lnTo>
                  <a:close/>
                  <a:moveTo>
                    <a:pt x="586" y="132"/>
                  </a:moveTo>
                  <a:cubicBezTo>
                    <a:pt x="586" y="114"/>
                    <a:pt x="586" y="114"/>
                    <a:pt x="586" y="114"/>
                  </a:cubicBezTo>
                  <a:cubicBezTo>
                    <a:pt x="586" y="114"/>
                    <a:pt x="586" y="114"/>
                    <a:pt x="586" y="114"/>
                  </a:cubicBezTo>
                  <a:cubicBezTo>
                    <a:pt x="580" y="126"/>
                    <a:pt x="570" y="135"/>
                    <a:pt x="556" y="135"/>
                  </a:cubicBezTo>
                  <a:cubicBezTo>
                    <a:pt x="537" y="135"/>
                    <a:pt x="529" y="119"/>
                    <a:pt x="529" y="102"/>
                  </a:cubicBezTo>
                  <a:cubicBezTo>
                    <a:pt x="529" y="33"/>
                    <a:pt x="529" y="33"/>
                    <a:pt x="529" y="33"/>
                  </a:cubicBezTo>
                  <a:cubicBezTo>
                    <a:pt x="552" y="33"/>
                    <a:pt x="552" y="33"/>
                    <a:pt x="552" y="33"/>
                  </a:cubicBezTo>
                  <a:cubicBezTo>
                    <a:pt x="552" y="90"/>
                    <a:pt x="552" y="90"/>
                    <a:pt x="552" y="90"/>
                  </a:cubicBezTo>
                  <a:cubicBezTo>
                    <a:pt x="552" y="95"/>
                    <a:pt x="552" y="107"/>
                    <a:pt x="556" y="111"/>
                  </a:cubicBezTo>
                  <a:cubicBezTo>
                    <a:pt x="558" y="113"/>
                    <a:pt x="560" y="113"/>
                    <a:pt x="563" y="113"/>
                  </a:cubicBezTo>
                  <a:cubicBezTo>
                    <a:pt x="579" y="113"/>
                    <a:pt x="586" y="89"/>
                    <a:pt x="586" y="76"/>
                  </a:cubicBezTo>
                  <a:cubicBezTo>
                    <a:pt x="586" y="33"/>
                    <a:pt x="586" y="33"/>
                    <a:pt x="586" y="33"/>
                  </a:cubicBezTo>
                  <a:cubicBezTo>
                    <a:pt x="609" y="33"/>
                    <a:pt x="609" y="33"/>
                    <a:pt x="609" y="33"/>
                  </a:cubicBezTo>
                  <a:cubicBezTo>
                    <a:pt x="609" y="132"/>
                    <a:pt x="609" y="132"/>
                    <a:pt x="609" y="132"/>
                  </a:cubicBezTo>
                  <a:lnTo>
                    <a:pt x="586" y="132"/>
                  </a:lnTo>
                  <a:close/>
                  <a:moveTo>
                    <a:pt x="647" y="89"/>
                  </a:moveTo>
                  <a:cubicBezTo>
                    <a:pt x="647" y="132"/>
                    <a:pt x="647" y="132"/>
                    <a:pt x="647" y="132"/>
                  </a:cubicBezTo>
                  <a:cubicBezTo>
                    <a:pt x="624" y="132"/>
                    <a:pt x="624" y="132"/>
                    <a:pt x="624" y="132"/>
                  </a:cubicBezTo>
                  <a:cubicBezTo>
                    <a:pt x="624" y="33"/>
                    <a:pt x="624" y="33"/>
                    <a:pt x="624" y="33"/>
                  </a:cubicBezTo>
                  <a:cubicBezTo>
                    <a:pt x="647" y="33"/>
                    <a:pt x="647" y="33"/>
                    <a:pt x="647" y="33"/>
                  </a:cubicBezTo>
                  <a:cubicBezTo>
                    <a:pt x="647" y="51"/>
                    <a:pt x="647" y="51"/>
                    <a:pt x="647" y="51"/>
                  </a:cubicBezTo>
                  <a:cubicBezTo>
                    <a:pt x="648" y="51"/>
                    <a:pt x="648" y="51"/>
                    <a:pt x="648" y="51"/>
                  </a:cubicBezTo>
                  <a:cubicBezTo>
                    <a:pt x="655" y="37"/>
                    <a:pt x="663" y="31"/>
                    <a:pt x="680" y="31"/>
                  </a:cubicBezTo>
                  <a:cubicBezTo>
                    <a:pt x="680" y="55"/>
                    <a:pt x="680" y="55"/>
                    <a:pt x="680" y="55"/>
                  </a:cubicBezTo>
                  <a:cubicBezTo>
                    <a:pt x="656" y="55"/>
                    <a:pt x="647" y="65"/>
                    <a:pt x="647" y="89"/>
                  </a:cubicBezTo>
                  <a:close/>
                  <a:moveTo>
                    <a:pt x="743" y="63"/>
                  </a:moveTo>
                  <a:cubicBezTo>
                    <a:pt x="707" y="63"/>
                    <a:pt x="707" y="63"/>
                    <a:pt x="707" y="63"/>
                  </a:cubicBezTo>
                  <a:cubicBezTo>
                    <a:pt x="708" y="53"/>
                    <a:pt x="715" y="45"/>
                    <a:pt x="726" y="45"/>
                  </a:cubicBezTo>
                  <a:cubicBezTo>
                    <a:pt x="736" y="45"/>
                    <a:pt x="743" y="52"/>
                    <a:pt x="743" y="63"/>
                  </a:cubicBezTo>
                  <a:close/>
                  <a:moveTo>
                    <a:pt x="765" y="77"/>
                  </a:moveTo>
                  <a:cubicBezTo>
                    <a:pt x="765" y="71"/>
                    <a:pt x="765" y="71"/>
                    <a:pt x="765" y="71"/>
                  </a:cubicBezTo>
                  <a:cubicBezTo>
                    <a:pt x="765" y="47"/>
                    <a:pt x="753" y="31"/>
                    <a:pt x="727" y="31"/>
                  </a:cubicBezTo>
                  <a:cubicBezTo>
                    <a:pt x="698" y="31"/>
                    <a:pt x="685" y="49"/>
                    <a:pt x="685" y="77"/>
                  </a:cubicBezTo>
                  <a:cubicBezTo>
                    <a:pt x="685" y="110"/>
                    <a:pt x="699" y="135"/>
                    <a:pt x="735" y="135"/>
                  </a:cubicBezTo>
                  <a:cubicBezTo>
                    <a:pt x="744" y="135"/>
                    <a:pt x="754" y="134"/>
                    <a:pt x="763" y="131"/>
                  </a:cubicBezTo>
                  <a:cubicBezTo>
                    <a:pt x="763" y="115"/>
                    <a:pt x="763" y="115"/>
                    <a:pt x="763" y="115"/>
                  </a:cubicBezTo>
                  <a:cubicBezTo>
                    <a:pt x="757" y="117"/>
                    <a:pt x="750" y="118"/>
                    <a:pt x="744" y="118"/>
                  </a:cubicBezTo>
                  <a:cubicBezTo>
                    <a:pt x="721" y="118"/>
                    <a:pt x="706" y="98"/>
                    <a:pt x="706" y="77"/>
                  </a:cubicBezTo>
                  <a:lnTo>
                    <a:pt x="765" y="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24" name="Freeform 23"/>
            <p:cNvSpPr/>
            <p:nvPr/>
          </p:nvSpPr>
          <p:spPr>
            <a:xfrm>
              <a:off x="1739049" y="420673"/>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Graphik" panose="020B0503030202060203" pitchFamily="34" charset="0"/>
              </a:endParaRPr>
            </a:p>
          </p:txBody>
        </p:sp>
      </p:grpSp>
      <p:grpSp>
        <p:nvGrpSpPr>
          <p:cNvPr id="19" name="Accenture_MasterBLACK" hidden="1"/>
          <p:cNvGrpSpPr/>
          <p:nvPr/>
        </p:nvGrpSpPr>
        <p:grpSpPr>
          <a:xfrm>
            <a:off x="7767974" y="460549"/>
            <a:ext cx="1828462" cy="528825"/>
            <a:chOff x="476250" y="397668"/>
            <a:chExt cx="2195577" cy="635000"/>
          </a:xfrm>
        </p:grpSpPr>
        <p:sp>
          <p:nvSpPr>
            <p:cNvPr id="20" name="Freeform 19"/>
            <p:cNvSpPr>
              <a:spLocks/>
            </p:cNvSpPr>
            <p:nvPr/>
          </p:nvSpPr>
          <p:spPr bwMode="auto">
            <a:xfrm>
              <a:off x="1758865" y="397668"/>
              <a:ext cx="206059" cy="214470"/>
            </a:xfrm>
            <a:custGeom>
              <a:avLst/>
              <a:gdLst>
                <a:gd name="T0" fmla="*/ 0 w 72"/>
                <a:gd name="T1" fmla="*/ 0 h 74"/>
                <a:gd name="T2" fmla="*/ 0 w 72"/>
                <a:gd name="T3" fmla="*/ 2 h 74"/>
                <a:gd name="T4" fmla="*/ 0 w 72"/>
                <a:gd name="T5" fmla="*/ 16 h 74"/>
                <a:gd name="T6" fmla="*/ 53 w 72"/>
                <a:gd name="T7" fmla="*/ 37 h 74"/>
                <a:gd name="T8" fmla="*/ 0 w 72"/>
                <a:gd name="T9" fmla="*/ 57 h 74"/>
                <a:gd name="T10" fmla="*/ 0 w 72"/>
                <a:gd name="T11" fmla="*/ 74 h 74"/>
                <a:gd name="T12" fmla="*/ 72 w 72"/>
                <a:gd name="T13" fmla="*/ 44 h 74"/>
                <a:gd name="T14" fmla="*/ 72 w 72"/>
                <a:gd name="T15" fmla="*/ 29 h 74"/>
                <a:gd name="T16" fmla="*/ 0 w 72"/>
                <a:gd name="T1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0" y="0"/>
                  </a:moveTo>
                  <a:cubicBezTo>
                    <a:pt x="0" y="2"/>
                    <a:pt x="0" y="2"/>
                    <a:pt x="0" y="2"/>
                  </a:cubicBezTo>
                  <a:cubicBezTo>
                    <a:pt x="0" y="16"/>
                    <a:pt x="0" y="16"/>
                    <a:pt x="0" y="16"/>
                  </a:cubicBezTo>
                  <a:cubicBezTo>
                    <a:pt x="0" y="16"/>
                    <a:pt x="46" y="34"/>
                    <a:pt x="53" y="37"/>
                  </a:cubicBezTo>
                  <a:cubicBezTo>
                    <a:pt x="46" y="40"/>
                    <a:pt x="0" y="57"/>
                    <a:pt x="0" y="57"/>
                  </a:cubicBezTo>
                  <a:cubicBezTo>
                    <a:pt x="0" y="74"/>
                    <a:pt x="0" y="74"/>
                    <a:pt x="0" y="74"/>
                  </a:cubicBezTo>
                  <a:cubicBezTo>
                    <a:pt x="72" y="44"/>
                    <a:pt x="72" y="44"/>
                    <a:pt x="72" y="44"/>
                  </a:cubicBezTo>
                  <a:cubicBezTo>
                    <a:pt x="72" y="29"/>
                    <a:pt x="72" y="29"/>
                    <a:pt x="72" y="29"/>
                  </a:cubicBez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pic>
          <p:nvPicPr>
            <p:cNvPr id="21" name="Accenture Black"/>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a:off x="476250" y="641561"/>
              <a:ext cx="2195577" cy="391107"/>
            </a:xfrm>
            <a:prstGeom prst="rect">
              <a:avLst/>
            </a:prstGeom>
          </p:spPr>
        </p:pic>
      </p:grpSp>
    </p:spTree>
    <p:extLst>
      <p:ext uri="{BB962C8B-B14F-4D97-AF65-F5344CB8AC3E}">
        <p14:creationId xmlns:p14="http://schemas.microsoft.com/office/powerpoint/2010/main" val="214698347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320">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15_Cover">
    <p:bg>
      <p:bgPr>
        <a:gradFill>
          <a:gsLst>
            <a:gs pos="0">
              <a:srgbClr val="F1F3F2"/>
            </a:gs>
            <a:gs pos="37000">
              <a:srgbClr val="F7F7F7"/>
            </a:gs>
            <a:gs pos="68500">
              <a:srgbClr val="FAFAFA"/>
            </a:gs>
            <a:gs pos="100000">
              <a:schemeClr val="bg1"/>
            </a:gs>
          </a:gsLst>
          <a:lin ang="1200000" scaled="0"/>
        </a:gradFill>
        <a:effectLst/>
      </p:bgPr>
    </p:bg>
    <p:spTree>
      <p:nvGrpSpPr>
        <p:cNvPr id="1" name=""/>
        <p:cNvGrpSpPr/>
        <p:nvPr/>
      </p:nvGrpSpPr>
      <p:grpSpPr>
        <a:xfrm>
          <a:off x="0" y="0"/>
          <a:ext cx="0" cy="0"/>
          <a:chOff x="0" y="0"/>
          <a:chExt cx="0" cy="0"/>
        </a:xfrm>
      </p:grpSpPr>
      <p:grpSp>
        <p:nvGrpSpPr>
          <p:cNvPr id="89" name="Master Brand 03 - Outline GTS" hidden="1"/>
          <p:cNvGrpSpPr>
            <a:grpSpLocks noChangeAspect="1"/>
          </p:cNvGrpSpPr>
          <p:nvPr/>
        </p:nvGrpSpPr>
        <p:grpSpPr bwMode="auto">
          <a:xfrm>
            <a:off x="1159200" y="455022"/>
            <a:ext cx="5949065" cy="6069600"/>
            <a:chOff x="1620" y="-106"/>
            <a:chExt cx="4442" cy="4532"/>
          </a:xfrm>
        </p:grpSpPr>
        <p:sp>
          <p:nvSpPr>
            <p:cNvPr id="90" name="Freeform 5"/>
            <p:cNvSpPr>
              <a:spLocks/>
            </p:cNvSpPr>
            <p:nvPr/>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FFEA00"/>
                </a:gs>
                <a:gs pos="100000">
                  <a:srgbClr val="FFB600"/>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91" name="Freeform 6"/>
            <p:cNvSpPr>
              <a:spLocks/>
            </p:cNvSpPr>
            <p:nvPr/>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00BA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83" name="Master Brand 03 - GRADIENT GTS" hidden="1"/>
          <p:cNvGrpSpPr/>
          <p:nvPr/>
        </p:nvGrpSpPr>
        <p:grpSpPr>
          <a:xfrm>
            <a:off x="1159200" y="456688"/>
            <a:ext cx="5944244" cy="6067934"/>
            <a:chOff x="336907" y="342900"/>
            <a:chExt cx="2298344" cy="2346169"/>
          </a:xfrm>
        </p:grpSpPr>
        <p:sp>
          <p:nvSpPr>
            <p:cNvPr id="84"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85"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EA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80" name="Master Brand 03 - DIMENSIONAL GTS" hidden="1"/>
          <p:cNvGrpSpPr/>
          <p:nvPr/>
        </p:nvGrpSpPr>
        <p:grpSpPr>
          <a:xfrm>
            <a:off x="1159200" y="456688"/>
            <a:ext cx="5944244" cy="6067934"/>
            <a:chOff x="336907" y="342900"/>
            <a:chExt cx="2298344" cy="2346169"/>
          </a:xfrm>
        </p:grpSpPr>
        <p:sp>
          <p:nvSpPr>
            <p:cNvPr id="81"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82"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BA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86" name="Master Brand 02 - Outline GTS" hidden="1"/>
          <p:cNvGrpSpPr>
            <a:grpSpLocks noChangeAspect="1"/>
          </p:cNvGrpSpPr>
          <p:nvPr/>
        </p:nvGrpSpPr>
        <p:grpSpPr bwMode="auto">
          <a:xfrm>
            <a:off x="1159200" y="455022"/>
            <a:ext cx="5949065" cy="6069600"/>
            <a:chOff x="1620" y="-106"/>
            <a:chExt cx="4442" cy="4532"/>
          </a:xfrm>
        </p:grpSpPr>
        <p:sp>
          <p:nvSpPr>
            <p:cNvPr id="87" name="Freeform 5"/>
            <p:cNvSpPr>
              <a:spLocks/>
            </p:cNvSpPr>
            <p:nvPr/>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00F3FF"/>
                </a:gs>
                <a:gs pos="100000">
                  <a:srgbClr val="2800FF"/>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88" name="Freeform 6"/>
            <p:cNvSpPr>
              <a:spLocks/>
            </p:cNvSpPr>
            <p:nvPr/>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00FF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77" name="Master Brand 02 - GRADIENT GTS" hidden="1"/>
          <p:cNvGrpSpPr/>
          <p:nvPr/>
        </p:nvGrpSpPr>
        <p:grpSpPr>
          <a:xfrm>
            <a:off x="1159200" y="456688"/>
            <a:ext cx="5944244" cy="6067934"/>
            <a:chOff x="336907" y="342900"/>
            <a:chExt cx="2298344" cy="2346169"/>
          </a:xfrm>
        </p:grpSpPr>
        <p:sp>
          <p:nvSpPr>
            <p:cNvPr id="78"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79"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28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74" name="Master Brand 02 - DIMENSIONAL GTS" hidden="1"/>
          <p:cNvGrpSpPr/>
          <p:nvPr/>
        </p:nvGrpSpPr>
        <p:grpSpPr>
          <a:xfrm>
            <a:off x="1159200" y="456688"/>
            <a:ext cx="5944244" cy="6067934"/>
            <a:chOff x="336907" y="342900"/>
            <a:chExt cx="2298344" cy="2346169"/>
          </a:xfrm>
        </p:grpSpPr>
        <p:sp>
          <p:nvSpPr>
            <p:cNvPr id="75"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76"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FF7D"/>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27" name="Master Brand 01 - Outline GTS" hidden="1"/>
          <p:cNvGrpSpPr>
            <a:grpSpLocks noChangeAspect="1"/>
          </p:cNvGrpSpPr>
          <p:nvPr/>
        </p:nvGrpSpPr>
        <p:grpSpPr bwMode="auto">
          <a:xfrm>
            <a:off x="1159200" y="455022"/>
            <a:ext cx="5949065" cy="6069600"/>
            <a:chOff x="1620" y="-106"/>
            <a:chExt cx="4442" cy="4532"/>
          </a:xfrm>
        </p:grpSpPr>
        <p:sp>
          <p:nvSpPr>
            <p:cNvPr id="31" name="Freeform 5"/>
            <p:cNvSpPr>
              <a:spLocks/>
            </p:cNvSpPr>
            <p:nvPr/>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FFEA00"/>
                </a:gs>
                <a:gs pos="100000">
                  <a:srgbClr val="FFB600"/>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32" name="Freeform 6"/>
            <p:cNvSpPr>
              <a:spLocks/>
            </p:cNvSpPr>
            <p:nvPr/>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7E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71" name="Master Brand 01 - GRADIENT GTS" hidden="1"/>
          <p:cNvGrpSpPr/>
          <p:nvPr/>
        </p:nvGrpSpPr>
        <p:grpSpPr>
          <a:xfrm>
            <a:off x="1159200" y="456688"/>
            <a:ext cx="5944244" cy="6067934"/>
            <a:chOff x="336907" y="342900"/>
            <a:chExt cx="2298344" cy="2346169"/>
          </a:xfrm>
        </p:grpSpPr>
        <p:sp>
          <p:nvSpPr>
            <p:cNvPr id="72"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FF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73"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FF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61" name="Master Brand 01 - DIMENSIONAL GTS" hidden="1"/>
          <p:cNvGrpSpPr/>
          <p:nvPr/>
        </p:nvGrpSpPr>
        <p:grpSpPr>
          <a:xfrm>
            <a:off x="1159200" y="456688"/>
            <a:ext cx="5944244" cy="6067934"/>
            <a:chOff x="336907" y="342900"/>
            <a:chExt cx="2298344" cy="2346169"/>
          </a:xfrm>
        </p:grpSpPr>
        <p:sp>
          <p:nvSpPr>
            <p:cNvPr id="62"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FF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63"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7E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60" name="Consulting - GRADIENT GTS" hidden="1"/>
          <p:cNvSpPr>
            <a:spLocks/>
          </p:cNvSpPr>
          <p:nvPr/>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00F3FF"/>
              </a:gs>
              <a:gs pos="100000">
                <a:srgbClr val="7E00FF"/>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6" name="Consulting - OUTLINED GTS" hidden="1"/>
          <p:cNvSpPr>
            <a:spLocks noEditPoints="1"/>
          </p:cNvSpPr>
          <p:nvPr/>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7E00FF"/>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48" name="Consulting - DIMENSIONAL GTS" hidden="1"/>
          <p:cNvGrpSpPr/>
          <p:nvPr/>
        </p:nvGrpSpPr>
        <p:grpSpPr>
          <a:xfrm>
            <a:off x="1159200" y="456688"/>
            <a:ext cx="5944244" cy="6067934"/>
            <a:chOff x="336907" y="342900"/>
            <a:chExt cx="2298344" cy="2346169"/>
          </a:xfrm>
        </p:grpSpPr>
        <p:sp>
          <p:nvSpPr>
            <p:cNvPr id="49"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100000">
                  <a:srgbClr val="380089"/>
                </a:gs>
                <a:gs pos="0">
                  <a:srgbClr val="7E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50"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7E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59" name="Digital - GRADIENT GTS" hidden="1"/>
          <p:cNvSpPr>
            <a:spLocks/>
          </p:cNvSpPr>
          <p:nvPr/>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FFB600"/>
              </a:gs>
              <a:gs pos="100000">
                <a:srgbClr val="FFFF00"/>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5" name="Digital - OUTLINED GTS" hidden="1"/>
          <p:cNvSpPr>
            <a:spLocks noEditPoints="1"/>
          </p:cNvSpPr>
          <p:nvPr/>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FFFF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45" name="Digital - DIMENSIONAL GTS" hidden="1"/>
          <p:cNvGrpSpPr/>
          <p:nvPr/>
        </p:nvGrpSpPr>
        <p:grpSpPr>
          <a:xfrm>
            <a:off x="1159200" y="456688"/>
            <a:ext cx="5944244" cy="6067934"/>
            <a:chOff x="336907" y="342900"/>
            <a:chExt cx="2298344" cy="2346169"/>
          </a:xfrm>
        </p:grpSpPr>
        <p:sp>
          <p:nvSpPr>
            <p:cNvPr id="46"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FF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47"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FF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58" name="Operations - GRADIENT GTS" hidden="1"/>
          <p:cNvSpPr>
            <a:spLocks/>
          </p:cNvSpPr>
          <p:nvPr/>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2800FF"/>
              </a:gs>
              <a:gs pos="100000">
                <a:srgbClr val="00F3FF"/>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4" name="Operations - OUTLINED GTS" hidden="1"/>
          <p:cNvSpPr>
            <a:spLocks noEditPoints="1"/>
          </p:cNvSpPr>
          <p:nvPr/>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00F3FF"/>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42" name="Operations - DIMENSIONAL GTS" hidden="1"/>
          <p:cNvGrpSpPr/>
          <p:nvPr/>
        </p:nvGrpSpPr>
        <p:grpSpPr>
          <a:xfrm>
            <a:off x="1159200" y="456688"/>
            <a:ext cx="5944244" cy="6067934"/>
            <a:chOff x="336907" y="342900"/>
            <a:chExt cx="2298344" cy="2346169"/>
          </a:xfrm>
        </p:grpSpPr>
        <p:sp>
          <p:nvSpPr>
            <p:cNvPr id="43"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44"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F3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57" name="Strategy - GRADIENT GTS" hidden="1"/>
          <p:cNvSpPr>
            <a:spLocks/>
          </p:cNvSpPr>
          <p:nvPr/>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100000">
                <a:srgbClr val="FF0000"/>
              </a:gs>
              <a:gs pos="0">
                <a:srgbClr val="710012"/>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3" name="Strategy - OUTLINED GTS" hidden="1"/>
          <p:cNvSpPr>
            <a:spLocks noEditPoints="1"/>
          </p:cNvSpPr>
          <p:nvPr/>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38" name="Strategy - DIMENSIONAL GTS" hidden="1"/>
          <p:cNvGrpSpPr/>
          <p:nvPr/>
        </p:nvGrpSpPr>
        <p:grpSpPr>
          <a:xfrm>
            <a:off x="1159200" y="456688"/>
            <a:ext cx="5944244" cy="6067934"/>
            <a:chOff x="336907" y="342900"/>
            <a:chExt cx="2298344" cy="2346169"/>
          </a:xfrm>
        </p:grpSpPr>
        <p:sp>
          <p:nvSpPr>
            <p:cNvPr id="40"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0000"/>
                </a:gs>
                <a:gs pos="100000">
                  <a:srgbClr val="710012"/>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41"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39" name="Technology - GRADIENT GTS" hidden="1"/>
          <p:cNvSpPr>
            <a:spLocks/>
          </p:cNvSpPr>
          <p:nvPr/>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00F3FF"/>
              </a:gs>
              <a:gs pos="98000">
                <a:srgbClr val="00FF00"/>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36" name="Technology - OUTLINED GTS" hidden="1"/>
          <p:cNvSpPr>
            <a:spLocks noEditPoints="1"/>
          </p:cNvSpPr>
          <p:nvPr/>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00FF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6" name="SubTitle" hidden="1"/>
          <p:cNvSpPr>
            <a:spLocks noGrp="1"/>
          </p:cNvSpPr>
          <p:nvPr>
            <p:ph type="body" sz="quarter" idx="12" hasCustomPrompt="1"/>
          </p:nvPr>
        </p:nvSpPr>
        <p:spPr>
          <a:xfrm>
            <a:off x="7756071" y="5073855"/>
            <a:ext cx="3856329" cy="1041195"/>
          </a:xfrm>
        </p:spPr>
        <p:txBody>
          <a:bodyPr anchor="b"/>
          <a:lstStyle>
            <a:lvl1pPr marL="0" indent="0">
              <a:lnSpc>
                <a:spcPct val="80000"/>
              </a:lnSpc>
              <a:buNone/>
              <a:defRPr sz="2000" b="0" i="0" cap="all" baseline="0">
                <a:solidFill>
                  <a:schemeClr val="tx1"/>
                </a:solidFill>
                <a:latin typeface="+mj-lt"/>
              </a:defRPr>
            </a:lvl1pPr>
          </a:lstStyle>
          <a:p>
            <a:pPr lvl="0"/>
            <a:r>
              <a:rPr lang="en-US" dirty="0"/>
              <a:t>SUBTITLE LINE</a:t>
            </a:r>
            <a:br>
              <a:rPr lang="en-US" dirty="0"/>
            </a:br>
            <a:r>
              <a:rPr lang="en-US" dirty="0"/>
              <a:t>SECOND LINE</a:t>
            </a:r>
          </a:p>
        </p:txBody>
      </p:sp>
      <p:pic>
        <p:nvPicPr>
          <p:cNvPr id="2" name="Accenture_Technology_WHITE" hidden="1"/>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7756800" y="464712"/>
            <a:ext cx="3855600" cy="618771"/>
          </a:xfrm>
          <a:prstGeom prst="rect">
            <a:avLst/>
          </a:prstGeom>
        </p:spPr>
      </p:pic>
      <p:pic>
        <p:nvPicPr>
          <p:cNvPr id="7" name="Accenture_Strategy_WHITE" hidden="1"/>
          <p:cNvPicPr>
            <a:picLocks noChangeAspect="1"/>
          </p:cNvPicPr>
          <p:nvPr/>
        </p:nvPicPr>
        <p:blipFill>
          <a:blip r:embed="rId3"/>
          <a:stretch>
            <a:fillRect/>
          </a:stretch>
        </p:blipFill>
        <p:spPr>
          <a:xfrm>
            <a:off x="7773000" y="459803"/>
            <a:ext cx="3276000" cy="623063"/>
          </a:xfrm>
          <a:prstGeom prst="rect">
            <a:avLst/>
          </a:prstGeom>
        </p:spPr>
      </p:pic>
      <p:pic>
        <p:nvPicPr>
          <p:cNvPr id="17" name="Accenture_Strategy_BLACK" hidden="1"/>
          <p:cNvPicPr>
            <a:picLocks noChangeAspect="1"/>
          </p:cNvPicPr>
          <p:nvPr/>
        </p:nvPicPr>
        <p:blipFill>
          <a:blip r:embed="rId4"/>
          <a:stretch>
            <a:fillRect/>
          </a:stretch>
        </p:blipFill>
        <p:spPr>
          <a:xfrm>
            <a:off x="7772739" y="459803"/>
            <a:ext cx="3276261" cy="623113"/>
          </a:xfrm>
          <a:prstGeom prst="rect">
            <a:avLst/>
          </a:prstGeom>
        </p:spPr>
      </p:pic>
      <p:pic>
        <p:nvPicPr>
          <p:cNvPr id="14" name="Accenture_Operations_WHITE" hidden="1"/>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7773225" y="476724"/>
            <a:ext cx="3704400" cy="613912"/>
          </a:xfrm>
          <a:prstGeom prst="rect">
            <a:avLst/>
          </a:prstGeom>
        </p:spPr>
      </p:pic>
      <p:pic>
        <p:nvPicPr>
          <p:cNvPr id="16" name="Accenture_Operations_BLACK" hidden="1"/>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7772739" y="476724"/>
            <a:ext cx="3704886" cy="613992"/>
          </a:xfrm>
          <a:prstGeom prst="rect">
            <a:avLst/>
          </a:prstGeom>
        </p:spPr>
      </p:pic>
      <p:pic>
        <p:nvPicPr>
          <p:cNvPr id="4" name="Accenture_Mobility_WHITE" hidden="1"/>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7754100" y="651110"/>
            <a:ext cx="3866400" cy="684773"/>
          </a:xfrm>
          <a:prstGeom prst="rect">
            <a:avLst/>
          </a:prstGeom>
        </p:spPr>
      </p:pic>
      <p:pic>
        <p:nvPicPr>
          <p:cNvPr id="18" name="Accenture_Mobility_BLACK" hidden="1"/>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7753350" y="651110"/>
            <a:ext cx="3867150" cy="684905"/>
          </a:xfrm>
          <a:prstGeom prst="rect">
            <a:avLst/>
          </a:prstGeom>
        </p:spPr>
      </p:pic>
      <p:pic>
        <p:nvPicPr>
          <p:cNvPr id="29" name="Accenture_Interactive_WHITE" hidden="1"/>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7754100" y="657225"/>
            <a:ext cx="3866400" cy="683539"/>
          </a:xfrm>
          <a:prstGeom prst="rect">
            <a:avLst/>
          </a:prstGeom>
        </p:spPr>
      </p:pic>
      <p:pic>
        <p:nvPicPr>
          <p:cNvPr id="28" name="Accenture_Interactive_BLACK" hidden="1"/>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7754100" y="657225"/>
            <a:ext cx="3866400" cy="683539"/>
          </a:xfrm>
          <a:prstGeom prst="rect">
            <a:avLst/>
          </a:prstGeom>
        </p:spPr>
      </p:pic>
      <p:pic>
        <p:nvPicPr>
          <p:cNvPr id="5" name="Accenture_Analytics_WHITE" hidden="1"/>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7753349" y="658010"/>
            <a:ext cx="3866400" cy="692114"/>
          </a:xfrm>
          <a:prstGeom prst="rect">
            <a:avLst/>
          </a:prstGeom>
        </p:spPr>
      </p:pic>
      <p:pic>
        <p:nvPicPr>
          <p:cNvPr id="11" name="Accenture_Analytics_BLACK" hidden="1"/>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7753349" y="658010"/>
            <a:ext cx="3867151" cy="692249"/>
          </a:xfrm>
          <a:prstGeom prst="rect">
            <a:avLst/>
          </a:prstGeom>
        </p:spPr>
      </p:pic>
      <p:pic>
        <p:nvPicPr>
          <p:cNvPr id="12" name="Accenture_Analytics_WHITE" hidden="1"/>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7754100" y="658010"/>
            <a:ext cx="3866400" cy="683539"/>
          </a:xfrm>
          <a:prstGeom prst="rect">
            <a:avLst/>
          </a:prstGeom>
        </p:spPr>
      </p:pic>
      <p:pic>
        <p:nvPicPr>
          <p:cNvPr id="3" name="Accenture_Digital_WHITE" hidden="1"/>
          <p:cNvPicPr>
            <a:picLocks noChangeAspect="1"/>
          </p:cNvPicPr>
          <p:nvPr/>
        </p:nvPicPr>
        <p:blipFill>
          <a:blip r:embed="rId13"/>
          <a:stretch>
            <a:fillRect/>
          </a:stretch>
        </p:blipFill>
        <p:spPr>
          <a:xfrm>
            <a:off x="7756425" y="467886"/>
            <a:ext cx="2959200" cy="635308"/>
          </a:xfrm>
          <a:prstGeom prst="rect">
            <a:avLst/>
          </a:prstGeom>
        </p:spPr>
      </p:pic>
      <p:pic>
        <p:nvPicPr>
          <p:cNvPr id="15" name="Accenture_Digital_BLACK" hidden="1"/>
          <p:cNvPicPr>
            <a:picLocks noChangeAspect="1"/>
          </p:cNvPicPr>
          <p:nvPr/>
        </p:nvPicPr>
        <p:blipFill>
          <a:blip r:embed="rId14"/>
          <a:stretch>
            <a:fillRect/>
          </a:stretch>
        </p:blipFill>
        <p:spPr>
          <a:xfrm>
            <a:off x="7756072" y="467886"/>
            <a:ext cx="2959553" cy="635385"/>
          </a:xfrm>
          <a:prstGeom prst="rect">
            <a:avLst/>
          </a:prstGeom>
        </p:spPr>
      </p:pic>
      <p:pic>
        <p:nvPicPr>
          <p:cNvPr id="26" name="Accenture_Consulting_WHITE" hidden="1"/>
          <p:cNvPicPr>
            <a:picLocks noChangeAspect="1"/>
          </p:cNvPicPr>
          <p:nvPr/>
        </p:nvPicPr>
        <p:blipFill>
          <a:blip r:embed="rId15"/>
          <a:stretch>
            <a:fillRect/>
          </a:stretch>
        </p:blipFill>
        <p:spPr>
          <a:xfrm>
            <a:off x="7755225" y="464711"/>
            <a:ext cx="3722400" cy="633721"/>
          </a:xfrm>
          <a:prstGeom prst="rect">
            <a:avLst/>
          </a:prstGeom>
        </p:spPr>
      </p:pic>
      <p:pic>
        <p:nvPicPr>
          <p:cNvPr id="13" name="Accenture_Consulting_BLACK" hidden="1"/>
          <p:cNvPicPr>
            <a:picLocks noChangeAspect="1"/>
          </p:cNvPicPr>
          <p:nvPr/>
        </p:nvPicPr>
        <p:blipFill>
          <a:blip r:embed="rId16"/>
          <a:stretch>
            <a:fillRect/>
          </a:stretch>
        </p:blipFill>
        <p:spPr>
          <a:xfrm>
            <a:off x="7756071" y="464711"/>
            <a:ext cx="3721554" cy="633578"/>
          </a:xfrm>
          <a:prstGeom prst="rect">
            <a:avLst/>
          </a:prstGeom>
        </p:spPr>
      </p:pic>
      <p:grpSp>
        <p:nvGrpSpPr>
          <p:cNvPr id="22" name="Accenture_MasterWHITE" hidden="1"/>
          <p:cNvGrpSpPr/>
          <p:nvPr/>
        </p:nvGrpSpPr>
        <p:grpSpPr>
          <a:xfrm>
            <a:off x="7782263" y="470921"/>
            <a:ext cx="1828462" cy="530297"/>
            <a:chOff x="457202" y="420673"/>
            <a:chExt cx="2182661" cy="633434"/>
          </a:xfrm>
        </p:grpSpPr>
        <p:sp>
          <p:nvSpPr>
            <p:cNvPr id="23" name="Freeform 6"/>
            <p:cNvSpPr>
              <a:spLocks noEditPoints="1"/>
            </p:cNvSpPr>
            <p:nvPr/>
          </p:nvSpPr>
          <p:spPr bwMode="auto">
            <a:xfrm>
              <a:off x="457202" y="668790"/>
              <a:ext cx="2182661" cy="385317"/>
            </a:xfrm>
            <a:custGeom>
              <a:avLst/>
              <a:gdLst>
                <a:gd name="T0" fmla="*/ 35 w 765"/>
                <a:gd name="T1" fmla="*/ 118 h 135"/>
                <a:gd name="T2" fmla="*/ 56 w 765"/>
                <a:gd name="T3" fmla="*/ 88 h 135"/>
                <a:gd name="T4" fmla="*/ 78 w 765"/>
                <a:gd name="T5" fmla="*/ 62 h 135"/>
                <a:gd name="T6" fmla="*/ 4 w 765"/>
                <a:gd name="T7" fmla="*/ 62 h 135"/>
                <a:gd name="T8" fmla="*/ 42 w 765"/>
                <a:gd name="T9" fmla="*/ 47 h 135"/>
                <a:gd name="T10" fmla="*/ 56 w 765"/>
                <a:gd name="T11" fmla="*/ 75 h 135"/>
                <a:gd name="T12" fmla="*/ 30 w 765"/>
                <a:gd name="T13" fmla="*/ 135 h 135"/>
                <a:gd name="T14" fmla="*/ 56 w 765"/>
                <a:gd name="T15" fmla="*/ 121 h 135"/>
                <a:gd name="T16" fmla="*/ 78 w 765"/>
                <a:gd name="T17" fmla="*/ 132 h 135"/>
                <a:gd name="T18" fmla="*/ 132 w 765"/>
                <a:gd name="T19" fmla="*/ 47 h 135"/>
                <a:gd name="T20" fmla="*/ 154 w 765"/>
                <a:gd name="T21" fmla="*/ 118 h 135"/>
                <a:gd name="T22" fmla="*/ 171 w 765"/>
                <a:gd name="T23" fmla="*/ 130 h 135"/>
                <a:gd name="T24" fmla="*/ 88 w 765"/>
                <a:gd name="T25" fmla="*/ 78 h 135"/>
                <a:gd name="T26" fmla="*/ 172 w 765"/>
                <a:gd name="T27" fmla="*/ 67 h 135"/>
                <a:gd name="T28" fmla="*/ 236 w 765"/>
                <a:gd name="T29" fmla="*/ 67 h 135"/>
                <a:gd name="T30" fmla="*/ 202 w 765"/>
                <a:gd name="T31" fmla="*/ 74 h 135"/>
                <a:gd name="T32" fmla="*/ 260 w 765"/>
                <a:gd name="T33" fmla="*/ 116 h 135"/>
                <a:gd name="T34" fmla="*/ 231 w 765"/>
                <a:gd name="T35" fmla="*/ 135 h 135"/>
                <a:gd name="T36" fmla="*/ 223 w 765"/>
                <a:gd name="T37" fmla="*/ 31 h 135"/>
                <a:gd name="T38" fmla="*/ 236 w 765"/>
                <a:gd name="T39" fmla="*/ 67 h 135"/>
                <a:gd name="T40" fmla="*/ 291 w 765"/>
                <a:gd name="T41" fmla="*/ 63 h 135"/>
                <a:gd name="T42" fmla="*/ 327 w 765"/>
                <a:gd name="T43" fmla="*/ 63 h 135"/>
                <a:gd name="T44" fmla="*/ 349 w 765"/>
                <a:gd name="T45" fmla="*/ 71 h 135"/>
                <a:gd name="T46" fmla="*/ 269 w 765"/>
                <a:gd name="T47" fmla="*/ 77 h 135"/>
                <a:gd name="T48" fmla="*/ 347 w 765"/>
                <a:gd name="T49" fmla="*/ 131 h 135"/>
                <a:gd name="T50" fmla="*/ 328 w 765"/>
                <a:gd name="T51" fmla="*/ 118 h 135"/>
                <a:gd name="T52" fmla="*/ 349 w 765"/>
                <a:gd name="T53" fmla="*/ 77 h 135"/>
                <a:gd name="T54" fmla="*/ 418 w 765"/>
                <a:gd name="T55" fmla="*/ 76 h 135"/>
                <a:gd name="T56" fmla="*/ 408 w 765"/>
                <a:gd name="T57" fmla="*/ 52 h 135"/>
                <a:gd name="T58" fmla="*/ 384 w 765"/>
                <a:gd name="T59" fmla="*/ 132 h 135"/>
                <a:gd name="T60" fmla="*/ 361 w 765"/>
                <a:gd name="T61" fmla="*/ 33 h 135"/>
                <a:gd name="T62" fmla="*/ 384 w 765"/>
                <a:gd name="T63" fmla="*/ 51 h 135"/>
                <a:gd name="T64" fmla="*/ 414 w 765"/>
                <a:gd name="T65" fmla="*/ 31 h 135"/>
                <a:gd name="T66" fmla="*/ 441 w 765"/>
                <a:gd name="T67" fmla="*/ 132 h 135"/>
                <a:gd name="T68" fmla="*/ 489 w 765"/>
                <a:gd name="T69" fmla="*/ 49 h 135"/>
                <a:gd name="T70" fmla="*/ 505 w 765"/>
                <a:gd name="T71" fmla="*/ 118 h 135"/>
                <a:gd name="T72" fmla="*/ 516 w 765"/>
                <a:gd name="T73" fmla="*/ 133 h 135"/>
                <a:gd name="T74" fmla="*/ 466 w 765"/>
                <a:gd name="T75" fmla="*/ 107 h 135"/>
                <a:gd name="T76" fmla="*/ 447 w 765"/>
                <a:gd name="T77" fmla="*/ 49 h 135"/>
                <a:gd name="T78" fmla="*/ 466 w 765"/>
                <a:gd name="T79" fmla="*/ 33 h 135"/>
                <a:gd name="T80" fmla="*/ 489 w 765"/>
                <a:gd name="T81" fmla="*/ 0 h 135"/>
                <a:gd name="T82" fmla="*/ 519 w 765"/>
                <a:gd name="T83" fmla="*/ 33 h 135"/>
                <a:gd name="T84" fmla="*/ 489 w 765"/>
                <a:gd name="T85" fmla="*/ 49 h 135"/>
                <a:gd name="T86" fmla="*/ 586 w 765"/>
                <a:gd name="T87" fmla="*/ 114 h 135"/>
                <a:gd name="T88" fmla="*/ 556 w 765"/>
                <a:gd name="T89" fmla="*/ 135 h 135"/>
                <a:gd name="T90" fmla="*/ 529 w 765"/>
                <a:gd name="T91" fmla="*/ 33 h 135"/>
                <a:gd name="T92" fmla="*/ 552 w 765"/>
                <a:gd name="T93" fmla="*/ 90 h 135"/>
                <a:gd name="T94" fmla="*/ 563 w 765"/>
                <a:gd name="T95" fmla="*/ 113 h 135"/>
                <a:gd name="T96" fmla="*/ 586 w 765"/>
                <a:gd name="T97" fmla="*/ 33 h 135"/>
                <a:gd name="T98" fmla="*/ 609 w 765"/>
                <a:gd name="T99" fmla="*/ 132 h 135"/>
                <a:gd name="T100" fmla="*/ 647 w 765"/>
                <a:gd name="T101" fmla="*/ 89 h 135"/>
                <a:gd name="T102" fmla="*/ 624 w 765"/>
                <a:gd name="T103" fmla="*/ 132 h 135"/>
                <a:gd name="T104" fmla="*/ 647 w 765"/>
                <a:gd name="T105" fmla="*/ 33 h 135"/>
                <a:gd name="T106" fmla="*/ 648 w 765"/>
                <a:gd name="T107" fmla="*/ 51 h 135"/>
                <a:gd name="T108" fmla="*/ 680 w 765"/>
                <a:gd name="T109" fmla="*/ 55 h 135"/>
                <a:gd name="T110" fmla="*/ 743 w 765"/>
                <a:gd name="T111" fmla="*/ 63 h 135"/>
                <a:gd name="T112" fmla="*/ 726 w 765"/>
                <a:gd name="T113" fmla="*/ 45 h 135"/>
                <a:gd name="T114" fmla="*/ 765 w 765"/>
                <a:gd name="T115" fmla="*/ 77 h 135"/>
                <a:gd name="T116" fmla="*/ 727 w 765"/>
                <a:gd name="T117" fmla="*/ 31 h 135"/>
                <a:gd name="T118" fmla="*/ 735 w 765"/>
                <a:gd name="T119" fmla="*/ 135 h 135"/>
                <a:gd name="T120" fmla="*/ 763 w 765"/>
                <a:gd name="T121" fmla="*/ 115 h 135"/>
                <a:gd name="T122" fmla="*/ 706 w 765"/>
                <a:gd name="T123" fmla="*/ 7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5" h="135">
                  <a:moveTo>
                    <a:pt x="56" y="88"/>
                  </a:moveTo>
                  <a:cubicBezTo>
                    <a:pt x="56" y="101"/>
                    <a:pt x="51" y="118"/>
                    <a:pt x="35" y="118"/>
                  </a:cubicBezTo>
                  <a:cubicBezTo>
                    <a:pt x="28" y="118"/>
                    <a:pt x="23" y="114"/>
                    <a:pt x="23" y="106"/>
                  </a:cubicBezTo>
                  <a:cubicBezTo>
                    <a:pt x="23" y="91"/>
                    <a:pt x="45" y="88"/>
                    <a:pt x="56" y="88"/>
                  </a:cubicBezTo>
                  <a:close/>
                  <a:moveTo>
                    <a:pt x="78" y="132"/>
                  </a:moveTo>
                  <a:cubicBezTo>
                    <a:pt x="78" y="62"/>
                    <a:pt x="78" y="62"/>
                    <a:pt x="78" y="62"/>
                  </a:cubicBezTo>
                  <a:cubicBezTo>
                    <a:pt x="78" y="38"/>
                    <a:pt x="63" y="31"/>
                    <a:pt x="42" y="31"/>
                  </a:cubicBezTo>
                  <a:cubicBezTo>
                    <a:pt x="21" y="31"/>
                    <a:pt x="4" y="39"/>
                    <a:pt x="4" y="62"/>
                  </a:cubicBezTo>
                  <a:cubicBezTo>
                    <a:pt x="27" y="62"/>
                    <a:pt x="27" y="62"/>
                    <a:pt x="27" y="62"/>
                  </a:cubicBezTo>
                  <a:cubicBezTo>
                    <a:pt x="27" y="52"/>
                    <a:pt x="32" y="47"/>
                    <a:pt x="42" y="47"/>
                  </a:cubicBezTo>
                  <a:cubicBezTo>
                    <a:pt x="53" y="47"/>
                    <a:pt x="56" y="55"/>
                    <a:pt x="56" y="65"/>
                  </a:cubicBezTo>
                  <a:cubicBezTo>
                    <a:pt x="56" y="75"/>
                    <a:pt x="56" y="75"/>
                    <a:pt x="56" y="75"/>
                  </a:cubicBezTo>
                  <a:cubicBezTo>
                    <a:pt x="33" y="76"/>
                    <a:pt x="0" y="79"/>
                    <a:pt x="0" y="109"/>
                  </a:cubicBezTo>
                  <a:cubicBezTo>
                    <a:pt x="0" y="125"/>
                    <a:pt x="14" y="135"/>
                    <a:pt x="30" y="135"/>
                  </a:cubicBezTo>
                  <a:cubicBezTo>
                    <a:pt x="41" y="135"/>
                    <a:pt x="51" y="131"/>
                    <a:pt x="56" y="121"/>
                  </a:cubicBezTo>
                  <a:cubicBezTo>
                    <a:pt x="56" y="121"/>
                    <a:pt x="56" y="121"/>
                    <a:pt x="56" y="121"/>
                  </a:cubicBezTo>
                  <a:cubicBezTo>
                    <a:pt x="56" y="132"/>
                    <a:pt x="56" y="132"/>
                    <a:pt x="56" y="132"/>
                  </a:cubicBezTo>
                  <a:lnTo>
                    <a:pt x="78" y="132"/>
                  </a:lnTo>
                  <a:close/>
                  <a:moveTo>
                    <a:pt x="147" y="67"/>
                  </a:moveTo>
                  <a:cubicBezTo>
                    <a:pt x="147" y="57"/>
                    <a:pt x="144" y="47"/>
                    <a:pt x="132" y="47"/>
                  </a:cubicBezTo>
                  <a:cubicBezTo>
                    <a:pt x="117" y="47"/>
                    <a:pt x="113" y="62"/>
                    <a:pt x="113" y="74"/>
                  </a:cubicBezTo>
                  <a:cubicBezTo>
                    <a:pt x="113" y="99"/>
                    <a:pt x="128" y="118"/>
                    <a:pt x="154" y="118"/>
                  </a:cubicBezTo>
                  <a:cubicBezTo>
                    <a:pt x="160" y="118"/>
                    <a:pt x="165" y="118"/>
                    <a:pt x="171" y="116"/>
                  </a:cubicBezTo>
                  <a:cubicBezTo>
                    <a:pt x="171" y="130"/>
                    <a:pt x="171" y="130"/>
                    <a:pt x="171" y="130"/>
                  </a:cubicBezTo>
                  <a:cubicBezTo>
                    <a:pt x="161" y="133"/>
                    <a:pt x="151" y="135"/>
                    <a:pt x="142" y="135"/>
                  </a:cubicBezTo>
                  <a:cubicBezTo>
                    <a:pt x="106" y="135"/>
                    <a:pt x="88" y="113"/>
                    <a:pt x="88" y="78"/>
                  </a:cubicBezTo>
                  <a:cubicBezTo>
                    <a:pt x="88" y="49"/>
                    <a:pt x="104" y="31"/>
                    <a:pt x="134" y="31"/>
                  </a:cubicBezTo>
                  <a:cubicBezTo>
                    <a:pt x="158" y="31"/>
                    <a:pt x="172" y="42"/>
                    <a:pt x="172" y="67"/>
                  </a:cubicBezTo>
                  <a:lnTo>
                    <a:pt x="147" y="67"/>
                  </a:lnTo>
                  <a:close/>
                  <a:moveTo>
                    <a:pt x="236" y="67"/>
                  </a:moveTo>
                  <a:cubicBezTo>
                    <a:pt x="236" y="57"/>
                    <a:pt x="233" y="47"/>
                    <a:pt x="221" y="47"/>
                  </a:cubicBezTo>
                  <a:cubicBezTo>
                    <a:pt x="206" y="47"/>
                    <a:pt x="202" y="62"/>
                    <a:pt x="202" y="74"/>
                  </a:cubicBezTo>
                  <a:cubicBezTo>
                    <a:pt x="202" y="99"/>
                    <a:pt x="217" y="118"/>
                    <a:pt x="243" y="118"/>
                  </a:cubicBezTo>
                  <a:cubicBezTo>
                    <a:pt x="249" y="118"/>
                    <a:pt x="254" y="118"/>
                    <a:pt x="260" y="116"/>
                  </a:cubicBezTo>
                  <a:cubicBezTo>
                    <a:pt x="260" y="130"/>
                    <a:pt x="260" y="130"/>
                    <a:pt x="260" y="130"/>
                  </a:cubicBezTo>
                  <a:cubicBezTo>
                    <a:pt x="250" y="133"/>
                    <a:pt x="241" y="135"/>
                    <a:pt x="231" y="135"/>
                  </a:cubicBezTo>
                  <a:cubicBezTo>
                    <a:pt x="195" y="135"/>
                    <a:pt x="177" y="113"/>
                    <a:pt x="177" y="78"/>
                  </a:cubicBezTo>
                  <a:cubicBezTo>
                    <a:pt x="177" y="49"/>
                    <a:pt x="193" y="31"/>
                    <a:pt x="223" y="31"/>
                  </a:cubicBezTo>
                  <a:cubicBezTo>
                    <a:pt x="247" y="31"/>
                    <a:pt x="261" y="42"/>
                    <a:pt x="261" y="67"/>
                  </a:cubicBezTo>
                  <a:lnTo>
                    <a:pt x="236" y="67"/>
                  </a:lnTo>
                  <a:close/>
                  <a:moveTo>
                    <a:pt x="327" y="63"/>
                  </a:moveTo>
                  <a:cubicBezTo>
                    <a:pt x="291" y="63"/>
                    <a:pt x="291" y="63"/>
                    <a:pt x="291" y="63"/>
                  </a:cubicBezTo>
                  <a:cubicBezTo>
                    <a:pt x="292" y="53"/>
                    <a:pt x="300" y="45"/>
                    <a:pt x="310" y="45"/>
                  </a:cubicBezTo>
                  <a:cubicBezTo>
                    <a:pt x="320" y="45"/>
                    <a:pt x="327" y="52"/>
                    <a:pt x="327" y="63"/>
                  </a:cubicBezTo>
                  <a:close/>
                  <a:moveTo>
                    <a:pt x="349" y="77"/>
                  </a:moveTo>
                  <a:cubicBezTo>
                    <a:pt x="349" y="71"/>
                    <a:pt x="349" y="71"/>
                    <a:pt x="349" y="71"/>
                  </a:cubicBezTo>
                  <a:cubicBezTo>
                    <a:pt x="349" y="47"/>
                    <a:pt x="337" y="31"/>
                    <a:pt x="311" y="31"/>
                  </a:cubicBezTo>
                  <a:cubicBezTo>
                    <a:pt x="282" y="31"/>
                    <a:pt x="269" y="49"/>
                    <a:pt x="269" y="77"/>
                  </a:cubicBezTo>
                  <a:cubicBezTo>
                    <a:pt x="269" y="110"/>
                    <a:pt x="283" y="135"/>
                    <a:pt x="319" y="135"/>
                  </a:cubicBezTo>
                  <a:cubicBezTo>
                    <a:pt x="328" y="135"/>
                    <a:pt x="338" y="134"/>
                    <a:pt x="347" y="131"/>
                  </a:cubicBezTo>
                  <a:cubicBezTo>
                    <a:pt x="347" y="115"/>
                    <a:pt x="347" y="115"/>
                    <a:pt x="347" y="115"/>
                  </a:cubicBezTo>
                  <a:cubicBezTo>
                    <a:pt x="341" y="117"/>
                    <a:pt x="334" y="118"/>
                    <a:pt x="328" y="118"/>
                  </a:cubicBezTo>
                  <a:cubicBezTo>
                    <a:pt x="305" y="118"/>
                    <a:pt x="290" y="98"/>
                    <a:pt x="290" y="77"/>
                  </a:cubicBezTo>
                  <a:lnTo>
                    <a:pt x="349" y="77"/>
                  </a:lnTo>
                  <a:close/>
                  <a:moveTo>
                    <a:pt x="418" y="132"/>
                  </a:moveTo>
                  <a:cubicBezTo>
                    <a:pt x="418" y="76"/>
                    <a:pt x="418" y="76"/>
                    <a:pt x="418" y="76"/>
                  </a:cubicBezTo>
                  <a:cubicBezTo>
                    <a:pt x="418" y="71"/>
                    <a:pt x="418" y="58"/>
                    <a:pt x="414" y="54"/>
                  </a:cubicBezTo>
                  <a:cubicBezTo>
                    <a:pt x="413" y="53"/>
                    <a:pt x="410" y="52"/>
                    <a:pt x="408" y="52"/>
                  </a:cubicBezTo>
                  <a:cubicBezTo>
                    <a:pt x="391" y="52"/>
                    <a:pt x="384" y="76"/>
                    <a:pt x="384" y="89"/>
                  </a:cubicBezTo>
                  <a:cubicBezTo>
                    <a:pt x="384" y="132"/>
                    <a:pt x="384" y="132"/>
                    <a:pt x="384" y="132"/>
                  </a:cubicBezTo>
                  <a:cubicBezTo>
                    <a:pt x="361" y="132"/>
                    <a:pt x="361" y="132"/>
                    <a:pt x="361" y="132"/>
                  </a:cubicBezTo>
                  <a:cubicBezTo>
                    <a:pt x="361" y="33"/>
                    <a:pt x="361" y="33"/>
                    <a:pt x="361" y="33"/>
                  </a:cubicBezTo>
                  <a:cubicBezTo>
                    <a:pt x="384" y="33"/>
                    <a:pt x="384" y="33"/>
                    <a:pt x="384" y="33"/>
                  </a:cubicBezTo>
                  <a:cubicBezTo>
                    <a:pt x="384" y="51"/>
                    <a:pt x="384" y="51"/>
                    <a:pt x="384" y="51"/>
                  </a:cubicBezTo>
                  <a:cubicBezTo>
                    <a:pt x="385" y="51"/>
                    <a:pt x="385" y="51"/>
                    <a:pt x="385" y="51"/>
                  </a:cubicBezTo>
                  <a:cubicBezTo>
                    <a:pt x="390" y="39"/>
                    <a:pt x="400" y="31"/>
                    <a:pt x="414" y="31"/>
                  </a:cubicBezTo>
                  <a:cubicBezTo>
                    <a:pt x="433" y="31"/>
                    <a:pt x="441" y="46"/>
                    <a:pt x="441" y="63"/>
                  </a:cubicBezTo>
                  <a:cubicBezTo>
                    <a:pt x="441" y="132"/>
                    <a:pt x="441" y="132"/>
                    <a:pt x="441" y="132"/>
                  </a:cubicBezTo>
                  <a:lnTo>
                    <a:pt x="418" y="132"/>
                  </a:lnTo>
                  <a:close/>
                  <a:moveTo>
                    <a:pt x="489" y="49"/>
                  </a:moveTo>
                  <a:cubicBezTo>
                    <a:pt x="489" y="96"/>
                    <a:pt x="489" y="96"/>
                    <a:pt x="489" y="96"/>
                  </a:cubicBezTo>
                  <a:cubicBezTo>
                    <a:pt x="489" y="108"/>
                    <a:pt x="491" y="118"/>
                    <a:pt x="505" y="118"/>
                  </a:cubicBezTo>
                  <a:cubicBezTo>
                    <a:pt x="509" y="118"/>
                    <a:pt x="512" y="118"/>
                    <a:pt x="516" y="117"/>
                  </a:cubicBezTo>
                  <a:cubicBezTo>
                    <a:pt x="516" y="133"/>
                    <a:pt x="516" y="133"/>
                    <a:pt x="516" y="133"/>
                  </a:cubicBezTo>
                  <a:cubicBezTo>
                    <a:pt x="510" y="134"/>
                    <a:pt x="503" y="135"/>
                    <a:pt x="497" y="135"/>
                  </a:cubicBezTo>
                  <a:cubicBezTo>
                    <a:pt x="477" y="135"/>
                    <a:pt x="466" y="128"/>
                    <a:pt x="466" y="107"/>
                  </a:cubicBezTo>
                  <a:cubicBezTo>
                    <a:pt x="466" y="49"/>
                    <a:pt x="466" y="49"/>
                    <a:pt x="466" y="49"/>
                  </a:cubicBezTo>
                  <a:cubicBezTo>
                    <a:pt x="447" y="49"/>
                    <a:pt x="447" y="49"/>
                    <a:pt x="447" y="49"/>
                  </a:cubicBezTo>
                  <a:cubicBezTo>
                    <a:pt x="447" y="33"/>
                    <a:pt x="447" y="33"/>
                    <a:pt x="447" y="33"/>
                  </a:cubicBezTo>
                  <a:cubicBezTo>
                    <a:pt x="466" y="33"/>
                    <a:pt x="466" y="33"/>
                    <a:pt x="466" y="33"/>
                  </a:cubicBezTo>
                  <a:cubicBezTo>
                    <a:pt x="466" y="9"/>
                    <a:pt x="466" y="9"/>
                    <a:pt x="466" y="9"/>
                  </a:cubicBezTo>
                  <a:cubicBezTo>
                    <a:pt x="489" y="0"/>
                    <a:pt x="489" y="0"/>
                    <a:pt x="489" y="0"/>
                  </a:cubicBezTo>
                  <a:cubicBezTo>
                    <a:pt x="489" y="33"/>
                    <a:pt x="489" y="33"/>
                    <a:pt x="489" y="33"/>
                  </a:cubicBezTo>
                  <a:cubicBezTo>
                    <a:pt x="519" y="33"/>
                    <a:pt x="519" y="33"/>
                    <a:pt x="519" y="33"/>
                  </a:cubicBezTo>
                  <a:cubicBezTo>
                    <a:pt x="519" y="49"/>
                    <a:pt x="519" y="49"/>
                    <a:pt x="519" y="49"/>
                  </a:cubicBezTo>
                  <a:lnTo>
                    <a:pt x="489" y="49"/>
                  </a:lnTo>
                  <a:close/>
                  <a:moveTo>
                    <a:pt x="586" y="132"/>
                  </a:moveTo>
                  <a:cubicBezTo>
                    <a:pt x="586" y="114"/>
                    <a:pt x="586" y="114"/>
                    <a:pt x="586" y="114"/>
                  </a:cubicBezTo>
                  <a:cubicBezTo>
                    <a:pt x="586" y="114"/>
                    <a:pt x="586" y="114"/>
                    <a:pt x="586" y="114"/>
                  </a:cubicBezTo>
                  <a:cubicBezTo>
                    <a:pt x="580" y="126"/>
                    <a:pt x="570" y="135"/>
                    <a:pt x="556" y="135"/>
                  </a:cubicBezTo>
                  <a:cubicBezTo>
                    <a:pt x="537" y="135"/>
                    <a:pt x="529" y="119"/>
                    <a:pt x="529" y="102"/>
                  </a:cubicBezTo>
                  <a:cubicBezTo>
                    <a:pt x="529" y="33"/>
                    <a:pt x="529" y="33"/>
                    <a:pt x="529" y="33"/>
                  </a:cubicBezTo>
                  <a:cubicBezTo>
                    <a:pt x="552" y="33"/>
                    <a:pt x="552" y="33"/>
                    <a:pt x="552" y="33"/>
                  </a:cubicBezTo>
                  <a:cubicBezTo>
                    <a:pt x="552" y="90"/>
                    <a:pt x="552" y="90"/>
                    <a:pt x="552" y="90"/>
                  </a:cubicBezTo>
                  <a:cubicBezTo>
                    <a:pt x="552" y="95"/>
                    <a:pt x="552" y="107"/>
                    <a:pt x="556" y="111"/>
                  </a:cubicBezTo>
                  <a:cubicBezTo>
                    <a:pt x="558" y="113"/>
                    <a:pt x="560" y="113"/>
                    <a:pt x="563" y="113"/>
                  </a:cubicBezTo>
                  <a:cubicBezTo>
                    <a:pt x="579" y="113"/>
                    <a:pt x="586" y="89"/>
                    <a:pt x="586" y="76"/>
                  </a:cubicBezTo>
                  <a:cubicBezTo>
                    <a:pt x="586" y="33"/>
                    <a:pt x="586" y="33"/>
                    <a:pt x="586" y="33"/>
                  </a:cubicBezTo>
                  <a:cubicBezTo>
                    <a:pt x="609" y="33"/>
                    <a:pt x="609" y="33"/>
                    <a:pt x="609" y="33"/>
                  </a:cubicBezTo>
                  <a:cubicBezTo>
                    <a:pt x="609" y="132"/>
                    <a:pt x="609" y="132"/>
                    <a:pt x="609" y="132"/>
                  </a:cubicBezTo>
                  <a:lnTo>
                    <a:pt x="586" y="132"/>
                  </a:lnTo>
                  <a:close/>
                  <a:moveTo>
                    <a:pt x="647" y="89"/>
                  </a:moveTo>
                  <a:cubicBezTo>
                    <a:pt x="647" y="132"/>
                    <a:pt x="647" y="132"/>
                    <a:pt x="647" y="132"/>
                  </a:cubicBezTo>
                  <a:cubicBezTo>
                    <a:pt x="624" y="132"/>
                    <a:pt x="624" y="132"/>
                    <a:pt x="624" y="132"/>
                  </a:cubicBezTo>
                  <a:cubicBezTo>
                    <a:pt x="624" y="33"/>
                    <a:pt x="624" y="33"/>
                    <a:pt x="624" y="33"/>
                  </a:cubicBezTo>
                  <a:cubicBezTo>
                    <a:pt x="647" y="33"/>
                    <a:pt x="647" y="33"/>
                    <a:pt x="647" y="33"/>
                  </a:cubicBezTo>
                  <a:cubicBezTo>
                    <a:pt x="647" y="51"/>
                    <a:pt x="647" y="51"/>
                    <a:pt x="647" y="51"/>
                  </a:cubicBezTo>
                  <a:cubicBezTo>
                    <a:pt x="648" y="51"/>
                    <a:pt x="648" y="51"/>
                    <a:pt x="648" y="51"/>
                  </a:cubicBezTo>
                  <a:cubicBezTo>
                    <a:pt x="655" y="37"/>
                    <a:pt x="663" y="31"/>
                    <a:pt x="680" y="31"/>
                  </a:cubicBezTo>
                  <a:cubicBezTo>
                    <a:pt x="680" y="55"/>
                    <a:pt x="680" y="55"/>
                    <a:pt x="680" y="55"/>
                  </a:cubicBezTo>
                  <a:cubicBezTo>
                    <a:pt x="656" y="55"/>
                    <a:pt x="647" y="65"/>
                    <a:pt x="647" y="89"/>
                  </a:cubicBezTo>
                  <a:close/>
                  <a:moveTo>
                    <a:pt x="743" y="63"/>
                  </a:moveTo>
                  <a:cubicBezTo>
                    <a:pt x="707" y="63"/>
                    <a:pt x="707" y="63"/>
                    <a:pt x="707" y="63"/>
                  </a:cubicBezTo>
                  <a:cubicBezTo>
                    <a:pt x="708" y="53"/>
                    <a:pt x="715" y="45"/>
                    <a:pt x="726" y="45"/>
                  </a:cubicBezTo>
                  <a:cubicBezTo>
                    <a:pt x="736" y="45"/>
                    <a:pt x="743" y="52"/>
                    <a:pt x="743" y="63"/>
                  </a:cubicBezTo>
                  <a:close/>
                  <a:moveTo>
                    <a:pt x="765" y="77"/>
                  </a:moveTo>
                  <a:cubicBezTo>
                    <a:pt x="765" y="71"/>
                    <a:pt x="765" y="71"/>
                    <a:pt x="765" y="71"/>
                  </a:cubicBezTo>
                  <a:cubicBezTo>
                    <a:pt x="765" y="47"/>
                    <a:pt x="753" y="31"/>
                    <a:pt x="727" y="31"/>
                  </a:cubicBezTo>
                  <a:cubicBezTo>
                    <a:pt x="698" y="31"/>
                    <a:pt x="685" y="49"/>
                    <a:pt x="685" y="77"/>
                  </a:cubicBezTo>
                  <a:cubicBezTo>
                    <a:pt x="685" y="110"/>
                    <a:pt x="699" y="135"/>
                    <a:pt x="735" y="135"/>
                  </a:cubicBezTo>
                  <a:cubicBezTo>
                    <a:pt x="744" y="135"/>
                    <a:pt x="754" y="134"/>
                    <a:pt x="763" y="131"/>
                  </a:cubicBezTo>
                  <a:cubicBezTo>
                    <a:pt x="763" y="115"/>
                    <a:pt x="763" y="115"/>
                    <a:pt x="763" y="115"/>
                  </a:cubicBezTo>
                  <a:cubicBezTo>
                    <a:pt x="757" y="117"/>
                    <a:pt x="750" y="118"/>
                    <a:pt x="744" y="118"/>
                  </a:cubicBezTo>
                  <a:cubicBezTo>
                    <a:pt x="721" y="118"/>
                    <a:pt x="706" y="98"/>
                    <a:pt x="706" y="77"/>
                  </a:cubicBezTo>
                  <a:lnTo>
                    <a:pt x="765" y="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24" name="Freeform 23"/>
            <p:cNvSpPr/>
            <p:nvPr/>
          </p:nvSpPr>
          <p:spPr>
            <a:xfrm>
              <a:off x="1739049" y="420673"/>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Graphik" panose="020B0503030202060203" pitchFamily="34" charset="0"/>
              </a:endParaRPr>
            </a:p>
          </p:txBody>
        </p:sp>
      </p:grpSp>
      <p:grpSp>
        <p:nvGrpSpPr>
          <p:cNvPr id="19" name="Accenture_MasterBLACK" hidden="1"/>
          <p:cNvGrpSpPr/>
          <p:nvPr/>
        </p:nvGrpSpPr>
        <p:grpSpPr>
          <a:xfrm>
            <a:off x="7767974" y="460549"/>
            <a:ext cx="1828462" cy="528825"/>
            <a:chOff x="476250" y="397668"/>
            <a:chExt cx="2195577" cy="635000"/>
          </a:xfrm>
        </p:grpSpPr>
        <p:sp>
          <p:nvSpPr>
            <p:cNvPr id="20" name="Freeform 19"/>
            <p:cNvSpPr>
              <a:spLocks/>
            </p:cNvSpPr>
            <p:nvPr/>
          </p:nvSpPr>
          <p:spPr bwMode="auto">
            <a:xfrm>
              <a:off x="1758865" y="397668"/>
              <a:ext cx="206059" cy="214470"/>
            </a:xfrm>
            <a:custGeom>
              <a:avLst/>
              <a:gdLst>
                <a:gd name="T0" fmla="*/ 0 w 72"/>
                <a:gd name="T1" fmla="*/ 0 h 74"/>
                <a:gd name="T2" fmla="*/ 0 w 72"/>
                <a:gd name="T3" fmla="*/ 2 h 74"/>
                <a:gd name="T4" fmla="*/ 0 w 72"/>
                <a:gd name="T5" fmla="*/ 16 h 74"/>
                <a:gd name="T6" fmla="*/ 53 w 72"/>
                <a:gd name="T7" fmla="*/ 37 h 74"/>
                <a:gd name="T8" fmla="*/ 0 w 72"/>
                <a:gd name="T9" fmla="*/ 57 h 74"/>
                <a:gd name="T10" fmla="*/ 0 w 72"/>
                <a:gd name="T11" fmla="*/ 74 h 74"/>
                <a:gd name="T12" fmla="*/ 72 w 72"/>
                <a:gd name="T13" fmla="*/ 44 h 74"/>
                <a:gd name="T14" fmla="*/ 72 w 72"/>
                <a:gd name="T15" fmla="*/ 29 h 74"/>
                <a:gd name="T16" fmla="*/ 0 w 72"/>
                <a:gd name="T1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0" y="0"/>
                  </a:moveTo>
                  <a:cubicBezTo>
                    <a:pt x="0" y="2"/>
                    <a:pt x="0" y="2"/>
                    <a:pt x="0" y="2"/>
                  </a:cubicBezTo>
                  <a:cubicBezTo>
                    <a:pt x="0" y="16"/>
                    <a:pt x="0" y="16"/>
                    <a:pt x="0" y="16"/>
                  </a:cubicBezTo>
                  <a:cubicBezTo>
                    <a:pt x="0" y="16"/>
                    <a:pt x="46" y="34"/>
                    <a:pt x="53" y="37"/>
                  </a:cubicBezTo>
                  <a:cubicBezTo>
                    <a:pt x="46" y="40"/>
                    <a:pt x="0" y="57"/>
                    <a:pt x="0" y="57"/>
                  </a:cubicBezTo>
                  <a:cubicBezTo>
                    <a:pt x="0" y="74"/>
                    <a:pt x="0" y="74"/>
                    <a:pt x="0" y="74"/>
                  </a:cubicBezTo>
                  <a:cubicBezTo>
                    <a:pt x="72" y="44"/>
                    <a:pt x="72" y="44"/>
                    <a:pt x="72" y="44"/>
                  </a:cubicBezTo>
                  <a:cubicBezTo>
                    <a:pt x="72" y="29"/>
                    <a:pt x="72" y="29"/>
                    <a:pt x="72" y="29"/>
                  </a:cubicBez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pic>
          <p:nvPicPr>
            <p:cNvPr id="21" name="Accenture Black"/>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a:off x="476250" y="641561"/>
              <a:ext cx="2195577" cy="391107"/>
            </a:xfrm>
            <a:prstGeom prst="rect">
              <a:avLst/>
            </a:prstGeom>
          </p:spPr>
        </p:pic>
      </p:grpSp>
    </p:spTree>
    <p:extLst>
      <p:ext uri="{BB962C8B-B14F-4D97-AF65-F5344CB8AC3E}">
        <p14:creationId xmlns:p14="http://schemas.microsoft.com/office/powerpoint/2010/main" val="331751825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320">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16_Cover">
    <p:bg>
      <p:bgPr>
        <a:solidFill>
          <a:schemeClr val="tx1"/>
        </a:solidFill>
        <a:effectLst/>
      </p:bgPr>
    </p:bg>
    <p:spTree>
      <p:nvGrpSpPr>
        <p:cNvPr id="1" name=""/>
        <p:cNvGrpSpPr/>
        <p:nvPr/>
      </p:nvGrpSpPr>
      <p:grpSpPr>
        <a:xfrm>
          <a:off x="0" y="0"/>
          <a:ext cx="0" cy="0"/>
          <a:chOff x="0" y="0"/>
          <a:chExt cx="0" cy="0"/>
        </a:xfrm>
      </p:grpSpPr>
      <p:grpSp>
        <p:nvGrpSpPr>
          <p:cNvPr id="89" name="Master Brand 03 - Outline GTS" hidden="1"/>
          <p:cNvGrpSpPr>
            <a:grpSpLocks noChangeAspect="1"/>
          </p:cNvGrpSpPr>
          <p:nvPr/>
        </p:nvGrpSpPr>
        <p:grpSpPr bwMode="auto">
          <a:xfrm>
            <a:off x="1159200" y="455022"/>
            <a:ext cx="5949065" cy="6069600"/>
            <a:chOff x="1620" y="-106"/>
            <a:chExt cx="4442" cy="4532"/>
          </a:xfrm>
        </p:grpSpPr>
        <p:sp>
          <p:nvSpPr>
            <p:cNvPr id="90" name="Freeform 5"/>
            <p:cNvSpPr>
              <a:spLocks/>
            </p:cNvSpPr>
            <p:nvPr/>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FFEA00"/>
                </a:gs>
                <a:gs pos="100000">
                  <a:srgbClr val="FFB600"/>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91" name="Freeform 6"/>
            <p:cNvSpPr>
              <a:spLocks/>
            </p:cNvSpPr>
            <p:nvPr/>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00BA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83" name="Master Brand 03 - GRADIENT GTS" hidden="1"/>
          <p:cNvGrpSpPr/>
          <p:nvPr/>
        </p:nvGrpSpPr>
        <p:grpSpPr>
          <a:xfrm>
            <a:off x="1159200" y="456688"/>
            <a:ext cx="5944244" cy="6067934"/>
            <a:chOff x="336907" y="342900"/>
            <a:chExt cx="2298344" cy="2346169"/>
          </a:xfrm>
        </p:grpSpPr>
        <p:sp>
          <p:nvSpPr>
            <p:cNvPr id="84"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85"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EA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80" name="Master Brand 03 - DIMENSIONAL GTS" hidden="1"/>
          <p:cNvGrpSpPr/>
          <p:nvPr/>
        </p:nvGrpSpPr>
        <p:grpSpPr>
          <a:xfrm>
            <a:off x="1159200" y="456688"/>
            <a:ext cx="5944244" cy="6067934"/>
            <a:chOff x="336907" y="342900"/>
            <a:chExt cx="2298344" cy="2346169"/>
          </a:xfrm>
        </p:grpSpPr>
        <p:sp>
          <p:nvSpPr>
            <p:cNvPr id="81"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EA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82"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BA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86" name="Master Brand 02 - Outline GTS" hidden="1"/>
          <p:cNvGrpSpPr>
            <a:grpSpLocks noChangeAspect="1"/>
          </p:cNvGrpSpPr>
          <p:nvPr/>
        </p:nvGrpSpPr>
        <p:grpSpPr bwMode="auto">
          <a:xfrm>
            <a:off x="1159200" y="455022"/>
            <a:ext cx="5949065" cy="6069600"/>
            <a:chOff x="1620" y="-106"/>
            <a:chExt cx="4442" cy="4532"/>
          </a:xfrm>
        </p:grpSpPr>
        <p:sp>
          <p:nvSpPr>
            <p:cNvPr id="87" name="Freeform 5"/>
            <p:cNvSpPr>
              <a:spLocks/>
            </p:cNvSpPr>
            <p:nvPr/>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00F3FF"/>
                </a:gs>
                <a:gs pos="100000">
                  <a:srgbClr val="2800FF"/>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88" name="Freeform 6"/>
            <p:cNvSpPr>
              <a:spLocks/>
            </p:cNvSpPr>
            <p:nvPr/>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00FF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77" name="Master Brand 02 - GRADIENT GTS" hidden="1"/>
          <p:cNvGrpSpPr/>
          <p:nvPr/>
        </p:nvGrpSpPr>
        <p:grpSpPr>
          <a:xfrm>
            <a:off x="1159200" y="456688"/>
            <a:ext cx="5944244" cy="6067934"/>
            <a:chOff x="336907" y="342900"/>
            <a:chExt cx="2298344" cy="2346169"/>
          </a:xfrm>
        </p:grpSpPr>
        <p:sp>
          <p:nvSpPr>
            <p:cNvPr id="78"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79"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28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74" name="Master Brand 02 - DIMENSIONAL GTS" hidden="1"/>
          <p:cNvGrpSpPr/>
          <p:nvPr/>
        </p:nvGrpSpPr>
        <p:grpSpPr>
          <a:xfrm>
            <a:off x="1159200" y="456688"/>
            <a:ext cx="5944244" cy="6067934"/>
            <a:chOff x="336907" y="342900"/>
            <a:chExt cx="2298344" cy="2346169"/>
          </a:xfrm>
        </p:grpSpPr>
        <p:sp>
          <p:nvSpPr>
            <p:cNvPr id="75"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76"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FF7D"/>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27" name="Master Brand 01 - Outline GTS" hidden="1"/>
          <p:cNvGrpSpPr>
            <a:grpSpLocks noChangeAspect="1"/>
          </p:cNvGrpSpPr>
          <p:nvPr/>
        </p:nvGrpSpPr>
        <p:grpSpPr bwMode="auto">
          <a:xfrm>
            <a:off x="1159200" y="455022"/>
            <a:ext cx="5949065" cy="6069600"/>
            <a:chOff x="1620" y="-106"/>
            <a:chExt cx="4442" cy="4532"/>
          </a:xfrm>
        </p:grpSpPr>
        <p:sp>
          <p:nvSpPr>
            <p:cNvPr id="31" name="Freeform 5"/>
            <p:cNvSpPr>
              <a:spLocks/>
            </p:cNvSpPr>
            <p:nvPr/>
          </p:nvSpPr>
          <p:spPr bwMode="auto">
            <a:xfrm>
              <a:off x="1632" y="1715"/>
              <a:ext cx="4430" cy="2711"/>
            </a:xfrm>
            <a:custGeom>
              <a:avLst/>
              <a:gdLst>
                <a:gd name="T0" fmla="*/ 0 w 1872"/>
                <a:gd name="T1" fmla="*/ 722 h 1146"/>
                <a:gd name="T2" fmla="*/ 0 w 1872"/>
                <a:gd name="T3" fmla="*/ 722 h 1146"/>
                <a:gd name="T4" fmla="*/ 0 w 1872"/>
                <a:gd name="T5" fmla="*/ 1146 h 1146"/>
                <a:gd name="T6" fmla="*/ 1872 w 1872"/>
                <a:gd name="T7" fmla="*/ 385 h 1146"/>
                <a:gd name="T8" fmla="*/ 1872 w 1872"/>
                <a:gd name="T9" fmla="*/ 0 h 1146"/>
                <a:gd name="T10" fmla="*/ 0 w 1872"/>
                <a:gd name="T11" fmla="*/ 722 h 1146"/>
                <a:gd name="T12" fmla="*/ 0 w 1872"/>
                <a:gd name="T13" fmla="*/ 722 h 1146"/>
              </a:gdLst>
              <a:ahLst/>
              <a:cxnLst>
                <a:cxn ang="0">
                  <a:pos x="T0" y="T1"/>
                </a:cxn>
                <a:cxn ang="0">
                  <a:pos x="T2" y="T3"/>
                </a:cxn>
                <a:cxn ang="0">
                  <a:pos x="T4" y="T5"/>
                </a:cxn>
                <a:cxn ang="0">
                  <a:pos x="T6" y="T7"/>
                </a:cxn>
                <a:cxn ang="0">
                  <a:pos x="T8" y="T9"/>
                </a:cxn>
                <a:cxn ang="0">
                  <a:pos x="T10" y="T11"/>
                </a:cxn>
                <a:cxn ang="0">
                  <a:pos x="T12" y="T13"/>
                </a:cxn>
              </a:cxnLst>
              <a:rect l="0" t="0" r="r" b="b"/>
              <a:pathLst>
                <a:path w="1872" h="1146">
                  <a:moveTo>
                    <a:pt x="0" y="722"/>
                  </a:moveTo>
                  <a:cubicBezTo>
                    <a:pt x="0" y="722"/>
                    <a:pt x="0" y="722"/>
                    <a:pt x="0" y="722"/>
                  </a:cubicBezTo>
                  <a:cubicBezTo>
                    <a:pt x="0" y="1146"/>
                    <a:pt x="0" y="1146"/>
                    <a:pt x="0" y="1146"/>
                  </a:cubicBezTo>
                  <a:cubicBezTo>
                    <a:pt x="1872" y="385"/>
                    <a:pt x="1872" y="385"/>
                    <a:pt x="1872" y="385"/>
                  </a:cubicBezTo>
                  <a:cubicBezTo>
                    <a:pt x="1872" y="0"/>
                    <a:pt x="1872" y="0"/>
                    <a:pt x="1872" y="0"/>
                  </a:cubicBezTo>
                  <a:cubicBezTo>
                    <a:pt x="0" y="722"/>
                    <a:pt x="0" y="722"/>
                    <a:pt x="0" y="722"/>
                  </a:cubicBezTo>
                  <a:cubicBezTo>
                    <a:pt x="0" y="722"/>
                    <a:pt x="0" y="722"/>
                    <a:pt x="0" y="722"/>
                  </a:cubicBezTo>
                  <a:close/>
                </a:path>
              </a:pathLst>
            </a:custGeom>
            <a:gradFill>
              <a:gsLst>
                <a:gs pos="0">
                  <a:srgbClr val="FFEA00"/>
                </a:gs>
                <a:gs pos="100000">
                  <a:srgbClr val="FFB600"/>
                </a:gs>
              </a:gsLst>
              <a:lin ang="12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sp>
          <p:nvSpPr>
            <p:cNvPr id="32" name="Freeform 6"/>
            <p:cNvSpPr>
              <a:spLocks/>
            </p:cNvSpPr>
            <p:nvPr/>
          </p:nvSpPr>
          <p:spPr bwMode="auto">
            <a:xfrm>
              <a:off x="1620" y="-106"/>
              <a:ext cx="4442" cy="2275"/>
            </a:xfrm>
            <a:custGeom>
              <a:avLst/>
              <a:gdLst>
                <a:gd name="T0" fmla="*/ 0 w 1877"/>
                <a:gd name="T1" fmla="*/ 0 h 962"/>
                <a:gd name="T2" fmla="*/ 0 w 1877"/>
                <a:gd name="T3" fmla="*/ 425 h 962"/>
                <a:gd name="T4" fmla="*/ 1377 w 1877"/>
                <a:gd name="T5" fmla="*/ 960 h 962"/>
                <a:gd name="T6" fmla="*/ 1381 w 1877"/>
                <a:gd name="T7" fmla="*/ 962 h 962"/>
                <a:gd name="T8" fmla="*/ 1419 w 1877"/>
                <a:gd name="T9" fmla="*/ 947 h 962"/>
                <a:gd name="T10" fmla="*/ 1388 w 1877"/>
                <a:gd name="T11" fmla="*/ 935 h 962"/>
                <a:gd name="T12" fmla="*/ 27 w 1877"/>
                <a:gd name="T13" fmla="*/ 408 h 962"/>
                <a:gd name="T14" fmla="*/ 27 w 1877"/>
                <a:gd name="T15" fmla="*/ 40 h 962"/>
                <a:gd name="T16" fmla="*/ 1850 w 1877"/>
                <a:gd name="T17" fmla="*/ 781 h 962"/>
                <a:gd name="T18" fmla="*/ 1877 w 1877"/>
                <a:gd name="T19" fmla="*/ 770 h 962"/>
                <a:gd name="T20" fmla="*/ 1877 w 1877"/>
                <a:gd name="T21" fmla="*/ 764 h 962"/>
                <a:gd name="T22" fmla="*/ 0 w 1877"/>
                <a:gd name="T23"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7" h="962">
                  <a:moveTo>
                    <a:pt x="0" y="0"/>
                  </a:moveTo>
                  <a:cubicBezTo>
                    <a:pt x="0" y="425"/>
                    <a:pt x="0" y="425"/>
                    <a:pt x="0" y="425"/>
                  </a:cubicBezTo>
                  <a:cubicBezTo>
                    <a:pt x="428" y="591"/>
                    <a:pt x="943" y="792"/>
                    <a:pt x="1377" y="960"/>
                  </a:cubicBezTo>
                  <a:cubicBezTo>
                    <a:pt x="1381" y="962"/>
                    <a:pt x="1381" y="962"/>
                    <a:pt x="1381" y="962"/>
                  </a:cubicBezTo>
                  <a:cubicBezTo>
                    <a:pt x="1419" y="947"/>
                    <a:pt x="1419" y="947"/>
                    <a:pt x="1419" y="947"/>
                  </a:cubicBezTo>
                  <a:cubicBezTo>
                    <a:pt x="1388" y="935"/>
                    <a:pt x="1388" y="935"/>
                    <a:pt x="1388" y="935"/>
                  </a:cubicBezTo>
                  <a:cubicBezTo>
                    <a:pt x="959" y="769"/>
                    <a:pt x="452" y="573"/>
                    <a:pt x="27" y="408"/>
                  </a:cubicBezTo>
                  <a:cubicBezTo>
                    <a:pt x="27" y="40"/>
                    <a:pt x="27" y="40"/>
                    <a:pt x="27" y="40"/>
                  </a:cubicBezTo>
                  <a:cubicBezTo>
                    <a:pt x="1708" y="723"/>
                    <a:pt x="1839" y="777"/>
                    <a:pt x="1850" y="781"/>
                  </a:cubicBezTo>
                  <a:cubicBezTo>
                    <a:pt x="1877" y="770"/>
                    <a:pt x="1877" y="770"/>
                    <a:pt x="1877" y="770"/>
                  </a:cubicBezTo>
                  <a:cubicBezTo>
                    <a:pt x="1877" y="764"/>
                    <a:pt x="1877" y="764"/>
                    <a:pt x="1877" y="764"/>
                  </a:cubicBezTo>
                  <a:cubicBezTo>
                    <a:pt x="0" y="0"/>
                    <a:pt x="0" y="0"/>
                    <a:pt x="0" y="0"/>
                  </a:cubicBezTo>
                  <a:close/>
                </a:path>
              </a:pathLst>
            </a:custGeom>
            <a:solidFill>
              <a:srgbClr val="7E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Graphik" panose="020B0503030202060203" pitchFamily="34" charset="0"/>
              </a:endParaRPr>
            </a:p>
          </p:txBody>
        </p:sp>
      </p:grpSp>
      <p:grpSp>
        <p:nvGrpSpPr>
          <p:cNvPr id="71" name="Master Brand 01 - GRADIENT GTS" hidden="1"/>
          <p:cNvGrpSpPr/>
          <p:nvPr/>
        </p:nvGrpSpPr>
        <p:grpSpPr>
          <a:xfrm>
            <a:off x="1159200" y="456688"/>
            <a:ext cx="5944244" cy="6067934"/>
            <a:chOff x="336907" y="342900"/>
            <a:chExt cx="2298344" cy="2346169"/>
          </a:xfrm>
        </p:grpSpPr>
        <p:sp>
          <p:nvSpPr>
            <p:cNvPr id="72"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FF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73"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FF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grpSp>
        <p:nvGrpSpPr>
          <p:cNvPr id="61" name="Master Brand 01 - DIMENSIONAL GTS" hidden="1"/>
          <p:cNvGrpSpPr/>
          <p:nvPr/>
        </p:nvGrpSpPr>
        <p:grpSpPr>
          <a:xfrm>
            <a:off x="1159200" y="456688"/>
            <a:ext cx="5944244" cy="6067934"/>
            <a:chOff x="336907" y="342900"/>
            <a:chExt cx="2298344" cy="2346169"/>
          </a:xfrm>
        </p:grpSpPr>
        <p:sp>
          <p:nvSpPr>
            <p:cNvPr id="62"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FF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63"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7E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60" name="Consulting - GRADIENT GTS" hidden="1"/>
          <p:cNvSpPr>
            <a:spLocks/>
          </p:cNvSpPr>
          <p:nvPr/>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00F3FF"/>
              </a:gs>
              <a:gs pos="100000">
                <a:srgbClr val="7E00FF"/>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6" name="Consulting - OUTLINED GTS" hidden="1"/>
          <p:cNvSpPr>
            <a:spLocks noEditPoints="1"/>
          </p:cNvSpPr>
          <p:nvPr/>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7E00FF"/>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48" name="Consulting - DIMENSIONAL GTS" hidden="1"/>
          <p:cNvGrpSpPr/>
          <p:nvPr/>
        </p:nvGrpSpPr>
        <p:grpSpPr>
          <a:xfrm>
            <a:off x="1159200" y="456688"/>
            <a:ext cx="5944244" cy="6067934"/>
            <a:chOff x="336907" y="342900"/>
            <a:chExt cx="2298344" cy="2346169"/>
          </a:xfrm>
        </p:grpSpPr>
        <p:sp>
          <p:nvSpPr>
            <p:cNvPr id="49"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100000">
                  <a:srgbClr val="380089"/>
                </a:gs>
                <a:gs pos="0">
                  <a:srgbClr val="7E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50"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7E00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59" name="Digital - GRADIENT GTS" hidden="1"/>
          <p:cNvSpPr>
            <a:spLocks/>
          </p:cNvSpPr>
          <p:nvPr/>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FFB600"/>
              </a:gs>
              <a:gs pos="100000">
                <a:srgbClr val="FFFF00"/>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5" name="Digital - OUTLINED GTS" hidden="1"/>
          <p:cNvSpPr>
            <a:spLocks noEditPoints="1"/>
          </p:cNvSpPr>
          <p:nvPr/>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FFFF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45" name="Digital - DIMENSIONAL GTS" hidden="1"/>
          <p:cNvGrpSpPr/>
          <p:nvPr/>
        </p:nvGrpSpPr>
        <p:grpSpPr>
          <a:xfrm>
            <a:off x="1159200" y="456688"/>
            <a:ext cx="5944244" cy="6067934"/>
            <a:chOff x="336907" y="342900"/>
            <a:chExt cx="2298344" cy="2346169"/>
          </a:xfrm>
        </p:grpSpPr>
        <p:sp>
          <p:nvSpPr>
            <p:cNvPr id="46"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FF00"/>
                </a:gs>
                <a:gs pos="100000">
                  <a:srgbClr val="FFB600"/>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47"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FF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58" name="Operations - GRADIENT GTS" hidden="1"/>
          <p:cNvSpPr>
            <a:spLocks/>
          </p:cNvSpPr>
          <p:nvPr/>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2800FF"/>
              </a:gs>
              <a:gs pos="100000">
                <a:srgbClr val="00F3FF"/>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4" name="Operations - OUTLINED GTS" hidden="1"/>
          <p:cNvSpPr>
            <a:spLocks noEditPoints="1"/>
          </p:cNvSpPr>
          <p:nvPr/>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00F3FF"/>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42" name="Operations - DIMENSIONAL GTS" hidden="1"/>
          <p:cNvGrpSpPr/>
          <p:nvPr/>
        </p:nvGrpSpPr>
        <p:grpSpPr>
          <a:xfrm>
            <a:off x="1159200" y="456688"/>
            <a:ext cx="5944244" cy="6067934"/>
            <a:chOff x="336907" y="342900"/>
            <a:chExt cx="2298344" cy="2346169"/>
          </a:xfrm>
        </p:grpSpPr>
        <p:sp>
          <p:nvSpPr>
            <p:cNvPr id="43"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44"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00F3FF"/>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57" name="Strategy - GRADIENT GTS" hidden="1"/>
          <p:cNvSpPr>
            <a:spLocks/>
          </p:cNvSpPr>
          <p:nvPr/>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100000">
                <a:srgbClr val="FF0000"/>
              </a:gs>
              <a:gs pos="0">
                <a:srgbClr val="710012"/>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53" name="Strategy - OUTLINED GTS" hidden="1"/>
          <p:cNvSpPr>
            <a:spLocks noEditPoints="1"/>
          </p:cNvSpPr>
          <p:nvPr/>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grpSp>
        <p:nvGrpSpPr>
          <p:cNvPr id="38" name="Strategy - DIMENSIONAL GTS" hidden="1"/>
          <p:cNvGrpSpPr/>
          <p:nvPr/>
        </p:nvGrpSpPr>
        <p:grpSpPr>
          <a:xfrm>
            <a:off x="1159200" y="456688"/>
            <a:ext cx="5944244" cy="6067934"/>
            <a:chOff x="336907" y="342900"/>
            <a:chExt cx="2298344" cy="2346169"/>
          </a:xfrm>
        </p:grpSpPr>
        <p:sp>
          <p:nvSpPr>
            <p:cNvPr id="40" name="Freeform 12"/>
            <p:cNvSpPr>
              <a:spLocks/>
            </p:cNvSpPr>
            <p:nvPr/>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FF0000"/>
                </a:gs>
                <a:gs pos="100000">
                  <a:srgbClr val="710012"/>
                </a:gs>
              </a:gsLst>
              <a:lin ang="0" scaled="1"/>
            </a:gra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41" name="Freeform 11"/>
            <p:cNvSpPr>
              <a:spLocks/>
            </p:cNvSpPr>
            <p:nvPr/>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
        <p:nvSpPr>
          <p:cNvPr id="39" name="Technology - GRADIENT GTS" hidden="1"/>
          <p:cNvSpPr>
            <a:spLocks/>
          </p:cNvSpPr>
          <p:nvPr/>
        </p:nvSpPr>
        <p:spPr bwMode="auto">
          <a:xfrm>
            <a:off x="1149555" y="455285"/>
            <a:ext cx="5973856" cy="6098982"/>
          </a:xfrm>
          <a:custGeom>
            <a:avLst/>
            <a:gdLst>
              <a:gd name="T0" fmla="*/ 0 w 1412"/>
              <a:gd name="T1" fmla="*/ 0 h 1442"/>
              <a:gd name="T2" fmla="*/ 0 w 1412"/>
              <a:gd name="T3" fmla="*/ 320 h 1442"/>
              <a:gd name="T4" fmla="*/ 1037 w 1412"/>
              <a:gd name="T5" fmla="*/ 723 h 1442"/>
              <a:gd name="T6" fmla="*/ 0 w 1412"/>
              <a:gd name="T7" fmla="*/ 1122 h 1442"/>
              <a:gd name="T8" fmla="*/ 0 w 1412"/>
              <a:gd name="T9" fmla="*/ 1442 h 1442"/>
              <a:gd name="T10" fmla="*/ 1412 w 1412"/>
              <a:gd name="T11" fmla="*/ 868 h 1442"/>
              <a:gd name="T12" fmla="*/ 1412 w 1412"/>
              <a:gd name="T13" fmla="*/ 575 h 1442"/>
              <a:gd name="T14" fmla="*/ 0 w 1412"/>
              <a:gd name="T15" fmla="*/ 0 h 1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2" h="1442">
                <a:moveTo>
                  <a:pt x="0" y="0"/>
                </a:moveTo>
                <a:cubicBezTo>
                  <a:pt x="0" y="320"/>
                  <a:pt x="0" y="320"/>
                  <a:pt x="0" y="320"/>
                </a:cubicBezTo>
                <a:cubicBezTo>
                  <a:pt x="0" y="320"/>
                  <a:pt x="907" y="672"/>
                  <a:pt x="1037" y="723"/>
                </a:cubicBezTo>
                <a:cubicBezTo>
                  <a:pt x="907" y="772"/>
                  <a:pt x="0" y="1122"/>
                  <a:pt x="0" y="1122"/>
                </a:cubicBezTo>
                <a:cubicBezTo>
                  <a:pt x="0" y="1442"/>
                  <a:pt x="0" y="1442"/>
                  <a:pt x="0" y="1442"/>
                </a:cubicBezTo>
                <a:cubicBezTo>
                  <a:pt x="1412" y="868"/>
                  <a:pt x="1412" y="868"/>
                  <a:pt x="1412" y="868"/>
                </a:cubicBezTo>
                <a:cubicBezTo>
                  <a:pt x="1412" y="575"/>
                  <a:pt x="1412" y="575"/>
                  <a:pt x="1412" y="575"/>
                </a:cubicBezTo>
                <a:cubicBezTo>
                  <a:pt x="0" y="0"/>
                  <a:pt x="0" y="0"/>
                  <a:pt x="0" y="0"/>
                </a:cubicBezTo>
              </a:path>
            </a:pathLst>
          </a:custGeom>
          <a:gradFill>
            <a:gsLst>
              <a:gs pos="0">
                <a:srgbClr val="00F3FF"/>
              </a:gs>
              <a:gs pos="98000">
                <a:srgbClr val="00FF00"/>
              </a:gs>
            </a:gsLst>
            <a:lin ang="0" scaled="0"/>
          </a:gra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36" name="Technology - OUTLINED GTS" hidden="1"/>
          <p:cNvSpPr>
            <a:spLocks noEditPoints="1"/>
          </p:cNvSpPr>
          <p:nvPr/>
        </p:nvSpPr>
        <p:spPr bwMode="auto">
          <a:xfrm>
            <a:off x="1144911" y="441893"/>
            <a:ext cx="5958533" cy="6083338"/>
          </a:xfrm>
          <a:custGeom>
            <a:avLst/>
            <a:gdLst>
              <a:gd name="T0" fmla="*/ 20 w 1412"/>
              <a:gd name="T1" fmla="*/ 30 h 1442"/>
              <a:gd name="T2" fmla="*/ 1392 w 1412"/>
              <a:gd name="T3" fmla="*/ 588 h 1442"/>
              <a:gd name="T4" fmla="*/ 1392 w 1412"/>
              <a:gd name="T5" fmla="*/ 855 h 1442"/>
              <a:gd name="T6" fmla="*/ 20 w 1412"/>
              <a:gd name="T7" fmla="*/ 1412 h 1442"/>
              <a:gd name="T8" fmla="*/ 20 w 1412"/>
              <a:gd name="T9" fmla="*/ 1136 h 1442"/>
              <a:gd name="T10" fmla="*/ 1044 w 1412"/>
              <a:gd name="T11" fmla="*/ 741 h 1442"/>
              <a:gd name="T12" fmla="*/ 1044 w 1412"/>
              <a:gd name="T13" fmla="*/ 741 h 1442"/>
              <a:gd name="T14" fmla="*/ 1092 w 1412"/>
              <a:gd name="T15" fmla="*/ 722 h 1442"/>
              <a:gd name="T16" fmla="*/ 1044 w 1412"/>
              <a:gd name="T17" fmla="*/ 704 h 1442"/>
              <a:gd name="T18" fmla="*/ 20 w 1412"/>
              <a:gd name="T19" fmla="*/ 307 h 1442"/>
              <a:gd name="T20" fmla="*/ 20 w 1412"/>
              <a:gd name="T21" fmla="*/ 30 h 1442"/>
              <a:gd name="T22" fmla="*/ 0 w 1412"/>
              <a:gd name="T23" fmla="*/ 0 h 1442"/>
              <a:gd name="T24" fmla="*/ 0 w 1412"/>
              <a:gd name="T25" fmla="*/ 320 h 1442"/>
              <a:gd name="T26" fmla="*/ 1037 w 1412"/>
              <a:gd name="T27" fmla="*/ 723 h 1442"/>
              <a:gd name="T28" fmla="*/ 1037 w 1412"/>
              <a:gd name="T29" fmla="*/ 723 h 1442"/>
              <a:gd name="T30" fmla="*/ 0 w 1412"/>
              <a:gd name="T31" fmla="*/ 1122 h 1442"/>
              <a:gd name="T32" fmla="*/ 0 w 1412"/>
              <a:gd name="T33" fmla="*/ 1442 h 1442"/>
              <a:gd name="T34" fmla="*/ 1412 w 1412"/>
              <a:gd name="T35" fmla="*/ 868 h 1442"/>
              <a:gd name="T36" fmla="*/ 1412 w 1412"/>
              <a:gd name="T37" fmla="*/ 868 h 1442"/>
              <a:gd name="T38" fmla="*/ 1412 w 1412"/>
              <a:gd name="T39" fmla="*/ 575 h 1442"/>
              <a:gd name="T40" fmla="*/ 0 w 1412"/>
              <a:gd name="T41" fmla="*/ 0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2" h="1442">
                <a:moveTo>
                  <a:pt x="20" y="30"/>
                </a:moveTo>
                <a:cubicBezTo>
                  <a:pt x="1392" y="588"/>
                  <a:pt x="1392" y="588"/>
                  <a:pt x="1392" y="588"/>
                </a:cubicBezTo>
                <a:cubicBezTo>
                  <a:pt x="1392" y="855"/>
                  <a:pt x="1392" y="855"/>
                  <a:pt x="1392" y="855"/>
                </a:cubicBezTo>
                <a:cubicBezTo>
                  <a:pt x="20" y="1412"/>
                  <a:pt x="20" y="1412"/>
                  <a:pt x="20" y="1412"/>
                </a:cubicBezTo>
                <a:cubicBezTo>
                  <a:pt x="20" y="1136"/>
                  <a:pt x="20" y="1136"/>
                  <a:pt x="20" y="1136"/>
                </a:cubicBezTo>
                <a:cubicBezTo>
                  <a:pt x="130" y="1093"/>
                  <a:pt x="924" y="787"/>
                  <a:pt x="1044" y="741"/>
                </a:cubicBezTo>
                <a:cubicBezTo>
                  <a:pt x="1044" y="741"/>
                  <a:pt x="1044" y="741"/>
                  <a:pt x="1044" y="741"/>
                </a:cubicBezTo>
                <a:cubicBezTo>
                  <a:pt x="1092" y="722"/>
                  <a:pt x="1092" y="722"/>
                  <a:pt x="1092" y="722"/>
                </a:cubicBezTo>
                <a:cubicBezTo>
                  <a:pt x="1044" y="704"/>
                  <a:pt x="1044" y="704"/>
                  <a:pt x="1044" y="704"/>
                </a:cubicBezTo>
                <a:cubicBezTo>
                  <a:pt x="721" y="579"/>
                  <a:pt x="340" y="431"/>
                  <a:pt x="20" y="307"/>
                </a:cubicBezTo>
                <a:cubicBezTo>
                  <a:pt x="20" y="30"/>
                  <a:pt x="20" y="30"/>
                  <a:pt x="20" y="30"/>
                </a:cubicBezTo>
                <a:moveTo>
                  <a:pt x="0" y="0"/>
                </a:moveTo>
                <a:cubicBezTo>
                  <a:pt x="0" y="320"/>
                  <a:pt x="0" y="320"/>
                  <a:pt x="0" y="320"/>
                </a:cubicBezTo>
                <a:cubicBezTo>
                  <a:pt x="322" y="445"/>
                  <a:pt x="710" y="596"/>
                  <a:pt x="1037" y="723"/>
                </a:cubicBezTo>
                <a:cubicBezTo>
                  <a:pt x="1037" y="723"/>
                  <a:pt x="1037" y="723"/>
                  <a:pt x="1037" y="723"/>
                </a:cubicBezTo>
                <a:cubicBezTo>
                  <a:pt x="907" y="772"/>
                  <a:pt x="0" y="1122"/>
                  <a:pt x="0" y="1122"/>
                </a:cubicBezTo>
                <a:cubicBezTo>
                  <a:pt x="0" y="1442"/>
                  <a:pt x="0" y="1442"/>
                  <a:pt x="0" y="1442"/>
                </a:cubicBezTo>
                <a:cubicBezTo>
                  <a:pt x="1412" y="868"/>
                  <a:pt x="1412" y="868"/>
                  <a:pt x="1412" y="868"/>
                </a:cubicBezTo>
                <a:cubicBezTo>
                  <a:pt x="1412" y="868"/>
                  <a:pt x="1412" y="868"/>
                  <a:pt x="1412" y="868"/>
                </a:cubicBezTo>
                <a:cubicBezTo>
                  <a:pt x="1412" y="575"/>
                  <a:pt x="1412" y="575"/>
                  <a:pt x="1412" y="575"/>
                </a:cubicBezTo>
                <a:cubicBezTo>
                  <a:pt x="0" y="0"/>
                  <a:pt x="0" y="0"/>
                  <a:pt x="0" y="0"/>
                </a:cubicBezTo>
                <a:close/>
              </a:path>
            </a:pathLst>
          </a:custGeom>
          <a:solidFill>
            <a:srgbClr val="00FF00"/>
          </a:solidFill>
          <a:ln>
            <a:noFill/>
          </a:ln>
        </p:spPr>
        <p:txBody>
          <a:bodyPr vert="horz" wrap="square" lIns="91440" tIns="45720" rIns="91440" bIns="45720" numCol="1" anchor="t" anchorCtr="0" compatLnSpc="1">
            <a:prstTxWarp prst="textNoShape">
              <a:avLst/>
            </a:prstTxWarp>
          </a:bodyPr>
          <a:lstStyle/>
          <a:p>
            <a:endParaRPr lang="en-AU" dirty="0">
              <a:latin typeface="Graphik" panose="020B0503030202060203" pitchFamily="34" charset="0"/>
            </a:endParaRPr>
          </a:p>
        </p:txBody>
      </p:sp>
      <p:sp>
        <p:nvSpPr>
          <p:cNvPr id="6" name="SubTitle" hidden="1"/>
          <p:cNvSpPr>
            <a:spLocks noGrp="1"/>
          </p:cNvSpPr>
          <p:nvPr>
            <p:ph type="body" sz="quarter" idx="12" hasCustomPrompt="1"/>
          </p:nvPr>
        </p:nvSpPr>
        <p:spPr>
          <a:xfrm>
            <a:off x="7756071" y="5073855"/>
            <a:ext cx="3856329" cy="1041195"/>
          </a:xfrm>
        </p:spPr>
        <p:txBody>
          <a:bodyPr anchor="b"/>
          <a:lstStyle>
            <a:lvl1pPr marL="0" indent="0">
              <a:lnSpc>
                <a:spcPct val="80000"/>
              </a:lnSpc>
              <a:buNone/>
              <a:defRPr sz="2000" b="0" i="0" cap="all" baseline="0">
                <a:solidFill>
                  <a:schemeClr val="tx1"/>
                </a:solidFill>
                <a:latin typeface="+mj-lt"/>
              </a:defRPr>
            </a:lvl1pPr>
          </a:lstStyle>
          <a:p>
            <a:pPr lvl="0"/>
            <a:r>
              <a:rPr lang="en-US" dirty="0"/>
              <a:t>SUBTITLE LINE</a:t>
            </a:r>
            <a:br>
              <a:rPr lang="en-US" dirty="0"/>
            </a:br>
            <a:r>
              <a:rPr lang="en-US" dirty="0"/>
              <a:t>SECOND LINE</a:t>
            </a:r>
          </a:p>
        </p:txBody>
      </p:sp>
      <p:pic>
        <p:nvPicPr>
          <p:cNvPr id="2" name="Accenture_Technology_WHITE" hidden="1"/>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7756800" y="464712"/>
            <a:ext cx="3855600" cy="618771"/>
          </a:xfrm>
          <a:prstGeom prst="rect">
            <a:avLst/>
          </a:prstGeom>
        </p:spPr>
      </p:pic>
      <p:pic>
        <p:nvPicPr>
          <p:cNvPr id="7" name="Accenture_Strategy_WHITE" hidden="1"/>
          <p:cNvPicPr>
            <a:picLocks noChangeAspect="1"/>
          </p:cNvPicPr>
          <p:nvPr/>
        </p:nvPicPr>
        <p:blipFill>
          <a:blip r:embed="rId3"/>
          <a:stretch>
            <a:fillRect/>
          </a:stretch>
        </p:blipFill>
        <p:spPr>
          <a:xfrm>
            <a:off x="7773000" y="459803"/>
            <a:ext cx="3276000" cy="623063"/>
          </a:xfrm>
          <a:prstGeom prst="rect">
            <a:avLst/>
          </a:prstGeom>
        </p:spPr>
      </p:pic>
      <p:pic>
        <p:nvPicPr>
          <p:cNvPr id="17" name="Accenture_Strategy_BLACK" hidden="1"/>
          <p:cNvPicPr>
            <a:picLocks noChangeAspect="1"/>
          </p:cNvPicPr>
          <p:nvPr/>
        </p:nvPicPr>
        <p:blipFill>
          <a:blip r:embed="rId4"/>
          <a:stretch>
            <a:fillRect/>
          </a:stretch>
        </p:blipFill>
        <p:spPr>
          <a:xfrm>
            <a:off x="7772739" y="459803"/>
            <a:ext cx="3276261" cy="623113"/>
          </a:xfrm>
          <a:prstGeom prst="rect">
            <a:avLst/>
          </a:prstGeom>
        </p:spPr>
      </p:pic>
      <p:pic>
        <p:nvPicPr>
          <p:cNvPr id="14" name="Accenture_Operations_WHITE" hidden="1"/>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7773225" y="476724"/>
            <a:ext cx="3704400" cy="613912"/>
          </a:xfrm>
          <a:prstGeom prst="rect">
            <a:avLst/>
          </a:prstGeom>
        </p:spPr>
      </p:pic>
      <p:pic>
        <p:nvPicPr>
          <p:cNvPr id="16" name="Accenture_Operations_BLACK" hidden="1"/>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7772739" y="476724"/>
            <a:ext cx="3704886" cy="613992"/>
          </a:xfrm>
          <a:prstGeom prst="rect">
            <a:avLst/>
          </a:prstGeom>
        </p:spPr>
      </p:pic>
      <p:pic>
        <p:nvPicPr>
          <p:cNvPr id="4" name="Accenture_Mobility_WHITE" hidden="1"/>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7754100" y="651110"/>
            <a:ext cx="3866400" cy="684773"/>
          </a:xfrm>
          <a:prstGeom prst="rect">
            <a:avLst/>
          </a:prstGeom>
        </p:spPr>
      </p:pic>
      <p:pic>
        <p:nvPicPr>
          <p:cNvPr id="18" name="Accenture_Mobility_BLACK" hidden="1"/>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7753350" y="651110"/>
            <a:ext cx="3867150" cy="684905"/>
          </a:xfrm>
          <a:prstGeom prst="rect">
            <a:avLst/>
          </a:prstGeom>
        </p:spPr>
      </p:pic>
      <p:pic>
        <p:nvPicPr>
          <p:cNvPr id="29" name="Accenture_Interactive_WHITE" hidden="1"/>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7754100" y="657225"/>
            <a:ext cx="3866400" cy="683539"/>
          </a:xfrm>
          <a:prstGeom prst="rect">
            <a:avLst/>
          </a:prstGeom>
        </p:spPr>
      </p:pic>
      <p:pic>
        <p:nvPicPr>
          <p:cNvPr id="28" name="Accenture_Interactive_BLACK" hidden="1"/>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7754100" y="657225"/>
            <a:ext cx="3866400" cy="683539"/>
          </a:xfrm>
          <a:prstGeom prst="rect">
            <a:avLst/>
          </a:prstGeom>
        </p:spPr>
      </p:pic>
      <p:pic>
        <p:nvPicPr>
          <p:cNvPr id="5" name="Accenture_Analytics_WHITE" hidden="1"/>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7753349" y="658010"/>
            <a:ext cx="3866400" cy="692114"/>
          </a:xfrm>
          <a:prstGeom prst="rect">
            <a:avLst/>
          </a:prstGeom>
        </p:spPr>
      </p:pic>
      <p:pic>
        <p:nvPicPr>
          <p:cNvPr id="11" name="Accenture_Analytics_BLACK" hidden="1"/>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7753349" y="658010"/>
            <a:ext cx="3867151" cy="692249"/>
          </a:xfrm>
          <a:prstGeom prst="rect">
            <a:avLst/>
          </a:prstGeom>
        </p:spPr>
      </p:pic>
      <p:pic>
        <p:nvPicPr>
          <p:cNvPr id="12" name="Accenture_Analytics_WHITE" hidden="1"/>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7754100" y="658010"/>
            <a:ext cx="3866400" cy="683539"/>
          </a:xfrm>
          <a:prstGeom prst="rect">
            <a:avLst/>
          </a:prstGeom>
        </p:spPr>
      </p:pic>
      <p:pic>
        <p:nvPicPr>
          <p:cNvPr id="3" name="Accenture_Digital_WHITE" hidden="1"/>
          <p:cNvPicPr>
            <a:picLocks noChangeAspect="1"/>
          </p:cNvPicPr>
          <p:nvPr/>
        </p:nvPicPr>
        <p:blipFill>
          <a:blip r:embed="rId13"/>
          <a:stretch>
            <a:fillRect/>
          </a:stretch>
        </p:blipFill>
        <p:spPr>
          <a:xfrm>
            <a:off x="7756425" y="467886"/>
            <a:ext cx="2959200" cy="635308"/>
          </a:xfrm>
          <a:prstGeom prst="rect">
            <a:avLst/>
          </a:prstGeom>
        </p:spPr>
      </p:pic>
      <p:pic>
        <p:nvPicPr>
          <p:cNvPr id="15" name="Accenture_Digital_BLACK" hidden="1"/>
          <p:cNvPicPr>
            <a:picLocks noChangeAspect="1"/>
          </p:cNvPicPr>
          <p:nvPr/>
        </p:nvPicPr>
        <p:blipFill>
          <a:blip r:embed="rId14"/>
          <a:stretch>
            <a:fillRect/>
          </a:stretch>
        </p:blipFill>
        <p:spPr>
          <a:xfrm>
            <a:off x="7756072" y="467886"/>
            <a:ext cx="2959553" cy="635385"/>
          </a:xfrm>
          <a:prstGeom prst="rect">
            <a:avLst/>
          </a:prstGeom>
        </p:spPr>
      </p:pic>
      <p:pic>
        <p:nvPicPr>
          <p:cNvPr id="26" name="Accenture_Consulting_WHITE" hidden="1"/>
          <p:cNvPicPr>
            <a:picLocks noChangeAspect="1"/>
          </p:cNvPicPr>
          <p:nvPr/>
        </p:nvPicPr>
        <p:blipFill>
          <a:blip r:embed="rId15"/>
          <a:stretch>
            <a:fillRect/>
          </a:stretch>
        </p:blipFill>
        <p:spPr>
          <a:xfrm>
            <a:off x="7755225" y="464711"/>
            <a:ext cx="3722400" cy="633721"/>
          </a:xfrm>
          <a:prstGeom prst="rect">
            <a:avLst/>
          </a:prstGeom>
        </p:spPr>
      </p:pic>
      <p:pic>
        <p:nvPicPr>
          <p:cNvPr id="13" name="Accenture_Consulting_BLACK" hidden="1"/>
          <p:cNvPicPr>
            <a:picLocks noChangeAspect="1"/>
          </p:cNvPicPr>
          <p:nvPr/>
        </p:nvPicPr>
        <p:blipFill>
          <a:blip r:embed="rId16"/>
          <a:stretch>
            <a:fillRect/>
          </a:stretch>
        </p:blipFill>
        <p:spPr>
          <a:xfrm>
            <a:off x="7756071" y="464711"/>
            <a:ext cx="3721554" cy="633578"/>
          </a:xfrm>
          <a:prstGeom prst="rect">
            <a:avLst/>
          </a:prstGeom>
        </p:spPr>
      </p:pic>
      <p:grpSp>
        <p:nvGrpSpPr>
          <p:cNvPr id="22" name="Accenture_MasterWHITE" hidden="1"/>
          <p:cNvGrpSpPr/>
          <p:nvPr/>
        </p:nvGrpSpPr>
        <p:grpSpPr>
          <a:xfrm>
            <a:off x="7782263" y="470921"/>
            <a:ext cx="1828462" cy="530297"/>
            <a:chOff x="457202" y="420673"/>
            <a:chExt cx="2182661" cy="633434"/>
          </a:xfrm>
        </p:grpSpPr>
        <p:sp>
          <p:nvSpPr>
            <p:cNvPr id="23" name="Freeform 6"/>
            <p:cNvSpPr>
              <a:spLocks noEditPoints="1"/>
            </p:cNvSpPr>
            <p:nvPr/>
          </p:nvSpPr>
          <p:spPr bwMode="auto">
            <a:xfrm>
              <a:off x="457202" y="668790"/>
              <a:ext cx="2182661" cy="385317"/>
            </a:xfrm>
            <a:custGeom>
              <a:avLst/>
              <a:gdLst>
                <a:gd name="T0" fmla="*/ 35 w 765"/>
                <a:gd name="T1" fmla="*/ 118 h 135"/>
                <a:gd name="T2" fmla="*/ 56 w 765"/>
                <a:gd name="T3" fmla="*/ 88 h 135"/>
                <a:gd name="T4" fmla="*/ 78 w 765"/>
                <a:gd name="T5" fmla="*/ 62 h 135"/>
                <a:gd name="T6" fmla="*/ 4 w 765"/>
                <a:gd name="T7" fmla="*/ 62 h 135"/>
                <a:gd name="T8" fmla="*/ 42 w 765"/>
                <a:gd name="T9" fmla="*/ 47 h 135"/>
                <a:gd name="T10" fmla="*/ 56 w 765"/>
                <a:gd name="T11" fmla="*/ 75 h 135"/>
                <a:gd name="T12" fmla="*/ 30 w 765"/>
                <a:gd name="T13" fmla="*/ 135 h 135"/>
                <a:gd name="T14" fmla="*/ 56 w 765"/>
                <a:gd name="T15" fmla="*/ 121 h 135"/>
                <a:gd name="T16" fmla="*/ 78 w 765"/>
                <a:gd name="T17" fmla="*/ 132 h 135"/>
                <a:gd name="T18" fmla="*/ 132 w 765"/>
                <a:gd name="T19" fmla="*/ 47 h 135"/>
                <a:gd name="T20" fmla="*/ 154 w 765"/>
                <a:gd name="T21" fmla="*/ 118 h 135"/>
                <a:gd name="T22" fmla="*/ 171 w 765"/>
                <a:gd name="T23" fmla="*/ 130 h 135"/>
                <a:gd name="T24" fmla="*/ 88 w 765"/>
                <a:gd name="T25" fmla="*/ 78 h 135"/>
                <a:gd name="T26" fmla="*/ 172 w 765"/>
                <a:gd name="T27" fmla="*/ 67 h 135"/>
                <a:gd name="T28" fmla="*/ 236 w 765"/>
                <a:gd name="T29" fmla="*/ 67 h 135"/>
                <a:gd name="T30" fmla="*/ 202 w 765"/>
                <a:gd name="T31" fmla="*/ 74 h 135"/>
                <a:gd name="T32" fmla="*/ 260 w 765"/>
                <a:gd name="T33" fmla="*/ 116 h 135"/>
                <a:gd name="T34" fmla="*/ 231 w 765"/>
                <a:gd name="T35" fmla="*/ 135 h 135"/>
                <a:gd name="T36" fmla="*/ 223 w 765"/>
                <a:gd name="T37" fmla="*/ 31 h 135"/>
                <a:gd name="T38" fmla="*/ 236 w 765"/>
                <a:gd name="T39" fmla="*/ 67 h 135"/>
                <a:gd name="T40" fmla="*/ 291 w 765"/>
                <a:gd name="T41" fmla="*/ 63 h 135"/>
                <a:gd name="T42" fmla="*/ 327 w 765"/>
                <a:gd name="T43" fmla="*/ 63 h 135"/>
                <a:gd name="T44" fmla="*/ 349 w 765"/>
                <a:gd name="T45" fmla="*/ 71 h 135"/>
                <a:gd name="T46" fmla="*/ 269 w 765"/>
                <a:gd name="T47" fmla="*/ 77 h 135"/>
                <a:gd name="T48" fmla="*/ 347 w 765"/>
                <a:gd name="T49" fmla="*/ 131 h 135"/>
                <a:gd name="T50" fmla="*/ 328 w 765"/>
                <a:gd name="T51" fmla="*/ 118 h 135"/>
                <a:gd name="T52" fmla="*/ 349 w 765"/>
                <a:gd name="T53" fmla="*/ 77 h 135"/>
                <a:gd name="T54" fmla="*/ 418 w 765"/>
                <a:gd name="T55" fmla="*/ 76 h 135"/>
                <a:gd name="T56" fmla="*/ 408 w 765"/>
                <a:gd name="T57" fmla="*/ 52 h 135"/>
                <a:gd name="T58" fmla="*/ 384 w 765"/>
                <a:gd name="T59" fmla="*/ 132 h 135"/>
                <a:gd name="T60" fmla="*/ 361 w 765"/>
                <a:gd name="T61" fmla="*/ 33 h 135"/>
                <a:gd name="T62" fmla="*/ 384 w 765"/>
                <a:gd name="T63" fmla="*/ 51 h 135"/>
                <a:gd name="T64" fmla="*/ 414 w 765"/>
                <a:gd name="T65" fmla="*/ 31 h 135"/>
                <a:gd name="T66" fmla="*/ 441 w 765"/>
                <a:gd name="T67" fmla="*/ 132 h 135"/>
                <a:gd name="T68" fmla="*/ 489 w 765"/>
                <a:gd name="T69" fmla="*/ 49 h 135"/>
                <a:gd name="T70" fmla="*/ 505 w 765"/>
                <a:gd name="T71" fmla="*/ 118 h 135"/>
                <a:gd name="T72" fmla="*/ 516 w 765"/>
                <a:gd name="T73" fmla="*/ 133 h 135"/>
                <a:gd name="T74" fmla="*/ 466 w 765"/>
                <a:gd name="T75" fmla="*/ 107 h 135"/>
                <a:gd name="T76" fmla="*/ 447 w 765"/>
                <a:gd name="T77" fmla="*/ 49 h 135"/>
                <a:gd name="T78" fmla="*/ 466 w 765"/>
                <a:gd name="T79" fmla="*/ 33 h 135"/>
                <a:gd name="T80" fmla="*/ 489 w 765"/>
                <a:gd name="T81" fmla="*/ 0 h 135"/>
                <a:gd name="T82" fmla="*/ 519 w 765"/>
                <a:gd name="T83" fmla="*/ 33 h 135"/>
                <a:gd name="T84" fmla="*/ 489 w 765"/>
                <a:gd name="T85" fmla="*/ 49 h 135"/>
                <a:gd name="T86" fmla="*/ 586 w 765"/>
                <a:gd name="T87" fmla="*/ 114 h 135"/>
                <a:gd name="T88" fmla="*/ 556 w 765"/>
                <a:gd name="T89" fmla="*/ 135 h 135"/>
                <a:gd name="T90" fmla="*/ 529 w 765"/>
                <a:gd name="T91" fmla="*/ 33 h 135"/>
                <a:gd name="T92" fmla="*/ 552 w 765"/>
                <a:gd name="T93" fmla="*/ 90 h 135"/>
                <a:gd name="T94" fmla="*/ 563 w 765"/>
                <a:gd name="T95" fmla="*/ 113 h 135"/>
                <a:gd name="T96" fmla="*/ 586 w 765"/>
                <a:gd name="T97" fmla="*/ 33 h 135"/>
                <a:gd name="T98" fmla="*/ 609 w 765"/>
                <a:gd name="T99" fmla="*/ 132 h 135"/>
                <a:gd name="T100" fmla="*/ 647 w 765"/>
                <a:gd name="T101" fmla="*/ 89 h 135"/>
                <a:gd name="T102" fmla="*/ 624 w 765"/>
                <a:gd name="T103" fmla="*/ 132 h 135"/>
                <a:gd name="T104" fmla="*/ 647 w 765"/>
                <a:gd name="T105" fmla="*/ 33 h 135"/>
                <a:gd name="T106" fmla="*/ 648 w 765"/>
                <a:gd name="T107" fmla="*/ 51 h 135"/>
                <a:gd name="T108" fmla="*/ 680 w 765"/>
                <a:gd name="T109" fmla="*/ 55 h 135"/>
                <a:gd name="T110" fmla="*/ 743 w 765"/>
                <a:gd name="T111" fmla="*/ 63 h 135"/>
                <a:gd name="T112" fmla="*/ 726 w 765"/>
                <a:gd name="T113" fmla="*/ 45 h 135"/>
                <a:gd name="T114" fmla="*/ 765 w 765"/>
                <a:gd name="T115" fmla="*/ 77 h 135"/>
                <a:gd name="T116" fmla="*/ 727 w 765"/>
                <a:gd name="T117" fmla="*/ 31 h 135"/>
                <a:gd name="T118" fmla="*/ 735 w 765"/>
                <a:gd name="T119" fmla="*/ 135 h 135"/>
                <a:gd name="T120" fmla="*/ 763 w 765"/>
                <a:gd name="T121" fmla="*/ 115 h 135"/>
                <a:gd name="T122" fmla="*/ 706 w 765"/>
                <a:gd name="T123" fmla="*/ 7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5" h="135">
                  <a:moveTo>
                    <a:pt x="56" y="88"/>
                  </a:moveTo>
                  <a:cubicBezTo>
                    <a:pt x="56" y="101"/>
                    <a:pt x="51" y="118"/>
                    <a:pt x="35" y="118"/>
                  </a:cubicBezTo>
                  <a:cubicBezTo>
                    <a:pt x="28" y="118"/>
                    <a:pt x="23" y="114"/>
                    <a:pt x="23" y="106"/>
                  </a:cubicBezTo>
                  <a:cubicBezTo>
                    <a:pt x="23" y="91"/>
                    <a:pt x="45" y="88"/>
                    <a:pt x="56" y="88"/>
                  </a:cubicBezTo>
                  <a:close/>
                  <a:moveTo>
                    <a:pt x="78" y="132"/>
                  </a:moveTo>
                  <a:cubicBezTo>
                    <a:pt x="78" y="62"/>
                    <a:pt x="78" y="62"/>
                    <a:pt x="78" y="62"/>
                  </a:cubicBezTo>
                  <a:cubicBezTo>
                    <a:pt x="78" y="38"/>
                    <a:pt x="63" y="31"/>
                    <a:pt x="42" y="31"/>
                  </a:cubicBezTo>
                  <a:cubicBezTo>
                    <a:pt x="21" y="31"/>
                    <a:pt x="4" y="39"/>
                    <a:pt x="4" y="62"/>
                  </a:cubicBezTo>
                  <a:cubicBezTo>
                    <a:pt x="27" y="62"/>
                    <a:pt x="27" y="62"/>
                    <a:pt x="27" y="62"/>
                  </a:cubicBezTo>
                  <a:cubicBezTo>
                    <a:pt x="27" y="52"/>
                    <a:pt x="32" y="47"/>
                    <a:pt x="42" y="47"/>
                  </a:cubicBezTo>
                  <a:cubicBezTo>
                    <a:pt x="53" y="47"/>
                    <a:pt x="56" y="55"/>
                    <a:pt x="56" y="65"/>
                  </a:cubicBezTo>
                  <a:cubicBezTo>
                    <a:pt x="56" y="75"/>
                    <a:pt x="56" y="75"/>
                    <a:pt x="56" y="75"/>
                  </a:cubicBezTo>
                  <a:cubicBezTo>
                    <a:pt x="33" y="76"/>
                    <a:pt x="0" y="79"/>
                    <a:pt x="0" y="109"/>
                  </a:cubicBezTo>
                  <a:cubicBezTo>
                    <a:pt x="0" y="125"/>
                    <a:pt x="14" y="135"/>
                    <a:pt x="30" y="135"/>
                  </a:cubicBezTo>
                  <a:cubicBezTo>
                    <a:pt x="41" y="135"/>
                    <a:pt x="51" y="131"/>
                    <a:pt x="56" y="121"/>
                  </a:cubicBezTo>
                  <a:cubicBezTo>
                    <a:pt x="56" y="121"/>
                    <a:pt x="56" y="121"/>
                    <a:pt x="56" y="121"/>
                  </a:cubicBezTo>
                  <a:cubicBezTo>
                    <a:pt x="56" y="132"/>
                    <a:pt x="56" y="132"/>
                    <a:pt x="56" y="132"/>
                  </a:cubicBezTo>
                  <a:lnTo>
                    <a:pt x="78" y="132"/>
                  </a:lnTo>
                  <a:close/>
                  <a:moveTo>
                    <a:pt x="147" y="67"/>
                  </a:moveTo>
                  <a:cubicBezTo>
                    <a:pt x="147" y="57"/>
                    <a:pt x="144" y="47"/>
                    <a:pt x="132" y="47"/>
                  </a:cubicBezTo>
                  <a:cubicBezTo>
                    <a:pt x="117" y="47"/>
                    <a:pt x="113" y="62"/>
                    <a:pt x="113" y="74"/>
                  </a:cubicBezTo>
                  <a:cubicBezTo>
                    <a:pt x="113" y="99"/>
                    <a:pt x="128" y="118"/>
                    <a:pt x="154" y="118"/>
                  </a:cubicBezTo>
                  <a:cubicBezTo>
                    <a:pt x="160" y="118"/>
                    <a:pt x="165" y="118"/>
                    <a:pt x="171" y="116"/>
                  </a:cubicBezTo>
                  <a:cubicBezTo>
                    <a:pt x="171" y="130"/>
                    <a:pt x="171" y="130"/>
                    <a:pt x="171" y="130"/>
                  </a:cubicBezTo>
                  <a:cubicBezTo>
                    <a:pt x="161" y="133"/>
                    <a:pt x="151" y="135"/>
                    <a:pt x="142" y="135"/>
                  </a:cubicBezTo>
                  <a:cubicBezTo>
                    <a:pt x="106" y="135"/>
                    <a:pt x="88" y="113"/>
                    <a:pt x="88" y="78"/>
                  </a:cubicBezTo>
                  <a:cubicBezTo>
                    <a:pt x="88" y="49"/>
                    <a:pt x="104" y="31"/>
                    <a:pt x="134" y="31"/>
                  </a:cubicBezTo>
                  <a:cubicBezTo>
                    <a:pt x="158" y="31"/>
                    <a:pt x="172" y="42"/>
                    <a:pt x="172" y="67"/>
                  </a:cubicBezTo>
                  <a:lnTo>
                    <a:pt x="147" y="67"/>
                  </a:lnTo>
                  <a:close/>
                  <a:moveTo>
                    <a:pt x="236" y="67"/>
                  </a:moveTo>
                  <a:cubicBezTo>
                    <a:pt x="236" y="57"/>
                    <a:pt x="233" y="47"/>
                    <a:pt x="221" y="47"/>
                  </a:cubicBezTo>
                  <a:cubicBezTo>
                    <a:pt x="206" y="47"/>
                    <a:pt x="202" y="62"/>
                    <a:pt x="202" y="74"/>
                  </a:cubicBezTo>
                  <a:cubicBezTo>
                    <a:pt x="202" y="99"/>
                    <a:pt x="217" y="118"/>
                    <a:pt x="243" y="118"/>
                  </a:cubicBezTo>
                  <a:cubicBezTo>
                    <a:pt x="249" y="118"/>
                    <a:pt x="254" y="118"/>
                    <a:pt x="260" y="116"/>
                  </a:cubicBezTo>
                  <a:cubicBezTo>
                    <a:pt x="260" y="130"/>
                    <a:pt x="260" y="130"/>
                    <a:pt x="260" y="130"/>
                  </a:cubicBezTo>
                  <a:cubicBezTo>
                    <a:pt x="250" y="133"/>
                    <a:pt x="241" y="135"/>
                    <a:pt x="231" y="135"/>
                  </a:cubicBezTo>
                  <a:cubicBezTo>
                    <a:pt x="195" y="135"/>
                    <a:pt x="177" y="113"/>
                    <a:pt x="177" y="78"/>
                  </a:cubicBezTo>
                  <a:cubicBezTo>
                    <a:pt x="177" y="49"/>
                    <a:pt x="193" y="31"/>
                    <a:pt x="223" y="31"/>
                  </a:cubicBezTo>
                  <a:cubicBezTo>
                    <a:pt x="247" y="31"/>
                    <a:pt x="261" y="42"/>
                    <a:pt x="261" y="67"/>
                  </a:cubicBezTo>
                  <a:lnTo>
                    <a:pt x="236" y="67"/>
                  </a:lnTo>
                  <a:close/>
                  <a:moveTo>
                    <a:pt x="327" y="63"/>
                  </a:moveTo>
                  <a:cubicBezTo>
                    <a:pt x="291" y="63"/>
                    <a:pt x="291" y="63"/>
                    <a:pt x="291" y="63"/>
                  </a:cubicBezTo>
                  <a:cubicBezTo>
                    <a:pt x="292" y="53"/>
                    <a:pt x="300" y="45"/>
                    <a:pt x="310" y="45"/>
                  </a:cubicBezTo>
                  <a:cubicBezTo>
                    <a:pt x="320" y="45"/>
                    <a:pt x="327" y="52"/>
                    <a:pt x="327" y="63"/>
                  </a:cubicBezTo>
                  <a:close/>
                  <a:moveTo>
                    <a:pt x="349" y="77"/>
                  </a:moveTo>
                  <a:cubicBezTo>
                    <a:pt x="349" y="71"/>
                    <a:pt x="349" y="71"/>
                    <a:pt x="349" y="71"/>
                  </a:cubicBezTo>
                  <a:cubicBezTo>
                    <a:pt x="349" y="47"/>
                    <a:pt x="337" y="31"/>
                    <a:pt x="311" y="31"/>
                  </a:cubicBezTo>
                  <a:cubicBezTo>
                    <a:pt x="282" y="31"/>
                    <a:pt x="269" y="49"/>
                    <a:pt x="269" y="77"/>
                  </a:cubicBezTo>
                  <a:cubicBezTo>
                    <a:pt x="269" y="110"/>
                    <a:pt x="283" y="135"/>
                    <a:pt x="319" y="135"/>
                  </a:cubicBezTo>
                  <a:cubicBezTo>
                    <a:pt x="328" y="135"/>
                    <a:pt x="338" y="134"/>
                    <a:pt x="347" y="131"/>
                  </a:cubicBezTo>
                  <a:cubicBezTo>
                    <a:pt x="347" y="115"/>
                    <a:pt x="347" y="115"/>
                    <a:pt x="347" y="115"/>
                  </a:cubicBezTo>
                  <a:cubicBezTo>
                    <a:pt x="341" y="117"/>
                    <a:pt x="334" y="118"/>
                    <a:pt x="328" y="118"/>
                  </a:cubicBezTo>
                  <a:cubicBezTo>
                    <a:pt x="305" y="118"/>
                    <a:pt x="290" y="98"/>
                    <a:pt x="290" y="77"/>
                  </a:cubicBezTo>
                  <a:lnTo>
                    <a:pt x="349" y="77"/>
                  </a:lnTo>
                  <a:close/>
                  <a:moveTo>
                    <a:pt x="418" y="132"/>
                  </a:moveTo>
                  <a:cubicBezTo>
                    <a:pt x="418" y="76"/>
                    <a:pt x="418" y="76"/>
                    <a:pt x="418" y="76"/>
                  </a:cubicBezTo>
                  <a:cubicBezTo>
                    <a:pt x="418" y="71"/>
                    <a:pt x="418" y="58"/>
                    <a:pt x="414" y="54"/>
                  </a:cubicBezTo>
                  <a:cubicBezTo>
                    <a:pt x="413" y="53"/>
                    <a:pt x="410" y="52"/>
                    <a:pt x="408" y="52"/>
                  </a:cubicBezTo>
                  <a:cubicBezTo>
                    <a:pt x="391" y="52"/>
                    <a:pt x="384" y="76"/>
                    <a:pt x="384" y="89"/>
                  </a:cubicBezTo>
                  <a:cubicBezTo>
                    <a:pt x="384" y="132"/>
                    <a:pt x="384" y="132"/>
                    <a:pt x="384" y="132"/>
                  </a:cubicBezTo>
                  <a:cubicBezTo>
                    <a:pt x="361" y="132"/>
                    <a:pt x="361" y="132"/>
                    <a:pt x="361" y="132"/>
                  </a:cubicBezTo>
                  <a:cubicBezTo>
                    <a:pt x="361" y="33"/>
                    <a:pt x="361" y="33"/>
                    <a:pt x="361" y="33"/>
                  </a:cubicBezTo>
                  <a:cubicBezTo>
                    <a:pt x="384" y="33"/>
                    <a:pt x="384" y="33"/>
                    <a:pt x="384" y="33"/>
                  </a:cubicBezTo>
                  <a:cubicBezTo>
                    <a:pt x="384" y="51"/>
                    <a:pt x="384" y="51"/>
                    <a:pt x="384" y="51"/>
                  </a:cubicBezTo>
                  <a:cubicBezTo>
                    <a:pt x="385" y="51"/>
                    <a:pt x="385" y="51"/>
                    <a:pt x="385" y="51"/>
                  </a:cubicBezTo>
                  <a:cubicBezTo>
                    <a:pt x="390" y="39"/>
                    <a:pt x="400" y="31"/>
                    <a:pt x="414" y="31"/>
                  </a:cubicBezTo>
                  <a:cubicBezTo>
                    <a:pt x="433" y="31"/>
                    <a:pt x="441" y="46"/>
                    <a:pt x="441" y="63"/>
                  </a:cubicBezTo>
                  <a:cubicBezTo>
                    <a:pt x="441" y="132"/>
                    <a:pt x="441" y="132"/>
                    <a:pt x="441" y="132"/>
                  </a:cubicBezTo>
                  <a:lnTo>
                    <a:pt x="418" y="132"/>
                  </a:lnTo>
                  <a:close/>
                  <a:moveTo>
                    <a:pt x="489" y="49"/>
                  </a:moveTo>
                  <a:cubicBezTo>
                    <a:pt x="489" y="96"/>
                    <a:pt x="489" y="96"/>
                    <a:pt x="489" y="96"/>
                  </a:cubicBezTo>
                  <a:cubicBezTo>
                    <a:pt x="489" y="108"/>
                    <a:pt x="491" y="118"/>
                    <a:pt x="505" y="118"/>
                  </a:cubicBezTo>
                  <a:cubicBezTo>
                    <a:pt x="509" y="118"/>
                    <a:pt x="512" y="118"/>
                    <a:pt x="516" y="117"/>
                  </a:cubicBezTo>
                  <a:cubicBezTo>
                    <a:pt x="516" y="133"/>
                    <a:pt x="516" y="133"/>
                    <a:pt x="516" y="133"/>
                  </a:cubicBezTo>
                  <a:cubicBezTo>
                    <a:pt x="510" y="134"/>
                    <a:pt x="503" y="135"/>
                    <a:pt x="497" y="135"/>
                  </a:cubicBezTo>
                  <a:cubicBezTo>
                    <a:pt x="477" y="135"/>
                    <a:pt x="466" y="128"/>
                    <a:pt x="466" y="107"/>
                  </a:cubicBezTo>
                  <a:cubicBezTo>
                    <a:pt x="466" y="49"/>
                    <a:pt x="466" y="49"/>
                    <a:pt x="466" y="49"/>
                  </a:cubicBezTo>
                  <a:cubicBezTo>
                    <a:pt x="447" y="49"/>
                    <a:pt x="447" y="49"/>
                    <a:pt x="447" y="49"/>
                  </a:cubicBezTo>
                  <a:cubicBezTo>
                    <a:pt x="447" y="33"/>
                    <a:pt x="447" y="33"/>
                    <a:pt x="447" y="33"/>
                  </a:cubicBezTo>
                  <a:cubicBezTo>
                    <a:pt x="466" y="33"/>
                    <a:pt x="466" y="33"/>
                    <a:pt x="466" y="33"/>
                  </a:cubicBezTo>
                  <a:cubicBezTo>
                    <a:pt x="466" y="9"/>
                    <a:pt x="466" y="9"/>
                    <a:pt x="466" y="9"/>
                  </a:cubicBezTo>
                  <a:cubicBezTo>
                    <a:pt x="489" y="0"/>
                    <a:pt x="489" y="0"/>
                    <a:pt x="489" y="0"/>
                  </a:cubicBezTo>
                  <a:cubicBezTo>
                    <a:pt x="489" y="33"/>
                    <a:pt x="489" y="33"/>
                    <a:pt x="489" y="33"/>
                  </a:cubicBezTo>
                  <a:cubicBezTo>
                    <a:pt x="519" y="33"/>
                    <a:pt x="519" y="33"/>
                    <a:pt x="519" y="33"/>
                  </a:cubicBezTo>
                  <a:cubicBezTo>
                    <a:pt x="519" y="49"/>
                    <a:pt x="519" y="49"/>
                    <a:pt x="519" y="49"/>
                  </a:cubicBezTo>
                  <a:lnTo>
                    <a:pt x="489" y="49"/>
                  </a:lnTo>
                  <a:close/>
                  <a:moveTo>
                    <a:pt x="586" y="132"/>
                  </a:moveTo>
                  <a:cubicBezTo>
                    <a:pt x="586" y="114"/>
                    <a:pt x="586" y="114"/>
                    <a:pt x="586" y="114"/>
                  </a:cubicBezTo>
                  <a:cubicBezTo>
                    <a:pt x="586" y="114"/>
                    <a:pt x="586" y="114"/>
                    <a:pt x="586" y="114"/>
                  </a:cubicBezTo>
                  <a:cubicBezTo>
                    <a:pt x="580" y="126"/>
                    <a:pt x="570" y="135"/>
                    <a:pt x="556" y="135"/>
                  </a:cubicBezTo>
                  <a:cubicBezTo>
                    <a:pt x="537" y="135"/>
                    <a:pt x="529" y="119"/>
                    <a:pt x="529" y="102"/>
                  </a:cubicBezTo>
                  <a:cubicBezTo>
                    <a:pt x="529" y="33"/>
                    <a:pt x="529" y="33"/>
                    <a:pt x="529" y="33"/>
                  </a:cubicBezTo>
                  <a:cubicBezTo>
                    <a:pt x="552" y="33"/>
                    <a:pt x="552" y="33"/>
                    <a:pt x="552" y="33"/>
                  </a:cubicBezTo>
                  <a:cubicBezTo>
                    <a:pt x="552" y="90"/>
                    <a:pt x="552" y="90"/>
                    <a:pt x="552" y="90"/>
                  </a:cubicBezTo>
                  <a:cubicBezTo>
                    <a:pt x="552" y="95"/>
                    <a:pt x="552" y="107"/>
                    <a:pt x="556" y="111"/>
                  </a:cubicBezTo>
                  <a:cubicBezTo>
                    <a:pt x="558" y="113"/>
                    <a:pt x="560" y="113"/>
                    <a:pt x="563" y="113"/>
                  </a:cubicBezTo>
                  <a:cubicBezTo>
                    <a:pt x="579" y="113"/>
                    <a:pt x="586" y="89"/>
                    <a:pt x="586" y="76"/>
                  </a:cubicBezTo>
                  <a:cubicBezTo>
                    <a:pt x="586" y="33"/>
                    <a:pt x="586" y="33"/>
                    <a:pt x="586" y="33"/>
                  </a:cubicBezTo>
                  <a:cubicBezTo>
                    <a:pt x="609" y="33"/>
                    <a:pt x="609" y="33"/>
                    <a:pt x="609" y="33"/>
                  </a:cubicBezTo>
                  <a:cubicBezTo>
                    <a:pt x="609" y="132"/>
                    <a:pt x="609" y="132"/>
                    <a:pt x="609" y="132"/>
                  </a:cubicBezTo>
                  <a:lnTo>
                    <a:pt x="586" y="132"/>
                  </a:lnTo>
                  <a:close/>
                  <a:moveTo>
                    <a:pt x="647" y="89"/>
                  </a:moveTo>
                  <a:cubicBezTo>
                    <a:pt x="647" y="132"/>
                    <a:pt x="647" y="132"/>
                    <a:pt x="647" y="132"/>
                  </a:cubicBezTo>
                  <a:cubicBezTo>
                    <a:pt x="624" y="132"/>
                    <a:pt x="624" y="132"/>
                    <a:pt x="624" y="132"/>
                  </a:cubicBezTo>
                  <a:cubicBezTo>
                    <a:pt x="624" y="33"/>
                    <a:pt x="624" y="33"/>
                    <a:pt x="624" y="33"/>
                  </a:cubicBezTo>
                  <a:cubicBezTo>
                    <a:pt x="647" y="33"/>
                    <a:pt x="647" y="33"/>
                    <a:pt x="647" y="33"/>
                  </a:cubicBezTo>
                  <a:cubicBezTo>
                    <a:pt x="647" y="51"/>
                    <a:pt x="647" y="51"/>
                    <a:pt x="647" y="51"/>
                  </a:cubicBezTo>
                  <a:cubicBezTo>
                    <a:pt x="648" y="51"/>
                    <a:pt x="648" y="51"/>
                    <a:pt x="648" y="51"/>
                  </a:cubicBezTo>
                  <a:cubicBezTo>
                    <a:pt x="655" y="37"/>
                    <a:pt x="663" y="31"/>
                    <a:pt x="680" y="31"/>
                  </a:cubicBezTo>
                  <a:cubicBezTo>
                    <a:pt x="680" y="55"/>
                    <a:pt x="680" y="55"/>
                    <a:pt x="680" y="55"/>
                  </a:cubicBezTo>
                  <a:cubicBezTo>
                    <a:pt x="656" y="55"/>
                    <a:pt x="647" y="65"/>
                    <a:pt x="647" y="89"/>
                  </a:cubicBezTo>
                  <a:close/>
                  <a:moveTo>
                    <a:pt x="743" y="63"/>
                  </a:moveTo>
                  <a:cubicBezTo>
                    <a:pt x="707" y="63"/>
                    <a:pt x="707" y="63"/>
                    <a:pt x="707" y="63"/>
                  </a:cubicBezTo>
                  <a:cubicBezTo>
                    <a:pt x="708" y="53"/>
                    <a:pt x="715" y="45"/>
                    <a:pt x="726" y="45"/>
                  </a:cubicBezTo>
                  <a:cubicBezTo>
                    <a:pt x="736" y="45"/>
                    <a:pt x="743" y="52"/>
                    <a:pt x="743" y="63"/>
                  </a:cubicBezTo>
                  <a:close/>
                  <a:moveTo>
                    <a:pt x="765" y="77"/>
                  </a:moveTo>
                  <a:cubicBezTo>
                    <a:pt x="765" y="71"/>
                    <a:pt x="765" y="71"/>
                    <a:pt x="765" y="71"/>
                  </a:cubicBezTo>
                  <a:cubicBezTo>
                    <a:pt x="765" y="47"/>
                    <a:pt x="753" y="31"/>
                    <a:pt x="727" y="31"/>
                  </a:cubicBezTo>
                  <a:cubicBezTo>
                    <a:pt x="698" y="31"/>
                    <a:pt x="685" y="49"/>
                    <a:pt x="685" y="77"/>
                  </a:cubicBezTo>
                  <a:cubicBezTo>
                    <a:pt x="685" y="110"/>
                    <a:pt x="699" y="135"/>
                    <a:pt x="735" y="135"/>
                  </a:cubicBezTo>
                  <a:cubicBezTo>
                    <a:pt x="744" y="135"/>
                    <a:pt x="754" y="134"/>
                    <a:pt x="763" y="131"/>
                  </a:cubicBezTo>
                  <a:cubicBezTo>
                    <a:pt x="763" y="115"/>
                    <a:pt x="763" y="115"/>
                    <a:pt x="763" y="115"/>
                  </a:cubicBezTo>
                  <a:cubicBezTo>
                    <a:pt x="757" y="117"/>
                    <a:pt x="750" y="118"/>
                    <a:pt x="744" y="118"/>
                  </a:cubicBezTo>
                  <a:cubicBezTo>
                    <a:pt x="721" y="118"/>
                    <a:pt x="706" y="98"/>
                    <a:pt x="706" y="77"/>
                  </a:cubicBezTo>
                  <a:lnTo>
                    <a:pt x="765" y="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24" name="Freeform 23"/>
            <p:cNvSpPr/>
            <p:nvPr/>
          </p:nvSpPr>
          <p:spPr>
            <a:xfrm>
              <a:off x="1739049" y="420673"/>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Graphik" panose="020B0503030202060203" pitchFamily="34" charset="0"/>
              </a:endParaRPr>
            </a:p>
          </p:txBody>
        </p:sp>
      </p:grpSp>
      <p:grpSp>
        <p:nvGrpSpPr>
          <p:cNvPr id="19" name="Accenture_MasterBLACK" hidden="1"/>
          <p:cNvGrpSpPr/>
          <p:nvPr/>
        </p:nvGrpSpPr>
        <p:grpSpPr>
          <a:xfrm>
            <a:off x="7767974" y="460549"/>
            <a:ext cx="1828462" cy="528825"/>
            <a:chOff x="476250" y="397668"/>
            <a:chExt cx="2195577" cy="635000"/>
          </a:xfrm>
        </p:grpSpPr>
        <p:sp>
          <p:nvSpPr>
            <p:cNvPr id="20" name="Freeform 19"/>
            <p:cNvSpPr>
              <a:spLocks/>
            </p:cNvSpPr>
            <p:nvPr/>
          </p:nvSpPr>
          <p:spPr bwMode="auto">
            <a:xfrm>
              <a:off x="1758865" y="397668"/>
              <a:ext cx="206059" cy="214470"/>
            </a:xfrm>
            <a:custGeom>
              <a:avLst/>
              <a:gdLst>
                <a:gd name="T0" fmla="*/ 0 w 72"/>
                <a:gd name="T1" fmla="*/ 0 h 74"/>
                <a:gd name="T2" fmla="*/ 0 w 72"/>
                <a:gd name="T3" fmla="*/ 2 h 74"/>
                <a:gd name="T4" fmla="*/ 0 w 72"/>
                <a:gd name="T5" fmla="*/ 16 h 74"/>
                <a:gd name="T6" fmla="*/ 53 w 72"/>
                <a:gd name="T7" fmla="*/ 37 h 74"/>
                <a:gd name="T8" fmla="*/ 0 w 72"/>
                <a:gd name="T9" fmla="*/ 57 h 74"/>
                <a:gd name="T10" fmla="*/ 0 w 72"/>
                <a:gd name="T11" fmla="*/ 74 h 74"/>
                <a:gd name="T12" fmla="*/ 72 w 72"/>
                <a:gd name="T13" fmla="*/ 44 h 74"/>
                <a:gd name="T14" fmla="*/ 72 w 72"/>
                <a:gd name="T15" fmla="*/ 29 h 74"/>
                <a:gd name="T16" fmla="*/ 0 w 72"/>
                <a:gd name="T1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0" y="0"/>
                  </a:moveTo>
                  <a:cubicBezTo>
                    <a:pt x="0" y="2"/>
                    <a:pt x="0" y="2"/>
                    <a:pt x="0" y="2"/>
                  </a:cubicBezTo>
                  <a:cubicBezTo>
                    <a:pt x="0" y="16"/>
                    <a:pt x="0" y="16"/>
                    <a:pt x="0" y="16"/>
                  </a:cubicBezTo>
                  <a:cubicBezTo>
                    <a:pt x="0" y="16"/>
                    <a:pt x="46" y="34"/>
                    <a:pt x="53" y="37"/>
                  </a:cubicBezTo>
                  <a:cubicBezTo>
                    <a:pt x="46" y="40"/>
                    <a:pt x="0" y="57"/>
                    <a:pt x="0" y="57"/>
                  </a:cubicBezTo>
                  <a:cubicBezTo>
                    <a:pt x="0" y="74"/>
                    <a:pt x="0" y="74"/>
                    <a:pt x="0" y="74"/>
                  </a:cubicBezTo>
                  <a:cubicBezTo>
                    <a:pt x="72" y="44"/>
                    <a:pt x="72" y="44"/>
                    <a:pt x="72" y="44"/>
                  </a:cubicBezTo>
                  <a:cubicBezTo>
                    <a:pt x="72" y="29"/>
                    <a:pt x="72" y="29"/>
                    <a:pt x="72" y="29"/>
                  </a:cubicBez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pic>
          <p:nvPicPr>
            <p:cNvPr id="21" name="Accenture Black"/>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a:off x="476250" y="641561"/>
              <a:ext cx="2195577" cy="391107"/>
            </a:xfrm>
            <a:prstGeom prst="rect">
              <a:avLst/>
            </a:prstGeom>
          </p:spPr>
        </p:pic>
      </p:grpSp>
    </p:spTree>
    <p:extLst>
      <p:ext uri="{BB962C8B-B14F-4D97-AF65-F5344CB8AC3E}">
        <p14:creationId xmlns:p14="http://schemas.microsoft.com/office/powerpoint/2010/main" val="381104758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32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Section intr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5019" y="1803400"/>
            <a:ext cx="5589056" cy="4254500"/>
          </a:xfrm>
        </p:spPr>
        <p:txBody>
          <a:bodyPr/>
          <a:lstStyle>
            <a:lvl1pPr>
              <a:lnSpc>
                <a:spcPct val="80000"/>
              </a:lnSpc>
              <a:defRPr sz="5067" cap="all" baseline="0">
                <a:solidFill>
                  <a:schemeClr val="accent3"/>
                </a:solidFill>
              </a:defRPr>
            </a:lvl1pPr>
          </a:lstStyle>
          <a:p>
            <a:r>
              <a:rPr lang="en-US" dirty="0"/>
              <a:t>SECTION INTRO</a:t>
            </a:r>
          </a:p>
        </p:txBody>
      </p:sp>
      <p:sp>
        <p:nvSpPr>
          <p:cNvPr id="3" name="Slide Number Placeholder 2"/>
          <p:cNvSpPr>
            <a:spLocks noGrp="1"/>
          </p:cNvSpPr>
          <p:nvPr>
            <p:ph type="sldNum" sz="quarter" idx="10"/>
          </p:nvPr>
        </p:nvSpPr>
        <p:spPr/>
        <p:txBody>
          <a:bodyPr/>
          <a:lstStyle>
            <a:lvl1pPr>
              <a:defRPr b="0">
                <a:latin typeface="Graphik" panose="020B0503030202060203" pitchFamily="34" charset="0"/>
              </a:defRPr>
            </a:lvl1pPr>
          </a:lstStyle>
          <a:p>
            <a:fld id="{B2DCE237-B187-49D9-B1C4-0C8AA0CDE574}" type="slidenum">
              <a:rPr lang="en-GB" smtClean="0"/>
              <a:t>‹#›</a:t>
            </a:fld>
            <a:endParaRPr lang="en-GB"/>
          </a:p>
        </p:txBody>
      </p:sp>
      <p:sp>
        <p:nvSpPr>
          <p:cNvPr id="8" name="Text Placeholder 7"/>
          <p:cNvSpPr>
            <a:spLocks noGrp="1"/>
          </p:cNvSpPr>
          <p:nvPr>
            <p:ph type="body" sz="quarter" idx="11"/>
          </p:nvPr>
        </p:nvSpPr>
        <p:spPr>
          <a:xfrm>
            <a:off x="6276975" y="1763713"/>
            <a:ext cx="5578475" cy="4294187"/>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3798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b="0">
                <a:latin typeface="Graphik" panose="020B0503030202060203" pitchFamily="34" charset="0"/>
              </a:defRPr>
            </a:lvl1pPr>
          </a:lstStyle>
          <a:p>
            <a:fld id="{B2DCE237-B187-49D9-B1C4-0C8AA0CDE574}" type="slidenum">
              <a:rPr lang="en-GB" smtClean="0"/>
              <a:t>‹#›</a:t>
            </a:fld>
            <a:endParaRPr lang="en-GB"/>
          </a:p>
        </p:txBody>
      </p:sp>
      <p:sp>
        <p:nvSpPr>
          <p:cNvPr id="4" name="Title 3"/>
          <p:cNvSpPr>
            <a:spLocks noGrp="1"/>
          </p:cNvSpPr>
          <p:nvPr>
            <p:ph type="title"/>
          </p:nvPr>
        </p:nvSpPr>
        <p:spPr>
          <a:xfrm>
            <a:off x="345017" y="332076"/>
            <a:ext cx="10027707" cy="776139"/>
          </a:xfrm>
        </p:spPr>
        <p:txBody>
          <a:bodyPr/>
          <a:lstStyle>
            <a:lvl1pPr>
              <a:defRPr>
                <a:solidFill>
                  <a:schemeClr val="accent3"/>
                </a:solidFill>
              </a:defRPr>
            </a:lvl1pPr>
          </a:lstStyle>
          <a:p>
            <a:r>
              <a:rPr lang="en-US"/>
              <a:t>Click to edit Master title style</a:t>
            </a:r>
            <a:endParaRPr lang="en-US" dirty="0"/>
          </a:p>
        </p:txBody>
      </p:sp>
      <p:sp>
        <p:nvSpPr>
          <p:cNvPr id="7" name="Text Placeholder 6"/>
          <p:cNvSpPr>
            <a:spLocks noGrp="1"/>
          </p:cNvSpPr>
          <p:nvPr>
            <p:ph type="body" sz="quarter" idx="13"/>
          </p:nvPr>
        </p:nvSpPr>
        <p:spPr>
          <a:xfrm>
            <a:off x="345017" y="1763713"/>
            <a:ext cx="10027707" cy="4294187"/>
          </a:xfrm>
        </p:spPr>
        <p:txBody>
          <a:bodyPr vert="horz" lIns="0" tIns="0" rIns="0" bIns="0" rtlCol="0">
            <a:noAutofit/>
          </a:bodyPr>
          <a:lstStyle>
            <a:lvl1pPr>
              <a:defRPr lang="en-US" sz="1800" dirty="0" smtClean="0"/>
            </a:lvl1pPr>
            <a:lvl2pPr marL="182875">
              <a:defRPr lang="en-US" sz="1800" dirty="0" smtClean="0"/>
            </a:lvl2pPr>
            <a:lvl3pPr marL="365751">
              <a:defRPr lang="en-US" sz="1800" dirty="0" smtClean="0"/>
            </a:lvl3pPr>
            <a:lvl4pPr>
              <a:defRPr lang="en-US" sz="1800" dirty="0" smtClean="0"/>
            </a:lvl4pPr>
            <a:lvl5pPr>
              <a:defRPr lang="en-US" sz="180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11067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allout &amp; cop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b="0">
                <a:latin typeface="Graphik" panose="020B0503030202060203" pitchFamily="34" charset="0"/>
              </a:defRPr>
            </a:lvl1pPr>
          </a:lstStyle>
          <a:p>
            <a:fld id="{B2DCE237-B187-49D9-B1C4-0C8AA0CDE574}" type="slidenum">
              <a:rPr lang="en-GB" smtClean="0"/>
              <a:t>‹#›</a:t>
            </a:fld>
            <a:endParaRPr lang="en-GB"/>
          </a:p>
        </p:txBody>
      </p:sp>
      <p:sp>
        <p:nvSpPr>
          <p:cNvPr id="4" name="Title 3"/>
          <p:cNvSpPr>
            <a:spLocks noGrp="1"/>
          </p:cNvSpPr>
          <p:nvPr>
            <p:ph type="title"/>
          </p:nvPr>
        </p:nvSpPr>
        <p:spPr/>
        <p:txBody>
          <a:bodyPr/>
          <a:lstStyle>
            <a:lvl1pPr>
              <a:defRPr>
                <a:solidFill>
                  <a:schemeClr val="accent3"/>
                </a:solidFill>
              </a:defRPr>
            </a:lvl1pPr>
          </a:lstStyle>
          <a:p>
            <a:r>
              <a:rPr lang="en-US"/>
              <a:t>Click to edit Master title style</a:t>
            </a:r>
            <a:endParaRPr lang="en-US" dirty="0"/>
          </a:p>
        </p:txBody>
      </p:sp>
      <p:sp>
        <p:nvSpPr>
          <p:cNvPr id="7" name="Text Placeholder 6"/>
          <p:cNvSpPr>
            <a:spLocks noGrp="1"/>
          </p:cNvSpPr>
          <p:nvPr>
            <p:ph type="body" sz="quarter" idx="13"/>
          </p:nvPr>
        </p:nvSpPr>
        <p:spPr>
          <a:xfrm>
            <a:off x="345019" y="1763713"/>
            <a:ext cx="5589056" cy="4294187"/>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4"/>
          </p:nvPr>
        </p:nvSpPr>
        <p:spPr>
          <a:xfrm>
            <a:off x="6276975" y="1763714"/>
            <a:ext cx="5578475" cy="4294186"/>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89466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allout &amp; 2 columns">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45017" y="1763729"/>
            <a:ext cx="3583476" cy="4294171"/>
          </a:xfrm>
        </p:spPr>
        <p:txBody>
          <a:bodyPr vert="horz" lIns="0" tIns="0" rIns="0" bIns="0" rtlCol="0">
            <a:noAutofit/>
          </a:bodyPr>
          <a:lstStyle>
            <a:lvl1pPr>
              <a:defRPr lang="en-US" sz="1800" dirty="0" smtClean="0"/>
            </a:lvl1pPr>
            <a:lvl2pPr>
              <a:defRPr lang="en-US" sz="1800" dirty="0" smtClean="0"/>
            </a:lvl2pPr>
            <a:lvl3pPr>
              <a:defRPr lang="en-US" sz="1800" dirty="0" smtClean="0"/>
            </a:lvl3pPr>
            <a:lvl4pPr>
              <a:defRPr lang="en-US" sz="1800" dirty="0" smtClean="0"/>
            </a:lvl4pPr>
            <a:lvl5pPr>
              <a:defRPr lang="en-US" sz="180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defRPr b="0">
                <a:latin typeface="Graphik" panose="020B0503030202060203" pitchFamily="34" charset="0"/>
              </a:defRPr>
            </a:lvl1pPr>
          </a:lstStyle>
          <a:p>
            <a:fld id="{B2DCE237-B187-49D9-B1C4-0C8AA0CDE574}" type="slidenum">
              <a:rPr lang="en-GB" smtClean="0"/>
              <a:t>‹#›</a:t>
            </a:fld>
            <a:endParaRPr lang="en-GB"/>
          </a:p>
        </p:txBody>
      </p:sp>
      <p:sp>
        <p:nvSpPr>
          <p:cNvPr id="4" name="Title 3"/>
          <p:cNvSpPr>
            <a:spLocks noGrp="1"/>
          </p:cNvSpPr>
          <p:nvPr>
            <p:ph type="title"/>
          </p:nvPr>
        </p:nvSpPr>
        <p:spPr/>
        <p:txBody>
          <a:bodyPr/>
          <a:lstStyle/>
          <a:p>
            <a:r>
              <a:rPr lang="en-US"/>
              <a:t>Click to edit Master title style</a:t>
            </a:r>
            <a:endParaRPr lang="en-US" dirty="0"/>
          </a:p>
        </p:txBody>
      </p:sp>
      <p:sp>
        <p:nvSpPr>
          <p:cNvPr id="10" name="Text Placeholder 7"/>
          <p:cNvSpPr>
            <a:spLocks noGrp="1"/>
          </p:cNvSpPr>
          <p:nvPr>
            <p:ph type="body" sz="quarter" idx="14"/>
          </p:nvPr>
        </p:nvSpPr>
        <p:spPr>
          <a:xfrm>
            <a:off x="8256656" y="1763713"/>
            <a:ext cx="3598794"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7"/>
          <p:cNvSpPr>
            <a:spLocks noGrp="1"/>
          </p:cNvSpPr>
          <p:nvPr>
            <p:ph type="body" sz="quarter" idx="15"/>
          </p:nvPr>
        </p:nvSpPr>
        <p:spPr>
          <a:xfrm>
            <a:off x="4271392" y="1763713"/>
            <a:ext cx="3642363"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639294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4 column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b="1">
                <a:latin typeface="Graphik" panose="020B0503030202060203" pitchFamily="34" charset="0"/>
              </a:defRPr>
            </a:lvl1pPr>
          </a:lstStyle>
          <a:p>
            <a:fld id="{B2DCE237-B187-49D9-B1C4-0C8AA0CDE574}" type="slidenum">
              <a:rPr lang="en-GB" smtClean="0"/>
              <a:t>‹#›</a:t>
            </a:fld>
            <a:endParaRPr lang="en-GB"/>
          </a:p>
        </p:txBody>
      </p:sp>
      <p:sp>
        <p:nvSpPr>
          <p:cNvPr id="4" name="Title 3"/>
          <p:cNvSpPr>
            <a:spLocks noGrp="1"/>
          </p:cNvSpPr>
          <p:nvPr>
            <p:ph type="title"/>
          </p:nvPr>
        </p:nvSpPr>
        <p:spPr/>
        <p:txBody>
          <a:bodyPr/>
          <a:lstStyle/>
          <a:p>
            <a:r>
              <a:rPr lang="en-US"/>
              <a:t>Click to edit Master title style</a:t>
            </a:r>
          </a:p>
        </p:txBody>
      </p:sp>
      <p:sp>
        <p:nvSpPr>
          <p:cNvPr id="8" name="Text Placeholder 7"/>
          <p:cNvSpPr>
            <a:spLocks noGrp="1"/>
          </p:cNvSpPr>
          <p:nvPr>
            <p:ph type="body" sz="quarter" idx="14"/>
          </p:nvPr>
        </p:nvSpPr>
        <p:spPr>
          <a:xfrm>
            <a:off x="3314700" y="1763713"/>
            <a:ext cx="2619375"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7"/>
          <p:cNvSpPr>
            <a:spLocks noGrp="1"/>
          </p:cNvSpPr>
          <p:nvPr>
            <p:ph type="body" sz="quarter" idx="15"/>
          </p:nvPr>
        </p:nvSpPr>
        <p:spPr>
          <a:xfrm>
            <a:off x="345016" y="1763713"/>
            <a:ext cx="2626784"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6"/>
          </p:nvPr>
        </p:nvSpPr>
        <p:spPr>
          <a:xfrm>
            <a:off x="9239250" y="1763713"/>
            <a:ext cx="2616200"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7"/>
          <p:cNvSpPr>
            <a:spLocks noGrp="1"/>
          </p:cNvSpPr>
          <p:nvPr>
            <p:ph type="body" sz="quarter" idx="17"/>
          </p:nvPr>
        </p:nvSpPr>
        <p:spPr>
          <a:xfrm>
            <a:off x="6276975" y="1763713"/>
            <a:ext cx="2619374"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22673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F49E56-4845-46C1-90EC-9D0205BEC069}"/>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DDFE62C-2238-4644-B535-93A2A39FEAD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694F40C-A4CD-4AFF-BCE4-3774B06E9895}"/>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FD759A5-8224-4030-A8CD-DE95344E611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0CF1330E-B18C-4253-8E20-9F9530DC75E9}"/>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CC28E66B-FD97-4151-A035-42F1B8DF1ED7}"/>
              </a:ext>
            </a:extLst>
          </p:cNvPr>
          <p:cNvSpPr>
            <a:spLocks noGrp="1"/>
          </p:cNvSpPr>
          <p:nvPr>
            <p:ph type="dt" sz="half" idx="10"/>
          </p:nvPr>
        </p:nvSpPr>
        <p:spPr/>
        <p:txBody>
          <a:bodyPr/>
          <a:lstStyle/>
          <a:p>
            <a:fld id="{58A9AD06-EB04-40D2-9EFF-00449A73BF5C}" type="datetimeFigureOut">
              <a:rPr lang="en-GB" smtClean="0"/>
              <a:t>01/05/2018</a:t>
            </a:fld>
            <a:endParaRPr lang="en-GB"/>
          </a:p>
        </p:txBody>
      </p:sp>
      <p:sp>
        <p:nvSpPr>
          <p:cNvPr id="8" name="Footer Placeholder 7">
            <a:extLst>
              <a:ext uri="{FF2B5EF4-FFF2-40B4-BE49-F238E27FC236}">
                <a16:creationId xmlns:a16="http://schemas.microsoft.com/office/drawing/2014/main" id="{3EA999E8-0A8D-40F1-BAC1-CC9981D3AAE4}"/>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93B104E-CF25-44EA-B20C-CAECD3022B53}"/>
              </a:ext>
            </a:extLst>
          </p:cNvPr>
          <p:cNvSpPr>
            <a:spLocks noGrp="1"/>
          </p:cNvSpPr>
          <p:nvPr>
            <p:ph type="sldNum" sz="quarter" idx="12"/>
          </p:nvPr>
        </p:nvSpPr>
        <p:spPr/>
        <p:txBody>
          <a:bodyPr/>
          <a:lstStyle/>
          <a:p>
            <a:fld id="{B2DCE237-B187-49D9-B1C4-0C8AA0CDE574}" type="slidenum">
              <a:rPr lang="en-GB" smtClean="0"/>
              <a:t>‹#›</a:t>
            </a:fld>
            <a:endParaRPr lang="en-GB"/>
          </a:p>
        </p:txBody>
      </p:sp>
    </p:spTree>
    <p:extLst>
      <p:ext uri="{BB962C8B-B14F-4D97-AF65-F5344CB8AC3E}">
        <p14:creationId xmlns:p14="http://schemas.microsoft.com/office/powerpoint/2010/main" val="8534738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py &amp; content (chart, picture)">
    <p:spTree>
      <p:nvGrpSpPr>
        <p:cNvPr id="1" name=""/>
        <p:cNvGrpSpPr/>
        <p:nvPr/>
      </p:nvGrpSpPr>
      <p:grpSpPr>
        <a:xfrm>
          <a:off x="0" y="0"/>
          <a:ext cx="0" cy="0"/>
          <a:chOff x="0" y="0"/>
          <a:chExt cx="0" cy="0"/>
        </a:xfrm>
      </p:grpSpPr>
      <p:sp>
        <p:nvSpPr>
          <p:cNvPr id="14" name="Content Placeholder 13"/>
          <p:cNvSpPr>
            <a:spLocks noGrp="1"/>
          </p:cNvSpPr>
          <p:nvPr>
            <p:ph sz="quarter" idx="18"/>
          </p:nvPr>
        </p:nvSpPr>
        <p:spPr>
          <a:xfrm>
            <a:off x="4800600" y="1763713"/>
            <a:ext cx="7054849" cy="4294187"/>
          </a:xfrm>
        </p:spPr>
        <p:txBody>
          <a:bodyPr/>
          <a:lstStyle>
            <a:lvl1pPr>
              <a:defRPr sz="1800"/>
            </a:lvl1pPr>
            <a:lvl2pPr>
              <a:defRPr sz="1800"/>
            </a:lvl2pPr>
            <a:lvl3pPr>
              <a:defRPr sz="18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defRPr b="0">
                <a:latin typeface="Graphik" panose="020B0503030202060203" pitchFamily="34" charset="0"/>
              </a:defRPr>
            </a:lvl1pPr>
          </a:lstStyle>
          <a:p>
            <a:fld id="{B2DCE237-B187-49D9-B1C4-0C8AA0CDE574}" type="slidenum">
              <a:rPr lang="en-GB" smtClean="0"/>
              <a:t>‹#›</a:t>
            </a:fld>
            <a:endParaRPr lang="en-GB"/>
          </a:p>
        </p:txBody>
      </p:sp>
      <p:sp>
        <p:nvSpPr>
          <p:cNvPr id="4" name="Title 3"/>
          <p:cNvSpPr>
            <a:spLocks noGrp="1"/>
          </p:cNvSpPr>
          <p:nvPr>
            <p:ph type="title"/>
          </p:nvPr>
        </p:nvSpPr>
        <p:spPr/>
        <p:txBody>
          <a:bodyPr/>
          <a:lstStyle/>
          <a:p>
            <a:r>
              <a:rPr lang="en-US"/>
              <a:t>Click to edit Master title style</a:t>
            </a:r>
          </a:p>
        </p:txBody>
      </p:sp>
      <p:sp>
        <p:nvSpPr>
          <p:cNvPr id="9" name="Text Placeholder 7"/>
          <p:cNvSpPr>
            <a:spLocks noGrp="1"/>
          </p:cNvSpPr>
          <p:nvPr>
            <p:ph type="body" sz="quarter" idx="15"/>
          </p:nvPr>
        </p:nvSpPr>
        <p:spPr>
          <a:xfrm>
            <a:off x="345017" y="1763713"/>
            <a:ext cx="4103158"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734619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b="0"/>
            </a:lvl1pPr>
          </a:lstStyle>
          <a:p>
            <a:fld id="{B2DCE237-B187-49D9-B1C4-0C8AA0CDE574}" type="slidenum">
              <a:rPr lang="en-GB" smtClean="0"/>
              <a:t>‹#›</a:t>
            </a:fld>
            <a:endParaRPr lang="en-GB"/>
          </a:p>
        </p:txBody>
      </p:sp>
      <p:sp>
        <p:nvSpPr>
          <p:cNvPr id="4" name="Title 3"/>
          <p:cNvSpPr>
            <a:spLocks noGrp="1"/>
          </p:cNvSpPr>
          <p:nvPr>
            <p:ph type="title"/>
          </p:nvPr>
        </p:nvSpPr>
        <p:spPr/>
        <p:txBody>
          <a:bodyPr/>
          <a:lstStyle/>
          <a:p>
            <a:r>
              <a:rPr lang="en-US"/>
              <a:t>Click to edit Master title style</a:t>
            </a:r>
          </a:p>
        </p:txBody>
      </p:sp>
      <p:sp>
        <p:nvSpPr>
          <p:cNvPr id="3" name="Content Placeholder 2"/>
          <p:cNvSpPr>
            <a:spLocks noGrp="1"/>
          </p:cNvSpPr>
          <p:nvPr>
            <p:ph sz="quarter" idx="15" hasCustomPrompt="1"/>
          </p:nvPr>
        </p:nvSpPr>
        <p:spPr>
          <a:xfrm>
            <a:off x="345018" y="1763713"/>
            <a:ext cx="11510432" cy="4294187"/>
          </a:xfrm>
        </p:spPr>
        <p:txBody>
          <a:bodyPr/>
          <a:lstStyle>
            <a:lvl1pPr>
              <a:defRPr sz="1800" baseline="0"/>
            </a:lvl1pPr>
          </a:lstStyle>
          <a:p>
            <a:pPr lvl="0"/>
            <a:r>
              <a:rPr lang="en-US" dirty="0"/>
              <a:t>Content: chart, graph, picture.</a:t>
            </a:r>
          </a:p>
        </p:txBody>
      </p:sp>
    </p:spTree>
    <p:extLst>
      <p:ext uri="{BB962C8B-B14F-4D97-AF65-F5344CB8AC3E}">
        <p14:creationId xmlns:p14="http://schemas.microsoft.com/office/powerpoint/2010/main" val="27164633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defRPr b="0"/>
            </a:lvl1pPr>
          </a:lstStyle>
          <a:p>
            <a:fld id="{B2DCE237-B187-49D9-B1C4-0C8AA0CDE574}" type="slidenum">
              <a:rPr lang="en-GB" smtClean="0"/>
              <a:t>‹#›</a:t>
            </a:fld>
            <a:endParaRPr lang="en-GB"/>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075862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defRPr b="0"/>
            </a:lvl1pPr>
          </a:lstStyle>
          <a:p>
            <a:fld id="{B2DCE237-B187-49D9-B1C4-0C8AA0CDE574}" type="slidenum">
              <a:rPr lang="en-GB" smtClean="0"/>
              <a:t>‹#›</a:t>
            </a:fld>
            <a:endParaRPr lang="en-GB"/>
          </a:p>
        </p:txBody>
      </p:sp>
    </p:spTree>
    <p:extLst>
      <p:ext uri="{BB962C8B-B14F-4D97-AF65-F5344CB8AC3E}">
        <p14:creationId xmlns:p14="http://schemas.microsoft.com/office/powerpoint/2010/main" val="352442153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ivider">
    <p:bg>
      <p:bgPr>
        <a:gradFill>
          <a:gsLst>
            <a:gs pos="0">
              <a:schemeClr val="accent3"/>
            </a:gs>
            <a:gs pos="100000">
              <a:schemeClr val="accent5"/>
            </a:gs>
          </a:gsLst>
          <a:lin ang="1200000" scaled="0"/>
        </a:gra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334963" y="2730724"/>
            <a:ext cx="8561387" cy="1213672"/>
          </a:xfrm>
        </p:spPr>
        <p:txBody>
          <a:bodyPr anchor="ctr"/>
          <a:lstStyle>
            <a:lvl1pPr>
              <a:lnSpc>
                <a:spcPct val="80000"/>
              </a:lnSpc>
              <a:defRPr sz="5867" cap="all" baseline="0">
                <a:solidFill>
                  <a:schemeClr val="bg1"/>
                </a:solidFill>
              </a:defRPr>
            </a:lvl1pPr>
          </a:lstStyle>
          <a:p>
            <a:r>
              <a:rPr lang="en-US" dirty="0"/>
              <a:t>divider</a:t>
            </a:r>
          </a:p>
        </p:txBody>
      </p:sp>
      <p:pic>
        <p:nvPicPr>
          <p:cNvPr id="31" name="Accenture_Technology_WHITE" hidden="1"/>
          <p:cNvPicPr>
            <a:picLocks noChangeAspect="1"/>
          </p:cNvPicPr>
          <p:nvPr/>
        </p:nvPicPr>
        <p:blipFill>
          <a:blip r:embed="rId2"/>
          <a:stretch>
            <a:fillRect/>
          </a:stretch>
        </p:blipFill>
        <p:spPr>
          <a:xfrm>
            <a:off x="338798" y="6246366"/>
            <a:ext cx="2023200" cy="324696"/>
          </a:xfrm>
          <a:prstGeom prst="rect">
            <a:avLst/>
          </a:prstGeom>
        </p:spPr>
      </p:pic>
      <p:pic>
        <p:nvPicPr>
          <p:cNvPr id="18" name="Accenture_Strategy_WHITEOUT" hidden="1"/>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345018" y="6243522"/>
            <a:ext cx="1728810" cy="328803"/>
          </a:xfrm>
          <a:prstGeom prst="rect">
            <a:avLst/>
          </a:prstGeom>
        </p:spPr>
      </p:pic>
      <p:pic>
        <p:nvPicPr>
          <p:cNvPr id="5" name="Accenture_Strategy_WHITE" hidden="1"/>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345018" y="6243676"/>
            <a:ext cx="1728000" cy="328649"/>
          </a:xfrm>
          <a:prstGeom prst="rect">
            <a:avLst/>
          </a:prstGeom>
        </p:spPr>
      </p:pic>
      <p:pic>
        <p:nvPicPr>
          <p:cNvPr id="34" name="Accenture_Operations_WHITEOUT" hidden="1"/>
          <p:cNvPicPr>
            <a:picLocks noChangeAspect="1"/>
          </p:cNvPicPr>
          <p:nvPr/>
        </p:nvPicPr>
        <p:blipFill>
          <a:blip r:embed="rId5">
            <a:extLst/>
          </a:blip>
          <a:stretch>
            <a:fillRect/>
          </a:stretch>
        </p:blipFill>
        <p:spPr>
          <a:xfrm>
            <a:off x="346538" y="6249458"/>
            <a:ext cx="1972800" cy="326942"/>
          </a:xfrm>
          <a:prstGeom prst="rect">
            <a:avLst/>
          </a:prstGeom>
        </p:spPr>
      </p:pic>
      <p:pic>
        <p:nvPicPr>
          <p:cNvPr id="33" name="Accenture_Operations_WHITE" hidden="1"/>
          <p:cNvPicPr>
            <a:picLocks noChangeAspect="1"/>
          </p:cNvPicPr>
          <p:nvPr/>
        </p:nvPicPr>
        <p:blipFill>
          <a:blip r:embed="rId6"/>
          <a:stretch>
            <a:fillRect/>
          </a:stretch>
        </p:blipFill>
        <p:spPr>
          <a:xfrm>
            <a:off x="346538" y="6249458"/>
            <a:ext cx="1972800" cy="326942"/>
          </a:xfrm>
          <a:prstGeom prst="rect">
            <a:avLst/>
          </a:prstGeom>
        </p:spPr>
      </p:pic>
      <p:pic>
        <p:nvPicPr>
          <p:cNvPr id="35" name="Accenture_Mobility_WHITEOUT" hidden="1"/>
          <p:cNvPicPr>
            <a:picLocks noChangeAspect="1"/>
          </p:cNvPicPr>
          <p:nvPr/>
        </p:nvPicPr>
        <p:blipFill>
          <a:blip r:embed="rId7">
            <a:extLst/>
          </a:blip>
          <a:stretch>
            <a:fillRect/>
          </a:stretch>
        </p:blipFill>
        <p:spPr>
          <a:xfrm>
            <a:off x="334963" y="6341042"/>
            <a:ext cx="2044800" cy="362152"/>
          </a:xfrm>
          <a:prstGeom prst="rect">
            <a:avLst/>
          </a:prstGeom>
        </p:spPr>
      </p:pic>
      <p:pic>
        <p:nvPicPr>
          <p:cNvPr id="19" name="Accenture_Mobility_WHITE" hidden="1"/>
          <p:cNvPicPr>
            <a:picLocks noChangeAspect="1"/>
          </p:cNvPicPr>
          <p:nvPr/>
        </p:nvPicPr>
        <p:blipFill>
          <a:blip r:embed="rId8"/>
          <a:stretch>
            <a:fillRect/>
          </a:stretch>
        </p:blipFill>
        <p:spPr>
          <a:xfrm>
            <a:off x="334963" y="6341042"/>
            <a:ext cx="2044800" cy="362152"/>
          </a:xfrm>
          <a:prstGeom prst="rect">
            <a:avLst/>
          </a:prstGeom>
        </p:spPr>
      </p:pic>
      <p:pic>
        <p:nvPicPr>
          <p:cNvPr id="36" name="Accenture_Interactive_WHITEOUT" hidden="1"/>
          <p:cNvPicPr>
            <a:picLocks noChangeAspect="1"/>
          </p:cNvPicPr>
          <p:nvPr/>
        </p:nvPicPr>
        <p:blipFill>
          <a:blip r:embed="rId9">
            <a:extLst/>
          </a:blip>
          <a:stretch>
            <a:fillRect/>
          </a:stretch>
        </p:blipFill>
        <p:spPr>
          <a:xfrm>
            <a:off x="338798" y="6341000"/>
            <a:ext cx="2041200" cy="360863"/>
          </a:xfrm>
          <a:prstGeom prst="rect">
            <a:avLst/>
          </a:prstGeom>
        </p:spPr>
      </p:pic>
      <p:pic>
        <p:nvPicPr>
          <p:cNvPr id="26" name="Accenture_Interactive_WHITE" hidden="1"/>
          <p:cNvPicPr>
            <a:picLocks noChangeAspect="1"/>
          </p:cNvPicPr>
          <p:nvPr/>
        </p:nvPicPr>
        <p:blipFill>
          <a:blip r:embed="rId10"/>
          <a:stretch>
            <a:fillRect/>
          </a:stretch>
        </p:blipFill>
        <p:spPr>
          <a:xfrm>
            <a:off x="338798" y="6341000"/>
            <a:ext cx="2041200" cy="360863"/>
          </a:xfrm>
          <a:prstGeom prst="rect">
            <a:avLst/>
          </a:prstGeom>
        </p:spPr>
      </p:pic>
      <p:pic>
        <p:nvPicPr>
          <p:cNvPr id="38" name="Accenture_Analytics_WHITEOUT" hidden="1"/>
          <p:cNvPicPr>
            <a:picLocks noChangeAspect="1"/>
          </p:cNvPicPr>
          <p:nvPr/>
        </p:nvPicPr>
        <p:blipFill>
          <a:blip r:embed="rId11">
            <a:extLst/>
          </a:blip>
          <a:stretch>
            <a:fillRect/>
          </a:stretch>
        </p:blipFill>
        <p:spPr>
          <a:xfrm>
            <a:off x="338798" y="6338829"/>
            <a:ext cx="2023200" cy="362168"/>
          </a:xfrm>
          <a:prstGeom prst="rect">
            <a:avLst/>
          </a:prstGeom>
        </p:spPr>
      </p:pic>
      <p:pic>
        <p:nvPicPr>
          <p:cNvPr id="37" name="Accenture_Analytics_WHITE" hidden="1"/>
          <p:cNvPicPr>
            <a:picLocks noChangeAspect="1"/>
          </p:cNvPicPr>
          <p:nvPr/>
        </p:nvPicPr>
        <p:blipFill>
          <a:blip r:embed="rId12"/>
          <a:stretch>
            <a:fillRect/>
          </a:stretch>
        </p:blipFill>
        <p:spPr>
          <a:xfrm>
            <a:off x="338798" y="6338829"/>
            <a:ext cx="2023200" cy="362168"/>
          </a:xfrm>
          <a:prstGeom prst="rect">
            <a:avLst/>
          </a:prstGeom>
        </p:spPr>
      </p:pic>
      <p:pic>
        <p:nvPicPr>
          <p:cNvPr id="16" name="Accenture_Digital_WHITEOUT" hidden="1"/>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336280" y="6246019"/>
            <a:ext cx="1545637" cy="331832"/>
          </a:xfrm>
          <a:prstGeom prst="rect">
            <a:avLst/>
          </a:prstGeom>
        </p:spPr>
      </p:pic>
      <p:pic>
        <p:nvPicPr>
          <p:cNvPr id="8" name="Accenture_Digital_WHITE" hidden="1"/>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336280" y="6246285"/>
            <a:ext cx="1544400" cy="331566"/>
          </a:xfrm>
          <a:prstGeom prst="rect">
            <a:avLst/>
          </a:prstGeom>
        </p:spPr>
      </p:pic>
      <p:pic>
        <p:nvPicPr>
          <p:cNvPr id="15" name="Accenture_Consulting_WHITEOUT" hidden="1"/>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338799" y="6244783"/>
            <a:ext cx="1942440" cy="330692"/>
          </a:xfrm>
          <a:prstGeom prst="rect">
            <a:avLst/>
          </a:prstGeom>
        </p:spPr>
      </p:pic>
      <p:pic>
        <p:nvPicPr>
          <p:cNvPr id="4" name="Accenture_Consulting_WHITE" hidden="1"/>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337239" y="6244518"/>
            <a:ext cx="1944000" cy="330957"/>
          </a:xfrm>
          <a:prstGeom prst="rect">
            <a:avLst/>
          </a:prstGeom>
        </p:spPr>
      </p:pic>
      <p:grpSp>
        <p:nvGrpSpPr>
          <p:cNvPr id="23" name="Accenture_Master" hidden="1"/>
          <p:cNvGrpSpPr/>
          <p:nvPr/>
        </p:nvGrpSpPr>
        <p:grpSpPr>
          <a:xfrm>
            <a:off x="345019" y="6246662"/>
            <a:ext cx="957526" cy="277705"/>
            <a:chOff x="457202" y="420673"/>
            <a:chExt cx="2182661" cy="633434"/>
          </a:xfrm>
        </p:grpSpPr>
        <p:sp>
          <p:nvSpPr>
            <p:cNvPr id="24" name="Freeform 6"/>
            <p:cNvSpPr>
              <a:spLocks noEditPoints="1"/>
            </p:cNvSpPr>
            <p:nvPr/>
          </p:nvSpPr>
          <p:spPr bwMode="auto">
            <a:xfrm>
              <a:off x="457202" y="668790"/>
              <a:ext cx="2182661" cy="385317"/>
            </a:xfrm>
            <a:custGeom>
              <a:avLst/>
              <a:gdLst>
                <a:gd name="T0" fmla="*/ 35 w 765"/>
                <a:gd name="T1" fmla="*/ 118 h 135"/>
                <a:gd name="T2" fmla="*/ 56 w 765"/>
                <a:gd name="T3" fmla="*/ 88 h 135"/>
                <a:gd name="T4" fmla="*/ 78 w 765"/>
                <a:gd name="T5" fmla="*/ 62 h 135"/>
                <a:gd name="T6" fmla="*/ 4 w 765"/>
                <a:gd name="T7" fmla="*/ 62 h 135"/>
                <a:gd name="T8" fmla="*/ 42 w 765"/>
                <a:gd name="T9" fmla="*/ 47 h 135"/>
                <a:gd name="T10" fmla="*/ 56 w 765"/>
                <a:gd name="T11" fmla="*/ 75 h 135"/>
                <a:gd name="T12" fmla="*/ 30 w 765"/>
                <a:gd name="T13" fmla="*/ 135 h 135"/>
                <a:gd name="T14" fmla="*/ 56 w 765"/>
                <a:gd name="T15" fmla="*/ 121 h 135"/>
                <a:gd name="T16" fmla="*/ 78 w 765"/>
                <a:gd name="T17" fmla="*/ 132 h 135"/>
                <a:gd name="T18" fmla="*/ 132 w 765"/>
                <a:gd name="T19" fmla="*/ 47 h 135"/>
                <a:gd name="T20" fmla="*/ 154 w 765"/>
                <a:gd name="T21" fmla="*/ 118 h 135"/>
                <a:gd name="T22" fmla="*/ 171 w 765"/>
                <a:gd name="T23" fmla="*/ 130 h 135"/>
                <a:gd name="T24" fmla="*/ 88 w 765"/>
                <a:gd name="T25" fmla="*/ 78 h 135"/>
                <a:gd name="T26" fmla="*/ 172 w 765"/>
                <a:gd name="T27" fmla="*/ 67 h 135"/>
                <a:gd name="T28" fmla="*/ 236 w 765"/>
                <a:gd name="T29" fmla="*/ 67 h 135"/>
                <a:gd name="T30" fmla="*/ 202 w 765"/>
                <a:gd name="T31" fmla="*/ 74 h 135"/>
                <a:gd name="T32" fmla="*/ 260 w 765"/>
                <a:gd name="T33" fmla="*/ 116 h 135"/>
                <a:gd name="T34" fmla="*/ 231 w 765"/>
                <a:gd name="T35" fmla="*/ 135 h 135"/>
                <a:gd name="T36" fmla="*/ 223 w 765"/>
                <a:gd name="T37" fmla="*/ 31 h 135"/>
                <a:gd name="T38" fmla="*/ 236 w 765"/>
                <a:gd name="T39" fmla="*/ 67 h 135"/>
                <a:gd name="T40" fmla="*/ 291 w 765"/>
                <a:gd name="T41" fmla="*/ 63 h 135"/>
                <a:gd name="T42" fmla="*/ 327 w 765"/>
                <a:gd name="T43" fmla="*/ 63 h 135"/>
                <a:gd name="T44" fmla="*/ 349 w 765"/>
                <a:gd name="T45" fmla="*/ 71 h 135"/>
                <a:gd name="T46" fmla="*/ 269 w 765"/>
                <a:gd name="T47" fmla="*/ 77 h 135"/>
                <a:gd name="T48" fmla="*/ 347 w 765"/>
                <a:gd name="T49" fmla="*/ 131 h 135"/>
                <a:gd name="T50" fmla="*/ 328 w 765"/>
                <a:gd name="T51" fmla="*/ 118 h 135"/>
                <a:gd name="T52" fmla="*/ 349 w 765"/>
                <a:gd name="T53" fmla="*/ 77 h 135"/>
                <a:gd name="T54" fmla="*/ 418 w 765"/>
                <a:gd name="T55" fmla="*/ 76 h 135"/>
                <a:gd name="T56" fmla="*/ 408 w 765"/>
                <a:gd name="T57" fmla="*/ 52 h 135"/>
                <a:gd name="T58" fmla="*/ 384 w 765"/>
                <a:gd name="T59" fmla="*/ 132 h 135"/>
                <a:gd name="T60" fmla="*/ 361 w 765"/>
                <a:gd name="T61" fmla="*/ 33 h 135"/>
                <a:gd name="T62" fmla="*/ 384 w 765"/>
                <a:gd name="T63" fmla="*/ 51 h 135"/>
                <a:gd name="T64" fmla="*/ 414 w 765"/>
                <a:gd name="T65" fmla="*/ 31 h 135"/>
                <a:gd name="T66" fmla="*/ 441 w 765"/>
                <a:gd name="T67" fmla="*/ 132 h 135"/>
                <a:gd name="T68" fmla="*/ 489 w 765"/>
                <a:gd name="T69" fmla="*/ 49 h 135"/>
                <a:gd name="T70" fmla="*/ 505 w 765"/>
                <a:gd name="T71" fmla="*/ 118 h 135"/>
                <a:gd name="T72" fmla="*/ 516 w 765"/>
                <a:gd name="T73" fmla="*/ 133 h 135"/>
                <a:gd name="T74" fmla="*/ 466 w 765"/>
                <a:gd name="T75" fmla="*/ 107 h 135"/>
                <a:gd name="T76" fmla="*/ 447 w 765"/>
                <a:gd name="T77" fmla="*/ 49 h 135"/>
                <a:gd name="T78" fmla="*/ 466 w 765"/>
                <a:gd name="T79" fmla="*/ 33 h 135"/>
                <a:gd name="T80" fmla="*/ 489 w 765"/>
                <a:gd name="T81" fmla="*/ 0 h 135"/>
                <a:gd name="T82" fmla="*/ 519 w 765"/>
                <a:gd name="T83" fmla="*/ 33 h 135"/>
                <a:gd name="T84" fmla="*/ 489 w 765"/>
                <a:gd name="T85" fmla="*/ 49 h 135"/>
                <a:gd name="T86" fmla="*/ 586 w 765"/>
                <a:gd name="T87" fmla="*/ 114 h 135"/>
                <a:gd name="T88" fmla="*/ 556 w 765"/>
                <a:gd name="T89" fmla="*/ 135 h 135"/>
                <a:gd name="T90" fmla="*/ 529 w 765"/>
                <a:gd name="T91" fmla="*/ 33 h 135"/>
                <a:gd name="T92" fmla="*/ 552 w 765"/>
                <a:gd name="T93" fmla="*/ 90 h 135"/>
                <a:gd name="T94" fmla="*/ 563 w 765"/>
                <a:gd name="T95" fmla="*/ 113 h 135"/>
                <a:gd name="T96" fmla="*/ 586 w 765"/>
                <a:gd name="T97" fmla="*/ 33 h 135"/>
                <a:gd name="T98" fmla="*/ 609 w 765"/>
                <a:gd name="T99" fmla="*/ 132 h 135"/>
                <a:gd name="T100" fmla="*/ 647 w 765"/>
                <a:gd name="T101" fmla="*/ 89 h 135"/>
                <a:gd name="T102" fmla="*/ 624 w 765"/>
                <a:gd name="T103" fmla="*/ 132 h 135"/>
                <a:gd name="T104" fmla="*/ 647 w 765"/>
                <a:gd name="T105" fmla="*/ 33 h 135"/>
                <a:gd name="T106" fmla="*/ 648 w 765"/>
                <a:gd name="T107" fmla="*/ 51 h 135"/>
                <a:gd name="T108" fmla="*/ 680 w 765"/>
                <a:gd name="T109" fmla="*/ 55 h 135"/>
                <a:gd name="T110" fmla="*/ 743 w 765"/>
                <a:gd name="T111" fmla="*/ 63 h 135"/>
                <a:gd name="T112" fmla="*/ 726 w 765"/>
                <a:gd name="T113" fmla="*/ 45 h 135"/>
                <a:gd name="T114" fmla="*/ 765 w 765"/>
                <a:gd name="T115" fmla="*/ 77 h 135"/>
                <a:gd name="T116" fmla="*/ 727 w 765"/>
                <a:gd name="T117" fmla="*/ 31 h 135"/>
                <a:gd name="T118" fmla="*/ 735 w 765"/>
                <a:gd name="T119" fmla="*/ 135 h 135"/>
                <a:gd name="T120" fmla="*/ 763 w 765"/>
                <a:gd name="T121" fmla="*/ 115 h 135"/>
                <a:gd name="T122" fmla="*/ 706 w 765"/>
                <a:gd name="T123" fmla="*/ 7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5" h="135">
                  <a:moveTo>
                    <a:pt x="56" y="88"/>
                  </a:moveTo>
                  <a:cubicBezTo>
                    <a:pt x="56" y="101"/>
                    <a:pt x="51" y="118"/>
                    <a:pt x="35" y="118"/>
                  </a:cubicBezTo>
                  <a:cubicBezTo>
                    <a:pt x="28" y="118"/>
                    <a:pt x="23" y="114"/>
                    <a:pt x="23" y="106"/>
                  </a:cubicBezTo>
                  <a:cubicBezTo>
                    <a:pt x="23" y="91"/>
                    <a:pt x="45" y="88"/>
                    <a:pt x="56" y="88"/>
                  </a:cubicBezTo>
                  <a:close/>
                  <a:moveTo>
                    <a:pt x="78" y="132"/>
                  </a:moveTo>
                  <a:cubicBezTo>
                    <a:pt x="78" y="62"/>
                    <a:pt x="78" y="62"/>
                    <a:pt x="78" y="62"/>
                  </a:cubicBezTo>
                  <a:cubicBezTo>
                    <a:pt x="78" y="38"/>
                    <a:pt x="63" y="31"/>
                    <a:pt x="42" y="31"/>
                  </a:cubicBezTo>
                  <a:cubicBezTo>
                    <a:pt x="21" y="31"/>
                    <a:pt x="4" y="39"/>
                    <a:pt x="4" y="62"/>
                  </a:cubicBezTo>
                  <a:cubicBezTo>
                    <a:pt x="27" y="62"/>
                    <a:pt x="27" y="62"/>
                    <a:pt x="27" y="62"/>
                  </a:cubicBezTo>
                  <a:cubicBezTo>
                    <a:pt x="27" y="52"/>
                    <a:pt x="32" y="47"/>
                    <a:pt x="42" y="47"/>
                  </a:cubicBezTo>
                  <a:cubicBezTo>
                    <a:pt x="53" y="47"/>
                    <a:pt x="56" y="55"/>
                    <a:pt x="56" y="65"/>
                  </a:cubicBezTo>
                  <a:cubicBezTo>
                    <a:pt x="56" y="75"/>
                    <a:pt x="56" y="75"/>
                    <a:pt x="56" y="75"/>
                  </a:cubicBezTo>
                  <a:cubicBezTo>
                    <a:pt x="33" y="76"/>
                    <a:pt x="0" y="79"/>
                    <a:pt x="0" y="109"/>
                  </a:cubicBezTo>
                  <a:cubicBezTo>
                    <a:pt x="0" y="125"/>
                    <a:pt x="14" y="135"/>
                    <a:pt x="30" y="135"/>
                  </a:cubicBezTo>
                  <a:cubicBezTo>
                    <a:pt x="41" y="135"/>
                    <a:pt x="51" y="131"/>
                    <a:pt x="56" y="121"/>
                  </a:cubicBezTo>
                  <a:cubicBezTo>
                    <a:pt x="56" y="121"/>
                    <a:pt x="56" y="121"/>
                    <a:pt x="56" y="121"/>
                  </a:cubicBezTo>
                  <a:cubicBezTo>
                    <a:pt x="56" y="132"/>
                    <a:pt x="56" y="132"/>
                    <a:pt x="56" y="132"/>
                  </a:cubicBezTo>
                  <a:lnTo>
                    <a:pt x="78" y="132"/>
                  </a:lnTo>
                  <a:close/>
                  <a:moveTo>
                    <a:pt x="147" y="67"/>
                  </a:moveTo>
                  <a:cubicBezTo>
                    <a:pt x="147" y="57"/>
                    <a:pt x="144" y="47"/>
                    <a:pt x="132" y="47"/>
                  </a:cubicBezTo>
                  <a:cubicBezTo>
                    <a:pt x="117" y="47"/>
                    <a:pt x="113" y="62"/>
                    <a:pt x="113" y="74"/>
                  </a:cubicBezTo>
                  <a:cubicBezTo>
                    <a:pt x="113" y="99"/>
                    <a:pt x="128" y="118"/>
                    <a:pt x="154" y="118"/>
                  </a:cubicBezTo>
                  <a:cubicBezTo>
                    <a:pt x="160" y="118"/>
                    <a:pt x="165" y="118"/>
                    <a:pt x="171" y="116"/>
                  </a:cubicBezTo>
                  <a:cubicBezTo>
                    <a:pt x="171" y="130"/>
                    <a:pt x="171" y="130"/>
                    <a:pt x="171" y="130"/>
                  </a:cubicBezTo>
                  <a:cubicBezTo>
                    <a:pt x="161" y="133"/>
                    <a:pt x="151" y="135"/>
                    <a:pt x="142" y="135"/>
                  </a:cubicBezTo>
                  <a:cubicBezTo>
                    <a:pt x="106" y="135"/>
                    <a:pt x="88" y="113"/>
                    <a:pt x="88" y="78"/>
                  </a:cubicBezTo>
                  <a:cubicBezTo>
                    <a:pt x="88" y="49"/>
                    <a:pt x="104" y="31"/>
                    <a:pt x="134" y="31"/>
                  </a:cubicBezTo>
                  <a:cubicBezTo>
                    <a:pt x="158" y="31"/>
                    <a:pt x="172" y="42"/>
                    <a:pt x="172" y="67"/>
                  </a:cubicBezTo>
                  <a:lnTo>
                    <a:pt x="147" y="67"/>
                  </a:lnTo>
                  <a:close/>
                  <a:moveTo>
                    <a:pt x="236" y="67"/>
                  </a:moveTo>
                  <a:cubicBezTo>
                    <a:pt x="236" y="57"/>
                    <a:pt x="233" y="47"/>
                    <a:pt x="221" y="47"/>
                  </a:cubicBezTo>
                  <a:cubicBezTo>
                    <a:pt x="206" y="47"/>
                    <a:pt x="202" y="62"/>
                    <a:pt x="202" y="74"/>
                  </a:cubicBezTo>
                  <a:cubicBezTo>
                    <a:pt x="202" y="99"/>
                    <a:pt x="217" y="118"/>
                    <a:pt x="243" y="118"/>
                  </a:cubicBezTo>
                  <a:cubicBezTo>
                    <a:pt x="249" y="118"/>
                    <a:pt x="254" y="118"/>
                    <a:pt x="260" y="116"/>
                  </a:cubicBezTo>
                  <a:cubicBezTo>
                    <a:pt x="260" y="130"/>
                    <a:pt x="260" y="130"/>
                    <a:pt x="260" y="130"/>
                  </a:cubicBezTo>
                  <a:cubicBezTo>
                    <a:pt x="250" y="133"/>
                    <a:pt x="241" y="135"/>
                    <a:pt x="231" y="135"/>
                  </a:cubicBezTo>
                  <a:cubicBezTo>
                    <a:pt x="195" y="135"/>
                    <a:pt x="177" y="113"/>
                    <a:pt x="177" y="78"/>
                  </a:cubicBezTo>
                  <a:cubicBezTo>
                    <a:pt x="177" y="49"/>
                    <a:pt x="193" y="31"/>
                    <a:pt x="223" y="31"/>
                  </a:cubicBezTo>
                  <a:cubicBezTo>
                    <a:pt x="247" y="31"/>
                    <a:pt x="261" y="42"/>
                    <a:pt x="261" y="67"/>
                  </a:cubicBezTo>
                  <a:lnTo>
                    <a:pt x="236" y="67"/>
                  </a:lnTo>
                  <a:close/>
                  <a:moveTo>
                    <a:pt x="327" y="63"/>
                  </a:moveTo>
                  <a:cubicBezTo>
                    <a:pt x="291" y="63"/>
                    <a:pt x="291" y="63"/>
                    <a:pt x="291" y="63"/>
                  </a:cubicBezTo>
                  <a:cubicBezTo>
                    <a:pt x="292" y="53"/>
                    <a:pt x="300" y="45"/>
                    <a:pt x="310" y="45"/>
                  </a:cubicBezTo>
                  <a:cubicBezTo>
                    <a:pt x="320" y="45"/>
                    <a:pt x="327" y="52"/>
                    <a:pt x="327" y="63"/>
                  </a:cubicBezTo>
                  <a:close/>
                  <a:moveTo>
                    <a:pt x="349" y="77"/>
                  </a:moveTo>
                  <a:cubicBezTo>
                    <a:pt x="349" y="71"/>
                    <a:pt x="349" y="71"/>
                    <a:pt x="349" y="71"/>
                  </a:cubicBezTo>
                  <a:cubicBezTo>
                    <a:pt x="349" y="47"/>
                    <a:pt x="337" y="31"/>
                    <a:pt x="311" y="31"/>
                  </a:cubicBezTo>
                  <a:cubicBezTo>
                    <a:pt x="282" y="31"/>
                    <a:pt x="269" y="49"/>
                    <a:pt x="269" y="77"/>
                  </a:cubicBezTo>
                  <a:cubicBezTo>
                    <a:pt x="269" y="110"/>
                    <a:pt x="283" y="135"/>
                    <a:pt x="319" y="135"/>
                  </a:cubicBezTo>
                  <a:cubicBezTo>
                    <a:pt x="328" y="135"/>
                    <a:pt x="338" y="134"/>
                    <a:pt x="347" y="131"/>
                  </a:cubicBezTo>
                  <a:cubicBezTo>
                    <a:pt x="347" y="115"/>
                    <a:pt x="347" y="115"/>
                    <a:pt x="347" y="115"/>
                  </a:cubicBezTo>
                  <a:cubicBezTo>
                    <a:pt x="341" y="117"/>
                    <a:pt x="334" y="118"/>
                    <a:pt x="328" y="118"/>
                  </a:cubicBezTo>
                  <a:cubicBezTo>
                    <a:pt x="305" y="118"/>
                    <a:pt x="290" y="98"/>
                    <a:pt x="290" y="77"/>
                  </a:cubicBezTo>
                  <a:lnTo>
                    <a:pt x="349" y="77"/>
                  </a:lnTo>
                  <a:close/>
                  <a:moveTo>
                    <a:pt x="418" y="132"/>
                  </a:moveTo>
                  <a:cubicBezTo>
                    <a:pt x="418" y="76"/>
                    <a:pt x="418" y="76"/>
                    <a:pt x="418" y="76"/>
                  </a:cubicBezTo>
                  <a:cubicBezTo>
                    <a:pt x="418" y="71"/>
                    <a:pt x="418" y="58"/>
                    <a:pt x="414" y="54"/>
                  </a:cubicBezTo>
                  <a:cubicBezTo>
                    <a:pt x="413" y="53"/>
                    <a:pt x="410" y="52"/>
                    <a:pt x="408" y="52"/>
                  </a:cubicBezTo>
                  <a:cubicBezTo>
                    <a:pt x="391" y="52"/>
                    <a:pt x="384" y="76"/>
                    <a:pt x="384" y="89"/>
                  </a:cubicBezTo>
                  <a:cubicBezTo>
                    <a:pt x="384" y="132"/>
                    <a:pt x="384" y="132"/>
                    <a:pt x="384" y="132"/>
                  </a:cubicBezTo>
                  <a:cubicBezTo>
                    <a:pt x="361" y="132"/>
                    <a:pt x="361" y="132"/>
                    <a:pt x="361" y="132"/>
                  </a:cubicBezTo>
                  <a:cubicBezTo>
                    <a:pt x="361" y="33"/>
                    <a:pt x="361" y="33"/>
                    <a:pt x="361" y="33"/>
                  </a:cubicBezTo>
                  <a:cubicBezTo>
                    <a:pt x="384" y="33"/>
                    <a:pt x="384" y="33"/>
                    <a:pt x="384" y="33"/>
                  </a:cubicBezTo>
                  <a:cubicBezTo>
                    <a:pt x="384" y="51"/>
                    <a:pt x="384" y="51"/>
                    <a:pt x="384" y="51"/>
                  </a:cubicBezTo>
                  <a:cubicBezTo>
                    <a:pt x="385" y="51"/>
                    <a:pt x="385" y="51"/>
                    <a:pt x="385" y="51"/>
                  </a:cubicBezTo>
                  <a:cubicBezTo>
                    <a:pt x="390" y="39"/>
                    <a:pt x="400" y="31"/>
                    <a:pt x="414" y="31"/>
                  </a:cubicBezTo>
                  <a:cubicBezTo>
                    <a:pt x="433" y="31"/>
                    <a:pt x="441" y="46"/>
                    <a:pt x="441" y="63"/>
                  </a:cubicBezTo>
                  <a:cubicBezTo>
                    <a:pt x="441" y="132"/>
                    <a:pt x="441" y="132"/>
                    <a:pt x="441" y="132"/>
                  </a:cubicBezTo>
                  <a:lnTo>
                    <a:pt x="418" y="132"/>
                  </a:lnTo>
                  <a:close/>
                  <a:moveTo>
                    <a:pt x="489" y="49"/>
                  </a:moveTo>
                  <a:cubicBezTo>
                    <a:pt x="489" y="96"/>
                    <a:pt x="489" y="96"/>
                    <a:pt x="489" y="96"/>
                  </a:cubicBezTo>
                  <a:cubicBezTo>
                    <a:pt x="489" y="108"/>
                    <a:pt x="491" y="118"/>
                    <a:pt x="505" y="118"/>
                  </a:cubicBezTo>
                  <a:cubicBezTo>
                    <a:pt x="509" y="118"/>
                    <a:pt x="512" y="118"/>
                    <a:pt x="516" y="117"/>
                  </a:cubicBezTo>
                  <a:cubicBezTo>
                    <a:pt x="516" y="133"/>
                    <a:pt x="516" y="133"/>
                    <a:pt x="516" y="133"/>
                  </a:cubicBezTo>
                  <a:cubicBezTo>
                    <a:pt x="510" y="134"/>
                    <a:pt x="503" y="135"/>
                    <a:pt x="497" y="135"/>
                  </a:cubicBezTo>
                  <a:cubicBezTo>
                    <a:pt x="477" y="135"/>
                    <a:pt x="466" y="128"/>
                    <a:pt x="466" y="107"/>
                  </a:cubicBezTo>
                  <a:cubicBezTo>
                    <a:pt x="466" y="49"/>
                    <a:pt x="466" y="49"/>
                    <a:pt x="466" y="49"/>
                  </a:cubicBezTo>
                  <a:cubicBezTo>
                    <a:pt x="447" y="49"/>
                    <a:pt x="447" y="49"/>
                    <a:pt x="447" y="49"/>
                  </a:cubicBezTo>
                  <a:cubicBezTo>
                    <a:pt x="447" y="33"/>
                    <a:pt x="447" y="33"/>
                    <a:pt x="447" y="33"/>
                  </a:cubicBezTo>
                  <a:cubicBezTo>
                    <a:pt x="466" y="33"/>
                    <a:pt x="466" y="33"/>
                    <a:pt x="466" y="33"/>
                  </a:cubicBezTo>
                  <a:cubicBezTo>
                    <a:pt x="466" y="9"/>
                    <a:pt x="466" y="9"/>
                    <a:pt x="466" y="9"/>
                  </a:cubicBezTo>
                  <a:cubicBezTo>
                    <a:pt x="489" y="0"/>
                    <a:pt x="489" y="0"/>
                    <a:pt x="489" y="0"/>
                  </a:cubicBezTo>
                  <a:cubicBezTo>
                    <a:pt x="489" y="33"/>
                    <a:pt x="489" y="33"/>
                    <a:pt x="489" y="33"/>
                  </a:cubicBezTo>
                  <a:cubicBezTo>
                    <a:pt x="519" y="33"/>
                    <a:pt x="519" y="33"/>
                    <a:pt x="519" y="33"/>
                  </a:cubicBezTo>
                  <a:cubicBezTo>
                    <a:pt x="519" y="49"/>
                    <a:pt x="519" y="49"/>
                    <a:pt x="519" y="49"/>
                  </a:cubicBezTo>
                  <a:lnTo>
                    <a:pt x="489" y="49"/>
                  </a:lnTo>
                  <a:close/>
                  <a:moveTo>
                    <a:pt x="586" y="132"/>
                  </a:moveTo>
                  <a:cubicBezTo>
                    <a:pt x="586" y="114"/>
                    <a:pt x="586" y="114"/>
                    <a:pt x="586" y="114"/>
                  </a:cubicBezTo>
                  <a:cubicBezTo>
                    <a:pt x="586" y="114"/>
                    <a:pt x="586" y="114"/>
                    <a:pt x="586" y="114"/>
                  </a:cubicBezTo>
                  <a:cubicBezTo>
                    <a:pt x="580" y="126"/>
                    <a:pt x="570" y="135"/>
                    <a:pt x="556" y="135"/>
                  </a:cubicBezTo>
                  <a:cubicBezTo>
                    <a:pt x="537" y="135"/>
                    <a:pt x="529" y="119"/>
                    <a:pt x="529" y="102"/>
                  </a:cubicBezTo>
                  <a:cubicBezTo>
                    <a:pt x="529" y="33"/>
                    <a:pt x="529" y="33"/>
                    <a:pt x="529" y="33"/>
                  </a:cubicBezTo>
                  <a:cubicBezTo>
                    <a:pt x="552" y="33"/>
                    <a:pt x="552" y="33"/>
                    <a:pt x="552" y="33"/>
                  </a:cubicBezTo>
                  <a:cubicBezTo>
                    <a:pt x="552" y="90"/>
                    <a:pt x="552" y="90"/>
                    <a:pt x="552" y="90"/>
                  </a:cubicBezTo>
                  <a:cubicBezTo>
                    <a:pt x="552" y="95"/>
                    <a:pt x="552" y="107"/>
                    <a:pt x="556" y="111"/>
                  </a:cubicBezTo>
                  <a:cubicBezTo>
                    <a:pt x="558" y="113"/>
                    <a:pt x="560" y="113"/>
                    <a:pt x="563" y="113"/>
                  </a:cubicBezTo>
                  <a:cubicBezTo>
                    <a:pt x="579" y="113"/>
                    <a:pt x="586" y="89"/>
                    <a:pt x="586" y="76"/>
                  </a:cubicBezTo>
                  <a:cubicBezTo>
                    <a:pt x="586" y="33"/>
                    <a:pt x="586" y="33"/>
                    <a:pt x="586" y="33"/>
                  </a:cubicBezTo>
                  <a:cubicBezTo>
                    <a:pt x="609" y="33"/>
                    <a:pt x="609" y="33"/>
                    <a:pt x="609" y="33"/>
                  </a:cubicBezTo>
                  <a:cubicBezTo>
                    <a:pt x="609" y="132"/>
                    <a:pt x="609" y="132"/>
                    <a:pt x="609" y="132"/>
                  </a:cubicBezTo>
                  <a:lnTo>
                    <a:pt x="586" y="132"/>
                  </a:lnTo>
                  <a:close/>
                  <a:moveTo>
                    <a:pt x="647" y="89"/>
                  </a:moveTo>
                  <a:cubicBezTo>
                    <a:pt x="647" y="132"/>
                    <a:pt x="647" y="132"/>
                    <a:pt x="647" y="132"/>
                  </a:cubicBezTo>
                  <a:cubicBezTo>
                    <a:pt x="624" y="132"/>
                    <a:pt x="624" y="132"/>
                    <a:pt x="624" y="132"/>
                  </a:cubicBezTo>
                  <a:cubicBezTo>
                    <a:pt x="624" y="33"/>
                    <a:pt x="624" y="33"/>
                    <a:pt x="624" y="33"/>
                  </a:cubicBezTo>
                  <a:cubicBezTo>
                    <a:pt x="647" y="33"/>
                    <a:pt x="647" y="33"/>
                    <a:pt x="647" y="33"/>
                  </a:cubicBezTo>
                  <a:cubicBezTo>
                    <a:pt x="647" y="51"/>
                    <a:pt x="647" y="51"/>
                    <a:pt x="647" y="51"/>
                  </a:cubicBezTo>
                  <a:cubicBezTo>
                    <a:pt x="648" y="51"/>
                    <a:pt x="648" y="51"/>
                    <a:pt x="648" y="51"/>
                  </a:cubicBezTo>
                  <a:cubicBezTo>
                    <a:pt x="655" y="37"/>
                    <a:pt x="663" y="31"/>
                    <a:pt x="680" y="31"/>
                  </a:cubicBezTo>
                  <a:cubicBezTo>
                    <a:pt x="680" y="55"/>
                    <a:pt x="680" y="55"/>
                    <a:pt x="680" y="55"/>
                  </a:cubicBezTo>
                  <a:cubicBezTo>
                    <a:pt x="656" y="55"/>
                    <a:pt x="647" y="65"/>
                    <a:pt x="647" y="89"/>
                  </a:cubicBezTo>
                  <a:close/>
                  <a:moveTo>
                    <a:pt x="743" y="63"/>
                  </a:moveTo>
                  <a:cubicBezTo>
                    <a:pt x="707" y="63"/>
                    <a:pt x="707" y="63"/>
                    <a:pt x="707" y="63"/>
                  </a:cubicBezTo>
                  <a:cubicBezTo>
                    <a:pt x="708" y="53"/>
                    <a:pt x="715" y="45"/>
                    <a:pt x="726" y="45"/>
                  </a:cubicBezTo>
                  <a:cubicBezTo>
                    <a:pt x="736" y="45"/>
                    <a:pt x="743" y="52"/>
                    <a:pt x="743" y="63"/>
                  </a:cubicBezTo>
                  <a:close/>
                  <a:moveTo>
                    <a:pt x="765" y="77"/>
                  </a:moveTo>
                  <a:cubicBezTo>
                    <a:pt x="765" y="71"/>
                    <a:pt x="765" y="71"/>
                    <a:pt x="765" y="71"/>
                  </a:cubicBezTo>
                  <a:cubicBezTo>
                    <a:pt x="765" y="47"/>
                    <a:pt x="753" y="31"/>
                    <a:pt x="727" y="31"/>
                  </a:cubicBezTo>
                  <a:cubicBezTo>
                    <a:pt x="698" y="31"/>
                    <a:pt x="685" y="49"/>
                    <a:pt x="685" y="77"/>
                  </a:cubicBezTo>
                  <a:cubicBezTo>
                    <a:pt x="685" y="110"/>
                    <a:pt x="699" y="135"/>
                    <a:pt x="735" y="135"/>
                  </a:cubicBezTo>
                  <a:cubicBezTo>
                    <a:pt x="744" y="135"/>
                    <a:pt x="754" y="134"/>
                    <a:pt x="763" y="131"/>
                  </a:cubicBezTo>
                  <a:cubicBezTo>
                    <a:pt x="763" y="115"/>
                    <a:pt x="763" y="115"/>
                    <a:pt x="763" y="115"/>
                  </a:cubicBezTo>
                  <a:cubicBezTo>
                    <a:pt x="757" y="117"/>
                    <a:pt x="750" y="118"/>
                    <a:pt x="744" y="118"/>
                  </a:cubicBezTo>
                  <a:cubicBezTo>
                    <a:pt x="721" y="118"/>
                    <a:pt x="706" y="98"/>
                    <a:pt x="706" y="77"/>
                  </a:cubicBezTo>
                  <a:lnTo>
                    <a:pt x="765" y="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25" name="Freeform 24"/>
            <p:cNvSpPr/>
            <p:nvPr/>
          </p:nvSpPr>
          <p:spPr>
            <a:xfrm>
              <a:off x="1739049" y="420673"/>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Graphik" panose="020B0503030202060203" pitchFamily="34" charset="0"/>
              </a:endParaRPr>
            </a:p>
          </p:txBody>
        </p:sp>
      </p:grpSp>
      <p:grpSp>
        <p:nvGrpSpPr>
          <p:cNvPr id="20" name="Group 10" hidden="1"/>
          <p:cNvGrpSpPr>
            <a:grpSpLocks noChangeAspect="1"/>
          </p:cNvGrpSpPr>
          <p:nvPr/>
        </p:nvGrpSpPr>
        <p:grpSpPr bwMode="auto">
          <a:xfrm>
            <a:off x="336907" y="342900"/>
            <a:ext cx="2298344" cy="2346169"/>
            <a:chOff x="1292" y="-440"/>
            <a:chExt cx="5094" cy="5200"/>
          </a:xfrm>
        </p:grpSpPr>
        <p:sp>
          <p:nvSpPr>
            <p:cNvPr id="21" name="Freeform 11"/>
            <p:cNvSpPr>
              <a:spLocks/>
            </p:cNvSpPr>
            <p:nvPr/>
          </p:nvSpPr>
          <p:spPr bwMode="auto">
            <a:xfrm>
              <a:off x="1292" y="-440"/>
              <a:ext cx="5094" cy="3130"/>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gradFill flip="none" rotWithShape="1">
              <a:gsLst>
                <a:gs pos="0">
                  <a:schemeClr val="accent1"/>
                </a:gs>
                <a:gs pos="100000">
                  <a:schemeClr val="accent2"/>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sp>
          <p:nvSpPr>
            <p:cNvPr id="22" name="Freeform 12"/>
            <p:cNvSpPr>
              <a:spLocks/>
            </p:cNvSpPr>
            <p:nvPr/>
          </p:nvSpPr>
          <p:spPr bwMode="auto">
            <a:xfrm>
              <a:off x="1292" y="1644"/>
              <a:ext cx="5094" cy="3116"/>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chemeClr val="accent2"/>
                </a:gs>
                <a:gs pos="100000">
                  <a:schemeClr val="accent1"/>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grpSp>
    </p:spTree>
    <p:extLst>
      <p:ext uri="{BB962C8B-B14F-4D97-AF65-F5344CB8AC3E}">
        <p14:creationId xmlns:p14="http://schemas.microsoft.com/office/powerpoint/2010/main" val="3486890463"/>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B2DCE237-B187-49D9-B1C4-0C8AA0CDE574}" type="slidenum">
              <a:rPr lang="en-GB" smtClean="0"/>
              <a:t>‹#›</a:t>
            </a:fld>
            <a:endParaRPr lang="en-GB"/>
          </a:p>
        </p:txBody>
      </p:sp>
      <p:pic>
        <p:nvPicPr>
          <p:cNvPr id="5" name="Picture 4"/>
          <p:cNvPicPr>
            <a:picLocks noChangeAspect="1"/>
          </p:cNvPicPr>
          <p:nvPr/>
        </p:nvPicPr>
        <p:blipFill rotWithShape="1">
          <a:blip r:embed="rId2" cstate="hqprint">
            <a:extLst>
              <a:ext uri="{28A0092B-C50C-407E-A947-70E740481C1C}">
                <a14:useLocalDpi xmlns:a14="http://schemas.microsoft.com/office/drawing/2010/main"/>
              </a:ext>
            </a:extLst>
          </a:blip>
          <a:srcRect l="-2"/>
          <a:stretch/>
        </p:blipFill>
        <p:spPr>
          <a:xfrm>
            <a:off x="-168620" y="1"/>
            <a:ext cx="12055819" cy="6857143"/>
          </a:xfrm>
          <a:prstGeom prst="rect">
            <a:avLst/>
          </a:prstGeom>
        </p:spPr>
      </p:pic>
    </p:spTree>
    <p:extLst>
      <p:ext uri="{BB962C8B-B14F-4D97-AF65-F5344CB8AC3E}">
        <p14:creationId xmlns:p14="http://schemas.microsoft.com/office/powerpoint/2010/main" val="16425528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DD37F-3F6E-470A-A384-AC3344C4C86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00D2E0C7-6706-46D8-AEDB-744748F8C4A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A1F5ECF0-D42A-4FFB-AB95-C8342F03A1F1}"/>
              </a:ext>
            </a:extLst>
          </p:cNvPr>
          <p:cNvSpPr>
            <a:spLocks noGrp="1"/>
          </p:cNvSpPr>
          <p:nvPr>
            <p:ph type="dt" sz="half" idx="10"/>
          </p:nvPr>
        </p:nvSpPr>
        <p:spPr/>
        <p:txBody>
          <a:bodyPr/>
          <a:lstStyle/>
          <a:p>
            <a:fld id="{58A9AD06-EB04-40D2-9EFF-00449A73BF5C}" type="datetimeFigureOut">
              <a:rPr lang="en-GB" smtClean="0"/>
              <a:t>01/05/2018</a:t>
            </a:fld>
            <a:endParaRPr lang="en-GB"/>
          </a:p>
        </p:txBody>
      </p:sp>
      <p:sp>
        <p:nvSpPr>
          <p:cNvPr id="5" name="Footer Placeholder 4">
            <a:extLst>
              <a:ext uri="{FF2B5EF4-FFF2-40B4-BE49-F238E27FC236}">
                <a16:creationId xmlns:a16="http://schemas.microsoft.com/office/drawing/2014/main" id="{0D3C4E98-45D2-46C0-B03A-55BE9E83661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AF12A14-801B-41C8-91DB-81EB7A40079C}"/>
              </a:ext>
            </a:extLst>
          </p:cNvPr>
          <p:cNvSpPr>
            <a:spLocks noGrp="1"/>
          </p:cNvSpPr>
          <p:nvPr>
            <p:ph type="sldNum" sz="quarter" idx="12"/>
          </p:nvPr>
        </p:nvSpPr>
        <p:spPr/>
        <p:txBody>
          <a:bodyPr/>
          <a:lstStyle/>
          <a:p>
            <a:fld id="{B2DCE237-B187-49D9-B1C4-0C8AA0CDE574}" type="slidenum">
              <a:rPr lang="en-GB" smtClean="0"/>
              <a:t>‹#›</a:t>
            </a:fld>
            <a:endParaRPr lang="en-GB"/>
          </a:p>
        </p:txBody>
      </p:sp>
    </p:spTree>
    <p:extLst>
      <p:ext uri="{BB962C8B-B14F-4D97-AF65-F5344CB8AC3E}">
        <p14:creationId xmlns:p14="http://schemas.microsoft.com/office/powerpoint/2010/main" val="332446416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Long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20"/>
          </p:nvPr>
        </p:nvSpPr>
        <p:spPr/>
        <p:txBody>
          <a:bodyPr/>
          <a:lstStyle/>
          <a:p>
            <a:r>
              <a:rPr lang="en-US"/>
              <a:t>Copyright © 2017 Accenture. All rights reserved.</a:t>
            </a:r>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54254959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Long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a:t>Copyright © 2017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181559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Ligh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 y="495302"/>
            <a:ext cx="8953500" cy="6172199"/>
          </a:xfrm>
        </p:spPr>
        <p:txBody>
          <a:bodyPr>
            <a:noAutofit/>
          </a:bodyPr>
          <a:lstStyle>
            <a:lvl1pPr marL="0" indent="0">
              <a:lnSpc>
                <a:spcPct val="65000"/>
              </a:lnSpc>
              <a:defRPr sz="12000" b="1" spc="-200" baseline="0">
                <a:latin typeface="+mj-lt"/>
              </a:defRPr>
            </a:lvl1pPr>
            <a:lvl2pPr marL="55561" indent="0">
              <a:lnSpc>
                <a:spcPct val="65000"/>
              </a:lnSpc>
              <a:spcAft>
                <a:spcPts val="0"/>
              </a:spcAft>
              <a:defRPr sz="6000" b="1" cap="all" spc="-150" baseline="0">
                <a:latin typeface="+mj-lt"/>
              </a:defRPr>
            </a:lvl2pPr>
            <a:lvl3pPr marL="55561" indent="0">
              <a:lnSpc>
                <a:spcPct val="70000"/>
              </a:lnSpc>
              <a:spcAft>
                <a:spcPts val="0"/>
              </a:spcAft>
              <a:defRPr sz="4000" b="1" cap="all" baseline="0">
                <a:latin typeface="+mj-lt"/>
              </a:defRPr>
            </a:lvl3pPr>
            <a:lvl4pPr marL="55561" indent="0">
              <a:lnSpc>
                <a:spcPct val="80000"/>
              </a:lnSpc>
              <a:buNone/>
              <a:defRPr sz="3000" b="1" cap="all" baseline="0">
                <a:latin typeface="+mj-lt"/>
              </a:defRPr>
            </a:lvl4pPr>
            <a:lvl5pPr marL="55561" indent="0">
              <a:lnSpc>
                <a:spcPct val="80000"/>
              </a:lnSpc>
              <a:buNone/>
              <a:defRPr sz="2000" b="1" cap="all" baseline="0">
                <a:latin typeface="+mj-lt"/>
              </a:defRPr>
            </a:lvl5pPr>
          </a:lstStyle>
          <a:p>
            <a:pPr lvl="0"/>
            <a:r>
              <a:rPr lang="en-US" dirty="0" err="1"/>
              <a:t>fIrst</a:t>
            </a:r>
            <a:r>
              <a:rPr lang="en-US" dirty="0"/>
              <a: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4348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4D81FA-4D2B-40F0-B82C-83B9F52B3A52}"/>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A96B975B-EAA3-4404-889E-C003F492F361}"/>
              </a:ext>
            </a:extLst>
          </p:cNvPr>
          <p:cNvSpPr>
            <a:spLocks noGrp="1"/>
          </p:cNvSpPr>
          <p:nvPr>
            <p:ph type="dt" sz="half" idx="10"/>
          </p:nvPr>
        </p:nvSpPr>
        <p:spPr/>
        <p:txBody>
          <a:bodyPr/>
          <a:lstStyle/>
          <a:p>
            <a:fld id="{58A9AD06-EB04-40D2-9EFF-00449A73BF5C}" type="datetimeFigureOut">
              <a:rPr lang="en-GB" smtClean="0"/>
              <a:t>01/05/2018</a:t>
            </a:fld>
            <a:endParaRPr lang="en-GB"/>
          </a:p>
        </p:txBody>
      </p:sp>
      <p:sp>
        <p:nvSpPr>
          <p:cNvPr id="4" name="Footer Placeholder 3">
            <a:extLst>
              <a:ext uri="{FF2B5EF4-FFF2-40B4-BE49-F238E27FC236}">
                <a16:creationId xmlns:a16="http://schemas.microsoft.com/office/drawing/2014/main" id="{D6E624F8-D1B1-4DB3-BCA3-0EEBDA9D732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070C1866-1D29-4E2C-B0D8-FBE91E3A7B8F}"/>
              </a:ext>
            </a:extLst>
          </p:cNvPr>
          <p:cNvSpPr>
            <a:spLocks noGrp="1"/>
          </p:cNvSpPr>
          <p:nvPr>
            <p:ph type="sldNum" sz="quarter" idx="12"/>
          </p:nvPr>
        </p:nvSpPr>
        <p:spPr/>
        <p:txBody>
          <a:bodyPr/>
          <a:lstStyle/>
          <a:p>
            <a:fld id="{B2DCE237-B187-49D9-B1C4-0C8AA0CDE574}" type="slidenum">
              <a:rPr lang="en-GB" smtClean="0"/>
              <a:t>‹#›</a:t>
            </a:fld>
            <a:endParaRPr lang="en-GB"/>
          </a:p>
        </p:txBody>
      </p:sp>
    </p:spTree>
    <p:extLst>
      <p:ext uri="{BB962C8B-B14F-4D97-AF65-F5344CB8AC3E}">
        <p14:creationId xmlns:p14="http://schemas.microsoft.com/office/powerpoint/2010/main" val="229224491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Dark">
    <p:bg>
      <p:bgPr>
        <a:gradFill>
          <a:gsLst>
            <a:gs pos="7000">
              <a:schemeClr val="accent1"/>
            </a:gs>
            <a:gs pos="100000">
              <a:srgbClr val="000088"/>
            </a:gs>
          </a:gsLst>
          <a:lin ang="1800000" scaled="0"/>
        </a:gra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 y="495302"/>
            <a:ext cx="8953500" cy="6172199"/>
          </a:xfrm>
        </p:spPr>
        <p:txBody>
          <a:bodyPr>
            <a:noAutofit/>
          </a:bodyPr>
          <a:lstStyle>
            <a:lvl1pPr marL="0" indent="0">
              <a:lnSpc>
                <a:spcPct val="65000"/>
              </a:lnSpc>
              <a:defRPr sz="12000" b="1" spc="-200" baseline="0">
                <a:solidFill>
                  <a:schemeClr val="bg1"/>
                </a:solidFill>
                <a:latin typeface="+mn-lt"/>
              </a:defRPr>
            </a:lvl1pPr>
            <a:lvl2pPr marL="55561" indent="0">
              <a:lnSpc>
                <a:spcPct val="65000"/>
              </a:lnSpc>
              <a:spcAft>
                <a:spcPts val="0"/>
              </a:spcAft>
              <a:defRPr sz="6000" b="1" cap="all" spc="-150" baseline="0">
                <a:solidFill>
                  <a:schemeClr val="bg1"/>
                </a:solidFill>
                <a:latin typeface="+mn-lt"/>
              </a:defRPr>
            </a:lvl2pPr>
            <a:lvl3pPr marL="55561" indent="0">
              <a:lnSpc>
                <a:spcPct val="70000"/>
              </a:lnSpc>
              <a:spcAft>
                <a:spcPts val="0"/>
              </a:spcAft>
              <a:defRPr sz="4000" b="1" cap="all" baseline="0">
                <a:solidFill>
                  <a:schemeClr val="bg1"/>
                </a:solidFill>
                <a:latin typeface="+mn-lt"/>
              </a:defRPr>
            </a:lvl3pPr>
            <a:lvl4pPr marL="55561" indent="0">
              <a:lnSpc>
                <a:spcPct val="80000"/>
              </a:lnSpc>
              <a:buNone/>
              <a:defRPr sz="3000" b="1" cap="all" baseline="0">
                <a:solidFill>
                  <a:schemeClr val="bg1"/>
                </a:solidFill>
                <a:latin typeface="+mn-lt"/>
              </a:defRPr>
            </a:lvl4pPr>
            <a:lvl5pPr marL="55561" indent="0">
              <a:lnSpc>
                <a:spcPct val="80000"/>
              </a:lnSpc>
              <a:buNone/>
              <a:defRPr sz="2000" b="1" cap="all" baseline="0">
                <a:solidFill>
                  <a:schemeClr val="bg1"/>
                </a:solidFill>
                <a:latin typeface="+mn-lt"/>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err="1"/>
              <a:t>fIrst</a:t>
            </a:r>
            <a:r>
              <a:rPr lang="en-US" dirty="0"/>
              <a: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321416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_Blank with footers">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302173" y="1878723"/>
            <a:ext cx="11430000" cy="990601"/>
          </a:xfrm>
          <a:prstGeom prst="rect">
            <a:avLst/>
          </a:prstGeom>
        </p:spPr>
        <p:txBody>
          <a:bodyPr>
            <a:noAutofit/>
          </a:bodyPr>
          <a:lstStyle>
            <a:lvl1pPr algn="l">
              <a:defRPr sz="8000">
                <a:solidFill>
                  <a:schemeClr val="bg1"/>
                </a:solidFill>
              </a:defRPr>
            </a:lvl1pPr>
          </a:lstStyle>
          <a:p>
            <a:r>
              <a:rPr lang="en-US"/>
              <a:t>DIVIDER</a:t>
            </a:r>
            <a:br>
              <a:rPr lang="en-US"/>
            </a:br>
            <a:r>
              <a:rPr lang="en-US"/>
              <a:t>SLIDE</a:t>
            </a:r>
          </a:p>
        </p:txBody>
      </p:sp>
      <p:sp>
        <p:nvSpPr>
          <p:cNvPr id="8" name="Footer Placeholder 7">
            <a:extLst>
              <a:ext uri="{FF2B5EF4-FFF2-40B4-BE49-F238E27FC236}">
                <a16:creationId xmlns:a16="http://schemas.microsoft.com/office/drawing/2014/main" id="{7FCEF728-B643-4057-8964-61DD5D8B2036}"/>
              </a:ext>
            </a:extLst>
          </p:cNvPr>
          <p:cNvSpPr>
            <a:spLocks noGrp="1"/>
          </p:cNvSpPr>
          <p:nvPr>
            <p:ph type="ftr" sz="quarter" idx="10"/>
          </p:nvPr>
        </p:nvSpPr>
        <p:spPr/>
        <p:txBody>
          <a:bodyPr/>
          <a:lstStyle>
            <a:lvl1pPr>
              <a:defRPr>
                <a:solidFill>
                  <a:schemeClr val="bg1"/>
                </a:solidFill>
              </a:defRPr>
            </a:lvl1pPr>
          </a:lstStyle>
          <a:p>
            <a:pPr algn="l" defTabSz="609585">
              <a:defRPr/>
            </a:pPr>
            <a:r>
              <a:rPr lang="de-DE">
                <a:solidFill>
                  <a:prstClr val="white"/>
                </a:solidFill>
                <a:latin typeface="Graphik" charset="0"/>
                <a:ea typeface="Graphik" charset="0"/>
                <a:cs typeface="Graphik" charset="0"/>
              </a:rPr>
              <a:t>© </a:t>
            </a:r>
            <a:r>
              <a:rPr lang="en-US">
                <a:solidFill>
                  <a:prstClr val="white"/>
                </a:solidFill>
                <a:latin typeface="Graphik" charset="0"/>
                <a:ea typeface="Graphik" charset="0"/>
                <a:cs typeface="Graphik" charset="0"/>
              </a:rPr>
              <a:t>2018 Accenture. All Rights Reserved. Accenture Proprietary and Confidential.</a:t>
            </a:r>
            <a:endParaRPr lang="en-US" dirty="0">
              <a:solidFill>
                <a:prstClr val="white"/>
              </a:solidFill>
              <a:latin typeface="Graphik" charset="0"/>
              <a:ea typeface="Graphik" charset="0"/>
              <a:cs typeface="Graphik" charset="0"/>
            </a:endParaRPr>
          </a:p>
        </p:txBody>
      </p:sp>
      <p:sp>
        <p:nvSpPr>
          <p:cNvPr id="9" name="Slide Number Placeholder 8">
            <a:extLst>
              <a:ext uri="{FF2B5EF4-FFF2-40B4-BE49-F238E27FC236}">
                <a16:creationId xmlns:a16="http://schemas.microsoft.com/office/drawing/2014/main" id="{1D3B339B-A1B9-4666-A01F-0EE3BBCC8C7C}"/>
              </a:ext>
            </a:extLst>
          </p:cNvPr>
          <p:cNvSpPr>
            <a:spLocks noGrp="1"/>
          </p:cNvSpPr>
          <p:nvPr>
            <p:ph type="sldNum" sz="quarter" idx="11"/>
          </p:nvPr>
        </p:nvSpPr>
        <p:spPr>
          <a:xfrm>
            <a:off x="11401364" y="6356350"/>
            <a:ext cx="328582" cy="365125"/>
          </a:xfrm>
          <a:prstGeom prst="rect">
            <a:avLst/>
          </a:prstGeom>
        </p:spPr>
        <p:txBody>
          <a:bodyPr/>
          <a:lstStyle>
            <a:lvl1pPr>
              <a:defRPr>
                <a:solidFill>
                  <a:schemeClr val="bg1"/>
                </a:solidFill>
              </a:defRPr>
            </a:lvl1pPr>
          </a:lstStyle>
          <a:p>
            <a:fld id="{016D4E88-544D-6F43-B31E-B443864F0B0F}"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2104245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D30BA8B8-4846-40EE-8A9D-7D12A5E683E1}"/>
              </a:ext>
            </a:extLst>
          </p:cNvPr>
          <p:cNvSpPr>
            <a:spLocks noGrp="1"/>
          </p:cNvSpPr>
          <p:nvPr>
            <p:ph type="ftr" sz="quarter" idx="10"/>
          </p:nvPr>
        </p:nvSpPr>
        <p:spPr/>
        <p:txBody>
          <a:bodyPr/>
          <a:lstStyle/>
          <a:p>
            <a:pPr algn="l" defTabSz="609585">
              <a:defRPr/>
            </a:pPr>
            <a:r>
              <a:rPr lang="de-DE" dirty="0">
                <a:solidFill>
                  <a:sysClr val="windowText" lastClr="000000"/>
                </a:solidFill>
                <a:latin typeface="Graphik" charset="0"/>
                <a:ea typeface="Graphik" charset="0"/>
                <a:cs typeface="Graphik" charset="0"/>
              </a:rPr>
              <a:t>© </a:t>
            </a:r>
            <a:r>
              <a:rPr lang="en-US" dirty="0">
                <a:solidFill>
                  <a:sysClr val="windowText" lastClr="000000"/>
                </a:solidFill>
                <a:latin typeface="Graphik" charset="0"/>
                <a:ea typeface="Graphik" charset="0"/>
                <a:cs typeface="Graphik" charset="0"/>
              </a:rPr>
              <a:t>2018 Accenture. All Rights Reserved. Accenture Proprietary and Confidential.</a:t>
            </a:r>
          </a:p>
        </p:txBody>
      </p:sp>
      <p:sp>
        <p:nvSpPr>
          <p:cNvPr id="8" name="Slide Number Placeholder 7">
            <a:extLst>
              <a:ext uri="{FF2B5EF4-FFF2-40B4-BE49-F238E27FC236}">
                <a16:creationId xmlns:a16="http://schemas.microsoft.com/office/drawing/2014/main" id="{41E5B9FE-C169-45CF-9C56-DD36257097A4}"/>
              </a:ext>
            </a:extLst>
          </p:cNvPr>
          <p:cNvSpPr>
            <a:spLocks noGrp="1"/>
          </p:cNvSpPr>
          <p:nvPr>
            <p:ph type="sldNum" sz="quarter" idx="11"/>
          </p:nvPr>
        </p:nvSpPr>
        <p:spPr>
          <a:xfrm>
            <a:off x="11401364" y="6356350"/>
            <a:ext cx="328582" cy="365125"/>
          </a:xfrm>
          <a:prstGeom prst="rect">
            <a:avLst/>
          </a:prstGeom>
        </p:spPr>
        <p:txBody>
          <a:bodyPr/>
          <a:lstStyle/>
          <a:p>
            <a:fld id="{016D4E88-544D-6F43-B31E-B443864F0B0F}" type="slidenum">
              <a:rPr lang="en-US" smtClean="0">
                <a:solidFill>
                  <a:prstClr val="black"/>
                </a:solidFill>
              </a:rPr>
              <a:pPr/>
              <a:t>‹#›</a:t>
            </a:fld>
            <a:endParaRPr lang="en-US" dirty="0">
              <a:solidFill>
                <a:prstClr val="black"/>
              </a:solidFill>
            </a:endParaRPr>
          </a:p>
        </p:txBody>
      </p:sp>
      <p:sp>
        <p:nvSpPr>
          <p:cNvPr id="9" name="Title 8">
            <a:extLst>
              <a:ext uri="{FF2B5EF4-FFF2-40B4-BE49-F238E27FC236}">
                <a16:creationId xmlns:a16="http://schemas.microsoft.com/office/drawing/2014/main" id="{85195033-5B2E-4B7B-912B-F3DDD1E6270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097342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cSld name="Footers Only: Ligh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Copyright © 2017 Accenture. All rights reserved.</a:t>
            </a:r>
          </a:p>
        </p:txBody>
      </p:sp>
      <p:sp>
        <p:nvSpPr>
          <p:cNvPr id="7" name="Slide Number Placeholder 6"/>
          <p:cNvSpPr>
            <a:spLocks noGrp="1"/>
          </p:cNvSpPr>
          <p:nvPr>
            <p:ph type="sldNum" sz="quarter" idx="12"/>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323740616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DD37F-3F6E-470A-A384-AC3344C4C86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00D2E0C7-6706-46D8-AEDB-744748F8C4A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A1F5ECF0-D42A-4FFB-AB95-C8342F03A1F1}"/>
              </a:ext>
            </a:extLst>
          </p:cNvPr>
          <p:cNvSpPr>
            <a:spLocks noGrp="1"/>
          </p:cNvSpPr>
          <p:nvPr>
            <p:ph type="dt" sz="half" idx="10"/>
          </p:nvPr>
        </p:nvSpPr>
        <p:spPr/>
        <p:txBody>
          <a:bodyPr/>
          <a:lstStyle/>
          <a:p>
            <a:fld id="{58A9AD06-EB04-40D2-9EFF-00449A73BF5C}" type="datetimeFigureOut">
              <a:rPr lang="en-GB" smtClean="0"/>
              <a:t>01/05/2018</a:t>
            </a:fld>
            <a:endParaRPr lang="en-GB"/>
          </a:p>
        </p:txBody>
      </p:sp>
      <p:sp>
        <p:nvSpPr>
          <p:cNvPr id="5" name="Footer Placeholder 4">
            <a:extLst>
              <a:ext uri="{FF2B5EF4-FFF2-40B4-BE49-F238E27FC236}">
                <a16:creationId xmlns:a16="http://schemas.microsoft.com/office/drawing/2014/main" id="{0D3C4E98-45D2-46C0-B03A-55BE9E83661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AF12A14-801B-41C8-91DB-81EB7A40079C}"/>
              </a:ext>
            </a:extLst>
          </p:cNvPr>
          <p:cNvSpPr>
            <a:spLocks noGrp="1"/>
          </p:cNvSpPr>
          <p:nvPr>
            <p:ph type="sldNum" sz="quarter" idx="12"/>
          </p:nvPr>
        </p:nvSpPr>
        <p:spPr/>
        <p:txBody>
          <a:bodyPr/>
          <a:lstStyle/>
          <a:p>
            <a:fld id="{B2DCE237-B187-49D9-B1C4-0C8AA0CDE574}" type="slidenum">
              <a:rPr lang="en-GB" smtClean="0"/>
              <a:t>‹#›</a:t>
            </a:fld>
            <a:endParaRPr lang="en-GB"/>
          </a:p>
        </p:txBody>
      </p:sp>
    </p:spTree>
    <p:extLst>
      <p:ext uri="{BB962C8B-B14F-4D97-AF65-F5344CB8AC3E}">
        <p14:creationId xmlns:p14="http://schemas.microsoft.com/office/powerpoint/2010/main" val="421618994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Long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a:t>Copyright © 2017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69952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AE07DC8-E5E0-4A19-99FA-5AE3EE128BA9}"/>
              </a:ext>
            </a:extLst>
          </p:cNvPr>
          <p:cNvSpPr>
            <a:spLocks noGrp="1"/>
          </p:cNvSpPr>
          <p:nvPr>
            <p:ph type="dt" sz="half" idx="10"/>
          </p:nvPr>
        </p:nvSpPr>
        <p:spPr/>
        <p:txBody>
          <a:bodyPr/>
          <a:lstStyle/>
          <a:p>
            <a:fld id="{58A9AD06-EB04-40D2-9EFF-00449A73BF5C}" type="datetimeFigureOut">
              <a:rPr lang="en-GB" smtClean="0"/>
              <a:t>01/05/2018</a:t>
            </a:fld>
            <a:endParaRPr lang="en-GB"/>
          </a:p>
        </p:txBody>
      </p:sp>
      <p:sp>
        <p:nvSpPr>
          <p:cNvPr id="3" name="Footer Placeholder 2">
            <a:extLst>
              <a:ext uri="{FF2B5EF4-FFF2-40B4-BE49-F238E27FC236}">
                <a16:creationId xmlns:a16="http://schemas.microsoft.com/office/drawing/2014/main" id="{B4C050FC-A970-457D-A1B1-B0E753B2C2CF}"/>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1B59B37-765F-490B-A35A-817C57078114}"/>
              </a:ext>
            </a:extLst>
          </p:cNvPr>
          <p:cNvSpPr>
            <a:spLocks noGrp="1"/>
          </p:cNvSpPr>
          <p:nvPr>
            <p:ph type="sldNum" sz="quarter" idx="12"/>
          </p:nvPr>
        </p:nvSpPr>
        <p:spPr/>
        <p:txBody>
          <a:bodyPr/>
          <a:lstStyle/>
          <a:p>
            <a:fld id="{B2DCE237-B187-49D9-B1C4-0C8AA0CDE574}" type="slidenum">
              <a:rPr lang="en-GB" smtClean="0"/>
              <a:t>‹#›</a:t>
            </a:fld>
            <a:endParaRPr lang="en-GB"/>
          </a:p>
        </p:txBody>
      </p:sp>
    </p:spTree>
    <p:extLst>
      <p:ext uri="{BB962C8B-B14F-4D97-AF65-F5344CB8AC3E}">
        <p14:creationId xmlns:p14="http://schemas.microsoft.com/office/powerpoint/2010/main" val="8855569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1BDF2-6B8E-4E4C-A1C3-91B7ECEEC85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4DFF399B-F386-4FD3-889D-7A3B5285467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DD091041-071F-401A-80B2-FA8F4AE6CB3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D729A77-4024-4CF2-B24C-B6FE1F56D913}"/>
              </a:ext>
            </a:extLst>
          </p:cNvPr>
          <p:cNvSpPr>
            <a:spLocks noGrp="1"/>
          </p:cNvSpPr>
          <p:nvPr>
            <p:ph type="dt" sz="half" idx="10"/>
          </p:nvPr>
        </p:nvSpPr>
        <p:spPr/>
        <p:txBody>
          <a:bodyPr/>
          <a:lstStyle/>
          <a:p>
            <a:fld id="{58A9AD06-EB04-40D2-9EFF-00449A73BF5C}" type="datetimeFigureOut">
              <a:rPr lang="en-GB" smtClean="0"/>
              <a:t>01/05/2018</a:t>
            </a:fld>
            <a:endParaRPr lang="en-GB"/>
          </a:p>
        </p:txBody>
      </p:sp>
      <p:sp>
        <p:nvSpPr>
          <p:cNvPr id="6" name="Footer Placeholder 5">
            <a:extLst>
              <a:ext uri="{FF2B5EF4-FFF2-40B4-BE49-F238E27FC236}">
                <a16:creationId xmlns:a16="http://schemas.microsoft.com/office/drawing/2014/main" id="{CF32C34D-6AB6-4982-A324-A0E7A288643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943B8F7-4B46-4BF1-9797-7C865F8102B6}"/>
              </a:ext>
            </a:extLst>
          </p:cNvPr>
          <p:cNvSpPr>
            <a:spLocks noGrp="1"/>
          </p:cNvSpPr>
          <p:nvPr>
            <p:ph type="sldNum" sz="quarter" idx="12"/>
          </p:nvPr>
        </p:nvSpPr>
        <p:spPr/>
        <p:txBody>
          <a:bodyPr/>
          <a:lstStyle/>
          <a:p>
            <a:fld id="{B2DCE237-B187-49D9-B1C4-0C8AA0CDE574}" type="slidenum">
              <a:rPr lang="en-GB" smtClean="0"/>
              <a:t>‹#›</a:t>
            </a:fld>
            <a:endParaRPr lang="en-GB"/>
          </a:p>
        </p:txBody>
      </p:sp>
    </p:spTree>
    <p:extLst>
      <p:ext uri="{BB962C8B-B14F-4D97-AF65-F5344CB8AC3E}">
        <p14:creationId xmlns:p14="http://schemas.microsoft.com/office/powerpoint/2010/main" val="17462676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87CDE-2D0B-4540-976B-FFA07E4BE24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6FDBC4F-0BFA-4344-A480-887D06ACEC4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6AA4967F-9634-406F-B9C6-24C5C40BA74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43E88F4-0BCD-44B4-8457-62A3CC776EA4}"/>
              </a:ext>
            </a:extLst>
          </p:cNvPr>
          <p:cNvSpPr>
            <a:spLocks noGrp="1"/>
          </p:cNvSpPr>
          <p:nvPr>
            <p:ph type="dt" sz="half" idx="10"/>
          </p:nvPr>
        </p:nvSpPr>
        <p:spPr/>
        <p:txBody>
          <a:bodyPr/>
          <a:lstStyle/>
          <a:p>
            <a:fld id="{58A9AD06-EB04-40D2-9EFF-00449A73BF5C}" type="datetimeFigureOut">
              <a:rPr lang="en-GB" smtClean="0"/>
              <a:t>01/05/2018</a:t>
            </a:fld>
            <a:endParaRPr lang="en-GB"/>
          </a:p>
        </p:txBody>
      </p:sp>
      <p:sp>
        <p:nvSpPr>
          <p:cNvPr id="6" name="Footer Placeholder 5">
            <a:extLst>
              <a:ext uri="{FF2B5EF4-FFF2-40B4-BE49-F238E27FC236}">
                <a16:creationId xmlns:a16="http://schemas.microsoft.com/office/drawing/2014/main" id="{0533DE74-F80B-46E7-BF08-8AAF2C50004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217B31D-D3C1-4292-95AA-89C695BEB51B}"/>
              </a:ext>
            </a:extLst>
          </p:cNvPr>
          <p:cNvSpPr>
            <a:spLocks noGrp="1"/>
          </p:cNvSpPr>
          <p:nvPr>
            <p:ph type="sldNum" sz="quarter" idx="12"/>
          </p:nvPr>
        </p:nvSpPr>
        <p:spPr/>
        <p:txBody>
          <a:bodyPr/>
          <a:lstStyle/>
          <a:p>
            <a:fld id="{B2DCE237-B187-49D9-B1C4-0C8AA0CDE574}" type="slidenum">
              <a:rPr lang="en-GB" smtClean="0"/>
              <a:t>‹#›</a:t>
            </a:fld>
            <a:endParaRPr lang="en-GB"/>
          </a:p>
        </p:txBody>
      </p:sp>
    </p:spTree>
    <p:extLst>
      <p:ext uri="{BB962C8B-B14F-4D97-AF65-F5344CB8AC3E}">
        <p14:creationId xmlns:p14="http://schemas.microsoft.com/office/powerpoint/2010/main" val="28320353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image" Target="../media/image17.png"/><Relationship Id="rId3" Type="http://schemas.openxmlformats.org/officeDocument/2006/relationships/slideLayout" Target="../slideLayouts/slideLayout23.xml"/><Relationship Id="rId21" Type="http://schemas.openxmlformats.org/officeDocument/2006/relationships/image" Target="../media/image12.png"/><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image" Target="../media/image16.png"/><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image" Target="../media/image11.png"/><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image" Target="../media/image15.png"/><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image" Target="../media/image14.png"/><Relationship Id="rId10" Type="http://schemas.openxmlformats.org/officeDocument/2006/relationships/slideLayout" Target="../slideLayouts/slideLayout30.xml"/><Relationship Id="rId19" Type="http://schemas.openxmlformats.org/officeDocument/2006/relationships/theme" Target="../theme/theme3.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image" Target="../media/image13.png"/><Relationship Id="rId27" Type="http://schemas.openxmlformats.org/officeDocument/2006/relationships/image" Target="../media/image18.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image" Target="../media/image15.png"/><Relationship Id="rId3" Type="http://schemas.openxmlformats.org/officeDocument/2006/relationships/slideLayout" Target="../slideLayouts/slideLayout41.xml"/><Relationship Id="rId21" Type="http://schemas.openxmlformats.org/officeDocument/2006/relationships/theme" Target="../theme/theme4.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image" Target="../media/image14.png"/><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image" Target="../media/image18.emf"/><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image" Target="../media/image13.png"/><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image" Target="../media/image12.png"/><Relationship Id="rId28" Type="http://schemas.openxmlformats.org/officeDocument/2006/relationships/image" Target="../media/image17.png"/><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image" Target="../media/image11.png"/><Relationship Id="rId27" Type="http://schemas.openxmlformats.org/officeDocument/2006/relationships/image" Target="../media/image16.pn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61.xml"/><Relationship Id="rId7" Type="http://schemas.openxmlformats.org/officeDocument/2006/relationships/slideLayout" Target="../slideLayouts/slideLayout65.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5" Type="http://schemas.openxmlformats.org/officeDocument/2006/relationships/slideLayout" Target="../slideLayouts/slideLayout63.xml"/><Relationship Id="rId4"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8D966D-B099-4D60-9FC0-5E49A486807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4F5F3C1-1F0C-40BD-A764-30A010E0A64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ABC76BC-A509-471C-80D1-F8CF4F72840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8A9AD06-EB04-40D2-9EFF-00449A73BF5C}" type="datetimeFigureOut">
              <a:rPr lang="en-GB" smtClean="0"/>
              <a:t>01/05/2018</a:t>
            </a:fld>
            <a:endParaRPr lang="en-GB"/>
          </a:p>
        </p:txBody>
      </p:sp>
      <p:sp>
        <p:nvSpPr>
          <p:cNvPr id="5" name="Footer Placeholder 4">
            <a:extLst>
              <a:ext uri="{FF2B5EF4-FFF2-40B4-BE49-F238E27FC236}">
                <a16:creationId xmlns:a16="http://schemas.microsoft.com/office/drawing/2014/main" id="{2975C7EC-66E4-41F3-BA16-6FB723151C0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AC1BC09-3D90-48FB-9415-6EC9BD05A80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2DCE237-B187-49D9-B1C4-0C8AA0CDE574}" type="slidenum">
              <a:rPr lang="en-GB" smtClean="0"/>
              <a:t>‹#›</a:t>
            </a:fld>
            <a:endParaRPr lang="en-GB"/>
          </a:p>
        </p:txBody>
      </p:sp>
    </p:spTree>
    <p:extLst>
      <p:ext uri="{BB962C8B-B14F-4D97-AF65-F5344CB8AC3E}">
        <p14:creationId xmlns:p14="http://schemas.microsoft.com/office/powerpoint/2010/main" val="8153454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2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59710635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8" r:id="rId6"/>
    <p:sldLayoutId id="2147483669" r:id="rId7"/>
    <p:sldLayoutId id="2147483670" r:id="rId8"/>
  </p:sldLayoutIdLst>
  <p:hf hdr="0"/>
  <p:txStyles>
    <p:title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1" kern="1200" cap="all" baseline="0">
          <a:solidFill>
            <a:schemeClr val="tx1"/>
          </a:solidFill>
          <a:latin typeface="+mj-lt"/>
          <a:ea typeface="+mn-ea"/>
          <a:cs typeface="+mn-cs"/>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mn-lt"/>
          <a:ea typeface="+mn-ea"/>
          <a:cs typeface="+mn-cs"/>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Accenture_Strategy" hidden="1"/>
          <p:cNvPicPr>
            <a:picLocks noChangeAspect="1"/>
          </p:cNvPicPr>
          <p:nvPr userDrawn="1"/>
        </p:nvPicPr>
        <p:blipFill>
          <a:blip r:embed="rId20" cstate="hqprint">
            <a:extLst>
              <a:ext uri="{28A0092B-C50C-407E-A947-70E740481C1C}">
                <a14:useLocalDpi xmlns:a14="http://schemas.microsoft.com/office/drawing/2010/main"/>
              </a:ext>
            </a:extLst>
          </a:blip>
          <a:stretch>
            <a:fillRect/>
          </a:stretch>
        </p:blipFill>
        <p:spPr>
          <a:xfrm>
            <a:off x="345018" y="6243522"/>
            <a:ext cx="1728810" cy="328803"/>
          </a:xfrm>
          <a:prstGeom prst="rect">
            <a:avLst/>
          </a:prstGeom>
        </p:spPr>
      </p:pic>
      <p:pic>
        <p:nvPicPr>
          <p:cNvPr id="22" name="Accenture_Operations" hidden="1"/>
          <p:cNvPicPr>
            <a:picLocks noChangeAspect="1"/>
          </p:cNvPicPr>
          <p:nvPr userDrawn="1"/>
        </p:nvPicPr>
        <p:blipFill>
          <a:blip r:embed="rId21"/>
          <a:stretch>
            <a:fillRect/>
          </a:stretch>
        </p:blipFill>
        <p:spPr>
          <a:xfrm>
            <a:off x="352728" y="6252513"/>
            <a:ext cx="1958068" cy="324500"/>
          </a:xfrm>
          <a:prstGeom prst="rect">
            <a:avLst/>
          </a:prstGeom>
        </p:spPr>
      </p:pic>
      <p:pic>
        <p:nvPicPr>
          <p:cNvPr id="27" name="Accenture_Mobility" hidden="1"/>
          <p:cNvPicPr>
            <a:picLocks noChangeAspect="1"/>
          </p:cNvPicPr>
          <p:nvPr userDrawn="1"/>
        </p:nvPicPr>
        <p:blipFill>
          <a:blip r:embed="rId22"/>
          <a:stretch>
            <a:fillRect/>
          </a:stretch>
        </p:blipFill>
        <p:spPr>
          <a:xfrm>
            <a:off x="334963" y="6339423"/>
            <a:ext cx="2040630" cy="361414"/>
          </a:xfrm>
          <a:prstGeom prst="rect">
            <a:avLst/>
          </a:prstGeom>
        </p:spPr>
      </p:pic>
      <p:pic>
        <p:nvPicPr>
          <p:cNvPr id="25" name="Accenture_Interactive" hidden="1"/>
          <p:cNvPicPr>
            <a:picLocks noChangeAspect="1"/>
          </p:cNvPicPr>
          <p:nvPr userDrawn="1"/>
        </p:nvPicPr>
        <p:blipFill>
          <a:blip r:embed="rId23"/>
          <a:stretch>
            <a:fillRect/>
          </a:stretch>
        </p:blipFill>
        <p:spPr>
          <a:xfrm>
            <a:off x="338798" y="6341000"/>
            <a:ext cx="2041200" cy="360863"/>
          </a:xfrm>
          <a:prstGeom prst="rect">
            <a:avLst/>
          </a:prstGeom>
        </p:spPr>
      </p:pic>
      <p:pic>
        <p:nvPicPr>
          <p:cNvPr id="26" name="Accenture_Analytics" hidden="1"/>
          <p:cNvPicPr>
            <a:picLocks noChangeAspect="1"/>
          </p:cNvPicPr>
          <p:nvPr userDrawn="1"/>
        </p:nvPicPr>
        <p:blipFill>
          <a:blip r:embed="rId24"/>
          <a:stretch>
            <a:fillRect/>
          </a:stretch>
        </p:blipFill>
        <p:spPr>
          <a:xfrm>
            <a:off x="338798" y="6338829"/>
            <a:ext cx="2023200" cy="362168"/>
          </a:xfrm>
          <a:prstGeom prst="rect">
            <a:avLst/>
          </a:prstGeom>
        </p:spPr>
      </p:pic>
      <p:pic>
        <p:nvPicPr>
          <p:cNvPr id="7" name="Accenture_Digital" hidden="1"/>
          <p:cNvPicPr>
            <a:picLocks noChangeAspect="1"/>
          </p:cNvPicPr>
          <p:nvPr userDrawn="1"/>
        </p:nvPicPr>
        <p:blipFill>
          <a:blip r:embed="rId25" cstate="hqprint">
            <a:extLst>
              <a:ext uri="{28A0092B-C50C-407E-A947-70E740481C1C}">
                <a14:useLocalDpi xmlns:a14="http://schemas.microsoft.com/office/drawing/2010/main"/>
              </a:ext>
            </a:extLst>
          </a:blip>
          <a:stretch>
            <a:fillRect/>
          </a:stretch>
        </p:blipFill>
        <p:spPr>
          <a:xfrm>
            <a:off x="336280" y="6246019"/>
            <a:ext cx="1545637" cy="331832"/>
          </a:xfrm>
          <a:prstGeom prst="rect">
            <a:avLst/>
          </a:prstGeom>
        </p:spPr>
      </p:pic>
      <p:pic>
        <p:nvPicPr>
          <p:cNvPr id="4" name="Accenture_Consulting" hidden="1"/>
          <p:cNvPicPr>
            <a:picLocks noChangeAspect="1"/>
          </p:cNvPicPr>
          <p:nvPr userDrawn="1"/>
        </p:nvPicPr>
        <p:blipFill>
          <a:blip r:embed="rId26" cstate="hqprint">
            <a:extLst>
              <a:ext uri="{28A0092B-C50C-407E-A947-70E740481C1C}">
                <a14:useLocalDpi xmlns:a14="http://schemas.microsoft.com/office/drawing/2010/main"/>
              </a:ext>
            </a:extLst>
          </a:blip>
          <a:stretch>
            <a:fillRect/>
          </a:stretch>
        </p:blipFill>
        <p:spPr>
          <a:xfrm>
            <a:off x="338799" y="6244783"/>
            <a:ext cx="1942440" cy="330692"/>
          </a:xfrm>
          <a:prstGeom prst="rect">
            <a:avLst/>
          </a:prstGeom>
        </p:spPr>
      </p:pic>
      <p:grpSp>
        <p:nvGrpSpPr>
          <p:cNvPr id="14" name="Accenture_Master" hidden="1"/>
          <p:cNvGrpSpPr/>
          <p:nvPr userDrawn="1"/>
        </p:nvGrpSpPr>
        <p:grpSpPr>
          <a:xfrm>
            <a:off x="345019" y="6249814"/>
            <a:ext cx="957526" cy="276934"/>
            <a:chOff x="476250" y="397668"/>
            <a:chExt cx="2195577" cy="635000"/>
          </a:xfrm>
        </p:grpSpPr>
        <p:sp>
          <p:nvSpPr>
            <p:cNvPr id="15" name="Freeform 14"/>
            <p:cNvSpPr>
              <a:spLocks/>
            </p:cNvSpPr>
            <p:nvPr/>
          </p:nvSpPr>
          <p:spPr bwMode="auto">
            <a:xfrm>
              <a:off x="1758865" y="397668"/>
              <a:ext cx="206059" cy="214470"/>
            </a:xfrm>
            <a:custGeom>
              <a:avLst/>
              <a:gdLst>
                <a:gd name="T0" fmla="*/ 0 w 72"/>
                <a:gd name="T1" fmla="*/ 0 h 74"/>
                <a:gd name="T2" fmla="*/ 0 w 72"/>
                <a:gd name="T3" fmla="*/ 2 h 74"/>
                <a:gd name="T4" fmla="*/ 0 w 72"/>
                <a:gd name="T5" fmla="*/ 16 h 74"/>
                <a:gd name="T6" fmla="*/ 53 w 72"/>
                <a:gd name="T7" fmla="*/ 37 h 74"/>
                <a:gd name="T8" fmla="*/ 0 w 72"/>
                <a:gd name="T9" fmla="*/ 57 h 74"/>
                <a:gd name="T10" fmla="*/ 0 w 72"/>
                <a:gd name="T11" fmla="*/ 74 h 74"/>
                <a:gd name="T12" fmla="*/ 72 w 72"/>
                <a:gd name="T13" fmla="*/ 44 h 74"/>
                <a:gd name="T14" fmla="*/ 72 w 72"/>
                <a:gd name="T15" fmla="*/ 29 h 74"/>
                <a:gd name="T16" fmla="*/ 0 w 72"/>
                <a:gd name="T1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0" y="0"/>
                  </a:moveTo>
                  <a:cubicBezTo>
                    <a:pt x="0" y="2"/>
                    <a:pt x="0" y="2"/>
                    <a:pt x="0" y="2"/>
                  </a:cubicBezTo>
                  <a:cubicBezTo>
                    <a:pt x="0" y="16"/>
                    <a:pt x="0" y="16"/>
                    <a:pt x="0" y="16"/>
                  </a:cubicBezTo>
                  <a:cubicBezTo>
                    <a:pt x="0" y="16"/>
                    <a:pt x="46" y="34"/>
                    <a:pt x="53" y="37"/>
                  </a:cubicBezTo>
                  <a:cubicBezTo>
                    <a:pt x="46" y="40"/>
                    <a:pt x="0" y="57"/>
                    <a:pt x="0" y="57"/>
                  </a:cubicBezTo>
                  <a:cubicBezTo>
                    <a:pt x="0" y="74"/>
                    <a:pt x="0" y="74"/>
                    <a:pt x="0" y="74"/>
                  </a:cubicBezTo>
                  <a:cubicBezTo>
                    <a:pt x="72" y="44"/>
                    <a:pt x="72" y="44"/>
                    <a:pt x="72" y="44"/>
                  </a:cubicBezTo>
                  <a:cubicBezTo>
                    <a:pt x="72" y="29"/>
                    <a:pt x="72" y="29"/>
                    <a:pt x="72" y="29"/>
                  </a:cubicBez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pic>
          <p:nvPicPr>
            <p:cNvPr id="16" name="Accenture Black"/>
            <p:cNvPicPr>
              <a:picLocks noChangeAspect="1"/>
            </p:cNvPicPr>
            <p:nvPr userDrawn="1"/>
          </p:nvPicPr>
          <p:blipFill>
            <a:blip r:embed="rId27" cstate="hqprint">
              <a:extLst>
                <a:ext uri="{28A0092B-C50C-407E-A947-70E740481C1C}">
                  <a14:useLocalDpi xmlns:a14="http://schemas.microsoft.com/office/drawing/2010/main"/>
                </a:ext>
              </a:extLst>
            </a:blip>
            <a:stretch>
              <a:fillRect/>
            </a:stretch>
          </p:blipFill>
          <p:spPr>
            <a:xfrm>
              <a:off x="476250" y="641561"/>
              <a:ext cx="2195577" cy="391107"/>
            </a:xfrm>
            <a:prstGeom prst="rect">
              <a:avLst/>
            </a:prstGeom>
          </p:spPr>
        </p:pic>
      </p:grpSp>
      <p:sp>
        <p:nvSpPr>
          <p:cNvPr id="2" name="Title Placeholder 1"/>
          <p:cNvSpPr>
            <a:spLocks noGrp="1"/>
          </p:cNvSpPr>
          <p:nvPr>
            <p:ph type="title"/>
          </p:nvPr>
        </p:nvSpPr>
        <p:spPr>
          <a:xfrm>
            <a:off x="345018" y="332076"/>
            <a:ext cx="10027707" cy="776139"/>
          </a:xfrm>
          <a:prstGeom prst="rect">
            <a:avLst/>
          </a:prstGeom>
        </p:spPr>
        <p:txBody>
          <a:bodyPr vert="horz" lIns="0" tIns="0" rIns="130101" bIns="0" rtlCol="0" anchor="t" anchorCtr="0">
            <a:noAutofit/>
          </a:bodyPr>
          <a:lstStyle/>
          <a:p>
            <a:r>
              <a:rPr lang="en-US" dirty="0"/>
              <a:t>CONTENT TITLE</a:t>
            </a:r>
          </a:p>
        </p:txBody>
      </p:sp>
      <p:sp>
        <p:nvSpPr>
          <p:cNvPr id="3" name="Text Placeholder 2"/>
          <p:cNvSpPr>
            <a:spLocks noGrp="1"/>
          </p:cNvSpPr>
          <p:nvPr>
            <p:ph type="body" idx="1"/>
          </p:nvPr>
        </p:nvSpPr>
        <p:spPr>
          <a:xfrm>
            <a:off x="345018" y="1764072"/>
            <a:ext cx="11491383" cy="429382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521280" y="6410856"/>
            <a:ext cx="334195" cy="138499"/>
          </a:xfrm>
          <a:prstGeom prst="rect">
            <a:avLst/>
          </a:prstGeom>
        </p:spPr>
        <p:txBody>
          <a:bodyPr vert="horz" lIns="0" tIns="0" rIns="0" bIns="0" rtlCol="0" anchor="ctr" anchorCtr="0">
            <a:spAutoFit/>
          </a:bodyPr>
          <a:lstStyle>
            <a:lvl1pPr algn="r">
              <a:defRPr sz="900" b="1" i="0">
                <a:solidFill>
                  <a:schemeClr val="tx2"/>
                </a:solidFill>
                <a:latin typeface="Graphik" panose="020B0503030202060203" pitchFamily="34" charset="0"/>
              </a:defRPr>
            </a:lvl1pPr>
          </a:lstStyle>
          <a:p>
            <a:fld id="{0D558541-60C9-42A2-8392-FF12533A6B7A}" type="slidenum">
              <a:rPr lang="en-US" smtClean="0"/>
              <a:pPr/>
              <a:t>‹#›</a:t>
            </a:fld>
            <a:endParaRPr lang="en-US" dirty="0"/>
          </a:p>
        </p:txBody>
      </p:sp>
      <p:sp>
        <p:nvSpPr>
          <p:cNvPr id="8" name="TextBox 3"/>
          <p:cNvSpPr txBox="1"/>
          <p:nvPr userDrawn="1"/>
        </p:nvSpPr>
        <p:spPr>
          <a:xfrm>
            <a:off x="8963706" y="6410856"/>
            <a:ext cx="2728956" cy="138499"/>
          </a:xfrm>
          <a:prstGeom prst="rect">
            <a:avLst/>
          </a:prstGeom>
        </p:spPr>
        <p:txBody>
          <a:bodyPr vert="horz" wrap="square" lIns="0" tIns="0" rIns="0" bIns="0" rtlCol="0" anchor="ctr">
            <a:spAutoFit/>
          </a:bodyPr>
          <a:lstStyle>
            <a:defPPr>
              <a:defRPr lang="en-US"/>
            </a:defPPr>
            <a:lvl1pPr marL="0" algn="l" defTabSz="815350" rtl="0" eaLnBrk="1" latinLnBrk="0" hangingPunct="1">
              <a:defRPr sz="1630" kern="1200">
                <a:solidFill>
                  <a:schemeClr val="tx1"/>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pPr marL="0" marR="0" lvl="0" indent="0" algn="ctr" defTabSz="1087106"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Graphik" panose="020B0503030202060203" pitchFamily="34" charset="0"/>
                <a:ea typeface="+mn-ea"/>
                <a:cs typeface="+mn-cs"/>
              </a:rPr>
              <a:t>Copyright © 2017 Accenture  All rights reserved. </a:t>
            </a:r>
            <a:endParaRPr lang="en-AU" sz="1000" b="0" i="0" kern="1200" dirty="0">
              <a:solidFill>
                <a:schemeClr val="tx2"/>
              </a:solidFill>
              <a:latin typeface="Graphik" panose="020B0503030202060203" pitchFamily="34" charset="0"/>
              <a:ea typeface="+mn-ea"/>
              <a:cs typeface="+mn-cs"/>
            </a:endParaRPr>
          </a:p>
        </p:txBody>
      </p:sp>
    </p:spTree>
    <p:extLst>
      <p:ext uri="{BB962C8B-B14F-4D97-AF65-F5344CB8AC3E}">
        <p14:creationId xmlns:p14="http://schemas.microsoft.com/office/powerpoint/2010/main" val="282059591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Lst>
  <p:hf hdr="0" ftr="0" dt="0"/>
  <p:txStyles>
    <p:titleStyle>
      <a:lvl1pPr algn="l" defTabSz="1734634" rtl="0" eaLnBrk="1" latinLnBrk="0" hangingPunct="1">
        <a:lnSpc>
          <a:spcPct val="80000"/>
        </a:lnSpc>
        <a:spcBef>
          <a:spcPct val="0"/>
        </a:spcBef>
        <a:buNone/>
        <a:defRPr sz="3200" b="0" i="0" kern="1200" cap="all" spc="-133" baseline="0">
          <a:solidFill>
            <a:schemeClr val="accent3"/>
          </a:solidFill>
          <a:latin typeface="Arial Black" charset="0"/>
          <a:ea typeface="Arial Black" charset="0"/>
          <a:cs typeface="Arial Black" charset="0"/>
        </a:defRPr>
      </a:lvl1pPr>
    </p:titleStyle>
    <p:body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Graphik" panose="020B0503030202060203" pitchFamily="34" charset="0"/>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Graphik" panose="020B0503030202060203" pitchFamily="34" charset="0"/>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Graphik" panose="020B0503030202060203" pitchFamily="34" charset="0"/>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2"/>
          </a:solidFill>
          <a:latin typeface="Graphik" panose="020B0503030202060203" pitchFamily="34" charset="0"/>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2"/>
          </a:solidFill>
          <a:latin typeface="Graphik" panose="020B0503030202060203" pitchFamily="34" charset="0"/>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p:bodyStyle>
    <p:otherStyle>
      <a:defPPr>
        <a:defRPr lang="en-US"/>
      </a:defPPr>
      <a:lvl1pPr marL="0" algn="l" defTabSz="1734634" rtl="0" eaLnBrk="1" latinLnBrk="0" hangingPunct="1">
        <a:defRPr sz="3467" kern="1200">
          <a:solidFill>
            <a:schemeClr val="tx1"/>
          </a:solidFill>
          <a:latin typeface="+mn-lt"/>
          <a:ea typeface="+mn-ea"/>
          <a:cs typeface="+mn-cs"/>
        </a:defRPr>
      </a:lvl1pPr>
      <a:lvl2pPr marL="867317" algn="l" defTabSz="1734634" rtl="0" eaLnBrk="1" latinLnBrk="0" hangingPunct="1">
        <a:defRPr sz="3467" kern="1200">
          <a:solidFill>
            <a:schemeClr val="tx1"/>
          </a:solidFill>
          <a:latin typeface="+mn-lt"/>
          <a:ea typeface="+mn-ea"/>
          <a:cs typeface="+mn-cs"/>
        </a:defRPr>
      </a:lvl2pPr>
      <a:lvl3pPr marL="1734634" algn="l" defTabSz="1734634" rtl="0" eaLnBrk="1" latinLnBrk="0" hangingPunct="1">
        <a:defRPr sz="3467" kern="1200">
          <a:solidFill>
            <a:schemeClr val="tx1"/>
          </a:solidFill>
          <a:latin typeface="+mn-lt"/>
          <a:ea typeface="+mn-ea"/>
          <a:cs typeface="+mn-cs"/>
        </a:defRPr>
      </a:lvl3pPr>
      <a:lvl4pPr marL="2601951" algn="l" defTabSz="1734634" rtl="0" eaLnBrk="1" latinLnBrk="0" hangingPunct="1">
        <a:defRPr sz="3467" kern="1200">
          <a:solidFill>
            <a:schemeClr val="tx1"/>
          </a:solidFill>
          <a:latin typeface="+mn-lt"/>
          <a:ea typeface="+mn-ea"/>
          <a:cs typeface="+mn-cs"/>
        </a:defRPr>
      </a:lvl4pPr>
      <a:lvl5pPr marL="3469269" algn="l" defTabSz="1734634" rtl="0" eaLnBrk="1" latinLnBrk="0" hangingPunct="1">
        <a:defRPr sz="3467" kern="1200">
          <a:solidFill>
            <a:schemeClr val="tx1"/>
          </a:solidFill>
          <a:latin typeface="+mn-lt"/>
          <a:ea typeface="+mn-ea"/>
          <a:cs typeface="+mn-cs"/>
        </a:defRPr>
      </a:lvl5pPr>
      <a:lvl6pPr marL="4336586" algn="l" defTabSz="1734634" rtl="0" eaLnBrk="1" latinLnBrk="0" hangingPunct="1">
        <a:defRPr sz="3467" kern="1200">
          <a:solidFill>
            <a:schemeClr val="tx1"/>
          </a:solidFill>
          <a:latin typeface="+mn-lt"/>
          <a:ea typeface="+mn-ea"/>
          <a:cs typeface="+mn-cs"/>
        </a:defRPr>
      </a:lvl6pPr>
      <a:lvl7pPr marL="5203903" algn="l" defTabSz="1734634" rtl="0" eaLnBrk="1" latinLnBrk="0" hangingPunct="1">
        <a:defRPr sz="3467" kern="1200">
          <a:solidFill>
            <a:schemeClr val="tx1"/>
          </a:solidFill>
          <a:latin typeface="+mn-lt"/>
          <a:ea typeface="+mn-ea"/>
          <a:cs typeface="+mn-cs"/>
        </a:defRPr>
      </a:lvl7pPr>
      <a:lvl8pPr marL="6071220" algn="l" defTabSz="1734634" rtl="0" eaLnBrk="1" latinLnBrk="0" hangingPunct="1">
        <a:defRPr sz="3467" kern="1200">
          <a:solidFill>
            <a:schemeClr val="tx1"/>
          </a:solidFill>
          <a:latin typeface="+mn-lt"/>
          <a:ea typeface="+mn-ea"/>
          <a:cs typeface="+mn-cs"/>
        </a:defRPr>
      </a:lvl8pPr>
      <a:lvl9pPr marL="6938537" algn="l" defTabSz="1734634" rtl="0" eaLnBrk="1" latinLnBrk="0" hangingPunct="1">
        <a:defRPr sz="346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5">
          <p15:clr>
            <a:srgbClr val="F26B43"/>
          </p15:clr>
        </p15:guide>
        <p15:guide id="2" pos="1152">
          <p15:clr>
            <a:srgbClr val="F26B43"/>
          </p15:clr>
        </p15:guide>
        <p15:guide id="3" pos="211">
          <p15:clr>
            <a:srgbClr val="F26B43"/>
          </p15:clr>
        </p15:guide>
        <p15:guide id="5" orient="horz" pos="2610">
          <p15:clr>
            <a:srgbClr val="F26B43"/>
          </p15:clr>
        </p15:guide>
        <p15:guide id="7" orient="horz" pos="204">
          <p15:clr>
            <a:srgbClr val="F26B43"/>
          </p15:clr>
        </p15:guide>
        <p15:guide id="8" orient="horz" pos="3816">
          <p15:clr>
            <a:srgbClr val="F26B43"/>
          </p15:clr>
        </p15:guide>
        <p15:guide id="9" orient="horz" pos="1111">
          <p15:clr>
            <a:srgbClr val="F26B43"/>
          </p15:clr>
        </p15:guide>
        <p15:guide id="11" pos="7468">
          <p15:clr>
            <a:srgbClr val="F26B43"/>
          </p15:clr>
        </p15:guide>
        <p15:guide id="12" pos="1872">
          <p15:clr>
            <a:srgbClr val="F26B43"/>
          </p15:clr>
        </p15:guide>
        <p15:guide id="13" pos="4884">
          <p15:clr>
            <a:srgbClr val="F26B43"/>
          </p15:clr>
        </p15:guide>
        <p15:guide id="14" pos="5604">
          <p15:clr>
            <a:srgbClr val="F26B43"/>
          </p15:clr>
        </p15:guide>
        <p15:guide id="15" pos="2088">
          <p15:clr>
            <a:srgbClr val="F26B43"/>
          </p15:clr>
        </p15:guide>
        <p15:guide id="16" pos="3954">
          <p15:clr>
            <a:srgbClr val="F26B43"/>
          </p15:clr>
        </p15:guide>
        <p15:guide id="17" pos="6534">
          <p15:clr>
            <a:srgbClr val="F26B43"/>
          </p15:clr>
        </p15:guide>
        <p15:guide id="18" pos="930">
          <p15:clr>
            <a:srgbClr val="F26B43"/>
          </p15:clr>
        </p15:guide>
        <p15:guide id="19" pos="2802">
          <p15:clr>
            <a:srgbClr val="F26B43"/>
          </p15:clr>
        </p15:guide>
        <p15:guide id="20" pos="3024">
          <p15:clr>
            <a:srgbClr val="F26B43"/>
          </p15:clr>
        </p15:guide>
        <p15:guide id="21" pos="3738">
          <p15:clr>
            <a:srgbClr val="F26B43"/>
          </p15:clr>
        </p15:guide>
        <p15:guide id="22" pos="4668">
          <p15:clr>
            <a:srgbClr val="F26B43"/>
          </p15:clr>
        </p15:guide>
        <p15:guide id="23" pos="5820">
          <p15:clr>
            <a:srgbClr val="F26B43"/>
          </p15:clr>
        </p15:guide>
        <p15:guide id="24" pos="6750">
          <p15:clr>
            <a:srgbClr val="F26B43"/>
          </p15:clr>
        </p15:guide>
        <p15:guide id="25" orient="horz" pos="1410">
          <p15:clr>
            <a:srgbClr val="F26B43"/>
          </p15:clr>
        </p15:guide>
        <p15:guide id="26" orient="horz" pos="411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Accenture_Strategy" hidden="1"/>
          <p:cNvPicPr>
            <a:picLocks noChangeAspect="1"/>
          </p:cNvPicPr>
          <p:nvPr/>
        </p:nvPicPr>
        <p:blipFill>
          <a:blip r:embed="rId22" cstate="hqprint">
            <a:extLst>
              <a:ext uri="{28A0092B-C50C-407E-A947-70E740481C1C}">
                <a14:useLocalDpi xmlns:a14="http://schemas.microsoft.com/office/drawing/2010/main"/>
              </a:ext>
            </a:extLst>
          </a:blip>
          <a:stretch>
            <a:fillRect/>
          </a:stretch>
        </p:blipFill>
        <p:spPr>
          <a:xfrm>
            <a:off x="345018" y="6243522"/>
            <a:ext cx="1728810" cy="328803"/>
          </a:xfrm>
          <a:prstGeom prst="rect">
            <a:avLst/>
          </a:prstGeom>
        </p:spPr>
      </p:pic>
      <p:pic>
        <p:nvPicPr>
          <p:cNvPr id="22" name="Accenture_Operations" hidden="1"/>
          <p:cNvPicPr>
            <a:picLocks noChangeAspect="1"/>
          </p:cNvPicPr>
          <p:nvPr/>
        </p:nvPicPr>
        <p:blipFill>
          <a:blip r:embed="rId23"/>
          <a:stretch>
            <a:fillRect/>
          </a:stretch>
        </p:blipFill>
        <p:spPr>
          <a:xfrm>
            <a:off x="352728" y="6252513"/>
            <a:ext cx="1958068" cy="324500"/>
          </a:xfrm>
          <a:prstGeom prst="rect">
            <a:avLst/>
          </a:prstGeom>
        </p:spPr>
      </p:pic>
      <p:pic>
        <p:nvPicPr>
          <p:cNvPr id="27" name="Accenture_Mobility" hidden="1"/>
          <p:cNvPicPr>
            <a:picLocks noChangeAspect="1"/>
          </p:cNvPicPr>
          <p:nvPr/>
        </p:nvPicPr>
        <p:blipFill>
          <a:blip r:embed="rId24"/>
          <a:stretch>
            <a:fillRect/>
          </a:stretch>
        </p:blipFill>
        <p:spPr>
          <a:xfrm>
            <a:off x="334963" y="6339423"/>
            <a:ext cx="2040630" cy="361414"/>
          </a:xfrm>
          <a:prstGeom prst="rect">
            <a:avLst/>
          </a:prstGeom>
        </p:spPr>
      </p:pic>
      <p:pic>
        <p:nvPicPr>
          <p:cNvPr id="25" name="Accenture_Interactive" hidden="1"/>
          <p:cNvPicPr>
            <a:picLocks noChangeAspect="1"/>
          </p:cNvPicPr>
          <p:nvPr/>
        </p:nvPicPr>
        <p:blipFill>
          <a:blip r:embed="rId25"/>
          <a:stretch>
            <a:fillRect/>
          </a:stretch>
        </p:blipFill>
        <p:spPr>
          <a:xfrm>
            <a:off x="338798" y="6341000"/>
            <a:ext cx="2041200" cy="360863"/>
          </a:xfrm>
          <a:prstGeom prst="rect">
            <a:avLst/>
          </a:prstGeom>
        </p:spPr>
      </p:pic>
      <p:pic>
        <p:nvPicPr>
          <p:cNvPr id="26" name="Accenture_Analytics" hidden="1"/>
          <p:cNvPicPr>
            <a:picLocks noChangeAspect="1"/>
          </p:cNvPicPr>
          <p:nvPr/>
        </p:nvPicPr>
        <p:blipFill>
          <a:blip r:embed="rId26"/>
          <a:stretch>
            <a:fillRect/>
          </a:stretch>
        </p:blipFill>
        <p:spPr>
          <a:xfrm>
            <a:off x="338798" y="6338829"/>
            <a:ext cx="2023200" cy="362168"/>
          </a:xfrm>
          <a:prstGeom prst="rect">
            <a:avLst/>
          </a:prstGeom>
        </p:spPr>
      </p:pic>
      <p:pic>
        <p:nvPicPr>
          <p:cNvPr id="7" name="Accenture_Digital" hidden="1"/>
          <p:cNvPicPr>
            <a:picLocks noChangeAspect="1"/>
          </p:cNvPicPr>
          <p:nvPr/>
        </p:nvPicPr>
        <p:blipFill>
          <a:blip r:embed="rId27" cstate="hqprint">
            <a:extLst>
              <a:ext uri="{28A0092B-C50C-407E-A947-70E740481C1C}">
                <a14:useLocalDpi xmlns:a14="http://schemas.microsoft.com/office/drawing/2010/main"/>
              </a:ext>
            </a:extLst>
          </a:blip>
          <a:stretch>
            <a:fillRect/>
          </a:stretch>
        </p:blipFill>
        <p:spPr>
          <a:xfrm>
            <a:off x="336280" y="6246019"/>
            <a:ext cx="1545637" cy="331832"/>
          </a:xfrm>
          <a:prstGeom prst="rect">
            <a:avLst/>
          </a:prstGeom>
        </p:spPr>
      </p:pic>
      <p:pic>
        <p:nvPicPr>
          <p:cNvPr id="4" name="Accenture_Consulting" hidden="1"/>
          <p:cNvPicPr>
            <a:picLocks noChangeAspect="1"/>
          </p:cNvPicPr>
          <p:nvPr/>
        </p:nvPicPr>
        <p:blipFill>
          <a:blip r:embed="rId28" cstate="hqprint">
            <a:extLst>
              <a:ext uri="{28A0092B-C50C-407E-A947-70E740481C1C}">
                <a14:useLocalDpi xmlns:a14="http://schemas.microsoft.com/office/drawing/2010/main"/>
              </a:ext>
            </a:extLst>
          </a:blip>
          <a:stretch>
            <a:fillRect/>
          </a:stretch>
        </p:blipFill>
        <p:spPr>
          <a:xfrm>
            <a:off x="338799" y="6244783"/>
            <a:ext cx="1942440" cy="330692"/>
          </a:xfrm>
          <a:prstGeom prst="rect">
            <a:avLst/>
          </a:prstGeom>
        </p:spPr>
      </p:pic>
      <p:grpSp>
        <p:nvGrpSpPr>
          <p:cNvPr id="14" name="Accenture_Master" hidden="1"/>
          <p:cNvGrpSpPr/>
          <p:nvPr/>
        </p:nvGrpSpPr>
        <p:grpSpPr>
          <a:xfrm>
            <a:off x="345019" y="6249814"/>
            <a:ext cx="957526" cy="276934"/>
            <a:chOff x="476250" y="397668"/>
            <a:chExt cx="2195577" cy="635000"/>
          </a:xfrm>
        </p:grpSpPr>
        <p:sp>
          <p:nvSpPr>
            <p:cNvPr id="15" name="Freeform 14"/>
            <p:cNvSpPr>
              <a:spLocks/>
            </p:cNvSpPr>
            <p:nvPr/>
          </p:nvSpPr>
          <p:spPr bwMode="auto">
            <a:xfrm>
              <a:off x="1758865" y="397668"/>
              <a:ext cx="206059" cy="214470"/>
            </a:xfrm>
            <a:custGeom>
              <a:avLst/>
              <a:gdLst>
                <a:gd name="T0" fmla="*/ 0 w 72"/>
                <a:gd name="T1" fmla="*/ 0 h 74"/>
                <a:gd name="T2" fmla="*/ 0 w 72"/>
                <a:gd name="T3" fmla="*/ 2 h 74"/>
                <a:gd name="T4" fmla="*/ 0 w 72"/>
                <a:gd name="T5" fmla="*/ 16 h 74"/>
                <a:gd name="T6" fmla="*/ 53 w 72"/>
                <a:gd name="T7" fmla="*/ 37 h 74"/>
                <a:gd name="T8" fmla="*/ 0 w 72"/>
                <a:gd name="T9" fmla="*/ 57 h 74"/>
                <a:gd name="T10" fmla="*/ 0 w 72"/>
                <a:gd name="T11" fmla="*/ 74 h 74"/>
                <a:gd name="T12" fmla="*/ 72 w 72"/>
                <a:gd name="T13" fmla="*/ 44 h 74"/>
                <a:gd name="T14" fmla="*/ 72 w 72"/>
                <a:gd name="T15" fmla="*/ 29 h 74"/>
                <a:gd name="T16" fmla="*/ 0 w 72"/>
                <a:gd name="T1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4">
                  <a:moveTo>
                    <a:pt x="0" y="0"/>
                  </a:moveTo>
                  <a:cubicBezTo>
                    <a:pt x="0" y="2"/>
                    <a:pt x="0" y="2"/>
                    <a:pt x="0" y="2"/>
                  </a:cubicBezTo>
                  <a:cubicBezTo>
                    <a:pt x="0" y="16"/>
                    <a:pt x="0" y="16"/>
                    <a:pt x="0" y="16"/>
                  </a:cubicBezTo>
                  <a:cubicBezTo>
                    <a:pt x="0" y="16"/>
                    <a:pt x="46" y="34"/>
                    <a:pt x="53" y="37"/>
                  </a:cubicBezTo>
                  <a:cubicBezTo>
                    <a:pt x="46" y="40"/>
                    <a:pt x="0" y="57"/>
                    <a:pt x="0" y="57"/>
                  </a:cubicBezTo>
                  <a:cubicBezTo>
                    <a:pt x="0" y="74"/>
                    <a:pt x="0" y="74"/>
                    <a:pt x="0" y="74"/>
                  </a:cubicBezTo>
                  <a:cubicBezTo>
                    <a:pt x="72" y="44"/>
                    <a:pt x="72" y="44"/>
                    <a:pt x="72" y="44"/>
                  </a:cubicBezTo>
                  <a:cubicBezTo>
                    <a:pt x="72" y="29"/>
                    <a:pt x="72" y="29"/>
                    <a:pt x="72" y="29"/>
                  </a:cubicBez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Graphik" panose="020B0503030202060203" pitchFamily="34" charset="0"/>
              </a:endParaRPr>
            </a:p>
          </p:txBody>
        </p:sp>
        <p:pic>
          <p:nvPicPr>
            <p:cNvPr id="16" name="Accenture Black"/>
            <p:cNvPicPr>
              <a:picLocks noChangeAspect="1"/>
            </p:cNvPicPr>
            <p:nvPr/>
          </p:nvPicPr>
          <p:blipFill>
            <a:blip r:embed="rId29" cstate="hqprint">
              <a:extLst>
                <a:ext uri="{28A0092B-C50C-407E-A947-70E740481C1C}">
                  <a14:useLocalDpi xmlns:a14="http://schemas.microsoft.com/office/drawing/2010/main"/>
                </a:ext>
              </a:extLst>
            </a:blip>
            <a:stretch>
              <a:fillRect/>
            </a:stretch>
          </p:blipFill>
          <p:spPr>
            <a:xfrm>
              <a:off x="476250" y="641561"/>
              <a:ext cx="2195577" cy="391107"/>
            </a:xfrm>
            <a:prstGeom prst="rect">
              <a:avLst/>
            </a:prstGeom>
          </p:spPr>
        </p:pic>
      </p:grpSp>
      <p:sp>
        <p:nvSpPr>
          <p:cNvPr id="2" name="Title Placeholder 1"/>
          <p:cNvSpPr>
            <a:spLocks noGrp="1"/>
          </p:cNvSpPr>
          <p:nvPr>
            <p:ph type="title"/>
          </p:nvPr>
        </p:nvSpPr>
        <p:spPr>
          <a:xfrm>
            <a:off x="345018" y="332076"/>
            <a:ext cx="10027707" cy="776139"/>
          </a:xfrm>
          <a:prstGeom prst="rect">
            <a:avLst/>
          </a:prstGeom>
        </p:spPr>
        <p:txBody>
          <a:bodyPr vert="horz" lIns="0" tIns="0" rIns="130101" bIns="0" rtlCol="0" anchor="t" anchorCtr="0">
            <a:noAutofit/>
          </a:bodyPr>
          <a:lstStyle/>
          <a:p>
            <a:r>
              <a:rPr lang="en-US" dirty="0"/>
              <a:t>CONTENT TITLE</a:t>
            </a:r>
          </a:p>
        </p:txBody>
      </p:sp>
      <p:sp>
        <p:nvSpPr>
          <p:cNvPr id="3" name="Text Placeholder 2"/>
          <p:cNvSpPr>
            <a:spLocks noGrp="1"/>
          </p:cNvSpPr>
          <p:nvPr>
            <p:ph type="body" idx="1"/>
          </p:nvPr>
        </p:nvSpPr>
        <p:spPr>
          <a:xfrm>
            <a:off x="345018" y="1764072"/>
            <a:ext cx="11491383" cy="429382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521280" y="6410856"/>
            <a:ext cx="334195" cy="138499"/>
          </a:xfrm>
          <a:prstGeom prst="rect">
            <a:avLst/>
          </a:prstGeom>
        </p:spPr>
        <p:txBody>
          <a:bodyPr vert="horz" lIns="0" tIns="0" rIns="0" bIns="0" rtlCol="0" anchor="ctr" anchorCtr="0">
            <a:spAutoFit/>
          </a:bodyPr>
          <a:lstStyle>
            <a:lvl1pPr algn="r">
              <a:defRPr sz="900" b="1" i="0">
                <a:solidFill>
                  <a:schemeClr val="tx2"/>
                </a:solidFill>
                <a:latin typeface="Graphik" panose="020B0503030202060203" pitchFamily="34" charset="0"/>
              </a:defRPr>
            </a:lvl1pPr>
          </a:lstStyle>
          <a:p>
            <a:fld id="{B2DCE237-B187-49D9-B1C4-0C8AA0CDE574}" type="slidenum">
              <a:rPr lang="en-GB" smtClean="0"/>
              <a:t>‹#›</a:t>
            </a:fld>
            <a:endParaRPr lang="en-GB"/>
          </a:p>
        </p:txBody>
      </p:sp>
      <p:sp>
        <p:nvSpPr>
          <p:cNvPr id="8" name="TextBox 3"/>
          <p:cNvSpPr txBox="1"/>
          <p:nvPr/>
        </p:nvSpPr>
        <p:spPr>
          <a:xfrm>
            <a:off x="345018" y="6457498"/>
            <a:ext cx="2728956" cy="138499"/>
          </a:xfrm>
          <a:prstGeom prst="rect">
            <a:avLst/>
          </a:prstGeom>
        </p:spPr>
        <p:txBody>
          <a:bodyPr vert="horz" wrap="square" lIns="0" tIns="0" rIns="0" bIns="0" rtlCol="0" anchor="ctr">
            <a:spAutoFit/>
          </a:bodyPr>
          <a:lstStyle>
            <a:defPPr>
              <a:defRPr lang="en-US"/>
            </a:defPPr>
            <a:lvl1pPr marL="0" algn="l" defTabSz="815350" rtl="0" eaLnBrk="1" latinLnBrk="0" hangingPunct="1">
              <a:defRPr sz="1630" kern="1200">
                <a:solidFill>
                  <a:schemeClr val="tx1"/>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pPr marL="0" marR="0" lvl="0" indent="0" algn="ctr" defTabSz="1087106" rtl="0" eaLnBrk="1" fontAlgn="auto" latinLnBrk="0" hangingPunct="1">
              <a:lnSpc>
                <a:spcPct val="100000"/>
              </a:lnSpc>
              <a:spcBef>
                <a:spcPts val="0"/>
              </a:spcBef>
              <a:spcAft>
                <a:spcPts val="0"/>
              </a:spcAft>
              <a:buClrTx/>
              <a:buSzTx/>
              <a:buFontTx/>
              <a:buNone/>
              <a:tabLst/>
              <a:defRPr/>
            </a:pPr>
            <a:r>
              <a:rPr lang="en-US" sz="900" b="0" i="0" kern="1200" dirty="0">
                <a:solidFill>
                  <a:schemeClr val="tx2"/>
                </a:solidFill>
                <a:latin typeface="Graphik" panose="020B0503030202060203" pitchFamily="34" charset="0"/>
                <a:ea typeface="+mn-ea"/>
                <a:cs typeface="+mn-cs"/>
              </a:rPr>
              <a:t>Copyright © 2017 Accenture  All rights reserved. </a:t>
            </a:r>
            <a:endParaRPr lang="en-AU" sz="1000" b="0" i="0" kern="1200" dirty="0">
              <a:solidFill>
                <a:schemeClr val="tx2"/>
              </a:solidFill>
              <a:latin typeface="Graphik" panose="020B0503030202060203" pitchFamily="34" charset="0"/>
              <a:ea typeface="+mn-ea"/>
              <a:cs typeface="+mn-cs"/>
            </a:endParaRPr>
          </a:p>
        </p:txBody>
      </p:sp>
    </p:spTree>
    <p:extLst>
      <p:ext uri="{BB962C8B-B14F-4D97-AF65-F5344CB8AC3E}">
        <p14:creationId xmlns:p14="http://schemas.microsoft.com/office/powerpoint/2010/main" val="3193045077"/>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Lst>
  <p:txStyles>
    <p:titleStyle>
      <a:lvl1pPr algn="l" defTabSz="1734634" rtl="0" eaLnBrk="1" latinLnBrk="0" hangingPunct="1">
        <a:lnSpc>
          <a:spcPct val="80000"/>
        </a:lnSpc>
        <a:spcBef>
          <a:spcPct val="0"/>
        </a:spcBef>
        <a:buNone/>
        <a:defRPr sz="3200" b="0" i="0" kern="1200" cap="all" spc="-133" baseline="0">
          <a:solidFill>
            <a:schemeClr val="accent3"/>
          </a:solidFill>
          <a:latin typeface="Arial Black" charset="0"/>
          <a:ea typeface="Arial Black" charset="0"/>
          <a:cs typeface="Arial Black" charset="0"/>
        </a:defRPr>
      </a:lvl1pPr>
    </p:titleStyle>
    <p:body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Graphik" panose="020B0503030202060203" pitchFamily="34" charset="0"/>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Graphik" panose="020B0503030202060203" pitchFamily="34" charset="0"/>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Graphik" panose="020B0503030202060203" pitchFamily="34" charset="0"/>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2"/>
          </a:solidFill>
          <a:latin typeface="Graphik" panose="020B0503030202060203" pitchFamily="34" charset="0"/>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2"/>
          </a:solidFill>
          <a:latin typeface="Graphik" panose="020B0503030202060203" pitchFamily="34" charset="0"/>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p:bodyStyle>
    <p:otherStyle>
      <a:defPPr>
        <a:defRPr lang="en-US"/>
      </a:defPPr>
      <a:lvl1pPr marL="0" algn="l" defTabSz="1734634" rtl="0" eaLnBrk="1" latinLnBrk="0" hangingPunct="1">
        <a:defRPr sz="3467" kern="1200">
          <a:solidFill>
            <a:schemeClr val="tx1"/>
          </a:solidFill>
          <a:latin typeface="+mn-lt"/>
          <a:ea typeface="+mn-ea"/>
          <a:cs typeface="+mn-cs"/>
        </a:defRPr>
      </a:lvl1pPr>
      <a:lvl2pPr marL="867317" algn="l" defTabSz="1734634" rtl="0" eaLnBrk="1" latinLnBrk="0" hangingPunct="1">
        <a:defRPr sz="3467" kern="1200">
          <a:solidFill>
            <a:schemeClr val="tx1"/>
          </a:solidFill>
          <a:latin typeface="+mn-lt"/>
          <a:ea typeface="+mn-ea"/>
          <a:cs typeface="+mn-cs"/>
        </a:defRPr>
      </a:lvl2pPr>
      <a:lvl3pPr marL="1734634" algn="l" defTabSz="1734634" rtl="0" eaLnBrk="1" latinLnBrk="0" hangingPunct="1">
        <a:defRPr sz="3467" kern="1200">
          <a:solidFill>
            <a:schemeClr val="tx1"/>
          </a:solidFill>
          <a:latin typeface="+mn-lt"/>
          <a:ea typeface="+mn-ea"/>
          <a:cs typeface="+mn-cs"/>
        </a:defRPr>
      </a:lvl3pPr>
      <a:lvl4pPr marL="2601951" algn="l" defTabSz="1734634" rtl="0" eaLnBrk="1" latinLnBrk="0" hangingPunct="1">
        <a:defRPr sz="3467" kern="1200">
          <a:solidFill>
            <a:schemeClr val="tx1"/>
          </a:solidFill>
          <a:latin typeface="+mn-lt"/>
          <a:ea typeface="+mn-ea"/>
          <a:cs typeface="+mn-cs"/>
        </a:defRPr>
      </a:lvl4pPr>
      <a:lvl5pPr marL="3469269" algn="l" defTabSz="1734634" rtl="0" eaLnBrk="1" latinLnBrk="0" hangingPunct="1">
        <a:defRPr sz="3467" kern="1200">
          <a:solidFill>
            <a:schemeClr val="tx1"/>
          </a:solidFill>
          <a:latin typeface="+mn-lt"/>
          <a:ea typeface="+mn-ea"/>
          <a:cs typeface="+mn-cs"/>
        </a:defRPr>
      </a:lvl5pPr>
      <a:lvl6pPr marL="4336586" algn="l" defTabSz="1734634" rtl="0" eaLnBrk="1" latinLnBrk="0" hangingPunct="1">
        <a:defRPr sz="3467" kern="1200">
          <a:solidFill>
            <a:schemeClr val="tx1"/>
          </a:solidFill>
          <a:latin typeface="+mn-lt"/>
          <a:ea typeface="+mn-ea"/>
          <a:cs typeface="+mn-cs"/>
        </a:defRPr>
      </a:lvl6pPr>
      <a:lvl7pPr marL="5203903" algn="l" defTabSz="1734634" rtl="0" eaLnBrk="1" latinLnBrk="0" hangingPunct="1">
        <a:defRPr sz="3467" kern="1200">
          <a:solidFill>
            <a:schemeClr val="tx1"/>
          </a:solidFill>
          <a:latin typeface="+mn-lt"/>
          <a:ea typeface="+mn-ea"/>
          <a:cs typeface="+mn-cs"/>
        </a:defRPr>
      </a:lvl7pPr>
      <a:lvl8pPr marL="6071220" algn="l" defTabSz="1734634" rtl="0" eaLnBrk="1" latinLnBrk="0" hangingPunct="1">
        <a:defRPr sz="3467" kern="1200">
          <a:solidFill>
            <a:schemeClr val="tx1"/>
          </a:solidFill>
          <a:latin typeface="+mn-lt"/>
          <a:ea typeface="+mn-ea"/>
          <a:cs typeface="+mn-cs"/>
        </a:defRPr>
      </a:lvl8pPr>
      <a:lvl9pPr marL="6938537" algn="l" defTabSz="1734634" rtl="0" eaLnBrk="1" latinLnBrk="0" hangingPunct="1">
        <a:defRPr sz="346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5">
          <p15:clr>
            <a:srgbClr val="F26B43"/>
          </p15:clr>
        </p15:guide>
        <p15:guide id="2" pos="1152">
          <p15:clr>
            <a:srgbClr val="F26B43"/>
          </p15:clr>
        </p15:guide>
        <p15:guide id="3" pos="211">
          <p15:clr>
            <a:srgbClr val="F26B43"/>
          </p15:clr>
        </p15:guide>
        <p15:guide id="5" orient="horz" pos="2610">
          <p15:clr>
            <a:srgbClr val="F26B43"/>
          </p15:clr>
        </p15:guide>
        <p15:guide id="7" orient="horz" pos="204">
          <p15:clr>
            <a:srgbClr val="F26B43"/>
          </p15:clr>
        </p15:guide>
        <p15:guide id="8" orient="horz" pos="3816">
          <p15:clr>
            <a:srgbClr val="F26B43"/>
          </p15:clr>
        </p15:guide>
        <p15:guide id="9" orient="horz" pos="1111">
          <p15:clr>
            <a:srgbClr val="F26B43"/>
          </p15:clr>
        </p15:guide>
        <p15:guide id="11" pos="7468">
          <p15:clr>
            <a:srgbClr val="F26B43"/>
          </p15:clr>
        </p15:guide>
        <p15:guide id="12" pos="1872">
          <p15:clr>
            <a:srgbClr val="F26B43"/>
          </p15:clr>
        </p15:guide>
        <p15:guide id="13" pos="4884">
          <p15:clr>
            <a:srgbClr val="F26B43"/>
          </p15:clr>
        </p15:guide>
        <p15:guide id="14" pos="5604">
          <p15:clr>
            <a:srgbClr val="F26B43"/>
          </p15:clr>
        </p15:guide>
        <p15:guide id="15" pos="2088">
          <p15:clr>
            <a:srgbClr val="F26B43"/>
          </p15:clr>
        </p15:guide>
        <p15:guide id="16" pos="3954">
          <p15:clr>
            <a:srgbClr val="F26B43"/>
          </p15:clr>
        </p15:guide>
        <p15:guide id="17" pos="6534">
          <p15:clr>
            <a:srgbClr val="F26B43"/>
          </p15:clr>
        </p15:guide>
        <p15:guide id="18" pos="930">
          <p15:clr>
            <a:srgbClr val="F26B43"/>
          </p15:clr>
        </p15:guide>
        <p15:guide id="19" pos="2802">
          <p15:clr>
            <a:srgbClr val="F26B43"/>
          </p15:clr>
        </p15:guide>
        <p15:guide id="20" pos="3024">
          <p15:clr>
            <a:srgbClr val="F26B43"/>
          </p15:clr>
        </p15:guide>
        <p15:guide id="21" pos="3738">
          <p15:clr>
            <a:srgbClr val="F26B43"/>
          </p15:clr>
        </p15:guide>
        <p15:guide id="22" pos="4668">
          <p15:clr>
            <a:srgbClr val="F26B43"/>
          </p15:clr>
        </p15:guide>
        <p15:guide id="23" pos="5820">
          <p15:clr>
            <a:srgbClr val="F26B43"/>
          </p15:clr>
        </p15:guide>
        <p15:guide id="24" pos="6750">
          <p15:clr>
            <a:srgbClr val="F26B43"/>
          </p15:clr>
        </p15:guide>
        <p15:guide id="25" orient="horz" pos="1410">
          <p15:clr>
            <a:srgbClr val="F26B43"/>
          </p15:clr>
        </p15:guide>
        <p15:guide id="26" orient="horz" pos="411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676401"/>
            <a:ext cx="11430000" cy="4842607"/>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
        <p:nvSpPr>
          <p:cNvPr id="8"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r>
              <a:rPr lang="en-US">
                <a:solidFill>
                  <a:prstClr val="white">
                    <a:lumMod val="65000"/>
                  </a:prstClr>
                </a:solidFill>
              </a:rPr>
              <a:t>Copyright © 2017 Accenture. All rights reserved.</a:t>
            </a:r>
            <a:endParaRPr lang="en-US" dirty="0">
              <a:solidFill>
                <a:prstClr val="white">
                  <a:lumMod val="65000"/>
                </a:prstClr>
              </a:solidFill>
            </a:endParaRPr>
          </a:p>
        </p:txBody>
      </p:sp>
      <p:sp>
        <p:nvSpPr>
          <p:cNvPr id="9"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solidFill>
                  <a:prstClr val="white">
                    <a:lumMod val="65000"/>
                  </a:prstClr>
                </a:solidFill>
              </a:rPr>
              <a:pPr/>
              <a:t>‹#›</a:t>
            </a:fld>
            <a:endParaRPr lang="en-US" dirty="0">
              <a:solidFill>
                <a:prstClr val="white">
                  <a:lumMod val="65000"/>
                </a:prstClr>
              </a:solidFill>
            </a:endParaRPr>
          </a:p>
        </p:txBody>
      </p:sp>
    </p:spTree>
    <p:extLst>
      <p:ext uri="{BB962C8B-B14F-4D97-AF65-F5344CB8AC3E}">
        <p14:creationId xmlns:p14="http://schemas.microsoft.com/office/powerpoint/2010/main" val="224754450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7" r:id="rId4"/>
    <p:sldLayoutId id="2147483718" r:id="rId5"/>
    <p:sldLayoutId id="2147483719" r:id="rId6"/>
    <p:sldLayoutId id="2147483720" r:id="rId7"/>
  </p:sldLayoutIdLst>
  <p:hf hdr="0"/>
  <p:txStyles>
    <p:titleStyle>
      <a:lvl1pPr marL="0" indent="0" algn="l" defTabSz="914377" rtl="0" eaLnBrk="1" latinLnBrk="0" hangingPunct="1">
        <a:lnSpc>
          <a:spcPct val="70000"/>
        </a:lnSpc>
        <a:spcBef>
          <a:spcPct val="0"/>
        </a:spcBef>
        <a:buNone/>
        <a:defRPr sz="6000" b="1" kern="1200" cap="all" baseline="0">
          <a:solidFill>
            <a:schemeClr val="tx1"/>
          </a:solidFill>
          <a:latin typeface="+mj-lt"/>
          <a:ea typeface="+mj-ea"/>
          <a:cs typeface="+mj-cs"/>
        </a:defRPr>
      </a:lvl1pPr>
    </p:titleStyle>
    <p:bodyStyle>
      <a:lvl1pPr marL="57149" indent="0" algn="l" defTabSz="914377" rtl="0" eaLnBrk="1" latinLnBrk="0" hangingPunct="1">
        <a:lnSpc>
          <a:spcPct val="85000"/>
        </a:lnSpc>
        <a:spcBef>
          <a:spcPts val="0"/>
        </a:spcBef>
        <a:buFont typeface="Arial" panose="020B0604020202020204" pitchFamily="34" charset="0"/>
        <a:buNone/>
        <a:defRPr sz="1800" b="1" kern="1200" cap="all" baseline="0">
          <a:solidFill>
            <a:schemeClr val="tx1"/>
          </a:solidFill>
          <a:latin typeface="+mn-lt"/>
          <a:ea typeface="Graphik" panose="02010609060101010101" pitchFamily="49" charset="-122"/>
          <a:cs typeface="+mn-cs"/>
        </a:defRPr>
      </a:lvl1pPr>
      <a:lvl2pPr marL="57149"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mn-lt"/>
          <a:ea typeface="+mn-ea"/>
          <a:cs typeface="+mn-cs"/>
        </a:defRPr>
      </a:lvl2pPr>
      <a:lvl3pPr marL="57149"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22859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400041"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71486"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48">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orient="horz" pos="2232">
          <p15:clr>
            <a:srgbClr val="F26B43"/>
          </p15:clr>
        </p15:guide>
        <p15:guide id="15" pos="7440">
          <p15:clr>
            <a:srgbClr val="F26B43"/>
          </p15:clr>
        </p15:guide>
        <p15:guide id="16" orient="horz" pos="4104">
          <p15:clr>
            <a:srgbClr val="F26B43"/>
          </p15:clr>
        </p15:guide>
        <p15:guide id="17" orient="horz" pos="32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44.svg"/></Relationships>
</file>

<file path=ppt/slides/_rels/slide4.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hyperlink" Target="https://acnprodedit.accenture.com/sitecore/content/ar-es/Home/Careers/BucketContent/2/360interview.aspx?sc_mode=preview&amp;sc_lang=es-LA" TargetMode="External"/><Relationship Id="rId7" Type="http://schemas.openxmlformats.org/officeDocument/2006/relationships/hyperlink" Target="https://www.accenture.com/t20171009T054838Z__w__/us-en/_acnmedia/PDF-62/Accenture-New-Skills-Now-Infographic.pdf" TargetMode="External"/><Relationship Id="rId2" Type="http://schemas.openxmlformats.org/officeDocument/2006/relationships/image" Target="../media/image45.jpeg"/><Relationship Id="rId1" Type="http://schemas.openxmlformats.org/officeDocument/2006/relationships/slideLayout" Target="../slideLayouts/slideLayout7.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jpeg"/><Relationship Id="rId9" Type="http://schemas.openxmlformats.org/officeDocument/2006/relationships/image" Target="../media/image50.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1.png"/><Relationship Id="rId1" Type="http://schemas.openxmlformats.org/officeDocument/2006/relationships/slideLayout" Target="../slideLayouts/slideLayout12.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7.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12" Type="http://schemas.openxmlformats.org/officeDocument/2006/relationships/image" Target="../media/image65.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pn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364512" y="6175948"/>
            <a:ext cx="1219200" cy="1219200"/>
          </a:xfrm>
          <a:prstGeom prst="rect">
            <a:avLst/>
          </a:prstGeom>
        </p:spPr>
        <p:txBody>
          <a:bodyPr vert="horz" wrap="none" lIns="0" tIns="0" rIns="0" bIns="0" rtlCol="0">
            <a:noAutofit/>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US" sz="2897" b="0" i="0" u="none" strike="noStrike" kern="1200" cap="none" spc="0" normalizeH="0" baseline="0" noProof="0" dirty="0" err="1">
              <a:ln>
                <a:noFill/>
              </a:ln>
              <a:solidFill>
                <a:srgbClr val="595959"/>
              </a:solidFill>
              <a:effectLst/>
              <a:uLnTx/>
              <a:uFillTx/>
              <a:latin typeface="Arial" panose="020B0604020202020204"/>
              <a:ea typeface="+mn-ea"/>
              <a:cs typeface="+mn-cs"/>
            </a:endParaRPr>
          </a:p>
        </p:txBody>
      </p:sp>
      <p:sp>
        <p:nvSpPr>
          <p:cNvPr id="13" name="Title 1">
            <a:extLst>
              <a:ext uri="{FF2B5EF4-FFF2-40B4-BE49-F238E27FC236}">
                <a16:creationId xmlns:a16="http://schemas.microsoft.com/office/drawing/2014/main" id="{3DE51F11-C447-4B49-B130-82F251A530B7}"/>
              </a:ext>
            </a:extLst>
          </p:cNvPr>
          <p:cNvSpPr txBox="1">
            <a:spLocks/>
          </p:cNvSpPr>
          <p:nvPr/>
        </p:nvSpPr>
        <p:spPr>
          <a:xfrm>
            <a:off x="1849582" y="1308694"/>
            <a:ext cx="5903861" cy="6165342"/>
          </a:xfrm>
          <a:prstGeom prst="rect">
            <a:avLst/>
          </a:prstGeom>
        </p:spPr>
        <p:txBody>
          <a:bodyPr vert="horz" lIns="0" tIns="0" rIns="173468" bIns="0" rtlCol="0" anchor="t" anchorCtr="0">
            <a:normAutofit fontScale="97500"/>
          </a:bodyPr>
          <a:lstStyle>
            <a:lvl1pPr algn="l" defTabSz="1301008" rtl="0" eaLnBrk="1" latinLnBrk="0" hangingPunct="1">
              <a:lnSpc>
                <a:spcPct val="80000"/>
              </a:lnSpc>
              <a:spcBef>
                <a:spcPct val="0"/>
              </a:spcBef>
              <a:buNone/>
              <a:defRPr sz="2400" b="0" i="0" kern="1200" cap="all" spc="-100" baseline="0">
                <a:solidFill>
                  <a:schemeClr val="tx1"/>
                </a:solidFill>
                <a:latin typeface="Arial Black" charset="0"/>
                <a:ea typeface="Arial Black" charset="0"/>
                <a:cs typeface="Arial Black" charset="0"/>
              </a:defRPr>
            </a:lvl1pPr>
          </a:lstStyle>
          <a:p>
            <a:pPr marL="0" marR="0" lvl="0" indent="0" algn="l" defTabSz="1301008" rtl="0" eaLnBrk="1" fontAlgn="auto" latinLnBrk="0" hangingPunct="1">
              <a:lnSpc>
                <a:spcPts val="5200"/>
              </a:lnSpc>
              <a:spcBef>
                <a:spcPct val="0"/>
              </a:spcBef>
              <a:spcAft>
                <a:spcPts val="0"/>
              </a:spcAft>
              <a:buClrTx/>
              <a:buSzTx/>
              <a:buFontTx/>
              <a:buNone/>
              <a:tabLst/>
              <a:defRPr/>
            </a:pPr>
            <a:endParaRPr kumimoji="0" lang="en-US" sz="4100" b="1" i="0" u="none" strike="noStrike" kern="1200" cap="all" spc="-100" normalizeH="0" baseline="0" noProof="0" dirty="0">
              <a:ln>
                <a:noFill/>
              </a:ln>
              <a:solidFill>
                <a:srgbClr val="FFEA00"/>
              </a:solidFill>
              <a:effectLst/>
              <a:uLnTx/>
              <a:uFillTx/>
              <a:latin typeface="Graphik" panose="020B0503030202060203" pitchFamily="34" charset="0"/>
              <a:ea typeface="Graphik" charset="0"/>
              <a:cs typeface="Graphik" charset="0"/>
            </a:endParaRPr>
          </a:p>
        </p:txBody>
      </p:sp>
      <p:sp>
        <p:nvSpPr>
          <p:cNvPr id="3" name="Title 2">
            <a:extLst>
              <a:ext uri="{FF2B5EF4-FFF2-40B4-BE49-F238E27FC236}">
                <a16:creationId xmlns:a16="http://schemas.microsoft.com/office/drawing/2014/main" id="{ACAACA9F-331F-4A91-A597-0A86B97B00DB}"/>
              </a:ext>
            </a:extLst>
          </p:cNvPr>
          <p:cNvSpPr>
            <a:spLocks noGrp="1"/>
          </p:cNvSpPr>
          <p:nvPr>
            <p:ph type="ctrTitle"/>
          </p:nvPr>
        </p:nvSpPr>
        <p:spPr/>
        <p:txBody>
          <a:bodyPr/>
          <a:lstStyle/>
          <a:p>
            <a:pPr lvl="0" defTabSz="1301008">
              <a:lnSpc>
                <a:spcPts val="5200"/>
              </a:lnSpc>
              <a:defRPr/>
            </a:pPr>
            <a:r>
              <a:rPr lang="en-US" sz="5400" spc="-400" dirty="0">
                <a:latin typeface="Graphik" panose="020B0503030202060203" pitchFamily="34" charset="0"/>
                <a:ea typeface="Graphik" charset="0"/>
                <a:cs typeface="Graphik" charset="0"/>
              </a:rPr>
              <a:t>Creating space  for </a:t>
            </a:r>
            <a:br>
              <a:rPr lang="en-US" sz="5400" spc="-400" dirty="0">
                <a:latin typeface="Graphik" panose="020B0503030202060203" pitchFamily="34" charset="0"/>
                <a:ea typeface="Graphik" charset="0"/>
                <a:cs typeface="Graphik" charset="0"/>
              </a:rPr>
            </a:br>
            <a:r>
              <a:rPr lang="en-US" sz="5400" spc="-400" dirty="0">
                <a:latin typeface="Graphik" panose="020B0503030202060203" pitchFamily="34" charset="0"/>
                <a:ea typeface="Graphik" charset="0"/>
                <a:cs typeface="Graphik" charset="0"/>
              </a:rPr>
              <a:t>INNOVATION</a:t>
            </a:r>
            <a:r>
              <a:rPr lang="en-US" sz="4000" spc="-100" dirty="0">
                <a:latin typeface="Graphik" panose="020B0503030202060203" pitchFamily="34" charset="0"/>
                <a:ea typeface="Graphik" charset="0"/>
                <a:cs typeface="Graphik" charset="0"/>
              </a:rPr>
              <a:t> </a:t>
            </a:r>
            <a:endParaRPr lang="en-IE" sz="4000" dirty="0"/>
          </a:p>
        </p:txBody>
      </p:sp>
      <p:sp>
        <p:nvSpPr>
          <p:cNvPr id="5" name="Text Placeholder 4">
            <a:extLst>
              <a:ext uri="{FF2B5EF4-FFF2-40B4-BE49-F238E27FC236}">
                <a16:creationId xmlns:a16="http://schemas.microsoft.com/office/drawing/2014/main" id="{CEB1869D-16F5-46CE-B386-990CE17AF921}"/>
              </a:ext>
            </a:extLst>
          </p:cNvPr>
          <p:cNvSpPr>
            <a:spLocks noGrp="1"/>
          </p:cNvSpPr>
          <p:nvPr>
            <p:ph type="body" sz="quarter" idx="13"/>
          </p:nvPr>
        </p:nvSpPr>
        <p:spPr>
          <a:xfrm>
            <a:off x="1849582" y="4071137"/>
            <a:ext cx="4865485" cy="840649"/>
          </a:xfrm>
        </p:spPr>
        <p:txBody>
          <a:bodyPr/>
          <a:lstStyle/>
          <a:p>
            <a:r>
              <a:rPr lang="en-GB" dirty="0"/>
              <a:t>Heidi Strawson</a:t>
            </a:r>
          </a:p>
          <a:p>
            <a:r>
              <a:rPr lang="en-GB" dirty="0"/>
              <a:t>Accenture</a:t>
            </a:r>
          </a:p>
          <a:p>
            <a:endParaRPr lang="en-GB" dirty="0"/>
          </a:p>
        </p:txBody>
      </p:sp>
      <p:sp>
        <p:nvSpPr>
          <p:cNvPr id="6" name="TextBox 5">
            <a:extLst>
              <a:ext uri="{FF2B5EF4-FFF2-40B4-BE49-F238E27FC236}">
                <a16:creationId xmlns:a16="http://schemas.microsoft.com/office/drawing/2014/main" id="{8525AAF8-C75A-410F-8132-A96B9C6C5947}"/>
              </a:ext>
            </a:extLst>
          </p:cNvPr>
          <p:cNvSpPr txBox="1"/>
          <p:nvPr/>
        </p:nvSpPr>
        <p:spPr>
          <a:xfrm>
            <a:off x="1849582" y="4911786"/>
            <a:ext cx="6902635" cy="523220"/>
          </a:xfrm>
          <a:prstGeom prst="rect">
            <a:avLst/>
          </a:prstGeom>
          <a:noFill/>
        </p:spPr>
        <p:txBody>
          <a:bodyPr wrap="square" rtlCol="0">
            <a:spAutoFit/>
          </a:bodyPr>
          <a:lstStyle/>
          <a:p>
            <a:r>
              <a:rPr lang="en-GB" sz="2800" dirty="0">
                <a:solidFill>
                  <a:schemeClr val="tx1">
                    <a:alpha val="90000"/>
                  </a:schemeClr>
                </a:solidFill>
                <a:latin typeface="Graphik" panose="020B0503030202060203" pitchFamily="34" charset="0"/>
              </a:rPr>
              <a:t>@</a:t>
            </a:r>
            <a:r>
              <a:rPr lang="en-GB" sz="2800" dirty="0" err="1">
                <a:solidFill>
                  <a:schemeClr val="tx1">
                    <a:alpha val="90000"/>
                  </a:schemeClr>
                </a:solidFill>
                <a:latin typeface="Graphik" panose="020B0503030202060203" pitchFamily="34" charset="0"/>
              </a:rPr>
              <a:t>HeidiStrawson</a:t>
            </a:r>
            <a:endParaRPr lang="en-GB" sz="2800" dirty="0">
              <a:solidFill>
                <a:srgbClr val="7030A0">
                  <a:alpha val="90000"/>
                </a:srgbClr>
              </a:solidFill>
              <a:latin typeface="Graphik" panose="020B0503030202060203" pitchFamily="34" charset="0"/>
            </a:endParaRPr>
          </a:p>
        </p:txBody>
      </p:sp>
    </p:spTree>
    <p:extLst>
      <p:ext uri="{BB962C8B-B14F-4D97-AF65-F5344CB8AC3E}">
        <p14:creationId xmlns:p14="http://schemas.microsoft.com/office/powerpoint/2010/main" val="4693854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492920D-4AF6-4500-8E8D-FC70EAFBA5B1}"/>
              </a:ext>
            </a:extLst>
          </p:cNvPr>
          <p:cNvPicPr>
            <a:picLocks noChangeAspect="1"/>
          </p:cNvPicPr>
          <p:nvPr/>
        </p:nvPicPr>
        <p:blipFill>
          <a:blip r:embed="rId3"/>
          <a:stretch>
            <a:fillRect/>
          </a:stretch>
        </p:blipFill>
        <p:spPr>
          <a:xfrm>
            <a:off x="9864243" y="6517770"/>
            <a:ext cx="2276475" cy="295275"/>
          </a:xfrm>
          <a:prstGeom prst="rect">
            <a:avLst/>
          </a:prstGeom>
        </p:spPr>
      </p:pic>
      <p:cxnSp>
        <p:nvCxnSpPr>
          <p:cNvPr id="15" name="Straight Connector 14">
            <a:extLst>
              <a:ext uri="{FF2B5EF4-FFF2-40B4-BE49-F238E27FC236}">
                <a16:creationId xmlns:a16="http://schemas.microsoft.com/office/drawing/2014/main" id="{A9211A3D-7253-4605-871A-CFEC93E00527}"/>
              </a:ext>
            </a:extLst>
          </p:cNvPr>
          <p:cNvCxnSpPr/>
          <p:nvPr/>
        </p:nvCxnSpPr>
        <p:spPr>
          <a:xfrm>
            <a:off x="2946400" y="1561844"/>
            <a:ext cx="0" cy="4669623"/>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CF74A381-E0D7-4FD5-8C77-5A3C8B3B19B9}"/>
              </a:ext>
            </a:extLst>
          </p:cNvPr>
          <p:cNvGrpSpPr/>
          <p:nvPr/>
        </p:nvGrpSpPr>
        <p:grpSpPr>
          <a:xfrm>
            <a:off x="10902702" y="6231467"/>
            <a:ext cx="984025" cy="309657"/>
            <a:chOff x="435710" y="381000"/>
            <a:chExt cx="1816101" cy="466724"/>
          </a:xfrm>
        </p:grpSpPr>
        <p:sp>
          <p:nvSpPr>
            <p:cNvPr id="19" name="Freeform 5">
              <a:extLst>
                <a:ext uri="{FF2B5EF4-FFF2-40B4-BE49-F238E27FC236}">
                  <a16:creationId xmlns:a16="http://schemas.microsoft.com/office/drawing/2014/main" id="{486D5521-303B-4864-BB25-6FB9B7EFECCD}"/>
                </a:ext>
              </a:extLst>
            </p:cNvPr>
            <p:cNvSpPr>
              <a:spLocks/>
            </p:cNvSpPr>
            <p:nvPr/>
          </p:nvSpPr>
          <p:spPr bwMode="auto">
            <a:xfrm>
              <a:off x="1454816" y="381000"/>
              <a:ext cx="177800" cy="188912"/>
            </a:xfrm>
            <a:custGeom>
              <a:avLst/>
              <a:gdLst>
                <a:gd name="T0" fmla="*/ 0 w 112"/>
                <a:gd name="T1" fmla="*/ 83 h 119"/>
                <a:gd name="T2" fmla="*/ 66 w 112"/>
                <a:gd name="T3" fmla="*/ 60 h 119"/>
                <a:gd name="T4" fmla="*/ 0 w 112"/>
                <a:gd name="T5" fmla="*/ 33 h 119"/>
                <a:gd name="T6" fmla="*/ 0 w 112"/>
                <a:gd name="T7" fmla="*/ 0 h 119"/>
                <a:gd name="T8" fmla="*/ 112 w 112"/>
                <a:gd name="T9" fmla="*/ 45 h 119"/>
                <a:gd name="T10" fmla="*/ 112 w 112"/>
                <a:gd name="T11" fmla="*/ 73 h 119"/>
                <a:gd name="T12" fmla="*/ 0 w 112"/>
                <a:gd name="T13" fmla="*/ 119 h 119"/>
                <a:gd name="T14" fmla="*/ 0 w 112"/>
                <a:gd name="T15" fmla="*/ 83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119">
                  <a:moveTo>
                    <a:pt x="0" y="83"/>
                  </a:moveTo>
                  <a:lnTo>
                    <a:pt x="66" y="60"/>
                  </a:lnTo>
                  <a:lnTo>
                    <a:pt x="0" y="33"/>
                  </a:lnTo>
                  <a:lnTo>
                    <a:pt x="0" y="0"/>
                  </a:lnTo>
                  <a:lnTo>
                    <a:pt x="112" y="45"/>
                  </a:lnTo>
                  <a:lnTo>
                    <a:pt x="112" y="73"/>
                  </a:lnTo>
                  <a:lnTo>
                    <a:pt x="0" y="119"/>
                  </a:lnTo>
                  <a:lnTo>
                    <a:pt x="0" y="83"/>
                  </a:ln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endParaRPr lang="zh-CN" altLang="en-US"/>
            </a:p>
          </p:txBody>
        </p:sp>
        <p:grpSp>
          <p:nvGrpSpPr>
            <p:cNvPr id="20" name="组合 27">
              <a:extLst>
                <a:ext uri="{FF2B5EF4-FFF2-40B4-BE49-F238E27FC236}">
                  <a16:creationId xmlns:a16="http://schemas.microsoft.com/office/drawing/2014/main" id="{1CC0AA41-EFB1-4273-9036-3A380E1326CD}"/>
                </a:ext>
              </a:extLst>
            </p:cNvPr>
            <p:cNvGrpSpPr/>
            <p:nvPr/>
          </p:nvGrpSpPr>
          <p:grpSpPr>
            <a:xfrm>
              <a:off x="435710" y="569912"/>
              <a:ext cx="1816101" cy="277812"/>
              <a:chOff x="9918700" y="1535113"/>
              <a:chExt cx="1816101" cy="277812"/>
            </a:xfrm>
            <a:solidFill>
              <a:schemeClr val="bg1"/>
            </a:solidFill>
          </p:grpSpPr>
          <p:sp>
            <p:nvSpPr>
              <p:cNvPr id="21" name="Freeform 6">
                <a:extLst>
                  <a:ext uri="{FF2B5EF4-FFF2-40B4-BE49-F238E27FC236}">
                    <a16:creationId xmlns:a16="http://schemas.microsoft.com/office/drawing/2014/main" id="{F75DD2F4-F789-4201-8838-3A2DF20E7B23}"/>
                  </a:ext>
                </a:extLst>
              </p:cNvPr>
              <p:cNvSpPr>
                <a:spLocks noEditPoints="1"/>
              </p:cNvSpPr>
              <p:nvPr/>
            </p:nvSpPr>
            <p:spPr bwMode="auto">
              <a:xfrm>
                <a:off x="9918700" y="1593850"/>
                <a:ext cx="184150" cy="219075"/>
              </a:xfrm>
              <a:custGeom>
                <a:avLst/>
                <a:gdLst>
                  <a:gd name="T0" fmla="*/ 37 w 97"/>
                  <a:gd name="T1" fmla="*/ 116 h 116"/>
                  <a:gd name="T2" fmla="*/ 0 w 97"/>
                  <a:gd name="T3" fmla="*/ 83 h 116"/>
                  <a:gd name="T4" fmla="*/ 0 w 97"/>
                  <a:gd name="T5" fmla="*/ 82 h 116"/>
                  <a:gd name="T6" fmla="*/ 53 w 97"/>
                  <a:gd name="T7" fmla="*/ 46 h 116"/>
                  <a:gd name="T8" fmla="*/ 66 w 97"/>
                  <a:gd name="T9" fmla="*/ 46 h 116"/>
                  <a:gd name="T10" fmla="*/ 66 w 97"/>
                  <a:gd name="T11" fmla="*/ 40 h 116"/>
                  <a:gd name="T12" fmla="*/ 50 w 97"/>
                  <a:gd name="T13" fmla="*/ 23 h 116"/>
                  <a:gd name="T14" fmla="*/ 33 w 97"/>
                  <a:gd name="T15" fmla="*/ 37 h 116"/>
                  <a:gd name="T16" fmla="*/ 4 w 97"/>
                  <a:gd name="T17" fmla="*/ 37 h 116"/>
                  <a:gd name="T18" fmla="*/ 51 w 97"/>
                  <a:gd name="T19" fmla="*/ 0 h 116"/>
                  <a:gd name="T20" fmla="*/ 97 w 97"/>
                  <a:gd name="T21" fmla="*/ 39 h 116"/>
                  <a:gd name="T22" fmla="*/ 97 w 97"/>
                  <a:gd name="T23" fmla="*/ 113 h 116"/>
                  <a:gd name="T24" fmla="*/ 67 w 97"/>
                  <a:gd name="T25" fmla="*/ 113 h 116"/>
                  <a:gd name="T26" fmla="*/ 67 w 97"/>
                  <a:gd name="T27" fmla="*/ 101 h 116"/>
                  <a:gd name="T28" fmla="*/ 37 w 97"/>
                  <a:gd name="T29" fmla="*/ 116 h 116"/>
                  <a:gd name="T30" fmla="*/ 66 w 97"/>
                  <a:gd name="T31" fmla="*/ 77 h 116"/>
                  <a:gd name="T32" fmla="*/ 66 w 97"/>
                  <a:gd name="T33" fmla="*/ 66 h 116"/>
                  <a:gd name="T34" fmla="*/ 54 w 97"/>
                  <a:gd name="T35" fmla="*/ 66 h 116"/>
                  <a:gd name="T36" fmla="*/ 31 w 97"/>
                  <a:gd name="T37" fmla="*/ 80 h 116"/>
                  <a:gd name="T38" fmla="*/ 31 w 97"/>
                  <a:gd name="T39" fmla="*/ 81 h 116"/>
                  <a:gd name="T40" fmla="*/ 46 w 97"/>
                  <a:gd name="T41" fmla="*/ 94 h 116"/>
                  <a:gd name="T42" fmla="*/ 66 w 97"/>
                  <a:gd name="T43" fmla="*/ 7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116">
                    <a:moveTo>
                      <a:pt x="37" y="116"/>
                    </a:moveTo>
                    <a:cubicBezTo>
                      <a:pt x="17" y="116"/>
                      <a:pt x="0" y="106"/>
                      <a:pt x="0" y="83"/>
                    </a:cubicBezTo>
                    <a:cubicBezTo>
                      <a:pt x="0" y="82"/>
                      <a:pt x="0" y="82"/>
                      <a:pt x="0" y="82"/>
                    </a:cubicBezTo>
                    <a:cubicBezTo>
                      <a:pt x="0" y="54"/>
                      <a:pt x="24" y="46"/>
                      <a:pt x="53" y="46"/>
                    </a:cubicBezTo>
                    <a:cubicBezTo>
                      <a:pt x="66" y="46"/>
                      <a:pt x="66" y="46"/>
                      <a:pt x="66" y="46"/>
                    </a:cubicBezTo>
                    <a:cubicBezTo>
                      <a:pt x="66" y="40"/>
                      <a:pt x="66" y="40"/>
                      <a:pt x="66" y="40"/>
                    </a:cubicBezTo>
                    <a:cubicBezTo>
                      <a:pt x="66" y="29"/>
                      <a:pt x="61" y="23"/>
                      <a:pt x="50" y="23"/>
                    </a:cubicBezTo>
                    <a:cubicBezTo>
                      <a:pt x="40" y="23"/>
                      <a:pt x="34" y="28"/>
                      <a:pt x="33" y="37"/>
                    </a:cubicBezTo>
                    <a:cubicBezTo>
                      <a:pt x="4" y="37"/>
                      <a:pt x="4" y="37"/>
                      <a:pt x="4" y="37"/>
                    </a:cubicBezTo>
                    <a:cubicBezTo>
                      <a:pt x="6" y="12"/>
                      <a:pt x="25" y="0"/>
                      <a:pt x="51" y="0"/>
                    </a:cubicBezTo>
                    <a:cubicBezTo>
                      <a:pt x="78" y="0"/>
                      <a:pt x="97" y="12"/>
                      <a:pt x="97" y="39"/>
                    </a:cubicBezTo>
                    <a:cubicBezTo>
                      <a:pt x="97" y="113"/>
                      <a:pt x="97" y="113"/>
                      <a:pt x="97" y="113"/>
                    </a:cubicBezTo>
                    <a:cubicBezTo>
                      <a:pt x="67" y="113"/>
                      <a:pt x="67" y="113"/>
                      <a:pt x="67" y="113"/>
                    </a:cubicBezTo>
                    <a:cubicBezTo>
                      <a:pt x="67" y="101"/>
                      <a:pt x="67" y="101"/>
                      <a:pt x="67" y="101"/>
                    </a:cubicBezTo>
                    <a:cubicBezTo>
                      <a:pt x="62" y="109"/>
                      <a:pt x="51" y="116"/>
                      <a:pt x="37" y="116"/>
                    </a:cubicBezTo>
                    <a:close/>
                    <a:moveTo>
                      <a:pt x="66" y="77"/>
                    </a:moveTo>
                    <a:cubicBezTo>
                      <a:pt x="66" y="66"/>
                      <a:pt x="66" y="66"/>
                      <a:pt x="66" y="66"/>
                    </a:cubicBezTo>
                    <a:cubicBezTo>
                      <a:pt x="54" y="66"/>
                      <a:pt x="54" y="66"/>
                      <a:pt x="54" y="66"/>
                    </a:cubicBezTo>
                    <a:cubicBezTo>
                      <a:pt x="39" y="66"/>
                      <a:pt x="31" y="70"/>
                      <a:pt x="31" y="80"/>
                    </a:cubicBezTo>
                    <a:cubicBezTo>
                      <a:pt x="31" y="81"/>
                      <a:pt x="31" y="81"/>
                      <a:pt x="31" y="81"/>
                    </a:cubicBezTo>
                    <a:cubicBezTo>
                      <a:pt x="31" y="89"/>
                      <a:pt x="36" y="94"/>
                      <a:pt x="46" y="94"/>
                    </a:cubicBezTo>
                    <a:cubicBezTo>
                      <a:pt x="57" y="94"/>
                      <a:pt x="66" y="88"/>
                      <a:pt x="66" y="7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 name="Freeform 7">
                <a:extLst>
                  <a:ext uri="{FF2B5EF4-FFF2-40B4-BE49-F238E27FC236}">
                    <a16:creationId xmlns:a16="http://schemas.microsoft.com/office/drawing/2014/main" id="{FD2223AC-4802-4976-A492-2A25416BB1E1}"/>
                  </a:ext>
                </a:extLst>
              </p:cNvPr>
              <p:cNvSpPr>
                <a:spLocks/>
              </p:cNvSpPr>
              <p:nvPr/>
            </p:nvSpPr>
            <p:spPr bwMode="auto">
              <a:xfrm>
                <a:off x="10134600" y="1593850"/>
                <a:ext cx="195263" cy="219075"/>
              </a:xfrm>
              <a:custGeom>
                <a:avLst/>
                <a:gdLst>
                  <a:gd name="T0" fmla="*/ 53 w 103"/>
                  <a:gd name="T1" fmla="*/ 116 h 116"/>
                  <a:gd name="T2" fmla="*/ 0 w 103"/>
                  <a:gd name="T3" fmla="*/ 59 h 116"/>
                  <a:gd name="T4" fmla="*/ 0 w 103"/>
                  <a:gd name="T5" fmla="*/ 58 h 116"/>
                  <a:gd name="T6" fmla="*/ 54 w 103"/>
                  <a:gd name="T7" fmla="*/ 0 h 116"/>
                  <a:gd name="T8" fmla="*/ 102 w 103"/>
                  <a:gd name="T9" fmla="*/ 42 h 116"/>
                  <a:gd name="T10" fmla="*/ 72 w 103"/>
                  <a:gd name="T11" fmla="*/ 42 h 116"/>
                  <a:gd name="T12" fmla="*/ 54 w 103"/>
                  <a:gd name="T13" fmla="*/ 24 h 116"/>
                  <a:gd name="T14" fmla="*/ 32 w 103"/>
                  <a:gd name="T15" fmla="*/ 56 h 116"/>
                  <a:gd name="T16" fmla="*/ 32 w 103"/>
                  <a:gd name="T17" fmla="*/ 60 h 116"/>
                  <a:gd name="T18" fmla="*/ 54 w 103"/>
                  <a:gd name="T19" fmla="*/ 92 h 116"/>
                  <a:gd name="T20" fmla="*/ 74 w 103"/>
                  <a:gd name="T21" fmla="*/ 72 h 116"/>
                  <a:gd name="T22" fmla="*/ 103 w 103"/>
                  <a:gd name="T23" fmla="*/ 72 h 116"/>
                  <a:gd name="T24" fmla="*/ 53 w 103"/>
                  <a:gd name="T2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16">
                    <a:moveTo>
                      <a:pt x="53" y="116"/>
                    </a:moveTo>
                    <a:cubicBezTo>
                      <a:pt x="23" y="116"/>
                      <a:pt x="0" y="97"/>
                      <a:pt x="0" y="59"/>
                    </a:cubicBezTo>
                    <a:cubicBezTo>
                      <a:pt x="0" y="58"/>
                      <a:pt x="0" y="58"/>
                      <a:pt x="0" y="58"/>
                    </a:cubicBezTo>
                    <a:cubicBezTo>
                      <a:pt x="0" y="20"/>
                      <a:pt x="24" y="0"/>
                      <a:pt x="54" y="0"/>
                    </a:cubicBezTo>
                    <a:cubicBezTo>
                      <a:pt x="79" y="0"/>
                      <a:pt x="99" y="13"/>
                      <a:pt x="102" y="42"/>
                    </a:cubicBezTo>
                    <a:cubicBezTo>
                      <a:pt x="72" y="42"/>
                      <a:pt x="72" y="42"/>
                      <a:pt x="72" y="42"/>
                    </a:cubicBezTo>
                    <a:cubicBezTo>
                      <a:pt x="70" y="31"/>
                      <a:pt x="65" y="24"/>
                      <a:pt x="54" y="24"/>
                    </a:cubicBezTo>
                    <a:cubicBezTo>
                      <a:pt x="41" y="24"/>
                      <a:pt x="32" y="35"/>
                      <a:pt x="32" y="56"/>
                    </a:cubicBezTo>
                    <a:cubicBezTo>
                      <a:pt x="32" y="60"/>
                      <a:pt x="32" y="60"/>
                      <a:pt x="32" y="60"/>
                    </a:cubicBezTo>
                    <a:cubicBezTo>
                      <a:pt x="32" y="82"/>
                      <a:pt x="40" y="92"/>
                      <a:pt x="54" y="92"/>
                    </a:cubicBezTo>
                    <a:cubicBezTo>
                      <a:pt x="65" y="92"/>
                      <a:pt x="73" y="85"/>
                      <a:pt x="74" y="72"/>
                    </a:cubicBezTo>
                    <a:cubicBezTo>
                      <a:pt x="103" y="72"/>
                      <a:pt x="103" y="72"/>
                      <a:pt x="103" y="72"/>
                    </a:cubicBezTo>
                    <a:cubicBezTo>
                      <a:pt x="101" y="98"/>
                      <a:pt x="83" y="116"/>
                      <a:pt x="53"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 name="Freeform 8">
                <a:extLst>
                  <a:ext uri="{FF2B5EF4-FFF2-40B4-BE49-F238E27FC236}">
                    <a16:creationId xmlns:a16="http://schemas.microsoft.com/office/drawing/2014/main" id="{2049EF51-3C9F-4C90-A9FC-231CF453238B}"/>
                  </a:ext>
                </a:extLst>
              </p:cNvPr>
              <p:cNvSpPr>
                <a:spLocks/>
              </p:cNvSpPr>
              <p:nvPr/>
            </p:nvSpPr>
            <p:spPr bwMode="auto">
              <a:xfrm>
                <a:off x="10353675" y="1593850"/>
                <a:ext cx="193675" cy="219075"/>
              </a:xfrm>
              <a:custGeom>
                <a:avLst/>
                <a:gdLst>
                  <a:gd name="T0" fmla="*/ 53 w 102"/>
                  <a:gd name="T1" fmla="*/ 116 h 116"/>
                  <a:gd name="T2" fmla="*/ 0 w 102"/>
                  <a:gd name="T3" fmla="*/ 59 h 116"/>
                  <a:gd name="T4" fmla="*/ 0 w 102"/>
                  <a:gd name="T5" fmla="*/ 58 h 116"/>
                  <a:gd name="T6" fmla="*/ 53 w 102"/>
                  <a:gd name="T7" fmla="*/ 0 h 116"/>
                  <a:gd name="T8" fmla="*/ 101 w 102"/>
                  <a:gd name="T9" fmla="*/ 42 h 116"/>
                  <a:gd name="T10" fmla="*/ 72 w 102"/>
                  <a:gd name="T11" fmla="*/ 42 h 116"/>
                  <a:gd name="T12" fmla="*/ 53 w 102"/>
                  <a:gd name="T13" fmla="*/ 24 h 116"/>
                  <a:gd name="T14" fmla="*/ 31 w 102"/>
                  <a:gd name="T15" fmla="*/ 56 h 116"/>
                  <a:gd name="T16" fmla="*/ 31 w 102"/>
                  <a:gd name="T17" fmla="*/ 60 h 116"/>
                  <a:gd name="T18" fmla="*/ 54 w 102"/>
                  <a:gd name="T19" fmla="*/ 92 h 116"/>
                  <a:gd name="T20" fmla="*/ 74 w 102"/>
                  <a:gd name="T21" fmla="*/ 72 h 116"/>
                  <a:gd name="T22" fmla="*/ 102 w 102"/>
                  <a:gd name="T23" fmla="*/ 72 h 116"/>
                  <a:gd name="T24" fmla="*/ 53 w 102"/>
                  <a:gd name="T2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116">
                    <a:moveTo>
                      <a:pt x="53" y="116"/>
                    </a:moveTo>
                    <a:cubicBezTo>
                      <a:pt x="22" y="116"/>
                      <a:pt x="0" y="97"/>
                      <a:pt x="0" y="59"/>
                    </a:cubicBezTo>
                    <a:cubicBezTo>
                      <a:pt x="0" y="58"/>
                      <a:pt x="0" y="58"/>
                      <a:pt x="0" y="58"/>
                    </a:cubicBezTo>
                    <a:cubicBezTo>
                      <a:pt x="0" y="20"/>
                      <a:pt x="23" y="0"/>
                      <a:pt x="53" y="0"/>
                    </a:cubicBezTo>
                    <a:cubicBezTo>
                      <a:pt x="78" y="0"/>
                      <a:pt x="99" y="13"/>
                      <a:pt x="101" y="42"/>
                    </a:cubicBezTo>
                    <a:cubicBezTo>
                      <a:pt x="72" y="42"/>
                      <a:pt x="72" y="42"/>
                      <a:pt x="72" y="42"/>
                    </a:cubicBezTo>
                    <a:cubicBezTo>
                      <a:pt x="70" y="31"/>
                      <a:pt x="64" y="24"/>
                      <a:pt x="53" y="24"/>
                    </a:cubicBezTo>
                    <a:cubicBezTo>
                      <a:pt x="40" y="24"/>
                      <a:pt x="31" y="35"/>
                      <a:pt x="31" y="56"/>
                    </a:cubicBezTo>
                    <a:cubicBezTo>
                      <a:pt x="31" y="60"/>
                      <a:pt x="31" y="60"/>
                      <a:pt x="31" y="60"/>
                    </a:cubicBezTo>
                    <a:cubicBezTo>
                      <a:pt x="31" y="82"/>
                      <a:pt x="39" y="92"/>
                      <a:pt x="54" y="92"/>
                    </a:cubicBezTo>
                    <a:cubicBezTo>
                      <a:pt x="64" y="92"/>
                      <a:pt x="72" y="85"/>
                      <a:pt x="74" y="72"/>
                    </a:cubicBezTo>
                    <a:cubicBezTo>
                      <a:pt x="102" y="72"/>
                      <a:pt x="102" y="72"/>
                      <a:pt x="102" y="72"/>
                    </a:cubicBezTo>
                    <a:cubicBezTo>
                      <a:pt x="100" y="98"/>
                      <a:pt x="83" y="116"/>
                      <a:pt x="53"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24" name="Freeform 9">
                <a:extLst>
                  <a:ext uri="{FF2B5EF4-FFF2-40B4-BE49-F238E27FC236}">
                    <a16:creationId xmlns:a16="http://schemas.microsoft.com/office/drawing/2014/main" id="{7F6C0873-CEC2-4F42-ADF5-20B89957A218}"/>
                  </a:ext>
                </a:extLst>
              </p:cNvPr>
              <p:cNvSpPr>
                <a:spLocks noEditPoints="1"/>
              </p:cNvSpPr>
              <p:nvPr/>
            </p:nvSpPr>
            <p:spPr bwMode="auto">
              <a:xfrm>
                <a:off x="10571163" y="1593850"/>
                <a:ext cx="195263" cy="219075"/>
              </a:xfrm>
              <a:custGeom>
                <a:avLst/>
                <a:gdLst>
                  <a:gd name="T0" fmla="*/ 54 w 103"/>
                  <a:gd name="T1" fmla="*/ 116 h 116"/>
                  <a:gd name="T2" fmla="*/ 0 w 103"/>
                  <a:gd name="T3" fmla="*/ 60 h 116"/>
                  <a:gd name="T4" fmla="*/ 0 w 103"/>
                  <a:gd name="T5" fmla="*/ 58 h 116"/>
                  <a:gd name="T6" fmla="*/ 53 w 103"/>
                  <a:gd name="T7" fmla="*/ 0 h 116"/>
                  <a:gd name="T8" fmla="*/ 103 w 103"/>
                  <a:gd name="T9" fmla="*/ 52 h 116"/>
                  <a:gd name="T10" fmla="*/ 103 w 103"/>
                  <a:gd name="T11" fmla="*/ 66 h 116"/>
                  <a:gd name="T12" fmla="*/ 31 w 103"/>
                  <a:gd name="T13" fmla="*/ 66 h 116"/>
                  <a:gd name="T14" fmla="*/ 54 w 103"/>
                  <a:gd name="T15" fmla="*/ 93 h 116"/>
                  <a:gd name="T16" fmla="*/ 75 w 103"/>
                  <a:gd name="T17" fmla="*/ 79 h 116"/>
                  <a:gd name="T18" fmla="*/ 103 w 103"/>
                  <a:gd name="T19" fmla="*/ 79 h 116"/>
                  <a:gd name="T20" fmla="*/ 54 w 103"/>
                  <a:gd name="T21" fmla="*/ 116 h 116"/>
                  <a:gd name="T22" fmla="*/ 32 w 103"/>
                  <a:gd name="T23" fmla="*/ 45 h 116"/>
                  <a:gd name="T24" fmla="*/ 73 w 103"/>
                  <a:gd name="T25" fmla="*/ 45 h 116"/>
                  <a:gd name="T26" fmla="*/ 53 w 103"/>
                  <a:gd name="T27" fmla="*/ 22 h 116"/>
                  <a:gd name="T28" fmla="*/ 32 w 103"/>
                  <a:gd name="T29" fmla="*/ 4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3" h="116">
                    <a:moveTo>
                      <a:pt x="54" y="116"/>
                    </a:moveTo>
                    <a:cubicBezTo>
                      <a:pt x="22" y="116"/>
                      <a:pt x="0" y="97"/>
                      <a:pt x="0" y="60"/>
                    </a:cubicBezTo>
                    <a:cubicBezTo>
                      <a:pt x="0" y="58"/>
                      <a:pt x="0" y="58"/>
                      <a:pt x="0" y="58"/>
                    </a:cubicBezTo>
                    <a:cubicBezTo>
                      <a:pt x="0" y="21"/>
                      <a:pt x="23" y="0"/>
                      <a:pt x="53" y="0"/>
                    </a:cubicBezTo>
                    <a:cubicBezTo>
                      <a:pt x="80" y="0"/>
                      <a:pt x="103" y="16"/>
                      <a:pt x="103" y="52"/>
                    </a:cubicBezTo>
                    <a:cubicBezTo>
                      <a:pt x="103" y="66"/>
                      <a:pt x="103" y="66"/>
                      <a:pt x="103" y="66"/>
                    </a:cubicBezTo>
                    <a:cubicBezTo>
                      <a:pt x="31" y="66"/>
                      <a:pt x="31" y="66"/>
                      <a:pt x="31" y="66"/>
                    </a:cubicBezTo>
                    <a:cubicBezTo>
                      <a:pt x="32" y="86"/>
                      <a:pt x="41" y="93"/>
                      <a:pt x="54" y="93"/>
                    </a:cubicBezTo>
                    <a:cubicBezTo>
                      <a:pt x="66" y="93"/>
                      <a:pt x="72" y="87"/>
                      <a:pt x="75" y="79"/>
                    </a:cubicBezTo>
                    <a:cubicBezTo>
                      <a:pt x="103" y="79"/>
                      <a:pt x="103" y="79"/>
                      <a:pt x="103" y="79"/>
                    </a:cubicBezTo>
                    <a:cubicBezTo>
                      <a:pt x="100" y="100"/>
                      <a:pt x="83" y="116"/>
                      <a:pt x="54" y="116"/>
                    </a:cubicBezTo>
                    <a:close/>
                    <a:moveTo>
                      <a:pt x="32" y="45"/>
                    </a:moveTo>
                    <a:cubicBezTo>
                      <a:pt x="73" y="45"/>
                      <a:pt x="73" y="45"/>
                      <a:pt x="73" y="45"/>
                    </a:cubicBezTo>
                    <a:cubicBezTo>
                      <a:pt x="72" y="29"/>
                      <a:pt x="65" y="22"/>
                      <a:pt x="53" y="22"/>
                    </a:cubicBezTo>
                    <a:cubicBezTo>
                      <a:pt x="43" y="22"/>
                      <a:pt x="34" y="27"/>
                      <a:pt x="32" y="4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 name="Freeform 10">
                <a:extLst>
                  <a:ext uri="{FF2B5EF4-FFF2-40B4-BE49-F238E27FC236}">
                    <a16:creationId xmlns:a16="http://schemas.microsoft.com/office/drawing/2014/main" id="{ADAB619F-173A-4F9E-9B02-5A56EE05C7E5}"/>
                  </a:ext>
                </a:extLst>
              </p:cNvPr>
              <p:cNvSpPr>
                <a:spLocks/>
              </p:cNvSpPr>
              <p:nvPr/>
            </p:nvSpPr>
            <p:spPr bwMode="auto">
              <a:xfrm>
                <a:off x="10802938" y="1593850"/>
                <a:ext cx="184150" cy="214312"/>
              </a:xfrm>
              <a:custGeom>
                <a:avLst/>
                <a:gdLst>
                  <a:gd name="T0" fmla="*/ 0 w 98"/>
                  <a:gd name="T1" fmla="*/ 3 h 113"/>
                  <a:gd name="T2" fmla="*/ 31 w 98"/>
                  <a:gd name="T3" fmla="*/ 3 h 113"/>
                  <a:gd name="T4" fmla="*/ 31 w 98"/>
                  <a:gd name="T5" fmla="*/ 19 h 113"/>
                  <a:gd name="T6" fmla="*/ 65 w 98"/>
                  <a:gd name="T7" fmla="*/ 0 h 113"/>
                  <a:gd name="T8" fmla="*/ 98 w 98"/>
                  <a:gd name="T9" fmla="*/ 39 h 113"/>
                  <a:gd name="T10" fmla="*/ 98 w 98"/>
                  <a:gd name="T11" fmla="*/ 113 h 113"/>
                  <a:gd name="T12" fmla="*/ 67 w 98"/>
                  <a:gd name="T13" fmla="*/ 113 h 113"/>
                  <a:gd name="T14" fmla="*/ 67 w 98"/>
                  <a:gd name="T15" fmla="*/ 44 h 113"/>
                  <a:gd name="T16" fmla="*/ 51 w 98"/>
                  <a:gd name="T17" fmla="*/ 25 h 113"/>
                  <a:gd name="T18" fmla="*/ 31 w 98"/>
                  <a:gd name="T19" fmla="*/ 46 h 113"/>
                  <a:gd name="T20" fmla="*/ 31 w 98"/>
                  <a:gd name="T21" fmla="*/ 113 h 113"/>
                  <a:gd name="T22" fmla="*/ 0 w 98"/>
                  <a:gd name="T23" fmla="*/ 113 h 113"/>
                  <a:gd name="T24" fmla="*/ 0 w 98"/>
                  <a:gd name="T25" fmla="*/ 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113">
                    <a:moveTo>
                      <a:pt x="0" y="3"/>
                    </a:moveTo>
                    <a:cubicBezTo>
                      <a:pt x="31" y="3"/>
                      <a:pt x="31" y="3"/>
                      <a:pt x="31" y="3"/>
                    </a:cubicBezTo>
                    <a:cubicBezTo>
                      <a:pt x="31" y="19"/>
                      <a:pt x="31" y="19"/>
                      <a:pt x="31" y="19"/>
                    </a:cubicBezTo>
                    <a:cubicBezTo>
                      <a:pt x="37" y="9"/>
                      <a:pt x="48" y="0"/>
                      <a:pt x="65" y="0"/>
                    </a:cubicBezTo>
                    <a:cubicBezTo>
                      <a:pt x="85" y="0"/>
                      <a:pt x="98" y="12"/>
                      <a:pt x="98" y="39"/>
                    </a:cubicBezTo>
                    <a:cubicBezTo>
                      <a:pt x="98" y="113"/>
                      <a:pt x="98" y="113"/>
                      <a:pt x="98" y="113"/>
                    </a:cubicBezTo>
                    <a:cubicBezTo>
                      <a:pt x="67" y="113"/>
                      <a:pt x="67" y="113"/>
                      <a:pt x="67" y="113"/>
                    </a:cubicBezTo>
                    <a:cubicBezTo>
                      <a:pt x="67" y="44"/>
                      <a:pt x="67" y="44"/>
                      <a:pt x="67" y="44"/>
                    </a:cubicBezTo>
                    <a:cubicBezTo>
                      <a:pt x="67" y="31"/>
                      <a:pt x="62" y="25"/>
                      <a:pt x="51" y="25"/>
                    </a:cubicBezTo>
                    <a:cubicBezTo>
                      <a:pt x="40" y="25"/>
                      <a:pt x="31" y="32"/>
                      <a:pt x="31" y="46"/>
                    </a:cubicBezTo>
                    <a:cubicBezTo>
                      <a:pt x="31" y="113"/>
                      <a:pt x="31" y="113"/>
                      <a:pt x="31" y="113"/>
                    </a:cubicBezTo>
                    <a:cubicBezTo>
                      <a:pt x="0" y="113"/>
                      <a:pt x="0" y="113"/>
                      <a:pt x="0" y="113"/>
                    </a:cubicBezTo>
                    <a:lnTo>
                      <a:pt x="0" y="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 name="Freeform 11">
                <a:extLst>
                  <a:ext uri="{FF2B5EF4-FFF2-40B4-BE49-F238E27FC236}">
                    <a16:creationId xmlns:a16="http://schemas.microsoft.com/office/drawing/2014/main" id="{21409BD1-2176-43E9-9BF9-E56A05215FD7}"/>
                  </a:ext>
                </a:extLst>
              </p:cNvPr>
              <p:cNvSpPr>
                <a:spLocks/>
              </p:cNvSpPr>
              <p:nvPr/>
            </p:nvSpPr>
            <p:spPr bwMode="auto">
              <a:xfrm>
                <a:off x="11014075" y="1535113"/>
                <a:ext cx="125413" cy="276225"/>
              </a:xfrm>
              <a:custGeom>
                <a:avLst/>
                <a:gdLst>
                  <a:gd name="T0" fmla="*/ 44 w 66"/>
                  <a:gd name="T1" fmla="*/ 0 h 146"/>
                  <a:gd name="T2" fmla="*/ 44 w 66"/>
                  <a:gd name="T3" fmla="*/ 34 h 146"/>
                  <a:gd name="T4" fmla="*/ 65 w 66"/>
                  <a:gd name="T5" fmla="*/ 34 h 146"/>
                  <a:gd name="T6" fmla="*/ 65 w 66"/>
                  <a:gd name="T7" fmla="*/ 57 h 146"/>
                  <a:gd name="T8" fmla="*/ 44 w 66"/>
                  <a:gd name="T9" fmla="*/ 57 h 146"/>
                  <a:gd name="T10" fmla="*/ 44 w 66"/>
                  <a:gd name="T11" fmla="*/ 109 h 146"/>
                  <a:gd name="T12" fmla="*/ 55 w 66"/>
                  <a:gd name="T13" fmla="*/ 121 h 146"/>
                  <a:gd name="T14" fmla="*/ 66 w 66"/>
                  <a:gd name="T15" fmla="*/ 119 h 146"/>
                  <a:gd name="T16" fmla="*/ 66 w 66"/>
                  <a:gd name="T17" fmla="*/ 144 h 146"/>
                  <a:gd name="T18" fmla="*/ 48 w 66"/>
                  <a:gd name="T19" fmla="*/ 146 h 146"/>
                  <a:gd name="T20" fmla="*/ 13 w 66"/>
                  <a:gd name="T21" fmla="*/ 112 h 146"/>
                  <a:gd name="T22" fmla="*/ 13 w 66"/>
                  <a:gd name="T23" fmla="*/ 57 h 146"/>
                  <a:gd name="T24" fmla="*/ 0 w 66"/>
                  <a:gd name="T25" fmla="*/ 57 h 146"/>
                  <a:gd name="T26" fmla="*/ 0 w 66"/>
                  <a:gd name="T27" fmla="*/ 34 h 146"/>
                  <a:gd name="T28" fmla="*/ 13 w 66"/>
                  <a:gd name="T29" fmla="*/ 34 h 146"/>
                  <a:gd name="T30" fmla="*/ 13 w 66"/>
                  <a:gd name="T31" fmla="*/ 13 h 146"/>
                  <a:gd name="T32" fmla="*/ 44 w 66"/>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146">
                    <a:moveTo>
                      <a:pt x="44" y="0"/>
                    </a:moveTo>
                    <a:cubicBezTo>
                      <a:pt x="44" y="34"/>
                      <a:pt x="44" y="34"/>
                      <a:pt x="44" y="34"/>
                    </a:cubicBezTo>
                    <a:cubicBezTo>
                      <a:pt x="65" y="34"/>
                      <a:pt x="65" y="34"/>
                      <a:pt x="65" y="34"/>
                    </a:cubicBezTo>
                    <a:cubicBezTo>
                      <a:pt x="65" y="57"/>
                      <a:pt x="65" y="57"/>
                      <a:pt x="65" y="57"/>
                    </a:cubicBezTo>
                    <a:cubicBezTo>
                      <a:pt x="44" y="57"/>
                      <a:pt x="44" y="57"/>
                      <a:pt x="44" y="57"/>
                    </a:cubicBezTo>
                    <a:cubicBezTo>
                      <a:pt x="44" y="109"/>
                      <a:pt x="44" y="109"/>
                      <a:pt x="44" y="109"/>
                    </a:cubicBezTo>
                    <a:cubicBezTo>
                      <a:pt x="44" y="117"/>
                      <a:pt x="48" y="121"/>
                      <a:pt x="55" y="121"/>
                    </a:cubicBezTo>
                    <a:cubicBezTo>
                      <a:pt x="59" y="121"/>
                      <a:pt x="63" y="121"/>
                      <a:pt x="66" y="119"/>
                    </a:cubicBezTo>
                    <a:cubicBezTo>
                      <a:pt x="66" y="144"/>
                      <a:pt x="66" y="144"/>
                      <a:pt x="66" y="144"/>
                    </a:cubicBezTo>
                    <a:cubicBezTo>
                      <a:pt x="62" y="145"/>
                      <a:pt x="56" y="146"/>
                      <a:pt x="48" y="146"/>
                    </a:cubicBezTo>
                    <a:cubicBezTo>
                      <a:pt x="24" y="146"/>
                      <a:pt x="13" y="135"/>
                      <a:pt x="13" y="112"/>
                    </a:cubicBezTo>
                    <a:cubicBezTo>
                      <a:pt x="13" y="57"/>
                      <a:pt x="13" y="57"/>
                      <a:pt x="13" y="57"/>
                    </a:cubicBezTo>
                    <a:cubicBezTo>
                      <a:pt x="0" y="57"/>
                      <a:pt x="0" y="57"/>
                      <a:pt x="0" y="57"/>
                    </a:cubicBezTo>
                    <a:cubicBezTo>
                      <a:pt x="0" y="34"/>
                      <a:pt x="0" y="34"/>
                      <a:pt x="0" y="34"/>
                    </a:cubicBezTo>
                    <a:cubicBezTo>
                      <a:pt x="13" y="34"/>
                      <a:pt x="13" y="34"/>
                      <a:pt x="13" y="34"/>
                    </a:cubicBezTo>
                    <a:cubicBezTo>
                      <a:pt x="13" y="13"/>
                      <a:pt x="13" y="13"/>
                      <a:pt x="13" y="13"/>
                    </a:cubicBezTo>
                    <a:lnTo>
                      <a:pt x="4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27" name="Freeform 12">
                <a:extLst>
                  <a:ext uri="{FF2B5EF4-FFF2-40B4-BE49-F238E27FC236}">
                    <a16:creationId xmlns:a16="http://schemas.microsoft.com/office/drawing/2014/main" id="{7A53CCE4-AA19-4718-8655-FC7F5CBBA2A6}"/>
                  </a:ext>
                </a:extLst>
              </p:cNvPr>
              <p:cNvSpPr>
                <a:spLocks/>
              </p:cNvSpPr>
              <p:nvPr/>
            </p:nvSpPr>
            <p:spPr bwMode="auto">
              <a:xfrm>
                <a:off x="11172825" y="1600200"/>
                <a:ext cx="184150" cy="212725"/>
              </a:xfrm>
              <a:custGeom>
                <a:avLst/>
                <a:gdLst>
                  <a:gd name="T0" fmla="*/ 97 w 97"/>
                  <a:gd name="T1" fmla="*/ 110 h 113"/>
                  <a:gd name="T2" fmla="*/ 67 w 97"/>
                  <a:gd name="T3" fmla="*/ 110 h 113"/>
                  <a:gd name="T4" fmla="*/ 67 w 97"/>
                  <a:gd name="T5" fmla="*/ 94 h 113"/>
                  <a:gd name="T6" fmla="*/ 34 w 97"/>
                  <a:gd name="T7" fmla="*/ 113 h 113"/>
                  <a:gd name="T8" fmla="*/ 0 w 97"/>
                  <a:gd name="T9" fmla="*/ 75 h 113"/>
                  <a:gd name="T10" fmla="*/ 0 w 97"/>
                  <a:gd name="T11" fmla="*/ 0 h 113"/>
                  <a:gd name="T12" fmla="*/ 31 w 97"/>
                  <a:gd name="T13" fmla="*/ 0 h 113"/>
                  <a:gd name="T14" fmla="*/ 31 w 97"/>
                  <a:gd name="T15" fmla="*/ 70 h 113"/>
                  <a:gd name="T16" fmla="*/ 47 w 97"/>
                  <a:gd name="T17" fmla="*/ 89 h 113"/>
                  <a:gd name="T18" fmla="*/ 67 w 97"/>
                  <a:gd name="T19" fmla="*/ 68 h 113"/>
                  <a:gd name="T20" fmla="*/ 67 w 97"/>
                  <a:gd name="T21" fmla="*/ 0 h 113"/>
                  <a:gd name="T22" fmla="*/ 97 w 97"/>
                  <a:gd name="T23" fmla="*/ 0 h 113"/>
                  <a:gd name="T24" fmla="*/ 97 w 97"/>
                  <a:gd name="T25" fmla="*/ 11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113">
                    <a:moveTo>
                      <a:pt x="97" y="110"/>
                    </a:moveTo>
                    <a:cubicBezTo>
                      <a:pt x="67" y="110"/>
                      <a:pt x="67" y="110"/>
                      <a:pt x="67" y="110"/>
                    </a:cubicBezTo>
                    <a:cubicBezTo>
                      <a:pt x="67" y="94"/>
                      <a:pt x="67" y="94"/>
                      <a:pt x="67" y="94"/>
                    </a:cubicBezTo>
                    <a:cubicBezTo>
                      <a:pt x="61" y="105"/>
                      <a:pt x="51" y="113"/>
                      <a:pt x="34" y="113"/>
                    </a:cubicBezTo>
                    <a:cubicBezTo>
                      <a:pt x="14" y="113"/>
                      <a:pt x="0" y="101"/>
                      <a:pt x="0" y="75"/>
                    </a:cubicBezTo>
                    <a:cubicBezTo>
                      <a:pt x="0" y="0"/>
                      <a:pt x="0" y="0"/>
                      <a:pt x="0" y="0"/>
                    </a:cubicBezTo>
                    <a:cubicBezTo>
                      <a:pt x="31" y="0"/>
                      <a:pt x="31" y="0"/>
                      <a:pt x="31" y="0"/>
                    </a:cubicBezTo>
                    <a:cubicBezTo>
                      <a:pt x="31" y="70"/>
                      <a:pt x="31" y="70"/>
                      <a:pt x="31" y="70"/>
                    </a:cubicBezTo>
                    <a:cubicBezTo>
                      <a:pt x="31" y="83"/>
                      <a:pt x="36" y="89"/>
                      <a:pt x="47" y="89"/>
                    </a:cubicBezTo>
                    <a:cubicBezTo>
                      <a:pt x="58" y="89"/>
                      <a:pt x="67" y="82"/>
                      <a:pt x="67" y="68"/>
                    </a:cubicBezTo>
                    <a:cubicBezTo>
                      <a:pt x="67" y="0"/>
                      <a:pt x="67" y="0"/>
                      <a:pt x="67" y="0"/>
                    </a:cubicBezTo>
                    <a:cubicBezTo>
                      <a:pt x="97" y="0"/>
                      <a:pt x="97" y="0"/>
                      <a:pt x="97" y="0"/>
                    </a:cubicBezTo>
                    <a:lnTo>
                      <a:pt x="97" y="11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Freeform 13">
                <a:extLst>
                  <a:ext uri="{FF2B5EF4-FFF2-40B4-BE49-F238E27FC236}">
                    <a16:creationId xmlns:a16="http://schemas.microsoft.com/office/drawing/2014/main" id="{EF3031A0-0B13-4539-ADD7-3E19A0B69F0E}"/>
                  </a:ext>
                </a:extLst>
              </p:cNvPr>
              <p:cNvSpPr>
                <a:spLocks/>
              </p:cNvSpPr>
              <p:nvPr/>
            </p:nvSpPr>
            <p:spPr bwMode="auto">
              <a:xfrm>
                <a:off x="11399838" y="1595438"/>
                <a:ext cx="120650" cy="212725"/>
              </a:xfrm>
              <a:custGeom>
                <a:avLst/>
                <a:gdLst>
                  <a:gd name="T0" fmla="*/ 0 w 64"/>
                  <a:gd name="T1" fmla="*/ 2 h 112"/>
                  <a:gd name="T2" fmla="*/ 31 w 64"/>
                  <a:gd name="T3" fmla="*/ 2 h 112"/>
                  <a:gd name="T4" fmla="*/ 31 w 64"/>
                  <a:gd name="T5" fmla="*/ 22 h 112"/>
                  <a:gd name="T6" fmla="*/ 64 w 64"/>
                  <a:gd name="T7" fmla="*/ 0 h 112"/>
                  <a:gd name="T8" fmla="*/ 64 w 64"/>
                  <a:gd name="T9" fmla="*/ 31 h 112"/>
                  <a:gd name="T10" fmla="*/ 31 w 64"/>
                  <a:gd name="T11" fmla="*/ 55 h 112"/>
                  <a:gd name="T12" fmla="*/ 31 w 64"/>
                  <a:gd name="T13" fmla="*/ 112 h 112"/>
                  <a:gd name="T14" fmla="*/ 0 w 64"/>
                  <a:gd name="T15" fmla="*/ 112 h 112"/>
                  <a:gd name="T16" fmla="*/ 0 w 64"/>
                  <a:gd name="T17" fmla="*/ 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12">
                    <a:moveTo>
                      <a:pt x="0" y="2"/>
                    </a:moveTo>
                    <a:cubicBezTo>
                      <a:pt x="31" y="2"/>
                      <a:pt x="31" y="2"/>
                      <a:pt x="31" y="2"/>
                    </a:cubicBezTo>
                    <a:cubicBezTo>
                      <a:pt x="31" y="22"/>
                      <a:pt x="31" y="22"/>
                      <a:pt x="31" y="22"/>
                    </a:cubicBezTo>
                    <a:cubicBezTo>
                      <a:pt x="37" y="7"/>
                      <a:pt x="48" y="0"/>
                      <a:pt x="64" y="0"/>
                    </a:cubicBezTo>
                    <a:cubicBezTo>
                      <a:pt x="64" y="31"/>
                      <a:pt x="64" y="31"/>
                      <a:pt x="64" y="31"/>
                    </a:cubicBezTo>
                    <a:cubicBezTo>
                      <a:pt x="43" y="31"/>
                      <a:pt x="31" y="37"/>
                      <a:pt x="31" y="55"/>
                    </a:cubicBezTo>
                    <a:cubicBezTo>
                      <a:pt x="31" y="112"/>
                      <a:pt x="31" y="112"/>
                      <a:pt x="31" y="112"/>
                    </a:cubicBezTo>
                    <a:cubicBezTo>
                      <a:pt x="0" y="112"/>
                      <a:pt x="0" y="112"/>
                      <a:pt x="0" y="112"/>
                    </a:cubicBezTo>
                    <a:lnTo>
                      <a:pt x="0" y="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Freeform 14">
                <a:extLst>
                  <a:ext uri="{FF2B5EF4-FFF2-40B4-BE49-F238E27FC236}">
                    <a16:creationId xmlns:a16="http://schemas.microsoft.com/office/drawing/2014/main" id="{A25F42FD-6E72-451D-ADB9-07F729224A48}"/>
                  </a:ext>
                </a:extLst>
              </p:cNvPr>
              <p:cNvSpPr>
                <a:spLocks noEditPoints="1"/>
              </p:cNvSpPr>
              <p:nvPr/>
            </p:nvSpPr>
            <p:spPr bwMode="auto">
              <a:xfrm>
                <a:off x="11539538" y="1593850"/>
                <a:ext cx="195263" cy="219075"/>
              </a:xfrm>
              <a:custGeom>
                <a:avLst/>
                <a:gdLst>
                  <a:gd name="T0" fmla="*/ 54 w 103"/>
                  <a:gd name="T1" fmla="*/ 116 h 116"/>
                  <a:gd name="T2" fmla="*/ 0 w 103"/>
                  <a:gd name="T3" fmla="*/ 60 h 116"/>
                  <a:gd name="T4" fmla="*/ 0 w 103"/>
                  <a:gd name="T5" fmla="*/ 58 h 116"/>
                  <a:gd name="T6" fmla="*/ 53 w 103"/>
                  <a:gd name="T7" fmla="*/ 0 h 116"/>
                  <a:gd name="T8" fmla="*/ 103 w 103"/>
                  <a:gd name="T9" fmla="*/ 52 h 116"/>
                  <a:gd name="T10" fmla="*/ 103 w 103"/>
                  <a:gd name="T11" fmla="*/ 66 h 116"/>
                  <a:gd name="T12" fmla="*/ 31 w 103"/>
                  <a:gd name="T13" fmla="*/ 66 h 116"/>
                  <a:gd name="T14" fmla="*/ 54 w 103"/>
                  <a:gd name="T15" fmla="*/ 93 h 116"/>
                  <a:gd name="T16" fmla="*/ 75 w 103"/>
                  <a:gd name="T17" fmla="*/ 79 h 116"/>
                  <a:gd name="T18" fmla="*/ 103 w 103"/>
                  <a:gd name="T19" fmla="*/ 79 h 116"/>
                  <a:gd name="T20" fmla="*/ 54 w 103"/>
                  <a:gd name="T21" fmla="*/ 116 h 116"/>
                  <a:gd name="T22" fmla="*/ 32 w 103"/>
                  <a:gd name="T23" fmla="*/ 45 h 116"/>
                  <a:gd name="T24" fmla="*/ 73 w 103"/>
                  <a:gd name="T25" fmla="*/ 45 h 116"/>
                  <a:gd name="T26" fmla="*/ 53 w 103"/>
                  <a:gd name="T27" fmla="*/ 22 h 116"/>
                  <a:gd name="T28" fmla="*/ 32 w 103"/>
                  <a:gd name="T29" fmla="*/ 4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3" h="116">
                    <a:moveTo>
                      <a:pt x="54" y="116"/>
                    </a:moveTo>
                    <a:cubicBezTo>
                      <a:pt x="22" y="116"/>
                      <a:pt x="0" y="97"/>
                      <a:pt x="0" y="60"/>
                    </a:cubicBezTo>
                    <a:cubicBezTo>
                      <a:pt x="0" y="58"/>
                      <a:pt x="0" y="58"/>
                      <a:pt x="0" y="58"/>
                    </a:cubicBezTo>
                    <a:cubicBezTo>
                      <a:pt x="0" y="21"/>
                      <a:pt x="23" y="0"/>
                      <a:pt x="53" y="0"/>
                    </a:cubicBezTo>
                    <a:cubicBezTo>
                      <a:pt x="80" y="0"/>
                      <a:pt x="103" y="16"/>
                      <a:pt x="103" y="52"/>
                    </a:cubicBezTo>
                    <a:cubicBezTo>
                      <a:pt x="103" y="66"/>
                      <a:pt x="103" y="66"/>
                      <a:pt x="103" y="66"/>
                    </a:cubicBezTo>
                    <a:cubicBezTo>
                      <a:pt x="31" y="66"/>
                      <a:pt x="31" y="66"/>
                      <a:pt x="31" y="66"/>
                    </a:cubicBezTo>
                    <a:cubicBezTo>
                      <a:pt x="32" y="86"/>
                      <a:pt x="41" y="93"/>
                      <a:pt x="54" y="93"/>
                    </a:cubicBezTo>
                    <a:cubicBezTo>
                      <a:pt x="66" y="93"/>
                      <a:pt x="72" y="87"/>
                      <a:pt x="75" y="79"/>
                    </a:cubicBezTo>
                    <a:cubicBezTo>
                      <a:pt x="103" y="79"/>
                      <a:pt x="103" y="79"/>
                      <a:pt x="103" y="79"/>
                    </a:cubicBezTo>
                    <a:cubicBezTo>
                      <a:pt x="100" y="100"/>
                      <a:pt x="83" y="116"/>
                      <a:pt x="54" y="116"/>
                    </a:cubicBezTo>
                    <a:close/>
                    <a:moveTo>
                      <a:pt x="32" y="45"/>
                    </a:moveTo>
                    <a:cubicBezTo>
                      <a:pt x="73" y="45"/>
                      <a:pt x="73" y="45"/>
                      <a:pt x="73" y="45"/>
                    </a:cubicBezTo>
                    <a:cubicBezTo>
                      <a:pt x="72" y="29"/>
                      <a:pt x="65" y="22"/>
                      <a:pt x="53" y="22"/>
                    </a:cubicBezTo>
                    <a:cubicBezTo>
                      <a:pt x="43" y="22"/>
                      <a:pt x="34" y="27"/>
                      <a:pt x="32" y="4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grpSp>
      <p:sp>
        <p:nvSpPr>
          <p:cNvPr id="30" name="TextBox 29">
            <a:extLst>
              <a:ext uri="{FF2B5EF4-FFF2-40B4-BE49-F238E27FC236}">
                <a16:creationId xmlns:a16="http://schemas.microsoft.com/office/drawing/2014/main" id="{17EAD871-8AED-4164-96F8-C6881F7F6EF7}"/>
              </a:ext>
            </a:extLst>
          </p:cNvPr>
          <p:cNvSpPr txBox="1"/>
          <p:nvPr/>
        </p:nvSpPr>
        <p:spPr>
          <a:xfrm>
            <a:off x="412439" y="2206243"/>
            <a:ext cx="2512755" cy="2246769"/>
          </a:xfrm>
          <a:prstGeom prst="rect">
            <a:avLst/>
          </a:prstGeom>
          <a:noFill/>
        </p:spPr>
        <p:txBody>
          <a:bodyPr wrap="square" rtlCol="0">
            <a:spAutoFit/>
          </a:bodyPr>
          <a:lstStyle/>
          <a:p>
            <a:r>
              <a:rPr lang="en-GB" sz="2800" dirty="0">
                <a:solidFill>
                  <a:schemeClr val="tx1">
                    <a:alpha val="90000"/>
                  </a:schemeClr>
                </a:solidFill>
                <a:latin typeface="Graphik" panose="020B0503030202060203" pitchFamily="34" charset="0"/>
              </a:rPr>
              <a:t>Go </a:t>
            </a:r>
            <a:r>
              <a:rPr lang="en-GB" sz="2800" b="1" dirty="0">
                <a:solidFill>
                  <a:srgbClr val="7030A0">
                    <a:alpha val="90000"/>
                  </a:srgbClr>
                </a:solidFill>
                <a:latin typeface="Graphik" panose="020B0503030202060203" pitchFamily="34" charset="0"/>
              </a:rPr>
              <a:t>beyond</a:t>
            </a:r>
            <a:r>
              <a:rPr lang="en-GB" sz="2800" dirty="0">
                <a:solidFill>
                  <a:schemeClr val="tx1">
                    <a:alpha val="90000"/>
                  </a:schemeClr>
                </a:solidFill>
                <a:latin typeface="Graphik" panose="020B0503030202060203" pitchFamily="34" charset="0"/>
              </a:rPr>
              <a:t>  delivery to focus on </a:t>
            </a:r>
            <a:r>
              <a:rPr lang="en-GB" sz="2800" b="1" dirty="0">
                <a:solidFill>
                  <a:srgbClr val="7030A0">
                    <a:alpha val="90000"/>
                  </a:srgbClr>
                </a:solidFill>
                <a:latin typeface="Graphik" panose="020B0503030202060203" pitchFamily="34" charset="0"/>
              </a:rPr>
              <a:t>end-end innovation.</a:t>
            </a:r>
          </a:p>
        </p:txBody>
      </p:sp>
      <p:sp>
        <p:nvSpPr>
          <p:cNvPr id="62" name="Isosceles Triangle 61">
            <a:extLst>
              <a:ext uri="{FF2B5EF4-FFF2-40B4-BE49-F238E27FC236}">
                <a16:creationId xmlns:a16="http://schemas.microsoft.com/office/drawing/2014/main" id="{12F3C731-507A-48AC-84AA-E4406710C158}"/>
              </a:ext>
            </a:extLst>
          </p:cNvPr>
          <p:cNvSpPr/>
          <p:nvPr/>
        </p:nvSpPr>
        <p:spPr>
          <a:xfrm rot="5400000">
            <a:off x="3299079" y="1591015"/>
            <a:ext cx="711200" cy="647219"/>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Isosceles Triangle 62">
            <a:extLst>
              <a:ext uri="{FF2B5EF4-FFF2-40B4-BE49-F238E27FC236}">
                <a16:creationId xmlns:a16="http://schemas.microsoft.com/office/drawing/2014/main" id="{636E008B-3987-4E75-BB68-B300D5ACB7AE}"/>
              </a:ext>
            </a:extLst>
          </p:cNvPr>
          <p:cNvSpPr/>
          <p:nvPr/>
        </p:nvSpPr>
        <p:spPr>
          <a:xfrm>
            <a:off x="3348488" y="5467579"/>
            <a:ext cx="711200" cy="647219"/>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 name="Isosceles Triangle 63">
            <a:extLst>
              <a:ext uri="{FF2B5EF4-FFF2-40B4-BE49-F238E27FC236}">
                <a16:creationId xmlns:a16="http://schemas.microsoft.com/office/drawing/2014/main" id="{168703B1-EE94-4C33-A20C-8E73A6B1C8AD}"/>
              </a:ext>
            </a:extLst>
          </p:cNvPr>
          <p:cNvSpPr/>
          <p:nvPr/>
        </p:nvSpPr>
        <p:spPr>
          <a:xfrm rot="16200000">
            <a:off x="10782785" y="5471775"/>
            <a:ext cx="711200" cy="647219"/>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Isosceles Triangle 64">
            <a:extLst>
              <a:ext uri="{FF2B5EF4-FFF2-40B4-BE49-F238E27FC236}">
                <a16:creationId xmlns:a16="http://schemas.microsoft.com/office/drawing/2014/main" id="{46F019E1-9617-4A05-BB6C-6E5A91363F28}"/>
              </a:ext>
            </a:extLst>
          </p:cNvPr>
          <p:cNvSpPr/>
          <p:nvPr/>
        </p:nvSpPr>
        <p:spPr>
          <a:xfrm rot="10800000">
            <a:off x="10739678" y="1559024"/>
            <a:ext cx="711200" cy="647219"/>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Title 5">
            <a:extLst>
              <a:ext uri="{FF2B5EF4-FFF2-40B4-BE49-F238E27FC236}">
                <a16:creationId xmlns:a16="http://schemas.microsoft.com/office/drawing/2014/main" id="{CE2A7383-4C82-4056-8AA8-63092EE3D476}"/>
              </a:ext>
            </a:extLst>
          </p:cNvPr>
          <p:cNvSpPr txBox="1">
            <a:spLocks/>
          </p:cNvSpPr>
          <p:nvPr/>
        </p:nvSpPr>
        <p:spPr>
          <a:xfrm>
            <a:off x="3390900" y="1580042"/>
            <a:ext cx="8105314" cy="4376344"/>
          </a:xfrm>
          <a:prstGeom prst="rect">
            <a:avLst/>
          </a:prstGeom>
        </p:spPr>
        <p:txBody>
          <a:bodyPr vert="horz" lIns="0" tIns="45720" rIns="0" bIns="0" rtlCol="0" anchor="t" anchorCtr="0">
            <a:normAutofit fontScale="97500"/>
          </a:bodyPr>
          <a:lstStyle>
            <a:lvl1pPr marL="0" indent="0" algn="l" defTabSz="914377" rtl="0" eaLnBrk="1" latinLnBrk="0" hangingPunct="1">
              <a:lnSpc>
                <a:spcPct val="70000"/>
              </a:lnSpc>
              <a:spcBef>
                <a:spcPct val="0"/>
              </a:spcBef>
              <a:buNone/>
              <a:defRPr sz="6000" b="1" kern="1200" cap="all" baseline="0">
                <a:solidFill>
                  <a:srgbClr val="7500C1"/>
                </a:solidFill>
                <a:latin typeface="+mj-lt"/>
                <a:ea typeface="+mj-ea"/>
                <a:cs typeface="+mj-cs"/>
              </a:defRPr>
            </a:lvl1pPr>
          </a:lstStyle>
          <a:p>
            <a:pPr lvl="0">
              <a:defRPr/>
            </a:pPr>
            <a:br>
              <a:rPr lang="en-US" sz="6600" dirty="0">
                <a:solidFill>
                  <a:schemeClr val="tx1"/>
                </a:solidFill>
                <a:latin typeface="Graphik"/>
              </a:rPr>
            </a:br>
            <a:r>
              <a:rPr lang="en-US" sz="6600" dirty="0">
                <a:solidFill>
                  <a:schemeClr val="tx1"/>
                </a:solidFill>
                <a:latin typeface="Graphik"/>
              </a:rPr>
              <a:t>INNOVATION IS THE DELIVERY OF </a:t>
            </a:r>
          </a:p>
          <a:p>
            <a:pPr lvl="0">
              <a:defRPr/>
            </a:pPr>
            <a:r>
              <a:rPr lang="en-US" sz="6600" dirty="0">
                <a:solidFill>
                  <a:srgbClr val="7030A0"/>
                </a:solidFill>
                <a:latin typeface="Graphik"/>
              </a:rPr>
              <a:t>NEW IDEAS </a:t>
            </a:r>
          </a:p>
          <a:p>
            <a:pPr lvl="0">
              <a:defRPr/>
            </a:pPr>
            <a:r>
              <a:rPr lang="en-US" sz="6600" dirty="0">
                <a:solidFill>
                  <a:schemeClr val="tx1"/>
                </a:solidFill>
                <a:latin typeface="Graphik"/>
              </a:rPr>
              <a:t>THAT </a:t>
            </a:r>
          </a:p>
          <a:p>
            <a:pPr lvl="0">
              <a:defRPr/>
            </a:pPr>
            <a:r>
              <a:rPr lang="en-US" sz="6600" dirty="0">
                <a:solidFill>
                  <a:srgbClr val="7030A0"/>
                </a:solidFill>
                <a:latin typeface="Graphik"/>
              </a:rPr>
              <a:t>ADD VALUE</a:t>
            </a:r>
            <a:endParaRPr kumimoji="0" lang="en-US" sz="6600" b="1" i="0" u="none" strike="noStrike" kern="1200" cap="all" spc="0" normalizeH="0" baseline="0" noProof="0" dirty="0">
              <a:ln>
                <a:noFill/>
              </a:ln>
              <a:solidFill>
                <a:srgbClr val="7030A0"/>
              </a:solidFill>
              <a:effectLst/>
              <a:uLnTx/>
              <a:uFillTx/>
              <a:latin typeface="Graphik"/>
            </a:endParaRPr>
          </a:p>
        </p:txBody>
      </p:sp>
    </p:spTree>
    <p:extLst>
      <p:ext uri="{BB962C8B-B14F-4D97-AF65-F5344CB8AC3E}">
        <p14:creationId xmlns:p14="http://schemas.microsoft.com/office/powerpoint/2010/main" val="18723998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Table 50">
            <a:extLst>
              <a:ext uri="{FF2B5EF4-FFF2-40B4-BE49-F238E27FC236}">
                <a16:creationId xmlns:a16="http://schemas.microsoft.com/office/drawing/2014/main" id="{D5079AB1-F14E-43EB-9054-C98720031369}"/>
              </a:ext>
            </a:extLst>
          </p:cNvPr>
          <p:cNvGraphicFramePr>
            <a:graphicFrameLocks noGrp="1"/>
          </p:cNvGraphicFramePr>
          <p:nvPr>
            <p:extLst>
              <p:ext uri="{D42A27DB-BD31-4B8C-83A1-F6EECF244321}">
                <p14:modId xmlns:p14="http://schemas.microsoft.com/office/powerpoint/2010/main" val="808552225"/>
              </p:ext>
            </p:extLst>
          </p:nvPr>
        </p:nvGraphicFramePr>
        <p:xfrm>
          <a:off x="1991892" y="1577148"/>
          <a:ext cx="8154192" cy="4898009"/>
        </p:xfrm>
        <a:graphic>
          <a:graphicData uri="http://schemas.openxmlformats.org/drawingml/2006/table">
            <a:tbl>
              <a:tblPr/>
              <a:tblGrid>
                <a:gridCol w="45025">
                  <a:extLst>
                    <a:ext uri="{9D8B030D-6E8A-4147-A177-3AD203B41FA5}">
                      <a16:colId xmlns:a16="http://schemas.microsoft.com/office/drawing/2014/main" val="2949085184"/>
                    </a:ext>
                  </a:extLst>
                </a:gridCol>
                <a:gridCol w="3299113">
                  <a:extLst>
                    <a:ext uri="{9D8B030D-6E8A-4147-A177-3AD203B41FA5}">
                      <a16:colId xmlns:a16="http://schemas.microsoft.com/office/drawing/2014/main" val="1783474262"/>
                    </a:ext>
                  </a:extLst>
                </a:gridCol>
                <a:gridCol w="906779">
                  <a:extLst>
                    <a:ext uri="{9D8B030D-6E8A-4147-A177-3AD203B41FA5}">
                      <a16:colId xmlns:a16="http://schemas.microsoft.com/office/drawing/2014/main" val="1562211361"/>
                    </a:ext>
                  </a:extLst>
                </a:gridCol>
                <a:gridCol w="3903275">
                  <a:extLst>
                    <a:ext uri="{9D8B030D-6E8A-4147-A177-3AD203B41FA5}">
                      <a16:colId xmlns:a16="http://schemas.microsoft.com/office/drawing/2014/main" val="370966399"/>
                    </a:ext>
                  </a:extLst>
                </a:gridCol>
              </a:tblGrid>
              <a:tr h="312042">
                <a:tc>
                  <a:txBody>
                    <a:bodyPr/>
                    <a:lstStyle/>
                    <a:p>
                      <a:pPr algn="ctr" rtl="0" fontAlgn="ctr"/>
                      <a:r>
                        <a:rPr lang="en-GB" sz="1050" b="1" i="0" u="none" strike="noStrike" dirty="0">
                          <a:solidFill>
                            <a:srgbClr val="7030A0"/>
                          </a:solidFill>
                          <a:effectLst/>
                          <a:latin typeface="Graphik" panose="020B0503030202060203" pitchFamily="34" charset="0"/>
                        </a:rPr>
                        <a:t> </a:t>
                      </a:r>
                    </a:p>
                  </a:txBody>
                  <a:tcPr marL="4752" marR="4752" marT="47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ctr"/>
                      <a:endParaRPr lang="en-GB" sz="1800" b="1" i="0" u="none" strike="noStrike" dirty="0">
                        <a:solidFill>
                          <a:srgbClr val="7030A0"/>
                        </a:solidFill>
                        <a:effectLst/>
                        <a:latin typeface="Graphik" panose="020B0503030202060203" pitchFamily="34" charset="0"/>
                      </a:endParaRPr>
                    </a:p>
                  </a:txBody>
                  <a:tcPr marL="4752" marR="4752" marT="47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ctr"/>
                      <a:r>
                        <a:rPr lang="en-GB" sz="1400" b="1" i="0" u="none" strike="noStrike">
                          <a:solidFill>
                            <a:srgbClr val="7030A0"/>
                          </a:solidFill>
                          <a:effectLst/>
                          <a:latin typeface="Graphik" panose="020B0503030202060203" pitchFamily="34" charset="0"/>
                        </a:rPr>
                        <a:t> </a:t>
                      </a:r>
                    </a:p>
                  </a:txBody>
                  <a:tcPr marL="4752" marR="4752" marT="47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ctr"/>
                      <a:endParaRPr lang="en-GB" sz="1800" b="1" i="0" u="none" strike="noStrike" dirty="0">
                        <a:solidFill>
                          <a:srgbClr val="7030A0"/>
                        </a:solidFill>
                        <a:effectLst/>
                        <a:latin typeface="Graphik" panose="020B0503030202060203" pitchFamily="34" charset="0"/>
                      </a:endParaRPr>
                    </a:p>
                  </a:txBody>
                  <a:tcPr marL="4752" marR="4752" marT="47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99227463"/>
                  </a:ext>
                </a:extLst>
              </a:tr>
              <a:tr h="287579">
                <a:tc>
                  <a:txBody>
                    <a:bodyPr/>
                    <a:lstStyle/>
                    <a:p>
                      <a:pPr algn="ctr" rtl="0" fontAlgn="ctr"/>
                      <a:r>
                        <a:rPr lang="en-GB" sz="1100" b="1" i="0" u="none" strike="noStrike">
                          <a:solidFill>
                            <a:srgbClr val="000000"/>
                          </a:solidFill>
                          <a:effectLst/>
                          <a:latin typeface="Graphik" panose="020B0503030202060203" pitchFamily="34" charset="0"/>
                        </a:rPr>
                        <a:t> </a:t>
                      </a:r>
                    </a:p>
                  </a:txBody>
                  <a:tcPr marL="4752" marR="4752" marT="47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t"/>
                      <a:r>
                        <a:rPr lang="en-GB" sz="1100" b="0" i="1" u="none" strike="noStrike">
                          <a:solidFill>
                            <a:srgbClr val="FF0000"/>
                          </a:solidFill>
                          <a:effectLst/>
                          <a:latin typeface="Graphik" panose="020B0503030202060203" pitchFamily="34" charset="0"/>
                        </a:rPr>
                        <a:t> </a:t>
                      </a:r>
                    </a:p>
                  </a:txBody>
                  <a:tcPr marL="4752" marR="4752" marT="4752"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t"/>
                      <a:r>
                        <a:rPr lang="en-GB" sz="1050" b="0" i="1" u="none" strike="noStrike">
                          <a:solidFill>
                            <a:srgbClr val="FF0000"/>
                          </a:solidFill>
                          <a:effectLst/>
                          <a:latin typeface="Graphik" panose="020B0503030202060203" pitchFamily="34" charset="0"/>
                        </a:rPr>
                        <a:t> </a:t>
                      </a:r>
                    </a:p>
                  </a:txBody>
                  <a:tcPr marL="4752" marR="4752" marT="4752"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t"/>
                      <a:r>
                        <a:rPr lang="en-GB" sz="1050" b="0" i="1" u="none" strike="noStrike" dirty="0">
                          <a:solidFill>
                            <a:srgbClr val="FF0000"/>
                          </a:solidFill>
                          <a:effectLst/>
                          <a:latin typeface="Graphik" panose="020B0503030202060203" pitchFamily="34" charset="0"/>
                        </a:rPr>
                        <a:t> </a:t>
                      </a:r>
                    </a:p>
                  </a:txBody>
                  <a:tcPr marL="4752" marR="4752" marT="4752"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6918837"/>
                  </a:ext>
                </a:extLst>
              </a:tr>
              <a:tr h="1095903">
                <a:tc>
                  <a:txBody>
                    <a:bodyPr/>
                    <a:lstStyle/>
                    <a:p>
                      <a:pPr algn="ctr" rtl="0" fontAlgn="ctr"/>
                      <a:r>
                        <a:rPr lang="en-GB" sz="1600" b="1" i="0" u="none" strike="noStrike">
                          <a:solidFill>
                            <a:srgbClr val="000000"/>
                          </a:solidFill>
                          <a:effectLst/>
                          <a:latin typeface="Graphik" panose="020B0503030202060203" pitchFamily="34" charset="0"/>
                        </a:rPr>
                        <a:t> </a:t>
                      </a:r>
                    </a:p>
                  </a:txBody>
                  <a:tcPr marL="4752" marR="4752" marT="47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t"/>
                      <a:r>
                        <a:rPr lang="en-GB" sz="1600" b="0" i="1" u="none" strike="noStrike" dirty="0">
                          <a:solidFill>
                            <a:srgbClr val="000000"/>
                          </a:solidFill>
                          <a:effectLst/>
                          <a:latin typeface="Graphik" panose="020B0503030202060203" pitchFamily="34" charset="0"/>
                        </a:rPr>
                        <a:t>"The design and marketing teams are the 'creatives'. They come up with the ideas. We run the business“</a:t>
                      </a:r>
                    </a:p>
                  </a:txBody>
                  <a:tcPr marL="4752" marR="4752" marT="4752"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t"/>
                      <a:r>
                        <a:rPr lang="en-GB" sz="1600" b="0" i="1" u="none" strike="noStrike" dirty="0">
                          <a:solidFill>
                            <a:srgbClr val="FF0000"/>
                          </a:solidFill>
                          <a:effectLst/>
                          <a:latin typeface="Graphik" panose="020B0503030202060203" pitchFamily="34" charset="0"/>
                        </a:rPr>
                        <a:t> </a:t>
                      </a:r>
                    </a:p>
                  </a:txBody>
                  <a:tcPr marL="4752" marR="4752" marT="4752"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t"/>
                      <a:r>
                        <a:rPr lang="en-GB" sz="1600" b="0" i="1" u="none" strike="noStrike" dirty="0">
                          <a:solidFill>
                            <a:srgbClr val="000000"/>
                          </a:solidFill>
                          <a:effectLst/>
                          <a:latin typeface="Graphik" panose="020B0503030202060203" pitchFamily="34" charset="0"/>
                        </a:rPr>
                        <a:t>"We look to all our stakeholders for ideas. Front office and back office staff, new joiners, leadership, customers, shareholders, critics“</a:t>
                      </a:r>
                    </a:p>
                    <a:p>
                      <a:pPr algn="l" rtl="0" fontAlgn="t"/>
                      <a:endParaRPr lang="en-GB" sz="1600" b="0" i="1" u="none" strike="noStrike" dirty="0">
                        <a:solidFill>
                          <a:srgbClr val="000000"/>
                        </a:solidFill>
                        <a:effectLst/>
                        <a:latin typeface="Graphik" panose="020B0503030202060203" pitchFamily="34" charset="0"/>
                      </a:endParaRPr>
                    </a:p>
                  </a:txBody>
                  <a:tcPr marL="4752" marR="4752" marT="4752"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95430025"/>
                  </a:ext>
                </a:extLst>
              </a:tr>
              <a:tr h="564849">
                <a:tc>
                  <a:txBody>
                    <a:bodyPr/>
                    <a:lstStyle/>
                    <a:p>
                      <a:pPr algn="ctr" rtl="0" fontAlgn="ctr"/>
                      <a:r>
                        <a:rPr lang="en-GB" sz="1400" b="1" i="0" u="none" strike="noStrike">
                          <a:solidFill>
                            <a:srgbClr val="000000"/>
                          </a:solidFill>
                          <a:effectLst/>
                          <a:latin typeface="Graphik" panose="020B0503030202060203" pitchFamily="34" charset="0"/>
                        </a:rPr>
                        <a:t> </a:t>
                      </a:r>
                    </a:p>
                  </a:txBody>
                  <a:tcPr marL="4752" marR="4752" marT="47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t"/>
                      <a:r>
                        <a:rPr lang="en-GB" sz="1600" b="0" i="1" u="none" strike="noStrike" dirty="0">
                          <a:solidFill>
                            <a:srgbClr val="000000"/>
                          </a:solidFill>
                          <a:effectLst/>
                          <a:latin typeface="Graphik" panose="020B0503030202060203" pitchFamily="34" charset="0"/>
                        </a:rPr>
                        <a:t>“How can we get ideas from our employees?”</a:t>
                      </a:r>
                    </a:p>
                  </a:txBody>
                  <a:tcPr marL="4752" marR="4752" marT="4752"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t"/>
                      <a:r>
                        <a:rPr lang="en-GB" sz="1600" b="0" i="1" u="none" strike="noStrike" dirty="0">
                          <a:solidFill>
                            <a:srgbClr val="000000"/>
                          </a:solidFill>
                          <a:effectLst/>
                          <a:latin typeface="Graphik" panose="020B0503030202060203" pitchFamily="34" charset="0"/>
                        </a:rPr>
                        <a:t> </a:t>
                      </a:r>
                    </a:p>
                  </a:txBody>
                  <a:tcPr marL="4752" marR="4752" marT="4752"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t"/>
                      <a:r>
                        <a:rPr lang="en-GB" sz="1600" b="0" i="1" u="none" strike="noStrike" dirty="0">
                          <a:solidFill>
                            <a:srgbClr val="000000"/>
                          </a:solidFill>
                          <a:effectLst/>
                          <a:latin typeface="Graphik" panose="020B0503030202060203" pitchFamily="34" charset="0"/>
                        </a:rPr>
                        <a:t>“Where might we look for interesting problems to solve?”</a:t>
                      </a:r>
                    </a:p>
                    <a:p>
                      <a:pPr algn="l" rtl="0" fontAlgn="t"/>
                      <a:endParaRPr lang="en-GB" sz="1600" b="0" i="1" u="none" strike="noStrike" dirty="0">
                        <a:solidFill>
                          <a:srgbClr val="000000"/>
                        </a:solidFill>
                        <a:effectLst/>
                        <a:latin typeface="Graphik" panose="020B0503030202060203" pitchFamily="34" charset="0"/>
                      </a:endParaRPr>
                    </a:p>
                  </a:txBody>
                  <a:tcPr marL="4752" marR="4752" marT="4752"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35484150"/>
                  </a:ext>
                </a:extLst>
              </a:tr>
              <a:tr h="550608">
                <a:tc>
                  <a:txBody>
                    <a:bodyPr/>
                    <a:lstStyle/>
                    <a:p>
                      <a:pPr algn="ctr" rtl="0" fontAlgn="ctr"/>
                      <a:r>
                        <a:rPr lang="en-GB" sz="1400" b="1" i="0" u="none" strike="noStrike">
                          <a:solidFill>
                            <a:srgbClr val="000000"/>
                          </a:solidFill>
                          <a:effectLst/>
                          <a:latin typeface="Graphik" panose="020B0503030202060203" pitchFamily="34" charset="0"/>
                        </a:rPr>
                        <a:t> </a:t>
                      </a:r>
                    </a:p>
                  </a:txBody>
                  <a:tcPr marL="4752" marR="4752" marT="47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t"/>
                      <a:r>
                        <a:rPr lang="en-GB" sz="1600" b="0" i="1" u="none" strike="noStrike" dirty="0">
                          <a:solidFill>
                            <a:srgbClr val="000000"/>
                          </a:solidFill>
                          <a:effectLst/>
                          <a:latin typeface="Graphik" panose="020B0503030202060203" pitchFamily="34" charset="0"/>
                        </a:rPr>
                        <a:t>“How can we pilot lots of ideas?”</a:t>
                      </a:r>
                    </a:p>
                  </a:txBody>
                  <a:tcPr marL="4752" marR="4752" marT="4752"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t"/>
                      <a:r>
                        <a:rPr lang="en-GB" sz="1600" b="0" i="1" u="none" strike="noStrike" dirty="0">
                          <a:solidFill>
                            <a:srgbClr val="000000"/>
                          </a:solidFill>
                          <a:effectLst/>
                          <a:latin typeface="Graphik" panose="020B0503030202060203" pitchFamily="34" charset="0"/>
                        </a:rPr>
                        <a:t> </a:t>
                      </a:r>
                    </a:p>
                  </a:txBody>
                  <a:tcPr marL="4752" marR="4752" marT="4752"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t"/>
                      <a:r>
                        <a:rPr lang="en-GB" sz="1600" b="0" i="1" u="none" strike="noStrike" dirty="0">
                          <a:solidFill>
                            <a:srgbClr val="000000"/>
                          </a:solidFill>
                          <a:effectLst/>
                          <a:latin typeface="Graphik" panose="020B0503030202060203" pitchFamily="34" charset="0"/>
                        </a:rPr>
                        <a:t>“How can we find a solid concept to scale?”</a:t>
                      </a:r>
                    </a:p>
                  </a:txBody>
                  <a:tcPr marL="4752" marR="4752" marT="4752"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34891137"/>
                  </a:ext>
                </a:extLst>
              </a:tr>
              <a:tr h="691653">
                <a:tc>
                  <a:txBody>
                    <a:bodyPr/>
                    <a:lstStyle/>
                    <a:p>
                      <a:pPr algn="ctr" rtl="0" fontAlgn="ctr"/>
                      <a:r>
                        <a:rPr lang="en-GB" sz="1400" b="1" i="0" u="none" strike="noStrike" dirty="0">
                          <a:solidFill>
                            <a:srgbClr val="000000"/>
                          </a:solidFill>
                          <a:effectLst/>
                          <a:latin typeface="Graphik" panose="020B0503030202060203" pitchFamily="34" charset="0"/>
                        </a:rPr>
                        <a:t> </a:t>
                      </a:r>
                    </a:p>
                  </a:txBody>
                  <a:tcPr marL="4752" marR="4752" marT="47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t"/>
                      <a:r>
                        <a:rPr lang="en-GB" sz="1600" b="0" i="1" u="none" strike="noStrike" dirty="0">
                          <a:solidFill>
                            <a:srgbClr val="000000"/>
                          </a:solidFill>
                          <a:effectLst/>
                          <a:latin typeface="Graphik" panose="020B0503030202060203" pitchFamily="34" charset="0"/>
                        </a:rPr>
                        <a:t>“What technologies does my client need?</a:t>
                      </a:r>
                    </a:p>
                  </a:txBody>
                  <a:tcPr marL="4752" marR="4752" marT="4752"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t"/>
                      <a:r>
                        <a:rPr lang="en-GB" sz="1600" b="0" i="1" u="none" strike="noStrike">
                          <a:solidFill>
                            <a:srgbClr val="000000"/>
                          </a:solidFill>
                          <a:effectLst/>
                          <a:latin typeface="Graphik" panose="020B0503030202060203" pitchFamily="34" charset="0"/>
                        </a:rPr>
                        <a:t> </a:t>
                      </a:r>
                    </a:p>
                  </a:txBody>
                  <a:tcPr marL="4752" marR="4752" marT="4752"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t"/>
                      <a:r>
                        <a:rPr lang="en-GB" sz="1600" b="0" i="1" u="none" strike="noStrike" dirty="0">
                          <a:solidFill>
                            <a:srgbClr val="000000"/>
                          </a:solidFill>
                          <a:effectLst/>
                          <a:latin typeface="Graphik" panose="020B0503030202060203" pitchFamily="34" charset="0"/>
                        </a:rPr>
                        <a:t>“What business challenges is my client most concerned about?”</a:t>
                      </a:r>
                    </a:p>
                  </a:txBody>
                  <a:tcPr marL="4752" marR="4752" marT="4752"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42826675"/>
                  </a:ext>
                </a:extLst>
              </a:tr>
              <a:tr h="1095903">
                <a:tc>
                  <a:txBody>
                    <a:bodyPr/>
                    <a:lstStyle/>
                    <a:p>
                      <a:pPr algn="ctr" rtl="0" fontAlgn="ctr"/>
                      <a:r>
                        <a:rPr lang="en-GB" sz="1400" b="1" i="0" u="none" strike="noStrike">
                          <a:solidFill>
                            <a:srgbClr val="000000"/>
                          </a:solidFill>
                          <a:effectLst/>
                          <a:latin typeface="Graphik" panose="020B0503030202060203" pitchFamily="34" charset="0"/>
                        </a:rPr>
                        <a:t> </a:t>
                      </a:r>
                    </a:p>
                  </a:txBody>
                  <a:tcPr marL="4752" marR="4752" marT="47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t"/>
                      <a:r>
                        <a:rPr lang="en-GB" sz="1600" b="0" i="1" u="none" strike="noStrike" dirty="0">
                          <a:solidFill>
                            <a:srgbClr val="000000"/>
                          </a:solidFill>
                          <a:effectLst/>
                          <a:latin typeface="Graphik" panose="020B0503030202060203" pitchFamily="34" charset="0"/>
                        </a:rPr>
                        <a:t>“How can I  impress my client showing them the new investments we've made in  innovative capabilities?”</a:t>
                      </a:r>
                    </a:p>
                  </a:txBody>
                  <a:tcPr marL="4752" marR="4752" marT="4752"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t"/>
                      <a:r>
                        <a:rPr lang="en-GB" sz="1600" b="0" i="1" u="none" strike="noStrike" dirty="0">
                          <a:solidFill>
                            <a:srgbClr val="000000"/>
                          </a:solidFill>
                          <a:effectLst/>
                          <a:latin typeface="Graphik" panose="020B0503030202060203" pitchFamily="34" charset="0"/>
                        </a:rPr>
                        <a:t> </a:t>
                      </a:r>
                    </a:p>
                  </a:txBody>
                  <a:tcPr marL="4752" marR="4752" marT="4752"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rtl="0" fontAlgn="t"/>
                      <a:r>
                        <a:rPr lang="en-GB" sz="1600" b="0" i="1" u="none" strike="noStrike" dirty="0">
                          <a:solidFill>
                            <a:srgbClr val="000000"/>
                          </a:solidFill>
                          <a:effectLst/>
                          <a:latin typeface="Graphik" panose="020B0503030202060203" pitchFamily="34" charset="0"/>
                        </a:rPr>
                        <a:t>“How can I work use our new innovative capabilities to drive new value for the client and enable meaningful change?"</a:t>
                      </a:r>
                    </a:p>
                  </a:txBody>
                  <a:tcPr marL="4752" marR="4752" marT="4752"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3521447"/>
                  </a:ext>
                </a:extLst>
              </a:tr>
            </a:tbl>
          </a:graphicData>
        </a:graphic>
      </p:graphicFrame>
      <p:pic>
        <p:nvPicPr>
          <p:cNvPr id="22" name="Graphic 21" descr="Repeat">
            <a:extLst>
              <a:ext uri="{FF2B5EF4-FFF2-40B4-BE49-F238E27FC236}">
                <a16:creationId xmlns:a16="http://schemas.microsoft.com/office/drawing/2014/main" id="{377345ED-892F-404E-BFC1-DAF34837D8F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03411" y="1381777"/>
            <a:ext cx="512806" cy="512806"/>
          </a:xfrm>
          <a:prstGeom prst="rect">
            <a:avLst/>
          </a:prstGeom>
        </p:spPr>
      </p:pic>
      <p:cxnSp>
        <p:nvCxnSpPr>
          <p:cNvPr id="67" name="Straight Connector 66">
            <a:extLst>
              <a:ext uri="{FF2B5EF4-FFF2-40B4-BE49-F238E27FC236}">
                <a16:creationId xmlns:a16="http://schemas.microsoft.com/office/drawing/2014/main" id="{C829A590-5C62-46EB-A869-94389D885C41}"/>
              </a:ext>
            </a:extLst>
          </p:cNvPr>
          <p:cNvCxnSpPr>
            <a:cxnSpLocks/>
            <a:endCxn id="111" idx="0"/>
          </p:cNvCxnSpPr>
          <p:nvPr/>
        </p:nvCxnSpPr>
        <p:spPr>
          <a:xfrm>
            <a:off x="5659814" y="1785391"/>
            <a:ext cx="0" cy="4387012"/>
          </a:xfrm>
          <a:prstGeom prst="line">
            <a:avLst/>
          </a:prstGeom>
          <a:ln w="38100">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sp>
        <p:nvSpPr>
          <p:cNvPr id="81" name="Title 1">
            <a:extLst>
              <a:ext uri="{FF2B5EF4-FFF2-40B4-BE49-F238E27FC236}">
                <a16:creationId xmlns:a16="http://schemas.microsoft.com/office/drawing/2014/main" id="{B2E7054E-A8BD-4E3F-B121-CCD5884AFE81}"/>
              </a:ext>
            </a:extLst>
          </p:cNvPr>
          <p:cNvSpPr txBox="1">
            <a:spLocks/>
          </p:cNvSpPr>
          <p:nvPr/>
        </p:nvSpPr>
        <p:spPr>
          <a:xfrm>
            <a:off x="283658" y="432458"/>
            <a:ext cx="8409171" cy="1076166"/>
          </a:xfrm>
          <a:prstGeom prst="rect">
            <a:avLst/>
          </a:prstGeom>
        </p:spPr>
        <p:txBody>
          <a:bodyPr vert="horz" lIns="0" tIns="0" rIns="130101" bIns="0" rtlCol="0" anchor="t" anchorCtr="0">
            <a:noAutofit/>
          </a:bodyPr>
          <a:lstStyle>
            <a:lvl1pPr algn="l" defTabSz="1734634" rtl="0" eaLnBrk="1" latinLnBrk="0" hangingPunct="1">
              <a:lnSpc>
                <a:spcPct val="80000"/>
              </a:lnSpc>
              <a:spcBef>
                <a:spcPct val="0"/>
              </a:spcBef>
              <a:buNone/>
              <a:defRPr sz="3200" b="0" i="0" kern="1200" cap="all" spc="-133" baseline="0">
                <a:solidFill>
                  <a:schemeClr val="accent3"/>
                </a:solidFill>
                <a:latin typeface="Arial Black" charset="0"/>
                <a:ea typeface="Arial Black" charset="0"/>
                <a:cs typeface="Arial Black" charset="0"/>
              </a:defRPr>
            </a:lvl1pPr>
          </a:lstStyle>
          <a:p>
            <a:pPr marL="0" marR="0" lvl="0" indent="0" algn="l" defTabSz="1734634" rtl="0" eaLnBrk="1" fontAlgn="auto" latinLnBrk="0" hangingPunct="1">
              <a:lnSpc>
                <a:spcPct val="80000"/>
              </a:lnSpc>
              <a:spcBef>
                <a:spcPct val="0"/>
              </a:spcBef>
              <a:spcAft>
                <a:spcPts val="0"/>
              </a:spcAft>
              <a:buClrTx/>
              <a:buSzTx/>
              <a:buFontTx/>
              <a:buNone/>
              <a:tabLst/>
              <a:defRPr/>
            </a:pPr>
            <a:r>
              <a:rPr kumimoji="0" lang="en-US" sz="3600" b="1" i="0" u="none" strike="noStrike" kern="1200" cap="all" spc="-133" normalizeH="0" baseline="0" noProof="0" dirty="0">
                <a:ln>
                  <a:noFill/>
                </a:ln>
                <a:solidFill>
                  <a:schemeClr val="tx1"/>
                </a:solidFill>
                <a:effectLst/>
                <a:uLnTx/>
                <a:uFillTx/>
                <a:latin typeface="Graphik" panose="020B0503030202060203" pitchFamily="34" charset="0"/>
              </a:rPr>
              <a:t>APPROACH</a:t>
            </a:r>
          </a:p>
          <a:p>
            <a:pPr marL="0" marR="0" lvl="0" indent="0" algn="l" defTabSz="1734634" rtl="0" eaLnBrk="1" fontAlgn="auto" latinLnBrk="0" hangingPunct="1">
              <a:lnSpc>
                <a:spcPct val="80000"/>
              </a:lnSpc>
              <a:spcBef>
                <a:spcPct val="0"/>
              </a:spcBef>
              <a:spcAft>
                <a:spcPts val="0"/>
              </a:spcAft>
              <a:buClrTx/>
              <a:buSzTx/>
              <a:buFontTx/>
              <a:buNone/>
              <a:tabLst/>
              <a:defRPr/>
            </a:pPr>
            <a:r>
              <a:rPr kumimoji="0" lang="en-US" sz="3600" b="1" i="0" u="none" strike="noStrike" kern="1200" cap="all" spc="-133" normalizeH="0" baseline="0" noProof="0" dirty="0">
                <a:ln>
                  <a:noFill/>
                </a:ln>
                <a:solidFill>
                  <a:srgbClr val="7030A0"/>
                </a:solidFill>
                <a:effectLst/>
                <a:uLnTx/>
                <a:uFillTx/>
                <a:latin typeface="Graphik" panose="020B0503030202060203" pitchFamily="34" charset="0"/>
              </a:rPr>
              <a:t>traditional vs new</a:t>
            </a:r>
            <a:endParaRPr kumimoji="0" lang="en-IE" sz="3600" b="1" i="0" u="none" strike="noStrike" kern="1200" cap="all" spc="-133" normalizeH="0" baseline="0" noProof="0" dirty="0">
              <a:ln>
                <a:noFill/>
              </a:ln>
              <a:solidFill>
                <a:srgbClr val="7030A0"/>
              </a:solidFill>
              <a:effectLst/>
              <a:uLnTx/>
              <a:uFillTx/>
              <a:latin typeface="Graphik" panose="020B0503030202060203" pitchFamily="34" charset="0"/>
            </a:endParaRPr>
          </a:p>
        </p:txBody>
      </p:sp>
      <p:sp>
        <p:nvSpPr>
          <p:cNvPr id="94" name="Rectangle 93">
            <a:extLst>
              <a:ext uri="{FF2B5EF4-FFF2-40B4-BE49-F238E27FC236}">
                <a16:creationId xmlns:a16="http://schemas.microsoft.com/office/drawing/2014/main" id="{C4C8DC1E-6C31-4AE4-B19F-54F3B5B6B419}"/>
              </a:ext>
            </a:extLst>
          </p:cNvPr>
          <p:cNvSpPr/>
          <p:nvPr/>
        </p:nvSpPr>
        <p:spPr>
          <a:xfrm>
            <a:off x="6141094" y="1743902"/>
            <a:ext cx="2061142" cy="338554"/>
          </a:xfrm>
          <a:prstGeom prst="rect">
            <a:avLst/>
          </a:prstGeom>
        </p:spPr>
        <p:txBody>
          <a:bodyPr wrap="none">
            <a:spAutoFit/>
          </a:bodyPr>
          <a:lstStyle/>
          <a:p>
            <a:pPr fontAlgn="ctr"/>
            <a:r>
              <a:rPr lang="en-GB" sz="1600" b="1" dirty="0">
                <a:solidFill>
                  <a:srgbClr val="7030A0"/>
                </a:solidFill>
                <a:latin typeface="Graphik" panose="020B0503030202060203" pitchFamily="34" charset="0"/>
              </a:rPr>
              <a:t>New Ways of Working</a:t>
            </a:r>
          </a:p>
        </p:txBody>
      </p:sp>
      <p:sp>
        <p:nvSpPr>
          <p:cNvPr id="96" name="Rectangle 95">
            <a:extLst>
              <a:ext uri="{FF2B5EF4-FFF2-40B4-BE49-F238E27FC236}">
                <a16:creationId xmlns:a16="http://schemas.microsoft.com/office/drawing/2014/main" id="{904AF6E2-5DE1-4C7F-A814-DCF9F0B531E7}"/>
              </a:ext>
            </a:extLst>
          </p:cNvPr>
          <p:cNvSpPr/>
          <p:nvPr/>
        </p:nvSpPr>
        <p:spPr>
          <a:xfrm>
            <a:off x="1910497" y="1743902"/>
            <a:ext cx="2358338" cy="338554"/>
          </a:xfrm>
          <a:prstGeom prst="rect">
            <a:avLst/>
          </a:prstGeom>
        </p:spPr>
        <p:txBody>
          <a:bodyPr wrap="none">
            <a:spAutoFit/>
          </a:bodyPr>
          <a:lstStyle/>
          <a:p>
            <a:pPr fontAlgn="ctr"/>
            <a:r>
              <a:rPr lang="en-GB" sz="1600" b="1" dirty="0">
                <a:solidFill>
                  <a:srgbClr val="7030A0"/>
                </a:solidFill>
                <a:latin typeface="Graphik" panose="020B0503030202060203" pitchFamily="34" charset="0"/>
              </a:rPr>
              <a:t>T</a:t>
            </a:r>
            <a:r>
              <a:rPr lang="en-GB" sz="1600" b="1" i="1" dirty="0">
                <a:solidFill>
                  <a:srgbClr val="7030A0"/>
                </a:solidFill>
                <a:latin typeface="Graphik" panose="020B0503030202060203" pitchFamily="34" charset="0"/>
              </a:rPr>
              <a:t>raditional </a:t>
            </a:r>
            <a:r>
              <a:rPr lang="en-GB" sz="1600" b="1" dirty="0">
                <a:solidFill>
                  <a:srgbClr val="7030A0"/>
                </a:solidFill>
                <a:latin typeface="Graphik" panose="020B0503030202060203" pitchFamily="34" charset="0"/>
              </a:rPr>
              <a:t>Approach</a:t>
            </a:r>
          </a:p>
        </p:txBody>
      </p:sp>
      <p:grpSp>
        <p:nvGrpSpPr>
          <p:cNvPr id="98" name="Group 97">
            <a:extLst>
              <a:ext uri="{FF2B5EF4-FFF2-40B4-BE49-F238E27FC236}">
                <a16:creationId xmlns:a16="http://schemas.microsoft.com/office/drawing/2014/main" id="{CCFEAD5D-0528-4CC3-9759-270A3FB0A76D}"/>
              </a:ext>
            </a:extLst>
          </p:cNvPr>
          <p:cNvGrpSpPr/>
          <p:nvPr/>
        </p:nvGrpSpPr>
        <p:grpSpPr>
          <a:xfrm>
            <a:off x="11002480" y="6172403"/>
            <a:ext cx="984025" cy="309657"/>
            <a:chOff x="435710" y="381000"/>
            <a:chExt cx="1816101" cy="466724"/>
          </a:xfrm>
        </p:grpSpPr>
        <p:sp>
          <p:nvSpPr>
            <p:cNvPr id="99" name="Freeform 5">
              <a:extLst>
                <a:ext uri="{FF2B5EF4-FFF2-40B4-BE49-F238E27FC236}">
                  <a16:creationId xmlns:a16="http://schemas.microsoft.com/office/drawing/2014/main" id="{D6FFE74F-0D48-4F3C-9294-D17887F104A9}"/>
                </a:ext>
              </a:extLst>
            </p:cNvPr>
            <p:cNvSpPr>
              <a:spLocks/>
            </p:cNvSpPr>
            <p:nvPr/>
          </p:nvSpPr>
          <p:spPr bwMode="auto">
            <a:xfrm>
              <a:off x="1454816" y="381000"/>
              <a:ext cx="177800" cy="188912"/>
            </a:xfrm>
            <a:custGeom>
              <a:avLst/>
              <a:gdLst>
                <a:gd name="T0" fmla="*/ 0 w 112"/>
                <a:gd name="T1" fmla="*/ 83 h 119"/>
                <a:gd name="T2" fmla="*/ 66 w 112"/>
                <a:gd name="T3" fmla="*/ 60 h 119"/>
                <a:gd name="T4" fmla="*/ 0 w 112"/>
                <a:gd name="T5" fmla="*/ 33 h 119"/>
                <a:gd name="T6" fmla="*/ 0 w 112"/>
                <a:gd name="T7" fmla="*/ 0 h 119"/>
                <a:gd name="T8" fmla="*/ 112 w 112"/>
                <a:gd name="T9" fmla="*/ 45 h 119"/>
                <a:gd name="T10" fmla="*/ 112 w 112"/>
                <a:gd name="T11" fmla="*/ 73 h 119"/>
                <a:gd name="T12" fmla="*/ 0 w 112"/>
                <a:gd name="T13" fmla="*/ 119 h 119"/>
                <a:gd name="T14" fmla="*/ 0 w 112"/>
                <a:gd name="T15" fmla="*/ 83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119">
                  <a:moveTo>
                    <a:pt x="0" y="83"/>
                  </a:moveTo>
                  <a:lnTo>
                    <a:pt x="66" y="60"/>
                  </a:lnTo>
                  <a:lnTo>
                    <a:pt x="0" y="33"/>
                  </a:lnTo>
                  <a:lnTo>
                    <a:pt x="0" y="0"/>
                  </a:lnTo>
                  <a:lnTo>
                    <a:pt x="112" y="45"/>
                  </a:lnTo>
                  <a:lnTo>
                    <a:pt x="112" y="73"/>
                  </a:lnTo>
                  <a:lnTo>
                    <a:pt x="0" y="119"/>
                  </a:lnTo>
                  <a:lnTo>
                    <a:pt x="0" y="83"/>
                  </a:ln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endParaRPr lang="zh-CN" altLang="en-US"/>
            </a:p>
          </p:txBody>
        </p:sp>
        <p:grpSp>
          <p:nvGrpSpPr>
            <p:cNvPr id="100" name="组合 27">
              <a:extLst>
                <a:ext uri="{FF2B5EF4-FFF2-40B4-BE49-F238E27FC236}">
                  <a16:creationId xmlns:a16="http://schemas.microsoft.com/office/drawing/2014/main" id="{2E0BF321-98A8-442C-BDEB-028057FD078F}"/>
                </a:ext>
              </a:extLst>
            </p:cNvPr>
            <p:cNvGrpSpPr/>
            <p:nvPr/>
          </p:nvGrpSpPr>
          <p:grpSpPr>
            <a:xfrm>
              <a:off x="435710" y="569912"/>
              <a:ext cx="1816101" cy="277812"/>
              <a:chOff x="9918700" y="1535113"/>
              <a:chExt cx="1816101" cy="277812"/>
            </a:xfrm>
            <a:solidFill>
              <a:schemeClr val="bg1"/>
            </a:solidFill>
          </p:grpSpPr>
          <p:sp>
            <p:nvSpPr>
              <p:cNvPr id="101" name="Freeform 6">
                <a:extLst>
                  <a:ext uri="{FF2B5EF4-FFF2-40B4-BE49-F238E27FC236}">
                    <a16:creationId xmlns:a16="http://schemas.microsoft.com/office/drawing/2014/main" id="{75B76058-8A01-43CA-B712-3F5217569323}"/>
                  </a:ext>
                </a:extLst>
              </p:cNvPr>
              <p:cNvSpPr>
                <a:spLocks noEditPoints="1"/>
              </p:cNvSpPr>
              <p:nvPr/>
            </p:nvSpPr>
            <p:spPr bwMode="auto">
              <a:xfrm>
                <a:off x="9918700" y="1593850"/>
                <a:ext cx="184150" cy="219075"/>
              </a:xfrm>
              <a:custGeom>
                <a:avLst/>
                <a:gdLst>
                  <a:gd name="T0" fmla="*/ 37 w 97"/>
                  <a:gd name="T1" fmla="*/ 116 h 116"/>
                  <a:gd name="T2" fmla="*/ 0 w 97"/>
                  <a:gd name="T3" fmla="*/ 83 h 116"/>
                  <a:gd name="T4" fmla="*/ 0 w 97"/>
                  <a:gd name="T5" fmla="*/ 82 h 116"/>
                  <a:gd name="T6" fmla="*/ 53 w 97"/>
                  <a:gd name="T7" fmla="*/ 46 h 116"/>
                  <a:gd name="T8" fmla="*/ 66 w 97"/>
                  <a:gd name="T9" fmla="*/ 46 h 116"/>
                  <a:gd name="T10" fmla="*/ 66 w 97"/>
                  <a:gd name="T11" fmla="*/ 40 h 116"/>
                  <a:gd name="T12" fmla="*/ 50 w 97"/>
                  <a:gd name="T13" fmla="*/ 23 h 116"/>
                  <a:gd name="T14" fmla="*/ 33 w 97"/>
                  <a:gd name="T15" fmla="*/ 37 h 116"/>
                  <a:gd name="T16" fmla="*/ 4 w 97"/>
                  <a:gd name="T17" fmla="*/ 37 h 116"/>
                  <a:gd name="T18" fmla="*/ 51 w 97"/>
                  <a:gd name="T19" fmla="*/ 0 h 116"/>
                  <a:gd name="T20" fmla="*/ 97 w 97"/>
                  <a:gd name="T21" fmla="*/ 39 h 116"/>
                  <a:gd name="T22" fmla="*/ 97 w 97"/>
                  <a:gd name="T23" fmla="*/ 113 h 116"/>
                  <a:gd name="T24" fmla="*/ 67 w 97"/>
                  <a:gd name="T25" fmla="*/ 113 h 116"/>
                  <a:gd name="T26" fmla="*/ 67 w 97"/>
                  <a:gd name="T27" fmla="*/ 101 h 116"/>
                  <a:gd name="T28" fmla="*/ 37 w 97"/>
                  <a:gd name="T29" fmla="*/ 116 h 116"/>
                  <a:gd name="T30" fmla="*/ 66 w 97"/>
                  <a:gd name="T31" fmla="*/ 77 h 116"/>
                  <a:gd name="T32" fmla="*/ 66 w 97"/>
                  <a:gd name="T33" fmla="*/ 66 h 116"/>
                  <a:gd name="T34" fmla="*/ 54 w 97"/>
                  <a:gd name="T35" fmla="*/ 66 h 116"/>
                  <a:gd name="T36" fmla="*/ 31 w 97"/>
                  <a:gd name="T37" fmla="*/ 80 h 116"/>
                  <a:gd name="T38" fmla="*/ 31 w 97"/>
                  <a:gd name="T39" fmla="*/ 81 h 116"/>
                  <a:gd name="T40" fmla="*/ 46 w 97"/>
                  <a:gd name="T41" fmla="*/ 94 h 116"/>
                  <a:gd name="T42" fmla="*/ 66 w 97"/>
                  <a:gd name="T43" fmla="*/ 7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116">
                    <a:moveTo>
                      <a:pt x="37" y="116"/>
                    </a:moveTo>
                    <a:cubicBezTo>
                      <a:pt x="17" y="116"/>
                      <a:pt x="0" y="106"/>
                      <a:pt x="0" y="83"/>
                    </a:cubicBezTo>
                    <a:cubicBezTo>
                      <a:pt x="0" y="82"/>
                      <a:pt x="0" y="82"/>
                      <a:pt x="0" y="82"/>
                    </a:cubicBezTo>
                    <a:cubicBezTo>
                      <a:pt x="0" y="54"/>
                      <a:pt x="24" y="46"/>
                      <a:pt x="53" y="46"/>
                    </a:cubicBezTo>
                    <a:cubicBezTo>
                      <a:pt x="66" y="46"/>
                      <a:pt x="66" y="46"/>
                      <a:pt x="66" y="46"/>
                    </a:cubicBezTo>
                    <a:cubicBezTo>
                      <a:pt x="66" y="40"/>
                      <a:pt x="66" y="40"/>
                      <a:pt x="66" y="40"/>
                    </a:cubicBezTo>
                    <a:cubicBezTo>
                      <a:pt x="66" y="29"/>
                      <a:pt x="61" y="23"/>
                      <a:pt x="50" y="23"/>
                    </a:cubicBezTo>
                    <a:cubicBezTo>
                      <a:pt x="40" y="23"/>
                      <a:pt x="34" y="28"/>
                      <a:pt x="33" y="37"/>
                    </a:cubicBezTo>
                    <a:cubicBezTo>
                      <a:pt x="4" y="37"/>
                      <a:pt x="4" y="37"/>
                      <a:pt x="4" y="37"/>
                    </a:cubicBezTo>
                    <a:cubicBezTo>
                      <a:pt x="6" y="12"/>
                      <a:pt x="25" y="0"/>
                      <a:pt x="51" y="0"/>
                    </a:cubicBezTo>
                    <a:cubicBezTo>
                      <a:pt x="78" y="0"/>
                      <a:pt x="97" y="12"/>
                      <a:pt x="97" y="39"/>
                    </a:cubicBezTo>
                    <a:cubicBezTo>
                      <a:pt x="97" y="113"/>
                      <a:pt x="97" y="113"/>
                      <a:pt x="97" y="113"/>
                    </a:cubicBezTo>
                    <a:cubicBezTo>
                      <a:pt x="67" y="113"/>
                      <a:pt x="67" y="113"/>
                      <a:pt x="67" y="113"/>
                    </a:cubicBezTo>
                    <a:cubicBezTo>
                      <a:pt x="67" y="101"/>
                      <a:pt x="67" y="101"/>
                      <a:pt x="67" y="101"/>
                    </a:cubicBezTo>
                    <a:cubicBezTo>
                      <a:pt x="62" y="109"/>
                      <a:pt x="51" y="116"/>
                      <a:pt x="37" y="116"/>
                    </a:cubicBezTo>
                    <a:close/>
                    <a:moveTo>
                      <a:pt x="66" y="77"/>
                    </a:moveTo>
                    <a:cubicBezTo>
                      <a:pt x="66" y="66"/>
                      <a:pt x="66" y="66"/>
                      <a:pt x="66" y="66"/>
                    </a:cubicBezTo>
                    <a:cubicBezTo>
                      <a:pt x="54" y="66"/>
                      <a:pt x="54" y="66"/>
                      <a:pt x="54" y="66"/>
                    </a:cubicBezTo>
                    <a:cubicBezTo>
                      <a:pt x="39" y="66"/>
                      <a:pt x="31" y="70"/>
                      <a:pt x="31" y="80"/>
                    </a:cubicBezTo>
                    <a:cubicBezTo>
                      <a:pt x="31" y="81"/>
                      <a:pt x="31" y="81"/>
                      <a:pt x="31" y="81"/>
                    </a:cubicBezTo>
                    <a:cubicBezTo>
                      <a:pt x="31" y="89"/>
                      <a:pt x="36" y="94"/>
                      <a:pt x="46" y="94"/>
                    </a:cubicBezTo>
                    <a:cubicBezTo>
                      <a:pt x="57" y="94"/>
                      <a:pt x="66" y="88"/>
                      <a:pt x="66" y="7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2" name="Freeform 7">
                <a:extLst>
                  <a:ext uri="{FF2B5EF4-FFF2-40B4-BE49-F238E27FC236}">
                    <a16:creationId xmlns:a16="http://schemas.microsoft.com/office/drawing/2014/main" id="{AA555475-F415-4A00-86C0-AA963C5807C9}"/>
                  </a:ext>
                </a:extLst>
              </p:cNvPr>
              <p:cNvSpPr>
                <a:spLocks/>
              </p:cNvSpPr>
              <p:nvPr/>
            </p:nvSpPr>
            <p:spPr bwMode="auto">
              <a:xfrm>
                <a:off x="10134600" y="1593850"/>
                <a:ext cx="195263" cy="219075"/>
              </a:xfrm>
              <a:custGeom>
                <a:avLst/>
                <a:gdLst>
                  <a:gd name="T0" fmla="*/ 53 w 103"/>
                  <a:gd name="T1" fmla="*/ 116 h 116"/>
                  <a:gd name="T2" fmla="*/ 0 w 103"/>
                  <a:gd name="T3" fmla="*/ 59 h 116"/>
                  <a:gd name="T4" fmla="*/ 0 w 103"/>
                  <a:gd name="T5" fmla="*/ 58 h 116"/>
                  <a:gd name="T6" fmla="*/ 54 w 103"/>
                  <a:gd name="T7" fmla="*/ 0 h 116"/>
                  <a:gd name="T8" fmla="*/ 102 w 103"/>
                  <a:gd name="T9" fmla="*/ 42 h 116"/>
                  <a:gd name="T10" fmla="*/ 72 w 103"/>
                  <a:gd name="T11" fmla="*/ 42 h 116"/>
                  <a:gd name="T12" fmla="*/ 54 w 103"/>
                  <a:gd name="T13" fmla="*/ 24 h 116"/>
                  <a:gd name="T14" fmla="*/ 32 w 103"/>
                  <a:gd name="T15" fmla="*/ 56 h 116"/>
                  <a:gd name="T16" fmla="*/ 32 w 103"/>
                  <a:gd name="T17" fmla="*/ 60 h 116"/>
                  <a:gd name="T18" fmla="*/ 54 w 103"/>
                  <a:gd name="T19" fmla="*/ 92 h 116"/>
                  <a:gd name="T20" fmla="*/ 74 w 103"/>
                  <a:gd name="T21" fmla="*/ 72 h 116"/>
                  <a:gd name="T22" fmla="*/ 103 w 103"/>
                  <a:gd name="T23" fmla="*/ 72 h 116"/>
                  <a:gd name="T24" fmla="*/ 53 w 103"/>
                  <a:gd name="T2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16">
                    <a:moveTo>
                      <a:pt x="53" y="116"/>
                    </a:moveTo>
                    <a:cubicBezTo>
                      <a:pt x="23" y="116"/>
                      <a:pt x="0" y="97"/>
                      <a:pt x="0" y="59"/>
                    </a:cubicBezTo>
                    <a:cubicBezTo>
                      <a:pt x="0" y="58"/>
                      <a:pt x="0" y="58"/>
                      <a:pt x="0" y="58"/>
                    </a:cubicBezTo>
                    <a:cubicBezTo>
                      <a:pt x="0" y="20"/>
                      <a:pt x="24" y="0"/>
                      <a:pt x="54" y="0"/>
                    </a:cubicBezTo>
                    <a:cubicBezTo>
                      <a:pt x="79" y="0"/>
                      <a:pt x="99" y="13"/>
                      <a:pt x="102" y="42"/>
                    </a:cubicBezTo>
                    <a:cubicBezTo>
                      <a:pt x="72" y="42"/>
                      <a:pt x="72" y="42"/>
                      <a:pt x="72" y="42"/>
                    </a:cubicBezTo>
                    <a:cubicBezTo>
                      <a:pt x="70" y="31"/>
                      <a:pt x="65" y="24"/>
                      <a:pt x="54" y="24"/>
                    </a:cubicBezTo>
                    <a:cubicBezTo>
                      <a:pt x="41" y="24"/>
                      <a:pt x="32" y="35"/>
                      <a:pt x="32" y="56"/>
                    </a:cubicBezTo>
                    <a:cubicBezTo>
                      <a:pt x="32" y="60"/>
                      <a:pt x="32" y="60"/>
                      <a:pt x="32" y="60"/>
                    </a:cubicBezTo>
                    <a:cubicBezTo>
                      <a:pt x="32" y="82"/>
                      <a:pt x="40" y="92"/>
                      <a:pt x="54" y="92"/>
                    </a:cubicBezTo>
                    <a:cubicBezTo>
                      <a:pt x="65" y="92"/>
                      <a:pt x="73" y="85"/>
                      <a:pt x="74" y="72"/>
                    </a:cubicBezTo>
                    <a:cubicBezTo>
                      <a:pt x="103" y="72"/>
                      <a:pt x="103" y="72"/>
                      <a:pt x="103" y="72"/>
                    </a:cubicBezTo>
                    <a:cubicBezTo>
                      <a:pt x="101" y="98"/>
                      <a:pt x="83" y="116"/>
                      <a:pt x="53"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3" name="Freeform 8">
                <a:extLst>
                  <a:ext uri="{FF2B5EF4-FFF2-40B4-BE49-F238E27FC236}">
                    <a16:creationId xmlns:a16="http://schemas.microsoft.com/office/drawing/2014/main" id="{D1A26E74-7CB6-4BEE-917E-6E040371FE74}"/>
                  </a:ext>
                </a:extLst>
              </p:cNvPr>
              <p:cNvSpPr>
                <a:spLocks/>
              </p:cNvSpPr>
              <p:nvPr/>
            </p:nvSpPr>
            <p:spPr bwMode="auto">
              <a:xfrm>
                <a:off x="10353675" y="1593850"/>
                <a:ext cx="193675" cy="219075"/>
              </a:xfrm>
              <a:custGeom>
                <a:avLst/>
                <a:gdLst>
                  <a:gd name="T0" fmla="*/ 53 w 102"/>
                  <a:gd name="T1" fmla="*/ 116 h 116"/>
                  <a:gd name="T2" fmla="*/ 0 w 102"/>
                  <a:gd name="T3" fmla="*/ 59 h 116"/>
                  <a:gd name="T4" fmla="*/ 0 w 102"/>
                  <a:gd name="T5" fmla="*/ 58 h 116"/>
                  <a:gd name="T6" fmla="*/ 53 w 102"/>
                  <a:gd name="T7" fmla="*/ 0 h 116"/>
                  <a:gd name="T8" fmla="*/ 101 w 102"/>
                  <a:gd name="T9" fmla="*/ 42 h 116"/>
                  <a:gd name="T10" fmla="*/ 72 w 102"/>
                  <a:gd name="T11" fmla="*/ 42 h 116"/>
                  <a:gd name="T12" fmla="*/ 53 w 102"/>
                  <a:gd name="T13" fmla="*/ 24 h 116"/>
                  <a:gd name="T14" fmla="*/ 31 w 102"/>
                  <a:gd name="T15" fmla="*/ 56 h 116"/>
                  <a:gd name="T16" fmla="*/ 31 w 102"/>
                  <a:gd name="T17" fmla="*/ 60 h 116"/>
                  <a:gd name="T18" fmla="*/ 54 w 102"/>
                  <a:gd name="T19" fmla="*/ 92 h 116"/>
                  <a:gd name="T20" fmla="*/ 74 w 102"/>
                  <a:gd name="T21" fmla="*/ 72 h 116"/>
                  <a:gd name="T22" fmla="*/ 102 w 102"/>
                  <a:gd name="T23" fmla="*/ 72 h 116"/>
                  <a:gd name="T24" fmla="*/ 53 w 102"/>
                  <a:gd name="T2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116">
                    <a:moveTo>
                      <a:pt x="53" y="116"/>
                    </a:moveTo>
                    <a:cubicBezTo>
                      <a:pt x="22" y="116"/>
                      <a:pt x="0" y="97"/>
                      <a:pt x="0" y="59"/>
                    </a:cubicBezTo>
                    <a:cubicBezTo>
                      <a:pt x="0" y="58"/>
                      <a:pt x="0" y="58"/>
                      <a:pt x="0" y="58"/>
                    </a:cubicBezTo>
                    <a:cubicBezTo>
                      <a:pt x="0" y="20"/>
                      <a:pt x="23" y="0"/>
                      <a:pt x="53" y="0"/>
                    </a:cubicBezTo>
                    <a:cubicBezTo>
                      <a:pt x="78" y="0"/>
                      <a:pt x="99" y="13"/>
                      <a:pt x="101" y="42"/>
                    </a:cubicBezTo>
                    <a:cubicBezTo>
                      <a:pt x="72" y="42"/>
                      <a:pt x="72" y="42"/>
                      <a:pt x="72" y="42"/>
                    </a:cubicBezTo>
                    <a:cubicBezTo>
                      <a:pt x="70" y="31"/>
                      <a:pt x="64" y="24"/>
                      <a:pt x="53" y="24"/>
                    </a:cubicBezTo>
                    <a:cubicBezTo>
                      <a:pt x="40" y="24"/>
                      <a:pt x="31" y="35"/>
                      <a:pt x="31" y="56"/>
                    </a:cubicBezTo>
                    <a:cubicBezTo>
                      <a:pt x="31" y="60"/>
                      <a:pt x="31" y="60"/>
                      <a:pt x="31" y="60"/>
                    </a:cubicBezTo>
                    <a:cubicBezTo>
                      <a:pt x="31" y="82"/>
                      <a:pt x="39" y="92"/>
                      <a:pt x="54" y="92"/>
                    </a:cubicBezTo>
                    <a:cubicBezTo>
                      <a:pt x="64" y="92"/>
                      <a:pt x="72" y="85"/>
                      <a:pt x="74" y="72"/>
                    </a:cubicBezTo>
                    <a:cubicBezTo>
                      <a:pt x="102" y="72"/>
                      <a:pt x="102" y="72"/>
                      <a:pt x="102" y="72"/>
                    </a:cubicBezTo>
                    <a:cubicBezTo>
                      <a:pt x="100" y="98"/>
                      <a:pt x="83" y="116"/>
                      <a:pt x="53"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104" name="Freeform 9">
                <a:extLst>
                  <a:ext uri="{FF2B5EF4-FFF2-40B4-BE49-F238E27FC236}">
                    <a16:creationId xmlns:a16="http://schemas.microsoft.com/office/drawing/2014/main" id="{01D83FF4-F8C7-407B-8210-C165C41D5312}"/>
                  </a:ext>
                </a:extLst>
              </p:cNvPr>
              <p:cNvSpPr>
                <a:spLocks noEditPoints="1"/>
              </p:cNvSpPr>
              <p:nvPr/>
            </p:nvSpPr>
            <p:spPr bwMode="auto">
              <a:xfrm>
                <a:off x="10571163" y="1593850"/>
                <a:ext cx="195263" cy="219075"/>
              </a:xfrm>
              <a:custGeom>
                <a:avLst/>
                <a:gdLst>
                  <a:gd name="T0" fmla="*/ 54 w 103"/>
                  <a:gd name="T1" fmla="*/ 116 h 116"/>
                  <a:gd name="T2" fmla="*/ 0 w 103"/>
                  <a:gd name="T3" fmla="*/ 60 h 116"/>
                  <a:gd name="T4" fmla="*/ 0 w 103"/>
                  <a:gd name="T5" fmla="*/ 58 h 116"/>
                  <a:gd name="T6" fmla="*/ 53 w 103"/>
                  <a:gd name="T7" fmla="*/ 0 h 116"/>
                  <a:gd name="T8" fmla="*/ 103 w 103"/>
                  <a:gd name="T9" fmla="*/ 52 h 116"/>
                  <a:gd name="T10" fmla="*/ 103 w 103"/>
                  <a:gd name="T11" fmla="*/ 66 h 116"/>
                  <a:gd name="T12" fmla="*/ 31 w 103"/>
                  <a:gd name="T13" fmla="*/ 66 h 116"/>
                  <a:gd name="T14" fmla="*/ 54 w 103"/>
                  <a:gd name="T15" fmla="*/ 93 h 116"/>
                  <a:gd name="T16" fmla="*/ 75 w 103"/>
                  <a:gd name="T17" fmla="*/ 79 h 116"/>
                  <a:gd name="T18" fmla="*/ 103 w 103"/>
                  <a:gd name="T19" fmla="*/ 79 h 116"/>
                  <a:gd name="T20" fmla="*/ 54 w 103"/>
                  <a:gd name="T21" fmla="*/ 116 h 116"/>
                  <a:gd name="T22" fmla="*/ 32 w 103"/>
                  <a:gd name="T23" fmla="*/ 45 h 116"/>
                  <a:gd name="T24" fmla="*/ 73 w 103"/>
                  <a:gd name="T25" fmla="*/ 45 h 116"/>
                  <a:gd name="T26" fmla="*/ 53 w 103"/>
                  <a:gd name="T27" fmla="*/ 22 h 116"/>
                  <a:gd name="T28" fmla="*/ 32 w 103"/>
                  <a:gd name="T29" fmla="*/ 4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3" h="116">
                    <a:moveTo>
                      <a:pt x="54" y="116"/>
                    </a:moveTo>
                    <a:cubicBezTo>
                      <a:pt x="22" y="116"/>
                      <a:pt x="0" y="97"/>
                      <a:pt x="0" y="60"/>
                    </a:cubicBezTo>
                    <a:cubicBezTo>
                      <a:pt x="0" y="58"/>
                      <a:pt x="0" y="58"/>
                      <a:pt x="0" y="58"/>
                    </a:cubicBezTo>
                    <a:cubicBezTo>
                      <a:pt x="0" y="21"/>
                      <a:pt x="23" y="0"/>
                      <a:pt x="53" y="0"/>
                    </a:cubicBezTo>
                    <a:cubicBezTo>
                      <a:pt x="80" y="0"/>
                      <a:pt x="103" y="16"/>
                      <a:pt x="103" y="52"/>
                    </a:cubicBezTo>
                    <a:cubicBezTo>
                      <a:pt x="103" y="66"/>
                      <a:pt x="103" y="66"/>
                      <a:pt x="103" y="66"/>
                    </a:cubicBezTo>
                    <a:cubicBezTo>
                      <a:pt x="31" y="66"/>
                      <a:pt x="31" y="66"/>
                      <a:pt x="31" y="66"/>
                    </a:cubicBezTo>
                    <a:cubicBezTo>
                      <a:pt x="32" y="86"/>
                      <a:pt x="41" y="93"/>
                      <a:pt x="54" y="93"/>
                    </a:cubicBezTo>
                    <a:cubicBezTo>
                      <a:pt x="66" y="93"/>
                      <a:pt x="72" y="87"/>
                      <a:pt x="75" y="79"/>
                    </a:cubicBezTo>
                    <a:cubicBezTo>
                      <a:pt x="103" y="79"/>
                      <a:pt x="103" y="79"/>
                      <a:pt x="103" y="79"/>
                    </a:cubicBezTo>
                    <a:cubicBezTo>
                      <a:pt x="100" y="100"/>
                      <a:pt x="83" y="116"/>
                      <a:pt x="54" y="116"/>
                    </a:cubicBezTo>
                    <a:close/>
                    <a:moveTo>
                      <a:pt x="32" y="45"/>
                    </a:moveTo>
                    <a:cubicBezTo>
                      <a:pt x="73" y="45"/>
                      <a:pt x="73" y="45"/>
                      <a:pt x="73" y="45"/>
                    </a:cubicBezTo>
                    <a:cubicBezTo>
                      <a:pt x="72" y="29"/>
                      <a:pt x="65" y="22"/>
                      <a:pt x="53" y="22"/>
                    </a:cubicBezTo>
                    <a:cubicBezTo>
                      <a:pt x="43" y="22"/>
                      <a:pt x="34" y="27"/>
                      <a:pt x="32" y="4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5" name="Freeform 10">
                <a:extLst>
                  <a:ext uri="{FF2B5EF4-FFF2-40B4-BE49-F238E27FC236}">
                    <a16:creationId xmlns:a16="http://schemas.microsoft.com/office/drawing/2014/main" id="{0E31541E-C18F-41A0-B6AA-30EC0F2C8015}"/>
                  </a:ext>
                </a:extLst>
              </p:cNvPr>
              <p:cNvSpPr>
                <a:spLocks/>
              </p:cNvSpPr>
              <p:nvPr/>
            </p:nvSpPr>
            <p:spPr bwMode="auto">
              <a:xfrm>
                <a:off x="10802938" y="1593850"/>
                <a:ext cx="184150" cy="214312"/>
              </a:xfrm>
              <a:custGeom>
                <a:avLst/>
                <a:gdLst>
                  <a:gd name="T0" fmla="*/ 0 w 98"/>
                  <a:gd name="T1" fmla="*/ 3 h 113"/>
                  <a:gd name="T2" fmla="*/ 31 w 98"/>
                  <a:gd name="T3" fmla="*/ 3 h 113"/>
                  <a:gd name="T4" fmla="*/ 31 w 98"/>
                  <a:gd name="T5" fmla="*/ 19 h 113"/>
                  <a:gd name="T6" fmla="*/ 65 w 98"/>
                  <a:gd name="T7" fmla="*/ 0 h 113"/>
                  <a:gd name="T8" fmla="*/ 98 w 98"/>
                  <a:gd name="T9" fmla="*/ 39 h 113"/>
                  <a:gd name="T10" fmla="*/ 98 w 98"/>
                  <a:gd name="T11" fmla="*/ 113 h 113"/>
                  <a:gd name="T12" fmla="*/ 67 w 98"/>
                  <a:gd name="T13" fmla="*/ 113 h 113"/>
                  <a:gd name="T14" fmla="*/ 67 w 98"/>
                  <a:gd name="T15" fmla="*/ 44 h 113"/>
                  <a:gd name="T16" fmla="*/ 51 w 98"/>
                  <a:gd name="T17" fmla="*/ 25 h 113"/>
                  <a:gd name="T18" fmla="*/ 31 w 98"/>
                  <a:gd name="T19" fmla="*/ 46 h 113"/>
                  <a:gd name="T20" fmla="*/ 31 w 98"/>
                  <a:gd name="T21" fmla="*/ 113 h 113"/>
                  <a:gd name="T22" fmla="*/ 0 w 98"/>
                  <a:gd name="T23" fmla="*/ 113 h 113"/>
                  <a:gd name="T24" fmla="*/ 0 w 98"/>
                  <a:gd name="T25" fmla="*/ 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113">
                    <a:moveTo>
                      <a:pt x="0" y="3"/>
                    </a:moveTo>
                    <a:cubicBezTo>
                      <a:pt x="31" y="3"/>
                      <a:pt x="31" y="3"/>
                      <a:pt x="31" y="3"/>
                    </a:cubicBezTo>
                    <a:cubicBezTo>
                      <a:pt x="31" y="19"/>
                      <a:pt x="31" y="19"/>
                      <a:pt x="31" y="19"/>
                    </a:cubicBezTo>
                    <a:cubicBezTo>
                      <a:pt x="37" y="9"/>
                      <a:pt x="48" y="0"/>
                      <a:pt x="65" y="0"/>
                    </a:cubicBezTo>
                    <a:cubicBezTo>
                      <a:pt x="85" y="0"/>
                      <a:pt x="98" y="12"/>
                      <a:pt x="98" y="39"/>
                    </a:cubicBezTo>
                    <a:cubicBezTo>
                      <a:pt x="98" y="113"/>
                      <a:pt x="98" y="113"/>
                      <a:pt x="98" y="113"/>
                    </a:cubicBezTo>
                    <a:cubicBezTo>
                      <a:pt x="67" y="113"/>
                      <a:pt x="67" y="113"/>
                      <a:pt x="67" y="113"/>
                    </a:cubicBezTo>
                    <a:cubicBezTo>
                      <a:pt x="67" y="44"/>
                      <a:pt x="67" y="44"/>
                      <a:pt x="67" y="44"/>
                    </a:cubicBezTo>
                    <a:cubicBezTo>
                      <a:pt x="67" y="31"/>
                      <a:pt x="62" y="25"/>
                      <a:pt x="51" y="25"/>
                    </a:cubicBezTo>
                    <a:cubicBezTo>
                      <a:pt x="40" y="25"/>
                      <a:pt x="31" y="32"/>
                      <a:pt x="31" y="46"/>
                    </a:cubicBezTo>
                    <a:cubicBezTo>
                      <a:pt x="31" y="113"/>
                      <a:pt x="31" y="113"/>
                      <a:pt x="31" y="113"/>
                    </a:cubicBezTo>
                    <a:cubicBezTo>
                      <a:pt x="0" y="113"/>
                      <a:pt x="0" y="113"/>
                      <a:pt x="0" y="113"/>
                    </a:cubicBezTo>
                    <a:lnTo>
                      <a:pt x="0" y="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6" name="Freeform 11">
                <a:extLst>
                  <a:ext uri="{FF2B5EF4-FFF2-40B4-BE49-F238E27FC236}">
                    <a16:creationId xmlns:a16="http://schemas.microsoft.com/office/drawing/2014/main" id="{1BB7A53B-2655-4355-9D0A-5117301FA7D9}"/>
                  </a:ext>
                </a:extLst>
              </p:cNvPr>
              <p:cNvSpPr>
                <a:spLocks/>
              </p:cNvSpPr>
              <p:nvPr/>
            </p:nvSpPr>
            <p:spPr bwMode="auto">
              <a:xfrm>
                <a:off x="11014075" y="1535113"/>
                <a:ext cx="125413" cy="276225"/>
              </a:xfrm>
              <a:custGeom>
                <a:avLst/>
                <a:gdLst>
                  <a:gd name="T0" fmla="*/ 44 w 66"/>
                  <a:gd name="T1" fmla="*/ 0 h 146"/>
                  <a:gd name="T2" fmla="*/ 44 w 66"/>
                  <a:gd name="T3" fmla="*/ 34 h 146"/>
                  <a:gd name="T4" fmla="*/ 65 w 66"/>
                  <a:gd name="T5" fmla="*/ 34 h 146"/>
                  <a:gd name="T6" fmla="*/ 65 w 66"/>
                  <a:gd name="T7" fmla="*/ 57 h 146"/>
                  <a:gd name="T8" fmla="*/ 44 w 66"/>
                  <a:gd name="T9" fmla="*/ 57 h 146"/>
                  <a:gd name="T10" fmla="*/ 44 w 66"/>
                  <a:gd name="T11" fmla="*/ 109 h 146"/>
                  <a:gd name="T12" fmla="*/ 55 w 66"/>
                  <a:gd name="T13" fmla="*/ 121 h 146"/>
                  <a:gd name="T14" fmla="*/ 66 w 66"/>
                  <a:gd name="T15" fmla="*/ 119 h 146"/>
                  <a:gd name="T16" fmla="*/ 66 w 66"/>
                  <a:gd name="T17" fmla="*/ 144 h 146"/>
                  <a:gd name="T18" fmla="*/ 48 w 66"/>
                  <a:gd name="T19" fmla="*/ 146 h 146"/>
                  <a:gd name="T20" fmla="*/ 13 w 66"/>
                  <a:gd name="T21" fmla="*/ 112 h 146"/>
                  <a:gd name="T22" fmla="*/ 13 w 66"/>
                  <a:gd name="T23" fmla="*/ 57 h 146"/>
                  <a:gd name="T24" fmla="*/ 0 w 66"/>
                  <a:gd name="T25" fmla="*/ 57 h 146"/>
                  <a:gd name="T26" fmla="*/ 0 w 66"/>
                  <a:gd name="T27" fmla="*/ 34 h 146"/>
                  <a:gd name="T28" fmla="*/ 13 w 66"/>
                  <a:gd name="T29" fmla="*/ 34 h 146"/>
                  <a:gd name="T30" fmla="*/ 13 w 66"/>
                  <a:gd name="T31" fmla="*/ 13 h 146"/>
                  <a:gd name="T32" fmla="*/ 44 w 66"/>
                  <a:gd name="T3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146">
                    <a:moveTo>
                      <a:pt x="44" y="0"/>
                    </a:moveTo>
                    <a:cubicBezTo>
                      <a:pt x="44" y="34"/>
                      <a:pt x="44" y="34"/>
                      <a:pt x="44" y="34"/>
                    </a:cubicBezTo>
                    <a:cubicBezTo>
                      <a:pt x="65" y="34"/>
                      <a:pt x="65" y="34"/>
                      <a:pt x="65" y="34"/>
                    </a:cubicBezTo>
                    <a:cubicBezTo>
                      <a:pt x="65" y="57"/>
                      <a:pt x="65" y="57"/>
                      <a:pt x="65" y="57"/>
                    </a:cubicBezTo>
                    <a:cubicBezTo>
                      <a:pt x="44" y="57"/>
                      <a:pt x="44" y="57"/>
                      <a:pt x="44" y="57"/>
                    </a:cubicBezTo>
                    <a:cubicBezTo>
                      <a:pt x="44" y="109"/>
                      <a:pt x="44" y="109"/>
                      <a:pt x="44" y="109"/>
                    </a:cubicBezTo>
                    <a:cubicBezTo>
                      <a:pt x="44" y="117"/>
                      <a:pt x="48" y="121"/>
                      <a:pt x="55" y="121"/>
                    </a:cubicBezTo>
                    <a:cubicBezTo>
                      <a:pt x="59" y="121"/>
                      <a:pt x="63" y="121"/>
                      <a:pt x="66" y="119"/>
                    </a:cubicBezTo>
                    <a:cubicBezTo>
                      <a:pt x="66" y="144"/>
                      <a:pt x="66" y="144"/>
                      <a:pt x="66" y="144"/>
                    </a:cubicBezTo>
                    <a:cubicBezTo>
                      <a:pt x="62" y="145"/>
                      <a:pt x="56" y="146"/>
                      <a:pt x="48" y="146"/>
                    </a:cubicBezTo>
                    <a:cubicBezTo>
                      <a:pt x="24" y="146"/>
                      <a:pt x="13" y="135"/>
                      <a:pt x="13" y="112"/>
                    </a:cubicBezTo>
                    <a:cubicBezTo>
                      <a:pt x="13" y="57"/>
                      <a:pt x="13" y="57"/>
                      <a:pt x="13" y="57"/>
                    </a:cubicBezTo>
                    <a:cubicBezTo>
                      <a:pt x="0" y="57"/>
                      <a:pt x="0" y="57"/>
                      <a:pt x="0" y="57"/>
                    </a:cubicBezTo>
                    <a:cubicBezTo>
                      <a:pt x="0" y="34"/>
                      <a:pt x="0" y="34"/>
                      <a:pt x="0" y="34"/>
                    </a:cubicBezTo>
                    <a:cubicBezTo>
                      <a:pt x="13" y="34"/>
                      <a:pt x="13" y="34"/>
                      <a:pt x="13" y="34"/>
                    </a:cubicBezTo>
                    <a:cubicBezTo>
                      <a:pt x="13" y="13"/>
                      <a:pt x="13" y="13"/>
                      <a:pt x="13" y="13"/>
                    </a:cubicBezTo>
                    <a:lnTo>
                      <a:pt x="4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107" name="Freeform 12">
                <a:extLst>
                  <a:ext uri="{FF2B5EF4-FFF2-40B4-BE49-F238E27FC236}">
                    <a16:creationId xmlns:a16="http://schemas.microsoft.com/office/drawing/2014/main" id="{C58E23EB-2AE5-4A6A-9CF0-843C892072B6}"/>
                  </a:ext>
                </a:extLst>
              </p:cNvPr>
              <p:cNvSpPr>
                <a:spLocks/>
              </p:cNvSpPr>
              <p:nvPr/>
            </p:nvSpPr>
            <p:spPr bwMode="auto">
              <a:xfrm>
                <a:off x="11172825" y="1600200"/>
                <a:ext cx="184150" cy="212725"/>
              </a:xfrm>
              <a:custGeom>
                <a:avLst/>
                <a:gdLst>
                  <a:gd name="T0" fmla="*/ 97 w 97"/>
                  <a:gd name="T1" fmla="*/ 110 h 113"/>
                  <a:gd name="T2" fmla="*/ 67 w 97"/>
                  <a:gd name="T3" fmla="*/ 110 h 113"/>
                  <a:gd name="T4" fmla="*/ 67 w 97"/>
                  <a:gd name="T5" fmla="*/ 94 h 113"/>
                  <a:gd name="T6" fmla="*/ 34 w 97"/>
                  <a:gd name="T7" fmla="*/ 113 h 113"/>
                  <a:gd name="T8" fmla="*/ 0 w 97"/>
                  <a:gd name="T9" fmla="*/ 75 h 113"/>
                  <a:gd name="T10" fmla="*/ 0 w 97"/>
                  <a:gd name="T11" fmla="*/ 0 h 113"/>
                  <a:gd name="T12" fmla="*/ 31 w 97"/>
                  <a:gd name="T13" fmla="*/ 0 h 113"/>
                  <a:gd name="T14" fmla="*/ 31 w 97"/>
                  <a:gd name="T15" fmla="*/ 70 h 113"/>
                  <a:gd name="T16" fmla="*/ 47 w 97"/>
                  <a:gd name="T17" fmla="*/ 89 h 113"/>
                  <a:gd name="T18" fmla="*/ 67 w 97"/>
                  <a:gd name="T19" fmla="*/ 68 h 113"/>
                  <a:gd name="T20" fmla="*/ 67 w 97"/>
                  <a:gd name="T21" fmla="*/ 0 h 113"/>
                  <a:gd name="T22" fmla="*/ 97 w 97"/>
                  <a:gd name="T23" fmla="*/ 0 h 113"/>
                  <a:gd name="T24" fmla="*/ 97 w 97"/>
                  <a:gd name="T25" fmla="*/ 11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113">
                    <a:moveTo>
                      <a:pt x="97" y="110"/>
                    </a:moveTo>
                    <a:cubicBezTo>
                      <a:pt x="67" y="110"/>
                      <a:pt x="67" y="110"/>
                      <a:pt x="67" y="110"/>
                    </a:cubicBezTo>
                    <a:cubicBezTo>
                      <a:pt x="67" y="94"/>
                      <a:pt x="67" y="94"/>
                      <a:pt x="67" y="94"/>
                    </a:cubicBezTo>
                    <a:cubicBezTo>
                      <a:pt x="61" y="105"/>
                      <a:pt x="51" y="113"/>
                      <a:pt x="34" y="113"/>
                    </a:cubicBezTo>
                    <a:cubicBezTo>
                      <a:pt x="14" y="113"/>
                      <a:pt x="0" y="101"/>
                      <a:pt x="0" y="75"/>
                    </a:cubicBezTo>
                    <a:cubicBezTo>
                      <a:pt x="0" y="0"/>
                      <a:pt x="0" y="0"/>
                      <a:pt x="0" y="0"/>
                    </a:cubicBezTo>
                    <a:cubicBezTo>
                      <a:pt x="31" y="0"/>
                      <a:pt x="31" y="0"/>
                      <a:pt x="31" y="0"/>
                    </a:cubicBezTo>
                    <a:cubicBezTo>
                      <a:pt x="31" y="70"/>
                      <a:pt x="31" y="70"/>
                      <a:pt x="31" y="70"/>
                    </a:cubicBezTo>
                    <a:cubicBezTo>
                      <a:pt x="31" y="83"/>
                      <a:pt x="36" y="89"/>
                      <a:pt x="47" y="89"/>
                    </a:cubicBezTo>
                    <a:cubicBezTo>
                      <a:pt x="58" y="89"/>
                      <a:pt x="67" y="82"/>
                      <a:pt x="67" y="68"/>
                    </a:cubicBezTo>
                    <a:cubicBezTo>
                      <a:pt x="67" y="0"/>
                      <a:pt x="67" y="0"/>
                      <a:pt x="67" y="0"/>
                    </a:cubicBezTo>
                    <a:cubicBezTo>
                      <a:pt x="97" y="0"/>
                      <a:pt x="97" y="0"/>
                      <a:pt x="97" y="0"/>
                    </a:cubicBezTo>
                    <a:lnTo>
                      <a:pt x="97" y="11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8" name="Freeform 13">
                <a:extLst>
                  <a:ext uri="{FF2B5EF4-FFF2-40B4-BE49-F238E27FC236}">
                    <a16:creationId xmlns:a16="http://schemas.microsoft.com/office/drawing/2014/main" id="{BD918A3D-4782-4C3E-8F3E-8E9D6FF5FB67}"/>
                  </a:ext>
                </a:extLst>
              </p:cNvPr>
              <p:cNvSpPr>
                <a:spLocks/>
              </p:cNvSpPr>
              <p:nvPr/>
            </p:nvSpPr>
            <p:spPr bwMode="auto">
              <a:xfrm>
                <a:off x="11399838" y="1595438"/>
                <a:ext cx="120650" cy="212725"/>
              </a:xfrm>
              <a:custGeom>
                <a:avLst/>
                <a:gdLst>
                  <a:gd name="T0" fmla="*/ 0 w 64"/>
                  <a:gd name="T1" fmla="*/ 2 h 112"/>
                  <a:gd name="T2" fmla="*/ 31 w 64"/>
                  <a:gd name="T3" fmla="*/ 2 h 112"/>
                  <a:gd name="T4" fmla="*/ 31 w 64"/>
                  <a:gd name="T5" fmla="*/ 22 h 112"/>
                  <a:gd name="T6" fmla="*/ 64 w 64"/>
                  <a:gd name="T7" fmla="*/ 0 h 112"/>
                  <a:gd name="T8" fmla="*/ 64 w 64"/>
                  <a:gd name="T9" fmla="*/ 31 h 112"/>
                  <a:gd name="T10" fmla="*/ 31 w 64"/>
                  <a:gd name="T11" fmla="*/ 55 h 112"/>
                  <a:gd name="T12" fmla="*/ 31 w 64"/>
                  <a:gd name="T13" fmla="*/ 112 h 112"/>
                  <a:gd name="T14" fmla="*/ 0 w 64"/>
                  <a:gd name="T15" fmla="*/ 112 h 112"/>
                  <a:gd name="T16" fmla="*/ 0 w 64"/>
                  <a:gd name="T17" fmla="*/ 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12">
                    <a:moveTo>
                      <a:pt x="0" y="2"/>
                    </a:moveTo>
                    <a:cubicBezTo>
                      <a:pt x="31" y="2"/>
                      <a:pt x="31" y="2"/>
                      <a:pt x="31" y="2"/>
                    </a:cubicBezTo>
                    <a:cubicBezTo>
                      <a:pt x="31" y="22"/>
                      <a:pt x="31" y="22"/>
                      <a:pt x="31" y="22"/>
                    </a:cubicBezTo>
                    <a:cubicBezTo>
                      <a:pt x="37" y="7"/>
                      <a:pt x="48" y="0"/>
                      <a:pt x="64" y="0"/>
                    </a:cubicBezTo>
                    <a:cubicBezTo>
                      <a:pt x="64" y="31"/>
                      <a:pt x="64" y="31"/>
                      <a:pt x="64" y="31"/>
                    </a:cubicBezTo>
                    <a:cubicBezTo>
                      <a:pt x="43" y="31"/>
                      <a:pt x="31" y="37"/>
                      <a:pt x="31" y="55"/>
                    </a:cubicBezTo>
                    <a:cubicBezTo>
                      <a:pt x="31" y="112"/>
                      <a:pt x="31" y="112"/>
                      <a:pt x="31" y="112"/>
                    </a:cubicBezTo>
                    <a:cubicBezTo>
                      <a:pt x="0" y="112"/>
                      <a:pt x="0" y="112"/>
                      <a:pt x="0" y="112"/>
                    </a:cubicBezTo>
                    <a:lnTo>
                      <a:pt x="0" y="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9" name="Freeform 14">
                <a:extLst>
                  <a:ext uri="{FF2B5EF4-FFF2-40B4-BE49-F238E27FC236}">
                    <a16:creationId xmlns:a16="http://schemas.microsoft.com/office/drawing/2014/main" id="{CB547B71-120B-4564-8A4A-97D58E73DA62}"/>
                  </a:ext>
                </a:extLst>
              </p:cNvPr>
              <p:cNvSpPr>
                <a:spLocks noEditPoints="1"/>
              </p:cNvSpPr>
              <p:nvPr/>
            </p:nvSpPr>
            <p:spPr bwMode="auto">
              <a:xfrm>
                <a:off x="11539538" y="1593850"/>
                <a:ext cx="195263" cy="219075"/>
              </a:xfrm>
              <a:custGeom>
                <a:avLst/>
                <a:gdLst>
                  <a:gd name="T0" fmla="*/ 54 w 103"/>
                  <a:gd name="T1" fmla="*/ 116 h 116"/>
                  <a:gd name="T2" fmla="*/ 0 w 103"/>
                  <a:gd name="T3" fmla="*/ 60 h 116"/>
                  <a:gd name="T4" fmla="*/ 0 w 103"/>
                  <a:gd name="T5" fmla="*/ 58 h 116"/>
                  <a:gd name="T6" fmla="*/ 53 w 103"/>
                  <a:gd name="T7" fmla="*/ 0 h 116"/>
                  <a:gd name="T8" fmla="*/ 103 w 103"/>
                  <a:gd name="T9" fmla="*/ 52 h 116"/>
                  <a:gd name="T10" fmla="*/ 103 w 103"/>
                  <a:gd name="T11" fmla="*/ 66 h 116"/>
                  <a:gd name="T12" fmla="*/ 31 w 103"/>
                  <a:gd name="T13" fmla="*/ 66 h 116"/>
                  <a:gd name="T14" fmla="*/ 54 w 103"/>
                  <a:gd name="T15" fmla="*/ 93 h 116"/>
                  <a:gd name="T16" fmla="*/ 75 w 103"/>
                  <a:gd name="T17" fmla="*/ 79 h 116"/>
                  <a:gd name="T18" fmla="*/ 103 w 103"/>
                  <a:gd name="T19" fmla="*/ 79 h 116"/>
                  <a:gd name="T20" fmla="*/ 54 w 103"/>
                  <a:gd name="T21" fmla="*/ 116 h 116"/>
                  <a:gd name="T22" fmla="*/ 32 w 103"/>
                  <a:gd name="T23" fmla="*/ 45 h 116"/>
                  <a:gd name="T24" fmla="*/ 73 w 103"/>
                  <a:gd name="T25" fmla="*/ 45 h 116"/>
                  <a:gd name="T26" fmla="*/ 53 w 103"/>
                  <a:gd name="T27" fmla="*/ 22 h 116"/>
                  <a:gd name="T28" fmla="*/ 32 w 103"/>
                  <a:gd name="T29" fmla="*/ 4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3" h="116">
                    <a:moveTo>
                      <a:pt x="54" y="116"/>
                    </a:moveTo>
                    <a:cubicBezTo>
                      <a:pt x="22" y="116"/>
                      <a:pt x="0" y="97"/>
                      <a:pt x="0" y="60"/>
                    </a:cubicBezTo>
                    <a:cubicBezTo>
                      <a:pt x="0" y="58"/>
                      <a:pt x="0" y="58"/>
                      <a:pt x="0" y="58"/>
                    </a:cubicBezTo>
                    <a:cubicBezTo>
                      <a:pt x="0" y="21"/>
                      <a:pt x="23" y="0"/>
                      <a:pt x="53" y="0"/>
                    </a:cubicBezTo>
                    <a:cubicBezTo>
                      <a:pt x="80" y="0"/>
                      <a:pt x="103" y="16"/>
                      <a:pt x="103" y="52"/>
                    </a:cubicBezTo>
                    <a:cubicBezTo>
                      <a:pt x="103" y="66"/>
                      <a:pt x="103" y="66"/>
                      <a:pt x="103" y="66"/>
                    </a:cubicBezTo>
                    <a:cubicBezTo>
                      <a:pt x="31" y="66"/>
                      <a:pt x="31" y="66"/>
                      <a:pt x="31" y="66"/>
                    </a:cubicBezTo>
                    <a:cubicBezTo>
                      <a:pt x="32" y="86"/>
                      <a:pt x="41" y="93"/>
                      <a:pt x="54" y="93"/>
                    </a:cubicBezTo>
                    <a:cubicBezTo>
                      <a:pt x="66" y="93"/>
                      <a:pt x="72" y="87"/>
                      <a:pt x="75" y="79"/>
                    </a:cubicBezTo>
                    <a:cubicBezTo>
                      <a:pt x="103" y="79"/>
                      <a:pt x="103" y="79"/>
                      <a:pt x="103" y="79"/>
                    </a:cubicBezTo>
                    <a:cubicBezTo>
                      <a:pt x="100" y="100"/>
                      <a:pt x="83" y="116"/>
                      <a:pt x="54" y="116"/>
                    </a:cubicBezTo>
                    <a:close/>
                    <a:moveTo>
                      <a:pt x="32" y="45"/>
                    </a:moveTo>
                    <a:cubicBezTo>
                      <a:pt x="73" y="45"/>
                      <a:pt x="73" y="45"/>
                      <a:pt x="73" y="45"/>
                    </a:cubicBezTo>
                    <a:cubicBezTo>
                      <a:pt x="72" y="29"/>
                      <a:pt x="65" y="22"/>
                      <a:pt x="53" y="22"/>
                    </a:cubicBezTo>
                    <a:cubicBezTo>
                      <a:pt x="43" y="22"/>
                      <a:pt x="34" y="27"/>
                      <a:pt x="32" y="4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grpSp>
      <p:pic>
        <p:nvPicPr>
          <p:cNvPr id="111" name="Graphic 110" descr="Repeat">
            <a:extLst>
              <a:ext uri="{FF2B5EF4-FFF2-40B4-BE49-F238E27FC236}">
                <a16:creationId xmlns:a16="http://schemas.microsoft.com/office/drawing/2014/main" id="{0F7E5D4B-C98D-4B4D-8F7D-82C1E4419D5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03411" y="6172403"/>
            <a:ext cx="512806" cy="512806"/>
          </a:xfrm>
          <a:prstGeom prst="rect">
            <a:avLst/>
          </a:prstGeom>
        </p:spPr>
      </p:pic>
    </p:spTree>
    <p:extLst>
      <p:ext uri="{BB962C8B-B14F-4D97-AF65-F5344CB8AC3E}">
        <p14:creationId xmlns:p14="http://schemas.microsoft.com/office/powerpoint/2010/main" val="33784118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hlinkClick r:id="" action="ppaction://noaction"/>
            <a:extLst>
              <a:ext uri="{FF2B5EF4-FFF2-40B4-BE49-F238E27FC236}">
                <a16:creationId xmlns:a16="http://schemas.microsoft.com/office/drawing/2014/main" id="{9DD14217-42CC-4926-829D-BD4AB7F8A05F}"/>
              </a:ext>
            </a:extLst>
          </p:cNvPr>
          <p:cNvSpPr>
            <a:spLocks/>
          </p:cNvSpPr>
          <p:nvPr/>
        </p:nvSpPr>
        <p:spPr>
          <a:xfrm>
            <a:off x="254871" y="4120082"/>
            <a:ext cx="3704534" cy="2389238"/>
          </a:xfrm>
          <a:prstGeom prst="rect">
            <a:avLst/>
          </a:prstGeom>
          <a:solidFill>
            <a:schemeClr val="accent4">
              <a:lumMod val="20000"/>
              <a:lumOff val="80000"/>
            </a:schemeClr>
          </a:solidFill>
          <a:ln w="28575">
            <a:no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effectLst/>
              <a:uLnTx/>
              <a:uFillTx/>
              <a:latin typeface="Arial"/>
              <a:ea typeface="+mn-ea"/>
              <a:cs typeface="+mn-cs"/>
            </a:endParaRPr>
          </a:p>
        </p:txBody>
      </p:sp>
      <p:sp>
        <p:nvSpPr>
          <p:cNvPr id="4" name="Rectangle 3">
            <a:extLst>
              <a:ext uri="{FF2B5EF4-FFF2-40B4-BE49-F238E27FC236}">
                <a16:creationId xmlns:a16="http://schemas.microsoft.com/office/drawing/2014/main" id="{18C18A72-773C-4312-AEC4-298EE8041CCC}"/>
              </a:ext>
            </a:extLst>
          </p:cNvPr>
          <p:cNvSpPr/>
          <p:nvPr/>
        </p:nvSpPr>
        <p:spPr>
          <a:xfrm>
            <a:off x="4098647" y="3773317"/>
            <a:ext cx="3717912" cy="2775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fontAlgn="base">
              <a:spcBef>
                <a:spcPct val="0"/>
              </a:spcBef>
              <a:spcAft>
                <a:spcPct val="0"/>
              </a:spcAft>
            </a:pPr>
            <a:r>
              <a:rPr lang="en-GB" dirty="0">
                <a:solidFill>
                  <a:prstClr val="white"/>
                </a:solidFill>
                <a:latin typeface="Graphik"/>
              </a:rPr>
              <a:t>BLOCKCHAIN</a:t>
            </a:r>
          </a:p>
        </p:txBody>
      </p:sp>
      <p:sp>
        <p:nvSpPr>
          <p:cNvPr id="5" name="Title 5">
            <a:extLst>
              <a:ext uri="{FF2B5EF4-FFF2-40B4-BE49-F238E27FC236}">
                <a16:creationId xmlns:a16="http://schemas.microsoft.com/office/drawing/2014/main" id="{B3D44409-47E0-4F4C-AB19-D490D6196410}"/>
              </a:ext>
            </a:extLst>
          </p:cNvPr>
          <p:cNvSpPr txBox="1">
            <a:spLocks/>
          </p:cNvSpPr>
          <p:nvPr/>
        </p:nvSpPr>
        <p:spPr>
          <a:xfrm>
            <a:off x="252846" y="340630"/>
            <a:ext cx="11422892" cy="380999"/>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1734634">
              <a:lnSpc>
                <a:spcPct val="100000"/>
              </a:lnSpc>
              <a:defRPr/>
            </a:pPr>
            <a:r>
              <a:rPr lang="en-GB" sz="3600" b="1" cap="all" spc="-133" dirty="0">
                <a:solidFill>
                  <a:srgbClr val="7030A0"/>
                </a:solidFill>
                <a:latin typeface="Graphik" panose="020B0503030202060203" pitchFamily="34" charset="0"/>
              </a:rPr>
              <a:t>Innovation for society projects</a:t>
            </a:r>
          </a:p>
        </p:txBody>
      </p:sp>
      <p:sp>
        <p:nvSpPr>
          <p:cNvPr id="6" name="Text Placeholder 6">
            <a:extLst>
              <a:ext uri="{FF2B5EF4-FFF2-40B4-BE49-F238E27FC236}">
                <a16:creationId xmlns:a16="http://schemas.microsoft.com/office/drawing/2014/main" id="{D1D47D3A-C422-4A76-B37A-18EEC903CF2D}"/>
              </a:ext>
            </a:extLst>
          </p:cNvPr>
          <p:cNvSpPr txBox="1">
            <a:spLocks/>
          </p:cNvSpPr>
          <p:nvPr/>
        </p:nvSpPr>
        <p:spPr>
          <a:xfrm>
            <a:off x="230658" y="810379"/>
            <a:ext cx="11254366" cy="762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3600" b="1" dirty="0"/>
              <a:t>EXAMPLES</a:t>
            </a:r>
          </a:p>
        </p:txBody>
      </p:sp>
      <p:sp>
        <p:nvSpPr>
          <p:cNvPr id="7" name="Rectangle 6">
            <a:extLst>
              <a:ext uri="{FF2B5EF4-FFF2-40B4-BE49-F238E27FC236}">
                <a16:creationId xmlns:a16="http://schemas.microsoft.com/office/drawing/2014/main" id="{0D7E619F-B6DB-4C28-AAC2-2EF7FF4907F3}"/>
              </a:ext>
            </a:extLst>
          </p:cNvPr>
          <p:cNvSpPr/>
          <p:nvPr/>
        </p:nvSpPr>
        <p:spPr>
          <a:xfrm>
            <a:off x="241493" y="1682106"/>
            <a:ext cx="3717912" cy="2775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fontAlgn="base">
              <a:spcBef>
                <a:spcPct val="0"/>
              </a:spcBef>
              <a:spcAft>
                <a:spcPct val="0"/>
              </a:spcAft>
            </a:pPr>
            <a:r>
              <a:rPr lang="en-GB" dirty="0">
                <a:solidFill>
                  <a:prstClr val="white"/>
                </a:solidFill>
                <a:latin typeface="Graphik"/>
              </a:rPr>
              <a:t>EXTENDED REALITY</a:t>
            </a:r>
          </a:p>
        </p:txBody>
      </p:sp>
      <p:sp>
        <p:nvSpPr>
          <p:cNvPr id="8" name="Rectangle 7">
            <a:extLst>
              <a:ext uri="{FF2B5EF4-FFF2-40B4-BE49-F238E27FC236}">
                <a16:creationId xmlns:a16="http://schemas.microsoft.com/office/drawing/2014/main" id="{29003C9F-75CD-4F49-BB02-322D77FD3592}"/>
              </a:ext>
            </a:extLst>
          </p:cNvPr>
          <p:cNvSpPr/>
          <p:nvPr/>
        </p:nvSpPr>
        <p:spPr>
          <a:xfrm>
            <a:off x="8069034" y="1627311"/>
            <a:ext cx="3717912" cy="2775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fontAlgn="base">
              <a:spcBef>
                <a:spcPct val="0"/>
              </a:spcBef>
              <a:spcAft>
                <a:spcPct val="0"/>
              </a:spcAft>
            </a:pPr>
            <a:r>
              <a:rPr lang="en-GB" dirty="0">
                <a:solidFill>
                  <a:prstClr val="white"/>
                </a:solidFill>
                <a:latin typeface="Graphik"/>
              </a:rPr>
              <a:t>ARTIFICIAL INTELLIGENCE</a:t>
            </a:r>
          </a:p>
        </p:txBody>
      </p:sp>
      <p:sp>
        <p:nvSpPr>
          <p:cNvPr id="9" name="Rectangle 8">
            <a:hlinkClick r:id="" action="ppaction://noaction"/>
            <a:extLst>
              <a:ext uri="{FF2B5EF4-FFF2-40B4-BE49-F238E27FC236}">
                <a16:creationId xmlns:a16="http://schemas.microsoft.com/office/drawing/2014/main" id="{5411A0AF-6601-474A-BE0D-0BD48D8A848D}"/>
              </a:ext>
            </a:extLst>
          </p:cNvPr>
          <p:cNvSpPr>
            <a:spLocks/>
          </p:cNvSpPr>
          <p:nvPr/>
        </p:nvSpPr>
        <p:spPr>
          <a:xfrm>
            <a:off x="230658" y="2058419"/>
            <a:ext cx="3704534" cy="1940608"/>
          </a:xfrm>
          <a:prstGeom prst="rect">
            <a:avLst/>
          </a:prstGeom>
          <a:solidFill>
            <a:schemeClr val="accent4">
              <a:lumMod val="20000"/>
              <a:lumOff val="80000"/>
            </a:schemeClr>
          </a:solidFill>
          <a:ln w="28575">
            <a:no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effectLst/>
              <a:uLnTx/>
              <a:uFillTx/>
              <a:latin typeface="Arial"/>
              <a:ea typeface="+mn-ea"/>
              <a:cs typeface="+mn-cs"/>
            </a:endParaRPr>
          </a:p>
        </p:txBody>
      </p:sp>
      <p:sp>
        <p:nvSpPr>
          <p:cNvPr id="10" name="Rectangle 9">
            <a:extLst>
              <a:ext uri="{FF2B5EF4-FFF2-40B4-BE49-F238E27FC236}">
                <a16:creationId xmlns:a16="http://schemas.microsoft.com/office/drawing/2014/main" id="{D7D15719-3EE9-4AE6-A1EE-C04B04FF8A6E}"/>
              </a:ext>
            </a:extLst>
          </p:cNvPr>
          <p:cNvSpPr/>
          <p:nvPr/>
        </p:nvSpPr>
        <p:spPr>
          <a:xfrm>
            <a:off x="340730" y="2097846"/>
            <a:ext cx="2197852" cy="807204"/>
          </a:xfrm>
          <a:prstGeom prst="rect">
            <a:avLst/>
          </a:prstGeom>
          <a:noFill/>
        </p:spPr>
        <p:txBody>
          <a:bodyPr wrap="square" lIns="0" tIns="0" rIns="0" bIns="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dirty="0">
                <a:ln>
                  <a:noFill/>
                </a:ln>
                <a:solidFill>
                  <a:srgbClr val="7E00FF"/>
                </a:solidFill>
                <a:effectLst/>
                <a:uLnTx/>
                <a:uFillTx/>
                <a:latin typeface="+mj-lt"/>
              </a:rPr>
              <a:t>AR/VR LEARNER</a:t>
            </a:r>
          </a:p>
          <a:p>
            <a:pPr>
              <a:lnSpc>
                <a:spcPct val="90000"/>
              </a:lnSpc>
              <a:spcAft>
                <a:spcPts val="600"/>
              </a:spcAft>
              <a:defRPr/>
            </a:pPr>
            <a:r>
              <a:rPr lang="en-US" sz="1200" dirty="0"/>
              <a:t>Will provide vocational school students and out of school youth </a:t>
            </a:r>
            <a:r>
              <a:rPr lang="en-US" sz="1200" dirty="0">
                <a:solidFill>
                  <a:schemeClr val="dk1"/>
                </a:solidFill>
              </a:rPr>
              <a:t>with the opportunity to </a:t>
            </a:r>
            <a:r>
              <a:rPr lang="en-US" sz="1200" dirty="0" err="1">
                <a:solidFill>
                  <a:schemeClr val="dk1"/>
                </a:solidFill>
              </a:rPr>
              <a:t>visualise</a:t>
            </a:r>
            <a:r>
              <a:rPr lang="en-US" sz="1200" dirty="0">
                <a:solidFill>
                  <a:schemeClr val="dk1"/>
                </a:solidFill>
              </a:rPr>
              <a:t> potential career pathways and skills they need to be successful in that path.</a:t>
            </a:r>
            <a:r>
              <a:rPr lang="en-GB" sz="1200" dirty="0">
                <a:solidFill>
                  <a:schemeClr val="dk1"/>
                </a:solidFill>
              </a:rPr>
              <a:t> This will support enhanced skill acquisition, student engagement and an effective transition to work</a:t>
            </a:r>
            <a:endParaRPr kumimoji="0" lang="en-US" sz="1200" i="0" u="none" strike="noStrike" kern="1200" cap="none" spc="0" normalizeH="0" baseline="0" noProof="0" dirty="0">
              <a:ln>
                <a:noFill/>
              </a:ln>
              <a:effectLst/>
              <a:uLnTx/>
              <a:uFillTx/>
            </a:endParaRPr>
          </a:p>
        </p:txBody>
      </p:sp>
      <p:pic>
        <p:nvPicPr>
          <p:cNvPr id="11" name="Picture 10">
            <a:extLst>
              <a:ext uri="{FF2B5EF4-FFF2-40B4-BE49-F238E27FC236}">
                <a16:creationId xmlns:a16="http://schemas.microsoft.com/office/drawing/2014/main" id="{B0D44A87-9475-47E7-B342-B2149E6DC6A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13830" b="18207"/>
          <a:stretch/>
        </p:blipFill>
        <p:spPr>
          <a:xfrm>
            <a:off x="2538582" y="2078728"/>
            <a:ext cx="1406245" cy="1801222"/>
          </a:xfrm>
          <a:prstGeom prst="rect">
            <a:avLst/>
          </a:prstGeom>
        </p:spPr>
      </p:pic>
      <p:sp>
        <p:nvSpPr>
          <p:cNvPr id="12" name="Rectangle 11">
            <a:extLst>
              <a:ext uri="{FF2B5EF4-FFF2-40B4-BE49-F238E27FC236}">
                <a16:creationId xmlns:a16="http://schemas.microsoft.com/office/drawing/2014/main" id="{1CD32B7A-DB65-423F-9CD0-9EEEF603F152}"/>
              </a:ext>
            </a:extLst>
          </p:cNvPr>
          <p:cNvSpPr/>
          <p:nvPr/>
        </p:nvSpPr>
        <p:spPr>
          <a:xfrm>
            <a:off x="333676" y="4185877"/>
            <a:ext cx="2058758" cy="807204"/>
          </a:xfrm>
          <a:prstGeom prst="rect">
            <a:avLst/>
          </a:prstGeom>
          <a:noFill/>
        </p:spPr>
        <p:txBody>
          <a:bodyPr wrap="square" lIns="0" tIns="0" rIns="0" bIns="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400" b="1" dirty="0">
                <a:solidFill>
                  <a:srgbClr val="7E00FF"/>
                </a:solidFill>
                <a:latin typeface="Graphik" panose="020B0503030202060203" pitchFamily="34" charset="0"/>
              </a:rPr>
              <a:t>XR4NEWSKILLSNOW </a:t>
            </a:r>
            <a:endParaRPr lang="en-US" sz="1200" dirty="0"/>
          </a:p>
          <a:p>
            <a:pPr lvl="0" fontAlgn="auto">
              <a:lnSpc>
                <a:spcPct val="90000"/>
              </a:lnSpc>
              <a:spcBef>
                <a:spcPts val="0"/>
              </a:spcBef>
              <a:spcAft>
                <a:spcPts val="600"/>
              </a:spcAft>
              <a:defRPr/>
            </a:pPr>
            <a:endParaRPr kumimoji="0" lang="en-US" sz="1400" i="0" u="none" strike="noStrike" kern="1200" cap="none" spc="0" normalizeH="0" baseline="0" noProof="0" dirty="0">
              <a:ln>
                <a:noFill/>
              </a:ln>
              <a:effectLst/>
              <a:uLnTx/>
              <a:uFillTx/>
              <a:latin typeface="Graphik" panose="020B0503030202060203" pitchFamily="34" charset="0"/>
            </a:endParaRPr>
          </a:p>
        </p:txBody>
      </p:sp>
      <p:sp>
        <p:nvSpPr>
          <p:cNvPr id="13" name="Rectangle 12">
            <a:hlinkClick r:id="" action="ppaction://noaction"/>
            <a:extLst>
              <a:ext uri="{FF2B5EF4-FFF2-40B4-BE49-F238E27FC236}">
                <a16:creationId xmlns:a16="http://schemas.microsoft.com/office/drawing/2014/main" id="{EBC5DF8E-3E5A-421A-B959-B8DF0B8806A9}"/>
              </a:ext>
            </a:extLst>
          </p:cNvPr>
          <p:cNvSpPr>
            <a:spLocks/>
          </p:cNvSpPr>
          <p:nvPr/>
        </p:nvSpPr>
        <p:spPr>
          <a:xfrm>
            <a:off x="8069034" y="2014913"/>
            <a:ext cx="3704534" cy="1984114"/>
          </a:xfrm>
          <a:prstGeom prst="rect">
            <a:avLst/>
          </a:prstGeom>
          <a:solidFill>
            <a:schemeClr val="accent4">
              <a:lumMod val="20000"/>
              <a:lumOff val="80000"/>
            </a:schemeClr>
          </a:solidFill>
          <a:ln w="28575">
            <a:no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effectLst/>
              <a:uLnTx/>
              <a:uFillTx/>
              <a:latin typeface="Arial"/>
              <a:ea typeface="+mn-ea"/>
              <a:cs typeface="+mn-cs"/>
            </a:endParaRPr>
          </a:p>
        </p:txBody>
      </p:sp>
      <p:sp>
        <p:nvSpPr>
          <p:cNvPr id="14" name="Rectangle 13">
            <a:extLst>
              <a:ext uri="{FF2B5EF4-FFF2-40B4-BE49-F238E27FC236}">
                <a16:creationId xmlns:a16="http://schemas.microsoft.com/office/drawing/2014/main" id="{21D44257-A956-49F8-81CC-641191A69EC8}"/>
              </a:ext>
            </a:extLst>
          </p:cNvPr>
          <p:cNvSpPr/>
          <p:nvPr/>
        </p:nvSpPr>
        <p:spPr>
          <a:xfrm>
            <a:off x="8147839" y="2078728"/>
            <a:ext cx="2156924" cy="807204"/>
          </a:xfrm>
          <a:prstGeom prst="rect">
            <a:avLst/>
          </a:prstGeom>
          <a:noFill/>
        </p:spPr>
        <p:txBody>
          <a:bodyPr wrap="square" lIns="0" tIns="0" rIns="0" bIns="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400" b="1" dirty="0">
                <a:solidFill>
                  <a:srgbClr val="7E00FF"/>
                </a:solidFill>
                <a:latin typeface="Graphik" panose="020B0503030202060203" pitchFamily="34" charset="0"/>
              </a:rPr>
              <a:t>EMOTION ANALYTICS</a:t>
            </a:r>
            <a:endParaRPr kumimoji="0" lang="en-US" sz="1400" b="1" i="0" u="none" strike="noStrike" kern="1200" cap="none" spc="0" normalizeH="0" baseline="0" noProof="0" dirty="0">
              <a:ln>
                <a:noFill/>
              </a:ln>
              <a:solidFill>
                <a:srgbClr val="7E00FF"/>
              </a:solidFill>
              <a:effectLst/>
              <a:uLnTx/>
              <a:uFillTx/>
              <a:latin typeface="Graphik" panose="020B0503030202060203" pitchFamily="34" charset="0"/>
            </a:endParaRPr>
          </a:p>
          <a:p>
            <a:r>
              <a:rPr lang="en-US" sz="1200" dirty="0"/>
              <a:t>A dynamic interview prep tool to prepare jobseekers for job change/re-entry/skilling—by analyzing emotions during practice interviews to increase self-awareness and self-confidence.</a:t>
            </a:r>
            <a:endParaRPr kumimoji="0" lang="en-US" sz="1400" i="0" u="none" strike="noStrike" kern="1200" cap="none" spc="0" normalizeH="0" baseline="0" noProof="0" dirty="0">
              <a:ln>
                <a:noFill/>
              </a:ln>
              <a:effectLst/>
              <a:uLnTx/>
              <a:uFillTx/>
              <a:latin typeface="Graphik" panose="020B0503030202060203" pitchFamily="34" charset="0"/>
            </a:endParaRPr>
          </a:p>
        </p:txBody>
      </p:sp>
      <p:sp>
        <p:nvSpPr>
          <p:cNvPr id="15" name="Rectangle 14">
            <a:extLst>
              <a:ext uri="{FF2B5EF4-FFF2-40B4-BE49-F238E27FC236}">
                <a16:creationId xmlns:a16="http://schemas.microsoft.com/office/drawing/2014/main" id="{4B08CBA9-FD1B-44B2-9BBC-E03BE207BBD8}"/>
              </a:ext>
            </a:extLst>
          </p:cNvPr>
          <p:cNvSpPr/>
          <p:nvPr/>
        </p:nvSpPr>
        <p:spPr>
          <a:xfrm>
            <a:off x="8101446" y="4705435"/>
            <a:ext cx="2058758" cy="807204"/>
          </a:xfrm>
          <a:prstGeom prst="rect">
            <a:avLst/>
          </a:prstGeom>
          <a:noFill/>
        </p:spPr>
        <p:txBody>
          <a:bodyPr wrap="square" lIns="0" tIns="0" rIns="0" bIns="0">
            <a:noAutofit/>
          </a:bodyPr>
          <a:lstStyle/>
          <a:p>
            <a:pPr lvl="0" fontAlgn="auto">
              <a:lnSpc>
                <a:spcPct val="90000"/>
              </a:lnSpc>
              <a:spcBef>
                <a:spcPts val="0"/>
              </a:spcBef>
              <a:spcAft>
                <a:spcPts val="600"/>
              </a:spcAft>
              <a:defRPr/>
            </a:pPr>
            <a:endParaRPr kumimoji="0" lang="en-US" sz="1400" i="0" u="none" strike="noStrike" kern="1200" cap="none" spc="0" normalizeH="0" baseline="0" noProof="0" dirty="0">
              <a:ln>
                <a:noFill/>
              </a:ln>
              <a:effectLst/>
              <a:uLnTx/>
              <a:uFillTx/>
              <a:latin typeface="Graphik" panose="020B0503030202060203" pitchFamily="34" charset="0"/>
            </a:endParaRPr>
          </a:p>
        </p:txBody>
      </p:sp>
      <p:sp>
        <p:nvSpPr>
          <p:cNvPr id="16" name="Rectangle 15">
            <a:hlinkClick r:id="" action="ppaction://noaction"/>
            <a:extLst>
              <a:ext uri="{FF2B5EF4-FFF2-40B4-BE49-F238E27FC236}">
                <a16:creationId xmlns:a16="http://schemas.microsoft.com/office/drawing/2014/main" id="{664D0240-5759-450F-B1BA-D378890DA2FB}"/>
              </a:ext>
            </a:extLst>
          </p:cNvPr>
          <p:cNvSpPr>
            <a:spLocks/>
          </p:cNvSpPr>
          <p:nvPr/>
        </p:nvSpPr>
        <p:spPr>
          <a:xfrm>
            <a:off x="8078510" y="4065286"/>
            <a:ext cx="3704534" cy="2444033"/>
          </a:xfrm>
          <a:prstGeom prst="rect">
            <a:avLst/>
          </a:prstGeom>
          <a:solidFill>
            <a:schemeClr val="accent4">
              <a:lumMod val="20000"/>
              <a:lumOff val="80000"/>
            </a:schemeClr>
          </a:solidFill>
          <a:ln w="28575">
            <a:no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effectLst/>
              <a:uLnTx/>
              <a:uFillTx/>
              <a:latin typeface="Arial"/>
              <a:ea typeface="+mn-ea"/>
              <a:cs typeface="+mn-cs"/>
            </a:endParaRPr>
          </a:p>
        </p:txBody>
      </p:sp>
      <p:sp>
        <p:nvSpPr>
          <p:cNvPr id="17" name="Rectangle 16">
            <a:hlinkClick r:id="" action="ppaction://noaction"/>
            <a:extLst>
              <a:ext uri="{FF2B5EF4-FFF2-40B4-BE49-F238E27FC236}">
                <a16:creationId xmlns:a16="http://schemas.microsoft.com/office/drawing/2014/main" id="{B619FE60-0998-4558-88C4-A07A74A0C651}"/>
              </a:ext>
            </a:extLst>
          </p:cNvPr>
          <p:cNvSpPr>
            <a:spLocks/>
          </p:cNvSpPr>
          <p:nvPr/>
        </p:nvSpPr>
        <p:spPr>
          <a:xfrm>
            <a:off x="4101802" y="4132300"/>
            <a:ext cx="3704534" cy="2377020"/>
          </a:xfrm>
          <a:prstGeom prst="rect">
            <a:avLst/>
          </a:prstGeom>
          <a:solidFill>
            <a:schemeClr val="accent4">
              <a:lumMod val="20000"/>
              <a:lumOff val="80000"/>
            </a:schemeClr>
          </a:solidFill>
          <a:ln w="28575">
            <a:no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effectLst/>
              <a:uLnTx/>
              <a:uFillTx/>
              <a:latin typeface="Arial"/>
              <a:ea typeface="+mn-ea"/>
              <a:cs typeface="+mn-cs"/>
            </a:endParaRPr>
          </a:p>
        </p:txBody>
      </p:sp>
      <p:sp>
        <p:nvSpPr>
          <p:cNvPr id="18" name="Rectangle 17">
            <a:extLst>
              <a:ext uri="{FF2B5EF4-FFF2-40B4-BE49-F238E27FC236}">
                <a16:creationId xmlns:a16="http://schemas.microsoft.com/office/drawing/2014/main" id="{61098D18-1065-4DF2-BADD-CECB5AD30F3D}"/>
              </a:ext>
            </a:extLst>
          </p:cNvPr>
          <p:cNvSpPr/>
          <p:nvPr/>
        </p:nvSpPr>
        <p:spPr>
          <a:xfrm>
            <a:off x="4180605" y="4196115"/>
            <a:ext cx="2351771" cy="1532798"/>
          </a:xfrm>
          <a:prstGeom prst="rect">
            <a:avLst/>
          </a:prstGeom>
          <a:noFill/>
        </p:spPr>
        <p:txBody>
          <a:bodyPr wrap="square" lIns="0" tIns="0" rIns="0" bIns="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7E00FF"/>
                </a:solidFill>
                <a:effectLst/>
                <a:uLnTx/>
                <a:uFillTx/>
                <a:latin typeface="Graphik" panose="020B0503030202060203" pitchFamily="34" charset="0"/>
              </a:rPr>
              <a:t>S</a:t>
            </a:r>
            <a:r>
              <a:rPr lang="en-US" sz="1400" b="1" dirty="0">
                <a:solidFill>
                  <a:srgbClr val="7E00FF"/>
                </a:solidFill>
                <a:latin typeface="Graphik" panose="020B0503030202060203" pitchFamily="34" charset="0"/>
              </a:rPr>
              <a:t>TL BLOCKCHAIN TOKEN</a:t>
            </a:r>
          </a:p>
          <a:p>
            <a:r>
              <a:rPr lang="en-GB" sz="1200" dirty="0">
                <a:solidFill>
                  <a:prstClr val="black"/>
                </a:solidFill>
                <a:cs typeface="Arial" charset="0"/>
              </a:rPr>
              <a:t>This concept leverages blockchain technology to help tackle problems facing youth entrepreneurs from under-represented communities. The blockchain token will allow greater control for the donors and incentivise mentors and entrepreneurs to engage more with the SkystheLimit platform. </a:t>
            </a:r>
          </a:p>
          <a:p>
            <a:pPr lvl="0" fontAlgn="auto">
              <a:lnSpc>
                <a:spcPct val="90000"/>
              </a:lnSpc>
              <a:spcBef>
                <a:spcPts val="0"/>
              </a:spcBef>
              <a:spcAft>
                <a:spcPts val="600"/>
              </a:spcAft>
              <a:defRPr/>
            </a:pPr>
            <a:endParaRPr kumimoji="0" lang="en-US" sz="1400" i="0" u="none" strike="noStrike" kern="1200" cap="none" spc="0" normalizeH="0" baseline="0" noProof="0" dirty="0">
              <a:ln>
                <a:noFill/>
              </a:ln>
              <a:effectLst/>
              <a:uLnTx/>
              <a:uFillTx/>
              <a:latin typeface="Graphik" panose="020B0503030202060203" pitchFamily="34" charset="0"/>
            </a:endParaRPr>
          </a:p>
        </p:txBody>
      </p:sp>
      <p:sp>
        <p:nvSpPr>
          <p:cNvPr id="19" name="Rectangle 18">
            <a:extLst>
              <a:ext uri="{FF2B5EF4-FFF2-40B4-BE49-F238E27FC236}">
                <a16:creationId xmlns:a16="http://schemas.microsoft.com/office/drawing/2014/main" id="{2412E8FA-4E5A-42B2-ABFA-648859FDBB6A}"/>
              </a:ext>
            </a:extLst>
          </p:cNvPr>
          <p:cNvSpPr/>
          <p:nvPr/>
        </p:nvSpPr>
        <p:spPr>
          <a:xfrm>
            <a:off x="8193584" y="4146988"/>
            <a:ext cx="2238794" cy="807204"/>
          </a:xfrm>
          <a:prstGeom prst="rect">
            <a:avLst/>
          </a:prstGeom>
          <a:noFill/>
        </p:spPr>
        <p:txBody>
          <a:bodyPr wrap="square" lIns="0" tIns="0" rIns="0" bIns="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400" b="1" dirty="0">
                <a:solidFill>
                  <a:srgbClr val="7E00FF"/>
                </a:solidFill>
                <a:latin typeface="Graphik" panose="020B0503030202060203" pitchFamily="34" charset="0"/>
              </a:rPr>
              <a:t>AI4SOCIALINCLUSION</a:t>
            </a:r>
          </a:p>
          <a:p>
            <a:pPr lvl="0">
              <a:lnSpc>
                <a:spcPct val="90000"/>
              </a:lnSpc>
              <a:spcAft>
                <a:spcPts val="600"/>
              </a:spcAft>
              <a:defRPr/>
            </a:pPr>
            <a:r>
              <a:rPr lang="en-US" sz="1200" dirty="0"/>
              <a:t>Natural Language Processing and AI to </a:t>
            </a:r>
            <a:r>
              <a:rPr lang="en-GB" sz="1200" dirty="0"/>
              <a:t>to complement real-world care of the elderly, allowing older people to make the most out of everyday life, including managing reminders, activity tracking managing simple banking</a:t>
            </a:r>
            <a:r>
              <a:rPr lang="en-US" sz="1200" dirty="0"/>
              <a:t> emotions.</a:t>
            </a:r>
            <a:endParaRPr lang="en-US" sz="1200" dirty="0">
              <a:latin typeface="Graphik Black" panose="020B0A0303020206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400" b="1" i="0" u="none" strike="noStrike" kern="1200" cap="none" spc="0" normalizeH="0" baseline="0" noProof="0" dirty="0">
              <a:ln>
                <a:noFill/>
              </a:ln>
              <a:solidFill>
                <a:srgbClr val="7E00FF"/>
              </a:solidFill>
              <a:effectLst/>
              <a:uLnTx/>
              <a:uFillTx/>
              <a:latin typeface="Graphik Black" panose="020B0A0303020206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lang="en-US" sz="1400" b="1" dirty="0">
              <a:solidFill>
                <a:srgbClr val="7E00FF"/>
              </a:solidFill>
              <a:latin typeface="Graphik" panose="020B0503030202060203" pitchFamily="34" charset="0"/>
            </a:endParaRPr>
          </a:p>
        </p:txBody>
      </p:sp>
      <p:sp>
        <p:nvSpPr>
          <p:cNvPr id="20" name="Rectangle 19">
            <a:hlinkClick r:id="" action="ppaction://noaction"/>
            <a:extLst>
              <a:ext uri="{FF2B5EF4-FFF2-40B4-BE49-F238E27FC236}">
                <a16:creationId xmlns:a16="http://schemas.microsoft.com/office/drawing/2014/main" id="{F802FB11-0979-4B8D-BA65-2B310F1F1F72}"/>
              </a:ext>
            </a:extLst>
          </p:cNvPr>
          <p:cNvSpPr>
            <a:spLocks/>
          </p:cNvSpPr>
          <p:nvPr/>
        </p:nvSpPr>
        <p:spPr>
          <a:xfrm>
            <a:off x="4112025" y="1687869"/>
            <a:ext cx="3704534" cy="1996698"/>
          </a:xfrm>
          <a:prstGeom prst="rect">
            <a:avLst/>
          </a:prstGeom>
          <a:solidFill>
            <a:schemeClr val="accent4">
              <a:lumMod val="20000"/>
              <a:lumOff val="80000"/>
            </a:schemeClr>
          </a:solidFill>
          <a:ln w="28575">
            <a:noFill/>
            <a:prstDash val="soli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effectLst/>
              <a:uLnTx/>
              <a:uFillTx/>
              <a:latin typeface="Arial"/>
              <a:ea typeface="+mn-ea"/>
              <a:cs typeface="+mn-cs"/>
            </a:endParaRPr>
          </a:p>
        </p:txBody>
      </p:sp>
      <p:pic>
        <p:nvPicPr>
          <p:cNvPr id="21" name="Picture 20">
            <a:hlinkClick r:id="rId3"/>
            <a:extLst>
              <a:ext uri="{FF2B5EF4-FFF2-40B4-BE49-F238E27FC236}">
                <a16:creationId xmlns:a16="http://schemas.microsoft.com/office/drawing/2014/main" id="{5782FB62-6A2B-46EC-A1F8-D0FFC9A67A2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31060" t="5161" r="28638" b="5390"/>
          <a:stretch/>
        </p:blipFill>
        <p:spPr>
          <a:xfrm>
            <a:off x="6420131" y="1682106"/>
            <a:ext cx="1396710" cy="1827293"/>
          </a:xfrm>
          <a:prstGeom prst="rect">
            <a:avLst/>
          </a:prstGeom>
        </p:spPr>
      </p:pic>
      <p:sp>
        <p:nvSpPr>
          <p:cNvPr id="22" name="Rectangle 21">
            <a:extLst>
              <a:ext uri="{FF2B5EF4-FFF2-40B4-BE49-F238E27FC236}">
                <a16:creationId xmlns:a16="http://schemas.microsoft.com/office/drawing/2014/main" id="{EC378FE8-C089-440A-B453-0496FF35D12B}"/>
              </a:ext>
            </a:extLst>
          </p:cNvPr>
          <p:cNvSpPr/>
          <p:nvPr/>
        </p:nvSpPr>
        <p:spPr>
          <a:xfrm>
            <a:off x="4190830" y="1819924"/>
            <a:ext cx="2058758" cy="807204"/>
          </a:xfrm>
          <a:prstGeom prst="rect">
            <a:avLst/>
          </a:prstGeom>
          <a:noFill/>
        </p:spPr>
        <p:txBody>
          <a:bodyPr wrap="square" lIns="0" tIns="0" rIns="0" bIns="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1400" b="1" dirty="0">
                <a:solidFill>
                  <a:srgbClr val="7E00FF"/>
                </a:solidFill>
                <a:latin typeface="Graphik" panose="020B0503030202060203" pitchFamily="34" charset="0"/>
              </a:rPr>
              <a:t>XR4HOSPITALITY</a:t>
            </a:r>
          </a:p>
          <a:p>
            <a:pPr marL="0" marR="0" lvl="0" indent="0" algn="l" defTabSz="914400" rtl="0" eaLnBrk="1" fontAlgn="auto" latinLnBrk="0" hangingPunct="1">
              <a:lnSpc>
                <a:spcPct val="90000"/>
              </a:lnSpc>
              <a:spcBef>
                <a:spcPts val="0"/>
              </a:spcBef>
              <a:spcAft>
                <a:spcPts val="600"/>
              </a:spcAft>
              <a:buClrTx/>
              <a:buSzTx/>
              <a:buFontTx/>
              <a:buNone/>
              <a:tabLst/>
              <a:defRPr/>
            </a:pPr>
            <a:endParaRPr lang="en-US" sz="1400" b="1" dirty="0">
              <a:solidFill>
                <a:srgbClr val="7E00FF"/>
              </a:solidFill>
              <a:latin typeface="Graphik" panose="020B0503030202060203"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lang="en-US" sz="1200" dirty="0"/>
          </a:p>
          <a:p>
            <a:pPr lvl="0" fontAlgn="auto">
              <a:lnSpc>
                <a:spcPct val="90000"/>
              </a:lnSpc>
              <a:spcBef>
                <a:spcPts val="0"/>
              </a:spcBef>
              <a:spcAft>
                <a:spcPts val="600"/>
              </a:spcAft>
              <a:defRPr/>
            </a:pPr>
            <a:endParaRPr kumimoji="0" lang="en-US" sz="1400" i="0" u="none" strike="noStrike" kern="1200" cap="none" spc="0" normalizeH="0" baseline="0" noProof="0" dirty="0">
              <a:ln>
                <a:noFill/>
              </a:ln>
              <a:effectLst/>
              <a:uLnTx/>
              <a:uFillTx/>
              <a:latin typeface="Graphik" panose="020B0503030202060203" pitchFamily="34" charset="0"/>
            </a:endParaRPr>
          </a:p>
        </p:txBody>
      </p:sp>
      <p:pic>
        <p:nvPicPr>
          <p:cNvPr id="23" name="Picture 22">
            <a:extLst>
              <a:ext uri="{FF2B5EF4-FFF2-40B4-BE49-F238E27FC236}">
                <a16:creationId xmlns:a16="http://schemas.microsoft.com/office/drawing/2014/main" id="{F76D0FF5-0499-44B7-BC6C-E9A29350C3BB}"/>
              </a:ext>
            </a:extLst>
          </p:cNvPr>
          <p:cNvPicPr>
            <a:picLocks noChangeAspect="1"/>
          </p:cNvPicPr>
          <p:nvPr/>
        </p:nvPicPr>
        <p:blipFill rotWithShape="1">
          <a:blip r:embed="rId5"/>
          <a:srcRect l="59495" t="19251" r="12426" b="30374"/>
          <a:stretch/>
        </p:blipFill>
        <p:spPr>
          <a:xfrm>
            <a:off x="6532772" y="4139665"/>
            <a:ext cx="1273169" cy="1774341"/>
          </a:xfrm>
          <a:prstGeom prst="rect">
            <a:avLst/>
          </a:prstGeom>
        </p:spPr>
      </p:pic>
      <p:pic>
        <p:nvPicPr>
          <p:cNvPr id="24" name="Picture 23">
            <a:extLst>
              <a:ext uri="{FF2B5EF4-FFF2-40B4-BE49-F238E27FC236}">
                <a16:creationId xmlns:a16="http://schemas.microsoft.com/office/drawing/2014/main" id="{5B2CAE69-D024-4EA2-A97E-0092BE389C95}"/>
              </a:ext>
            </a:extLst>
          </p:cNvPr>
          <p:cNvPicPr>
            <a:picLocks noChangeAspect="1"/>
          </p:cNvPicPr>
          <p:nvPr/>
        </p:nvPicPr>
        <p:blipFill rotWithShape="1">
          <a:blip r:embed="rId6"/>
          <a:srcRect l="49736" t="35037" r="30746" b="16335"/>
          <a:stretch/>
        </p:blipFill>
        <p:spPr>
          <a:xfrm>
            <a:off x="2674450" y="4132300"/>
            <a:ext cx="1277444" cy="1789336"/>
          </a:xfrm>
          <a:prstGeom prst="rect">
            <a:avLst/>
          </a:prstGeom>
        </p:spPr>
      </p:pic>
      <p:sp>
        <p:nvSpPr>
          <p:cNvPr id="25" name="Rectangle 24">
            <a:extLst>
              <a:ext uri="{FF2B5EF4-FFF2-40B4-BE49-F238E27FC236}">
                <a16:creationId xmlns:a16="http://schemas.microsoft.com/office/drawing/2014/main" id="{CCAE1053-1DD7-4D60-9159-55D428EC4622}"/>
              </a:ext>
            </a:extLst>
          </p:cNvPr>
          <p:cNvSpPr/>
          <p:nvPr/>
        </p:nvSpPr>
        <p:spPr>
          <a:xfrm>
            <a:off x="284768" y="4428490"/>
            <a:ext cx="2389682" cy="807204"/>
          </a:xfrm>
          <a:prstGeom prst="rect">
            <a:avLst/>
          </a:prstGeom>
          <a:noFill/>
        </p:spPr>
        <p:txBody>
          <a:bodyPr wrap="square" lIns="0" tIns="0" rIns="0" bIns="0">
            <a:noAutofit/>
          </a:bodyPr>
          <a:lstStyle/>
          <a:p>
            <a:r>
              <a:rPr lang="en-AU" sz="1200" dirty="0">
                <a:solidFill>
                  <a:prstClr val="black"/>
                </a:solidFill>
                <a:cs typeface="Arial" charset="0"/>
              </a:rPr>
              <a:t>Immersive Learning</a:t>
            </a:r>
            <a:r>
              <a:rPr lang="en-GB" sz="1200" dirty="0">
                <a:solidFill>
                  <a:prstClr val="black"/>
                </a:solidFill>
                <a:cs typeface="Arial" charset="0"/>
              </a:rPr>
              <a:t> prototype to equip children aged 10-12 with </a:t>
            </a:r>
            <a:r>
              <a:rPr lang="en-AU" sz="1200" dirty="0">
                <a:solidFill>
                  <a:prstClr val="black"/>
                </a:solidFill>
                <a:cs typeface="Arial" charset="0"/>
                <a:hlinkClick r:id="rId7"/>
              </a:rPr>
              <a:t>#NewSkillsNow</a:t>
            </a:r>
            <a:r>
              <a:rPr lang="en-GB" sz="1200" dirty="0">
                <a:solidFill>
                  <a:prstClr val="black"/>
                </a:solidFill>
                <a:cs typeface="Arial" charset="0"/>
              </a:rPr>
              <a:t>  (along with building awareness for their educators and parents/guardians).</a:t>
            </a:r>
          </a:p>
          <a:p>
            <a:r>
              <a:rPr lang="en-GB" sz="1200" dirty="0">
                <a:solidFill>
                  <a:prstClr val="black"/>
                </a:solidFill>
                <a:cs typeface="Arial" charset="0"/>
              </a:rPr>
              <a:t>The concept is a virtual reality game to enable children to discover future jobs, develop </a:t>
            </a:r>
            <a:r>
              <a:rPr lang="en-AU" sz="1200" dirty="0">
                <a:solidFill>
                  <a:prstClr val="black"/>
                </a:solidFill>
                <a:cs typeface="Arial" charset="0"/>
                <a:hlinkClick r:id="rId7"/>
              </a:rPr>
              <a:t>#NewSkillsNow</a:t>
            </a:r>
            <a:r>
              <a:rPr lang="en-GB" sz="1200" dirty="0">
                <a:solidFill>
                  <a:prstClr val="black"/>
                </a:solidFill>
                <a:cs typeface="Arial" charset="0"/>
              </a:rPr>
              <a:t> &amp; inspire them to follow curriculum at school</a:t>
            </a:r>
          </a:p>
        </p:txBody>
      </p:sp>
      <p:sp>
        <p:nvSpPr>
          <p:cNvPr id="26" name="Rectangle 25">
            <a:extLst>
              <a:ext uri="{FF2B5EF4-FFF2-40B4-BE49-F238E27FC236}">
                <a16:creationId xmlns:a16="http://schemas.microsoft.com/office/drawing/2014/main" id="{93710BDD-F54D-4101-8740-DA9B53A2EF9A}"/>
              </a:ext>
            </a:extLst>
          </p:cNvPr>
          <p:cNvSpPr/>
          <p:nvPr/>
        </p:nvSpPr>
        <p:spPr>
          <a:xfrm>
            <a:off x="4226538" y="2041702"/>
            <a:ext cx="2275243" cy="807204"/>
          </a:xfrm>
          <a:prstGeom prst="rect">
            <a:avLst/>
          </a:prstGeom>
          <a:noFill/>
        </p:spPr>
        <p:txBody>
          <a:bodyPr wrap="square" lIns="0" tIns="0" rIns="0" bIns="0">
            <a:noAutofit/>
          </a:bodyPr>
          <a:lstStyle/>
          <a:p>
            <a:r>
              <a:rPr lang="en-US" sz="1200" dirty="0">
                <a:solidFill>
                  <a:prstClr val="black"/>
                </a:solidFill>
              </a:rPr>
              <a:t>An Immersive Learning Prototype to equip very vulnerable beneficiaries with skills to interact with digital technology and stressful situations that can happen as Hotel Maids/Commercial Cleaners.</a:t>
            </a:r>
            <a:endParaRPr lang="en-GB" sz="1200" dirty="0"/>
          </a:p>
          <a:p>
            <a:pPr lvl="0" fontAlgn="auto">
              <a:lnSpc>
                <a:spcPct val="90000"/>
              </a:lnSpc>
              <a:spcBef>
                <a:spcPts val="0"/>
              </a:spcBef>
              <a:spcAft>
                <a:spcPts val="600"/>
              </a:spcAft>
              <a:defRPr/>
            </a:pPr>
            <a:endParaRPr kumimoji="0" lang="en-US" sz="1400" i="0" u="none" strike="noStrike" kern="1200" cap="none" spc="0" normalizeH="0" baseline="0" noProof="0" dirty="0">
              <a:ln>
                <a:noFill/>
              </a:ln>
              <a:effectLst/>
              <a:uLnTx/>
              <a:uFillTx/>
              <a:latin typeface="Graphik" panose="020B0503030202060203" pitchFamily="34" charset="0"/>
            </a:endParaRPr>
          </a:p>
        </p:txBody>
      </p:sp>
      <p:pic>
        <p:nvPicPr>
          <p:cNvPr id="27" name="Picture 26">
            <a:extLst>
              <a:ext uri="{FF2B5EF4-FFF2-40B4-BE49-F238E27FC236}">
                <a16:creationId xmlns:a16="http://schemas.microsoft.com/office/drawing/2014/main" id="{56EC6BF7-DA60-4280-8D7D-7377BD3CE1D8}"/>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l="19184" r="41188"/>
          <a:stretch/>
        </p:blipFill>
        <p:spPr>
          <a:xfrm>
            <a:off x="10486450" y="2018030"/>
            <a:ext cx="1280517" cy="1818414"/>
          </a:xfrm>
          <a:prstGeom prst="rect">
            <a:avLst/>
          </a:prstGeom>
        </p:spPr>
      </p:pic>
      <p:pic>
        <p:nvPicPr>
          <p:cNvPr id="28" name="Picture 2" descr="Image result for elderly care">
            <a:extLst>
              <a:ext uri="{FF2B5EF4-FFF2-40B4-BE49-F238E27FC236}">
                <a16:creationId xmlns:a16="http://schemas.microsoft.com/office/drawing/2014/main" id="{6513BEF2-F4B8-4A56-A7D4-88A4F0813C93}"/>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3939" r="39586"/>
          <a:stretch/>
        </p:blipFill>
        <p:spPr bwMode="auto">
          <a:xfrm>
            <a:off x="10506742" y="4080420"/>
            <a:ext cx="1276302" cy="1806398"/>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4C07C592-E7B1-42B9-B4C4-0D162F5FEE48}"/>
              </a:ext>
            </a:extLst>
          </p:cNvPr>
          <p:cNvSpPr/>
          <p:nvPr/>
        </p:nvSpPr>
        <p:spPr>
          <a:xfrm>
            <a:off x="254870" y="1243649"/>
            <a:ext cx="11791355" cy="807204"/>
          </a:xfrm>
          <a:prstGeom prst="rect">
            <a:avLst/>
          </a:prstGeom>
          <a:noFill/>
        </p:spPr>
        <p:txBody>
          <a:bodyPr wrap="square" lIns="0" tIns="0" rIns="0" bIns="0">
            <a:noAutofit/>
          </a:bodyPr>
          <a:lstStyle/>
          <a:p>
            <a:pPr lvl="0" fontAlgn="auto">
              <a:lnSpc>
                <a:spcPct val="90000"/>
              </a:lnSpc>
              <a:spcBef>
                <a:spcPts val="0"/>
              </a:spcBef>
              <a:spcAft>
                <a:spcPts val="600"/>
              </a:spcAft>
              <a:defRPr/>
            </a:pPr>
            <a:endParaRPr kumimoji="0" lang="en-US" sz="1400" i="0" u="none" strike="noStrike" kern="1200" cap="none" spc="0" normalizeH="0" baseline="0" noProof="0" dirty="0">
              <a:ln>
                <a:noFill/>
              </a:ln>
              <a:effectLst/>
              <a:uLnTx/>
              <a:uFillTx/>
              <a:latin typeface="Graphik" panose="020B0503030202060203" pitchFamily="34" charset="0"/>
            </a:endParaRPr>
          </a:p>
        </p:txBody>
      </p:sp>
      <p:sp>
        <p:nvSpPr>
          <p:cNvPr id="30" name="Rectangle 29">
            <a:extLst>
              <a:ext uri="{FF2B5EF4-FFF2-40B4-BE49-F238E27FC236}">
                <a16:creationId xmlns:a16="http://schemas.microsoft.com/office/drawing/2014/main" id="{F12D9FD8-C593-49B3-8ECD-9C643F237542}"/>
              </a:ext>
            </a:extLst>
          </p:cNvPr>
          <p:cNvSpPr/>
          <p:nvPr/>
        </p:nvSpPr>
        <p:spPr>
          <a:xfrm>
            <a:off x="5977217" y="3244334"/>
            <a:ext cx="237566" cy="369332"/>
          </a:xfrm>
          <a:prstGeom prst="rect">
            <a:avLst/>
          </a:prstGeom>
        </p:spPr>
        <p:txBody>
          <a:bodyPr wrap="none">
            <a:spAutoFit/>
          </a:bodyPr>
          <a:lstStyle/>
          <a:p>
            <a:r>
              <a:rPr lang="en-GB" dirty="0"/>
              <a:t> </a:t>
            </a:r>
          </a:p>
        </p:txBody>
      </p:sp>
      <p:sp>
        <p:nvSpPr>
          <p:cNvPr id="31" name="Rectangle 30">
            <a:extLst>
              <a:ext uri="{FF2B5EF4-FFF2-40B4-BE49-F238E27FC236}">
                <a16:creationId xmlns:a16="http://schemas.microsoft.com/office/drawing/2014/main" id="{C1881F58-F5D7-4FF1-86C5-D70F5070EF0B}"/>
              </a:ext>
            </a:extLst>
          </p:cNvPr>
          <p:cNvSpPr/>
          <p:nvPr/>
        </p:nvSpPr>
        <p:spPr>
          <a:xfrm>
            <a:off x="5977217" y="3244334"/>
            <a:ext cx="237566" cy="369332"/>
          </a:xfrm>
          <a:prstGeom prst="rect">
            <a:avLst/>
          </a:prstGeom>
        </p:spPr>
        <p:txBody>
          <a:bodyPr wrap="none">
            <a:spAutoFit/>
          </a:bodyPr>
          <a:lstStyle/>
          <a:p>
            <a:r>
              <a:rPr lang="en-GB" dirty="0"/>
              <a:t> </a:t>
            </a:r>
          </a:p>
        </p:txBody>
      </p:sp>
    </p:spTree>
    <p:extLst>
      <p:ext uri="{BB962C8B-B14F-4D97-AF65-F5344CB8AC3E}">
        <p14:creationId xmlns:p14="http://schemas.microsoft.com/office/powerpoint/2010/main" val="23844181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382A125-4BFD-4A5D-ACBC-5C85C78E1E41}"/>
              </a:ext>
            </a:extLst>
          </p:cNvPr>
          <p:cNvSpPr>
            <a:spLocks noGrp="1"/>
          </p:cNvSpPr>
          <p:nvPr>
            <p:ph type="sldNum" sz="quarter" idx="10"/>
          </p:nvPr>
        </p:nvSpPr>
        <p:spPr/>
        <p:txBody>
          <a:bodyPr/>
          <a:lstStyle/>
          <a:p>
            <a:pPr marL="0" marR="0" lvl="0" indent="0" algn="r" defTabSz="1087106" rtl="0" eaLnBrk="1" fontAlgn="auto" latinLnBrk="0" hangingPunct="1">
              <a:lnSpc>
                <a:spcPct val="100000"/>
              </a:lnSpc>
              <a:spcBef>
                <a:spcPts val="0"/>
              </a:spcBef>
              <a:spcAft>
                <a:spcPts val="0"/>
              </a:spcAft>
              <a:buClrTx/>
              <a:buSzTx/>
              <a:buFontTx/>
              <a:buNone/>
              <a:tabLst/>
              <a:defRPr/>
            </a:pPr>
            <a:fld id="{0D558541-60C9-42A2-8392-FF12533A6B7A}" type="slidenum">
              <a:rPr kumimoji="0" lang="en-US" sz="900" b="0" i="0" u="none" strike="noStrike" kern="1200" cap="none" spc="0" normalizeH="0" baseline="0" noProof="0" smtClean="0">
                <a:ln>
                  <a:noFill/>
                </a:ln>
                <a:solidFill>
                  <a:srgbClr val="919191"/>
                </a:solidFill>
                <a:effectLst/>
                <a:uLnTx/>
                <a:uFillTx/>
                <a:latin typeface="Arial" panose="020B0604020202020204"/>
                <a:ea typeface="+mn-ea"/>
                <a:cs typeface="+mn-cs"/>
              </a:rPr>
              <a:pPr marL="0" marR="0" lvl="0" indent="0" algn="r" defTabSz="1087106" rtl="0" eaLnBrk="1" fontAlgn="auto" latinLnBrk="0" hangingPunct="1">
                <a:lnSpc>
                  <a:spcPct val="100000"/>
                </a:lnSpc>
                <a:spcBef>
                  <a:spcPts val="0"/>
                </a:spcBef>
                <a:spcAft>
                  <a:spcPts val="0"/>
                </a:spcAft>
                <a:buClrTx/>
                <a:buSzTx/>
                <a:buFontTx/>
                <a:buNone/>
                <a:tabLst/>
                <a:defRPr/>
              </a:pPr>
              <a:t>5</a:t>
            </a:fld>
            <a:endParaRPr kumimoji="0" lang="en-US" sz="900" b="0" i="0" u="none" strike="noStrike" kern="1200" cap="none" spc="0" normalizeH="0" baseline="0" noProof="0" dirty="0">
              <a:ln>
                <a:noFill/>
              </a:ln>
              <a:solidFill>
                <a:srgbClr val="919191"/>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E4E1547B-6414-4320-ABC3-C8F784CDAE0F}"/>
              </a:ext>
            </a:extLst>
          </p:cNvPr>
          <p:cNvSpPr>
            <a:spLocks noGrp="1"/>
          </p:cNvSpPr>
          <p:nvPr>
            <p:ph type="title"/>
          </p:nvPr>
        </p:nvSpPr>
        <p:spPr/>
        <p:txBody>
          <a:bodyPr>
            <a:noAutofit/>
          </a:bodyPr>
          <a:lstStyle/>
          <a:p>
            <a:r>
              <a:rPr lang="en-GB" sz="3600" b="1" cap="all" spc="-133" dirty="0">
                <a:solidFill>
                  <a:srgbClr val="7030A0"/>
                </a:solidFill>
                <a:latin typeface="Graphik" panose="020B0503030202060203" pitchFamily="34" charset="0"/>
              </a:rPr>
              <a:t>Example</a:t>
            </a:r>
          </a:p>
        </p:txBody>
      </p:sp>
      <p:grpSp>
        <p:nvGrpSpPr>
          <p:cNvPr id="8" name="Group 7">
            <a:extLst>
              <a:ext uri="{FF2B5EF4-FFF2-40B4-BE49-F238E27FC236}">
                <a16:creationId xmlns:a16="http://schemas.microsoft.com/office/drawing/2014/main" id="{992B2A55-2F24-44B4-ACB0-8BBB6D485A49}"/>
              </a:ext>
            </a:extLst>
          </p:cNvPr>
          <p:cNvGrpSpPr/>
          <p:nvPr/>
        </p:nvGrpSpPr>
        <p:grpSpPr>
          <a:xfrm>
            <a:off x="3066033" y="1863496"/>
            <a:ext cx="6083333" cy="3294663"/>
            <a:chOff x="444790" y="1667042"/>
            <a:chExt cx="8171930" cy="4714708"/>
          </a:xfrm>
          <a:solidFill>
            <a:schemeClr val="accent3"/>
          </a:solidFill>
        </p:grpSpPr>
        <p:sp>
          <p:nvSpPr>
            <p:cNvPr id="9" name="Freeform 6">
              <a:extLst>
                <a:ext uri="{FF2B5EF4-FFF2-40B4-BE49-F238E27FC236}">
                  <a16:creationId xmlns:a16="http://schemas.microsoft.com/office/drawing/2014/main" id="{547E4956-FE65-4FBA-B197-4DB2C2318FFD}"/>
                </a:ext>
              </a:extLst>
            </p:cNvPr>
            <p:cNvSpPr>
              <a:spLocks/>
            </p:cNvSpPr>
            <p:nvPr/>
          </p:nvSpPr>
          <p:spPr bwMode="auto">
            <a:xfrm>
              <a:off x="8363837" y="5235116"/>
              <a:ext cx="62355" cy="51962"/>
            </a:xfrm>
            <a:custGeom>
              <a:avLst/>
              <a:gdLst>
                <a:gd name="T0" fmla="*/ 10 w 36"/>
                <a:gd name="T1" fmla="*/ 0 h 30"/>
                <a:gd name="T2" fmla="*/ 10 w 36"/>
                <a:gd name="T3" fmla="*/ 0 h 30"/>
                <a:gd name="T4" fmla="*/ 10 w 36"/>
                <a:gd name="T5" fmla="*/ 0 h 30"/>
                <a:gd name="T6" fmla="*/ 8 w 36"/>
                <a:gd name="T7" fmla="*/ 0 h 30"/>
                <a:gd name="T8" fmla="*/ 6 w 36"/>
                <a:gd name="T9" fmla="*/ 2 h 30"/>
                <a:gd name="T10" fmla="*/ 4 w 36"/>
                <a:gd name="T11" fmla="*/ 2 h 30"/>
                <a:gd name="T12" fmla="*/ 2 w 36"/>
                <a:gd name="T13" fmla="*/ 2 h 30"/>
                <a:gd name="T14" fmla="*/ 0 w 36"/>
                <a:gd name="T15" fmla="*/ 4 h 30"/>
                <a:gd name="T16" fmla="*/ 0 w 36"/>
                <a:gd name="T17" fmla="*/ 4 h 30"/>
                <a:gd name="T18" fmla="*/ 0 w 36"/>
                <a:gd name="T19" fmla="*/ 4 h 30"/>
                <a:gd name="T20" fmla="*/ 0 w 36"/>
                <a:gd name="T21" fmla="*/ 4 h 30"/>
                <a:gd name="T22" fmla="*/ 0 w 36"/>
                <a:gd name="T23" fmla="*/ 6 h 30"/>
                <a:gd name="T24" fmla="*/ 0 w 36"/>
                <a:gd name="T25" fmla="*/ 6 h 30"/>
                <a:gd name="T26" fmla="*/ 0 w 36"/>
                <a:gd name="T27" fmla="*/ 6 h 30"/>
                <a:gd name="T28" fmla="*/ 0 w 36"/>
                <a:gd name="T29" fmla="*/ 8 h 30"/>
                <a:gd name="T30" fmla="*/ 0 w 36"/>
                <a:gd name="T31" fmla="*/ 8 h 30"/>
                <a:gd name="T32" fmla="*/ 0 w 36"/>
                <a:gd name="T33" fmla="*/ 8 h 30"/>
                <a:gd name="T34" fmla="*/ 2 w 36"/>
                <a:gd name="T35" fmla="*/ 10 h 30"/>
                <a:gd name="T36" fmla="*/ 4 w 36"/>
                <a:gd name="T37" fmla="*/ 12 h 30"/>
                <a:gd name="T38" fmla="*/ 6 w 36"/>
                <a:gd name="T39" fmla="*/ 14 h 30"/>
                <a:gd name="T40" fmla="*/ 10 w 36"/>
                <a:gd name="T41" fmla="*/ 16 h 30"/>
                <a:gd name="T42" fmla="*/ 12 w 36"/>
                <a:gd name="T43" fmla="*/ 20 h 30"/>
                <a:gd name="T44" fmla="*/ 16 w 36"/>
                <a:gd name="T45" fmla="*/ 22 h 30"/>
                <a:gd name="T46" fmla="*/ 18 w 36"/>
                <a:gd name="T47" fmla="*/ 24 h 30"/>
                <a:gd name="T48" fmla="*/ 22 w 36"/>
                <a:gd name="T49" fmla="*/ 26 h 30"/>
                <a:gd name="T50" fmla="*/ 22 w 36"/>
                <a:gd name="T51" fmla="*/ 26 h 30"/>
                <a:gd name="T52" fmla="*/ 24 w 36"/>
                <a:gd name="T53" fmla="*/ 28 h 30"/>
                <a:gd name="T54" fmla="*/ 26 w 36"/>
                <a:gd name="T55" fmla="*/ 28 h 30"/>
                <a:gd name="T56" fmla="*/ 28 w 36"/>
                <a:gd name="T57" fmla="*/ 30 h 30"/>
                <a:gd name="T58" fmla="*/ 30 w 36"/>
                <a:gd name="T59" fmla="*/ 30 h 30"/>
                <a:gd name="T60" fmla="*/ 30 w 36"/>
                <a:gd name="T61" fmla="*/ 30 h 30"/>
                <a:gd name="T62" fmla="*/ 32 w 36"/>
                <a:gd name="T63" fmla="*/ 30 h 30"/>
                <a:gd name="T64" fmla="*/ 32 w 36"/>
                <a:gd name="T65" fmla="*/ 30 h 30"/>
                <a:gd name="T66" fmla="*/ 32 w 36"/>
                <a:gd name="T67" fmla="*/ 30 h 30"/>
                <a:gd name="T68" fmla="*/ 34 w 36"/>
                <a:gd name="T69" fmla="*/ 28 h 30"/>
                <a:gd name="T70" fmla="*/ 34 w 36"/>
                <a:gd name="T71" fmla="*/ 28 h 30"/>
                <a:gd name="T72" fmla="*/ 34 w 36"/>
                <a:gd name="T73" fmla="*/ 26 h 30"/>
                <a:gd name="T74" fmla="*/ 34 w 36"/>
                <a:gd name="T75" fmla="*/ 24 h 30"/>
                <a:gd name="T76" fmla="*/ 36 w 36"/>
                <a:gd name="T77" fmla="*/ 24 h 30"/>
                <a:gd name="T78" fmla="*/ 36 w 36"/>
                <a:gd name="T79" fmla="*/ 22 h 30"/>
                <a:gd name="T80" fmla="*/ 36 w 36"/>
                <a:gd name="T81" fmla="*/ 20 h 30"/>
                <a:gd name="T82" fmla="*/ 36 w 36"/>
                <a:gd name="T83" fmla="*/ 20 h 30"/>
                <a:gd name="T84" fmla="*/ 36 w 36"/>
                <a:gd name="T85" fmla="*/ 18 h 30"/>
                <a:gd name="T86" fmla="*/ 34 w 36"/>
                <a:gd name="T87" fmla="*/ 16 h 30"/>
                <a:gd name="T88" fmla="*/ 34 w 36"/>
                <a:gd name="T89" fmla="*/ 14 h 30"/>
                <a:gd name="T90" fmla="*/ 32 w 36"/>
                <a:gd name="T91" fmla="*/ 12 h 30"/>
                <a:gd name="T92" fmla="*/ 30 w 36"/>
                <a:gd name="T93" fmla="*/ 10 h 30"/>
                <a:gd name="T94" fmla="*/ 28 w 36"/>
                <a:gd name="T95" fmla="*/ 8 h 30"/>
                <a:gd name="T96" fmla="*/ 28 w 36"/>
                <a:gd name="T97" fmla="*/ 6 h 30"/>
                <a:gd name="T98" fmla="*/ 26 w 36"/>
                <a:gd name="T99" fmla="*/ 6 h 30"/>
                <a:gd name="T100" fmla="*/ 24 w 36"/>
                <a:gd name="T101" fmla="*/ 4 h 30"/>
                <a:gd name="T102" fmla="*/ 22 w 36"/>
                <a:gd name="T103" fmla="*/ 4 h 30"/>
                <a:gd name="T104" fmla="*/ 20 w 36"/>
                <a:gd name="T105" fmla="*/ 2 h 30"/>
                <a:gd name="T106" fmla="*/ 18 w 36"/>
                <a:gd name="T107" fmla="*/ 2 h 30"/>
                <a:gd name="T108" fmla="*/ 16 w 36"/>
                <a:gd name="T109" fmla="*/ 2 h 30"/>
                <a:gd name="T110" fmla="*/ 14 w 36"/>
                <a:gd name="T111" fmla="*/ 0 h 30"/>
                <a:gd name="T112" fmla="*/ 12 w 36"/>
                <a:gd name="T113" fmla="*/ 0 h 30"/>
                <a:gd name="T114" fmla="*/ 10 w 36"/>
                <a:gd name="T11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 h="30">
                  <a:moveTo>
                    <a:pt x="10" y="0"/>
                  </a:moveTo>
                  <a:lnTo>
                    <a:pt x="10" y="0"/>
                  </a:lnTo>
                  <a:lnTo>
                    <a:pt x="10" y="0"/>
                  </a:lnTo>
                  <a:lnTo>
                    <a:pt x="8" y="0"/>
                  </a:lnTo>
                  <a:lnTo>
                    <a:pt x="6" y="2"/>
                  </a:lnTo>
                  <a:lnTo>
                    <a:pt x="4" y="2"/>
                  </a:lnTo>
                  <a:lnTo>
                    <a:pt x="2" y="2"/>
                  </a:lnTo>
                  <a:lnTo>
                    <a:pt x="0" y="4"/>
                  </a:lnTo>
                  <a:lnTo>
                    <a:pt x="0" y="4"/>
                  </a:lnTo>
                  <a:lnTo>
                    <a:pt x="0" y="4"/>
                  </a:lnTo>
                  <a:lnTo>
                    <a:pt x="0" y="4"/>
                  </a:lnTo>
                  <a:lnTo>
                    <a:pt x="0" y="6"/>
                  </a:lnTo>
                  <a:lnTo>
                    <a:pt x="0" y="6"/>
                  </a:lnTo>
                  <a:lnTo>
                    <a:pt x="0" y="6"/>
                  </a:lnTo>
                  <a:lnTo>
                    <a:pt x="0" y="8"/>
                  </a:lnTo>
                  <a:lnTo>
                    <a:pt x="0" y="8"/>
                  </a:lnTo>
                  <a:lnTo>
                    <a:pt x="0" y="8"/>
                  </a:lnTo>
                  <a:lnTo>
                    <a:pt x="2" y="10"/>
                  </a:lnTo>
                  <a:lnTo>
                    <a:pt x="4" y="12"/>
                  </a:lnTo>
                  <a:lnTo>
                    <a:pt x="6" y="14"/>
                  </a:lnTo>
                  <a:lnTo>
                    <a:pt x="10" y="16"/>
                  </a:lnTo>
                  <a:lnTo>
                    <a:pt x="12" y="20"/>
                  </a:lnTo>
                  <a:lnTo>
                    <a:pt x="16" y="22"/>
                  </a:lnTo>
                  <a:lnTo>
                    <a:pt x="18" y="24"/>
                  </a:lnTo>
                  <a:lnTo>
                    <a:pt x="22" y="26"/>
                  </a:lnTo>
                  <a:lnTo>
                    <a:pt x="22" y="26"/>
                  </a:lnTo>
                  <a:lnTo>
                    <a:pt x="24" y="28"/>
                  </a:lnTo>
                  <a:lnTo>
                    <a:pt x="26" y="28"/>
                  </a:lnTo>
                  <a:lnTo>
                    <a:pt x="28" y="30"/>
                  </a:lnTo>
                  <a:lnTo>
                    <a:pt x="30" y="30"/>
                  </a:lnTo>
                  <a:lnTo>
                    <a:pt x="30" y="30"/>
                  </a:lnTo>
                  <a:lnTo>
                    <a:pt x="32" y="30"/>
                  </a:lnTo>
                  <a:lnTo>
                    <a:pt x="32" y="30"/>
                  </a:lnTo>
                  <a:lnTo>
                    <a:pt x="32" y="30"/>
                  </a:lnTo>
                  <a:lnTo>
                    <a:pt x="34" y="28"/>
                  </a:lnTo>
                  <a:lnTo>
                    <a:pt x="34" y="28"/>
                  </a:lnTo>
                  <a:lnTo>
                    <a:pt x="34" y="26"/>
                  </a:lnTo>
                  <a:lnTo>
                    <a:pt x="34" y="24"/>
                  </a:lnTo>
                  <a:lnTo>
                    <a:pt x="36" y="24"/>
                  </a:lnTo>
                  <a:lnTo>
                    <a:pt x="36" y="22"/>
                  </a:lnTo>
                  <a:lnTo>
                    <a:pt x="36" y="20"/>
                  </a:lnTo>
                  <a:lnTo>
                    <a:pt x="36" y="20"/>
                  </a:lnTo>
                  <a:lnTo>
                    <a:pt x="36" y="18"/>
                  </a:lnTo>
                  <a:lnTo>
                    <a:pt x="34" y="16"/>
                  </a:lnTo>
                  <a:lnTo>
                    <a:pt x="34" y="14"/>
                  </a:lnTo>
                  <a:lnTo>
                    <a:pt x="32" y="12"/>
                  </a:lnTo>
                  <a:lnTo>
                    <a:pt x="30" y="10"/>
                  </a:lnTo>
                  <a:lnTo>
                    <a:pt x="28" y="8"/>
                  </a:lnTo>
                  <a:lnTo>
                    <a:pt x="28" y="6"/>
                  </a:lnTo>
                  <a:lnTo>
                    <a:pt x="26" y="6"/>
                  </a:lnTo>
                  <a:lnTo>
                    <a:pt x="24" y="4"/>
                  </a:lnTo>
                  <a:lnTo>
                    <a:pt x="22" y="4"/>
                  </a:lnTo>
                  <a:lnTo>
                    <a:pt x="20" y="2"/>
                  </a:lnTo>
                  <a:lnTo>
                    <a:pt x="18" y="2"/>
                  </a:lnTo>
                  <a:lnTo>
                    <a:pt x="16" y="2"/>
                  </a:lnTo>
                  <a:lnTo>
                    <a:pt x="14" y="0"/>
                  </a:lnTo>
                  <a:lnTo>
                    <a:pt x="12" y="0"/>
                  </a:lnTo>
                  <a:lnTo>
                    <a:pt x="10"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Freeform 7">
              <a:extLst>
                <a:ext uri="{FF2B5EF4-FFF2-40B4-BE49-F238E27FC236}">
                  <a16:creationId xmlns:a16="http://schemas.microsoft.com/office/drawing/2014/main" id="{AA44BFA5-EA18-47DA-8822-18FB12F06982}"/>
                </a:ext>
              </a:extLst>
            </p:cNvPr>
            <p:cNvSpPr>
              <a:spLocks/>
            </p:cNvSpPr>
            <p:nvPr/>
          </p:nvSpPr>
          <p:spPr bwMode="auto">
            <a:xfrm>
              <a:off x="8363837" y="5235116"/>
              <a:ext cx="62355" cy="51962"/>
            </a:xfrm>
            <a:custGeom>
              <a:avLst/>
              <a:gdLst>
                <a:gd name="T0" fmla="*/ 10 w 36"/>
                <a:gd name="T1" fmla="*/ 0 h 30"/>
                <a:gd name="T2" fmla="*/ 10 w 36"/>
                <a:gd name="T3" fmla="*/ 0 h 30"/>
                <a:gd name="T4" fmla="*/ 10 w 36"/>
                <a:gd name="T5" fmla="*/ 0 h 30"/>
                <a:gd name="T6" fmla="*/ 8 w 36"/>
                <a:gd name="T7" fmla="*/ 0 h 30"/>
                <a:gd name="T8" fmla="*/ 6 w 36"/>
                <a:gd name="T9" fmla="*/ 2 h 30"/>
                <a:gd name="T10" fmla="*/ 4 w 36"/>
                <a:gd name="T11" fmla="*/ 2 h 30"/>
                <a:gd name="T12" fmla="*/ 2 w 36"/>
                <a:gd name="T13" fmla="*/ 2 h 30"/>
                <a:gd name="T14" fmla="*/ 0 w 36"/>
                <a:gd name="T15" fmla="*/ 4 h 30"/>
                <a:gd name="T16" fmla="*/ 0 w 36"/>
                <a:gd name="T17" fmla="*/ 4 h 30"/>
                <a:gd name="T18" fmla="*/ 0 w 36"/>
                <a:gd name="T19" fmla="*/ 4 h 30"/>
                <a:gd name="T20" fmla="*/ 0 w 36"/>
                <a:gd name="T21" fmla="*/ 4 h 30"/>
                <a:gd name="T22" fmla="*/ 0 w 36"/>
                <a:gd name="T23" fmla="*/ 6 h 30"/>
                <a:gd name="T24" fmla="*/ 0 w 36"/>
                <a:gd name="T25" fmla="*/ 6 h 30"/>
                <a:gd name="T26" fmla="*/ 0 w 36"/>
                <a:gd name="T27" fmla="*/ 6 h 30"/>
                <a:gd name="T28" fmla="*/ 0 w 36"/>
                <a:gd name="T29" fmla="*/ 8 h 30"/>
                <a:gd name="T30" fmla="*/ 0 w 36"/>
                <a:gd name="T31" fmla="*/ 8 h 30"/>
                <a:gd name="T32" fmla="*/ 0 w 36"/>
                <a:gd name="T33" fmla="*/ 8 h 30"/>
                <a:gd name="T34" fmla="*/ 2 w 36"/>
                <a:gd name="T35" fmla="*/ 10 h 30"/>
                <a:gd name="T36" fmla="*/ 4 w 36"/>
                <a:gd name="T37" fmla="*/ 12 h 30"/>
                <a:gd name="T38" fmla="*/ 6 w 36"/>
                <a:gd name="T39" fmla="*/ 14 h 30"/>
                <a:gd name="T40" fmla="*/ 10 w 36"/>
                <a:gd name="T41" fmla="*/ 16 h 30"/>
                <a:gd name="T42" fmla="*/ 12 w 36"/>
                <a:gd name="T43" fmla="*/ 20 h 30"/>
                <a:gd name="T44" fmla="*/ 16 w 36"/>
                <a:gd name="T45" fmla="*/ 22 h 30"/>
                <a:gd name="T46" fmla="*/ 18 w 36"/>
                <a:gd name="T47" fmla="*/ 24 h 30"/>
                <a:gd name="T48" fmla="*/ 22 w 36"/>
                <a:gd name="T49" fmla="*/ 26 h 30"/>
                <a:gd name="T50" fmla="*/ 22 w 36"/>
                <a:gd name="T51" fmla="*/ 26 h 30"/>
                <a:gd name="T52" fmla="*/ 24 w 36"/>
                <a:gd name="T53" fmla="*/ 28 h 30"/>
                <a:gd name="T54" fmla="*/ 26 w 36"/>
                <a:gd name="T55" fmla="*/ 28 h 30"/>
                <a:gd name="T56" fmla="*/ 28 w 36"/>
                <a:gd name="T57" fmla="*/ 30 h 30"/>
                <a:gd name="T58" fmla="*/ 30 w 36"/>
                <a:gd name="T59" fmla="*/ 30 h 30"/>
                <a:gd name="T60" fmla="*/ 30 w 36"/>
                <a:gd name="T61" fmla="*/ 30 h 30"/>
                <a:gd name="T62" fmla="*/ 32 w 36"/>
                <a:gd name="T63" fmla="*/ 30 h 30"/>
                <a:gd name="T64" fmla="*/ 32 w 36"/>
                <a:gd name="T65" fmla="*/ 30 h 30"/>
                <a:gd name="T66" fmla="*/ 32 w 36"/>
                <a:gd name="T67" fmla="*/ 30 h 30"/>
                <a:gd name="T68" fmla="*/ 34 w 36"/>
                <a:gd name="T69" fmla="*/ 28 h 30"/>
                <a:gd name="T70" fmla="*/ 34 w 36"/>
                <a:gd name="T71" fmla="*/ 28 h 30"/>
                <a:gd name="T72" fmla="*/ 34 w 36"/>
                <a:gd name="T73" fmla="*/ 26 h 30"/>
                <a:gd name="T74" fmla="*/ 34 w 36"/>
                <a:gd name="T75" fmla="*/ 24 h 30"/>
                <a:gd name="T76" fmla="*/ 36 w 36"/>
                <a:gd name="T77" fmla="*/ 24 h 30"/>
                <a:gd name="T78" fmla="*/ 36 w 36"/>
                <a:gd name="T79" fmla="*/ 22 h 30"/>
                <a:gd name="T80" fmla="*/ 36 w 36"/>
                <a:gd name="T81" fmla="*/ 20 h 30"/>
                <a:gd name="T82" fmla="*/ 36 w 36"/>
                <a:gd name="T83" fmla="*/ 20 h 30"/>
                <a:gd name="T84" fmla="*/ 36 w 36"/>
                <a:gd name="T85" fmla="*/ 18 h 30"/>
                <a:gd name="T86" fmla="*/ 34 w 36"/>
                <a:gd name="T87" fmla="*/ 16 h 30"/>
                <a:gd name="T88" fmla="*/ 34 w 36"/>
                <a:gd name="T89" fmla="*/ 14 h 30"/>
                <a:gd name="T90" fmla="*/ 32 w 36"/>
                <a:gd name="T91" fmla="*/ 12 h 30"/>
                <a:gd name="T92" fmla="*/ 30 w 36"/>
                <a:gd name="T93" fmla="*/ 10 h 30"/>
                <a:gd name="T94" fmla="*/ 28 w 36"/>
                <a:gd name="T95" fmla="*/ 8 h 30"/>
                <a:gd name="T96" fmla="*/ 28 w 36"/>
                <a:gd name="T97" fmla="*/ 6 h 30"/>
                <a:gd name="T98" fmla="*/ 26 w 36"/>
                <a:gd name="T99" fmla="*/ 6 h 30"/>
                <a:gd name="T100" fmla="*/ 24 w 36"/>
                <a:gd name="T101" fmla="*/ 4 h 30"/>
                <a:gd name="T102" fmla="*/ 22 w 36"/>
                <a:gd name="T103" fmla="*/ 4 h 30"/>
                <a:gd name="T104" fmla="*/ 20 w 36"/>
                <a:gd name="T105" fmla="*/ 2 h 30"/>
                <a:gd name="T106" fmla="*/ 18 w 36"/>
                <a:gd name="T107" fmla="*/ 2 h 30"/>
                <a:gd name="T108" fmla="*/ 16 w 36"/>
                <a:gd name="T109" fmla="*/ 2 h 30"/>
                <a:gd name="T110" fmla="*/ 14 w 36"/>
                <a:gd name="T111" fmla="*/ 0 h 30"/>
                <a:gd name="T112" fmla="*/ 12 w 36"/>
                <a:gd name="T113" fmla="*/ 0 h 30"/>
                <a:gd name="T114" fmla="*/ 10 w 36"/>
                <a:gd name="T11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 h="30">
                  <a:moveTo>
                    <a:pt x="10" y="0"/>
                  </a:moveTo>
                  <a:lnTo>
                    <a:pt x="10" y="0"/>
                  </a:lnTo>
                  <a:lnTo>
                    <a:pt x="10" y="0"/>
                  </a:lnTo>
                  <a:lnTo>
                    <a:pt x="8" y="0"/>
                  </a:lnTo>
                  <a:lnTo>
                    <a:pt x="6" y="2"/>
                  </a:lnTo>
                  <a:lnTo>
                    <a:pt x="4" y="2"/>
                  </a:lnTo>
                  <a:lnTo>
                    <a:pt x="2" y="2"/>
                  </a:lnTo>
                  <a:lnTo>
                    <a:pt x="0" y="4"/>
                  </a:lnTo>
                  <a:lnTo>
                    <a:pt x="0" y="4"/>
                  </a:lnTo>
                  <a:lnTo>
                    <a:pt x="0" y="4"/>
                  </a:lnTo>
                  <a:lnTo>
                    <a:pt x="0" y="4"/>
                  </a:lnTo>
                  <a:lnTo>
                    <a:pt x="0" y="6"/>
                  </a:lnTo>
                  <a:lnTo>
                    <a:pt x="0" y="6"/>
                  </a:lnTo>
                  <a:lnTo>
                    <a:pt x="0" y="6"/>
                  </a:lnTo>
                  <a:lnTo>
                    <a:pt x="0" y="8"/>
                  </a:lnTo>
                  <a:lnTo>
                    <a:pt x="0" y="8"/>
                  </a:lnTo>
                  <a:lnTo>
                    <a:pt x="0" y="8"/>
                  </a:lnTo>
                  <a:lnTo>
                    <a:pt x="2" y="10"/>
                  </a:lnTo>
                  <a:lnTo>
                    <a:pt x="4" y="12"/>
                  </a:lnTo>
                  <a:lnTo>
                    <a:pt x="6" y="14"/>
                  </a:lnTo>
                  <a:lnTo>
                    <a:pt x="10" y="16"/>
                  </a:lnTo>
                  <a:lnTo>
                    <a:pt x="12" y="20"/>
                  </a:lnTo>
                  <a:lnTo>
                    <a:pt x="16" y="22"/>
                  </a:lnTo>
                  <a:lnTo>
                    <a:pt x="18" y="24"/>
                  </a:lnTo>
                  <a:lnTo>
                    <a:pt x="22" y="26"/>
                  </a:lnTo>
                  <a:lnTo>
                    <a:pt x="22" y="26"/>
                  </a:lnTo>
                  <a:lnTo>
                    <a:pt x="24" y="28"/>
                  </a:lnTo>
                  <a:lnTo>
                    <a:pt x="26" y="28"/>
                  </a:lnTo>
                  <a:lnTo>
                    <a:pt x="28" y="30"/>
                  </a:lnTo>
                  <a:lnTo>
                    <a:pt x="30" y="30"/>
                  </a:lnTo>
                  <a:lnTo>
                    <a:pt x="30" y="30"/>
                  </a:lnTo>
                  <a:lnTo>
                    <a:pt x="32" y="30"/>
                  </a:lnTo>
                  <a:lnTo>
                    <a:pt x="32" y="30"/>
                  </a:lnTo>
                  <a:lnTo>
                    <a:pt x="32" y="30"/>
                  </a:lnTo>
                  <a:lnTo>
                    <a:pt x="34" y="28"/>
                  </a:lnTo>
                  <a:lnTo>
                    <a:pt x="34" y="28"/>
                  </a:lnTo>
                  <a:lnTo>
                    <a:pt x="34" y="26"/>
                  </a:lnTo>
                  <a:lnTo>
                    <a:pt x="34" y="24"/>
                  </a:lnTo>
                  <a:lnTo>
                    <a:pt x="36" y="24"/>
                  </a:lnTo>
                  <a:lnTo>
                    <a:pt x="36" y="22"/>
                  </a:lnTo>
                  <a:lnTo>
                    <a:pt x="36" y="20"/>
                  </a:lnTo>
                  <a:lnTo>
                    <a:pt x="36" y="20"/>
                  </a:lnTo>
                  <a:lnTo>
                    <a:pt x="36" y="18"/>
                  </a:lnTo>
                  <a:lnTo>
                    <a:pt x="34" y="16"/>
                  </a:lnTo>
                  <a:lnTo>
                    <a:pt x="34" y="14"/>
                  </a:lnTo>
                  <a:lnTo>
                    <a:pt x="32" y="12"/>
                  </a:lnTo>
                  <a:lnTo>
                    <a:pt x="30" y="10"/>
                  </a:lnTo>
                  <a:lnTo>
                    <a:pt x="28" y="8"/>
                  </a:lnTo>
                  <a:lnTo>
                    <a:pt x="28" y="6"/>
                  </a:lnTo>
                  <a:lnTo>
                    <a:pt x="26" y="6"/>
                  </a:lnTo>
                  <a:lnTo>
                    <a:pt x="24" y="4"/>
                  </a:lnTo>
                  <a:lnTo>
                    <a:pt x="22" y="4"/>
                  </a:lnTo>
                  <a:lnTo>
                    <a:pt x="20" y="2"/>
                  </a:lnTo>
                  <a:lnTo>
                    <a:pt x="18" y="2"/>
                  </a:lnTo>
                  <a:lnTo>
                    <a:pt x="16" y="2"/>
                  </a:lnTo>
                  <a:lnTo>
                    <a:pt x="14" y="0"/>
                  </a:lnTo>
                  <a:lnTo>
                    <a:pt x="12" y="0"/>
                  </a:lnTo>
                  <a:lnTo>
                    <a:pt x="10"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 name="Freeform 8">
              <a:extLst>
                <a:ext uri="{FF2B5EF4-FFF2-40B4-BE49-F238E27FC236}">
                  <a16:creationId xmlns:a16="http://schemas.microsoft.com/office/drawing/2014/main" id="{B6DDD304-6570-4174-AE9C-BF4E0C737D15}"/>
                </a:ext>
              </a:extLst>
            </p:cNvPr>
            <p:cNvSpPr>
              <a:spLocks/>
            </p:cNvSpPr>
            <p:nvPr/>
          </p:nvSpPr>
          <p:spPr bwMode="auto">
            <a:xfrm>
              <a:off x="8072848" y="4684317"/>
              <a:ext cx="55426" cy="69283"/>
            </a:xfrm>
            <a:custGeom>
              <a:avLst/>
              <a:gdLst>
                <a:gd name="T0" fmla="*/ 2 w 32"/>
                <a:gd name="T1" fmla="*/ 0 h 40"/>
                <a:gd name="T2" fmla="*/ 2 w 32"/>
                <a:gd name="T3" fmla="*/ 0 h 40"/>
                <a:gd name="T4" fmla="*/ 0 w 32"/>
                <a:gd name="T5" fmla="*/ 0 h 40"/>
                <a:gd name="T6" fmla="*/ 0 w 32"/>
                <a:gd name="T7" fmla="*/ 0 h 40"/>
                <a:gd name="T8" fmla="*/ 0 w 32"/>
                <a:gd name="T9" fmla="*/ 2 h 40"/>
                <a:gd name="T10" fmla="*/ 0 w 32"/>
                <a:gd name="T11" fmla="*/ 2 h 40"/>
                <a:gd name="T12" fmla="*/ 0 w 32"/>
                <a:gd name="T13" fmla="*/ 4 h 40"/>
                <a:gd name="T14" fmla="*/ 2 w 32"/>
                <a:gd name="T15" fmla="*/ 6 h 40"/>
                <a:gd name="T16" fmla="*/ 2 w 32"/>
                <a:gd name="T17" fmla="*/ 6 h 40"/>
                <a:gd name="T18" fmla="*/ 4 w 32"/>
                <a:gd name="T19" fmla="*/ 10 h 40"/>
                <a:gd name="T20" fmla="*/ 6 w 32"/>
                <a:gd name="T21" fmla="*/ 12 h 40"/>
                <a:gd name="T22" fmla="*/ 8 w 32"/>
                <a:gd name="T23" fmla="*/ 16 h 40"/>
                <a:gd name="T24" fmla="*/ 10 w 32"/>
                <a:gd name="T25" fmla="*/ 18 h 40"/>
                <a:gd name="T26" fmla="*/ 12 w 32"/>
                <a:gd name="T27" fmla="*/ 20 h 40"/>
                <a:gd name="T28" fmla="*/ 12 w 32"/>
                <a:gd name="T29" fmla="*/ 22 h 40"/>
                <a:gd name="T30" fmla="*/ 14 w 32"/>
                <a:gd name="T31" fmla="*/ 26 h 40"/>
                <a:gd name="T32" fmla="*/ 16 w 32"/>
                <a:gd name="T33" fmla="*/ 28 h 40"/>
                <a:gd name="T34" fmla="*/ 16 w 32"/>
                <a:gd name="T35" fmla="*/ 32 h 40"/>
                <a:gd name="T36" fmla="*/ 18 w 32"/>
                <a:gd name="T37" fmla="*/ 34 h 40"/>
                <a:gd name="T38" fmla="*/ 20 w 32"/>
                <a:gd name="T39" fmla="*/ 36 h 40"/>
                <a:gd name="T40" fmla="*/ 20 w 32"/>
                <a:gd name="T41" fmla="*/ 38 h 40"/>
                <a:gd name="T42" fmla="*/ 22 w 32"/>
                <a:gd name="T43" fmla="*/ 38 h 40"/>
                <a:gd name="T44" fmla="*/ 22 w 32"/>
                <a:gd name="T45" fmla="*/ 40 h 40"/>
                <a:gd name="T46" fmla="*/ 24 w 32"/>
                <a:gd name="T47" fmla="*/ 40 h 40"/>
                <a:gd name="T48" fmla="*/ 24 w 32"/>
                <a:gd name="T49" fmla="*/ 40 h 40"/>
                <a:gd name="T50" fmla="*/ 24 w 32"/>
                <a:gd name="T51" fmla="*/ 40 h 40"/>
                <a:gd name="T52" fmla="*/ 26 w 32"/>
                <a:gd name="T53" fmla="*/ 40 h 40"/>
                <a:gd name="T54" fmla="*/ 26 w 32"/>
                <a:gd name="T55" fmla="*/ 40 h 40"/>
                <a:gd name="T56" fmla="*/ 26 w 32"/>
                <a:gd name="T57" fmla="*/ 38 h 40"/>
                <a:gd name="T58" fmla="*/ 28 w 32"/>
                <a:gd name="T59" fmla="*/ 38 h 40"/>
                <a:gd name="T60" fmla="*/ 28 w 32"/>
                <a:gd name="T61" fmla="*/ 36 h 40"/>
                <a:gd name="T62" fmla="*/ 30 w 32"/>
                <a:gd name="T63" fmla="*/ 34 h 40"/>
                <a:gd name="T64" fmla="*/ 30 w 32"/>
                <a:gd name="T65" fmla="*/ 32 h 40"/>
                <a:gd name="T66" fmla="*/ 30 w 32"/>
                <a:gd name="T67" fmla="*/ 30 h 40"/>
                <a:gd name="T68" fmla="*/ 30 w 32"/>
                <a:gd name="T69" fmla="*/ 28 h 40"/>
                <a:gd name="T70" fmla="*/ 30 w 32"/>
                <a:gd name="T71" fmla="*/ 26 h 40"/>
                <a:gd name="T72" fmla="*/ 30 w 32"/>
                <a:gd name="T73" fmla="*/ 24 h 40"/>
                <a:gd name="T74" fmla="*/ 32 w 32"/>
                <a:gd name="T75" fmla="*/ 22 h 40"/>
                <a:gd name="T76" fmla="*/ 30 w 32"/>
                <a:gd name="T77" fmla="*/ 20 h 40"/>
                <a:gd name="T78" fmla="*/ 30 w 32"/>
                <a:gd name="T79" fmla="*/ 20 h 40"/>
                <a:gd name="T80" fmla="*/ 30 w 32"/>
                <a:gd name="T81" fmla="*/ 18 h 40"/>
                <a:gd name="T82" fmla="*/ 30 w 32"/>
                <a:gd name="T83" fmla="*/ 16 h 40"/>
                <a:gd name="T84" fmla="*/ 30 w 32"/>
                <a:gd name="T85" fmla="*/ 14 h 40"/>
                <a:gd name="T86" fmla="*/ 28 w 32"/>
                <a:gd name="T87" fmla="*/ 14 h 40"/>
                <a:gd name="T88" fmla="*/ 28 w 32"/>
                <a:gd name="T89" fmla="*/ 12 h 40"/>
                <a:gd name="T90" fmla="*/ 26 w 32"/>
                <a:gd name="T91" fmla="*/ 10 h 40"/>
                <a:gd name="T92" fmla="*/ 24 w 32"/>
                <a:gd name="T93" fmla="*/ 8 h 40"/>
                <a:gd name="T94" fmla="*/ 22 w 32"/>
                <a:gd name="T95" fmla="*/ 8 h 40"/>
                <a:gd name="T96" fmla="*/ 20 w 32"/>
                <a:gd name="T97" fmla="*/ 6 h 40"/>
                <a:gd name="T98" fmla="*/ 18 w 32"/>
                <a:gd name="T99" fmla="*/ 4 h 40"/>
                <a:gd name="T100" fmla="*/ 16 w 32"/>
                <a:gd name="T101" fmla="*/ 2 h 40"/>
                <a:gd name="T102" fmla="*/ 14 w 32"/>
                <a:gd name="T103" fmla="*/ 2 h 40"/>
                <a:gd name="T104" fmla="*/ 12 w 32"/>
                <a:gd name="T105" fmla="*/ 0 h 40"/>
                <a:gd name="T106" fmla="*/ 10 w 32"/>
                <a:gd name="T107" fmla="*/ 0 h 40"/>
                <a:gd name="T108" fmla="*/ 8 w 32"/>
                <a:gd name="T109" fmla="*/ 0 h 40"/>
                <a:gd name="T110" fmla="*/ 6 w 32"/>
                <a:gd name="T111" fmla="*/ 0 h 40"/>
                <a:gd name="T112" fmla="*/ 4 w 32"/>
                <a:gd name="T113" fmla="*/ 0 h 40"/>
                <a:gd name="T114" fmla="*/ 2 w 32"/>
                <a:gd name="T115" fmla="*/ 0 h 40"/>
                <a:gd name="T116" fmla="*/ 2 w 32"/>
                <a:gd name="T117" fmla="*/ 0 h 40"/>
                <a:gd name="T118" fmla="*/ 2 w 32"/>
                <a:gd name="T119" fmla="*/ 0 h 40"/>
                <a:gd name="T120" fmla="*/ 2 w 32"/>
                <a:gd name="T1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 h="40">
                  <a:moveTo>
                    <a:pt x="2" y="0"/>
                  </a:moveTo>
                  <a:lnTo>
                    <a:pt x="2" y="0"/>
                  </a:lnTo>
                  <a:lnTo>
                    <a:pt x="0" y="0"/>
                  </a:lnTo>
                  <a:lnTo>
                    <a:pt x="0" y="0"/>
                  </a:lnTo>
                  <a:lnTo>
                    <a:pt x="0" y="2"/>
                  </a:lnTo>
                  <a:lnTo>
                    <a:pt x="0" y="2"/>
                  </a:lnTo>
                  <a:lnTo>
                    <a:pt x="0" y="4"/>
                  </a:lnTo>
                  <a:lnTo>
                    <a:pt x="2" y="6"/>
                  </a:lnTo>
                  <a:lnTo>
                    <a:pt x="2" y="6"/>
                  </a:lnTo>
                  <a:lnTo>
                    <a:pt x="4" y="10"/>
                  </a:lnTo>
                  <a:lnTo>
                    <a:pt x="6" y="12"/>
                  </a:lnTo>
                  <a:lnTo>
                    <a:pt x="8" y="16"/>
                  </a:lnTo>
                  <a:lnTo>
                    <a:pt x="10" y="18"/>
                  </a:lnTo>
                  <a:lnTo>
                    <a:pt x="12" y="20"/>
                  </a:lnTo>
                  <a:lnTo>
                    <a:pt x="12" y="22"/>
                  </a:lnTo>
                  <a:lnTo>
                    <a:pt x="14" y="26"/>
                  </a:lnTo>
                  <a:lnTo>
                    <a:pt x="16" y="28"/>
                  </a:lnTo>
                  <a:lnTo>
                    <a:pt x="16" y="32"/>
                  </a:lnTo>
                  <a:lnTo>
                    <a:pt x="18" y="34"/>
                  </a:lnTo>
                  <a:lnTo>
                    <a:pt x="20" y="36"/>
                  </a:lnTo>
                  <a:lnTo>
                    <a:pt x="20" y="38"/>
                  </a:lnTo>
                  <a:lnTo>
                    <a:pt x="22" y="38"/>
                  </a:lnTo>
                  <a:lnTo>
                    <a:pt x="22" y="40"/>
                  </a:lnTo>
                  <a:lnTo>
                    <a:pt x="24" y="40"/>
                  </a:lnTo>
                  <a:lnTo>
                    <a:pt x="24" y="40"/>
                  </a:lnTo>
                  <a:lnTo>
                    <a:pt x="24" y="40"/>
                  </a:lnTo>
                  <a:lnTo>
                    <a:pt x="26" y="40"/>
                  </a:lnTo>
                  <a:lnTo>
                    <a:pt x="26" y="40"/>
                  </a:lnTo>
                  <a:lnTo>
                    <a:pt x="26" y="38"/>
                  </a:lnTo>
                  <a:lnTo>
                    <a:pt x="28" y="38"/>
                  </a:lnTo>
                  <a:lnTo>
                    <a:pt x="28" y="36"/>
                  </a:lnTo>
                  <a:lnTo>
                    <a:pt x="30" y="34"/>
                  </a:lnTo>
                  <a:lnTo>
                    <a:pt x="30" y="32"/>
                  </a:lnTo>
                  <a:lnTo>
                    <a:pt x="30" y="30"/>
                  </a:lnTo>
                  <a:lnTo>
                    <a:pt x="30" y="28"/>
                  </a:lnTo>
                  <a:lnTo>
                    <a:pt x="30" y="26"/>
                  </a:lnTo>
                  <a:lnTo>
                    <a:pt x="30" y="24"/>
                  </a:lnTo>
                  <a:lnTo>
                    <a:pt x="32" y="22"/>
                  </a:lnTo>
                  <a:lnTo>
                    <a:pt x="30" y="20"/>
                  </a:lnTo>
                  <a:lnTo>
                    <a:pt x="30" y="20"/>
                  </a:lnTo>
                  <a:lnTo>
                    <a:pt x="30" y="18"/>
                  </a:lnTo>
                  <a:lnTo>
                    <a:pt x="30" y="16"/>
                  </a:lnTo>
                  <a:lnTo>
                    <a:pt x="30" y="14"/>
                  </a:lnTo>
                  <a:lnTo>
                    <a:pt x="28" y="14"/>
                  </a:lnTo>
                  <a:lnTo>
                    <a:pt x="28" y="12"/>
                  </a:lnTo>
                  <a:lnTo>
                    <a:pt x="26" y="10"/>
                  </a:lnTo>
                  <a:lnTo>
                    <a:pt x="24" y="8"/>
                  </a:lnTo>
                  <a:lnTo>
                    <a:pt x="22" y="8"/>
                  </a:lnTo>
                  <a:lnTo>
                    <a:pt x="20" y="6"/>
                  </a:lnTo>
                  <a:lnTo>
                    <a:pt x="18" y="4"/>
                  </a:lnTo>
                  <a:lnTo>
                    <a:pt x="16" y="2"/>
                  </a:lnTo>
                  <a:lnTo>
                    <a:pt x="14" y="2"/>
                  </a:lnTo>
                  <a:lnTo>
                    <a:pt x="12" y="0"/>
                  </a:lnTo>
                  <a:lnTo>
                    <a:pt x="10" y="0"/>
                  </a:lnTo>
                  <a:lnTo>
                    <a:pt x="8" y="0"/>
                  </a:lnTo>
                  <a:lnTo>
                    <a:pt x="6" y="0"/>
                  </a:lnTo>
                  <a:lnTo>
                    <a:pt x="4" y="0"/>
                  </a:lnTo>
                  <a:lnTo>
                    <a:pt x="2" y="0"/>
                  </a:lnTo>
                  <a:lnTo>
                    <a:pt x="2" y="0"/>
                  </a:lnTo>
                  <a:lnTo>
                    <a:pt x="2" y="0"/>
                  </a:lnTo>
                  <a:lnTo>
                    <a:pt x="2"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 name="Freeform 9">
              <a:extLst>
                <a:ext uri="{FF2B5EF4-FFF2-40B4-BE49-F238E27FC236}">
                  <a16:creationId xmlns:a16="http://schemas.microsoft.com/office/drawing/2014/main" id="{380C2DD7-43D5-4D42-9AA7-F7F26B6DBE53}"/>
                </a:ext>
              </a:extLst>
            </p:cNvPr>
            <p:cNvSpPr>
              <a:spLocks/>
            </p:cNvSpPr>
            <p:nvPr/>
          </p:nvSpPr>
          <p:spPr bwMode="auto">
            <a:xfrm>
              <a:off x="8072848" y="4684317"/>
              <a:ext cx="55426" cy="69283"/>
            </a:xfrm>
            <a:custGeom>
              <a:avLst/>
              <a:gdLst>
                <a:gd name="T0" fmla="*/ 2 w 32"/>
                <a:gd name="T1" fmla="*/ 0 h 40"/>
                <a:gd name="T2" fmla="*/ 2 w 32"/>
                <a:gd name="T3" fmla="*/ 0 h 40"/>
                <a:gd name="T4" fmla="*/ 0 w 32"/>
                <a:gd name="T5" fmla="*/ 0 h 40"/>
                <a:gd name="T6" fmla="*/ 0 w 32"/>
                <a:gd name="T7" fmla="*/ 0 h 40"/>
                <a:gd name="T8" fmla="*/ 0 w 32"/>
                <a:gd name="T9" fmla="*/ 2 h 40"/>
                <a:gd name="T10" fmla="*/ 0 w 32"/>
                <a:gd name="T11" fmla="*/ 2 h 40"/>
                <a:gd name="T12" fmla="*/ 0 w 32"/>
                <a:gd name="T13" fmla="*/ 4 h 40"/>
                <a:gd name="T14" fmla="*/ 2 w 32"/>
                <a:gd name="T15" fmla="*/ 6 h 40"/>
                <a:gd name="T16" fmla="*/ 2 w 32"/>
                <a:gd name="T17" fmla="*/ 6 h 40"/>
                <a:gd name="T18" fmla="*/ 4 w 32"/>
                <a:gd name="T19" fmla="*/ 10 h 40"/>
                <a:gd name="T20" fmla="*/ 6 w 32"/>
                <a:gd name="T21" fmla="*/ 12 h 40"/>
                <a:gd name="T22" fmla="*/ 8 w 32"/>
                <a:gd name="T23" fmla="*/ 16 h 40"/>
                <a:gd name="T24" fmla="*/ 10 w 32"/>
                <a:gd name="T25" fmla="*/ 18 h 40"/>
                <a:gd name="T26" fmla="*/ 12 w 32"/>
                <a:gd name="T27" fmla="*/ 20 h 40"/>
                <a:gd name="T28" fmla="*/ 12 w 32"/>
                <a:gd name="T29" fmla="*/ 22 h 40"/>
                <a:gd name="T30" fmla="*/ 14 w 32"/>
                <a:gd name="T31" fmla="*/ 26 h 40"/>
                <a:gd name="T32" fmla="*/ 16 w 32"/>
                <a:gd name="T33" fmla="*/ 28 h 40"/>
                <a:gd name="T34" fmla="*/ 16 w 32"/>
                <a:gd name="T35" fmla="*/ 32 h 40"/>
                <a:gd name="T36" fmla="*/ 18 w 32"/>
                <a:gd name="T37" fmla="*/ 34 h 40"/>
                <a:gd name="T38" fmla="*/ 20 w 32"/>
                <a:gd name="T39" fmla="*/ 36 h 40"/>
                <a:gd name="T40" fmla="*/ 20 w 32"/>
                <a:gd name="T41" fmla="*/ 38 h 40"/>
                <a:gd name="T42" fmla="*/ 22 w 32"/>
                <a:gd name="T43" fmla="*/ 38 h 40"/>
                <a:gd name="T44" fmla="*/ 22 w 32"/>
                <a:gd name="T45" fmla="*/ 40 h 40"/>
                <a:gd name="T46" fmla="*/ 24 w 32"/>
                <a:gd name="T47" fmla="*/ 40 h 40"/>
                <a:gd name="T48" fmla="*/ 24 w 32"/>
                <a:gd name="T49" fmla="*/ 40 h 40"/>
                <a:gd name="T50" fmla="*/ 24 w 32"/>
                <a:gd name="T51" fmla="*/ 40 h 40"/>
                <a:gd name="T52" fmla="*/ 26 w 32"/>
                <a:gd name="T53" fmla="*/ 40 h 40"/>
                <a:gd name="T54" fmla="*/ 26 w 32"/>
                <a:gd name="T55" fmla="*/ 40 h 40"/>
                <a:gd name="T56" fmla="*/ 26 w 32"/>
                <a:gd name="T57" fmla="*/ 38 h 40"/>
                <a:gd name="T58" fmla="*/ 28 w 32"/>
                <a:gd name="T59" fmla="*/ 38 h 40"/>
                <a:gd name="T60" fmla="*/ 28 w 32"/>
                <a:gd name="T61" fmla="*/ 36 h 40"/>
                <a:gd name="T62" fmla="*/ 30 w 32"/>
                <a:gd name="T63" fmla="*/ 34 h 40"/>
                <a:gd name="T64" fmla="*/ 30 w 32"/>
                <a:gd name="T65" fmla="*/ 32 h 40"/>
                <a:gd name="T66" fmla="*/ 30 w 32"/>
                <a:gd name="T67" fmla="*/ 30 h 40"/>
                <a:gd name="T68" fmla="*/ 30 w 32"/>
                <a:gd name="T69" fmla="*/ 28 h 40"/>
                <a:gd name="T70" fmla="*/ 30 w 32"/>
                <a:gd name="T71" fmla="*/ 26 h 40"/>
                <a:gd name="T72" fmla="*/ 30 w 32"/>
                <a:gd name="T73" fmla="*/ 24 h 40"/>
                <a:gd name="T74" fmla="*/ 32 w 32"/>
                <a:gd name="T75" fmla="*/ 22 h 40"/>
                <a:gd name="T76" fmla="*/ 30 w 32"/>
                <a:gd name="T77" fmla="*/ 20 h 40"/>
                <a:gd name="T78" fmla="*/ 30 w 32"/>
                <a:gd name="T79" fmla="*/ 20 h 40"/>
                <a:gd name="T80" fmla="*/ 30 w 32"/>
                <a:gd name="T81" fmla="*/ 18 h 40"/>
                <a:gd name="T82" fmla="*/ 30 w 32"/>
                <a:gd name="T83" fmla="*/ 16 h 40"/>
                <a:gd name="T84" fmla="*/ 30 w 32"/>
                <a:gd name="T85" fmla="*/ 14 h 40"/>
                <a:gd name="T86" fmla="*/ 28 w 32"/>
                <a:gd name="T87" fmla="*/ 14 h 40"/>
                <a:gd name="T88" fmla="*/ 28 w 32"/>
                <a:gd name="T89" fmla="*/ 12 h 40"/>
                <a:gd name="T90" fmla="*/ 26 w 32"/>
                <a:gd name="T91" fmla="*/ 10 h 40"/>
                <a:gd name="T92" fmla="*/ 24 w 32"/>
                <a:gd name="T93" fmla="*/ 8 h 40"/>
                <a:gd name="T94" fmla="*/ 22 w 32"/>
                <a:gd name="T95" fmla="*/ 8 h 40"/>
                <a:gd name="T96" fmla="*/ 20 w 32"/>
                <a:gd name="T97" fmla="*/ 6 h 40"/>
                <a:gd name="T98" fmla="*/ 18 w 32"/>
                <a:gd name="T99" fmla="*/ 4 h 40"/>
                <a:gd name="T100" fmla="*/ 16 w 32"/>
                <a:gd name="T101" fmla="*/ 2 h 40"/>
                <a:gd name="T102" fmla="*/ 14 w 32"/>
                <a:gd name="T103" fmla="*/ 2 h 40"/>
                <a:gd name="T104" fmla="*/ 12 w 32"/>
                <a:gd name="T105" fmla="*/ 0 h 40"/>
                <a:gd name="T106" fmla="*/ 10 w 32"/>
                <a:gd name="T107" fmla="*/ 0 h 40"/>
                <a:gd name="T108" fmla="*/ 8 w 32"/>
                <a:gd name="T109" fmla="*/ 0 h 40"/>
                <a:gd name="T110" fmla="*/ 6 w 32"/>
                <a:gd name="T111" fmla="*/ 0 h 40"/>
                <a:gd name="T112" fmla="*/ 4 w 32"/>
                <a:gd name="T113" fmla="*/ 0 h 40"/>
                <a:gd name="T114" fmla="*/ 2 w 32"/>
                <a:gd name="T115" fmla="*/ 0 h 40"/>
                <a:gd name="T116" fmla="*/ 2 w 32"/>
                <a:gd name="T117" fmla="*/ 0 h 40"/>
                <a:gd name="T118" fmla="*/ 2 w 32"/>
                <a:gd name="T119" fmla="*/ 0 h 40"/>
                <a:gd name="T120" fmla="*/ 2 w 32"/>
                <a:gd name="T1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 h="40">
                  <a:moveTo>
                    <a:pt x="2" y="0"/>
                  </a:moveTo>
                  <a:lnTo>
                    <a:pt x="2" y="0"/>
                  </a:lnTo>
                  <a:lnTo>
                    <a:pt x="0" y="0"/>
                  </a:lnTo>
                  <a:lnTo>
                    <a:pt x="0" y="0"/>
                  </a:lnTo>
                  <a:lnTo>
                    <a:pt x="0" y="2"/>
                  </a:lnTo>
                  <a:lnTo>
                    <a:pt x="0" y="2"/>
                  </a:lnTo>
                  <a:lnTo>
                    <a:pt x="0" y="4"/>
                  </a:lnTo>
                  <a:lnTo>
                    <a:pt x="2" y="6"/>
                  </a:lnTo>
                  <a:lnTo>
                    <a:pt x="2" y="6"/>
                  </a:lnTo>
                  <a:lnTo>
                    <a:pt x="4" y="10"/>
                  </a:lnTo>
                  <a:lnTo>
                    <a:pt x="6" y="12"/>
                  </a:lnTo>
                  <a:lnTo>
                    <a:pt x="8" y="16"/>
                  </a:lnTo>
                  <a:lnTo>
                    <a:pt x="10" y="18"/>
                  </a:lnTo>
                  <a:lnTo>
                    <a:pt x="12" y="20"/>
                  </a:lnTo>
                  <a:lnTo>
                    <a:pt x="12" y="22"/>
                  </a:lnTo>
                  <a:lnTo>
                    <a:pt x="14" y="26"/>
                  </a:lnTo>
                  <a:lnTo>
                    <a:pt x="16" y="28"/>
                  </a:lnTo>
                  <a:lnTo>
                    <a:pt x="16" y="32"/>
                  </a:lnTo>
                  <a:lnTo>
                    <a:pt x="18" y="34"/>
                  </a:lnTo>
                  <a:lnTo>
                    <a:pt x="20" y="36"/>
                  </a:lnTo>
                  <a:lnTo>
                    <a:pt x="20" y="38"/>
                  </a:lnTo>
                  <a:lnTo>
                    <a:pt x="22" y="38"/>
                  </a:lnTo>
                  <a:lnTo>
                    <a:pt x="22" y="40"/>
                  </a:lnTo>
                  <a:lnTo>
                    <a:pt x="24" y="40"/>
                  </a:lnTo>
                  <a:lnTo>
                    <a:pt x="24" y="40"/>
                  </a:lnTo>
                  <a:lnTo>
                    <a:pt x="24" y="40"/>
                  </a:lnTo>
                  <a:lnTo>
                    <a:pt x="26" y="40"/>
                  </a:lnTo>
                  <a:lnTo>
                    <a:pt x="26" y="40"/>
                  </a:lnTo>
                  <a:lnTo>
                    <a:pt x="26" y="38"/>
                  </a:lnTo>
                  <a:lnTo>
                    <a:pt x="28" y="38"/>
                  </a:lnTo>
                  <a:lnTo>
                    <a:pt x="28" y="36"/>
                  </a:lnTo>
                  <a:lnTo>
                    <a:pt x="30" y="34"/>
                  </a:lnTo>
                  <a:lnTo>
                    <a:pt x="30" y="32"/>
                  </a:lnTo>
                  <a:lnTo>
                    <a:pt x="30" y="30"/>
                  </a:lnTo>
                  <a:lnTo>
                    <a:pt x="30" y="28"/>
                  </a:lnTo>
                  <a:lnTo>
                    <a:pt x="30" y="26"/>
                  </a:lnTo>
                  <a:lnTo>
                    <a:pt x="30" y="24"/>
                  </a:lnTo>
                  <a:lnTo>
                    <a:pt x="32" y="22"/>
                  </a:lnTo>
                  <a:lnTo>
                    <a:pt x="30" y="20"/>
                  </a:lnTo>
                  <a:lnTo>
                    <a:pt x="30" y="20"/>
                  </a:lnTo>
                  <a:lnTo>
                    <a:pt x="30" y="18"/>
                  </a:lnTo>
                  <a:lnTo>
                    <a:pt x="30" y="16"/>
                  </a:lnTo>
                  <a:lnTo>
                    <a:pt x="30" y="14"/>
                  </a:lnTo>
                  <a:lnTo>
                    <a:pt x="28" y="14"/>
                  </a:lnTo>
                  <a:lnTo>
                    <a:pt x="28" y="12"/>
                  </a:lnTo>
                  <a:lnTo>
                    <a:pt x="26" y="10"/>
                  </a:lnTo>
                  <a:lnTo>
                    <a:pt x="24" y="8"/>
                  </a:lnTo>
                  <a:lnTo>
                    <a:pt x="22" y="8"/>
                  </a:lnTo>
                  <a:lnTo>
                    <a:pt x="20" y="6"/>
                  </a:lnTo>
                  <a:lnTo>
                    <a:pt x="18" y="4"/>
                  </a:lnTo>
                  <a:lnTo>
                    <a:pt x="16" y="2"/>
                  </a:lnTo>
                  <a:lnTo>
                    <a:pt x="14" y="2"/>
                  </a:lnTo>
                  <a:lnTo>
                    <a:pt x="12" y="0"/>
                  </a:lnTo>
                  <a:lnTo>
                    <a:pt x="10" y="0"/>
                  </a:lnTo>
                  <a:lnTo>
                    <a:pt x="8" y="0"/>
                  </a:lnTo>
                  <a:lnTo>
                    <a:pt x="6" y="0"/>
                  </a:lnTo>
                  <a:lnTo>
                    <a:pt x="4" y="0"/>
                  </a:lnTo>
                  <a:lnTo>
                    <a:pt x="2" y="0"/>
                  </a:lnTo>
                  <a:lnTo>
                    <a:pt x="2" y="0"/>
                  </a:lnTo>
                  <a:lnTo>
                    <a:pt x="2" y="0"/>
                  </a:lnTo>
                  <a:lnTo>
                    <a:pt x="2"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 name="Freeform 10">
              <a:extLst>
                <a:ext uri="{FF2B5EF4-FFF2-40B4-BE49-F238E27FC236}">
                  <a16:creationId xmlns:a16="http://schemas.microsoft.com/office/drawing/2014/main" id="{AC4389B4-AC19-4DB7-896F-159A8A5FC170}"/>
                </a:ext>
              </a:extLst>
            </p:cNvPr>
            <p:cNvSpPr>
              <a:spLocks/>
            </p:cNvSpPr>
            <p:nvPr/>
          </p:nvSpPr>
          <p:spPr bwMode="auto">
            <a:xfrm>
              <a:off x="7847679" y="4725886"/>
              <a:ext cx="207849" cy="214777"/>
            </a:xfrm>
            <a:custGeom>
              <a:avLst/>
              <a:gdLst>
                <a:gd name="T0" fmla="*/ 2 w 120"/>
                <a:gd name="T1" fmla="*/ 0 h 124"/>
                <a:gd name="T2" fmla="*/ 14 w 120"/>
                <a:gd name="T3" fmla="*/ 4 h 124"/>
                <a:gd name="T4" fmla="*/ 18 w 120"/>
                <a:gd name="T5" fmla="*/ 6 h 124"/>
                <a:gd name="T6" fmla="*/ 32 w 120"/>
                <a:gd name="T7" fmla="*/ 2 h 124"/>
                <a:gd name="T8" fmla="*/ 36 w 120"/>
                <a:gd name="T9" fmla="*/ 2 h 124"/>
                <a:gd name="T10" fmla="*/ 40 w 120"/>
                <a:gd name="T11" fmla="*/ 4 h 124"/>
                <a:gd name="T12" fmla="*/ 40 w 120"/>
                <a:gd name="T13" fmla="*/ 6 h 124"/>
                <a:gd name="T14" fmla="*/ 40 w 120"/>
                <a:gd name="T15" fmla="*/ 14 h 124"/>
                <a:gd name="T16" fmla="*/ 38 w 120"/>
                <a:gd name="T17" fmla="*/ 20 h 124"/>
                <a:gd name="T18" fmla="*/ 40 w 120"/>
                <a:gd name="T19" fmla="*/ 24 h 124"/>
                <a:gd name="T20" fmla="*/ 42 w 120"/>
                <a:gd name="T21" fmla="*/ 26 h 124"/>
                <a:gd name="T22" fmla="*/ 46 w 120"/>
                <a:gd name="T23" fmla="*/ 26 h 124"/>
                <a:gd name="T24" fmla="*/ 52 w 120"/>
                <a:gd name="T25" fmla="*/ 28 h 124"/>
                <a:gd name="T26" fmla="*/ 54 w 120"/>
                <a:gd name="T27" fmla="*/ 30 h 124"/>
                <a:gd name="T28" fmla="*/ 56 w 120"/>
                <a:gd name="T29" fmla="*/ 34 h 124"/>
                <a:gd name="T30" fmla="*/ 58 w 120"/>
                <a:gd name="T31" fmla="*/ 40 h 124"/>
                <a:gd name="T32" fmla="*/ 64 w 120"/>
                <a:gd name="T33" fmla="*/ 44 h 124"/>
                <a:gd name="T34" fmla="*/ 72 w 120"/>
                <a:gd name="T35" fmla="*/ 52 h 124"/>
                <a:gd name="T36" fmla="*/ 78 w 120"/>
                <a:gd name="T37" fmla="*/ 56 h 124"/>
                <a:gd name="T38" fmla="*/ 78 w 120"/>
                <a:gd name="T39" fmla="*/ 58 h 124"/>
                <a:gd name="T40" fmla="*/ 78 w 120"/>
                <a:gd name="T41" fmla="*/ 64 h 124"/>
                <a:gd name="T42" fmla="*/ 76 w 120"/>
                <a:gd name="T43" fmla="*/ 72 h 124"/>
                <a:gd name="T44" fmla="*/ 76 w 120"/>
                <a:gd name="T45" fmla="*/ 76 h 124"/>
                <a:gd name="T46" fmla="*/ 78 w 120"/>
                <a:gd name="T47" fmla="*/ 82 h 124"/>
                <a:gd name="T48" fmla="*/ 84 w 120"/>
                <a:gd name="T49" fmla="*/ 90 h 124"/>
                <a:gd name="T50" fmla="*/ 88 w 120"/>
                <a:gd name="T51" fmla="*/ 94 h 124"/>
                <a:gd name="T52" fmla="*/ 94 w 120"/>
                <a:gd name="T53" fmla="*/ 96 h 124"/>
                <a:gd name="T54" fmla="*/ 104 w 120"/>
                <a:gd name="T55" fmla="*/ 98 h 124"/>
                <a:gd name="T56" fmla="*/ 108 w 120"/>
                <a:gd name="T57" fmla="*/ 100 h 124"/>
                <a:gd name="T58" fmla="*/ 114 w 120"/>
                <a:gd name="T59" fmla="*/ 106 h 124"/>
                <a:gd name="T60" fmla="*/ 118 w 120"/>
                <a:gd name="T61" fmla="*/ 112 h 124"/>
                <a:gd name="T62" fmla="*/ 120 w 120"/>
                <a:gd name="T63" fmla="*/ 116 h 124"/>
                <a:gd name="T64" fmla="*/ 118 w 120"/>
                <a:gd name="T65" fmla="*/ 120 h 124"/>
                <a:gd name="T66" fmla="*/ 116 w 120"/>
                <a:gd name="T67" fmla="*/ 122 h 124"/>
                <a:gd name="T68" fmla="*/ 110 w 120"/>
                <a:gd name="T69" fmla="*/ 122 h 124"/>
                <a:gd name="T70" fmla="*/ 102 w 120"/>
                <a:gd name="T71" fmla="*/ 124 h 124"/>
                <a:gd name="T72" fmla="*/ 96 w 120"/>
                <a:gd name="T73" fmla="*/ 122 h 124"/>
                <a:gd name="T74" fmla="*/ 94 w 120"/>
                <a:gd name="T75" fmla="*/ 122 h 124"/>
                <a:gd name="T76" fmla="*/ 86 w 120"/>
                <a:gd name="T77" fmla="*/ 118 h 124"/>
                <a:gd name="T78" fmla="*/ 76 w 120"/>
                <a:gd name="T79" fmla="*/ 116 h 124"/>
                <a:gd name="T80" fmla="*/ 72 w 120"/>
                <a:gd name="T81" fmla="*/ 114 h 124"/>
                <a:gd name="T82" fmla="*/ 66 w 120"/>
                <a:gd name="T83" fmla="*/ 110 h 124"/>
                <a:gd name="T84" fmla="*/ 54 w 120"/>
                <a:gd name="T85" fmla="*/ 96 h 124"/>
                <a:gd name="T86" fmla="*/ 48 w 120"/>
                <a:gd name="T87" fmla="*/ 86 h 124"/>
                <a:gd name="T88" fmla="*/ 42 w 120"/>
                <a:gd name="T89" fmla="*/ 78 h 124"/>
                <a:gd name="T90" fmla="*/ 40 w 120"/>
                <a:gd name="T91" fmla="*/ 76 h 124"/>
                <a:gd name="T92" fmla="*/ 30 w 120"/>
                <a:gd name="T93" fmla="*/ 74 h 124"/>
                <a:gd name="T94" fmla="*/ 18 w 120"/>
                <a:gd name="T95" fmla="*/ 7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 h="124">
                  <a:moveTo>
                    <a:pt x="18" y="74"/>
                  </a:moveTo>
                  <a:lnTo>
                    <a:pt x="0" y="0"/>
                  </a:lnTo>
                  <a:lnTo>
                    <a:pt x="2" y="0"/>
                  </a:lnTo>
                  <a:lnTo>
                    <a:pt x="6" y="2"/>
                  </a:lnTo>
                  <a:lnTo>
                    <a:pt x="10" y="4"/>
                  </a:lnTo>
                  <a:lnTo>
                    <a:pt x="14" y="4"/>
                  </a:lnTo>
                  <a:lnTo>
                    <a:pt x="16" y="6"/>
                  </a:lnTo>
                  <a:lnTo>
                    <a:pt x="16" y="6"/>
                  </a:lnTo>
                  <a:lnTo>
                    <a:pt x="18" y="6"/>
                  </a:lnTo>
                  <a:lnTo>
                    <a:pt x="20" y="4"/>
                  </a:lnTo>
                  <a:lnTo>
                    <a:pt x="28" y="4"/>
                  </a:lnTo>
                  <a:lnTo>
                    <a:pt x="32" y="2"/>
                  </a:lnTo>
                  <a:lnTo>
                    <a:pt x="32" y="2"/>
                  </a:lnTo>
                  <a:lnTo>
                    <a:pt x="34" y="2"/>
                  </a:lnTo>
                  <a:lnTo>
                    <a:pt x="36" y="2"/>
                  </a:lnTo>
                  <a:lnTo>
                    <a:pt x="38" y="2"/>
                  </a:lnTo>
                  <a:lnTo>
                    <a:pt x="38" y="4"/>
                  </a:lnTo>
                  <a:lnTo>
                    <a:pt x="40" y="4"/>
                  </a:lnTo>
                  <a:lnTo>
                    <a:pt x="40" y="4"/>
                  </a:lnTo>
                  <a:lnTo>
                    <a:pt x="40" y="6"/>
                  </a:lnTo>
                  <a:lnTo>
                    <a:pt x="40" y="6"/>
                  </a:lnTo>
                  <a:lnTo>
                    <a:pt x="40" y="8"/>
                  </a:lnTo>
                  <a:lnTo>
                    <a:pt x="40" y="10"/>
                  </a:lnTo>
                  <a:lnTo>
                    <a:pt x="40" y="14"/>
                  </a:lnTo>
                  <a:lnTo>
                    <a:pt x="38" y="16"/>
                  </a:lnTo>
                  <a:lnTo>
                    <a:pt x="38" y="20"/>
                  </a:lnTo>
                  <a:lnTo>
                    <a:pt x="38" y="20"/>
                  </a:lnTo>
                  <a:lnTo>
                    <a:pt x="38" y="22"/>
                  </a:lnTo>
                  <a:lnTo>
                    <a:pt x="38" y="24"/>
                  </a:lnTo>
                  <a:lnTo>
                    <a:pt x="40" y="24"/>
                  </a:lnTo>
                  <a:lnTo>
                    <a:pt x="40" y="24"/>
                  </a:lnTo>
                  <a:lnTo>
                    <a:pt x="40" y="24"/>
                  </a:lnTo>
                  <a:lnTo>
                    <a:pt x="42" y="26"/>
                  </a:lnTo>
                  <a:lnTo>
                    <a:pt x="42" y="26"/>
                  </a:lnTo>
                  <a:lnTo>
                    <a:pt x="44" y="26"/>
                  </a:lnTo>
                  <a:lnTo>
                    <a:pt x="46" y="26"/>
                  </a:lnTo>
                  <a:lnTo>
                    <a:pt x="48" y="26"/>
                  </a:lnTo>
                  <a:lnTo>
                    <a:pt x="52" y="28"/>
                  </a:lnTo>
                  <a:lnTo>
                    <a:pt x="52" y="28"/>
                  </a:lnTo>
                  <a:lnTo>
                    <a:pt x="54" y="28"/>
                  </a:lnTo>
                  <a:lnTo>
                    <a:pt x="54" y="30"/>
                  </a:lnTo>
                  <a:lnTo>
                    <a:pt x="54" y="30"/>
                  </a:lnTo>
                  <a:lnTo>
                    <a:pt x="56" y="32"/>
                  </a:lnTo>
                  <a:lnTo>
                    <a:pt x="56" y="32"/>
                  </a:lnTo>
                  <a:lnTo>
                    <a:pt x="56" y="34"/>
                  </a:lnTo>
                  <a:lnTo>
                    <a:pt x="58" y="36"/>
                  </a:lnTo>
                  <a:lnTo>
                    <a:pt x="58" y="38"/>
                  </a:lnTo>
                  <a:lnTo>
                    <a:pt x="58" y="40"/>
                  </a:lnTo>
                  <a:lnTo>
                    <a:pt x="60" y="40"/>
                  </a:lnTo>
                  <a:lnTo>
                    <a:pt x="60" y="42"/>
                  </a:lnTo>
                  <a:lnTo>
                    <a:pt x="64" y="44"/>
                  </a:lnTo>
                  <a:lnTo>
                    <a:pt x="68" y="48"/>
                  </a:lnTo>
                  <a:lnTo>
                    <a:pt x="70" y="50"/>
                  </a:lnTo>
                  <a:lnTo>
                    <a:pt x="72" y="52"/>
                  </a:lnTo>
                  <a:lnTo>
                    <a:pt x="74" y="54"/>
                  </a:lnTo>
                  <a:lnTo>
                    <a:pt x="76" y="54"/>
                  </a:lnTo>
                  <a:lnTo>
                    <a:pt x="78" y="56"/>
                  </a:lnTo>
                  <a:lnTo>
                    <a:pt x="78" y="56"/>
                  </a:lnTo>
                  <a:lnTo>
                    <a:pt x="78" y="58"/>
                  </a:lnTo>
                  <a:lnTo>
                    <a:pt x="78" y="58"/>
                  </a:lnTo>
                  <a:lnTo>
                    <a:pt x="78" y="60"/>
                  </a:lnTo>
                  <a:lnTo>
                    <a:pt x="78" y="62"/>
                  </a:lnTo>
                  <a:lnTo>
                    <a:pt x="78" y="64"/>
                  </a:lnTo>
                  <a:lnTo>
                    <a:pt x="78" y="66"/>
                  </a:lnTo>
                  <a:lnTo>
                    <a:pt x="76" y="70"/>
                  </a:lnTo>
                  <a:lnTo>
                    <a:pt x="76" y="72"/>
                  </a:lnTo>
                  <a:lnTo>
                    <a:pt x="76" y="74"/>
                  </a:lnTo>
                  <a:lnTo>
                    <a:pt x="76" y="74"/>
                  </a:lnTo>
                  <a:lnTo>
                    <a:pt x="76" y="76"/>
                  </a:lnTo>
                  <a:lnTo>
                    <a:pt x="76" y="78"/>
                  </a:lnTo>
                  <a:lnTo>
                    <a:pt x="78" y="80"/>
                  </a:lnTo>
                  <a:lnTo>
                    <a:pt x="78" y="82"/>
                  </a:lnTo>
                  <a:lnTo>
                    <a:pt x="80" y="86"/>
                  </a:lnTo>
                  <a:lnTo>
                    <a:pt x="82" y="88"/>
                  </a:lnTo>
                  <a:lnTo>
                    <a:pt x="84" y="90"/>
                  </a:lnTo>
                  <a:lnTo>
                    <a:pt x="86" y="92"/>
                  </a:lnTo>
                  <a:lnTo>
                    <a:pt x="88" y="92"/>
                  </a:lnTo>
                  <a:lnTo>
                    <a:pt x="88" y="94"/>
                  </a:lnTo>
                  <a:lnTo>
                    <a:pt x="90" y="94"/>
                  </a:lnTo>
                  <a:lnTo>
                    <a:pt x="92" y="94"/>
                  </a:lnTo>
                  <a:lnTo>
                    <a:pt x="94" y="96"/>
                  </a:lnTo>
                  <a:lnTo>
                    <a:pt x="98" y="96"/>
                  </a:lnTo>
                  <a:lnTo>
                    <a:pt x="100" y="96"/>
                  </a:lnTo>
                  <a:lnTo>
                    <a:pt x="104" y="98"/>
                  </a:lnTo>
                  <a:lnTo>
                    <a:pt x="106" y="98"/>
                  </a:lnTo>
                  <a:lnTo>
                    <a:pt x="106" y="98"/>
                  </a:lnTo>
                  <a:lnTo>
                    <a:pt x="108" y="100"/>
                  </a:lnTo>
                  <a:lnTo>
                    <a:pt x="110" y="100"/>
                  </a:lnTo>
                  <a:lnTo>
                    <a:pt x="112" y="104"/>
                  </a:lnTo>
                  <a:lnTo>
                    <a:pt x="114" y="106"/>
                  </a:lnTo>
                  <a:lnTo>
                    <a:pt x="116" y="108"/>
                  </a:lnTo>
                  <a:lnTo>
                    <a:pt x="118" y="110"/>
                  </a:lnTo>
                  <a:lnTo>
                    <a:pt x="118" y="112"/>
                  </a:lnTo>
                  <a:lnTo>
                    <a:pt x="118" y="114"/>
                  </a:lnTo>
                  <a:lnTo>
                    <a:pt x="118" y="114"/>
                  </a:lnTo>
                  <a:lnTo>
                    <a:pt x="120" y="116"/>
                  </a:lnTo>
                  <a:lnTo>
                    <a:pt x="120" y="118"/>
                  </a:lnTo>
                  <a:lnTo>
                    <a:pt x="118" y="118"/>
                  </a:lnTo>
                  <a:lnTo>
                    <a:pt x="118" y="120"/>
                  </a:lnTo>
                  <a:lnTo>
                    <a:pt x="118" y="120"/>
                  </a:lnTo>
                  <a:lnTo>
                    <a:pt x="116" y="120"/>
                  </a:lnTo>
                  <a:lnTo>
                    <a:pt x="116" y="122"/>
                  </a:lnTo>
                  <a:lnTo>
                    <a:pt x="114" y="122"/>
                  </a:lnTo>
                  <a:lnTo>
                    <a:pt x="112" y="122"/>
                  </a:lnTo>
                  <a:lnTo>
                    <a:pt x="110" y="122"/>
                  </a:lnTo>
                  <a:lnTo>
                    <a:pt x="108" y="122"/>
                  </a:lnTo>
                  <a:lnTo>
                    <a:pt x="104" y="124"/>
                  </a:lnTo>
                  <a:lnTo>
                    <a:pt x="102" y="124"/>
                  </a:lnTo>
                  <a:lnTo>
                    <a:pt x="100" y="122"/>
                  </a:lnTo>
                  <a:lnTo>
                    <a:pt x="98" y="122"/>
                  </a:lnTo>
                  <a:lnTo>
                    <a:pt x="96" y="122"/>
                  </a:lnTo>
                  <a:lnTo>
                    <a:pt x="96" y="122"/>
                  </a:lnTo>
                  <a:lnTo>
                    <a:pt x="96" y="122"/>
                  </a:lnTo>
                  <a:lnTo>
                    <a:pt x="94" y="122"/>
                  </a:lnTo>
                  <a:lnTo>
                    <a:pt x="92" y="120"/>
                  </a:lnTo>
                  <a:lnTo>
                    <a:pt x="88" y="120"/>
                  </a:lnTo>
                  <a:lnTo>
                    <a:pt x="86" y="118"/>
                  </a:lnTo>
                  <a:lnTo>
                    <a:pt x="82" y="118"/>
                  </a:lnTo>
                  <a:lnTo>
                    <a:pt x="78" y="118"/>
                  </a:lnTo>
                  <a:lnTo>
                    <a:pt x="76" y="116"/>
                  </a:lnTo>
                  <a:lnTo>
                    <a:pt x="74" y="116"/>
                  </a:lnTo>
                  <a:lnTo>
                    <a:pt x="74" y="116"/>
                  </a:lnTo>
                  <a:lnTo>
                    <a:pt x="72" y="114"/>
                  </a:lnTo>
                  <a:lnTo>
                    <a:pt x="70" y="114"/>
                  </a:lnTo>
                  <a:lnTo>
                    <a:pt x="68" y="112"/>
                  </a:lnTo>
                  <a:lnTo>
                    <a:pt x="66" y="110"/>
                  </a:lnTo>
                  <a:lnTo>
                    <a:pt x="64" y="106"/>
                  </a:lnTo>
                  <a:lnTo>
                    <a:pt x="58" y="100"/>
                  </a:lnTo>
                  <a:lnTo>
                    <a:pt x="54" y="96"/>
                  </a:lnTo>
                  <a:lnTo>
                    <a:pt x="52" y="94"/>
                  </a:lnTo>
                  <a:lnTo>
                    <a:pt x="52" y="92"/>
                  </a:lnTo>
                  <a:lnTo>
                    <a:pt x="48" y="86"/>
                  </a:lnTo>
                  <a:lnTo>
                    <a:pt x="46" y="82"/>
                  </a:lnTo>
                  <a:lnTo>
                    <a:pt x="44" y="80"/>
                  </a:lnTo>
                  <a:lnTo>
                    <a:pt x="42" y="78"/>
                  </a:lnTo>
                  <a:lnTo>
                    <a:pt x="42" y="78"/>
                  </a:lnTo>
                  <a:lnTo>
                    <a:pt x="40" y="76"/>
                  </a:lnTo>
                  <a:lnTo>
                    <a:pt x="40" y="76"/>
                  </a:lnTo>
                  <a:lnTo>
                    <a:pt x="38" y="76"/>
                  </a:lnTo>
                  <a:lnTo>
                    <a:pt x="34" y="76"/>
                  </a:lnTo>
                  <a:lnTo>
                    <a:pt x="30" y="74"/>
                  </a:lnTo>
                  <a:lnTo>
                    <a:pt x="26" y="74"/>
                  </a:lnTo>
                  <a:lnTo>
                    <a:pt x="20" y="74"/>
                  </a:lnTo>
                  <a:lnTo>
                    <a:pt x="18" y="7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 name="Freeform 11">
              <a:extLst>
                <a:ext uri="{FF2B5EF4-FFF2-40B4-BE49-F238E27FC236}">
                  <a16:creationId xmlns:a16="http://schemas.microsoft.com/office/drawing/2014/main" id="{AE58535E-E57A-4088-8FCB-DED42ADB710C}"/>
                </a:ext>
              </a:extLst>
            </p:cNvPr>
            <p:cNvSpPr>
              <a:spLocks/>
            </p:cNvSpPr>
            <p:nvPr/>
          </p:nvSpPr>
          <p:spPr bwMode="auto">
            <a:xfrm>
              <a:off x="7847679" y="4725886"/>
              <a:ext cx="207849" cy="214777"/>
            </a:xfrm>
            <a:custGeom>
              <a:avLst/>
              <a:gdLst>
                <a:gd name="T0" fmla="*/ 2 w 120"/>
                <a:gd name="T1" fmla="*/ 0 h 124"/>
                <a:gd name="T2" fmla="*/ 14 w 120"/>
                <a:gd name="T3" fmla="*/ 4 h 124"/>
                <a:gd name="T4" fmla="*/ 18 w 120"/>
                <a:gd name="T5" fmla="*/ 6 h 124"/>
                <a:gd name="T6" fmla="*/ 32 w 120"/>
                <a:gd name="T7" fmla="*/ 2 h 124"/>
                <a:gd name="T8" fmla="*/ 36 w 120"/>
                <a:gd name="T9" fmla="*/ 2 h 124"/>
                <a:gd name="T10" fmla="*/ 40 w 120"/>
                <a:gd name="T11" fmla="*/ 4 h 124"/>
                <a:gd name="T12" fmla="*/ 40 w 120"/>
                <a:gd name="T13" fmla="*/ 6 h 124"/>
                <a:gd name="T14" fmla="*/ 40 w 120"/>
                <a:gd name="T15" fmla="*/ 14 h 124"/>
                <a:gd name="T16" fmla="*/ 38 w 120"/>
                <a:gd name="T17" fmla="*/ 20 h 124"/>
                <a:gd name="T18" fmla="*/ 40 w 120"/>
                <a:gd name="T19" fmla="*/ 24 h 124"/>
                <a:gd name="T20" fmla="*/ 42 w 120"/>
                <a:gd name="T21" fmla="*/ 26 h 124"/>
                <a:gd name="T22" fmla="*/ 46 w 120"/>
                <a:gd name="T23" fmla="*/ 26 h 124"/>
                <a:gd name="T24" fmla="*/ 52 w 120"/>
                <a:gd name="T25" fmla="*/ 28 h 124"/>
                <a:gd name="T26" fmla="*/ 54 w 120"/>
                <a:gd name="T27" fmla="*/ 30 h 124"/>
                <a:gd name="T28" fmla="*/ 56 w 120"/>
                <a:gd name="T29" fmla="*/ 34 h 124"/>
                <a:gd name="T30" fmla="*/ 58 w 120"/>
                <a:gd name="T31" fmla="*/ 40 h 124"/>
                <a:gd name="T32" fmla="*/ 64 w 120"/>
                <a:gd name="T33" fmla="*/ 44 h 124"/>
                <a:gd name="T34" fmla="*/ 72 w 120"/>
                <a:gd name="T35" fmla="*/ 52 h 124"/>
                <a:gd name="T36" fmla="*/ 78 w 120"/>
                <a:gd name="T37" fmla="*/ 56 h 124"/>
                <a:gd name="T38" fmla="*/ 78 w 120"/>
                <a:gd name="T39" fmla="*/ 58 h 124"/>
                <a:gd name="T40" fmla="*/ 78 w 120"/>
                <a:gd name="T41" fmla="*/ 64 h 124"/>
                <a:gd name="T42" fmla="*/ 76 w 120"/>
                <a:gd name="T43" fmla="*/ 72 h 124"/>
                <a:gd name="T44" fmla="*/ 76 w 120"/>
                <a:gd name="T45" fmla="*/ 76 h 124"/>
                <a:gd name="T46" fmla="*/ 78 w 120"/>
                <a:gd name="T47" fmla="*/ 82 h 124"/>
                <a:gd name="T48" fmla="*/ 84 w 120"/>
                <a:gd name="T49" fmla="*/ 90 h 124"/>
                <a:gd name="T50" fmla="*/ 88 w 120"/>
                <a:gd name="T51" fmla="*/ 94 h 124"/>
                <a:gd name="T52" fmla="*/ 94 w 120"/>
                <a:gd name="T53" fmla="*/ 96 h 124"/>
                <a:gd name="T54" fmla="*/ 104 w 120"/>
                <a:gd name="T55" fmla="*/ 98 h 124"/>
                <a:gd name="T56" fmla="*/ 108 w 120"/>
                <a:gd name="T57" fmla="*/ 100 h 124"/>
                <a:gd name="T58" fmla="*/ 114 w 120"/>
                <a:gd name="T59" fmla="*/ 106 h 124"/>
                <a:gd name="T60" fmla="*/ 118 w 120"/>
                <a:gd name="T61" fmla="*/ 112 h 124"/>
                <a:gd name="T62" fmla="*/ 120 w 120"/>
                <a:gd name="T63" fmla="*/ 116 h 124"/>
                <a:gd name="T64" fmla="*/ 118 w 120"/>
                <a:gd name="T65" fmla="*/ 120 h 124"/>
                <a:gd name="T66" fmla="*/ 116 w 120"/>
                <a:gd name="T67" fmla="*/ 122 h 124"/>
                <a:gd name="T68" fmla="*/ 110 w 120"/>
                <a:gd name="T69" fmla="*/ 122 h 124"/>
                <a:gd name="T70" fmla="*/ 102 w 120"/>
                <a:gd name="T71" fmla="*/ 124 h 124"/>
                <a:gd name="T72" fmla="*/ 96 w 120"/>
                <a:gd name="T73" fmla="*/ 122 h 124"/>
                <a:gd name="T74" fmla="*/ 94 w 120"/>
                <a:gd name="T75" fmla="*/ 122 h 124"/>
                <a:gd name="T76" fmla="*/ 86 w 120"/>
                <a:gd name="T77" fmla="*/ 118 h 124"/>
                <a:gd name="T78" fmla="*/ 76 w 120"/>
                <a:gd name="T79" fmla="*/ 116 h 124"/>
                <a:gd name="T80" fmla="*/ 72 w 120"/>
                <a:gd name="T81" fmla="*/ 114 h 124"/>
                <a:gd name="T82" fmla="*/ 66 w 120"/>
                <a:gd name="T83" fmla="*/ 110 h 124"/>
                <a:gd name="T84" fmla="*/ 54 w 120"/>
                <a:gd name="T85" fmla="*/ 96 h 124"/>
                <a:gd name="T86" fmla="*/ 48 w 120"/>
                <a:gd name="T87" fmla="*/ 86 h 124"/>
                <a:gd name="T88" fmla="*/ 42 w 120"/>
                <a:gd name="T89" fmla="*/ 78 h 124"/>
                <a:gd name="T90" fmla="*/ 40 w 120"/>
                <a:gd name="T91" fmla="*/ 76 h 124"/>
                <a:gd name="T92" fmla="*/ 30 w 120"/>
                <a:gd name="T93" fmla="*/ 74 h 124"/>
                <a:gd name="T94" fmla="*/ 18 w 120"/>
                <a:gd name="T95" fmla="*/ 7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 h="124">
                  <a:moveTo>
                    <a:pt x="18" y="74"/>
                  </a:moveTo>
                  <a:lnTo>
                    <a:pt x="0" y="0"/>
                  </a:lnTo>
                  <a:lnTo>
                    <a:pt x="2" y="0"/>
                  </a:lnTo>
                  <a:lnTo>
                    <a:pt x="6" y="2"/>
                  </a:lnTo>
                  <a:lnTo>
                    <a:pt x="10" y="4"/>
                  </a:lnTo>
                  <a:lnTo>
                    <a:pt x="14" y="4"/>
                  </a:lnTo>
                  <a:lnTo>
                    <a:pt x="16" y="6"/>
                  </a:lnTo>
                  <a:lnTo>
                    <a:pt x="16" y="6"/>
                  </a:lnTo>
                  <a:lnTo>
                    <a:pt x="18" y="6"/>
                  </a:lnTo>
                  <a:lnTo>
                    <a:pt x="20" y="4"/>
                  </a:lnTo>
                  <a:lnTo>
                    <a:pt x="28" y="4"/>
                  </a:lnTo>
                  <a:lnTo>
                    <a:pt x="32" y="2"/>
                  </a:lnTo>
                  <a:lnTo>
                    <a:pt x="32" y="2"/>
                  </a:lnTo>
                  <a:lnTo>
                    <a:pt x="34" y="2"/>
                  </a:lnTo>
                  <a:lnTo>
                    <a:pt x="36" y="2"/>
                  </a:lnTo>
                  <a:lnTo>
                    <a:pt x="38" y="2"/>
                  </a:lnTo>
                  <a:lnTo>
                    <a:pt x="38" y="4"/>
                  </a:lnTo>
                  <a:lnTo>
                    <a:pt x="40" y="4"/>
                  </a:lnTo>
                  <a:lnTo>
                    <a:pt x="40" y="4"/>
                  </a:lnTo>
                  <a:lnTo>
                    <a:pt x="40" y="6"/>
                  </a:lnTo>
                  <a:lnTo>
                    <a:pt x="40" y="6"/>
                  </a:lnTo>
                  <a:lnTo>
                    <a:pt x="40" y="8"/>
                  </a:lnTo>
                  <a:lnTo>
                    <a:pt x="40" y="10"/>
                  </a:lnTo>
                  <a:lnTo>
                    <a:pt x="40" y="14"/>
                  </a:lnTo>
                  <a:lnTo>
                    <a:pt x="38" y="16"/>
                  </a:lnTo>
                  <a:lnTo>
                    <a:pt x="38" y="20"/>
                  </a:lnTo>
                  <a:lnTo>
                    <a:pt x="38" y="20"/>
                  </a:lnTo>
                  <a:lnTo>
                    <a:pt x="38" y="22"/>
                  </a:lnTo>
                  <a:lnTo>
                    <a:pt x="38" y="24"/>
                  </a:lnTo>
                  <a:lnTo>
                    <a:pt x="40" y="24"/>
                  </a:lnTo>
                  <a:lnTo>
                    <a:pt x="40" y="24"/>
                  </a:lnTo>
                  <a:lnTo>
                    <a:pt x="40" y="24"/>
                  </a:lnTo>
                  <a:lnTo>
                    <a:pt x="42" y="26"/>
                  </a:lnTo>
                  <a:lnTo>
                    <a:pt x="42" y="26"/>
                  </a:lnTo>
                  <a:lnTo>
                    <a:pt x="44" y="26"/>
                  </a:lnTo>
                  <a:lnTo>
                    <a:pt x="46" y="26"/>
                  </a:lnTo>
                  <a:lnTo>
                    <a:pt x="48" y="26"/>
                  </a:lnTo>
                  <a:lnTo>
                    <a:pt x="52" y="28"/>
                  </a:lnTo>
                  <a:lnTo>
                    <a:pt x="52" y="28"/>
                  </a:lnTo>
                  <a:lnTo>
                    <a:pt x="54" y="28"/>
                  </a:lnTo>
                  <a:lnTo>
                    <a:pt x="54" y="30"/>
                  </a:lnTo>
                  <a:lnTo>
                    <a:pt x="54" y="30"/>
                  </a:lnTo>
                  <a:lnTo>
                    <a:pt x="56" y="32"/>
                  </a:lnTo>
                  <a:lnTo>
                    <a:pt x="56" y="32"/>
                  </a:lnTo>
                  <a:lnTo>
                    <a:pt x="56" y="34"/>
                  </a:lnTo>
                  <a:lnTo>
                    <a:pt x="58" y="36"/>
                  </a:lnTo>
                  <a:lnTo>
                    <a:pt x="58" y="38"/>
                  </a:lnTo>
                  <a:lnTo>
                    <a:pt x="58" y="40"/>
                  </a:lnTo>
                  <a:lnTo>
                    <a:pt x="60" y="40"/>
                  </a:lnTo>
                  <a:lnTo>
                    <a:pt x="60" y="42"/>
                  </a:lnTo>
                  <a:lnTo>
                    <a:pt x="64" y="44"/>
                  </a:lnTo>
                  <a:lnTo>
                    <a:pt x="68" y="48"/>
                  </a:lnTo>
                  <a:lnTo>
                    <a:pt x="70" y="50"/>
                  </a:lnTo>
                  <a:lnTo>
                    <a:pt x="72" y="52"/>
                  </a:lnTo>
                  <a:lnTo>
                    <a:pt x="74" y="54"/>
                  </a:lnTo>
                  <a:lnTo>
                    <a:pt x="76" y="54"/>
                  </a:lnTo>
                  <a:lnTo>
                    <a:pt x="78" y="56"/>
                  </a:lnTo>
                  <a:lnTo>
                    <a:pt x="78" y="56"/>
                  </a:lnTo>
                  <a:lnTo>
                    <a:pt x="78" y="58"/>
                  </a:lnTo>
                  <a:lnTo>
                    <a:pt x="78" y="58"/>
                  </a:lnTo>
                  <a:lnTo>
                    <a:pt x="78" y="60"/>
                  </a:lnTo>
                  <a:lnTo>
                    <a:pt x="78" y="62"/>
                  </a:lnTo>
                  <a:lnTo>
                    <a:pt x="78" y="64"/>
                  </a:lnTo>
                  <a:lnTo>
                    <a:pt x="78" y="66"/>
                  </a:lnTo>
                  <a:lnTo>
                    <a:pt x="76" y="70"/>
                  </a:lnTo>
                  <a:lnTo>
                    <a:pt x="76" y="72"/>
                  </a:lnTo>
                  <a:lnTo>
                    <a:pt x="76" y="74"/>
                  </a:lnTo>
                  <a:lnTo>
                    <a:pt x="76" y="74"/>
                  </a:lnTo>
                  <a:lnTo>
                    <a:pt x="76" y="76"/>
                  </a:lnTo>
                  <a:lnTo>
                    <a:pt x="76" y="78"/>
                  </a:lnTo>
                  <a:lnTo>
                    <a:pt x="78" y="80"/>
                  </a:lnTo>
                  <a:lnTo>
                    <a:pt x="78" y="82"/>
                  </a:lnTo>
                  <a:lnTo>
                    <a:pt x="80" y="86"/>
                  </a:lnTo>
                  <a:lnTo>
                    <a:pt x="82" y="88"/>
                  </a:lnTo>
                  <a:lnTo>
                    <a:pt x="84" y="90"/>
                  </a:lnTo>
                  <a:lnTo>
                    <a:pt x="86" y="92"/>
                  </a:lnTo>
                  <a:lnTo>
                    <a:pt x="88" y="92"/>
                  </a:lnTo>
                  <a:lnTo>
                    <a:pt x="88" y="94"/>
                  </a:lnTo>
                  <a:lnTo>
                    <a:pt x="90" y="94"/>
                  </a:lnTo>
                  <a:lnTo>
                    <a:pt x="92" y="94"/>
                  </a:lnTo>
                  <a:lnTo>
                    <a:pt x="94" y="96"/>
                  </a:lnTo>
                  <a:lnTo>
                    <a:pt x="98" y="96"/>
                  </a:lnTo>
                  <a:lnTo>
                    <a:pt x="100" y="96"/>
                  </a:lnTo>
                  <a:lnTo>
                    <a:pt x="104" y="98"/>
                  </a:lnTo>
                  <a:lnTo>
                    <a:pt x="106" y="98"/>
                  </a:lnTo>
                  <a:lnTo>
                    <a:pt x="106" y="98"/>
                  </a:lnTo>
                  <a:lnTo>
                    <a:pt x="108" y="100"/>
                  </a:lnTo>
                  <a:lnTo>
                    <a:pt x="110" y="100"/>
                  </a:lnTo>
                  <a:lnTo>
                    <a:pt x="112" y="104"/>
                  </a:lnTo>
                  <a:lnTo>
                    <a:pt x="114" y="106"/>
                  </a:lnTo>
                  <a:lnTo>
                    <a:pt x="116" y="108"/>
                  </a:lnTo>
                  <a:lnTo>
                    <a:pt x="118" y="110"/>
                  </a:lnTo>
                  <a:lnTo>
                    <a:pt x="118" y="112"/>
                  </a:lnTo>
                  <a:lnTo>
                    <a:pt x="118" y="114"/>
                  </a:lnTo>
                  <a:lnTo>
                    <a:pt x="118" y="114"/>
                  </a:lnTo>
                  <a:lnTo>
                    <a:pt x="120" y="116"/>
                  </a:lnTo>
                  <a:lnTo>
                    <a:pt x="120" y="118"/>
                  </a:lnTo>
                  <a:lnTo>
                    <a:pt x="118" y="118"/>
                  </a:lnTo>
                  <a:lnTo>
                    <a:pt x="118" y="120"/>
                  </a:lnTo>
                  <a:lnTo>
                    <a:pt x="118" y="120"/>
                  </a:lnTo>
                  <a:lnTo>
                    <a:pt x="116" y="120"/>
                  </a:lnTo>
                  <a:lnTo>
                    <a:pt x="116" y="122"/>
                  </a:lnTo>
                  <a:lnTo>
                    <a:pt x="114" y="122"/>
                  </a:lnTo>
                  <a:lnTo>
                    <a:pt x="112" y="122"/>
                  </a:lnTo>
                  <a:lnTo>
                    <a:pt x="110" y="122"/>
                  </a:lnTo>
                  <a:lnTo>
                    <a:pt x="108" y="122"/>
                  </a:lnTo>
                  <a:lnTo>
                    <a:pt x="104" y="124"/>
                  </a:lnTo>
                  <a:lnTo>
                    <a:pt x="102" y="124"/>
                  </a:lnTo>
                  <a:lnTo>
                    <a:pt x="100" y="122"/>
                  </a:lnTo>
                  <a:lnTo>
                    <a:pt x="98" y="122"/>
                  </a:lnTo>
                  <a:lnTo>
                    <a:pt x="96" y="122"/>
                  </a:lnTo>
                  <a:lnTo>
                    <a:pt x="96" y="122"/>
                  </a:lnTo>
                  <a:lnTo>
                    <a:pt x="96" y="122"/>
                  </a:lnTo>
                  <a:lnTo>
                    <a:pt x="94" y="122"/>
                  </a:lnTo>
                  <a:lnTo>
                    <a:pt x="92" y="120"/>
                  </a:lnTo>
                  <a:lnTo>
                    <a:pt x="88" y="120"/>
                  </a:lnTo>
                  <a:lnTo>
                    <a:pt x="86" y="118"/>
                  </a:lnTo>
                  <a:lnTo>
                    <a:pt x="82" y="118"/>
                  </a:lnTo>
                  <a:lnTo>
                    <a:pt x="78" y="118"/>
                  </a:lnTo>
                  <a:lnTo>
                    <a:pt x="76" y="116"/>
                  </a:lnTo>
                  <a:lnTo>
                    <a:pt x="74" y="116"/>
                  </a:lnTo>
                  <a:lnTo>
                    <a:pt x="74" y="116"/>
                  </a:lnTo>
                  <a:lnTo>
                    <a:pt x="72" y="114"/>
                  </a:lnTo>
                  <a:lnTo>
                    <a:pt x="70" y="114"/>
                  </a:lnTo>
                  <a:lnTo>
                    <a:pt x="68" y="112"/>
                  </a:lnTo>
                  <a:lnTo>
                    <a:pt x="66" y="110"/>
                  </a:lnTo>
                  <a:lnTo>
                    <a:pt x="64" y="106"/>
                  </a:lnTo>
                  <a:lnTo>
                    <a:pt x="58" y="100"/>
                  </a:lnTo>
                  <a:lnTo>
                    <a:pt x="54" y="96"/>
                  </a:lnTo>
                  <a:lnTo>
                    <a:pt x="52" y="94"/>
                  </a:lnTo>
                  <a:lnTo>
                    <a:pt x="52" y="92"/>
                  </a:lnTo>
                  <a:lnTo>
                    <a:pt x="48" y="86"/>
                  </a:lnTo>
                  <a:lnTo>
                    <a:pt x="46" y="82"/>
                  </a:lnTo>
                  <a:lnTo>
                    <a:pt x="44" y="80"/>
                  </a:lnTo>
                  <a:lnTo>
                    <a:pt x="42" y="78"/>
                  </a:lnTo>
                  <a:lnTo>
                    <a:pt x="42" y="78"/>
                  </a:lnTo>
                  <a:lnTo>
                    <a:pt x="40" y="76"/>
                  </a:lnTo>
                  <a:lnTo>
                    <a:pt x="40" y="76"/>
                  </a:lnTo>
                  <a:lnTo>
                    <a:pt x="38" y="76"/>
                  </a:lnTo>
                  <a:lnTo>
                    <a:pt x="34" y="76"/>
                  </a:lnTo>
                  <a:lnTo>
                    <a:pt x="30" y="74"/>
                  </a:lnTo>
                  <a:lnTo>
                    <a:pt x="26" y="74"/>
                  </a:lnTo>
                  <a:lnTo>
                    <a:pt x="20" y="74"/>
                  </a:lnTo>
                  <a:lnTo>
                    <a:pt x="18" y="7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 name="Freeform 12">
              <a:extLst>
                <a:ext uri="{FF2B5EF4-FFF2-40B4-BE49-F238E27FC236}">
                  <a16:creationId xmlns:a16="http://schemas.microsoft.com/office/drawing/2014/main" id="{D3F6B4DD-DA32-419C-8DD9-F2248CDB3490}"/>
                </a:ext>
              </a:extLst>
            </p:cNvPr>
            <p:cNvSpPr>
              <a:spLocks/>
            </p:cNvSpPr>
            <p:nvPr/>
          </p:nvSpPr>
          <p:spPr bwMode="auto">
            <a:xfrm>
              <a:off x="8013958" y="4760528"/>
              <a:ext cx="72747" cy="55426"/>
            </a:xfrm>
            <a:custGeom>
              <a:avLst/>
              <a:gdLst>
                <a:gd name="T0" fmla="*/ 4 w 42"/>
                <a:gd name="T1" fmla="*/ 16 h 32"/>
                <a:gd name="T2" fmla="*/ 2 w 42"/>
                <a:gd name="T3" fmla="*/ 20 h 32"/>
                <a:gd name="T4" fmla="*/ 0 w 42"/>
                <a:gd name="T5" fmla="*/ 22 h 32"/>
                <a:gd name="T6" fmla="*/ 0 w 42"/>
                <a:gd name="T7" fmla="*/ 26 h 32"/>
                <a:gd name="T8" fmla="*/ 0 w 42"/>
                <a:gd name="T9" fmla="*/ 28 h 32"/>
                <a:gd name="T10" fmla="*/ 2 w 42"/>
                <a:gd name="T11" fmla="*/ 28 h 32"/>
                <a:gd name="T12" fmla="*/ 2 w 42"/>
                <a:gd name="T13" fmla="*/ 30 h 32"/>
                <a:gd name="T14" fmla="*/ 6 w 42"/>
                <a:gd name="T15" fmla="*/ 30 h 32"/>
                <a:gd name="T16" fmla="*/ 10 w 42"/>
                <a:gd name="T17" fmla="*/ 32 h 32"/>
                <a:gd name="T18" fmla="*/ 16 w 42"/>
                <a:gd name="T19" fmla="*/ 32 h 32"/>
                <a:gd name="T20" fmla="*/ 20 w 42"/>
                <a:gd name="T21" fmla="*/ 32 h 32"/>
                <a:gd name="T22" fmla="*/ 24 w 42"/>
                <a:gd name="T23" fmla="*/ 30 h 32"/>
                <a:gd name="T24" fmla="*/ 28 w 42"/>
                <a:gd name="T25" fmla="*/ 26 h 32"/>
                <a:gd name="T26" fmla="*/ 32 w 42"/>
                <a:gd name="T27" fmla="*/ 24 h 32"/>
                <a:gd name="T28" fmla="*/ 36 w 42"/>
                <a:gd name="T29" fmla="*/ 22 h 32"/>
                <a:gd name="T30" fmla="*/ 38 w 42"/>
                <a:gd name="T31" fmla="*/ 18 h 32"/>
                <a:gd name="T32" fmla="*/ 40 w 42"/>
                <a:gd name="T33" fmla="*/ 14 h 32"/>
                <a:gd name="T34" fmla="*/ 42 w 42"/>
                <a:gd name="T35" fmla="*/ 12 h 32"/>
                <a:gd name="T36" fmla="*/ 42 w 42"/>
                <a:gd name="T37" fmla="*/ 10 h 32"/>
                <a:gd name="T38" fmla="*/ 42 w 42"/>
                <a:gd name="T39" fmla="*/ 6 h 32"/>
                <a:gd name="T40" fmla="*/ 42 w 42"/>
                <a:gd name="T41" fmla="*/ 2 h 32"/>
                <a:gd name="T42" fmla="*/ 40 w 42"/>
                <a:gd name="T43" fmla="*/ 0 h 32"/>
                <a:gd name="T44" fmla="*/ 40 w 42"/>
                <a:gd name="T45" fmla="*/ 0 h 32"/>
                <a:gd name="T46" fmla="*/ 38 w 42"/>
                <a:gd name="T47" fmla="*/ 0 h 32"/>
                <a:gd name="T48" fmla="*/ 34 w 42"/>
                <a:gd name="T49" fmla="*/ 0 h 32"/>
                <a:gd name="T50" fmla="*/ 30 w 42"/>
                <a:gd name="T51" fmla="*/ 0 h 32"/>
                <a:gd name="T52" fmla="*/ 28 w 42"/>
                <a:gd name="T53" fmla="*/ 2 h 32"/>
                <a:gd name="T54" fmla="*/ 28 w 42"/>
                <a:gd name="T55" fmla="*/ 2 h 32"/>
                <a:gd name="T56" fmla="*/ 26 w 42"/>
                <a:gd name="T57" fmla="*/ 6 h 32"/>
                <a:gd name="T58" fmla="*/ 26 w 42"/>
                <a:gd name="T59" fmla="*/ 8 h 32"/>
                <a:gd name="T60" fmla="*/ 26 w 42"/>
                <a:gd name="T61" fmla="*/ 10 h 32"/>
                <a:gd name="T62" fmla="*/ 26 w 42"/>
                <a:gd name="T63" fmla="*/ 12 h 32"/>
                <a:gd name="T64" fmla="*/ 24 w 42"/>
                <a:gd name="T65" fmla="*/ 12 h 32"/>
                <a:gd name="T66" fmla="*/ 20 w 42"/>
                <a:gd name="T67" fmla="*/ 14 h 32"/>
                <a:gd name="T68" fmla="*/ 14 w 42"/>
                <a:gd name="T69" fmla="*/ 14 h 32"/>
                <a:gd name="T70" fmla="*/ 8 w 42"/>
                <a:gd name="T71" fmla="*/ 14 h 32"/>
                <a:gd name="T72" fmla="*/ 6 w 42"/>
                <a:gd name="T73" fmla="*/ 16 h 32"/>
                <a:gd name="T74" fmla="*/ 4 w 42"/>
                <a:gd name="T7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32">
                  <a:moveTo>
                    <a:pt x="4" y="16"/>
                  </a:moveTo>
                  <a:lnTo>
                    <a:pt x="4" y="16"/>
                  </a:lnTo>
                  <a:lnTo>
                    <a:pt x="2" y="18"/>
                  </a:lnTo>
                  <a:lnTo>
                    <a:pt x="2" y="20"/>
                  </a:lnTo>
                  <a:lnTo>
                    <a:pt x="2" y="20"/>
                  </a:lnTo>
                  <a:lnTo>
                    <a:pt x="0" y="22"/>
                  </a:lnTo>
                  <a:lnTo>
                    <a:pt x="0" y="24"/>
                  </a:lnTo>
                  <a:lnTo>
                    <a:pt x="0" y="26"/>
                  </a:lnTo>
                  <a:lnTo>
                    <a:pt x="0" y="26"/>
                  </a:lnTo>
                  <a:lnTo>
                    <a:pt x="0" y="28"/>
                  </a:lnTo>
                  <a:lnTo>
                    <a:pt x="0" y="28"/>
                  </a:lnTo>
                  <a:lnTo>
                    <a:pt x="2" y="28"/>
                  </a:lnTo>
                  <a:lnTo>
                    <a:pt x="2" y="30"/>
                  </a:lnTo>
                  <a:lnTo>
                    <a:pt x="2" y="30"/>
                  </a:lnTo>
                  <a:lnTo>
                    <a:pt x="4" y="30"/>
                  </a:lnTo>
                  <a:lnTo>
                    <a:pt x="6" y="30"/>
                  </a:lnTo>
                  <a:lnTo>
                    <a:pt x="8" y="32"/>
                  </a:lnTo>
                  <a:lnTo>
                    <a:pt x="10" y="32"/>
                  </a:lnTo>
                  <a:lnTo>
                    <a:pt x="14" y="32"/>
                  </a:lnTo>
                  <a:lnTo>
                    <a:pt x="16" y="32"/>
                  </a:lnTo>
                  <a:lnTo>
                    <a:pt x="18" y="32"/>
                  </a:lnTo>
                  <a:lnTo>
                    <a:pt x="20" y="32"/>
                  </a:lnTo>
                  <a:lnTo>
                    <a:pt x="22" y="30"/>
                  </a:lnTo>
                  <a:lnTo>
                    <a:pt x="24" y="30"/>
                  </a:lnTo>
                  <a:lnTo>
                    <a:pt x="26" y="28"/>
                  </a:lnTo>
                  <a:lnTo>
                    <a:pt x="28" y="26"/>
                  </a:lnTo>
                  <a:lnTo>
                    <a:pt x="30" y="26"/>
                  </a:lnTo>
                  <a:lnTo>
                    <a:pt x="32" y="24"/>
                  </a:lnTo>
                  <a:lnTo>
                    <a:pt x="34" y="22"/>
                  </a:lnTo>
                  <a:lnTo>
                    <a:pt x="36" y="22"/>
                  </a:lnTo>
                  <a:lnTo>
                    <a:pt x="36" y="20"/>
                  </a:lnTo>
                  <a:lnTo>
                    <a:pt x="38" y="18"/>
                  </a:lnTo>
                  <a:lnTo>
                    <a:pt x="40" y="16"/>
                  </a:lnTo>
                  <a:lnTo>
                    <a:pt x="40" y="14"/>
                  </a:lnTo>
                  <a:lnTo>
                    <a:pt x="42" y="14"/>
                  </a:lnTo>
                  <a:lnTo>
                    <a:pt x="42" y="12"/>
                  </a:lnTo>
                  <a:lnTo>
                    <a:pt x="42" y="10"/>
                  </a:lnTo>
                  <a:lnTo>
                    <a:pt x="42" y="10"/>
                  </a:lnTo>
                  <a:lnTo>
                    <a:pt x="42" y="8"/>
                  </a:lnTo>
                  <a:lnTo>
                    <a:pt x="42" y="6"/>
                  </a:lnTo>
                  <a:lnTo>
                    <a:pt x="42" y="4"/>
                  </a:lnTo>
                  <a:lnTo>
                    <a:pt x="42" y="2"/>
                  </a:lnTo>
                  <a:lnTo>
                    <a:pt x="42" y="2"/>
                  </a:lnTo>
                  <a:lnTo>
                    <a:pt x="40" y="0"/>
                  </a:lnTo>
                  <a:lnTo>
                    <a:pt x="40" y="0"/>
                  </a:lnTo>
                  <a:lnTo>
                    <a:pt x="40" y="0"/>
                  </a:lnTo>
                  <a:lnTo>
                    <a:pt x="40" y="0"/>
                  </a:lnTo>
                  <a:lnTo>
                    <a:pt x="38" y="0"/>
                  </a:lnTo>
                  <a:lnTo>
                    <a:pt x="36" y="0"/>
                  </a:lnTo>
                  <a:lnTo>
                    <a:pt x="34" y="0"/>
                  </a:lnTo>
                  <a:lnTo>
                    <a:pt x="32" y="0"/>
                  </a:lnTo>
                  <a:lnTo>
                    <a:pt x="30" y="0"/>
                  </a:lnTo>
                  <a:lnTo>
                    <a:pt x="28" y="0"/>
                  </a:lnTo>
                  <a:lnTo>
                    <a:pt x="28" y="2"/>
                  </a:lnTo>
                  <a:lnTo>
                    <a:pt x="28" y="2"/>
                  </a:lnTo>
                  <a:lnTo>
                    <a:pt x="28" y="2"/>
                  </a:lnTo>
                  <a:lnTo>
                    <a:pt x="26" y="4"/>
                  </a:lnTo>
                  <a:lnTo>
                    <a:pt x="26" y="6"/>
                  </a:lnTo>
                  <a:lnTo>
                    <a:pt x="26" y="6"/>
                  </a:lnTo>
                  <a:lnTo>
                    <a:pt x="26" y="8"/>
                  </a:lnTo>
                  <a:lnTo>
                    <a:pt x="26" y="10"/>
                  </a:lnTo>
                  <a:lnTo>
                    <a:pt x="26" y="10"/>
                  </a:lnTo>
                  <a:lnTo>
                    <a:pt x="26" y="12"/>
                  </a:lnTo>
                  <a:lnTo>
                    <a:pt x="26" y="12"/>
                  </a:lnTo>
                  <a:lnTo>
                    <a:pt x="24" y="12"/>
                  </a:lnTo>
                  <a:lnTo>
                    <a:pt x="24" y="12"/>
                  </a:lnTo>
                  <a:lnTo>
                    <a:pt x="22" y="14"/>
                  </a:lnTo>
                  <a:lnTo>
                    <a:pt x="20" y="14"/>
                  </a:lnTo>
                  <a:lnTo>
                    <a:pt x="18" y="14"/>
                  </a:lnTo>
                  <a:lnTo>
                    <a:pt x="14" y="14"/>
                  </a:lnTo>
                  <a:lnTo>
                    <a:pt x="10" y="14"/>
                  </a:lnTo>
                  <a:lnTo>
                    <a:pt x="8" y="14"/>
                  </a:lnTo>
                  <a:lnTo>
                    <a:pt x="6" y="16"/>
                  </a:lnTo>
                  <a:lnTo>
                    <a:pt x="6" y="16"/>
                  </a:lnTo>
                  <a:lnTo>
                    <a:pt x="4" y="16"/>
                  </a:lnTo>
                  <a:lnTo>
                    <a:pt x="4" y="1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 name="Freeform 13">
              <a:extLst>
                <a:ext uri="{FF2B5EF4-FFF2-40B4-BE49-F238E27FC236}">
                  <a16:creationId xmlns:a16="http://schemas.microsoft.com/office/drawing/2014/main" id="{0B64C863-EF87-421E-9E69-C3D40E31815A}"/>
                </a:ext>
              </a:extLst>
            </p:cNvPr>
            <p:cNvSpPr>
              <a:spLocks/>
            </p:cNvSpPr>
            <p:nvPr/>
          </p:nvSpPr>
          <p:spPr bwMode="auto">
            <a:xfrm>
              <a:off x="8013958" y="4760528"/>
              <a:ext cx="72747" cy="55426"/>
            </a:xfrm>
            <a:custGeom>
              <a:avLst/>
              <a:gdLst>
                <a:gd name="T0" fmla="*/ 4 w 42"/>
                <a:gd name="T1" fmla="*/ 16 h 32"/>
                <a:gd name="T2" fmla="*/ 2 w 42"/>
                <a:gd name="T3" fmla="*/ 20 h 32"/>
                <a:gd name="T4" fmla="*/ 0 w 42"/>
                <a:gd name="T5" fmla="*/ 22 h 32"/>
                <a:gd name="T6" fmla="*/ 0 w 42"/>
                <a:gd name="T7" fmla="*/ 26 h 32"/>
                <a:gd name="T8" fmla="*/ 0 w 42"/>
                <a:gd name="T9" fmla="*/ 28 h 32"/>
                <a:gd name="T10" fmla="*/ 2 w 42"/>
                <a:gd name="T11" fmla="*/ 28 h 32"/>
                <a:gd name="T12" fmla="*/ 2 w 42"/>
                <a:gd name="T13" fmla="*/ 30 h 32"/>
                <a:gd name="T14" fmla="*/ 6 w 42"/>
                <a:gd name="T15" fmla="*/ 30 h 32"/>
                <a:gd name="T16" fmla="*/ 10 w 42"/>
                <a:gd name="T17" fmla="*/ 32 h 32"/>
                <a:gd name="T18" fmla="*/ 16 w 42"/>
                <a:gd name="T19" fmla="*/ 32 h 32"/>
                <a:gd name="T20" fmla="*/ 20 w 42"/>
                <a:gd name="T21" fmla="*/ 32 h 32"/>
                <a:gd name="T22" fmla="*/ 24 w 42"/>
                <a:gd name="T23" fmla="*/ 30 h 32"/>
                <a:gd name="T24" fmla="*/ 28 w 42"/>
                <a:gd name="T25" fmla="*/ 26 h 32"/>
                <a:gd name="T26" fmla="*/ 32 w 42"/>
                <a:gd name="T27" fmla="*/ 24 h 32"/>
                <a:gd name="T28" fmla="*/ 36 w 42"/>
                <a:gd name="T29" fmla="*/ 22 h 32"/>
                <a:gd name="T30" fmla="*/ 38 w 42"/>
                <a:gd name="T31" fmla="*/ 18 h 32"/>
                <a:gd name="T32" fmla="*/ 40 w 42"/>
                <a:gd name="T33" fmla="*/ 14 h 32"/>
                <a:gd name="T34" fmla="*/ 42 w 42"/>
                <a:gd name="T35" fmla="*/ 12 h 32"/>
                <a:gd name="T36" fmla="*/ 42 w 42"/>
                <a:gd name="T37" fmla="*/ 10 h 32"/>
                <a:gd name="T38" fmla="*/ 42 w 42"/>
                <a:gd name="T39" fmla="*/ 6 h 32"/>
                <a:gd name="T40" fmla="*/ 42 w 42"/>
                <a:gd name="T41" fmla="*/ 2 h 32"/>
                <a:gd name="T42" fmla="*/ 40 w 42"/>
                <a:gd name="T43" fmla="*/ 0 h 32"/>
                <a:gd name="T44" fmla="*/ 40 w 42"/>
                <a:gd name="T45" fmla="*/ 0 h 32"/>
                <a:gd name="T46" fmla="*/ 38 w 42"/>
                <a:gd name="T47" fmla="*/ 0 h 32"/>
                <a:gd name="T48" fmla="*/ 34 w 42"/>
                <a:gd name="T49" fmla="*/ 0 h 32"/>
                <a:gd name="T50" fmla="*/ 30 w 42"/>
                <a:gd name="T51" fmla="*/ 0 h 32"/>
                <a:gd name="T52" fmla="*/ 28 w 42"/>
                <a:gd name="T53" fmla="*/ 2 h 32"/>
                <a:gd name="T54" fmla="*/ 28 w 42"/>
                <a:gd name="T55" fmla="*/ 2 h 32"/>
                <a:gd name="T56" fmla="*/ 26 w 42"/>
                <a:gd name="T57" fmla="*/ 6 h 32"/>
                <a:gd name="T58" fmla="*/ 26 w 42"/>
                <a:gd name="T59" fmla="*/ 8 h 32"/>
                <a:gd name="T60" fmla="*/ 26 w 42"/>
                <a:gd name="T61" fmla="*/ 10 h 32"/>
                <a:gd name="T62" fmla="*/ 26 w 42"/>
                <a:gd name="T63" fmla="*/ 12 h 32"/>
                <a:gd name="T64" fmla="*/ 24 w 42"/>
                <a:gd name="T65" fmla="*/ 12 h 32"/>
                <a:gd name="T66" fmla="*/ 20 w 42"/>
                <a:gd name="T67" fmla="*/ 14 h 32"/>
                <a:gd name="T68" fmla="*/ 14 w 42"/>
                <a:gd name="T69" fmla="*/ 14 h 32"/>
                <a:gd name="T70" fmla="*/ 8 w 42"/>
                <a:gd name="T71" fmla="*/ 14 h 32"/>
                <a:gd name="T72" fmla="*/ 6 w 42"/>
                <a:gd name="T73" fmla="*/ 16 h 32"/>
                <a:gd name="T74" fmla="*/ 4 w 42"/>
                <a:gd name="T7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32">
                  <a:moveTo>
                    <a:pt x="4" y="16"/>
                  </a:moveTo>
                  <a:lnTo>
                    <a:pt x="4" y="16"/>
                  </a:lnTo>
                  <a:lnTo>
                    <a:pt x="2" y="18"/>
                  </a:lnTo>
                  <a:lnTo>
                    <a:pt x="2" y="20"/>
                  </a:lnTo>
                  <a:lnTo>
                    <a:pt x="2" y="20"/>
                  </a:lnTo>
                  <a:lnTo>
                    <a:pt x="0" y="22"/>
                  </a:lnTo>
                  <a:lnTo>
                    <a:pt x="0" y="24"/>
                  </a:lnTo>
                  <a:lnTo>
                    <a:pt x="0" y="26"/>
                  </a:lnTo>
                  <a:lnTo>
                    <a:pt x="0" y="26"/>
                  </a:lnTo>
                  <a:lnTo>
                    <a:pt x="0" y="28"/>
                  </a:lnTo>
                  <a:lnTo>
                    <a:pt x="0" y="28"/>
                  </a:lnTo>
                  <a:lnTo>
                    <a:pt x="2" y="28"/>
                  </a:lnTo>
                  <a:lnTo>
                    <a:pt x="2" y="30"/>
                  </a:lnTo>
                  <a:lnTo>
                    <a:pt x="2" y="30"/>
                  </a:lnTo>
                  <a:lnTo>
                    <a:pt x="4" y="30"/>
                  </a:lnTo>
                  <a:lnTo>
                    <a:pt x="6" y="30"/>
                  </a:lnTo>
                  <a:lnTo>
                    <a:pt x="8" y="32"/>
                  </a:lnTo>
                  <a:lnTo>
                    <a:pt x="10" y="32"/>
                  </a:lnTo>
                  <a:lnTo>
                    <a:pt x="14" y="32"/>
                  </a:lnTo>
                  <a:lnTo>
                    <a:pt x="16" y="32"/>
                  </a:lnTo>
                  <a:lnTo>
                    <a:pt x="18" y="32"/>
                  </a:lnTo>
                  <a:lnTo>
                    <a:pt x="20" y="32"/>
                  </a:lnTo>
                  <a:lnTo>
                    <a:pt x="22" y="30"/>
                  </a:lnTo>
                  <a:lnTo>
                    <a:pt x="24" y="30"/>
                  </a:lnTo>
                  <a:lnTo>
                    <a:pt x="26" y="28"/>
                  </a:lnTo>
                  <a:lnTo>
                    <a:pt x="28" y="26"/>
                  </a:lnTo>
                  <a:lnTo>
                    <a:pt x="30" y="26"/>
                  </a:lnTo>
                  <a:lnTo>
                    <a:pt x="32" y="24"/>
                  </a:lnTo>
                  <a:lnTo>
                    <a:pt x="34" y="22"/>
                  </a:lnTo>
                  <a:lnTo>
                    <a:pt x="36" y="22"/>
                  </a:lnTo>
                  <a:lnTo>
                    <a:pt x="36" y="20"/>
                  </a:lnTo>
                  <a:lnTo>
                    <a:pt x="38" y="18"/>
                  </a:lnTo>
                  <a:lnTo>
                    <a:pt x="40" y="16"/>
                  </a:lnTo>
                  <a:lnTo>
                    <a:pt x="40" y="14"/>
                  </a:lnTo>
                  <a:lnTo>
                    <a:pt x="42" y="14"/>
                  </a:lnTo>
                  <a:lnTo>
                    <a:pt x="42" y="12"/>
                  </a:lnTo>
                  <a:lnTo>
                    <a:pt x="42" y="10"/>
                  </a:lnTo>
                  <a:lnTo>
                    <a:pt x="42" y="10"/>
                  </a:lnTo>
                  <a:lnTo>
                    <a:pt x="42" y="8"/>
                  </a:lnTo>
                  <a:lnTo>
                    <a:pt x="42" y="6"/>
                  </a:lnTo>
                  <a:lnTo>
                    <a:pt x="42" y="4"/>
                  </a:lnTo>
                  <a:lnTo>
                    <a:pt x="42" y="2"/>
                  </a:lnTo>
                  <a:lnTo>
                    <a:pt x="42" y="2"/>
                  </a:lnTo>
                  <a:lnTo>
                    <a:pt x="40" y="0"/>
                  </a:lnTo>
                  <a:lnTo>
                    <a:pt x="40" y="0"/>
                  </a:lnTo>
                  <a:lnTo>
                    <a:pt x="40" y="0"/>
                  </a:lnTo>
                  <a:lnTo>
                    <a:pt x="40" y="0"/>
                  </a:lnTo>
                  <a:lnTo>
                    <a:pt x="38" y="0"/>
                  </a:lnTo>
                  <a:lnTo>
                    <a:pt x="36" y="0"/>
                  </a:lnTo>
                  <a:lnTo>
                    <a:pt x="34" y="0"/>
                  </a:lnTo>
                  <a:lnTo>
                    <a:pt x="32" y="0"/>
                  </a:lnTo>
                  <a:lnTo>
                    <a:pt x="30" y="0"/>
                  </a:lnTo>
                  <a:lnTo>
                    <a:pt x="28" y="0"/>
                  </a:lnTo>
                  <a:lnTo>
                    <a:pt x="28" y="2"/>
                  </a:lnTo>
                  <a:lnTo>
                    <a:pt x="28" y="2"/>
                  </a:lnTo>
                  <a:lnTo>
                    <a:pt x="28" y="2"/>
                  </a:lnTo>
                  <a:lnTo>
                    <a:pt x="26" y="4"/>
                  </a:lnTo>
                  <a:lnTo>
                    <a:pt x="26" y="6"/>
                  </a:lnTo>
                  <a:lnTo>
                    <a:pt x="26" y="6"/>
                  </a:lnTo>
                  <a:lnTo>
                    <a:pt x="26" y="8"/>
                  </a:lnTo>
                  <a:lnTo>
                    <a:pt x="26" y="10"/>
                  </a:lnTo>
                  <a:lnTo>
                    <a:pt x="26" y="10"/>
                  </a:lnTo>
                  <a:lnTo>
                    <a:pt x="26" y="12"/>
                  </a:lnTo>
                  <a:lnTo>
                    <a:pt x="26" y="12"/>
                  </a:lnTo>
                  <a:lnTo>
                    <a:pt x="24" y="12"/>
                  </a:lnTo>
                  <a:lnTo>
                    <a:pt x="24" y="12"/>
                  </a:lnTo>
                  <a:lnTo>
                    <a:pt x="22" y="14"/>
                  </a:lnTo>
                  <a:lnTo>
                    <a:pt x="20" y="14"/>
                  </a:lnTo>
                  <a:lnTo>
                    <a:pt x="18" y="14"/>
                  </a:lnTo>
                  <a:lnTo>
                    <a:pt x="14" y="14"/>
                  </a:lnTo>
                  <a:lnTo>
                    <a:pt x="10" y="14"/>
                  </a:lnTo>
                  <a:lnTo>
                    <a:pt x="8" y="14"/>
                  </a:lnTo>
                  <a:lnTo>
                    <a:pt x="6" y="16"/>
                  </a:lnTo>
                  <a:lnTo>
                    <a:pt x="6" y="16"/>
                  </a:lnTo>
                  <a:lnTo>
                    <a:pt x="4" y="16"/>
                  </a:lnTo>
                  <a:lnTo>
                    <a:pt x="4" y="1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 name="Freeform 14">
              <a:extLst>
                <a:ext uri="{FF2B5EF4-FFF2-40B4-BE49-F238E27FC236}">
                  <a16:creationId xmlns:a16="http://schemas.microsoft.com/office/drawing/2014/main" id="{4E9F24CF-8FEE-4248-92DF-B5CE9BAEF946}"/>
                </a:ext>
              </a:extLst>
            </p:cNvPr>
            <p:cNvSpPr>
              <a:spLocks/>
            </p:cNvSpPr>
            <p:nvPr/>
          </p:nvSpPr>
          <p:spPr bwMode="auto">
            <a:xfrm>
              <a:off x="8131739" y="4781313"/>
              <a:ext cx="38106" cy="24249"/>
            </a:xfrm>
            <a:custGeom>
              <a:avLst/>
              <a:gdLst>
                <a:gd name="T0" fmla="*/ 10 w 22"/>
                <a:gd name="T1" fmla="*/ 14 h 14"/>
                <a:gd name="T2" fmla="*/ 10 w 22"/>
                <a:gd name="T3" fmla="*/ 14 h 14"/>
                <a:gd name="T4" fmla="*/ 12 w 22"/>
                <a:gd name="T5" fmla="*/ 12 h 14"/>
                <a:gd name="T6" fmla="*/ 14 w 22"/>
                <a:gd name="T7" fmla="*/ 12 h 14"/>
                <a:gd name="T8" fmla="*/ 16 w 22"/>
                <a:gd name="T9" fmla="*/ 12 h 14"/>
                <a:gd name="T10" fmla="*/ 18 w 22"/>
                <a:gd name="T11" fmla="*/ 12 h 14"/>
                <a:gd name="T12" fmla="*/ 20 w 22"/>
                <a:gd name="T13" fmla="*/ 10 h 14"/>
                <a:gd name="T14" fmla="*/ 20 w 22"/>
                <a:gd name="T15" fmla="*/ 10 h 14"/>
                <a:gd name="T16" fmla="*/ 20 w 22"/>
                <a:gd name="T17" fmla="*/ 8 h 14"/>
                <a:gd name="T18" fmla="*/ 22 w 22"/>
                <a:gd name="T19" fmla="*/ 8 h 14"/>
                <a:gd name="T20" fmla="*/ 22 w 22"/>
                <a:gd name="T21" fmla="*/ 8 h 14"/>
                <a:gd name="T22" fmla="*/ 22 w 22"/>
                <a:gd name="T23" fmla="*/ 6 h 14"/>
                <a:gd name="T24" fmla="*/ 22 w 22"/>
                <a:gd name="T25" fmla="*/ 6 h 14"/>
                <a:gd name="T26" fmla="*/ 22 w 22"/>
                <a:gd name="T27" fmla="*/ 6 h 14"/>
                <a:gd name="T28" fmla="*/ 20 w 22"/>
                <a:gd name="T29" fmla="*/ 4 h 14"/>
                <a:gd name="T30" fmla="*/ 20 w 22"/>
                <a:gd name="T31" fmla="*/ 4 h 14"/>
                <a:gd name="T32" fmla="*/ 20 w 22"/>
                <a:gd name="T33" fmla="*/ 2 h 14"/>
                <a:gd name="T34" fmla="*/ 18 w 22"/>
                <a:gd name="T35" fmla="*/ 2 h 14"/>
                <a:gd name="T36" fmla="*/ 16 w 22"/>
                <a:gd name="T37" fmla="*/ 0 h 14"/>
                <a:gd name="T38" fmla="*/ 14 w 22"/>
                <a:gd name="T39" fmla="*/ 0 h 14"/>
                <a:gd name="T40" fmla="*/ 12 w 22"/>
                <a:gd name="T41" fmla="*/ 0 h 14"/>
                <a:gd name="T42" fmla="*/ 10 w 22"/>
                <a:gd name="T43" fmla="*/ 0 h 14"/>
                <a:gd name="T44" fmla="*/ 8 w 22"/>
                <a:gd name="T45" fmla="*/ 0 h 14"/>
                <a:gd name="T46" fmla="*/ 6 w 22"/>
                <a:gd name="T47" fmla="*/ 0 h 14"/>
                <a:gd name="T48" fmla="*/ 4 w 22"/>
                <a:gd name="T49" fmla="*/ 0 h 14"/>
                <a:gd name="T50" fmla="*/ 2 w 22"/>
                <a:gd name="T51" fmla="*/ 2 h 14"/>
                <a:gd name="T52" fmla="*/ 2 w 22"/>
                <a:gd name="T53" fmla="*/ 2 h 14"/>
                <a:gd name="T54" fmla="*/ 0 w 22"/>
                <a:gd name="T55" fmla="*/ 4 h 14"/>
                <a:gd name="T56" fmla="*/ 0 w 22"/>
                <a:gd name="T57" fmla="*/ 4 h 14"/>
                <a:gd name="T58" fmla="*/ 0 w 22"/>
                <a:gd name="T59" fmla="*/ 6 h 14"/>
                <a:gd name="T60" fmla="*/ 0 w 22"/>
                <a:gd name="T61" fmla="*/ 6 h 14"/>
                <a:gd name="T62" fmla="*/ 0 w 22"/>
                <a:gd name="T63" fmla="*/ 6 h 14"/>
                <a:gd name="T64" fmla="*/ 0 w 22"/>
                <a:gd name="T65" fmla="*/ 8 h 14"/>
                <a:gd name="T66" fmla="*/ 0 w 22"/>
                <a:gd name="T67" fmla="*/ 8 h 14"/>
                <a:gd name="T68" fmla="*/ 0 w 22"/>
                <a:gd name="T69" fmla="*/ 8 h 14"/>
                <a:gd name="T70" fmla="*/ 0 w 22"/>
                <a:gd name="T71" fmla="*/ 10 h 14"/>
                <a:gd name="T72" fmla="*/ 2 w 22"/>
                <a:gd name="T73" fmla="*/ 10 h 14"/>
                <a:gd name="T74" fmla="*/ 2 w 22"/>
                <a:gd name="T75" fmla="*/ 12 h 14"/>
                <a:gd name="T76" fmla="*/ 4 w 22"/>
                <a:gd name="T77" fmla="*/ 12 h 14"/>
                <a:gd name="T78" fmla="*/ 6 w 22"/>
                <a:gd name="T79" fmla="*/ 12 h 14"/>
                <a:gd name="T80" fmla="*/ 8 w 22"/>
                <a:gd name="T81" fmla="*/ 12 h 14"/>
                <a:gd name="T82" fmla="*/ 10 w 22"/>
                <a:gd name="T8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 h="14">
                  <a:moveTo>
                    <a:pt x="10" y="14"/>
                  </a:moveTo>
                  <a:lnTo>
                    <a:pt x="10" y="14"/>
                  </a:lnTo>
                  <a:lnTo>
                    <a:pt x="12" y="12"/>
                  </a:lnTo>
                  <a:lnTo>
                    <a:pt x="14" y="12"/>
                  </a:lnTo>
                  <a:lnTo>
                    <a:pt x="16" y="12"/>
                  </a:lnTo>
                  <a:lnTo>
                    <a:pt x="18" y="12"/>
                  </a:lnTo>
                  <a:lnTo>
                    <a:pt x="20" y="10"/>
                  </a:lnTo>
                  <a:lnTo>
                    <a:pt x="20" y="10"/>
                  </a:lnTo>
                  <a:lnTo>
                    <a:pt x="20" y="8"/>
                  </a:lnTo>
                  <a:lnTo>
                    <a:pt x="22" y="8"/>
                  </a:lnTo>
                  <a:lnTo>
                    <a:pt x="22" y="8"/>
                  </a:lnTo>
                  <a:lnTo>
                    <a:pt x="22" y="6"/>
                  </a:lnTo>
                  <a:lnTo>
                    <a:pt x="22" y="6"/>
                  </a:lnTo>
                  <a:lnTo>
                    <a:pt x="22" y="6"/>
                  </a:lnTo>
                  <a:lnTo>
                    <a:pt x="20" y="4"/>
                  </a:lnTo>
                  <a:lnTo>
                    <a:pt x="20" y="4"/>
                  </a:lnTo>
                  <a:lnTo>
                    <a:pt x="20" y="2"/>
                  </a:lnTo>
                  <a:lnTo>
                    <a:pt x="18" y="2"/>
                  </a:lnTo>
                  <a:lnTo>
                    <a:pt x="16" y="0"/>
                  </a:lnTo>
                  <a:lnTo>
                    <a:pt x="14" y="0"/>
                  </a:lnTo>
                  <a:lnTo>
                    <a:pt x="12" y="0"/>
                  </a:lnTo>
                  <a:lnTo>
                    <a:pt x="10" y="0"/>
                  </a:lnTo>
                  <a:lnTo>
                    <a:pt x="8" y="0"/>
                  </a:lnTo>
                  <a:lnTo>
                    <a:pt x="6" y="0"/>
                  </a:lnTo>
                  <a:lnTo>
                    <a:pt x="4" y="0"/>
                  </a:lnTo>
                  <a:lnTo>
                    <a:pt x="2" y="2"/>
                  </a:lnTo>
                  <a:lnTo>
                    <a:pt x="2" y="2"/>
                  </a:lnTo>
                  <a:lnTo>
                    <a:pt x="0" y="4"/>
                  </a:lnTo>
                  <a:lnTo>
                    <a:pt x="0" y="4"/>
                  </a:lnTo>
                  <a:lnTo>
                    <a:pt x="0" y="6"/>
                  </a:lnTo>
                  <a:lnTo>
                    <a:pt x="0" y="6"/>
                  </a:lnTo>
                  <a:lnTo>
                    <a:pt x="0" y="6"/>
                  </a:lnTo>
                  <a:lnTo>
                    <a:pt x="0" y="8"/>
                  </a:lnTo>
                  <a:lnTo>
                    <a:pt x="0" y="8"/>
                  </a:lnTo>
                  <a:lnTo>
                    <a:pt x="0" y="8"/>
                  </a:lnTo>
                  <a:lnTo>
                    <a:pt x="0" y="10"/>
                  </a:lnTo>
                  <a:lnTo>
                    <a:pt x="2" y="10"/>
                  </a:lnTo>
                  <a:lnTo>
                    <a:pt x="2" y="12"/>
                  </a:lnTo>
                  <a:lnTo>
                    <a:pt x="4" y="12"/>
                  </a:lnTo>
                  <a:lnTo>
                    <a:pt x="6" y="12"/>
                  </a:lnTo>
                  <a:lnTo>
                    <a:pt x="8" y="12"/>
                  </a:lnTo>
                  <a:lnTo>
                    <a:pt x="10" y="1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 name="Freeform 15">
              <a:extLst>
                <a:ext uri="{FF2B5EF4-FFF2-40B4-BE49-F238E27FC236}">
                  <a16:creationId xmlns:a16="http://schemas.microsoft.com/office/drawing/2014/main" id="{FD2B2FF3-2D76-4861-A32B-B524C465CA67}"/>
                </a:ext>
              </a:extLst>
            </p:cNvPr>
            <p:cNvSpPr>
              <a:spLocks/>
            </p:cNvSpPr>
            <p:nvPr/>
          </p:nvSpPr>
          <p:spPr bwMode="auto">
            <a:xfrm>
              <a:off x="8131739" y="4781313"/>
              <a:ext cx="38106" cy="24249"/>
            </a:xfrm>
            <a:custGeom>
              <a:avLst/>
              <a:gdLst>
                <a:gd name="T0" fmla="*/ 10 w 22"/>
                <a:gd name="T1" fmla="*/ 14 h 14"/>
                <a:gd name="T2" fmla="*/ 10 w 22"/>
                <a:gd name="T3" fmla="*/ 14 h 14"/>
                <a:gd name="T4" fmla="*/ 12 w 22"/>
                <a:gd name="T5" fmla="*/ 12 h 14"/>
                <a:gd name="T6" fmla="*/ 14 w 22"/>
                <a:gd name="T7" fmla="*/ 12 h 14"/>
                <a:gd name="T8" fmla="*/ 16 w 22"/>
                <a:gd name="T9" fmla="*/ 12 h 14"/>
                <a:gd name="T10" fmla="*/ 18 w 22"/>
                <a:gd name="T11" fmla="*/ 12 h 14"/>
                <a:gd name="T12" fmla="*/ 20 w 22"/>
                <a:gd name="T13" fmla="*/ 10 h 14"/>
                <a:gd name="T14" fmla="*/ 20 w 22"/>
                <a:gd name="T15" fmla="*/ 10 h 14"/>
                <a:gd name="T16" fmla="*/ 20 w 22"/>
                <a:gd name="T17" fmla="*/ 8 h 14"/>
                <a:gd name="T18" fmla="*/ 22 w 22"/>
                <a:gd name="T19" fmla="*/ 8 h 14"/>
                <a:gd name="T20" fmla="*/ 22 w 22"/>
                <a:gd name="T21" fmla="*/ 8 h 14"/>
                <a:gd name="T22" fmla="*/ 22 w 22"/>
                <a:gd name="T23" fmla="*/ 6 h 14"/>
                <a:gd name="T24" fmla="*/ 22 w 22"/>
                <a:gd name="T25" fmla="*/ 6 h 14"/>
                <a:gd name="T26" fmla="*/ 22 w 22"/>
                <a:gd name="T27" fmla="*/ 6 h 14"/>
                <a:gd name="T28" fmla="*/ 20 w 22"/>
                <a:gd name="T29" fmla="*/ 4 h 14"/>
                <a:gd name="T30" fmla="*/ 20 w 22"/>
                <a:gd name="T31" fmla="*/ 4 h 14"/>
                <a:gd name="T32" fmla="*/ 20 w 22"/>
                <a:gd name="T33" fmla="*/ 2 h 14"/>
                <a:gd name="T34" fmla="*/ 18 w 22"/>
                <a:gd name="T35" fmla="*/ 2 h 14"/>
                <a:gd name="T36" fmla="*/ 16 w 22"/>
                <a:gd name="T37" fmla="*/ 0 h 14"/>
                <a:gd name="T38" fmla="*/ 14 w 22"/>
                <a:gd name="T39" fmla="*/ 0 h 14"/>
                <a:gd name="T40" fmla="*/ 12 w 22"/>
                <a:gd name="T41" fmla="*/ 0 h 14"/>
                <a:gd name="T42" fmla="*/ 10 w 22"/>
                <a:gd name="T43" fmla="*/ 0 h 14"/>
                <a:gd name="T44" fmla="*/ 8 w 22"/>
                <a:gd name="T45" fmla="*/ 0 h 14"/>
                <a:gd name="T46" fmla="*/ 6 w 22"/>
                <a:gd name="T47" fmla="*/ 0 h 14"/>
                <a:gd name="T48" fmla="*/ 4 w 22"/>
                <a:gd name="T49" fmla="*/ 0 h 14"/>
                <a:gd name="T50" fmla="*/ 2 w 22"/>
                <a:gd name="T51" fmla="*/ 2 h 14"/>
                <a:gd name="T52" fmla="*/ 2 w 22"/>
                <a:gd name="T53" fmla="*/ 2 h 14"/>
                <a:gd name="T54" fmla="*/ 0 w 22"/>
                <a:gd name="T55" fmla="*/ 4 h 14"/>
                <a:gd name="T56" fmla="*/ 0 w 22"/>
                <a:gd name="T57" fmla="*/ 4 h 14"/>
                <a:gd name="T58" fmla="*/ 0 w 22"/>
                <a:gd name="T59" fmla="*/ 6 h 14"/>
                <a:gd name="T60" fmla="*/ 0 w 22"/>
                <a:gd name="T61" fmla="*/ 6 h 14"/>
                <a:gd name="T62" fmla="*/ 0 w 22"/>
                <a:gd name="T63" fmla="*/ 6 h 14"/>
                <a:gd name="T64" fmla="*/ 0 w 22"/>
                <a:gd name="T65" fmla="*/ 8 h 14"/>
                <a:gd name="T66" fmla="*/ 0 w 22"/>
                <a:gd name="T67" fmla="*/ 8 h 14"/>
                <a:gd name="T68" fmla="*/ 0 w 22"/>
                <a:gd name="T69" fmla="*/ 8 h 14"/>
                <a:gd name="T70" fmla="*/ 0 w 22"/>
                <a:gd name="T71" fmla="*/ 10 h 14"/>
                <a:gd name="T72" fmla="*/ 2 w 22"/>
                <a:gd name="T73" fmla="*/ 10 h 14"/>
                <a:gd name="T74" fmla="*/ 2 w 22"/>
                <a:gd name="T75" fmla="*/ 12 h 14"/>
                <a:gd name="T76" fmla="*/ 4 w 22"/>
                <a:gd name="T77" fmla="*/ 12 h 14"/>
                <a:gd name="T78" fmla="*/ 6 w 22"/>
                <a:gd name="T79" fmla="*/ 12 h 14"/>
                <a:gd name="T80" fmla="*/ 8 w 22"/>
                <a:gd name="T81" fmla="*/ 12 h 14"/>
                <a:gd name="T82" fmla="*/ 10 w 22"/>
                <a:gd name="T8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 h="14">
                  <a:moveTo>
                    <a:pt x="10" y="14"/>
                  </a:moveTo>
                  <a:lnTo>
                    <a:pt x="10" y="14"/>
                  </a:lnTo>
                  <a:lnTo>
                    <a:pt x="12" y="12"/>
                  </a:lnTo>
                  <a:lnTo>
                    <a:pt x="14" y="12"/>
                  </a:lnTo>
                  <a:lnTo>
                    <a:pt x="16" y="12"/>
                  </a:lnTo>
                  <a:lnTo>
                    <a:pt x="18" y="12"/>
                  </a:lnTo>
                  <a:lnTo>
                    <a:pt x="20" y="10"/>
                  </a:lnTo>
                  <a:lnTo>
                    <a:pt x="20" y="10"/>
                  </a:lnTo>
                  <a:lnTo>
                    <a:pt x="20" y="8"/>
                  </a:lnTo>
                  <a:lnTo>
                    <a:pt x="22" y="8"/>
                  </a:lnTo>
                  <a:lnTo>
                    <a:pt x="22" y="8"/>
                  </a:lnTo>
                  <a:lnTo>
                    <a:pt x="22" y="6"/>
                  </a:lnTo>
                  <a:lnTo>
                    <a:pt x="22" y="6"/>
                  </a:lnTo>
                  <a:lnTo>
                    <a:pt x="22" y="6"/>
                  </a:lnTo>
                  <a:lnTo>
                    <a:pt x="20" y="4"/>
                  </a:lnTo>
                  <a:lnTo>
                    <a:pt x="20" y="4"/>
                  </a:lnTo>
                  <a:lnTo>
                    <a:pt x="20" y="2"/>
                  </a:lnTo>
                  <a:lnTo>
                    <a:pt x="18" y="2"/>
                  </a:lnTo>
                  <a:lnTo>
                    <a:pt x="16" y="0"/>
                  </a:lnTo>
                  <a:lnTo>
                    <a:pt x="14" y="0"/>
                  </a:lnTo>
                  <a:lnTo>
                    <a:pt x="12" y="0"/>
                  </a:lnTo>
                  <a:lnTo>
                    <a:pt x="10" y="0"/>
                  </a:lnTo>
                  <a:lnTo>
                    <a:pt x="8" y="0"/>
                  </a:lnTo>
                  <a:lnTo>
                    <a:pt x="6" y="0"/>
                  </a:lnTo>
                  <a:lnTo>
                    <a:pt x="4" y="0"/>
                  </a:lnTo>
                  <a:lnTo>
                    <a:pt x="2" y="2"/>
                  </a:lnTo>
                  <a:lnTo>
                    <a:pt x="2" y="2"/>
                  </a:lnTo>
                  <a:lnTo>
                    <a:pt x="0" y="4"/>
                  </a:lnTo>
                  <a:lnTo>
                    <a:pt x="0" y="4"/>
                  </a:lnTo>
                  <a:lnTo>
                    <a:pt x="0" y="6"/>
                  </a:lnTo>
                  <a:lnTo>
                    <a:pt x="0" y="6"/>
                  </a:lnTo>
                  <a:lnTo>
                    <a:pt x="0" y="6"/>
                  </a:lnTo>
                  <a:lnTo>
                    <a:pt x="0" y="8"/>
                  </a:lnTo>
                  <a:lnTo>
                    <a:pt x="0" y="8"/>
                  </a:lnTo>
                  <a:lnTo>
                    <a:pt x="0" y="8"/>
                  </a:lnTo>
                  <a:lnTo>
                    <a:pt x="0" y="10"/>
                  </a:lnTo>
                  <a:lnTo>
                    <a:pt x="2" y="10"/>
                  </a:lnTo>
                  <a:lnTo>
                    <a:pt x="2" y="12"/>
                  </a:lnTo>
                  <a:lnTo>
                    <a:pt x="4" y="12"/>
                  </a:lnTo>
                  <a:lnTo>
                    <a:pt x="6" y="12"/>
                  </a:lnTo>
                  <a:lnTo>
                    <a:pt x="8" y="12"/>
                  </a:lnTo>
                  <a:lnTo>
                    <a:pt x="10" y="1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 name="Freeform 16">
              <a:extLst>
                <a:ext uri="{FF2B5EF4-FFF2-40B4-BE49-F238E27FC236}">
                  <a16:creationId xmlns:a16="http://schemas.microsoft.com/office/drawing/2014/main" id="{699CFB73-B8F1-43AA-86D0-4D00912A74E5}"/>
                </a:ext>
              </a:extLst>
            </p:cNvPr>
            <p:cNvSpPr>
              <a:spLocks/>
            </p:cNvSpPr>
            <p:nvPr/>
          </p:nvSpPr>
          <p:spPr bwMode="auto">
            <a:xfrm>
              <a:off x="7064781" y="4940664"/>
              <a:ext cx="1004604" cy="855645"/>
            </a:xfrm>
            <a:custGeom>
              <a:avLst/>
              <a:gdLst>
                <a:gd name="T0" fmla="*/ 296 w 580"/>
                <a:gd name="T1" fmla="*/ 34 h 494"/>
                <a:gd name="T2" fmla="*/ 262 w 580"/>
                <a:gd name="T3" fmla="*/ 46 h 494"/>
                <a:gd name="T4" fmla="*/ 256 w 580"/>
                <a:gd name="T5" fmla="*/ 74 h 494"/>
                <a:gd name="T6" fmla="*/ 234 w 580"/>
                <a:gd name="T7" fmla="*/ 68 h 494"/>
                <a:gd name="T8" fmla="*/ 208 w 580"/>
                <a:gd name="T9" fmla="*/ 56 h 494"/>
                <a:gd name="T10" fmla="*/ 196 w 580"/>
                <a:gd name="T11" fmla="*/ 76 h 494"/>
                <a:gd name="T12" fmla="*/ 166 w 580"/>
                <a:gd name="T13" fmla="*/ 100 h 494"/>
                <a:gd name="T14" fmla="*/ 160 w 580"/>
                <a:gd name="T15" fmla="*/ 112 h 494"/>
                <a:gd name="T16" fmla="*/ 148 w 580"/>
                <a:gd name="T17" fmla="*/ 102 h 494"/>
                <a:gd name="T18" fmla="*/ 138 w 580"/>
                <a:gd name="T19" fmla="*/ 140 h 494"/>
                <a:gd name="T20" fmla="*/ 64 w 580"/>
                <a:gd name="T21" fmla="*/ 172 h 494"/>
                <a:gd name="T22" fmla="*/ 30 w 580"/>
                <a:gd name="T23" fmla="*/ 200 h 494"/>
                <a:gd name="T24" fmla="*/ 4 w 580"/>
                <a:gd name="T25" fmla="*/ 204 h 494"/>
                <a:gd name="T26" fmla="*/ 10 w 580"/>
                <a:gd name="T27" fmla="*/ 248 h 494"/>
                <a:gd name="T28" fmla="*/ 18 w 580"/>
                <a:gd name="T29" fmla="*/ 266 h 494"/>
                <a:gd name="T30" fmla="*/ 2 w 580"/>
                <a:gd name="T31" fmla="*/ 256 h 494"/>
                <a:gd name="T32" fmla="*/ 10 w 580"/>
                <a:gd name="T33" fmla="*/ 302 h 494"/>
                <a:gd name="T34" fmla="*/ 16 w 580"/>
                <a:gd name="T35" fmla="*/ 344 h 494"/>
                <a:gd name="T36" fmla="*/ 28 w 580"/>
                <a:gd name="T37" fmla="*/ 362 h 494"/>
                <a:gd name="T38" fmla="*/ 18 w 580"/>
                <a:gd name="T39" fmla="*/ 380 h 494"/>
                <a:gd name="T40" fmla="*/ 6 w 580"/>
                <a:gd name="T41" fmla="*/ 400 h 494"/>
                <a:gd name="T42" fmla="*/ 36 w 580"/>
                <a:gd name="T43" fmla="*/ 426 h 494"/>
                <a:gd name="T44" fmla="*/ 56 w 580"/>
                <a:gd name="T45" fmla="*/ 420 h 494"/>
                <a:gd name="T46" fmla="*/ 84 w 580"/>
                <a:gd name="T47" fmla="*/ 414 h 494"/>
                <a:gd name="T48" fmla="*/ 138 w 580"/>
                <a:gd name="T49" fmla="*/ 402 h 494"/>
                <a:gd name="T50" fmla="*/ 184 w 580"/>
                <a:gd name="T51" fmla="*/ 380 h 494"/>
                <a:gd name="T52" fmla="*/ 220 w 580"/>
                <a:gd name="T53" fmla="*/ 366 h 494"/>
                <a:gd name="T54" fmla="*/ 248 w 580"/>
                <a:gd name="T55" fmla="*/ 364 h 494"/>
                <a:gd name="T56" fmla="*/ 266 w 580"/>
                <a:gd name="T57" fmla="*/ 372 h 494"/>
                <a:gd name="T58" fmla="*/ 292 w 580"/>
                <a:gd name="T59" fmla="*/ 402 h 494"/>
                <a:gd name="T60" fmla="*/ 302 w 580"/>
                <a:gd name="T61" fmla="*/ 420 h 494"/>
                <a:gd name="T62" fmla="*/ 330 w 580"/>
                <a:gd name="T63" fmla="*/ 386 h 494"/>
                <a:gd name="T64" fmla="*/ 332 w 580"/>
                <a:gd name="T65" fmla="*/ 404 h 494"/>
                <a:gd name="T66" fmla="*/ 326 w 580"/>
                <a:gd name="T67" fmla="*/ 424 h 494"/>
                <a:gd name="T68" fmla="*/ 338 w 580"/>
                <a:gd name="T69" fmla="*/ 408 h 494"/>
                <a:gd name="T70" fmla="*/ 342 w 580"/>
                <a:gd name="T71" fmla="*/ 424 h 494"/>
                <a:gd name="T72" fmla="*/ 348 w 580"/>
                <a:gd name="T73" fmla="*/ 456 h 494"/>
                <a:gd name="T74" fmla="*/ 376 w 580"/>
                <a:gd name="T75" fmla="*/ 480 h 494"/>
                <a:gd name="T76" fmla="*/ 438 w 580"/>
                <a:gd name="T77" fmla="*/ 492 h 494"/>
                <a:gd name="T78" fmla="*/ 498 w 580"/>
                <a:gd name="T79" fmla="*/ 460 h 494"/>
                <a:gd name="T80" fmla="*/ 520 w 580"/>
                <a:gd name="T81" fmla="*/ 422 h 494"/>
                <a:gd name="T82" fmla="*/ 542 w 580"/>
                <a:gd name="T83" fmla="*/ 388 h 494"/>
                <a:gd name="T84" fmla="*/ 572 w 580"/>
                <a:gd name="T85" fmla="*/ 344 h 494"/>
                <a:gd name="T86" fmla="*/ 580 w 580"/>
                <a:gd name="T87" fmla="*/ 258 h 494"/>
                <a:gd name="T88" fmla="*/ 558 w 580"/>
                <a:gd name="T89" fmla="*/ 222 h 494"/>
                <a:gd name="T90" fmla="*/ 536 w 580"/>
                <a:gd name="T91" fmla="*/ 194 h 494"/>
                <a:gd name="T92" fmla="*/ 526 w 580"/>
                <a:gd name="T93" fmla="*/ 164 h 494"/>
                <a:gd name="T94" fmla="*/ 498 w 580"/>
                <a:gd name="T95" fmla="*/ 146 h 494"/>
                <a:gd name="T96" fmla="*/ 488 w 580"/>
                <a:gd name="T97" fmla="*/ 82 h 494"/>
                <a:gd name="T98" fmla="*/ 462 w 580"/>
                <a:gd name="T99" fmla="*/ 42 h 494"/>
                <a:gd name="T100" fmla="*/ 468 w 580"/>
                <a:gd name="T101" fmla="*/ 16 h 494"/>
                <a:gd name="T102" fmla="*/ 450 w 580"/>
                <a:gd name="T103" fmla="*/ 0 h 494"/>
                <a:gd name="T104" fmla="*/ 434 w 580"/>
                <a:gd name="T105" fmla="*/ 28 h 494"/>
                <a:gd name="T106" fmla="*/ 434 w 580"/>
                <a:gd name="T107" fmla="*/ 90 h 494"/>
                <a:gd name="T108" fmla="*/ 416 w 580"/>
                <a:gd name="T109" fmla="*/ 114 h 494"/>
                <a:gd name="T110" fmla="*/ 384 w 580"/>
                <a:gd name="T111" fmla="*/ 98 h 494"/>
                <a:gd name="T112" fmla="*/ 346 w 580"/>
                <a:gd name="T113" fmla="*/ 76 h 494"/>
                <a:gd name="T114" fmla="*/ 354 w 580"/>
                <a:gd name="T115" fmla="*/ 50 h 494"/>
                <a:gd name="T116" fmla="*/ 370 w 580"/>
                <a:gd name="T117" fmla="*/ 30 h 494"/>
                <a:gd name="T118" fmla="*/ 346 w 580"/>
                <a:gd name="T119" fmla="*/ 22 h 494"/>
                <a:gd name="T120" fmla="*/ 298 w 580"/>
                <a:gd name="T121" fmla="*/ 8 h 494"/>
                <a:gd name="T122" fmla="*/ 286 w 580"/>
                <a:gd name="T123" fmla="*/ 1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0" h="494">
                  <a:moveTo>
                    <a:pt x="296" y="20"/>
                  </a:moveTo>
                  <a:lnTo>
                    <a:pt x="296" y="20"/>
                  </a:lnTo>
                  <a:lnTo>
                    <a:pt x="296" y="20"/>
                  </a:lnTo>
                  <a:lnTo>
                    <a:pt x="298" y="22"/>
                  </a:lnTo>
                  <a:lnTo>
                    <a:pt x="298" y="24"/>
                  </a:lnTo>
                  <a:lnTo>
                    <a:pt x="300" y="26"/>
                  </a:lnTo>
                  <a:lnTo>
                    <a:pt x="300" y="28"/>
                  </a:lnTo>
                  <a:lnTo>
                    <a:pt x="300" y="30"/>
                  </a:lnTo>
                  <a:lnTo>
                    <a:pt x="300" y="30"/>
                  </a:lnTo>
                  <a:lnTo>
                    <a:pt x="300" y="30"/>
                  </a:lnTo>
                  <a:lnTo>
                    <a:pt x="300" y="32"/>
                  </a:lnTo>
                  <a:lnTo>
                    <a:pt x="300" y="32"/>
                  </a:lnTo>
                  <a:lnTo>
                    <a:pt x="300" y="32"/>
                  </a:lnTo>
                  <a:lnTo>
                    <a:pt x="298" y="32"/>
                  </a:lnTo>
                  <a:lnTo>
                    <a:pt x="298" y="34"/>
                  </a:lnTo>
                  <a:lnTo>
                    <a:pt x="296" y="34"/>
                  </a:lnTo>
                  <a:lnTo>
                    <a:pt x="294" y="34"/>
                  </a:lnTo>
                  <a:lnTo>
                    <a:pt x="292" y="34"/>
                  </a:lnTo>
                  <a:lnTo>
                    <a:pt x="290" y="34"/>
                  </a:lnTo>
                  <a:lnTo>
                    <a:pt x="286" y="34"/>
                  </a:lnTo>
                  <a:lnTo>
                    <a:pt x="282" y="34"/>
                  </a:lnTo>
                  <a:lnTo>
                    <a:pt x="278" y="34"/>
                  </a:lnTo>
                  <a:lnTo>
                    <a:pt x="276" y="34"/>
                  </a:lnTo>
                  <a:lnTo>
                    <a:pt x="274" y="34"/>
                  </a:lnTo>
                  <a:lnTo>
                    <a:pt x="274" y="36"/>
                  </a:lnTo>
                  <a:lnTo>
                    <a:pt x="272" y="36"/>
                  </a:lnTo>
                  <a:lnTo>
                    <a:pt x="270" y="36"/>
                  </a:lnTo>
                  <a:lnTo>
                    <a:pt x="268" y="38"/>
                  </a:lnTo>
                  <a:lnTo>
                    <a:pt x="268" y="40"/>
                  </a:lnTo>
                  <a:lnTo>
                    <a:pt x="266" y="42"/>
                  </a:lnTo>
                  <a:lnTo>
                    <a:pt x="264" y="44"/>
                  </a:lnTo>
                  <a:lnTo>
                    <a:pt x="262" y="46"/>
                  </a:lnTo>
                  <a:lnTo>
                    <a:pt x="262" y="48"/>
                  </a:lnTo>
                  <a:lnTo>
                    <a:pt x="260" y="50"/>
                  </a:lnTo>
                  <a:lnTo>
                    <a:pt x="260" y="50"/>
                  </a:lnTo>
                  <a:lnTo>
                    <a:pt x="260" y="52"/>
                  </a:lnTo>
                  <a:lnTo>
                    <a:pt x="260" y="54"/>
                  </a:lnTo>
                  <a:lnTo>
                    <a:pt x="260" y="56"/>
                  </a:lnTo>
                  <a:lnTo>
                    <a:pt x="260" y="58"/>
                  </a:lnTo>
                  <a:lnTo>
                    <a:pt x="260" y="60"/>
                  </a:lnTo>
                  <a:lnTo>
                    <a:pt x="260" y="62"/>
                  </a:lnTo>
                  <a:lnTo>
                    <a:pt x="258" y="66"/>
                  </a:lnTo>
                  <a:lnTo>
                    <a:pt x="258" y="68"/>
                  </a:lnTo>
                  <a:lnTo>
                    <a:pt x="258" y="70"/>
                  </a:lnTo>
                  <a:lnTo>
                    <a:pt x="258" y="72"/>
                  </a:lnTo>
                  <a:lnTo>
                    <a:pt x="258" y="72"/>
                  </a:lnTo>
                  <a:lnTo>
                    <a:pt x="256" y="74"/>
                  </a:lnTo>
                  <a:lnTo>
                    <a:pt x="256" y="74"/>
                  </a:lnTo>
                  <a:lnTo>
                    <a:pt x="256" y="74"/>
                  </a:lnTo>
                  <a:lnTo>
                    <a:pt x="254" y="76"/>
                  </a:lnTo>
                  <a:lnTo>
                    <a:pt x="250" y="76"/>
                  </a:lnTo>
                  <a:lnTo>
                    <a:pt x="248" y="78"/>
                  </a:lnTo>
                  <a:lnTo>
                    <a:pt x="246" y="78"/>
                  </a:lnTo>
                  <a:lnTo>
                    <a:pt x="244" y="78"/>
                  </a:lnTo>
                  <a:lnTo>
                    <a:pt x="242" y="78"/>
                  </a:lnTo>
                  <a:lnTo>
                    <a:pt x="240" y="78"/>
                  </a:lnTo>
                  <a:lnTo>
                    <a:pt x="240" y="78"/>
                  </a:lnTo>
                  <a:lnTo>
                    <a:pt x="240" y="78"/>
                  </a:lnTo>
                  <a:lnTo>
                    <a:pt x="238" y="76"/>
                  </a:lnTo>
                  <a:lnTo>
                    <a:pt x="238" y="76"/>
                  </a:lnTo>
                  <a:lnTo>
                    <a:pt x="236" y="74"/>
                  </a:lnTo>
                  <a:lnTo>
                    <a:pt x="236" y="74"/>
                  </a:lnTo>
                  <a:lnTo>
                    <a:pt x="236" y="72"/>
                  </a:lnTo>
                  <a:lnTo>
                    <a:pt x="234" y="68"/>
                  </a:lnTo>
                  <a:lnTo>
                    <a:pt x="234" y="66"/>
                  </a:lnTo>
                  <a:lnTo>
                    <a:pt x="232" y="64"/>
                  </a:lnTo>
                  <a:lnTo>
                    <a:pt x="232" y="62"/>
                  </a:lnTo>
                  <a:lnTo>
                    <a:pt x="228" y="58"/>
                  </a:lnTo>
                  <a:lnTo>
                    <a:pt x="228" y="58"/>
                  </a:lnTo>
                  <a:lnTo>
                    <a:pt x="226" y="56"/>
                  </a:lnTo>
                  <a:lnTo>
                    <a:pt x="226" y="56"/>
                  </a:lnTo>
                  <a:lnTo>
                    <a:pt x="224" y="54"/>
                  </a:lnTo>
                  <a:lnTo>
                    <a:pt x="224" y="54"/>
                  </a:lnTo>
                  <a:lnTo>
                    <a:pt x="222" y="54"/>
                  </a:lnTo>
                  <a:lnTo>
                    <a:pt x="222" y="54"/>
                  </a:lnTo>
                  <a:lnTo>
                    <a:pt x="220" y="54"/>
                  </a:lnTo>
                  <a:lnTo>
                    <a:pt x="218" y="54"/>
                  </a:lnTo>
                  <a:lnTo>
                    <a:pt x="216" y="54"/>
                  </a:lnTo>
                  <a:lnTo>
                    <a:pt x="212" y="54"/>
                  </a:lnTo>
                  <a:lnTo>
                    <a:pt x="208" y="56"/>
                  </a:lnTo>
                  <a:lnTo>
                    <a:pt x="206" y="56"/>
                  </a:lnTo>
                  <a:lnTo>
                    <a:pt x="204" y="58"/>
                  </a:lnTo>
                  <a:lnTo>
                    <a:pt x="204" y="58"/>
                  </a:lnTo>
                  <a:lnTo>
                    <a:pt x="202" y="58"/>
                  </a:lnTo>
                  <a:lnTo>
                    <a:pt x="202" y="60"/>
                  </a:lnTo>
                  <a:lnTo>
                    <a:pt x="200" y="60"/>
                  </a:lnTo>
                  <a:lnTo>
                    <a:pt x="200" y="60"/>
                  </a:lnTo>
                  <a:lnTo>
                    <a:pt x="200" y="62"/>
                  </a:lnTo>
                  <a:lnTo>
                    <a:pt x="200" y="64"/>
                  </a:lnTo>
                  <a:lnTo>
                    <a:pt x="200" y="66"/>
                  </a:lnTo>
                  <a:lnTo>
                    <a:pt x="198" y="70"/>
                  </a:lnTo>
                  <a:lnTo>
                    <a:pt x="198" y="72"/>
                  </a:lnTo>
                  <a:lnTo>
                    <a:pt x="198" y="72"/>
                  </a:lnTo>
                  <a:lnTo>
                    <a:pt x="198" y="74"/>
                  </a:lnTo>
                  <a:lnTo>
                    <a:pt x="196" y="74"/>
                  </a:lnTo>
                  <a:lnTo>
                    <a:pt x="196" y="76"/>
                  </a:lnTo>
                  <a:lnTo>
                    <a:pt x="194" y="78"/>
                  </a:lnTo>
                  <a:lnTo>
                    <a:pt x="192" y="78"/>
                  </a:lnTo>
                  <a:lnTo>
                    <a:pt x="188" y="82"/>
                  </a:lnTo>
                  <a:lnTo>
                    <a:pt x="186" y="84"/>
                  </a:lnTo>
                  <a:lnTo>
                    <a:pt x="184" y="84"/>
                  </a:lnTo>
                  <a:lnTo>
                    <a:pt x="184" y="84"/>
                  </a:lnTo>
                  <a:lnTo>
                    <a:pt x="180" y="86"/>
                  </a:lnTo>
                  <a:lnTo>
                    <a:pt x="176" y="88"/>
                  </a:lnTo>
                  <a:lnTo>
                    <a:pt x="174" y="90"/>
                  </a:lnTo>
                  <a:lnTo>
                    <a:pt x="174" y="90"/>
                  </a:lnTo>
                  <a:lnTo>
                    <a:pt x="172" y="90"/>
                  </a:lnTo>
                  <a:lnTo>
                    <a:pt x="172" y="92"/>
                  </a:lnTo>
                  <a:lnTo>
                    <a:pt x="170" y="96"/>
                  </a:lnTo>
                  <a:lnTo>
                    <a:pt x="168" y="96"/>
                  </a:lnTo>
                  <a:lnTo>
                    <a:pt x="168" y="98"/>
                  </a:lnTo>
                  <a:lnTo>
                    <a:pt x="166" y="100"/>
                  </a:lnTo>
                  <a:lnTo>
                    <a:pt x="166" y="102"/>
                  </a:lnTo>
                  <a:lnTo>
                    <a:pt x="166" y="102"/>
                  </a:lnTo>
                  <a:lnTo>
                    <a:pt x="166" y="104"/>
                  </a:lnTo>
                  <a:lnTo>
                    <a:pt x="166" y="106"/>
                  </a:lnTo>
                  <a:lnTo>
                    <a:pt x="166" y="108"/>
                  </a:lnTo>
                  <a:lnTo>
                    <a:pt x="166" y="110"/>
                  </a:lnTo>
                  <a:lnTo>
                    <a:pt x="166" y="112"/>
                  </a:lnTo>
                  <a:lnTo>
                    <a:pt x="166" y="112"/>
                  </a:lnTo>
                  <a:lnTo>
                    <a:pt x="166" y="112"/>
                  </a:lnTo>
                  <a:lnTo>
                    <a:pt x="166" y="112"/>
                  </a:lnTo>
                  <a:lnTo>
                    <a:pt x="164" y="114"/>
                  </a:lnTo>
                  <a:lnTo>
                    <a:pt x="164" y="114"/>
                  </a:lnTo>
                  <a:lnTo>
                    <a:pt x="162" y="114"/>
                  </a:lnTo>
                  <a:lnTo>
                    <a:pt x="162" y="114"/>
                  </a:lnTo>
                  <a:lnTo>
                    <a:pt x="160" y="112"/>
                  </a:lnTo>
                  <a:lnTo>
                    <a:pt x="160" y="112"/>
                  </a:lnTo>
                  <a:lnTo>
                    <a:pt x="158" y="112"/>
                  </a:lnTo>
                  <a:lnTo>
                    <a:pt x="158" y="112"/>
                  </a:lnTo>
                  <a:lnTo>
                    <a:pt x="158" y="112"/>
                  </a:lnTo>
                  <a:lnTo>
                    <a:pt x="156" y="110"/>
                  </a:lnTo>
                  <a:lnTo>
                    <a:pt x="156" y="108"/>
                  </a:lnTo>
                  <a:lnTo>
                    <a:pt x="154" y="106"/>
                  </a:lnTo>
                  <a:lnTo>
                    <a:pt x="154" y="104"/>
                  </a:lnTo>
                  <a:lnTo>
                    <a:pt x="154" y="102"/>
                  </a:lnTo>
                  <a:lnTo>
                    <a:pt x="152" y="102"/>
                  </a:lnTo>
                  <a:lnTo>
                    <a:pt x="152" y="102"/>
                  </a:lnTo>
                  <a:lnTo>
                    <a:pt x="152" y="102"/>
                  </a:lnTo>
                  <a:lnTo>
                    <a:pt x="150" y="102"/>
                  </a:lnTo>
                  <a:lnTo>
                    <a:pt x="150" y="102"/>
                  </a:lnTo>
                  <a:lnTo>
                    <a:pt x="150" y="102"/>
                  </a:lnTo>
                  <a:lnTo>
                    <a:pt x="150" y="102"/>
                  </a:lnTo>
                  <a:lnTo>
                    <a:pt x="148" y="102"/>
                  </a:lnTo>
                  <a:lnTo>
                    <a:pt x="148" y="104"/>
                  </a:lnTo>
                  <a:lnTo>
                    <a:pt x="148" y="104"/>
                  </a:lnTo>
                  <a:lnTo>
                    <a:pt x="148" y="106"/>
                  </a:lnTo>
                  <a:lnTo>
                    <a:pt x="148" y="108"/>
                  </a:lnTo>
                  <a:lnTo>
                    <a:pt x="148" y="112"/>
                  </a:lnTo>
                  <a:lnTo>
                    <a:pt x="148" y="116"/>
                  </a:lnTo>
                  <a:lnTo>
                    <a:pt x="148" y="120"/>
                  </a:lnTo>
                  <a:lnTo>
                    <a:pt x="148" y="122"/>
                  </a:lnTo>
                  <a:lnTo>
                    <a:pt x="148" y="124"/>
                  </a:lnTo>
                  <a:lnTo>
                    <a:pt x="148" y="126"/>
                  </a:lnTo>
                  <a:lnTo>
                    <a:pt x="148" y="126"/>
                  </a:lnTo>
                  <a:lnTo>
                    <a:pt x="146" y="128"/>
                  </a:lnTo>
                  <a:lnTo>
                    <a:pt x="146" y="130"/>
                  </a:lnTo>
                  <a:lnTo>
                    <a:pt x="144" y="134"/>
                  </a:lnTo>
                  <a:lnTo>
                    <a:pt x="140" y="136"/>
                  </a:lnTo>
                  <a:lnTo>
                    <a:pt x="138" y="140"/>
                  </a:lnTo>
                  <a:lnTo>
                    <a:pt x="134" y="144"/>
                  </a:lnTo>
                  <a:lnTo>
                    <a:pt x="132" y="148"/>
                  </a:lnTo>
                  <a:lnTo>
                    <a:pt x="128" y="150"/>
                  </a:lnTo>
                  <a:lnTo>
                    <a:pt x="126" y="152"/>
                  </a:lnTo>
                  <a:lnTo>
                    <a:pt x="124" y="154"/>
                  </a:lnTo>
                  <a:lnTo>
                    <a:pt x="122" y="156"/>
                  </a:lnTo>
                  <a:lnTo>
                    <a:pt x="118" y="156"/>
                  </a:lnTo>
                  <a:lnTo>
                    <a:pt x="116" y="158"/>
                  </a:lnTo>
                  <a:lnTo>
                    <a:pt x="110" y="160"/>
                  </a:lnTo>
                  <a:lnTo>
                    <a:pt x="106" y="162"/>
                  </a:lnTo>
                  <a:lnTo>
                    <a:pt x="104" y="162"/>
                  </a:lnTo>
                  <a:lnTo>
                    <a:pt x="100" y="164"/>
                  </a:lnTo>
                  <a:lnTo>
                    <a:pt x="94" y="164"/>
                  </a:lnTo>
                  <a:lnTo>
                    <a:pt x="80" y="168"/>
                  </a:lnTo>
                  <a:lnTo>
                    <a:pt x="72" y="170"/>
                  </a:lnTo>
                  <a:lnTo>
                    <a:pt x="64" y="172"/>
                  </a:lnTo>
                  <a:lnTo>
                    <a:pt x="62" y="172"/>
                  </a:lnTo>
                  <a:lnTo>
                    <a:pt x="58" y="174"/>
                  </a:lnTo>
                  <a:lnTo>
                    <a:pt x="56" y="176"/>
                  </a:lnTo>
                  <a:lnTo>
                    <a:pt x="54" y="176"/>
                  </a:lnTo>
                  <a:lnTo>
                    <a:pt x="52" y="178"/>
                  </a:lnTo>
                  <a:lnTo>
                    <a:pt x="52" y="178"/>
                  </a:lnTo>
                  <a:lnTo>
                    <a:pt x="50" y="180"/>
                  </a:lnTo>
                  <a:lnTo>
                    <a:pt x="48" y="182"/>
                  </a:lnTo>
                  <a:lnTo>
                    <a:pt x="46" y="184"/>
                  </a:lnTo>
                  <a:lnTo>
                    <a:pt x="42" y="188"/>
                  </a:lnTo>
                  <a:lnTo>
                    <a:pt x="40" y="192"/>
                  </a:lnTo>
                  <a:lnTo>
                    <a:pt x="36" y="194"/>
                  </a:lnTo>
                  <a:lnTo>
                    <a:pt x="36" y="196"/>
                  </a:lnTo>
                  <a:lnTo>
                    <a:pt x="34" y="198"/>
                  </a:lnTo>
                  <a:lnTo>
                    <a:pt x="32" y="198"/>
                  </a:lnTo>
                  <a:lnTo>
                    <a:pt x="30" y="200"/>
                  </a:lnTo>
                  <a:lnTo>
                    <a:pt x="30" y="200"/>
                  </a:lnTo>
                  <a:lnTo>
                    <a:pt x="28" y="200"/>
                  </a:lnTo>
                  <a:lnTo>
                    <a:pt x="26" y="200"/>
                  </a:lnTo>
                  <a:lnTo>
                    <a:pt x="26" y="200"/>
                  </a:lnTo>
                  <a:lnTo>
                    <a:pt x="22" y="200"/>
                  </a:lnTo>
                  <a:lnTo>
                    <a:pt x="18" y="200"/>
                  </a:lnTo>
                  <a:lnTo>
                    <a:pt x="14" y="200"/>
                  </a:lnTo>
                  <a:lnTo>
                    <a:pt x="12" y="200"/>
                  </a:lnTo>
                  <a:lnTo>
                    <a:pt x="10" y="200"/>
                  </a:lnTo>
                  <a:lnTo>
                    <a:pt x="10" y="200"/>
                  </a:lnTo>
                  <a:lnTo>
                    <a:pt x="8" y="200"/>
                  </a:lnTo>
                  <a:lnTo>
                    <a:pt x="6" y="200"/>
                  </a:lnTo>
                  <a:lnTo>
                    <a:pt x="6" y="202"/>
                  </a:lnTo>
                  <a:lnTo>
                    <a:pt x="6" y="202"/>
                  </a:lnTo>
                  <a:lnTo>
                    <a:pt x="4" y="204"/>
                  </a:lnTo>
                  <a:lnTo>
                    <a:pt x="4" y="204"/>
                  </a:lnTo>
                  <a:lnTo>
                    <a:pt x="4" y="206"/>
                  </a:lnTo>
                  <a:lnTo>
                    <a:pt x="2" y="208"/>
                  </a:lnTo>
                  <a:lnTo>
                    <a:pt x="2" y="212"/>
                  </a:lnTo>
                  <a:lnTo>
                    <a:pt x="2" y="214"/>
                  </a:lnTo>
                  <a:lnTo>
                    <a:pt x="2" y="218"/>
                  </a:lnTo>
                  <a:lnTo>
                    <a:pt x="2" y="222"/>
                  </a:lnTo>
                  <a:lnTo>
                    <a:pt x="2" y="224"/>
                  </a:lnTo>
                  <a:lnTo>
                    <a:pt x="4" y="228"/>
                  </a:lnTo>
                  <a:lnTo>
                    <a:pt x="4" y="232"/>
                  </a:lnTo>
                  <a:lnTo>
                    <a:pt x="4" y="234"/>
                  </a:lnTo>
                  <a:lnTo>
                    <a:pt x="6" y="238"/>
                  </a:lnTo>
                  <a:lnTo>
                    <a:pt x="6" y="242"/>
                  </a:lnTo>
                  <a:lnTo>
                    <a:pt x="8" y="244"/>
                  </a:lnTo>
                  <a:lnTo>
                    <a:pt x="8" y="246"/>
                  </a:lnTo>
                  <a:lnTo>
                    <a:pt x="10" y="248"/>
                  </a:lnTo>
                  <a:lnTo>
                    <a:pt x="10" y="248"/>
                  </a:lnTo>
                  <a:lnTo>
                    <a:pt x="10" y="250"/>
                  </a:lnTo>
                  <a:lnTo>
                    <a:pt x="12" y="250"/>
                  </a:lnTo>
                  <a:lnTo>
                    <a:pt x="14" y="252"/>
                  </a:lnTo>
                  <a:lnTo>
                    <a:pt x="14" y="252"/>
                  </a:lnTo>
                  <a:lnTo>
                    <a:pt x="16" y="252"/>
                  </a:lnTo>
                  <a:lnTo>
                    <a:pt x="18" y="254"/>
                  </a:lnTo>
                  <a:lnTo>
                    <a:pt x="20" y="254"/>
                  </a:lnTo>
                  <a:lnTo>
                    <a:pt x="20" y="256"/>
                  </a:lnTo>
                  <a:lnTo>
                    <a:pt x="20" y="256"/>
                  </a:lnTo>
                  <a:lnTo>
                    <a:pt x="20" y="256"/>
                  </a:lnTo>
                  <a:lnTo>
                    <a:pt x="20" y="258"/>
                  </a:lnTo>
                  <a:lnTo>
                    <a:pt x="20" y="260"/>
                  </a:lnTo>
                  <a:lnTo>
                    <a:pt x="20" y="262"/>
                  </a:lnTo>
                  <a:lnTo>
                    <a:pt x="20" y="264"/>
                  </a:lnTo>
                  <a:lnTo>
                    <a:pt x="18" y="264"/>
                  </a:lnTo>
                  <a:lnTo>
                    <a:pt x="18" y="266"/>
                  </a:lnTo>
                  <a:lnTo>
                    <a:pt x="18" y="266"/>
                  </a:lnTo>
                  <a:lnTo>
                    <a:pt x="18" y="266"/>
                  </a:lnTo>
                  <a:lnTo>
                    <a:pt x="16" y="266"/>
                  </a:lnTo>
                  <a:lnTo>
                    <a:pt x="16" y="266"/>
                  </a:lnTo>
                  <a:lnTo>
                    <a:pt x="14" y="266"/>
                  </a:lnTo>
                  <a:lnTo>
                    <a:pt x="14" y="264"/>
                  </a:lnTo>
                  <a:lnTo>
                    <a:pt x="12" y="262"/>
                  </a:lnTo>
                  <a:lnTo>
                    <a:pt x="10" y="260"/>
                  </a:lnTo>
                  <a:lnTo>
                    <a:pt x="8" y="258"/>
                  </a:lnTo>
                  <a:lnTo>
                    <a:pt x="6" y="258"/>
                  </a:lnTo>
                  <a:lnTo>
                    <a:pt x="6" y="256"/>
                  </a:lnTo>
                  <a:lnTo>
                    <a:pt x="4" y="256"/>
                  </a:lnTo>
                  <a:lnTo>
                    <a:pt x="4" y="256"/>
                  </a:lnTo>
                  <a:lnTo>
                    <a:pt x="2" y="256"/>
                  </a:lnTo>
                  <a:lnTo>
                    <a:pt x="2" y="256"/>
                  </a:lnTo>
                  <a:lnTo>
                    <a:pt x="2" y="256"/>
                  </a:lnTo>
                  <a:lnTo>
                    <a:pt x="2" y="256"/>
                  </a:lnTo>
                  <a:lnTo>
                    <a:pt x="0" y="258"/>
                  </a:lnTo>
                  <a:lnTo>
                    <a:pt x="0" y="258"/>
                  </a:lnTo>
                  <a:lnTo>
                    <a:pt x="0" y="260"/>
                  </a:lnTo>
                  <a:lnTo>
                    <a:pt x="0" y="262"/>
                  </a:lnTo>
                  <a:lnTo>
                    <a:pt x="0" y="266"/>
                  </a:lnTo>
                  <a:lnTo>
                    <a:pt x="0" y="268"/>
                  </a:lnTo>
                  <a:lnTo>
                    <a:pt x="0" y="270"/>
                  </a:lnTo>
                  <a:lnTo>
                    <a:pt x="2" y="274"/>
                  </a:lnTo>
                  <a:lnTo>
                    <a:pt x="2" y="278"/>
                  </a:lnTo>
                  <a:lnTo>
                    <a:pt x="2" y="280"/>
                  </a:lnTo>
                  <a:lnTo>
                    <a:pt x="4" y="284"/>
                  </a:lnTo>
                  <a:lnTo>
                    <a:pt x="6" y="292"/>
                  </a:lnTo>
                  <a:lnTo>
                    <a:pt x="8" y="298"/>
                  </a:lnTo>
                  <a:lnTo>
                    <a:pt x="10" y="300"/>
                  </a:lnTo>
                  <a:lnTo>
                    <a:pt x="10" y="302"/>
                  </a:lnTo>
                  <a:lnTo>
                    <a:pt x="14" y="306"/>
                  </a:lnTo>
                  <a:lnTo>
                    <a:pt x="14" y="308"/>
                  </a:lnTo>
                  <a:lnTo>
                    <a:pt x="16" y="310"/>
                  </a:lnTo>
                  <a:lnTo>
                    <a:pt x="16" y="312"/>
                  </a:lnTo>
                  <a:lnTo>
                    <a:pt x="18" y="314"/>
                  </a:lnTo>
                  <a:lnTo>
                    <a:pt x="18" y="316"/>
                  </a:lnTo>
                  <a:lnTo>
                    <a:pt x="18" y="318"/>
                  </a:lnTo>
                  <a:lnTo>
                    <a:pt x="18" y="320"/>
                  </a:lnTo>
                  <a:lnTo>
                    <a:pt x="18" y="324"/>
                  </a:lnTo>
                  <a:lnTo>
                    <a:pt x="18" y="328"/>
                  </a:lnTo>
                  <a:lnTo>
                    <a:pt x="18" y="332"/>
                  </a:lnTo>
                  <a:lnTo>
                    <a:pt x="18" y="334"/>
                  </a:lnTo>
                  <a:lnTo>
                    <a:pt x="18" y="336"/>
                  </a:lnTo>
                  <a:lnTo>
                    <a:pt x="16" y="340"/>
                  </a:lnTo>
                  <a:lnTo>
                    <a:pt x="16" y="342"/>
                  </a:lnTo>
                  <a:lnTo>
                    <a:pt x="16" y="344"/>
                  </a:lnTo>
                  <a:lnTo>
                    <a:pt x="16" y="346"/>
                  </a:lnTo>
                  <a:lnTo>
                    <a:pt x="16" y="346"/>
                  </a:lnTo>
                  <a:lnTo>
                    <a:pt x="18" y="346"/>
                  </a:lnTo>
                  <a:lnTo>
                    <a:pt x="18" y="348"/>
                  </a:lnTo>
                  <a:lnTo>
                    <a:pt x="18" y="348"/>
                  </a:lnTo>
                  <a:lnTo>
                    <a:pt x="20" y="348"/>
                  </a:lnTo>
                  <a:lnTo>
                    <a:pt x="24" y="350"/>
                  </a:lnTo>
                  <a:lnTo>
                    <a:pt x="24" y="350"/>
                  </a:lnTo>
                  <a:lnTo>
                    <a:pt x="24" y="350"/>
                  </a:lnTo>
                  <a:lnTo>
                    <a:pt x="26" y="352"/>
                  </a:lnTo>
                  <a:lnTo>
                    <a:pt x="26" y="352"/>
                  </a:lnTo>
                  <a:lnTo>
                    <a:pt x="26" y="354"/>
                  </a:lnTo>
                  <a:lnTo>
                    <a:pt x="28" y="356"/>
                  </a:lnTo>
                  <a:lnTo>
                    <a:pt x="28" y="358"/>
                  </a:lnTo>
                  <a:lnTo>
                    <a:pt x="28" y="360"/>
                  </a:lnTo>
                  <a:lnTo>
                    <a:pt x="28" y="362"/>
                  </a:lnTo>
                  <a:lnTo>
                    <a:pt x="28" y="364"/>
                  </a:lnTo>
                  <a:lnTo>
                    <a:pt x="28" y="368"/>
                  </a:lnTo>
                  <a:lnTo>
                    <a:pt x="28" y="370"/>
                  </a:lnTo>
                  <a:lnTo>
                    <a:pt x="28" y="372"/>
                  </a:lnTo>
                  <a:lnTo>
                    <a:pt x="28" y="374"/>
                  </a:lnTo>
                  <a:lnTo>
                    <a:pt x="28" y="374"/>
                  </a:lnTo>
                  <a:lnTo>
                    <a:pt x="28" y="376"/>
                  </a:lnTo>
                  <a:lnTo>
                    <a:pt x="26" y="378"/>
                  </a:lnTo>
                  <a:lnTo>
                    <a:pt x="26" y="380"/>
                  </a:lnTo>
                  <a:lnTo>
                    <a:pt x="26" y="380"/>
                  </a:lnTo>
                  <a:lnTo>
                    <a:pt x="26" y="380"/>
                  </a:lnTo>
                  <a:lnTo>
                    <a:pt x="24" y="380"/>
                  </a:lnTo>
                  <a:lnTo>
                    <a:pt x="24" y="380"/>
                  </a:lnTo>
                  <a:lnTo>
                    <a:pt x="22" y="380"/>
                  </a:lnTo>
                  <a:lnTo>
                    <a:pt x="20" y="380"/>
                  </a:lnTo>
                  <a:lnTo>
                    <a:pt x="18" y="380"/>
                  </a:lnTo>
                  <a:lnTo>
                    <a:pt x="18" y="380"/>
                  </a:lnTo>
                  <a:lnTo>
                    <a:pt x="18" y="380"/>
                  </a:lnTo>
                  <a:lnTo>
                    <a:pt x="16" y="380"/>
                  </a:lnTo>
                  <a:lnTo>
                    <a:pt x="16" y="382"/>
                  </a:lnTo>
                  <a:lnTo>
                    <a:pt x="16" y="382"/>
                  </a:lnTo>
                  <a:lnTo>
                    <a:pt x="14" y="384"/>
                  </a:lnTo>
                  <a:lnTo>
                    <a:pt x="14" y="386"/>
                  </a:lnTo>
                  <a:lnTo>
                    <a:pt x="14" y="390"/>
                  </a:lnTo>
                  <a:lnTo>
                    <a:pt x="12" y="390"/>
                  </a:lnTo>
                  <a:lnTo>
                    <a:pt x="12" y="392"/>
                  </a:lnTo>
                  <a:lnTo>
                    <a:pt x="12" y="392"/>
                  </a:lnTo>
                  <a:lnTo>
                    <a:pt x="10" y="394"/>
                  </a:lnTo>
                  <a:lnTo>
                    <a:pt x="8" y="396"/>
                  </a:lnTo>
                  <a:lnTo>
                    <a:pt x="8" y="398"/>
                  </a:lnTo>
                  <a:lnTo>
                    <a:pt x="6" y="398"/>
                  </a:lnTo>
                  <a:lnTo>
                    <a:pt x="6" y="400"/>
                  </a:lnTo>
                  <a:lnTo>
                    <a:pt x="6" y="400"/>
                  </a:lnTo>
                  <a:lnTo>
                    <a:pt x="6" y="400"/>
                  </a:lnTo>
                  <a:lnTo>
                    <a:pt x="6" y="402"/>
                  </a:lnTo>
                  <a:lnTo>
                    <a:pt x="6" y="402"/>
                  </a:lnTo>
                  <a:lnTo>
                    <a:pt x="8" y="404"/>
                  </a:lnTo>
                  <a:lnTo>
                    <a:pt x="8" y="406"/>
                  </a:lnTo>
                  <a:lnTo>
                    <a:pt x="10" y="408"/>
                  </a:lnTo>
                  <a:lnTo>
                    <a:pt x="12" y="410"/>
                  </a:lnTo>
                  <a:lnTo>
                    <a:pt x="14" y="412"/>
                  </a:lnTo>
                  <a:lnTo>
                    <a:pt x="16" y="414"/>
                  </a:lnTo>
                  <a:lnTo>
                    <a:pt x="18" y="416"/>
                  </a:lnTo>
                  <a:lnTo>
                    <a:pt x="20" y="418"/>
                  </a:lnTo>
                  <a:lnTo>
                    <a:pt x="22" y="420"/>
                  </a:lnTo>
                  <a:lnTo>
                    <a:pt x="28" y="422"/>
                  </a:lnTo>
                  <a:lnTo>
                    <a:pt x="32" y="426"/>
                  </a:lnTo>
                  <a:lnTo>
                    <a:pt x="36" y="426"/>
                  </a:lnTo>
                  <a:lnTo>
                    <a:pt x="38" y="428"/>
                  </a:lnTo>
                  <a:lnTo>
                    <a:pt x="40" y="428"/>
                  </a:lnTo>
                  <a:lnTo>
                    <a:pt x="42" y="430"/>
                  </a:lnTo>
                  <a:lnTo>
                    <a:pt x="44" y="430"/>
                  </a:lnTo>
                  <a:lnTo>
                    <a:pt x="46" y="430"/>
                  </a:lnTo>
                  <a:lnTo>
                    <a:pt x="48" y="430"/>
                  </a:lnTo>
                  <a:lnTo>
                    <a:pt x="48" y="430"/>
                  </a:lnTo>
                  <a:lnTo>
                    <a:pt x="48" y="430"/>
                  </a:lnTo>
                  <a:lnTo>
                    <a:pt x="50" y="428"/>
                  </a:lnTo>
                  <a:lnTo>
                    <a:pt x="50" y="428"/>
                  </a:lnTo>
                  <a:lnTo>
                    <a:pt x="50" y="428"/>
                  </a:lnTo>
                  <a:lnTo>
                    <a:pt x="52" y="426"/>
                  </a:lnTo>
                  <a:lnTo>
                    <a:pt x="52" y="424"/>
                  </a:lnTo>
                  <a:lnTo>
                    <a:pt x="54" y="422"/>
                  </a:lnTo>
                  <a:lnTo>
                    <a:pt x="54" y="420"/>
                  </a:lnTo>
                  <a:lnTo>
                    <a:pt x="56" y="420"/>
                  </a:lnTo>
                  <a:lnTo>
                    <a:pt x="56" y="416"/>
                  </a:lnTo>
                  <a:lnTo>
                    <a:pt x="58" y="414"/>
                  </a:lnTo>
                  <a:lnTo>
                    <a:pt x="58" y="414"/>
                  </a:lnTo>
                  <a:lnTo>
                    <a:pt x="60" y="412"/>
                  </a:lnTo>
                  <a:lnTo>
                    <a:pt x="60" y="412"/>
                  </a:lnTo>
                  <a:lnTo>
                    <a:pt x="60" y="412"/>
                  </a:lnTo>
                  <a:lnTo>
                    <a:pt x="62" y="412"/>
                  </a:lnTo>
                  <a:lnTo>
                    <a:pt x="62" y="412"/>
                  </a:lnTo>
                  <a:lnTo>
                    <a:pt x="64" y="412"/>
                  </a:lnTo>
                  <a:lnTo>
                    <a:pt x="66" y="412"/>
                  </a:lnTo>
                  <a:lnTo>
                    <a:pt x="68" y="412"/>
                  </a:lnTo>
                  <a:lnTo>
                    <a:pt x="72" y="412"/>
                  </a:lnTo>
                  <a:lnTo>
                    <a:pt x="78" y="414"/>
                  </a:lnTo>
                  <a:lnTo>
                    <a:pt x="82" y="414"/>
                  </a:lnTo>
                  <a:lnTo>
                    <a:pt x="82" y="414"/>
                  </a:lnTo>
                  <a:lnTo>
                    <a:pt x="84" y="414"/>
                  </a:lnTo>
                  <a:lnTo>
                    <a:pt x="90" y="414"/>
                  </a:lnTo>
                  <a:lnTo>
                    <a:pt x="96" y="414"/>
                  </a:lnTo>
                  <a:lnTo>
                    <a:pt x="102" y="414"/>
                  </a:lnTo>
                  <a:lnTo>
                    <a:pt x="110" y="412"/>
                  </a:lnTo>
                  <a:lnTo>
                    <a:pt x="114" y="412"/>
                  </a:lnTo>
                  <a:lnTo>
                    <a:pt x="118" y="412"/>
                  </a:lnTo>
                  <a:lnTo>
                    <a:pt x="120" y="412"/>
                  </a:lnTo>
                  <a:lnTo>
                    <a:pt x="124" y="410"/>
                  </a:lnTo>
                  <a:lnTo>
                    <a:pt x="126" y="410"/>
                  </a:lnTo>
                  <a:lnTo>
                    <a:pt x="130" y="410"/>
                  </a:lnTo>
                  <a:lnTo>
                    <a:pt x="132" y="408"/>
                  </a:lnTo>
                  <a:lnTo>
                    <a:pt x="134" y="406"/>
                  </a:lnTo>
                  <a:lnTo>
                    <a:pt x="136" y="406"/>
                  </a:lnTo>
                  <a:lnTo>
                    <a:pt x="136" y="406"/>
                  </a:lnTo>
                  <a:lnTo>
                    <a:pt x="138" y="404"/>
                  </a:lnTo>
                  <a:lnTo>
                    <a:pt x="138" y="402"/>
                  </a:lnTo>
                  <a:lnTo>
                    <a:pt x="140" y="400"/>
                  </a:lnTo>
                  <a:lnTo>
                    <a:pt x="142" y="396"/>
                  </a:lnTo>
                  <a:lnTo>
                    <a:pt x="144" y="394"/>
                  </a:lnTo>
                  <a:lnTo>
                    <a:pt x="144" y="392"/>
                  </a:lnTo>
                  <a:lnTo>
                    <a:pt x="148" y="390"/>
                  </a:lnTo>
                  <a:lnTo>
                    <a:pt x="152" y="386"/>
                  </a:lnTo>
                  <a:lnTo>
                    <a:pt x="154" y="386"/>
                  </a:lnTo>
                  <a:lnTo>
                    <a:pt x="156" y="384"/>
                  </a:lnTo>
                  <a:lnTo>
                    <a:pt x="158" y="382"/>
                  </a:lnTo>
                  <a:lnTo>
                    <a:pt x="160" y="382"/>
                  </a:lnTo>
                  <a:lnTo>
                    <a:pt x="162" y="382"/>
                  </a:lnTo>
                  <a:lnTo>
                    <a:pt x="164" y="380"/>
                  </a:lnTo>
                  <a:lnTo>
                    <a:pt x="168" y="380"/>
                  </a:lnTo>
                  <a:lnTo>
                    <a:pt x="170" y="380"/>
                  </a:lnTo>
                  <a:lnTo>
                    <a:pt x="176" y="380"/>
                  </a:lnTo>
                  <a:lnTo>
                    <a:pt x="184" y="380"/>
                  </a:lnTo>
                  <a:lnTo>
                    <a:pt x="190" y="380"/>
                  </a:lnTo>
                  <a:lnTo>
                    <a:pt x="194" y="380"/>
                  </a:lnTo>
                  <a:lnTo>
                    <a:pt x="196" y="380"/>
                  </a:lnTo>
                  <a:lnTo>
                    <a:pt x="198" y="378"/>
                  </a:lnTo>
                  <a:lnTo>
                    <a:pt x="202" y="378"/>
                  </a:lnTo>
                  <a:lnTo>
                    <a:pt x="204" y="378"/>
                  </a:lnTo>
                  <a:lnTo>
                    <a:pt x="206" y="376"/>
                  </a:lnTo>
                  <a:lnTo>
                    <a:pt x="208" y="376"/>
                  </a:lnTo>
                  <a:lnTo>
                    <a:pt x="208" y="374"/>
                  </a:lnTo>
                  <a:lnTo>
                    <a:pt x="210" y="372"/>
                  </a:lnTo>
                  <a:lnTo>
                    <a:pt x="212" y="370"/>
                  </a:lnTo>
                  <a:lnTo>
                    <a:pt x="214" y="368"/>
                  </a:lnTo>
                  <a:lnTo>
                    <a:pt x="216" y="368"/>
                  </a:lnTo>
                  <a:lnTo>
                    <a:pt x="216" y="368"/>
                  </a:lnTo>
                  <a:lnTo>
                    <a:pt x="216" y="368"/>
                  </a:lnTo>
                  <a:lnTo>
                    <a:pt x="220" y="366"/>
                  </a:lnTo>
                  <a:lnTo>
                    <a:pt x="222" y="366"/>
                  </a:lnTo>
                  <a:lnTo>
                    <a:pt x="224" y="366"/>
                  </a:lnTo>
                  <a:lnTo>
                    <a:pt x="230" y="366"/>
                  </a:lnTo>
                  <a:lnTo>
                    <a:pt x="232" y="366"/>
                  </a:lnTo>
                  <a:lnTo>
                    <a:pt x="234" y="366"/>
                  </a:lnTo>
                  <a:lnTo>
                    <a:pt x="236" y="366"/>
                  </a:lnTo>
                  <a:lnTo>
                    <a:pt x="236" y="366"/>
                  </a:lnTo>
                  <a:lnTo>
                    <a:pt x="240" y="364"/>
                  </a:lnTo>
                  <a:lnTo>
                    <a:pt x="242" y="364"/>
                  </a:lnTo>
                  <a:lnTo>
                    <a:pt x="244" y="364"/>
                  </a:lnTo>
                  <a:lnTo>
                    <a:pt x="244" y="364"/>
                  </a:lnTo>
                  <a:lnTo>
                    <a:pt x="246" y="364"/>
                  </a:lnTo>
                  <a:lnTo>
                    <a:pt x="246" y="364"/>
                  </a:lnTo>
                  <a:lnTo>
                    <a:pt x="246" y="364"/>
                  </a:lnTo>
                  <a:lnTo>
                    <a:pt x="246" y="364"/>
                  </a:lnTo>
                  <a:lnTo>
                    <a:pt x="248" y="364"/>
                  </a:lnTo>
                  <a:lnTo>
                    <a:pt x="248" y="366"/>
                  </a:lnTo>
                  <a:lnTo>
                    <a:pt x="248" y="366"/>
                  </a:lnTo>
                  <a:lnTo>
                    <a:pt x="248" y="368"/>
                  </a:lnTo>
                  <a:lnTo>
                    <a:pt x="248" y="370"/>
                  </a:lnTo>
                  <a:lnTo>
                    <a:pt x="248" y="370"/>
                  </a:lnTo>
                  <a:lnTo>
                    <a:pt x="248" y="372"/>
                  </a:lnTo>
                  <a:lnTo>
                    <a:pt x="248" y="372"/>
                  </a:lnTo>
                  <a:lnTo>
                    <a:pt x="248" y="372"/>
                  </a:lnTo>
                  <a:lnTo>
                    <a:pt x="250" y="372"/>
                  </a:lnTo>
                  <a:lnTo>
                    <a:pt x="252" y="372"/>
                  </a:lnTo>
                  <a:lnTo>
                    <a:pt x="252" y="374"/>
                  </a:lnTo>
                  <a:lnTo>
                    <a:pt x="256" y="374"/>
                  </a:lnTo>
                  <a:lnTo>
                    <a:pt x="258" y="372"/>
                  </a:lnTo>
                  <a:lnTo>
                    <a:pt x="262" y="372"/>
                  </a:lnTo>
                  <a:lnTo>
                    <a:pt x="264" y="372"/>
                  </a:lnTo>
                  <a:lnTo>
                    <a:pt x="266" y="372"/>
                  </a:lnTo>
                  <a:lnTo>
                    <a:pt x="268" y="372"/>
                  </a:lnTo>
                  <a:lnTo>
                    <a:pt x="268" y="372"/>
                  </a:lnTo>
                  <a:lnTo>
                    <a:pt x="270" y="372"/>
                  </a:lnTo>
                  <a:lnTo>
                    <a:pt x="270" y="374"/>
                  </a:lnTo>
                  <a:lnTo>
                    <a:pt x="272" y="374"/>
                  </a:lnTo>
                  <a:lnTo>
                    <a:pt x="274" y="376"/>
                  </a:lnTo>
                  <a:lnTo>
                    <a:pt x="276" y="378"/>
                  </a:lnTo>
                  <a:lnTo>
                    <a:pt x="278" y="382"/>
                  </a:lnTo>
                  <a:lnTo>
                    <a:pt x="280" y="384"/>
                  </a:lnTo>
                  <a:lnTo>
                    <a:pt x="284" y="388"/>
                  </a:lnTo>
                  <a:lnTo>
                    <a:pt x="288" y="392"/>
                  </a:lnTo>
                  <a:lnTo>
                    <a:pt x="288" y="396"/>
                  </a:lnTo>
                  <a:lnTo>
                    <a:pt x="290" y="398"/>
                  </a:lnTo>
                  <a:lnTo>
                    <a:pt x="292" y="400"/>
                  </a:lnTo>
                  <a:lnTo>
                    <a:pt x="292" y="402"/>
                  </a:lnTo>
                  <a:lnTo>
                    <a:pt x="292" y="402"/>
                  </a:lnTo>
                  <a:lnTo>
                    <a:pt x="292" y="404"/>
                  </a:lnTo>
                  <a:lnTo>
                    <a:pt x="292" y="406"/>
                  </a:lnTo>
                  <a:lnTo>
                    <a:pt x="292" y="412"/>
                  </a:lnTo>
                  <a:lnTo>
                    <a:pt x="292" y="414"/>
                  </a:lnTo>
                  <a:lnTo>
                    <a:pt x="292" y="418"/>
                  </a:lnTo>
                  <a:lnTo>
                    <a:pt x="292" y="418"/>
                  </a:lnTo>
                  <a:lnTo>
                    <a:pt x="292" y="420"/>
                  </a:lnTo>
                  <a:lnTo>
                    <a:pt x="292" y="420"/>
                  </a:lnTo>
                  <a:lnTo>
                    <a:pt x="294" y="420"/>
                  </a:lnTo>
                  <a:lnTo>
                    <a:pt x="294" y="420"/>
                  </a:lnTo>
                  <a:lnTo>
                    <a:pt x="294" y="422"/>
                  </a:lnTo>
                  <a:lnTo>
                    <a:pt x="296" y="422"/>
                  </a:lnTo>
                  <a:lnTo>
                    <a:pt x="296" y="422"/>
                  </a:lnTo>
                  <a:lnTo>
                    <a:pt x="298" y="420"/>
                  </a:lnTo>
                  <a:lnTo>
                    <a:pt x="300" y="420"/>
                  </a:lnTo>
                  <a:lnTo>
                    <a:pt x="302" y="420"/>
                  </a:lnTo>
                  <a:lnTo>
                    <a:pt x="304" y="418"/>
                  </a:lnTo>
                  <a:lnTo>
                    <a:pt x="304" y="418"/>
                  </a:lnTo>
                  <a:lnTo>
                    <a:pt x="308" y="416"/>
                  </a:lnTo>
                  <a:lnTo>
                    <a:pt x="310" y="414"/>
                  </a:lnTo>
                  <a:lnTo>
                    <a:pt x="314" y="412"/>
                  </a:lnTo>
                  <a:lnTo>
                    <a:pt x="316" y="410"/>
                  </a:lnTo>
                  <a:lnTo>
                    <a:pt x="320" y="406"/>
                  </a:lnTo>
                  <a:lnTo>
                    <a:pt x="322" y="402"/>
                  </a:lnTo>
                  <a:lnTo>
                    <a:pt x="324" y="400"/>
                  </a:lnTo>
                  <a:lnTo>
                    <a:pt x="326" y="398"/>
                  </a:lnTo>
                  <a:lnTo>
                    <a:pt x="326" y="398"/>
                  </a:lnTo>
                  <a:lnTo>
                    <a:pt x="326" y="396"/>
                  </a:lnTo>
                  <a:lnTo>
                    <a:pt x="328" y="390"/>
                  </a:lnTo>
                  <a:lnTo>
                    <a:pt x="330" y="388"/>
                  </a:lnTo>
                  <a:lnTo>
                    <a:pt x="330" y="386"/>
                  </a:lnTo>
                  <a:lnTo>
                    <a:pt x="330" y="386"/>
                  </a:lnTo>
                  <a:lnTo>
                    <a:pt x="332" y="386"/>
                  </a:lnTo>
                  <a:lnTo>
                    <a:pt x="332" y="384"/>
                  </a:lnTo>
                  <a:lnTo>
                    <a:pt x="332" y="384"/>
                  </a:lnTo>
                  <a:lnTo>
                    <a:pt x="334" y="384"/>
                  </a:lnTo>
                  <a:lnTo>
                    <a:pt x="334" y="384"/>
                  </a:lnTo>
                  <a:lnTo>
                    <a:pt x="334" y="384"/>
                  </a:lnTo>
                  <a:lnTo>
                    <a:pt x="334" y="386"/>
                  </a:lnTo>
                  <a:lnTo>
                    <a:pt x="336" y="386"/>
                  </a:lnTo>
                  <a:lnTo>
                    <a:pt x="336" y="388"/>
                  </a:lnTo>
                  <a:lnTo>
                    <a:pt x="336" y="390"/>
                  </a:lnTo>
                  <a:lnTo>
                    <a:pt x="336" y="392"/>
                  </a:lnTo>
                  <a:lnTo>
                    <a:pt x="336" y="394"/>
                  </a:lnTo>
                  <a:lnTo>
                    <a:pt x="334" y="396"/>
                  </a:lnTo>
                  <a:lnTo>
                    <a:pt x="334" y="398"/>
                  </a:lnTo>
                  <a:lnTo>
                    <a:pt x="334" y="400"/>
                  </a:lnTo>
                  <a:lnTo>
                    <a:pt x="332" y="404"/>
                  </a:lnTo>
                  <a:lnTo>
                    <a:pt x="332" y="408"/>
                  </a:lnTo>
                  <a:lnTo>
                    <a:pt x="330" y="410"/>
                  </a:lnTo>
                  <a:lnTo>
                    <a:pt x="328" y="412"/>
                  </a:lnTo>
                  <a:lnTo>
                    <a:pt x="328" y="414"/>
                  </a:lnTo>
                  <a:lnTo>
                    <a:pt x="324" y="416"/>
                  </a:lnTo>
                  <a:lnTo>
                    <a:pt x="322" y="418"/>
                  </a:lnTo>
                  <a:lnTo>
                    <a:pt x="322" y="420"/>
                  </a:lnTo>
                  <a:lnTo>
                    <a:pt x="322" y="420"/>
                  </a:lnTo>
                  <a:lnTo>
                    <a:pt x="320" y="420"/>
                  </a:lnTo>
                  <a:lnTo>
                    <a:pt x="320" y="422"/>
                  </a:lnTo>
                  <a:lnTo>
                    <a:pt x="320" y="422"/>
                  </a:lnTo>
                  <a:lnTo>
                    <a:pt x="322" y="422"/>
                  </a:lnTo>
                  <a:lnTo>
                    <a:pt x="322" y="422"/>
                  </a:lnTo>
                  <a:lnTo>
                    <a:pt x="322" y="424"/>
                  </a:lnTo>
                  <a:lnTo>
                    <a:pt x="324" y="424"/>
                  </a:lnTo>
                  <a:lnTo>
                    <a:pt x="326" y="424"/>
                  </a:lnTo>
                  <a:lnTo>
                    <a:pt x="328" y="424"/>
                  </a:lnTo>
                  <a:lnTo>
                    <a:pt x="328" y="424"/>
                  </a:lnTo>
                  <a:lnTo>
                    <a:pt x="330" y="424"/>
                  </a:lnTo>
                  <a:lnTo>
                    <a:pt x="332" y="424"/>
                  </a:lnTo>
                  <a:lnTo>
                    <a:pt x="332" y="424"/>
                  </a:lnTo>
                  <a:lnTo>
                    <a:pt x="332" y="424"/>
                  </a:lnTo>
                  <a:lnTo>
                    <a:pt x="332" y="422"/>
                  </a:lnTo>
                  <a:lnTo>
                    <a:pt x="332" y="422"/>
                  </a:lnTo>
                  <a:lnTo>
                    <a:pt x="334" y="420"/>
                  </a:lnTo>
                  <a:lnTo>
                    <a:pt x="334" y="416"/>
                  </a:lnTo>
                  <a:lnTo>
                    <a:pt x="334" y="416"/>
                  </a:lnTo>
                  <a:lnTo>
                    <a:pt x="334" y="414"/>
                  </a:lnTo>
                  <a:lnTo>
                    <a:pt x="336" y="412"/>
                  </a:lnTo>
                  <a:lnTo>
                    <a:pt x="338" y="410"/>
                  </a:lnTo>
                  <a:lnTo>
                    <a:pt x="338" y="410"/>
                  </a:lnTo>
                  <a:lnTo>
                    <a:pt x="338" y="408"/>
                  </a:lnTo>
                  <a:lnTo>
                    <a:pt x="340" y="408"/>
                  </a:lnTo>
                  <a:lnTo>
                    <a:pt x="340" y="408"/>
                  </a:lnTo>
                  <a:lnTo>
                    <a:pt x="340" y="408"/>
                  </a:lnTo>
                  <a:lnTo>
                    <a:pt x="340" y="408"/>
                  </a:lnTo>
                  <a:lnTo>
                    <a:pt x="340" y="408"/>
                  </a:lnTo>
                  <a:lnTo>
                    <a:pt x="340" y="410"/>
                  </a:lnTo>
                  <a:lnTo>
                    <a:pt x="340" y="410"/>
                  </a:lnTo>
                  <a:lnTo>
                    <a:pt x="340" y="410"/>
                  </a:lnTo>
                  <a:lnTo>
                    <a:pt x="340" y="412"/>
                  </a:lnTo>
                  <a:lnTo>
                    <a:pt x="340" y="414"/>
                  </a:lnTo>
                  <a:lnTo>
                    <a:pt x="340" y="414"/>
                  </a:lnTo>
                  <a:lnTo>
                    <a:pt x="340" y="416"/>
                  </a:lnTo>
                  <a:lnTo>
                    <a:pt x="340" y="420"/>
                  </a:lnTo>
                  <a:lnTo>
                    <a:pt x="342" y="422"/>
                  </a:lnTo>
                  <a:lnTo>
                    <a:pt x="342" y="424"/>
                  </a:lnTo>
                  <a:lnTo>
                    <a:pt x="342" y="424"/>
                  </a:lnTo>
                  <a:lnTo>
                    <a:pt x="344" y="426"/>
                  </a:lnTo>
                  <a:lnTo>
                    <a:pt x="344" y="426"/>
                  </a:lnTo>
                  <a:lnTo>
                    <a:pt x="346" y="428"/>
                  </a:lnTo>
                  <a:lnTo>
                    <a:pt x="350" y="432"/>
                  </a:lnTo>
                  <a:lnTo>
                    <a:pt x="350" y="432"/>
                  </a:lnTo>
                  <a:lnTo>
                    <a:pt x="352" y="434"/>
                  </a:lnTo>
                  <a:lnTo>
                    <a:pt x="352" y="434"/>
                  </a:lnTo>
                  <a:lnTo>
                    <a:pt x="352" y="436"/>
                  </a:lnTo>
                  <a:lnTo>
                    <a:pt x="352" y="438"/>
                  </a:lnTo>
                  <a:lnTo>
                    <a:pt x="352" y="442"/>
                  </a:lnTo>
                  <a:lnTo>
                    <a:pt x="352" y="444"/>
                  </a:lnTo>
                  <a:lnTo>
                    <a:pt x="352" y="446"/>
                  </a:lnTo>
                  <a:lnTo>
                    <a:pt x="352" y="448"/>
                  </a:lnTo>
                  <a:lnTo>
                    <a:pt x="350" y="452"/>
                  </a:lnTo>
                  <a:lnTo>
                    <a:pt x="348" y="454"/>
                  </a:lnTo>
                  <a:lnTo>
                    <a:pt x="348" y="456"/>
                  </a:lnTo>
                  <a:lnTo>
                    <a:pt x="348" y="458"/>
                  </a:lnTo>
                  <a:lnTo>
                    <a:pt x="348" y="458"/>
                  </a:lnTo>
                  <a:lnTo>
                    <a:pt x="348" y="460"/>
                  </a:lnTo>
                  <a:lnTo>
                    <a:pt x="348" y="460"/>
                  </a:lnTo>
                  <a:lnTo>
                    <a:pt x="348" y="462"/>
                  </a:lnTo>
                  <a:lnTo>
                    <a:pt x="348" y="462"/>
                  </a:lnTo>
                  <a:lnTo>
                    <a:pt x="350" y="464"/>
                  </a:lnTo>
                  <a:lnTo>
                    <a:pt x="352" y="466"/>
                  </a:lnTo>
                  <a:lnTo>
                    <a:pt x="354" y="468"/>
                  </a:lnTo>
                  <a:lnTo>
                    <a:pt x="356" y="470"/>
                  </a:lnTo>
                  <a:lnTo>
                    <a:pt x="358" y="470"/>
                  </a:lnTo>
                  <a:lnTo>
                    <a:pt x="362" y="474"/>
                  </a:lnTo>
                  <a:lnTo>
                    <a:pt x="364" y="476"/>
                  </a:lnTo>
                  <a:lnTo>
                    <a:pt x="368" y="478"/>
                  </a:lnTo>
                  <a:lnTo>
                    <a:pt x="372" y="478"/>
                  </a:lnTo>
                  <a:lnTo>
                    <a:pt x="376" y="480"/>
                  </a:lnTo>
                  <a:lnTo>
                    <a:pt x="382" y="482"/>
                  </a:lnTo>
                  <a:lnTo>
                    <a:pt x="386" y="484"/>
                  </a:lnTo>
                  <a:lnTo>
                    <a:pt x="392" y="486"/>
                  </a:lnTo>
                  <a:lnTo>
                    <a:pt x="402" y="488"/>
                  </a:lnTo>
                  <a:lnTo>
                    <a:pt x="406" y="490"/>
                  </a:lnTo>
                  <a:lnTo>
                    <a:pt x="410" y="492"/>
                  </a:lnTo>
                  <a:lnTo>
                    <a:pt x="416" y="492"/>
                  </a:lnTo>
                  <a:lnTo>
                    <a:pt x="422" y="494"/>
                  </a:lnTo>
                  <a:lnTo>
                    <a:pt x="424" y="494"/>
                  </a:lnTo>
                  <a:lnTo>
                    <a:pt x="426" y="494"/>
                  </a:lnTo>
                  <a:lnTo>
                    <a:pt x="428" y="494"/>
                  </a:lnTo>
                  <a:lnTo>
                    <a:pt x="430" y="494"/>
                  </a:lnTo>
                  <a:lnTo>
                    <a:pt x="430" y="494"/>
                  </a:lnTo>
                  <a:lnTo>
                    <a:pt x="432" y="494"/>
                  </a:lnTo>
                  <a:lnTo>
                    <a:pt x="436" y="492"/>
                  </a:lnTo>
                  <a:lnTo>
                    <a:pt x="438" y="492"/>
                  </a:lnTo>
                  <a:lnTo>
                    <a:pt x="442" y="490"/>
                  </a:lnTo>
                  <a:lnTo>
                    <a:pt x="448" y="486"/>
                  </a:lnTo>
                  <a:lnTo>
                    <a:pt x="454" y="484"/>
                  </a:lnTo>
                  <a:lnTo>
                    <a:pt x="460" y="482"/>
                  </a:lnTo>
                  <a:lnTo>
                    <a:pt x="464" y="480"/>
                  </a:lnTo>
                  <a:lnTo>
                    <a:pt x="470" y="478"/>
                  </a:lnTo>
                  <a:lnTo>
                    <a:pt x="476" y="476"/>
                  </a:lnTo>
                  <a:lnTo>
                    <a:pt x="482" y="472"/>
                  </a:lnTo>
                  <a:lnTo>
                    <a:pt x="486" y="472"/>
                  </a:lnTo>
                  <a:lnTo>
                    <a:pt x="488" y="470"/>
                  </a:lnTo>
                  <a:lnTo>
                    <a:pt x="490" y="468"/>
                  </a:lnTo>
                  <a:lnTo>
                    <a:pt x="492" y="466"/>
                  </a:lnTo>
                  <a:lnTo>
                    <a:pt x="494" y="466"/>
                  </a:lnTo>
                  <a:lnTo>
                    <a:pt x="496" y="464"/>
                  </a:lnTo>
                  <a:lnTo>
                    <a:pt x="498" y="462"/>
                  </a:lnTo>
                  <a:lnTo>
                    <a:pt x="498" y="460"/>
                  </a:lnTo>
                  <a:lnTo>
                    <a:pt x="500" y="458"/>
                  </a:lnTo>
                  <a:lnTo>
                    <a:pt x="500" y="456"/>
                  </a:lnTo>
                  <a:lnTo>
                    <a:pt x="500" y="452"/>
                  </a:lnTo>
                  <a:lnTo>
                    <a:pt x="502" y="448"/>
                  </a:lnTo>
                  <a:lnTo>
                    <a:pt x="504" y="444"/>
                  </a:lnTo>
                  <a:lnTo>
                    <a:pt x="504" y="438"/>
                  </a:lnTo>
                  <a:lnTo>
                    <a:pt x="506" y="436"/>
                  </a:lnTo>
                  <a:lnTo>
                    <a:pt x="506" y="436"/>
                  </a:lnTo>
                  <a:lnTo>
                    <a:pt x="506" y="434"/>
                  </a:lnTo>
                  <a:lnTo>
                    <a:pt x="508" y="432"/>
                  </a:lnTo>
                  <a:lnTo>
                    <a:pt x="508" y="432"/>
                  </a:lnTo>
                  <a:lnTo>
                    <a:pt x="510" y="430"/>
                  </a:lnTo>
                  <a:lnTo>
                    <a:pt x="512" y="428"/>
                  </a:lnTo>
                  <a:lnTo>
                    <a:pt x="514" y="426"/>
                  </a:lnTo>
                  <a:lnTo>
                    <a:pt x="516" y="424"/>
                  </a:lnTo>
                  <a:lnTo>
                    <a:pt x="520" y="422"/>
                  </a:lnTo>
                  <a:lnTo>
                    <a:pt x="522" y="420"/>
                  </a:lnTo>
                  <a:lnTo>
                    <a:pt x="524" y="418"/>
                  </a:lnTo>
                  <a:lnTo>
                    <a:pt x="526" y="418"/>
                  </a:lnTo>
                  <a:lnTo>
                    <a:pt x="526" y="416"/>
                  </a:lnTo>
                  <a:lnTo>
                    <a:pt x="528" y="416"/>
                  </a:lnTo>
                  <a:lnTo>
                    <a:pt x="528" y="414"/>
                  </a:lnTo>
                  <a:lnTo>
                    <a:pt x="530" y="412"/>
                  </a:lnTo>
                  <a:lnTo>
                    <a:pt x="532" y="408"/>
                  </a:lnTo>
                  <a:lnTo>
                    <a:pt x="532" y="404"/>
                  </a:lnTo>
                  <a:lnTo>
                    <a:pt x="534" y="400"/>
                  </a:lnTo>
                  <a:lnTo>
                    <a:pt x="536" y="396"/>
                  </a:lnTo>
                  <a:lnTo>
                    <a:pt x="538" y="394"/>
                  </a:lnTo>
                  <a:lnTo>
                    <a:pt x="538" y="392"/>
                  </a:lnTo>
                  <a:lnTo>
                    <a:pt x="540" y="390"/>
                  </a:lnTo>
                  <a:lnTo>
                    <a:pt x="540" y="390"/>
                  </a:lnTo>
                  <a:lnTo>
                    <a:pt x="542" y="388"/>
                  </a:lnTo>
                  <a:lnTo>
                    <a:pt x="544" y="386"/>
                  </a:lnTo>
                  <a:lnTo>
                    <a:pt x="548" y="382"/>
                  </a:lnTo>
                  <a:lnTo>
                    <a:pt x="550" y="380"/>
                  </a:lnTo>
                  <a:lnTo>
                    <a:pt x="558" y="374"/>
                  </a:lnTo>
                  <a:lnTo>
                    <a:pt x="560" y="370"/>
                  </a:lnTo>
                  <a:lnTo>
                    <a:pt x="564" y="368"/>
                  </a:lnTo>
                  <a:lnTo>
                    <a:pt x="564" y="366"/>
                  </a:lnTo>
                  <a:lnTo>
                    <a:pt x="568" y="364"/>
                  </a:lnTo>
                  <a:lnTo>
                    <a:pt x="570" y="360"/>
                  </a:lnTo>
                  <a:lnTo>
                    <a:pt x="570" y="358"/>
                  </a:lnTo>
                  <a:lnTo>
                    <a:pt x="570" y="358"/>
                  </a:lnTo>
                  <a:lnTo>
                    <a:pt x="572" y="356"/>
                  </a:lnTo>
                  <a:lnTo>
                    <a:pt x="572" y="354"/>
                  </a:lnTo>
                  <a:lnTo>
                    <a:pt x="572" y="352"/>
                  </a:lnTo>
                  <a:lnTo>
                    <a:pt x="572" y="348"/>
                  </a:lnTo>
                  <a:lnTo>
                    <a:pt x="572" y="344"/>
                  </a:lnTo>
                  <a:lnTo>
                    <a:pt x="572" y="338"/>
                  </a:lnTo>
                  <a:lnTo>
                    <a:pt x="570" y="326"/>
                  </a:lnTo>
                  <a:lnTo>
                    <a:pt x="570" y="322"/>
                  </a:lnTo>
                  <a:lnTo>
                    <a:pt x="570" y="320"/>
                  </a:lnTo>
                  <a:lnTo>
                    <a:pt x="570" y="318"/>
                  </a:lnTo>
                  <a:lnTo>
                    <a:pt x="570" y="314"/>
                  </a:lnTo>
                  <a:lnTo>
                    <a:pt x="572" y="312"/>
                  </a:lnTo>
                  <a:lnTo>
                    <a:pt x="572" y="306"/>
                  </a:lnTo>
                  <a:lnTo>
                    <a:pt x="576" y="292"/>
                  </a:lnTo>
                  <a:lnTo>
                    <a:pt x="576" y="284"/>
                  </a:lnTo>
                  <a:lnTo>
                    <a:pt x="578" y="276"/>
                  </a:lnTo>
                  <a:lnTo>
                    <a:pt x="578" y="270"/>
                  </a:lnTo>
                  <a:lnTo>
                    <a:pt x="580" y="268"/>
                  </a:lnTo>
                  <a:lnTo>
                    <a:pt x="580" y="264"/>
                  </a:lnTo>
                  <a:lnTo>
                    <a:pt x="580" y="262"/>
                  </a:lnTo>
                  <a:lnTo>
                    <a:pt x="580" y="258"/>
                  </a:lnTo>
                  <a:lnTo>
                    <a:pt x="578" y="254"/>
                  </a:lnTo>
                  <a:lnTo>
                    <a:pt x="578" y="254"/>
                  </a:lnTo>
                  <a:lnTo>
                    <a:pt x="578" y="252"/>
                  </a:lnTo>
                  <a:lnTo>
                    <a:pt x="578" y="250"/>
                  </a:lnTo>
                  <a:lnTo>
                    <a:pt x="576" y="250"/>
                  </a:lnTo>
                  <a:lnTo>
                    <a:pt x="574" y="246"/>
                  </a:lnTo>
                  <a:lnTo>
                    <a:pt x="572" y="244"/>
                  </a:lnTo>
                  <a:lnTo>
                    <a:pt x="570" y="240"/>
                  </a:lnTo>
                  <a:lnTo>
                    <a:pt x="566" y="236"/>
                  </a:lnTo>
                  <a:lnTo>
                    <a:pt x="564" y="234"/>
                  </a:lnTo>
                  <a:lnTo>
                    <a:pt x="562" y="230"/>
                  </a:lnTo>
                  <a:lnTo>
                    <a:pt x="562" y="230"/>
                  </a:lnTo>
                  <a:lnTo>
                    <a:pt x="560" y="228"/>
                  </a:lnTo>
                  <a:lnTo>
                    <a:pt x="560" y="226"/>
                  </a:lnTo>
                  <a:lnTo>
                    <a:pt x="560" y="226"/>
                  </a:lnTo>
                  <a:lnTo>
                    <a:pt x="558" y="222"/>
                  </a:lnTo>
                  <a:lnTo>
                    <a:pt x="556" y="214"/>
                  </a:lnTo>
                  <a:lnTo>
                    <a:pt x="556" y="210"/>
                  </a:lnTo>
                  <a:lnTo>
                    <a:pt x="554" y="206"/>
                  </a:lnTo>
                  <a:lnTo>
                    <a:pt x="554" y="204"/>
                  </a:lnTo>
                  <a:lnTo>
                    <a:pt x="554" y="204"/>
                  </a:lnTo>
                  <a:lnTo>
                    <a:pt x="552" y="202"/>
                  </a:lnTo>
                  <a:lnTo>
                    <a:pt x="552" y="200"/>
                  </a:lnTo>
                  <a:lnTo>
                    <a:pt x="550" y="200"/>
                  </a:lnTo>
                  <a:lnTo>
                    <a:pt x="550" y="200"/>
                  </a:lnTo>
                  <a:lnTo>
                    <a:pt x="550" y="198"/>
                  </a:lnTo>
                  <a:lnTo>
                    <a:pt x="548" y="198"/>
                  </a:lnTo>
                  <a:lnTo>
                    <a:pt x="546" y="198"/>
                  </a:lnTo>
                  <a:lnTo>
                    <a:pt x="542" y="196"/>
                  </a:lnTo>
                  <a:lnTo>
                    <a:pt x="540" y="196"/>
                  </a:lnTo>
                  <a:lnTo>
                    <a:pt x="536" y="194"/>
                  </a:lnTo>
                  <a:lnTo>
                    <a:pt x="536" y="194"/>
                  </a:lnTo>
                  <a:lnTo>
                    <a:pt x="534" y="194"/>
                  </a:lnTo>
                  <a:lnTo>
                    <a:pt x="534" y="192"/>
                  </a:lnTo>
                  <a:lnTo>
                    <a:pt x="532" y="192"/>
                  </a:lnTo>
                  <a:lnTo>
                    <a:pt x="532" y="190"/>
                  </a:lnTo>
                  <a:lnTo>
                    <a:pt x="532" y="190"/>
                  </a:lnTo>
                  <a:lnTo>
                    <a:pt x="532" y="188"/>
                  </a:lnTo>
                  <a:lnTo>
                    <a:pt x="530" y="186"/>
                  </a:lnTo>
                  <a:lnTo>
                    <a:pt x="530" y="182"/>
                  </a:lnTo>
                  <a:lnTo>
                    <a:pt x="530" y="178"/>
                  </a:lnTo>
                  <a:lnTo>
                    <a:pt x="530" y="174"/>
                  </a:lnTo>
                  <a:lnTo>
                    <a:pt x="530" y="172"/>
                  </a:lnTo>
                  <a:lnTo>
                    <a:pt x="530" y="170"/>
                  </a:lnTo>
                  <a:lnTo>
                    <a:pt x="530" y="168"/>
                  </a:lnTo>
                  <a:lnTo>
                    <a:pt x="528" y="166"/>
                  </a:lnTo>
                  <a:lnTo>
                    <a:pt x="528" y="166"/>
                  </a:lnTo>
                  <a:lnTo>
                    <a:pt x="526" y="164"/>
                  </a:lnTo>
                  <a:lnTo>
                    <a:pt x="526" y="162"/>
                  </a:lnTo>
                  <a:lnTo>
                    <a:pt x="524" y="162"/>
                  </a:lnTo>
                  <a:lnTo>
                    <a:pt x="522" y="162"/>
                  </a:lnTo>
                  <a:lnTo>
                    <a:pt x="520" y="160"/>
                  </a:lnTo>
                  <a:lnTo>
                    <a:pt x="518" y="160"/>
                  </a:lnTo>
                  <a:lnTo>
                    <a:pt x="514" y="158"/>
                  </a:lnTo>
                  <a:lnTo>
                    <a:pt x="508" y="156"/>
                  </a:lnTo>
                  <a:lnTo>
                    <a:pt x="506" y="156"/>
                  </a:lnTo>
                  <a:lnTo>
                    <a:pt x="504" y="154"/>
                  </a:lnTo>
                  <a:lnTo>
                    <a:pt x="502" y="154"/>
                  </a:lnTo>
                  <a:lnTo>
                    <a:pt x="500" y="152"/>
                  </a:lnTo>
                  <a:lnTo>
                    <a:pt x="500" y="152"/>
                  </a:lnTo>
                  <a:lnTo>
                    <a:pt x="498" y="150"/>
                  </a:lnTo>
                  <a:lnTo>
                    <a:pt x="498" y="148"/>
                  </a:lnTo>
                  <a:lnTo>
                    <a:pt x="498" y="146"/>
                  </a:lnTo>
                  <a:lnTo>
                    <a:pt x="498" y="146"/>
                  </a:lnTo>
                  <a:lnTo>
                    <a:pt x="496" y="144"/>
                  </a:lnTo>
                  <a:lnTo>
                    <a:pt x="496" y="140"/>
                  </a:lnTo>
                  <a:lnTo>
                    <a:pt x="496" y="138"/>
                  </a:lnTo>
                  <a:lnTo>
                    <a:pt x="496" y="134"/>
                  </a:lnTo>
                  <a:lnTo>
                    <a:pt x="498" y="124"/>
                  </a:lnTo>
                  <a:lnTo>
                    <a:pt x="498" y="120"/>
                  </a:lnTo>
                  <a:lnTo>
                    <a:pt x="498" y="118"/>
                  </a:lnTo>
                  <a:lnTo>
                    <a:pt x="498" y="116"/>
                  </a:lnTo>
                  <a:lnTo>
                    <a:pt x="496" y="112"/>
                  </a:lnTo>
                  <a:lnTo>
                    <a:pt x="496" y="108"/>
                  </a:lnTo>
                  <a:lnTo>
                    <a:pt x="494" y="102"/>
                  </a:lnTo>
                  <a:lnTo>
                    <a:pt x="494" y="98"/>
                  </a:lnTo>
                  <a:lnTo>
                    <a:pt x="492" y="92"/>
                  </a:lnTo>
                  <a:lnTo>
                    <a:pt x="490" y="88"/>
                  </a:lnTo>
                  <a:lnTo>
                    <a:pt x="490" y="84"/>
                  </a:lnTo>
                  <a:lnTo>
                    <a:pt x="488" y="82"/>
                  </a:lnTo>
                  <a:lnTo>
                    <a:pt x="488" y="80"/>
                  </a:lnTo>
                  <a:lnTo>
                    <a:pt x="486" y="78"/>
                  </a:lnTo>
                  <a:lnTo>
                    <a:pt x="486" y="78"/>
                  </a:lnTo>
                  <a:lnTo>
                    <a:pt x="484" y="74"/>
                  </a:lnTo>
                  <a:lnTo>
                    <a:pt x="482" y="72"/>
                  </a:lnTo>
                  <a:lnTo>
                    <a:pt x="478" y="70"/>
                  </a:lnTo>
                  <a:lnTo>
                    <a:pt x="476" y="68"/>
                  </a:lnTo>
                  <a:lnTo>
                    <a:pt x="474" y="64"/>
                  </a:lnTo>
                  <a:lnTo>
                    <a:pt x="472" y="62"/>
                  </a:lnTo>
                  <a:lnTo>
                    <a:pt x="470" y="60"/>
                  </a:lnTo>
                  <a:lnTo>
                    <a:pt x="470" y="60"/>
                  </a:lnTo>
                  <a:lnTo>
                    <a:pt x="468" y="56"/>
                  </a:lnTo>
                  <a:lnTo>
                    <a:pt x="466" y="54"/>
                  </a:lnTo>
                  <a:lnTo>
                    <a:pt x="464" y="50"/>
                  </a:lnTo>
                  <a:lnTo>
                    <a:pt x="464" y="46"/>
                  </a:lnTo>
                  <a:lnTo>
                    <a:pt x="462" y="42"/>
                  </a:lnTo>
                  <a:lnTo>
                    <a:pt x="460" y="38"/>
                  </a:lnTo>
                  <a:lnTo>
                    <a:pt x="460" y="36"/>
                  </a:lnTo>
                  <a:lnTo>
                    <a:pt x="460" y="34"/>
                  </a:lnTo>
                  <a:lnTo>
                    <a:pt x="460" y="34"/>
                  </a:lnTo>
                  <a:lnTo>
                    <a:pt x="460" y="32"/>
                  </a:lnTo>
                  <a:lnTo>
                    <a:pt x="460" y="32"/>
                  </a:lnTo>
                  <a:lnTo>
                    <a:pt x="460" y="30"/>
                  </a:lnTo>
                  <a:lnTo>
                    <a:pt x="460" y="28"/>
                  </a:lnTo>
                  <a:lnTo>
                    <a:pt x="462" y="26"/>
                  </a:lnTo>
                  <a:lnTo>
                    <a:pt x="464" y="24"/>
                  </a:lnTo>
                  <a:lnTo>
                    <a:pt x="466" y="22"/>
                  </a:lnTo>
                  <a:lnTo>
                    <a:pt x="466" y="20"/>
                  </a:lnTo>
                  <a:lnTo>
                    <a:pt x="466" y="20"/>
                  </a:lnTo>
                  <a:lnTo>
                    <a:pt x="468" y="18"/>
                  </a:lnTo>
                  <a:lnTo>
                    <a:pt x="468" y="18"/>
                  </a:lnTo>
                  <a:lnTo>
                    <a:pt x="468" y="16"/>
                  </a:lnTo>
                  <a:lnTo>
                    <a:pt x="466" y="16"/>
                  </a:lnTo>
                  <a:lnTo>
                    <a:pt x="466" y="14"/>
                  </a:lnTo>
                  <a:lnTo>
                    <a:pt x="466" y="12"/>
                  </a:lnTo>
                  <a:lnTo>
                    <a:pt x="466" y="12"/>
                  </a:lnTo>
                  <a:lnTo>
                    <a:pt x="464" y="8"/>
                  </a:lnTo>
                  <a:lnTo>
                    <a:pt x="462" y="6"/>
                  </a:lnTo>
                  <a:lnTo>
                    <a:pt x="460" y="4"/>
                  </a:lnTo>
                  <a:lnTo>
                    <a:pt x="460" y="4"/>
                  </a:lnTo>
                  <a:lnTo>
                    <a:pt x="458" y="2"/>
                  </a:lnTo>
                  <a:lnTo>
                    <a:pt x="456" y="0"/>
                  </a:lnTo>
                  <a:lnTo>
                    <a:pt x="456" y="0"/>
                  </a:lnTo>
                  <a:lnTo>
                    <a:pt x="454" y="0"/>
                  </a:lnTo>
                  <a:lnTo>
                    <a:pt x="454" y="0"/>
                  </a:lnTo>
                  <a:lnTo>
                    <a:pt x="452" y="0"/>
                  </a:lnTo>
                  <a:lnTo>
                    <a:pt x="452" y="0"/>
                  </a:lnTo>
                  <a:lnTo>
                    <a:pt x="450" y="0"/>
                  </a:lnTo>
                  <a:lnTo>
                    <a:pt x="450" y="0"/>
                  </a:lnTo>
                  <a:lnTo>
                    <a:pt x="448" y="2"/>
                  </a:lnTo>
                  <a:lnTo>
                    <a:pt x="448" y="2"/>
                  </a:lnTo>
                  <a:lnTo>
                    <a:pt x="448" y="4"/>
                  </a:lnTo>
                  <a:lnTo>
                    <a:pt x="446" y="6"/>
                  </a:lnTo>
                  <a:lnTo>
                    <a:pt x="444" y="12"/>
                  </a:lnTo>
                  <a:lnTo>
                    <a:pt x="444" y="14"/>
                  </a:lnTo>
                  <a:lnTo>
                    <a:pt x="442" y="16"/>
                  </a:lnTo>
                  <a:lnTo>
                    <a:pt x="442" y="16"/>
                  </a:lnTo>
                  <a:lnTo>
                    <a:pt x="442" y="18"/>
                  </a:lnTo>
                  <a:lnTo>
                    <a:pt x="440" y="20"/>
                  </a:lnTo>
                  <a:lnTo>
                    <a:pt x="438" y="22"/>
                  </a:lnTo>
                  <a:lnTo>
                    <a:pt x="436" y="24"/>
                  </a:lnTo>
                  <a:lnTo>
                    <a:pt x="434" y="26"/>
                  </a:lnTo>
                  <a:lnTo>
                    <a:pt x="434" y="26"/>
                  </a:lnTo>
                  <a:lnTo>
                    <a:pt x="434" y="28"/>
                  </a:lnTo>
                  <a:lnTo>
                    <a:pt x="432" y="30"/>
                  </a:lnTo>
                  <a:lnTo>
                    <a:pt x="432" y="30"/>
                  </a:lnTo>
                  <a:lnTo>
                    <a:pt x="432" y="34"/>
                  </a:lnTo>
                  <a:lnTo>
                    <a:pt x="432" y="38"/>
                  </a:lnTo>
                  <a:lnTo>
                    <a:pt x="432" y="42"/>
                  </a:lnTo>
                  <a:lnTo>
                    <a:pt x="432" y="46"/>
                  </a:lnTo>
                  <a:lnTo>
                    <a:pt x="432" y="50"/>
                  </a:lnTo>
                  <a:lnTo>
                    <a:pt x="434" y="58"/>
                  </a:lnTo>
                  <a:lnTo>
                    <a:pt x="434" y="66"/>
                  </a:lnTo>
                  <a:lnTo>
                    <a:pt x="434" y="70"/>
                  </a:lnTo>
                  <a:lnTo>
                    <a:pt x="436" y="74"/>
                  </a:lnTo>
                  <a:lnTo>
                    <a:pt x="436" y="78"/>
                  </a:lnTo>
                  <a:lnTo>
                    <a:pt x="436" y="82"/>
                  </a:lnTo>
                  <a:lnTo>
                    <a:pt x="436" y="86"/>
                  </a:lnTo>
                  <a:lnTo>
                    <a:pt x="434" y="88"/>
                  </a:lnTo>
                  <a:lnTo>
                    <a:pt x="434" y="90"/>
                  </a:lnTo>
                  <a:lnTo>
                    <a:pt x="432" y="92"/>
                  </a:lnTo>
                  <a:lnTo>
                    <a:pt x="432" y="94"/>
                  </a:lnTo>
                  <a:lnTo>
                    <a:pt x="430" y="96"/>
                  </a:lnTo>
                  <a:lnTo>
                    <a:pt x="428" y="100"/>
                  </a:lnTo>
                  <a:lnTo>
                    <a:pt x="426" y="102"/>
                  </a:lnTo>
                  <a:lnTo>
                    <a:pt x="426" y="104"/>
                  </a:lnTo>
                  <a:lnTo>
                    <a:pt x="426" y="104"/>
                  </a:lnTo>
                  <a:lnTo>
                    <a:pt x="424" y="106"/>
                  </a:lnTo>
                  <a:lnTo>
                    <a:pt x="424" y="110"/>
                  </a:lnTo>
                  <a:lnTo>
                    <a:pt x="422" y="110"/>
                  </a:lnTo>
                  <a:lnTo>
                    <a:pt x="422" y="112"/>
                  </a:lnTo>
                  <a:lnTo>
                    <a:pt x="422" y="112"/>
                  </a:lnTo>
                  <a:lnTo>
                    <a:pt x="420" y="114"/>
                  </a:lnTo>
                  <a:lnTo>
                    <a:pt x="420" y="114"/>
                  </a:lnTo>
                  <a:lnTo>
                    <a:pt x="420" y="114"/>
                  </a:lnTo>
                  <a:lnTo>
                    <a:pt x="416" y="114"/>
                  </a:lnTo>
                  <a:lnTo>
                    <a:pt x="414" y="116"/>
                  </a:lnTo>
                  <a:lnTo>
                    <a:pt x="412" y="116"/>
                  </a:lnTo>
                  <a:lnTo>
                    <a:pt x="410" y="116"/>
                  </a:lnTo>
                  <a:lnTo>
                    <a:pt x="406" y="114"/>
                  </a:lnTo>
                  <a:lnTo>
                    <a:pt x="404" y="114"/>
                  </a:lnTo>
                  <a:lnTo>
                    <a:pt x="402" y="114"/>
                  </a:lnTo>
                  <a:lnTo>
                    <a:pt x="402" y="114"/>
                  </a:lnTo>
                  <a:lnTo>
                    <a:pt x="402" y="112"/>
                  </a:lnTo>
                  <a:lnTo>
                    <a:pt x="400" y="112"/>
                  </a:lnTo>
                  <a:lnTo>
                    <a:pt x="398" y="110"/>
                  </a:lnTo>
                  <a:lnTo>
                    <a:pt x="396" y="106"/>
                  </a:lnTo>
                  <a:lnTo>
                    <a:pt x="392" y="102"/>
                  </a:lnTo>
                  <a:lnTo>
                    <a:pt x="390" y="102"/>
                  </a:lnTo>
                  <a:lnTo>
                    <a:pt x="388" y="100"/>
                  </a:lnTo>
                  <a:lnTo>
                    <a:pt x="386" y="98"/>
                  </a:lnTo>
                  <a:lnTo>
                    <a:pt x="384" y="98"/>
                  </a:lnTo>
                  <a:lnTo>
                    <a:pt x="378" y="96"/>
                  </a:lnTo>
                  <a:lnTo>
                    <a:pt x="374" y="94"/>
                  </a:lnTo>
                  <a:lnTo>
                    <a:pt x="370" y="94"/>
                  </a:lnTo>
                  <a:lnTo>
                    <a:pt x="368" y="92"/>
                  </a:lnTo>
                  <a:lnTo>
                    <a:pt x="368" y="92"/>
                  </a:lnTo>
                  <a:lnTo>
                    <a:pt x="366" y="90"/>
                  </a:lnTo>
                  <a:lnTo>
                    <a:pt x="362" y="86"/>
                  </a:lnTo>
                  <a:lnTo>
                    <a:pt x="360" y="84"/>
                  </a:lnTo>
                  <a:lnTo>
                    <a:pt x="358" y="82"/>
                  </a:lnTo>
                  <a:lnTo>
                    <a:pt x="356" y="80"/>
                  </a:lnTo>
                  <a:lnTo>
                    <a:pt x="356" y="80"/>
                  </a:lnTo>
                  <a:lnTo>
                    <a:pt x="354" y="80"/>
                  </a:lnTo>
                  <a:lnTo>
                    <a:pt x="350" y="78"/>
                  </a:lnTo>
                  <a:lnTo>
                    <a:pt x="348" y="78"/>
                  </a:lnTo>
                  <a:lnTo>
                    <a:pt x="346" y="78"/>
                  </a:lnTo>
                  <a:lnTo>
                    <a:pt x="346" y="76"/>
                  </a:lnTo>
                  <a:lnTo>
                    <a:pt x="346" y="76"/>
                  </a:lnTo>
                  <a:lnTo>
                    <a:pt x="344" y="76"/>
                  </a:lnTo>
                  <a:lnTo>
                    <a:pt x="344" y="76"/>
                  </a:lnTo>
                  <a:lnTo>
                    <a:pt x="344" y="74"/>
                  </a:lnTo>
                  <a:lnTo>
                    <a:pt x="344" y="74"/>
                  </a:lnTo>
                  <a:lnTo>
                    <a:pt x="346" y="72"/>
                  </a:lnTo>
                  <a:lnTo>
                    <a:pt x="346" y="70"/>
                  </a:lnTo>
                  <a:lnTo>
                    <a:pt x="348" y="68"/>
                  </a:lnTo>
                  <a:lnTo>
                    <a:pt x="350" y="64"/>
                  </a:lnTo>
                  <a:lnTo>
                    <a:pt x="350" y="62"/>
                  </a:lnTo>
                  <a:lnTo>
                    <a:pt x="352" y="60"/>
                  </a:lnTo>
                  <a:lnTo>
                    <a:pt x="352" y="60"/>
                  </a:lnTo>
                  <a:lnTo>
                    <a:pt x="352" y="58"/>
                  </a:lnTo>
                  <a:lnTo>
                    <a:pt x="352" y="54"/>
                  </a:lnTo>
                  <a:lnTo>
                    <a:pt x="354" y="52"/>
                  </a:lnTo>
                  <a:lnTo>
                    <a:pt x="354" y="50"/>
                  </a:lnTo>
                  <a:lnTo>
                    <a:pt x="354" y="50"/>
                  </a:lnTo>
                  <a:lnTo>
                    <a:pt x="356" y="48"/>
                  </a:lnTo>
                  <a:lnTo>
                    <a:pt x="356" y="48"/>
                  </a:lnTo>
                  <a:lnTo>
                    <a:pt x="356" y="48"/>
                  </a:lnTo>
                  <a:lnTo>
                    <a:pt x="360" y="46"/>
                  </a:lnTo>
                  <a:lnTo>
                    <a:pt x="362" y="46"/>
                  </a:lnTo>
                  <a:lnTo>
                    <a:pt x="364" y="46"/>
                  </a:lnTo>
                  <a:lnTo>
                    <a:pt x="364" y="44"/>
                  </a:lnTo>
                  <a:lnTo>
                    <a:pt x="366" y="42"/>
                  </a:lnTo>
                  <a:lnTo>
                    <a:pt x="366" y="40"/>
                  </a:lnTo>
                  <a:lnTo>
                    <a:pt x="368" y="38"/>
                  </a:lnTo>
                  <a:lnTo>
                    <a:pt x="370" y="36"/>
                  </a:lnTo>
                  <a:lnTo>
                    <a:pt x="370" y="34"/>
                  </a:lnTo>
                  <a:lnTo>
                    <a:pt x="370" y="32"/>
                  </a:lnTo>
                  <a:lnTo>
                    <a:pt x="370" y="30"/>
                  </a:lnTo>
                  <a:lnTo>
                    <a:pt x="370" y="30"/>
                  </a:lnTo>
                  <a:lnTo>
                    <a:pt x="370" y="28"/>
                  </a:lnTo>
                  <a:lnTo>
                    <a:pt x="370" y="28"/>
                  </a:lnTo>
                  <a:lnTo>
                    <a:pt x="370" y="26"/>
                  </a:lnTo>
                  <a:lnTo>
                    <a:pt x="370" y="26"/>
                  </a:lnTo>
                  <a:lnTo>
                    <a:pt x="368" y="26"/>
                  </a:lnTo>
                  <a:lnTo>
                    <a:pt x="368" y="24"/>
                  </a:lnTo>
                  <a:lnTo>
                    <a:pt x="366" y="24"/>
                  </a:lnTo>
                  <a:lnTo>
                    <a:pt x="366" y="24"/>
                  </a:lnTo>
                  <a:lnTo>
                    <a:pt x="364" y="24"/>
                  </a:lnTo>
                  <a:lnTo>
                    <a:pt x="362" y="24"/>
                  </a:lnTo>
                  <a:lnTo>
                    <a:pt x="358" y="24"/>
                  </a:lnTo>
                  <a:lnTo>
                    <a:pt x="354" y="24"/>
                  </a:lnTo>
                  <a:lnTo>
                    <a:pt x="352" y="24"/>
                  </a:lnTo>
                  <a:lnTo>
                    <a:pt x="350" y="24"/>
                  </a:lnTo>
                  <a:lnTo>
                    <a:pt x="348" y="24"/>
                  </a:lnTo>
                  <a:lnTo>
                    <a:pt x="346" y="22"/>
                  </a:lnTo>
                  <a:lnTo>
                    <a:pt x="340" y="22"/>
                  </a:lnTo>
                  <a:lnTo>
                    <a:pt x="336" y="22"/>
                  </a:lnTo>
                  <a:lnTo>
                    <a:pt x="332" y="22"/>
                  </a:lnTo>
                  <a:lnTo>
                    <a:pt x="332" y="22"/>
                  </a:lnTo>
                  <a:lnTo>
                    <a:pt x="330" y="22"/>
                  </a:lnTo>
                  <a:lnTo>
                    <a:pt x="328" y="20"/>
                  </a:lnTo>
                  <a:lnTo>
                    <a:pt x="326" y="20"/>
                  </a:lnTo>
                  <a:lnTo>
                    <a:pt x="324" y="18"/>
                  </a:lnTo>
                  <a:lnTo>
                    <a:pt x="320" y="16"/>
                  </a:lnTo>
                  <a:lnTo>
                    <a:pt x="318" y="14"/>
                  </a:lnTo>
                  <a:lnTo>
                    <a:pt x="314" y="12"/>
                  </a:lnTo>
                  <a:lnTo>
                    <a:pt x="312" y="12"/>
                  </a:lnTo>
                  <a:lnTo>
                    <a:pt x="310" y="10"/>
                  </a:lnTo>
                  <a:lnTo>
                    <a:pt x="304" y="8"/>
                  </a:lnTo>
                  <a:lnTo>
                    <a:pt x="302" y="8"/>
                  </a:lnTo>
                  <a:lnTo>
                    <a:pt x="298" y="8"/>
                  </a:lnTo>
                  <a:lnTo>
                    <a:pt x="294" y="6"/>
                  </a:lnTo>
                  <a:lnTo>
                    <a:pt x="294" y="6"/>
                  </a:lnTo>
                  <a:lnTo>
                    <a:pt x="292" y="6"/>
                  </a:lnTo>
                  <a:lnTo>
                    <a:pt x="290" y="6"/>
                  </a:lnTo>
                  <a:lnTo>
                    <a:pt x="290" y="8"/>
                  </a:lnTo>
                  <a:lnTo>
                    <a:pt x="288" y="8"/>
                  </a:lnTo>
                  <a:lnTo>
                    <a:pt x="288" y="8"/>
                  </a:lnTo>
                  <a:lnTo>
                    <a:pt x="286" y="8"/>
                  </a:lnTo>
                  <a:lnTo>
                    <a:pt x="286" y="10"/>
                  </a:lnTo>
                  <a:lnTo>
                    <a:pt x="286" y="10"/>
                  </a:lnTo>
                  <a:lnTo>
                    <a:pt x="286" y="10"/>
                  </a:lnTo>
                  <a:lnTo>
                    <a:pt x="286" y="12"/>
                  </a:lnTo>
                  <a:lnTo>
                    <a:pt x="286" y="12"/>
                  </a:lnTo>
                  <a:lnTo>
                    <a:pt x="286" y="14"/>
                  </a:lnTo>
                  <a:lnTo>
                    <a:pt x="286" y="14"/>
                  </a:lnTo>
                  <a:lnTo>
                    <a:pt x="286" y="14"/>
                  </a:lnTo>
                  <a:lnTo>
                    <a:pt x="286" y="16"/>
                  </a:lnTo>
                  <a:lnTo>
                    <a:pt x="288" y="16"/>
                  </a:lnTo>
                  <a:lnTo>
                    <a:pt x="288" y="16"/>
                  </a:lnTo>
                  <a:lnTo>
                    <a:pt x="290" y="18"/>
                  </a:lnTo>
                  <a:lnTo>
                    <a:pt x="294" y="18"/>
                  </a:lnTo>
                  <a:lnTo>
                    <a:pt x="294" y="18"/>
                  </a:lnTo>
                  <a:lnTo>
                    <a:pt x="296" y="18"/>
                  </a:lnTo>
                  <a:lnTo>
                    <a:pt x="296" y="2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 name="Freeform 17">
              <a:extLst>
                <a:ext uri="{FF2B5EF4-FFF2-40B4-BE49-F238E27FC236}">
                  <a16:creationId xmlns:a16="http://schemas.microsoft.com/office/drawing/2014/main" id="{8ED90C49-0460-4E5B-BC26-776A7D3502EA}"/>
                </a:ext>
              </a:extLst>
            </p:cNvPr>
            <p:cNvSpPr>
              <a:spLocks/>
            </p:cNvSpPr>
            <p:nvPr/>
          </p:nvSpPr>
          <p:spPr bwMode="auto">
            <a:xfrm>
              <a:off x="7064781" y="4940664"/>
              <a:ext cx="1004604" cy="855645"/>
            </a:xfrm>
            <a:custGeom>
              <a:avLst/>
              <a:gdLst>
                <a:gd name="T0" fmla="*/ 296 w 580"/>
                <a:gd name="T1" fmla="*/ 34 h 494"/>
                <a:gd name="T2" fmla="*/ 262 w 580"/>
                <a:gd name="T3" fmla="*/ 46 h 494"/>
                <a:gd name="T4" fmla="*/ 256 w 580"/>
                <a:gd name="T5" fmla="*/ 74 h 494"/>
                <a:gd name="T6" fmla="*/ 234 w 580"/>
                <a:gd name="T7" fmla="*/ 68 h 494"/>
                <a:gd name="T8" fmla="*/ 208 w 580"/>
                <a:gd name="T9" fmla="*/ 56 h 494"/>
                <a:gd name="T10" fmla="*/ 196 w 580"/>
                <a:gd name="T11" fmla="*/ 76 h 494"/>
                <a:gd name="T12" fmla="*/ 166 w 580"/>
                <a:gd name="T13" fmla="*/ 100 h 494"/>
                <a:gd name="T14" fmla="*/ 160 w 580"/>
                <a:gd name="T15" fmla="*/ 112 h 494"/>
                <a:gd name="T16" fmla="*/ 148 w 580"/>
                <a:gd name="T17" fmla="*/ 102 h 494"/>
                <a:gd name="T18" fmla="*/ 138 w 580"/>
                <a:gd name="T19" fmla="*/ 140 h 494"/>
                <a:gd name="T20" fmla="*/ 64 w 580"/>
                <a:gd name="T21" fmla="*/ 172 h 494"/>
                <a:gd name="T22" fmla="*/ 30 w 580"/>
                <a:gd name="T23" fmla="*/ 200 h 494"/>
                <a:gd name="T24" fmla="*/ 4 w 580"/>
                <a:gd name="T25" fmla="*/ 204 h 494"/>
                <a:gd name="T26" fmla="*/ 10 w 580"/>
                <a:gd name="T27" fmla="*/ 248 h 494"/>
                <a:gd name="T28" fmla="*/ 18 w 580"/>
                <a:gd name="T29" fmla="*/ 266 h 494"/>
                <a:gd name="T30" fmla="*/ 2 w 580"/>
                <a:gd name="T31" fmla="*/ 256 h 494"/>
                <a:gd name="T32" fmla="*/ 10 w 580"/>
                <a:gd name="T33" fmla="*/ 302 h 494"/>
                <a:gd name="T34" fmla="*/ 16 w 580"/>
                <a:gd name="T35" fmla="*/ 344 h 494"/>
                <a:gd name="T36" fmla="*/ 28 w 580"/>
                <a:gd name="T37" fmla="*/ 362 h 494"/>
                <a:gd name="T38" fmla="*/ 18 w 580"/>
                <a:gd name="T39" fmla="*/ 380 h 494"/>
                <a:gd name="T40" fmla="*/ 6 w 580"/>
                <a:gd name="T41" fmla="*/ 400 h 494"/>
                <a:gd name="T42" fmla="*/ 36 w 580"/>
                <a:gd name="T43" fmla="*/ 426 h 494"/>
                <a:gd name="T44" fmla="*/ 56 w 580"/>
                <a:gd name="T45" fmla="*/ 420 h 494"/>
                <a:gd name="T46" fmla="*/ 84 w 580"/>
                <a:gd name="T47" fmla="*/ 414 h 494"/>
                <a:gd name="T48" fmla="*/ 138 w 580"/>
                <a:gd name="T49" fmla="*/ 402 h 494"/>
                <a:gd name="T50" fmla="*/ 184 w 580"/>
                <a:gd name="T51" fmla="*/ 380 h 494"/>
                <a:gd name="T52" fmla="*/ 220 w 580"/>
                <a:gd name="T53" fmla="*/ 366 h 494"/>
                <a:gd name="T54" fmla="*/ 248 w 580"/>
                <a:gd name="T55" fmla="*/ 364 h 494"/>
                <a:gd name="T56" fmla="*/ 266 w 580"/>
                <a:gd name="T57" fmla="*/ 372 h 494"/>
                <a:gd name="T58" fmla="*/ 292 w 580"/>
                <a:gd name="T59" fmla="*/ 402 h 494"/>
                <a:gd name="T60" fmla="*/ 302 w 580"/>
                <a:gd name="T61" fmla="*/ 420 h 494"/>
                <a:gd name="T62" fmla="*/ 330 w 580"/>
                <a:gd name="T63" fmla="*/ 386 h 494"/>
                <a:gd name="T64" fmla="*/ 332 w 580"/>
                <a:gd name="T65" fmla="*/ 404 h 494"/>
                <a:gd name="T66" fmla="*/ 326 w 580"/>
                <a:gd name="T67" fmla="*/ 424 h 494"/>
                <a:gd name="T68" fmla="*/ 338 w 580"/>
                <a:gd name="T69" fmla="*/ 408 h 494"/>
                <a:gd name="T70" fmla="*/ 342 w 580"/>
                <a:gd name="T71" fmla="*/ 424 h 494"/>
                <a:gd name="T72" fmla="*/ 348 w 580"/>
                <a:gd name="T73" fmla="*/ 456 h 494"/>
                <a:gd name="T74" fmla="*/ 376 w 580"/>
                <a:gd name="T75" fmla="*/ 480 h 494"/>
                <a:gd name="T76" fmla="*/ 438 w 580"/>
                <a:gd name="T77" fmla="*/ 492 h 494"/>
                <a:gd name="T78" fmla="*/ 498 w 580"/>
                <a:gd name="T79" fmla="*/ 460 h 494"/>
                <a:gd name="T80" fmla="*/ 520 w 580"/>
                <a:gd name="T81" fmla="*/ 422 h 494"/>
                <a:gd name="T82" fmla="*/ 542 w 580"/>
                <a:gd name="T83" fmla="*/ 388 h 494"/>
                <a:gd name="T84" fmla="*/ 572 w 580"/>
                <a:gd name="T85" fmla="*/ 344 h 494"/>
                <a:gd name="T86" fmla="*/ 580 w 580"/>
                <a:gd name="T87" fmla="*/ 258 h 494"/>
                <a:gd name="T88" fmla="*/ 558 w 580"/>
                <a:gd name="T89" fmla="*/ 222 h 494"/>
                <a:gd name="T90" fmla="*/ 536 w 580"/>
                <a:gd name="T91" fmla="*/ 194 h 494"/>
                <a:gd name="T92" fmla="*/ 526 w 580"/>
                <a:gd name="T93" fmla="*/ 164 h 494"/>
                <a:gd name="T94" fmla="*/ 498 w 580"/>
                <a:gd name="T95" fmla="*/ 146 h 494"/>
                <a:gd name="T96" fmla="*/ 488 w 580"/>
                <a:gd name="T97" fmla="*/ 82 h 494"/>
                <a:gd name="T98" fmla="*/ 462 w 580"/>
                <a:gd name="T99" fmla="*/ 42 h 494"/>
                <a:gd name="T100" fmla="*/ 468 w 580"/>
                <a:gd name="T101" fmla="*/ 16 h 494"/>
                <a:gd name="T102" fmla="*/ 450 w 580"/>
                <a:gd name="T103" fmla="*/ 0 h 494"/>
                <a:gd name="T104" fmla="*/ 434 w 580"/>
                <a:gd name="T105" fmla="*/ 28 h 494"/>
                <a:gd name="T106" fmla="*/ 434 w 580"/>
                <a:gd name="T107" fmla="*/ 90 h 494"/>
                <a:gd name="T108" fmla="*/ 416 w 580"/>
                <a:gd name="T109" fmla="*/ 114 h 494"/>
                <a:gd name="T110" fmla="*/ 384 w 580"/>
                <a:gd name="T111" fmla="*/ 98 h 494"/>
                <a:gd name="T112" fmla="*/ 346 w 580"/>
                <a:gd name="T113" fmla="*/ 76 h 494"/>
                <a:gd name="T114" fmla="*/ 354 w 580"/>
                <a:gd name="T115" fmla="*/ 50 h 494"/>
                <a:gd name="T116" fmla="*/ 370 w 580"/>
                <a:gd name="T117" fmla="*/ 30 h 494"/>
                <a:gd name="T118" fmla="*/ 346 w 580"/>
                <a:gd name="T119" fmla="*/ 22 h 494"/>
                <a:gd name="T120" fmla="*/ 298 w 580"/>
                <a:gd name="T121" fmla="*/ 8 h 494"/>
                <a:gd name="T122" fmla="*/ 286 w 580"/>
                <a:gd name="T123" fmla="*/ 1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0" h="494">
                  <a:moveTo>
                    <a:pt x="296" y="20"/>
                  </a:moveTo>
                  <a:lnTo>
                    <a:pt x="296" y="20"/>
                  </a:lnTo>
                  <a:lnTo>
                    <a:pt x="296" y="20"/>
                  </a:lnTo>
                  <a:lnTo>
                    <a:pt x="298" y="22"/>
                  </a:lnTo>
                  <a:lnTo>
                    <a:pt x="298" y="24"/>
                  </a:lnTo>
                  <a:lnTo>
                    <a:pt x="300" y="26"/>
                  </a:lnTo>
                  <a:lnTo>
                    <a:pt x="300" y="28"/>
                  </a:lnTo>
                  <a:lnTo>
                    <a:pt x="300" y="30"/>
                  </a:lnTo>
                  <a:lnTo>
                    <a:pt x="300" y="30"/>
                  </a:lnTo>
                  <a:lnTo>
                    <a:pt x="300" y="30"/>
                  </a:lnTo>
                  <a:lnTo>
                    <a:pt x="300" y="32"/>
                  </a:lnTo>
                  <a:lnTo>
                    <a:pt x="300" y="32"/>
                  </a:lnTo>
                  <a:lnTo>
                    <a:pt x="300" y="32"/>
                  </a:lnTo>
                  <a:lnTo>
                    <a:pt x="298" y="32"/>
                  </a:lnTo>
                  <a:lnTo>
                    <a:pt x="298" y="34"/>
                  </a:lnTo>
                  <a:lnTo>
                    <a:pt x="296" y="34"/>
                  </a:lnTo>
                  <a:lnTo>
                    <a:pt x="294" y="34"/>
                  </a:lnTo>
                  <a:lnTo>
                    <a:pt x="292" y="34"/>
                  </a:lnTo>
                  <a:lnTo>
                    <a:pt x="290" y="34"/>
                  </a:lnTo>
                  <a:lnTo>
                    <a:pt x="286" y="34"/>
                  </a:lnTo>
                  <a:lnTo>
                    <a:pt x="282" y="34"/>
                  </a:lnTo>
                  <a:lnTo>
                    <a:pt x="278" y="34"/>
                  </a:lnTo>
                  <a:lnTo>
                    <a:pt x="276" y="34"/>
                  </a:lnTo>
                  <a:lnTo>
                    <a:pt x="274" y="34"/>
                  </a:lnTo>
                  <a:lnTo>
                    <a:pt x="274" y="36"/>
                  </a:lnTo>
                  <a:lnTo>
                    <a:pt x="272" y="36"/>
                  </a:lnTo>
                  <a:lnTo>
                    <a:pt x="270" y="36"/>
                  </a:lnTo>
                  <a:lnTo>
                    <a:pt x="268" y="38"/>
                  </a:lnTo>
                  <a:lnTo>
                    <a:pt x="268" y="40"/>
                  </a:lnTo>
                  <a:lnTo>
                    <a:pt x="266" y="42"/>
                  </a:lnTo>
                  <a:lnTo>
                    <a:pt x="264" y="44"/>
                  </a:lnTo>
                  <a:lnTo>
                    <a:pt x="262" y="46"/>
                  </a:lnTo>
                  <a:lnTo>
                    <a:pt x="262" y="48"/>
                  </a:lnTo>
                  <a:lnTo>
                    <a:pt x="260" y="50"/>
                  </a:lnTo>
                  <a:lnTo>
                    <a:pt x="260" y="50"/>
                  </a:lnTo>
                  <a:lnTo>
                    <a:pt x="260" y="52"/>
                  </a:lnTo>
                  <a:lnTo>
                    <a:pt x="260" y="54"/>
                  </a:lnTo>
                  <a:lnTo>
                    <a:pt x="260" y="56"/>
                  </a:lnTo>
                  <a:lnTo>
                    <a:pt x="260" y="58"/>
                  </a:lnTo>
                  <a:lnTo>
                    <a:pt x="260" y="60"/>
                  </a:lnTo>
                  <a:lnTo>
                    <a:pt x="260" y="62"/>
                  </a:lnTo>
                  <a:lnTo>
                    <a:pt x="258" y="66"/>
                  </a:lnTo>
                  <a:lnTo>
                    <a:pt x="258" y="68"/>
                  </a:lnTo>
                  <a:lnTo>
                    <a:pt x="258" y="70"/>
                  </a:lnTo>
                  <a:lnTo>
                    <a:pt x="258" y="72"/>
                  </a:lnTo>
                  <a:lnTo>
                    <a:pt x="258" y="72"/>
                  </a:lnTo>
                  <a:lnTo>
                    <a:pt x="256" y="74"/>
                  </a:lnTo>
                  <a:lnTo>
                    <a:pt x="256" y="74"/>
                  </a:lnTo>
                  <a:lnTo>
                    <a:pt x="256" y="74"/>
                  </a:lnTo>
                  <a:lnTo>
                    <a:pt x="254" y="76"/>
                  </a:lnTo>
                  <a:lnTo>
                    <a:pt x="250" y="76"/>
                  </a:lnTo>
                  <a:lnTo>
                    <a:pt x="248" y="78"/>
                  </a:lnTo>
                  <a:lnTo>
                    <a:pt x="246" y="78"/>
                  </a:lnTo>
                  <a:lnTo>
                    <a:pt x="244" y="78"/>
                  </a:lnTo>
                  <a:lnTo>
                    <a:pt x="242" y="78"/>
                  </a:lnTo>
                  <a:lnTo>
                    <a:pt x="240" y="78"/>
                  </a:lnTo>
                  <a:lnTo>
                    <a:pt x="240" y="78"/>
                  </a:lnTo>
                  <a:lnTo>
                    <a:pt x="240" y="78"/>
                  </a:lnTo>
                  <a:lnTo>
                    <a:pt x="238" y="76"/>
                  </a:lnTo>
                  <a:lnTo>
                    <a:pt x="238" y="76"/>
                  </a:lnTo>
                  <a:lnTo>
                    <a:pt x="236" y="74"/>
                  </a:lnTo>
                  <a:lnTo>
                    <a:pt x="236" y="74"/>
                  </a:lnTo>
                  <a:lnTo>
                    <a:pt x="236" y="72"/>
                  </a:lnTo>
                  <a:lnTo>
                    <a:pt x="234" y="68"/>
                  </a:lnTo>
                  <a:lnTo>
                    <a:pt x="234" y="66"/>
                  </a:lnTo>
                  <a:lnTo>
                    <a:pt x="232" y="64"/>
                  </a:lnTo>
                  <a:lnTo>
                    <a:pt x="232" y="62"/>
                  </a:lnTo>
                  <a:lnTo>
                    <a:pt x="228" y="58"/>
                  </a:lnTo>
                  <a:lnTo>
                    <a:pt x="228" y="58"/>
                  </a:lnTo>
                  <a:lnTo>
                    <a:pt x="226" y="56"/>
                  </a:lnTo>
                  <a:lnTo>
                    <a:pt x="226" y="56"/>
                  </a:lnTo>
                  <a:lnTo>
                    <a:pt x="224" y="54"/>
                  </a:lnTo>
                  <a:lnTo>
                    <a:pt x="224" y="54"/>
                  </a:lnTo>
                  <a:lnTo>
                    <a:pt x="222" y="54"/>
                  </a:lnTo>
                  <a:lnTo>
                    <a:pt x="222" y="54"/>
                  </a:lnTo>
                  <a:lnTo>
                    <a:pt x="220" y="54"/>
                  </a:lnTo>
                  <a:lnTo>
                    <a:pt x="218" y="54"/>
                  </a:lnTo>
                  <a:lnTo>
                    <a:pt x="216" y="54"/>
                  </a:lnTo>
                  <a:lnTo>
                    <a:pt x="212" y="54"/>
                  </a:lnTo>
                  <a:lnTo>
                    <a:pt x="208" y="56"/>
                  </a:lnTo>
                  <a:lnTo>
                    <a:pt x="206" y="56"/>
                  </a:lnTo>
                  <a:lnTo>
                    <a:pt x="204" y="58"/>
                  </a:lnTo>
                  <a:lnTo>
                    <a:pt x="204" y="58"/>
                  </a:lnTo>
                  <a:lnTo>
                    <a:pt x="202" y="58"/>
                  </a:lnTo>
                  <a:lnTo>
                    <a:pt x="202" y="60"/>
                  </a:lnTo>
                  <a:lnTo>
                    <a:pt x="200" y="60"/>
                  </a:lnTo>
                  <a:lnTo>
                    <a:pt x="200" y="60"/>
                  </a:lnTo>
                  <a:lnTo>
                    <a:pt x="200" y="62"/>
                  </a:lnTo>
                  <a:lnTo>
                    <a:pt x="200" y="64"/>
                  </a:lnTo>
                  <a:lnTo>
                    <a:pt x="200" y="66"/>
                  </a:lnTo>
                  <a:lnTo>
                    <a:pt x="198" y="70"/>
                  </a:lnTo>
                  <a:lnTo>
                    <a:pt x="198" y="72"/>
                  </a:lnTo>
                  <a:lnTo>
                    <a:pt x="198" y="72"/>
                  </a:lnTo>
                  <a:lnTo>
                    <a:pt x="198" y="74"/>
                  </a:lnTo>
                  <a:lnTo>
                    <a:pt x="196" y="74"/>
                  </a:lnTo>
                  <a:lnTo>
                    <a:pt x="196" y="76"/>
                  </a:lnTo>
                  <a:lnTo>
                    <a:pt x="194" y="78"/>
                  </a:lnTo>
                  <a:lnTo>
                    <a:pt x="192" y="78"/>
                  </a:lnTo>
                  <a:lnTo>
                    <a:pt x="188" y="82"/>
                  </a:lnTo>
                  <a:lnTo>
                    <a:pt x="186" y="84"/>
                  </a:lnTo>
                  <a:lnTo>
                    <a:pt x="184" y="84"/>
                  </a:lnTo>
                  <a:lnTo>
                    <a:pt x="184" y="84"/>
                  </a:lnTo>
                  <a:lnTo>
                    <a:pt x="180" y="86"/>
                  </a:lnTo>
                  <a:lnTo>
                    <a:pt x="176" y="88"/>
                  </a:lnTo>
                  <a:lnTo>
                    <a:pt x="174" y="90"/>
                  </a:lnTo>
                  <a:lnTo>
                    <a:pt x="174" y="90"/>
                  </a:lnTo>
                  <a:lnTo>
                    <a:pt x="172" y="90"/>
                  </a:lnTo>
                  <a:lnTo>
                    <a:pt x="172" y="92"/>
                  </a:lnTo>
                  <a:lnTo>
                    <a:pt x="170" y="96"/>
                  </a:lnTo>
                  <a:lnTo>
                    <a:pt x="168" y="96"/>
                  </a:lnTo>
                  <a:lnTo>
                    <a:pt x="168" y="98"/>
                  </a:lnTo>
                  <a:lnTo>
                    <a:pt x="166" y="100"/>
                  </a:lnTo>
                  <a:lnTo>
                    <a:pt x="166" y="102"/>
                  </a:lnTo>
                  <a:lnTo>
                    <a:pt x="166" y="102"/>
                  </a:lnTo>
                  <a:lnTo>
                    <a:pt x="166" y="104"/>
                  </a:lnTo>
                  <a:lnTo>
                    <a:pt x="166" y="106"/>
                  </a:lnTo>
                  <a:lnTo>
                    <a:pt x="166" y="108"/>
                  </a:lnTo>
                  <a:lnTo>
                    <a:pt x="166" y="110"/>
                  </a:lnTo>
                  <a:lnTo>
                    <a:pt x="166" y="112"/>
                  </a:lnTo>
                  <a:lnTo>
                    <a:pt x="166" y="112"/>
                  </a:lnTo>
                  <a:lnTo>
                    <a:pt x="166" y="112"/>
                  </a:lnTo>
                  <a:lnTo>
                    <a:pt x="166" y="112"/>
                  </a:lnTo>
                  <a:lnTo>
                    <a:pt x="164" y="114"/>
                  </a:lnTo>
                  <a:lnTo>
                    <a:pt x="164" y="114"/>
                  </a:lnTo>
                  <a:lnTo>
                    <a:pt x="162" y="114"/>
                  </a:lnTo>
                  <a:lnTo>
                    <a:pt x="162" y="114"/>
                  </a:lnTo>
                  <a:lnTo>
                    <a:pt x="160" y="112"/>
                  </a:lnTo>
                  <a:lnTo>
                    <a:pt x="160" y="112"/>
                  </a:lnTo>
                  <a:lnTo>
                    <a:pt x="158" y="112"/>
                  </a:lnTo>
                  <a:lnTo>
                    <a:pt x="158" y="112"/>
                  </a:lnTo>
                  <a:lnTo>
                    <a:pt x="158" y="112"/>
                  </a:lnTo>
                  <a:lnTo>
                    <a:pt x="156" y="110"/>
                  </a:lnTo>
                  <a:lnTo>
                    <a:pt x="156" y="108"/>
                  </a:lnTo>
                  <a:lnTo>
                    <a:pt x="154" y="106"/>
                  </a:lnTo>
                  <a:lnTo>
                    <a:pt x="154" y="104"/>
                  </a:lnTo>
                  <a:lnTo>
                    <a:pt x="154" y="102"/>
                  </a:lnTo>
                  <a:lnTo>
                    <a:pt x="152" y="102"/>
                  </a:lnTo>
                  <a:lnTo>
                    <a:pt x="152" y="102"/>
                  </a:lnTo>
                  <a:lnTo>
                    <a:pt x="152" y="102"/>
                  </a:lnTo>
                  <a:lnTo>
                    <a:pt x="150" y="102"/>
                  </a:lnTo>
                  <a:lnTo>
                    <a:pt x="150" y="102"/>
                  </a:lnTo>
                  <a:lnTo>
                    <a:pt x="150" y="102"/>
                  </a:lnTo>
                  <a:lnTo>
                    <a:pt x="150" y="102"/>
                  </a:lnTo>
                  <a:lnTo>
                    <a:pt x="148" y="102"/>
                  </a:lnTo>
                  <a:lnTo>
                    <a:pt x="148" y="104"/>
                  </a:lnTo>
                  <a:lnTo>
                    <a:pt x="148" y="104"/>
                  </a:lnTo>
                  <a:lnTo>
                    <a:pt x="148" y="106"/>
                  </a:lnTo>
                  <a:lnTo>
                    <a:pt x="148" y="108"/>
                  </a:lnTo>
                  <a:lnTo>
                    <a:pt x="148" y="112"/>
                  </a:lnTo>
                  <a:lnTo>
                    <a:pt x="148" y="116"/>
                  </a:lnTo>
                  <a:lnTo>
                    <a:pt x="148" y="120"/>
                  </a:lnTo>
                  <a:lnTo>
                    <a:pt x="148" y="122"/>
                  </a:lnTo>
                  <a:lnTo>
                    <a:pt x="148" y="124"/>
                  </a:lnTo>
                  <a:lnTo>
                    <a:pt x="148" y="126"/>
                  </a:lnTo>
                  <a:lnTo>
                    <a:pt x="148" y="126"/>
                  </a:lnTo>
                  <a:lnTo>
                    <a:pt x="146" y="128"/>
                  </a:lnTo>
                  <a:lnTo>
                    <a:pt x="146" y="130"/>
                  </a:lnTo>
                  <a:lnTo>
                    <a:pt x="144" y="134"/>
                  </a:lnTo>
                  <a:lnTo>
                    <a:pt x="140" y="136"/>
                  </a:lnTo>
                  <a:lnTo>
                    <a:pt x="138" y="140"/>
                  </a:lnTo>
                  <a:lnTo>
                    <a:pt x="134" y="144"/>
                  </a:lnTo>
                  <a:lnTo>
                    <a:pt x="132" y="148"/>
                  </a:lnTo>
                  <a:lnTo>
                    <a:pt x="128" y="150"/>
                  </a:lnTo>
                  <a:lnTo>
                    <a:pt x="126" y="152"/>
                  </a:lnTo>
                  <a:lnTo>
                    <a:pt x="124" y="154"/>
                  </a:lnTo>
                  <a:lnTo>
                    <a:pt x="122" y="156"/>
                  </a:lnTo>
                  <a:lnTo>
                    <a:pt x="118" y="156"/>
                  </a:lnTo>
                  <a:lnTo>
                    <a:pt x="116" y="158"/>
                  </a:lnTo>
                  <a:lnTo>
                    <a:pt x="110" y="160"/>
                  </a:lnTo>
                  <a:lnTo>
                    <a:pt x="106" y="162"/>
                  </a:lnTo>
                  <a:lnTo>
                    <a:pt x="104" y="162"/>
                  </a:lnTo>
                  <a:lnTo>
                    <a:pt x="100" y="164"/>
                  </a:lnTo>
                  <a:lnTo>
                    <a:pt x="94" y="164"/>
                  </a:lnTo>
                  <a:lnTo>
                    <a:pt x="80" y="168"/>
                  </a:lnTo>
                  <a:lnTo>
                    <a:pt x="72" y="170"/>
                  </a:lnTo>
                  <a:lnTo>
                    <a:pt x="64" y="172"/>
                  </a:lnTo>
                  <a:lnTo>
                    <a:pt x="62" y="172"/>
                  </a:lnTo>
                  <a:lnTo>
                    <a:pt x="58" y="174"/>
                  </a:lnTo>
                  <a:lnTo>
                    <a:pt x="56" y="176"/>
                  </a:lnTo>
                  <a:lnTo>
                    <a:pt x="54" y="176"/>
                  </a:lnTo>
                  <a:lnTo>
                    <a:pt x="52" y="178"/>
                  </a:lnTo>
                  <a:lnTo>
                    <a:pt x="52" y="178"/>
                  </a:lnTo>
                  <a:lnTo>
                    <a:pt x="50" y="180"/>
                  </a:lnTo>
                  <a:lnTo>
                    <a:pt x="48" y="182"/>
                  </a:lnTo>
                  <a:lnTo>
                    <a:pt x="46" y="184"/>
                  </a:lnTo>
                  <a:lnTo>
                    <a:pt x="42" y="188"/>
                  </a:lnTo>
                  <a:lnTo>
                    <a:pt x="40" y="192"/>
                  </a:lnTo>
                  <a:lnTo>
                    <a:pt x="36" y="194"/>
                  </a:lnTo>
                  <a:lnTo>
                    <a:pt x="36" y="196"/>
                  </a:lnTo>
                  <a:lnTo>
                    <a:pt x="34" y="198"/>
                  </a:lnTo>
                  <a:lnTo>
                    <a:pt x="32" y="198"/>
                  </a:lnTo>
                  <a:lnTo>
                    <a:pt x="30" y="200"/>
                  </a:lnTo>
                  <a:lnTo>
                    <a:pt x="30" y="200"/>
                  </a:lnTo>
                  <a:lnTo>
                    <a:pt x="28" y="200"/>
                  </a:lnTo>
                  <a:lnTo>
                    <a:pt x="26" y="200"/>
                  </a:lnTo>
                  <a:lnTo>
                    <a:pt x="26" y="200"/>
                  </a:lnTo>
                  <a:lnTo>
                    <a:pt x="22" y="200"/>
                  </a:lnTo>
                  <a:lnTo>
                    <a:pt x="18" y="200"/>
                  </a:lnTo>
                  <a:lnTo>
                    <a:pt x="14" y="200"/>
                  </a:lnTo>
                  <a:lnTo>
                    <a:pt x="12" y="200"/>
                  </a:lnTo>
                  <a:lnTo>
                    <a:pt x="10" y="200"/>
                  </a:lnTo>
                  <a:lnTo>
                    <a:pt x="10" y="200"/>
                  </a:lnTo>
                  <a:lnTo>
                    <a:pt x="8" y="200"/>
                  </a:lnTo>
                  <a:lnTo>
                    <a:pt x="6" y="200"/>
                  </a:lnTo>
                  <a:lnTo>
                    <a:pt x="6" y="202"/>
                  </a:lnTo>
                  <a:lnTo>
                    <a:pt x="6" y="202"/>
                  </a:lnTo>
                  <a:lnTo>
                    <a:pt x="4" y="204"/>
                  </a:lnTo>
                  <a:lnTo>
                    <a:pt x="4" y="204"/>
                  </a:lnTo>
                  <a:lnTo>
                    <a:pt x="4" y="206"/>
                  </a:lnTo>
                  <a:lnTo>
                    <a:pt x="2" y="208"/>
                  </a:lnTo>
                  <a:lnTo>
                    <a:pt x="2" y="212"/>
                  </a:lnTo>
                  <a:lnTo>
                    <a:pt x="2" y="214"/>
                  </a:lnTo>
                  <a:lnTo>
                    <a:pt x="2" y="218"/>
                  </a:lnTo>
                  <a:lnTo>
                    <a:pt x="2" y="222"/>
                  </a:lnTo>
                  <a:lnTo>
                    <a:pt x="2" y="224"/>
                  </a:lnTo>
                  <a:lnTo>
                    <a:pt x="4" y="228"/>
                  </a:lnTo>
                  <a:lnTo>
                    <a:pt x="4" y="232"/>
                  </a:lnTo>
                  <a:lnTo>
                    <a:pt x="4" y="234"/>
                  </a:lnTo>
                  <a:lnTo>
                    <a:pt x="6" y="238"/>
                  </a:lnTo>
                  <a:lnTo>
                    <a:pt x="6" y="242"/>
                  </a:lnTo>
                  <a:lnTo>
                    <a:pt x="8" y="244"/>
                  </a:lnTo>
                  <a:lnTo>
                    <a:pt x="8" y="246"/>
                  </a:lnTo>
                  <a:lnTo>
                    <a:pt x="10" y="248"/>
                  </a:lnTo>
                  <a:lnTo>
                    <a:pt x="10" y="248"/>
                  </a:lnTo>
                  <a:lnTo>
                    <a:pt x="10" y="250"/>
                  </a:lnTo>
                  <a:lnTo>
                    <a:pt x="12" y="250"/>
                  </a:lnTo>
                  <a:lnTo>
                    <a:pt x="14" y="252"/>
                  </a:lnTo>
                  <a:lnTo>
                    <a:pt x="14" y="252"/>
                  </a:lnTo>
                  <a:lnTo>
                    <a:pt x="16" y="252"/>
                  </a:lnTo>
                  <a:lnTo>
                    <a:pt x="18" y="254"/>
                  </a:lnTo>
                  <a:lnTo>
                    <a:pt x="20" y="254"/>
                  </a:lnTo>
                  <a:lnTo>
                    <a:pt x="20" y="256"/>
                  </a:lnTo>
                  <a:lnTo>
                    <a:pt x="20" y="256"/>
                  </a:lnTo>
                  <a:lnTo>
                    <a:pt x="20" y="256"/>
                  </a:lnTo>
                  <a:lnTo>
                    <a:pt x="20" y="258"/>
                  </a:lnTo>
                  <a:lnTo>
                    <a:pt x="20" y="260"/>
                  </a:lnTo>
                  <a:lnTo>
                    <a:pt x="20" y="262"/>
                  </a:lnTo>
                  <a:lnTo>
                    <a:pt x="20" y="264"/>
                  </a:lnTo>
                  <a:lnTo>
                    <a:pt x="18" y="264"/>
                  </a:lnTo>
                  <a:lnTo>
                    <a:pt x="18" y="266"/>
                  </a:lnTo>
                  <a:lnTo>
                    <a:pt x="18" y="266"/>
                  </a:lnTo>
                  <a:lnTo>
                    <a:pt x="18" y="266"/>
                  </a:lnTo>
                  <a:lnTo>
                    <a:pt x="16" y="266"/>
                  </a:lnTo>
                  <a:lnTo>
                    <a:pt x="16" y="266"/>
                  </a:lnTo>
                  <a:lnTo>
                    <a:pt x="14" y="266"/>
                  </a:lnTo>
                  <a:lnTo>
                    <a:pt x="14" y="264"/>
                  </a:lnTo>
                  <a:lnTo>
                    <a:pt x="12" y="262"/>
                  </a:lnTo>
                  <a:lnTo>
                    <a:pt x="10" y="260"/>
                  </a:lnTo>
                  <a:lnTo>
                    <a:pt x="8" y="258"/>
                  </a:lnTo>
                  <a:lnTo>
                    <a:pt x="6" y="258"/>
                  </a:lnTo>
                  <a:lnTo>
                    <a:pt x="6" y="256"/>
                  </a:lnTo>
                  <a:lnTo>
                    <a:pt x="4" y="256"/>
                  </a:lnTo>
                  <a:lnTo>
                    <a:pt x="4" y="256"/>
                  </a:lnTo>
                  <a:lnTo>
                    <a:pt x="2" y="256"/>
                  </a:lnTo>
                  <a:lnTo>
                    <a:pt x="2" y="256"/>
                  </a:lnTo>
                  <a:lnTo>
                    <a:pt x="2" y="256"/>
                  </a:lnTo>
                  <a:lnTo>
                    <a:pt x="2" y="256"/>
                  </a:lnTo>
                  <a:lnTo>
                    <a:pt x="0" y="258"/>
                  </a:lnTo>
                  <a:lnTo>
                    <a:pt x="0" y="258"/>
                  </a:lnTo>
                  <a:lnTo>
                    <a:pt x="0" y="260"/>
                  </a:lnTo>
                  <a:lnTo>
                    <a:pt x="0" y="262"/>
                  </a:lnTo>
                  <a:lnTo>
                    <a:pt x="0" y="266"/>
                  </a:lnTo>
                  <a:lnTo>
                    <a:pt x="0" y="268"/>
                  </a:lnTo>
                  <a:lnTo>
                    <a:pt x="0" y="270"/>
                  </a:lnTo>
                  <a:lnTo>
                    <a:pt x="2" y="274"/>
                  </a:lnTo>
                  <a:lnTo>
                    <a:pt x="2" y="278"/>
                  </a:lnTo>
                  <a:lnTo>
                    <a:pt x="2" y="280"/>
                  </a:lnTo>
                  <a:lnTo>
                    <a:pt x="4" y="284"/>
                  </a:lnTo>
                  <a:lnTo>
                    <a:pt x="6" y="292"/>
                  </a:lnTo>
                  <a:lnTo>
                    <a:pt x="8" y="298"/>
                  </a:lnTo>
                  <a:lnTo>
                    <a:pt x="10" y="300"/>
                  </a:lnTo>
                  <a:lnTo>
                    <a:pt x="10" y="302"/>
                  </a:lnTo>
                  <a:lnTo>
                    <a:pt x="14" y="306"/>
                  </a:lnTo>
                  <a:lnTo>
                    <a:pt x="14" y="308"/>
                  </a:lnTo>
                  <a:lnTo>
                    <a:pt x="16" y="310"/>
                  </a:lnTo>
                  <a:lnTo>
                    <a:pt x="16" y="312"/>
                  </a:lnTo>
                  <a:lnTo>
                    <a:pt x="18" y="314"/>
                  </a:lnTo>
                  <a:lnTo>
                    <a:pt x="18" y="316"/>
                  </a:lnTo>
                  <a:lnTo>
                    <a:pt x="18" y="318"/>
                  </a:lnTo>
                  <a:lnTo>
                    <a:pt x="18" y="320"/>
                  </a:lnTo>
                  <a:lnTo>
                    <a:pt x="18" y="324"/>
                  </a:lnTo>
                  <a:lnTo>
                    <a:pt x="18" y="328"/>
                  </a:lnTo>
                  <a:lnTo>
                    <a:pt x="18" y="332"/>
                  </a:lnTo>
                  <a:lnTo>
                    <a:pt x="18" y="334"/>
                  </a:lnTo>
                  <a:lnTo>
                    <a:pt x="18" y="336"/>
                  </a:lnTo>
                  <a:lnTo>
                    <a:pt x="16" y="340"/>
                  </a:lnTo>
                  <a:lnTo>
                    <a:pt x="16" y="342"/>
                  </a:lnTo>
                  <a:lnTo>
                    <a:pt x="16" y="344"/>
                  </a:lnTo>
                  <a:lnTo>
                    <a:pt x="16" y="346"/>
                  </a:lnTo>
                  <a:lnTo>
                    <a:pt x="16" y="346"/>
                  </a:lnTo>
                  <a:lnTo>
                    <a:pt x="18" y="346"/>
                  </a:lnTo>
                  <a:lnTo>
                    <a:pt x="18" y="348"/>
                  </a:lnTo>
                  <a:lnTo>
                    <a:pt x="18" y="348"/>
                  </a:lnTo>
                  <a:lnTo>
                    <a:pt x="20" y="348"/>
                  </a:lnTo>
                  <a:lnTo>
                    <a:pt x="24" y="350"/>
                  </a:lnTo>
                  <a:lnTo>
                    <a:pt x="24" y="350"/>
                  </a:lnTo>
                  <a:lnTo>
                    <a:pt x="24" y="350"/>
                  </a:lnTo>
                  <a:lnTo>
                    <a:pt x="26" y="352"/>
                  </a:lnTo>
                  <a:lnTo>
                    <a:pt x="26" y="352"/>
                  </a:lnTo>
                  <a:lnTo>
                    <a:pt x="26" y="354"/>
                  </a:lnTo>
                  <a:lnTo>
                    <a:pt x="28" y="356"/>
                  </a:lnTo>
                  <a:lnTo>
                    <a:pt x="28" y="358"/>
                  </a:lnTo>
                  <a:lnTo>
                    <a:pt x="28" y="360"/>
                  </a:lnTo>
                  <a:lnTo>
                    <a:pt x="28" y="362"/>
                  </a:lnTo>
                  <a:lnTo>
                    <a:pt x="28" y="364"/>
                  </a:lnTo>
                  <a:lnTo>
                    <a:pt x="28" y="368"/>
                  </a:lnTo>
                  <a:lnTo>
                    <a:pt x="28" y="370"/>
                  </a:lnTo>
                  <a:lnTo>
                    <a:pt x="28" y="372"/>
                  </a:lnTo>
                  <a:lnTo>
                    <a:pt x="28" y="374"/>
                  </a:lnTo>
                  <a:lnTo>
                    <a:pt x="28" y="374"/>
                  </a:lnTo>
                  <a:lnTo>
                    <a:pt x="28" y="376"/>
                  </a:lnTo>
                  <a:lnTo>
                    <a:pt x="26" y="378"/>
                  </a:lnTo>
                  <a:lnTo>
                    <a:pt x="26" y="380"/>
                  </a:lnTo>
                  <a:lnTo>
                    <a:pt x="26" y="380"/>
                  </a:lnTo>
                  <a:lnTo>
                    <a:pt x="26" y="380"/>
                  </a:lnTo>
                  <a:lnTo>
                    <a:pt x="24" y="380"/>
                  </a:lnTo>
                  <a:lnTo>
                    <a:pt x="24" y="380"/>
                  </a:lnTo>
                  <a:lnTo>
                    <a:pt x="22" y="380"/>
                  </a:lnTo>
                  <a:lnTo>
                    <a:pt x="20" y="380"/>
                  </a:lnTo>
                  <a:lnTo>
                    <a:pt x="18" y="380"/>
                  </a:lnTo>
                  <a:lnTo>
                    <a:pt x="18" y="380"/>
                  </a:lnTo>
                  <a:lnTo>
                    <a:pt x="18" y="380"/>
                  </a:lnTo>
                  <a:lnTo>
                    <a:pt x="16" y="380"/>
                  </a:lnTo>
                  <a:lnTo>
                    <a:pt x="16" y="382"/>
                  </a:lnTo>
                  <a:lnTo>
                    <a:pt x="16" y="382"/>
                  </a:lnTo>
                  <a:lnTo>
                    <a:pt x="14" y="384"/>
                  </a:lnTo>
                  <a:lnTo>
                    <a:pt x="14" y="386"/>
                  </a:lnTo>
                  <a:lnTo>
                    <a:pt x="14" y="390"/>
                  </a:lnTo>
                  <a:lnTo>
                    <a:pt x="12" y="390"/>
                  </a:lnTo>
                  <a:lnTo>
                    <a:pt x="12" y="392"/>
                  </a:lnTo>
                  <a:lnTo>
                    <a:pt x="12" y="392"/>
                  </a:lnTo>
                  <a:lnTo>
                    <a:pt x="10" y="394"/>
                  </a:lnTo>
                  <a:lnTo>
                    <a:pt x="8" y="396"/>
                  </a:lnTo>
                  <a:lnTo>
                    <a:pt x="8" y="398"/>
                  </a:lnTo>
                  <a:lnTo>
                    <a:pt x="6" y="398"/>
                  </a:lnTo>
                  <a:lnTo>
                    <a:pt x="6" y="400"/>
                  </a:lnTo>
                  <a:lnTo>
                    <a:pt x="6" y="400"/>
                  </a:lnTo>
                  <a:lnTo>
                    <a:pt x="6" y="400"/>
                  </a:lnTo>
                  <a:lnTo>
                    <a:pt x="6" y="402"/>
                  </a:lnTo>
                  <a:lnTo>
                    <a:pt x="6" y="402"/>
                  </a:lnTo>
                  <a:lnTo>
                    <a:pt x="8" y="404"/>
                  </a:lnTo>
                  <a:lnTo>
                    <a:pt x="8" y="406"/>
                  </a:lnTo>
                  <a:lnTo>
                    <a:pt x="10" y="408"/>
                  </a:lnTo>
                  <a:lnTo>
                    <a:pt x="12" y="410"/>
                  </a:lnTo>
                  <a:lnTo>
                    <a:pt x="14" y="412"/>
                  </a:lnTo>
                  <a:lnTo>
                    <a:pt x="16" y="414"/>
                  </a:lnTo>
                  <a:lnTo>
                    <a:pt x="18" y="416"/>
                  </a:lnTo>
                  <a:lnTo>
                    <a:pt x="20" y="418"/>
                  </a:lnTo>
                  <a:lnTo>
                    <a:pt x="22" y="420"/>
                  </a:lnTo>
                  <a:lnTo>
                    <a:pt x="28" y="422"/>
                  </a:lnTo>
                  <a:lnTo>
                    <a:pt x="32" y="426"/>
                  </a:lnTo>
                  <a:lnTo>
                    <a:pt x="36" y="426"/>
                  </a:lnTo>
                  <a:lnTo>
                    <a:pt x="38" y="428"/>
                  </a:lnTo>
                  <a:lnTo>
                    <a:pt x="40" y="428"/>
                  </a:lnTo>
                  <a:lnTo>
                    <a:pt x="42" y="430"/>
                  </a:lnTo>
                  <a:lnTo>
                    <a:pt x="44" y="430"/>
                  </a:lnTo>
                  <a:lnTo>
                    <a:pt x="46" y="430"/>
                  </a:lnTo>
                  <a:lnTo>
                    <a:pt x="48" y="430"/>
                  </a:lnTo>
                  <a:lnTo>
                    <a:pt x="48" y="430"/>
                  </a:lnTo>
                  <a:lnTo>
                    <a:pt x="48" y="430"/>
                  </a:lnTo>
                  <a:lnTo>
                    <a:pt x="50" y="428"/>
                  </a:lnTo>
                  <a:lnTo>
                    <a:pt x="50" y="428"/>
                  </a:lnTo>
                  <a:lnTo>
                    <a:pt x="50" y="428"/>
                  </a:lnTo>
                  <a:lnTo>
                    <a:pt x="52" y="426"/>
                  </a:lnTo>
                  <a:lnTo>
                    <a:pt x="52" y="424"/>
                  </a:lnTo>
                  <a:lnTo>
                    <a:pt x="54" y="422"/>
                  </a:lnTo>
                  <a:lnTo>
                    <a:pt x="54" y="420"/>
                  </a:lnTo>
                  <a:lnTo>
                    <a:pt x="56" y="420"/>
                  </a:lnTo>
                  <a:lnTo>
                    <a:pt x="56" y="416"/>
                  </a:lnTo>
                  <a:lnTo>
                    <a:pt x="58" y="414"/>
                  </a:lnTo>
                  <a:lnTo>
                    <a:pt x="58" y="414"/>
                  </a:lnTo>
                  <a:lnTo>
                    <a:pt x="60" y="412"/>
                  </a:lnTo>
                  <a:lnTo>
                    <a:pt x="60" y="412"/>
                  </a:lnTo>
                  <a:lnTo>
                    <a:pt x="60" y="412"/>
                  </a:lnTo>
                  <a:lnTo>
                    <a:pt x="62" y="412"/>
                  </a:lnTo>
                  <a:lnTo>
                    <a:pt x="62" y="412"/>
                  </a:lnTo>
                  <a:lnTo>
                    <a:pt x="64" y="412"/>
                  </a:lnTo>
                  <a:lnTo>
                    <a:pt x="66" y="412"/>
                  </a:lnTo>
                  <a:lnTo>
                    <a:pt x="68" y="412"/>
                  </a:lnTo>
                  <a:lnTo>
                    <a:pt x="72" y="412"/>
                  </a:lnTo>
                  <a:lnTo>
                    <a:pt x="78" y="414"/>
                  </a:lnTo>
                  <a:lnTo>
                    <a:pt x="82" y="414"/>
                  </a:lnTo>
                  <a:lnTo>
                    <a:pt x="82" y="414"/>
                  </a:lnTo>
                  <a:lnTo>
                    <a:pt x="84" y="414"/>
                  </a:lnTo>
                  <a:lnTo>
                    <a:pt x="90" y="414"/>
                  </a:lnTo>
                  <a:lnTo>
                    <a:pt x="96" y="414"/>
                  </a:lnTo>
                  <a:lnTo>
                    <a:pt x="102" y="414"/>
                  </a:lnTo>
                  <a:lnTo>
                    <a:pt x="110" y="412"/>
                  </a:lnTo>
                  <a:lnTo>
                    <a:pt x="114" y="412"/>
                  </a:lnTo>
                  <a:lnTo>
                    <a:pt x="118" y="412"/>
                  </a:lnTo>
                  <a:lnTo>
                    <a:pt x="120" y="412"/>
                  </a:lnTo>
                  <a:lnTo>
                    <a:pt x="124" y="410"/>
                  </a:lnTo>
                  <a:lnTo>
                    <a:pt x="126" y="410"/>
                  </a:lnTo>
                  <a:lnTo>
                    <a:pt x="130" y="410"/>
                  </a:lnTo>
                  <a:lnTo>
                    <a:pt x="132" y="408"/>
                  </a:lnTo>
                  <a:lnTo>
                    <a:pt x="134" y="406"/>
                  </a:lnTo>
                  <a:lnTo>
                    <a:pt x="136" y="406"/>
                  </a:lnTo>
                  <a:lnTo>
                    <a:pt x="136" y="406"/>
                  </a:lnTo>
                  <a:lnTo>
                    <a:pt x="138" y="404"/>
                  </a:lnTo>
                  <a:lnTo>
                    <a:pt x="138" y="402"/>
                  </a:lnTo>
                  <a:lnTo>
                    <a:pt x="140" y="400"/>
                  </a:lnTo>
                  <a:lnTo>
                    <a:pt x="142" y="396"/>
                  </a:lnTo>
                  <a:lnTo>
                    <a:pt x="144" y="394"/>
                  </a:lnTo>
                  <a:lnTo>
                    <a:pt x="144" y="392"/>
                  </a:lnTo>
                  <a:lnTo>
                    <a:pt x="148" y="390"/>
                  </a:lnTo>
                  <a:lnTo>
                    <a:pt x="152" y="386"/>
                  </a:lnTo>
                  <a:lnTo>
                    <a:pt x="154" y="386"/>
                  </a:lnTo>
                  <a:lnTo>
                    <a:pt x="156" y="384"/>
                  </a:lnTo>
                  <a:lnTo>
                    <a:pt x="158" y="382"/>
                  </a:lnTo>
                  <a:lnTo>
                    <a:pt x="160" y="382"/>
                  </a:lnTo>
                  <a:lnTo>
                    <a:pt x="162" y="382"/>
                  </a:lnTo>
                  <a:lnTo>
                    <a:pt x="164" y="380"/>
                  </a:lnTo>
                  <a:lnTo>
                    <a:pt x="168" y="380"/>
                  </a:lnTo>
                  <a:lnTo>
                    <a:pt x="170" y="380"/>
                  </a:lnTo>
                  <a:lnTo>
                    <a:pt x="176" y="380"/>
                  </a:lnTo>
                  <a:lnTo>
                    <a:pt x="184" y="380"/>
                  </a:lnTo>
                  <a:lnTo>
                    <a:pt x="190" y="380"/>
                  </a:lnTo>
                  <a:lnTo>
                    <a:pt x="194" y="380"/>
                  </a:lnTo>
                  <a:lnTo>
                    <a:pt x="196" y="380"/>
                  </a:lnTo>
                  <a:lnTo>
                    <a:pt x="198" y="378"/>
                  </a:lnTo>
                  <a:lnTo>
                    <a:pt x="202" y="378"/>
                  </a:lnTo>
                  <a:lnTo>
                    <a:pt x="204" y="378"/>
                  </a:lnTo>
                  <a:lnTo>
                    <a:pt x="206" y="376"/>
                  </a:lnTo>
                  <a:lnTo>
                    <a:pt x="208" y="376"/>
                  </a:lnTo>
                  <a:lnTo>
                    <a:pt x="208" y="374"/>
                  </a:lnTo>
                  <a:lnTo>
                    <a:pt x="210" y="372"/>
                  </a:lnTo>
                  <a:lnTo>
                    <a:pt x="212" y="370"/>
                  </a:lnTo>
                  <a:lnTo>
                    <a:pt x="214" y="368"/>
                  </a:lnTo>
                  <a:lnTo>
                    <a:pt x="216" y="368"/>
                  </a:lnTo>
                  <a:lnTo>
                    <a:pt x="216" y="368"/>
                  </a:lnTo>
                  <a:lnTo>
                    <a:pt x="216" y="368"/>
                  </a:lnTo>
                  <a:lnTo>
                    <a:pt x="220" y="366"/>
                  </a:lnTo>
                  <a:lnTo>
                    <a:pt x="222" y="366"/>
                  </a:lnTo>
                  <a:lnTo>
                    <a:pt x="224" y="366"/>
                  </a:lnTo>
                  <a:lnTo>
                    <a:pt x="230" y="366"/>
                  </a:lnTo>
                  <a:lnTo>
                    <a:pt x="232" y="366"/>
                  </a:lnTo>
                  <a:lnTo>
                    <a:pt x="234" y="366"/>
                  </a:lnTo>
                  <a:lnTo>
                    <a:pt x="236" y="366"/>
                  </a:lnTo>
                  <a:lnTo>
                    <a:pt x="236" y="366"/>
                  </a:lnTo>
                  <a:lnTo>
                    <a:pt x="240" y="364"/>
                  </a:lnTo>
                  <a:lnTo>
                    <a:pt x="242" y="364"/>
                  </a:lnTo>
                  <a:lnTo>
                    <a:pt x="244" y="364"/>
                  </a:lnTo>
                  <a:lnTo>
                    <a:pt x="244" y="364"/>
                  </a:lnTo>
                  <a:lnTo>
                    <a:pt x="246" y="364"/>
                  </a:lnTo>
                  <a:lnTo>
                    <a:pt x="246" y="364"/>
                  </a:lnTo>
                  <a:lnTo>
                    <a:pt x="246" y="364"/>
                  </a:lnTo>
                  <a:lnTo>
                    <a:pt x="246" y="364"/>
                  </a:lnTo>
                  <a:lnTo>
                    <a:pt x="248" y="364"/>
                  </a:lnTo>
                  <a:lnTo>
                    <a:pt x="248" y="366"/>
                  </a:lnTo>
                  <a:lnTo>
                    <a:pt x="248" y="366"/>
                  </a:lnTo>
                  <a:lnTo>
                    <a:pt x="248" y="368"/>
                  </a:lnTo>
                  <a:lnTo>
                    <a:pt x="248" y="370"/>
                  </a:lnTo>
                  <a:lnTo>
                    <a:pt x="248" y="370"/>
                  </a:lnTo>
                  <a:lnTo>
                    <a:pt x="248" y="372"/>
                  </a:lnTo>
                  <a:lnTo>
                    <a:pt x="248" y="372"/>
                  </a:lnTo>
                  <a:lnTo>
                    <a:pt x="248" y="372"/>
                  </a:lnTo>
                  <a:lnTo>
                    <a:pt x="250" y="372"/>
                  </a:lnTo>
                  <a:lnTo>
                    <a:pt x="252" y="372"/>
                  </a:lnTo>
                  <a:lnTo>
                    <a:pt x="252" y="374"/>
                  </a:lnTo>
                  <a:lnTo>
                    <a:pt x="256" y="374"/>
                  </a:lnTo>
                  <a:lnTo>
                    <a:pt x="258" y="372"/>
                  </a:lnTo>
                  <a:lnTo>
                    <a:pt x="262" y="372"/>
                  </a:lnTo>
                  <a:lnTo>
                    <a:pt x="264" y="372"/>
                  </a:lnTo>
                  <a:lnTo>
                    <a:pt x="266" y="372"/>
                  </a:lnTo>
                  <a:lnTo>
                    <a:pt x="268" y="372"/>
                  </a:lnTo>
                  <a:lnTo>
                    <a:pt x="268" y="372"/>
                  </a:lnTo>
                  <a:lnTo>
                    <a:pt x="270" y="372"/>
                  </a:lnTo>
                  <a:lnTo>
                    <a:pt x="270" y="374"/>
                  </a:lnTo>
                  <a:lnTo>
                    <a:pt x="272" y="374"/>
                  </a:lnTo>
                  <a:lnTo>
                    <a:pt x="274" y="376"/>
                  </a:lnTo>
                  <a:lnTo>
                    <a:pt x="276" y="378"/>
                  </a:lnTo>
                  <a:lnTo>
                    <a:pt x="278" y="382"/>
                  </a:lnTo>
                  <a:lnTo>
                    <a:pt x="280" y="384"/>
                  </a:lnTo>
                  <a:lnTo>
                    <a:pt x="284" y="388"/>
                  </a:lnTo>
                  <a:lnTo>
                    <a:pt x="288" y="392"/>
                  </a:lnTo>
                  <a:lnTo>
                    <a:pt x="288" y="396"/>
                  </a:lnTo>
                  <a:lnTo>
                    <a:pt x="290" y="398"/>
                  </a:lnTo>
                  <a:lnTo>
                    <a:pt x="292" y="400"/>
                  </a:lnTo>
                  <a:lnTo>
                    <a:pt x="292" y="402"/>
                  </a:lnTo>
                  <a:lnTo>
                    <a:pt x="292" y="402"/>
                  </a:lnTo>
                  <a:lnTo>
                    <a:pt x="292" y="404"/>
                  </a:lnTo>
                  <a:lnTo>
                    <a:pt x="292" y="406"/>
                  </a:lnTo>
                  <a:lnTo>
                    <a:pt x="292" y="412"/>
                  </a:lnTo>
                  <a:lnTo>
                    <a:pt x="292" y="414"/>
                  </a:lnTo>
                  <a:lnTo>
                    <a:pt x="292" y="418"/>
                  </a:lnTo>
                  <a:lnTo>
                    <a:pt x="292" y="418"/>
                  </a:lnTo>
                  <a:lnTo>
                    <a:pt x="292" y="420"/>
                  </a:lnTo>
                  <a:lnTo>
                    <a:pt x="292" y="420"/>
                  </a:lnTo>
                  <a:lnTo>
                    <a:pt x="294" y="420"/>
                  </a:lnTo>
                  <a:lnTo>
                    <a:pt x="294" y="420"/>
                  </a:lnTo>
                  <a:lnTo>
                    <a:pt x="294" y="422"/>
                  </a:lnTo>
                  <a:lnTo>
                    <a:pt x="296" y="422"/>
                  </a:lnTo>
                  <a:lnTo>
                    <a:pt x="296" y="422"/>
                  </a:lnTo>
                  <a:lnTo>
                    <a:pt x="298" y="420"/>
                  </a:lnTo>
                  <a:lnTo>
                    <a:pt x="300" y="420"/>
                  </a:lnTo>
                  <a:lnTo>
                    <a:pt x="302" y="420"/>
                  </a:lnTo>
                  <a:lnTo>
                    <a:pt x="304" y="418"/>
                  </a:lnTo>
                  <a:lnTo>
                    <a:pt x="304" y="418"/>
                  </a:lnTo>
                  <a:lnTo>
                    <a:pt x="308" y="416"/>
                  </a:lnTo>
                  <a:lnTo>
                    <a:pt x="310" y="414"/>
                  </a:lnTo>
                  <a:lnTo>
                    <a:pt x="314" y="412"/>
                  </a:lnTo>
                  <a:lnTo>
                    <a:pt x="316" y="410"/>
                  </a:lnTo>
                  <a:lnTo>
                    <a:pt x="320" y="406"/>
                  </a:lnTo>
                  <a:lnTo>
                    <a:pt x="322" y="402"/>
                  </a:lnTo>
                  <a:lnTo>
                    <a:pt x="324" y="400"/>
                  </a:lnTo>
                  <a:lnTo>
                    <a:pt x="326" y="398"/>
                  </a:lnTo>
                  <a:lnTo>
                    <a:pt x="326" y="398"/>
                  </a:lnTo>
                  <a:lnTo>
                    <a:pt x="326" y="396"/>
                  </a:lnTo>
                  <a:lnTo>
                    <a:pt x="328" y="390"/>
                  </a:lnTo>
                  <a:lnTo>
                    <a:pt x="330" y="388"/>
                  </a:lnTo>
                  <a:lnTo>
                    <a:pt x="330" y="386"/>
                  </a:lnTo>
                  <a:lnTo>
                    <a:pt x="330" y="386"/>
                  </a:lnTo>
                  <a:lnTo>
                    <a:pt x="332" y="386"/>
                  </a:lnTo>
                  <a:lnTo>
                    <a:pt x="332" y="384"/>
                  </a:lnTo>
                  <a:lnTo>
                    <a:pt x="332" y="384"/>
                  </a:lnTo>
                  <a:lnTo>
                    <a:pt x="334" y="384"/>
                  </a:lnTo>
                  <a:lnTo>
                    <a:pt x="334" y="384"/>
                  </a:lnTo>
                  <a:lnTo>
                    <a:pt x="334" y="384"/>
                  </a:lnTo>
                  <a:lnTo>
                    <a:pt x="334" y="386"/>
                  </a:lnTo>
                  <a:lnTo>
                    <a:pt x="336" y="386"/>
                  </a:lnTo>
                  <a:lnTo>
                    <a:pt x="336" y="388"/>
                  </a:lnTo>
                  <a:lnTo>
                    <a:pt x="336" y="390"/>
                  </a:lnTo>
                  <a:lnTo>
                    <a:pt x="336" y="392"/>
                  </a:lnTo>
                  <a:lnTo>
                    <a:pt x="336" y="394"/>
                  </a:lnTo>
                  <a:lnTo>
                    <a:pt x="334" y="396"/>
                  </a:lnTo>
                  <a:lnTo>
                    <a:pt x="334" y="398"/>
                  </a:lnTo>
                  <a:lnTo>
                    <a:pt x="334" y="400"/>
                  </a:lnTo>
                  <a:lnTo>
                    <a:pt x="332" y="404"/>
                  </a:lnTo>
                  <a:lnTo>
                    <a:pt x="332" y="408"/>
                  </a:lnTo>
                  <a:lnTo>
                    <a:pt x="330" y="410"/>
                  </a:lnTo>
                  <a:lnTo>
                    <a:pt x="328" y="412"/>
                  </a:lnTo>
                  <a:lnTo>
                    <a:pt x="328" y="414"/>
                  </a:lnTo>
                  <a:lnTo>
                    <a:pt x="324" y="416"/>
                  </a:lnTo>
                  <a:lnTo>
                    <a:pt x="322" y="418"/>
                  </a:lnTo>
                  <a:lnTo>
                    <a:pt x="322" y="420"/>
                  </a:lnTo>
                  <a:lnTo>
                    <a:pt x="322" y="420"/>
                  </a:lnTo>
                  <a:lnTo>
                    <a:pt x="320" y="420"/>
                  </a:lnTo>
                  <a:lnTo>
                    <a:pt x="320" y="422"/>
                  </a:lnTo>
                  <a:lnTo>
                    <a:pt x="320" y="422"/>
                  </a:lnTo>
                  <a:lnTo>
                    <a:pt x="322" y="422"/>
                  </a:lnTo>
                  <a:lnTo>
                    <a:pt x="322" y="422"/>
                  </a:lnTo>
                  <a:lnTo>
                    <a:pt x="322" y="424"/>
                  </a:lnTo>
                  <a:lnTo>
                    <a:pt x="324" y="424"/>
                  </a:lnTo>
                  <a:lnTo>
                    <a:pt x="326" y="424"/>
                  </a:lnTo>
                  <a:lnTo>
                    <a:pt x="328" y="424"/>
                  </a:lnTo>
                  <a:lnTo>
                    <a:pt x="328" y="424"/>
                  </a:lnTo>
                  <a:lnTo>
                    <a:pt x="330" y="424"/>
                  </a:lnTo>
                  <a:lnTo>
                    <a:pt x="332" y="424"/>
                  </a:lnTo>
                  <a:lnTo>
                    <a:pt x="332" y="424"/>
                  </a:lnTo>
                  <a:lnTo>
                    <a:pt x="332" y="424"/>
                  </a:lnTo>
                  <a:lnTo>
                    <a:pt x="332" y="422"/>
                  </a:lnTo>
                  <a:lnTo>
                    <a:pt x="332" y="422"/>
                  </a:lnTo>
                  <a:lnTo>
                    <a:pt x="334" y="420"/>
                  </a:lnTo>
                  <a:lnTo>
                    <a:pt x="334" y="416"/>
                  </a:lnTo>
                  <a:lnTo>
                    <a:pt x="334" y="416"/>
                  </a:lnTo>
                  <a:lnTo>
                    <a:pt x="334" y="414"/>
                  </a:lnTo>
                  <a:lnTo>
                    <a:pt x="336" y="412"/>
                  </a:lnTo>
                  <a:lnTo>
                    <a:pt x="338" y="410"/>
                  </a:lnTo>
                  <a:lnTo>
                    <a:pt x="338" y="410"/>
                  </a:lnTo>
                  <a:lnTo>
                    <a:pt x="338" y="408"/>
                  </a:lnTo>
                  <a:lnTo>
                    <a:pt x="340" y="408"/>
                  </a:lnTo>
                  <a:lnTo>
                    <a:pt x="340" y="408"/>
                  </a:lnTo>
                  <a:lnTo>
                    <a:pt x="340" y="408"/>
                  </a:lnTo>
                  <a:lnTo>
                    <a:pt x="340" y="408"/>
                  </a:lnTo>
                  <a:lnTo>
                    <a:pt x="340" y="408"/>
                  </a:lnTo>
                  <a:lnTo>
                    <a:pt x="340" y="410"/>
                  </a:lnTo>
                  <a:lnTo>
                    <a:pt x="340" y="410"/>
                  </a:lnTo>
                  <a:lnTo>
                    <a:pt x="340" y="410"/>
                  </a:lnTo>
                  <a:lnTo>
                    <a:pt x="340" y="412"/>
                  </a:lnTo>
                  <a:lnTo>
                    <a:pt x="340" y="414"/>
                  </a:lnTo>
                  <a:lnTo>
                    <a:pt x="340" y="414"/>
                  </a:lnTo>
                  <a:lnTo>
                    <a:pt x="340" y="416"/>
                  </a:lnTo>
                  <a:lnTo>
                    <a:pt x="340" y="420"/>
                  </a:lnTo>
                  <a:lnTo>
                    <a:pt x="342" y="422"/>
                  </a:lnTo>
                  <a:lnTo>
                    <a:pt x="342" y="424"/>
                  </a:lnTo>
                  <a:lnTo>
                    <a:pt x="342" y="424"/>
                  </a:lnTo>
                  <a:lnTo>
                    <a:pt x="344" y="426"/>
                  </a:lnTo>
                  <a:lnTo>
                    <a:pt x="344" y="426"/>
                  </a:lnTo>
                  <a:lnTo>
                    <a:pt x="346" y="428"/>
                  </a:lnTo>
                  <a:lnTo>
                    <a:pt x="350" y="432"/>
                  </a:lnTo>
                  <a:lnTo>
                    <a:pt x="350" y="432"/>
                  </a:lnTo>
                  <a:lnTo>
                    <a:pt x="352" y="434"/>
                  </a:lnTo>
                  <a:lnTo>
                    <a:pt x="352" y="434"/>
                  </a:lnTo>
                  <a:lnTo>
                    <a:pt x="352" y="436"/>
                  </a:lnTo>
                  <a:lnTo>
                    <a:pt x="352" y="438"/>
                  </a:lnTo>
                  <a:lnTo>
                    <a:pt x="352" y="442"/>
                  </a:lnTo>
                  <a:lnTo>
                    <a:pt x="352" y="444"/>
                  </a:lnTo>
                  <a:lnTo>
                    <a:pt x="352" y="446"/>
                  </a:lnTo>
                  <a:lnTo>
                    <a:pt x="352" y="448"/>
                  </a:lnTo>
                  <a:lnTo>
                    <a:pt x="350" y="452"/>
                  </a:lnTo>
                  <a:lnTo>
                    <a:pt x="348" y="454"/>
                  </a:lnTo>
                  <a:lnTo>
                    <a:pt x="348" y="456"/>
                  </a:lnTo>
                  <a:lnTo>
                    <a:pt x="348" y="458"/>
                  </a:lnTo>
                  <a:lnTo>
                    <a:pt x="348" y="458"/>
                  </a:lnTo>
                  <a:lnTo>
                    <a:pt x="348" y="460"/>
                  </a:lnTo>
                  <a:lnTo>
                    <a:pt x="348" y="460"/>
                  </a:lnTo>
                  <a:lnTo>
                    <a:pt x="348" y="462"/>
                  </a:lnTo>
                  <a:lnTo>
                    <a:pt x="348" y="462"/>
                  </a:lnTo>
                  <a:lnTo>
                    <a:pt x="350" y="464"/>
                  </a:lnTo>
                  <a:lnTo>
                    <a:pt x="352" y="466"/>
                  </a:lnTo>
                  <a:lnTo>
                    <a:pt x="354" y="468"/>
                  </a:lnTo>
                  <a:lnTo>
                    <a:pt x="356" y="470"/>
                  </a:lnTo>
                  <a:lnTo>
                    <a:pt x="358" y="470"/>
                  </a:lnTo>
                  <a:lnTo>
                    <a:pt x="362" y="474"/>
                  </a:lnTo>
                  <a:lnTo>
                    <a:pt x="364" y="476"/>
                  </a:lnTo>
                  <a:lnTo>
                    <a:pt x="368" y="478"/>
                  </a:lnTo>
                  <a:lnTo>
                    <a:pt x="372" y="478"/>
                  </a:lnTo>
                  <a:lnTo>
                    <a:pt x="376" y="480"/>
                  </a:lnTo>
                  <a:lnTo>
                    <a:pt x="382" y="482"/>
                  </a:lnTo>
                  <a:lnTo>
                    <a:pt x="386" y="484"/>
                  </a:lnTo>
                  <a:lnTo>
                    <a:pt x="392" y="486"/>
                  </a:lnTo>
                  <a:lnTo>
                    <a:pt x="402" y="488"/>
                  </a:lnTo>
                  <a:lnTo>
                    <a:pt x="406" y="490"/>
                  </a:lnTo>
                  <a:lnTo>
                    <a:pt x="410" y="492"/>
                  </a:lnTo>
                  <a:lnTo>
                    <a:pt x="416" y="492"/>
                  </a:lnTo>
                  <a:lnTo>
                    <a:pt x="422" y="494"/>
                  </a:lnTo>
                  <a:lnTo>
                    <a:pt x="424" y="494"/>
                  </a:lnTo>
                  <a:lnTo>
                    <a:pt x="426" y="494"/>
                  </a:lnTo>
                  <a:lnTo>
                    <a:pt x="428" y="494"/>
                  </a:lnTo>
                  <a:lnTo>
                    <a:pt x="430" y="494"/>
                  </a:lnTo>
                  <a:lnTo>
                    <a:pt x="430" y="494"/>
                  </a:lnTo>
                  <a:lnTo>
                    <a:pt x="432" y="494"/>
                  </a:lnTo>
                  <a:lnTo>
                    <a:pt x="436" y="492"/>
                  </a:lnTo>
                  <a:lnTo>
                    <a:pt x="438" y="492"/>
                  </a:lnTo>
                  <a:lnTo>
                    <a:pt x="442" y="490"/>
                  </a:lnTo>
                  <a:lnTo>
                    <a:pt x="448" y="486"/>
                  </a:lnTo>
                  <a:lnTo>
                    <a:pt x="454" y="484"/>
                  </a:lnTo>
                  <a:lnTo>
                    <a:pt x="460" y="482"/>
                  </a:lnTo>
                  <a:lnTo>
                    <a:pt x="464" y="480"/>
                  </a:lnTo>
                  <a:lnTo>
                    <a:pt x="470" y="478"/>
                  </a:lnTo>
                  <a:lnTo>
                    <a:pt x="476" y="476"/>
                  </a:lnTo>
                  <a:lnTo>
                    <a:pt x="482" y="472"/>
                  </a:lnTo>
                  <a:lnTo>
                    <a:pt x="486" y="472"/>
                  </a:lnTo>
                  <a:lnTo>
                    <a:pt x="488" y="470"/>
                  </a:lnTo>
                  <a:lnTo>
                    <a:pt x="490" y="468"/>
                  </a:lnTo>
                  <a:lnTo>
                    <a:pt x="492" y="466"/>
                  </a:lnTo>
                  <a:lnTo>
                    <a:pt x="494" y="466"/>
                  </a:lnTo>
                  <a:lnTo>
                    <a:pt x="496" y="464"/>
                  </a:lnTo>
                  <a:lnTo>
                    <a:pt x="498" y="462"/>
                  </a:lnTo>
                  <a:lnTo>
                    <a:pt x="498" y="460"/>
                  </a:lnTo>
                  <a:lnTo>
                    <a:pt x="500" y="458"/>
                  </a:lnTo>
                  <a:lnTo>
                    <a:pt x="500" y="456"/>
                  </a:lnTo>
                  <a:lnTo>
                    <a:pt x="500" y="452"/>
                  </a:lnTo>
                  <a:lnTo>
                    <a:pt x="502" y="448"/>
                  </a:lnTo>
                  <a:lnTo>
                    <a:pt x="504" y="444"/>
                  </a:lnTo>
                  <a:lnTo>
                    <a:pt x="504" y="438"/>
                  </a:lnTo>
                  <a:lnTo>
                    <a:pt x="506" y="436"/>
                  </a:lnTo>
                  <a:lnTo>
                    <a:pt x="506" y="436"/>
                  </a:lnTo>
                  <a:lnTo>
                    <a:pt x="506" y="434"/>
                  </a:lnTo>
                  <a:lnTo>
                    <a:pt x="508" y="432"/>
                  </a:lnTo>
                  <a:lnTo>
                    <a:pt x="508" y="432"/>
                  </a:lnTo>
                  <a:lnTo>
                    <a:pt x="510" y="430"/>
                  </a:lnTo>
                  <a:lnTo>
                    <a:pt x="512" y="428"/>
                  </a:lnTo>
                  <a:lnTo>
                    <a:pt x="514" y="426"/>
                  </a:lnTo>
                  <a:lnTo>
                    <a:pt x="516" y="424"/>
                  </a:lnTo>
                  <a:lnTo>
                    <a:pt x="520" y="422"/>
                  </a:lnTo>
                  <a:lnTo>
                    <a:pt x="522" y="420"/>
                  </a:lnTo>
                  <a:lnTo>
                    <a:pt x="524" y="418"/>
                  </a:lnTo>
                  <a:lnTo>
                    <a:pt x="526" y="418"/>
                  </a:lnTo>
                  <a:lnTo>
                    <a:pt x="526" y="416"/>
                  </a:lnTo>
                  <a:lnTo>
                    <a:pt x="528" y="416"/>
                  </a:lnTo>
                  <a:lnTo>
                    <a:pt x="528" y="414"/>
                  </a:lnTo>
                  <a:lnTo>
                    <a:pt x="530" y="412"/>
                  </a:lnTo>
                  <a:lnTo>
                    <a:pt x="532" y="408"/>
                  </a:lnTo>
                  <a:lnTo>
                    <a:pt x="532" y="404"/>
                  </a:lnTo>
                  <a:lnTo>
                    <a:pt x="534" y="400"/>
                  </a:lnTo>
                  <a:lnTo>
                    <a:pt x="536" y="396"/>
                  </a:lnTo>
                  <a:lnTo>
                    <a:pt x="538" y="394"/>
                  </a:lnTo>
                  <a:lnTo>
                    <a:pt x="538" y="392"/>
                  </a:lnTo>
                  <a:lnTo>
                    <a:pt x="540" y="390"/>
                  </a:lnTo>
                  <a:lnTo>
                    <a:pt x="540" y="390"/>
                  </a:lnTo>
                  <a:lnTo>
                    <a:pt x="542" y="388"/>
                  </a:lnTo>
                  <a:lnTo>
                    <a:pt x="544" y="386"/>
                  </a:lnTo>
                  <a:lnTo>
                    <a:pt x="548" y="382"/>
                  </a:lnTo>
                  <a:lnTo>
                    <a:pt x="550" y="380"/>
                  </a:lnTo>
                  <a:lnTo>
                    <a:pt x="558" y="374"/>
                  </a:lnTo>
                  <a:lnTo>
                    <a:pt x="560" y="370"/>
                  </a:lnTo>
                  <a:lnTo>
                    <a:pt x="564" y="368"/>
                  </a:lnTo>
                  <a:lnTo>
                    <a:pt x="564" y="366"/>
                  </a:lnTo>
                  <a:lnTo>
                    <a:pt x="568" y="364"/>
                  </a:lnTo>
                  <a:lnTo>
                    <a:pt x="570" y="360"/>
                  </a:lnTo>
                  <a:lnTo>
                    <a:pt x="570" y="358"/>
                  </a:lnTo>
                  <a:lnTo>
                    <a:pt x="570" y="358"/>
                  </a:lnTo>
                  <a:lnTo>
                    <a:pt x="572" y="356"/>
                  </a:lnTo>
                  <a:lnTo>
                    <a:pt x="572" y="354"/>
                  </a:lnTo>
                  <a:lnTo>
                    <a:pt x="572" y="352"/>
                  </a:lnTo>
                  <a:lnTo>
                    <a:pt x="572" y="348"/>
                  </a:lnTo>
                  <a:lnTo>
                    <a:pt x="572" y="344"/>
                  </a:lnTo>
                  <a:lnTo>
                    <a:pt x="572" y="338"/>
                  </a:lnTo>
                  <a:lnTo>
                    <a:pt x="570" y="326"/>
                  </a:lnTo>
                  <a:lnTo>
                    <a:pt x="570" y="322"/>
                  </a:lnTo>
                  <a:lnTo>
                    <a:pt x="570" y="320"/>
                  </a:lnTo>
                  <a:lnTo>
                    <a:pt x="570" y="318"/>
                  </a:lnTo>
                  <a:lnTo>
                    <a:pt x="570" y="314"/>
                  </a:lnTo>
                  <a:lnTo>
                    <a:pt x="572" y="312"/>
                  </a:lnTo>
                  <a:lnTo>
                    <a:pt x="572" y="306"/>
                  </a:lnTo>
                  <a:lnTo>
                    <a:pt x="576" y="292"/>
                  </a:lnTo>
                  <a:lnTo>
                    <a:pt x="576" y="284"/>
                  </a:lnTo>
                  <a:lnTo>
                    <a:pt x="578" y="276"/>
                  </a:lnTo>
                  <a:lnTo>
                    <a:pt x="578" y="270"/>
                  </a:lnTo>
                  <a:lnTo>
                    <a:pt x="580" y="268"/>
                  </a:lnTo>
                  <a:lnTo>
                    <a:pt x="580" y="264"/>
                  </a:lnTo>
                  <a:lnTo>
                    <a:pt x="580" y="262"/>
                  </a:lnTo>
                  <a:lnTo>
                    <a:pt x="580" y="258"/>
                  </a:lnTo>
                  <a:lnTo>
                    <a:pt x="578" y="254"/>
                  </a:lnTo>
                  <a:lnTo>
                    <a:pt x="578" y="254"/>
                  </a:lnTo>
                  <a:lnTo>
                    <a:pt x="578" y="252"/>
                  </a:lnTo>
                  <a:lnTo>
                    <a:pt x="578" y="250"/>
                  </a:lnTo>
                  <a:lnTo>
                    <a:pt x="576" y="250"/>
                  </a:lnTo>
                  <a:lnTo>
                    <a:pt x="574" y="246"/>
                  </a:lnTo>
                  <a:lnTo>
                    <a:pt x="572" y="244"/>
                  </a:lnTo>
                  <a:lnTo>
                    <a:pt x="570" y="240"/>
                  </a:lnTo>
                  <a:lnTo>
                    <a:pt x="566" y="236"/>
                  </a:lnTo>
                  <a:lnTo>
                    <a:pt x="564" y="234"/>
                  </a:lnTo>
                  <a:lnTo>
                    <a:pt x="562" y="230"/>
                  </a:lnTo>
                  <a:lnTo>
                    <a:pt x="562" y="230"/>
                  </a:lnTo>
                  <a:lnTo>
                    <a:pt x="560" y="228"/>
                  </a:lnTo>
                  <a:lnTo>
                    <a:pt x="560" y="226"/>
                  </a:lnTo>
                  <a:lnTo>
                    <a:pt x="560" y="226"/>
                  </a:lnTo>
                  <a:lnTo>
                    <a:pt x="558" y="222"/>
                  </a:lnTo>
                  <a:lnTo>
                    <a:pt x="556" y="214"/>
                  </a:lnTo>
                  <a:lnTo>
                    <a:pt x="556" y="210"/>
                  </a:lnTo>
                  <a:lnTo>
                    <a:pt x="554" y="206"/>
                  </a:lnTo>
                  <a:lnTo>
                    <a:pt x="554" y="204"/>
                  </a:lnTo>
                  <a:lnTo>
                    <a:pt x="554" y="204"/>
                  </a:lnTo>
                  <a:lnTo>
                    <a:pt x="552" y="202"/>
                  </a:lnTo>
                  <a:lnTo>
                    <a:pt x="552" y="200"/>
                  </a:lnTo>
                  <a:lnTo>
                    <a:pt x="550" y="200"/>
                  </a:lnTo>
                  <a:lnTo>
                    <a:pt x="550" y="200"/>
                  </a:lnTo>
                  <a:lnTo>
                    <a:pt x="550" y="198"/>
                  </a:lnTo>
                  <a:lnTo>
                    <a:pt x="548" y="198"/>
                  </a:lnTo>
                  <a:lnTo>
                    <a:pt x="546" y="198"/>
                  </a:lnTo>
                  <a:lnTo>
                    <a:pt x="542" y="196"/>
                  </a:lnTo>
                  <a:lnTo>
                    <a:pt x="540" y="196"/>
                  </a:lnTo>
                  <a:lnTo>
                    <a:pt x="536" y="194"/>
                  </a:lnTo>
                  <a:lnTo>
                    <a:pt x="536" y="194"/>
                  </a:lnTo>
                  <a:lnTo>
                    <a:pt x="534" y="194"/>
                  </a:lnTo>
                  <a:lnTo>
                    <a:pt x="534" y="192"/>
                  </a:lnTo>
                  <a:lnTo>
                    <a:pt x="532" y="192"/>
                  </a:lnTo>
                  <a:lnTo>
                    <a:pt x="532" y="190"/>
                  </a:lnTo>
                  <a:lnTo>
                    <a:pt x="532" y="190"/>
                  </a:lnTo>
                  <a:lnTo>
                    <a:pt x="532" y="188"/>
                  </a:lnTo>
                  <a:lnTo>
                    <a:pt x="530" y="186"/>
                  </a:lnTo>
                  <a:lnTo>
                    <a:pt x="530" y="182"/>
                  </a:lnTo>
                  <a:lnTo>
                    <a:pt x="530" y="178"/>
                  </a:lnTo>
                  <a:lnTo>
                    <a:pt x="530" y="174"/>
                  </a:lnTo>
                  <a:lnTo>
                    <a:pt x="530" y="172"/>
                  </a:lnTo>
                  <a:lnTo>
                    <a:pt x="530" y="170"/>
                  </a:lnTo>
                  <a:lnTo>
                    <a:pt x="530" y="168"/>
                  </a:lnTo>
                  <a:lnTo>
                    <a:pt x="528" y="166"/>
                  </a:lnTo>
                  <a:lnTo>
                    <a:pt x="528" y="166"/>
                  </a:lnTo>
                  <a:lnTo>
                    <a:pt x="526" y="164"/>
                  </a:lnTo>
                  <a:lnTo>
                    <a:pt x="526" y="162"/>
                  </a:lnTo>
                  <a:lnTo>
                    <a:pt x="524" y="162"/>
                  </a:lnTo>
                  <a:lnTo>
                    <a:pt x="522" y="162"/>
                  </a:lnTo>
                  <a:lnTo>
                    <a:pt x="520" y="160"/>
                  </a:lnTo>
                  <a:lnTo>
                    <a:pt x="518" y="160"/>
                  </a:lnTo>
                  <a:lnTo>
                    <a:pt x="514" y="158"/>
                  </a:lnTo>
                  <a:lnTo>
                    <a:pt x="508" y="156"/>
                  </a:lnTo>
                  <a:lnTo>
                    <a:pt x="506" y="156"/>
                  </a:lnTo>
                  <a:lnTo>
                    <a:pt x="504" y="154"/>
                  </a:lnTo>
                  <a:lnTo>
                    <a:pt x="502" y="154"/>
                  </a:lnTo>
                  <a:lnTo>
                    <a:pt x="500" y="152"/>
                  </a:lnTo>
                  <a:lnTo>
                    <a:pt x="500" y="152"/>
                  </a:lnTo>
                  <a:lnTo>
                    <a:pt x="498" y="150"/>
                  </a:lnTo>
                  <a:lnTo>
                    <a:pt x="498" y="148"/>
                  </a:lnTo>
                  <a:lnTo>
                    <a:pt x="498" y="146"/>
                  </a:lnTo>
                  <a:lnTo>
                    <a:pt x="498" y="146"/>
                  </a:lnTo>
                  <a:lnTo>
                    <a:pt x="496" y="144"/>
                  </a:lnTo>
                  <a:lnTo>
                    <a:pt x="496" y="140"/>
                  </a:lnTo>
                  <a:lnTo>
                    <a:pt x="496" y="138"/>
                  </a:lnTo>
                  <a:lnTo>
                    <a:pt x="496" y="134"/>
                  </a:lnTo>
                  <a:lnTo>
                    <a:pt x="498" y="124"/>
                  </a:lnTo>
                  <a:lnTo>
                    <a:pt x="498" y="120"/>
                  </a:lnTo>
                  <a:lnTo>
                    <a:pt x="498" y="118"/>
                  </a:lnTo>
                  <a:lnTo>
                    <a:pt x="498" y="116"/>
                  </a:lnTo>
                  <a:lnTo>
                    <a:pt x="496" y="112"/>
                  </a:lnTo>
                  <a:lnTo>
                    <a:pt x="496" y="108"/>
                  </a:lnTo>
                  <a:lnTo>
                    <a:pt x="494" y="102"/>
                  </a:lnTo>
                  <a:lnTo>
                    <a:pt x="494" y="98"/>
                  </a:lnTo>
                  <a:lnTo>
                    <a:pt x="492" y="92"/>
                  </a:lnTo>
                  <a:lnTo>
                    <a:pt x="490" y="88"/>
                  </a:lnTo>
                  <a:lnTo>
                    <a:pt x="490" y="84"/>
                  </a:lnTo>
                  <a:lnTo>
                    <a:pt x="488" y="82"/>
                  </a:lnTo>
                  <a:lnTo>
                    <a:pt x="488" y="80"/>
                  </a:lnTo>
                  <a:lnTo>
                    <a:pt x="486" y="78"/>
                  </a:lnTo>
                  <a:lnTo>
                    <a:pt x="486" y="78"/>
                  </a:lnTo>
                  <a:lnTo>
                    <a:pt x="484" y="74"/>
                  </a:lnTo>
                  <a:lnTo>
                    <a:pt x="482" y="72"/>
                  </a:lnTo>
                  <a:lnTo>
                    <a:pt x="478" y="70"/>
                  </a:lnTo>
                  <a:lnTo>
                    <a:pt x="476" y="68"/>
                  </a:lnTo>
                  <a:lnTo>
                    <a:pt x="474" y="64"/>
                  </a:lnTo>
                  <a:lnTo>
                    <a:pt x="472" y="62"/>
                  </a:lnTo>
                  <a:lnTo>
                    <a:pt x="470" y="60"/>
                  </a:lnTo>
                  <a:lnTo>
                    <a:pt x="470" y="60"/>
                  </a:lnTo>
                  <a:lnTo>
                    <a:pt x="468" y="56"/>
                  </a:lnTo>
                  <a:lnTo>
                    <a:pt x="466" y="54"/>
                  </a:lnTo>
                  <a:lnTo>
                    <a:pt x="464" y="50"/>
                  </a:lnTo>
                  <a:lnTo>
                    <a:pt x="464" y="46"/>
                  </a:lnTo>
                  <a:lnTo>
                    <a:pt x="462" y="42"/>
                  </a:lnTo>
                  <a:lnTo>
                    <a:pt x="460" y="38"/>
                  </a:lnTo>
                  <a:lnTo>
                    <a:pt x="460" y="36"/>
                  </a:lnTo>
                  <a:lnTo>
                    <a:pt x="460" y="34"/>
                  </a:lnTo>
                  <a:lnTo>
                    <a:pt x="460" y="34"/>
                  </a:lnTo>
                  <a:lnTo>
                    <a:pt x="460" y="32"/>
                  </a:lnTo>
                  <a:lnTo>
                    <a:pt x="460" y="32"/>
                  </a:lnTo>
                  <a:lnTo>
                    <a:pt x="460" y="30"/>
                  </a:lnTo>
                  <a:lnTo>
                    <a:pt x="460" y="28"/>
                  </a:lnTo>
                  <a:lnTo>
                    <a:pt x="462" y="26"/>
                  </a:lnTo>
                  <a:lnTo>
                    <a:pt x="464" y="24"/>
                  </a:lnTo>
                  <a:lnTo>
                    <a:pt x="466" y="22"/>
                  </a:lnTo>
                  <a:lnTo>
                    <a:pt x="466" y="20"/>
                  </a:lnTo>
                  <a:lnTo>
                    <a:pt x="466" y="20"/>
                  </a:lnTo>
                  <a:lnTo>
                    <a:pt x="468" y="18"/>
                  </a:lnTo>
                  <a:lnTo>
                    <a:pt x="468" y="18"/>
                  </a:lnTo>
                  <a:lnTo>
                    <a:pt x="468" y="16"/>
                  </a:lnTo>
                  <a:lnTo>
                    <a:pt x="466" y="16"/>
                  </a:lnTo>
                  <a:lnTo>
                    <a:pt x="466" y="14"/>
                  </a:lnTo>
                  <a:lnTo>
                    <a:pt x="466" y="12"/>
                  </a:lnTo>
                  <a:lnTo>
                    <a:pt x="466" y="12"/>
                  </a:lnTo>
                  <a:lnTo>
                    <a:pt x="464" y="8"/>
                  </a:lnTo>
                  <a:lnTo>
                    <a:pt x="462" y="6"/>
                  </a:lnTo>
                  <a:lnTo>
                    <a:pt x="460" y="4"/>
                  </a:lnTo>
                  <a:lnTo>
                    <a:pt x="460" y="4"/>
                  </a:lnTo>
                  <a:lnTo>
                    <a:pt x="458" y="2"/>
                  </a:lnTo>
                  <a:lnTo>
                    <a:pt x="456" y="0"/>
                  </a:lnTo>
                  <a:lnTo>
                    <a:pt x="456" y="0"/>
                  </a:lnTo>
                  <a:lnTo>
                    <a:pt x="454" y="0"/>
                  </a:lnTo>
                  <a:lnTo>
                    <a:pt x="454" y="0"/>
                  </a:lnTo>
                  <a:lnTo>
                    <a:pt x="452" y="0"/>
                  </a:lnTo>
                  <a:lnTo>
                    <a:pt x="452" y="0"/>
                  </a:lnTo>
                  <a:lnTo>
                    <a:pt x="450" y="0"/>
                  </a:lnTo>
                  <a:lnTo>
                    <a:pt x="450" y="0"/>
                  </a:lnTo>
                  <a:lnTo>
                    <a:pt x="448" y="2"/>
                  </a:lnTo>
                  <a:lnTo>
                    <a:pt x="448" y="2"/>
                  </a:lnTo>
                  <a:lnTo>
                    <a:pt x="448" y="4"/>
                  </a:lnTo>
                  <a:lnTo>
                    <a:pt x="446" y="6"/>
                  </a:lnTo>
                  <a:lnTo>
                    <a:pt x="444" y="12"/>
                  </a:lnTo>
                  <a:lnTo>
                    <a:pt x="444" y="14"/>
                  </a:lnTo>
                  <a:lnTo>
                    <a:pt x="442" y="16"/>
                  </a:lnTo>
                  <a:lnTo>
                    <a:pt x="442" y="16"/>
                  </a:lnTo>
                  <a:lnTo>
                    <a:pt x="442" y="18"/>
                  </a:lnTo>
                  <a:lnTo>
                    <a:pt x="440" y="20"/>
                  </a:lnTo>
                  <a:lnTo>
                    <a:pt x="438" y="22"/>
                  </a:lnTo>
                  <a:lnTo>
                    <a:pt x="436" y="24"/>
                  </a:lnTo>
                  <a:lnTo>
                    <a:pt x="434" y="26"/>
                  </a:lnTo>
                  <a:lnTo>
                    <a:pt x="434" y="26"/>
                  </a:lnTo>
                  <a:lnTo>
                    <a:pt x="434" y="28"/>
                  </a:lnTo>
                  <a:lnTo>
                    <a:pt x="432" y="30"/>
                  </a:lnTo>
                  <a:lnTo>
                    <a:pt x="432" y="30"/>
                  </a:lnTo>
                  <a:lnTo>
                    <a:pt x="432" y="34"/>
                  </a:lnTo>
                  <a:lnTo>
                    <a:pt x="432" y="38"/>
                  </a:lnTo>
                  <a:lnTo>
                    <a:pt x="432" y="42"/>
                  </a:lnTo>
                  <a:lnTo>
                    <a:pt x="432" y="46"/>
                  </a:lnTo>
                  <a:lnTo>
                    <a:pt x="432" y="50"/>
                  </a:lnTo>
                  <a:lnTo>
                    <a:pt x="434" y="58"/>
                  </a:lnTo>
                  <a:lnTo>
                    <a:pt x="434" y="66"/>
                  </a:lnTo>
                  <a:lnTo>
                    <a:pt x="434" y="70"/>
                  </a:lnTo>
                  <a:lnTo>
                    <a:pt x="436" y="74"/>
                  </a:lnTo>
                  <a:lnTo>
                    <a:pt x="436" y="78"/>
                  </a:lnTo>
                  <a:lnTo>
                    <a:pt x="436" y="82"/>
                  </a:lnTo>
                  <a:lnTo>
                    <a:pt x="436" y="86"/>
                  </a:lnTo>
                  <a:lnTo>
                    <a:pt x="434" y="88"/>
                  </a:lnTo>
                  <a:lnTo>
                    <a:pt x="434" y="90"/>
                  </a:lnTo>
                  <a:lnTo>
                    <a:pt x="432" y="92"/>
                  </a:lnTo>
                  <a:lnTo>
                    <a:pt x="432" y="94"/>
                  </a:lnTo>
                  <a:lnTo>
                    <a:pt x="430" y="96"/>
                  </a:lnTo>
                  <a:lnTo>
                    <a:pt x="428" y="100"/>
                  </a:lnTo>
                  <a:lnTo>
                    <a:pt x="426" y="102"/>
                  </a:lnTo>
                  <a:lnTo>
                    <a:pt x="426" y="104"/>
                  </a:lnTo>
                  <a:lnTo>
                    <a:pt x="426" y="104"/>
                  </a:lnTo>
                  <a:lnTo>
                    <a:pt x="424" y="106"/>
                  </a:lnTo>
                  <a:lnTo>
                    <a:pt x="424" y="110"/>
                  </a:lnTo>
                  <a:lnTo>
                    <a:pt x="422" y="110"/>
                  </a:lnTo>
                  <a:lnTo>
                    <a:pt x="422" y="112"/>
                  </a:lnTo>
                  <a:lnTo>
                    <a:pt x="422" y="112"/>
                  </a:lnTo>
                  <a:lnTo>
                    <a:pt x="420" y="114"/>
                  </a:lnTo>
                  <a:lnTo>
                    <a:pt x="420" y="114"/>
                  </a:lnTo>
                  <a:lnTo>
                    <a:pt x="420" y="114"/>
                  </a:lnTo>
                  <a:lnTo>
                    <a:pt x="416" y="114"/>
                  </a:lnTo>
                  <a:lnTo>
                    <a:pt x="414" y="116"/>
                  </a:lnTo>
                  <a:lnTo>
                    <a:pt x="412" y="116"/>
                  </a:lnTo>
                  <a:lnTo>
                    <a:pt x="410" y="116"/>
                  </a:lnTo>
                  <a:lnTo>
                    <a:pt x="406" y="114"/>
                  </a:lnTo>
                  <a:lnTo>
                    <a:pt x="404" y="114"/>
                  </a:lnTo>
                  <a:lnTo>
                    <a:pt x="402" y="114"/>
                  </a:lnTo>
                  <a:lnTo>
                    <a:pt x="402" y="114"/>
                  </a:lnTo>
                  <a:lnTo>
                    <a:pt x="402" y="112"/>
                  </a:lnTo>
                  <a:lnTo>
                    <a:pt x="400" y="112"/>
                  </a:lnTo>
                  <a:lnTo>
                    <a:pt x="398" y="110"/>
                  </a:lnTo>
                  <a:lnTo>
                    <a:pt x="396" y="106"/>
                  </a:lnTo>
                  <a:lnTo>
                    <a:pt x="392" y="102"/>
                  </a:lnTo>
                  <a:lnTo>
                    <a:pt x="390" y="102"/>
                  </a:lnTo>
                  <a:lnTo>
                    <a:pt x="388" y="100"/>
                  </a:lnTo>
                  <a:lnTo>
                    <a:pt x="386" y="98"/>
                  </a:lnTo>
                  <a:lnTo>
                    <a:pt x="384" y="98"/>
                  </a:lnTo>
                  <a:lnTo>
                    <a:pt x="378" y="96"/>
                  </a:lnTo>
                  <a:lnTo>
                    <a:pt x="374" y="94"/>
                  </a:lnTo>
                  <a:lnTo>
                    <a:pt x="370" y="94"/>
                  </a:lnTo>
                  <a:lnTo>
                    <a:pt x="368" y="92"/>
                  </a:lnTo>
                  <a:lnTo>
                    <a:pt x="368" y="92"/>
                  </a:lnTo>
                  <a:lnTo>
                    <a:pt x="366" y="90"/>
                  </a:lnTo>
                  <a:lnTo>
                    <a:pt x="362" y="86"/>
                  </a:lnTo>
                  <a:lnTo>
                    <a:pt x="360" y="84"/>
                  </a:lnTo>
                  <a:lnTo>
                    <a:pt x="358" y="82"/>
                  </a:lnTo>
                  <a:lnTo>
                    <a:pt x="356" y="80"/>
                  </a:lnTo>
                  <a:lnTo>
                    <a:pt x="356" y="80"/>
                  </a:lnTo>
                  <a:lnTo>
                    <a:pt x="354" y="80"/>
                  </a:lnTo>
                  <a:lnTo>
                    <a:pt x="350" y="78"/>
                  </a:lnTo>
                  <a:lnTo>
                    <a:pt x="348" y="78"/>
                  </a:lnTo>
                  <a:lnTo>
                    <a:pt x="346" y="78"/>
                  </a:lnTo>
                  <a:lnTo>
                    <a:pt x="346" y="76"/>
                  </a:lnTo>
                  <a:lnTo>
                    <a:pt x="346" y="76"/>
                  </a:lnTo>
                  <a:lnTo>
                    <a:pt x="344" y="76"/>
                  </a:lnTo>
                  <a:lnTo>
                    <a:pt x="344" y="76"/>
                  </a:lnTo>
                  <a:lnTo>
                    <a:pt x="344" y="74"/>
                  </a:lnTo>
                  <a:lnTo>
                    <a:pt x="344" y="74"/>
                  </a:lnTo>
                  <a:lnTo>
                    <a:pt x="346" y="72"/>
                  </a:lnTo>
                  <a:lnTo>
                    <a:pt x="346" y="70"/>
                  </a:lnTo>
                  <a:lnTo>
                    <a:pt x="348" y="68"/>
                  </a:lnTo>
                  <a:lnTo>
                    <a:pt x="350" y="64"/>
                  </a:lnTo>
                  <a:lnTo>
                    <a:pt x="350" y="62"/>
                  </a:lnTo>
                  <a:lnTo>
                    <a:pt x="352" y="60"/>
                  </a:lnTo>
                  <a:lnTo>
                    <a:pt x="352" y="60"/>
                  </a:lnTo>
                  <a:lnTo>
                    <a:pt x="352" y="58"/>
                  </a:lnTo>
                  <a:lnTo>
                    <a:pt x="352" y="54"/>
                  </a:lnTo>
                  <a:lnTo>
                    <a:pt x="354" y="52"/>
                  </a:lnTo>
                  <a:lnTo>
                    <a:pt x="354" y="50"/>
                  </a:lnTo>
                  <a:lnTo>
                    <a:pt x="354" y="50"/>
                  </a:lnTo>
                  <a:lnTo>
                    <a:pt x="356" y="48"/>
                  </a:lnTo>
                  <a:lnTo>
                    <a:pt x="356" y="48"/>
                  </a:lnTo>
                  <a:lnTo>
                    <a:pt x="356" y="48"/>
                  </a:lnTo>
                  <a:lnTo>
                    <a:pt x="360" y="46"/>
                  </a:lnTo>
                  <a:lnTo>
                    <a:pt x="362" y="46"/>
                  </a:lnTo>
                  <a:lnTo>
                    <a:pt x="364" y="46"/>
                  </a:lnTo>
                  <a:lnTo>
                    <a:pt x="364" y="44"/>
                  </a:lnTo>
                  <a:lnTo>
                    <a:pt x="366" y="42"/>
                  </a:lnTo>
                  <a:lnTo>
                    <a:pt x="366" y="40"/>
                  </a:lnTo>
                  <a:lnTo>
                    <a:pt x="368" y="38"/>
                  </a:lnTo>
                  <a:lnTo>
                    <a:pt x="370" y="36"/>
                  </a:lnTo>
                  <a:lnTo>
                    <a:pt x="370" y="34"/>
                  </a:lnTo>
                  <a:lnTo>
                    <a:pt x="370" y="32"/>
                  </a:lnTo>
                  <a:lnTo>
                    <a:pt x="370" y="30"/>
                  </a:lnTo>
                  <a:lnTo>
                    <a:pt x="370" y="30"/>
                  </a:lnTo>
                  <a:lnTo>
                    <a:pt x="370" y="28"/>
                  </a:lnTo>
                  <a:lnTo>
                    <a:pt x="370" y="28"/>
                  </a:lnTo>
                  <a:lnTo>
                    <a:pt x="370" y="26"/>
                  </a:lnTo>
                  <a:lnTo>
                    <a:pt x="370" y="26"/>
                  </a:lnTo>
                  <a:lnTo>
                    <a:pt x="368" y="26"/>
                  </a:lnTo>
                  <a:lnTo>
                    <a:pt x="368" y="24"/>
                  </a:lnTo>
                  <a:lnTo>
                    <a:pt x="366" y="24"/>
                  </a:lnTo>
                  <a:lnTo>
                    <a:pt x="366" y="24"/>
                  </a:lnTo>
                  <a:lnTo>
                    <a:pt x="364" y="24"/>
                  </a:lnTo>
                  <a:lnTo>
                    <a:pt x="362" y="24"/>
                  </a:lnTo>
                  <a:lnTo>
                    <a:pt x="358" y="24"/>
                  </a:lnTo>
                  <a:lnTo>
                    <a:pt x="354" y="24"/>
                  </a:lnTo>
                  <a:lnTo>
                    <a:pt x="352" y="24"/>
                  </a:lnTo>
                  <a:lnTo>
                    <a:pt x="350" y="24"/>
                  </a:lnTo>
                  <a:lnTo>
                    <a:pt x="348" y="24"/>
                  </a:lnTo>
                  <a:lnTo>
                    <a:pt x="346" y="22"/>
                  </a:lnTo>
                  <a:lnTo>
                    <a:pt x="340" y="22"/>
                  </a:lnTo>
                  <a:lnTo>
                    <a:pt x="336" y="22"/>
                  </a:lnTo>
                  <a:lnTo>
                    <a:pt x="332" y="22"/>
                  </a:lnTo>
                  <a:lnTo>
                    <a:pt x="332" y="22"/>
                  </a:lnTo>
                  <a:lnTo>
                    <a:pt x="330" y="22"/>
                  </a:lnTo>
                  <a:lnTo>
                    <a:pt x="328" y="20"/>
                  </a:lnTo>
                  <a:lnTo>
                    <a:pt x="326" y="20"/>
                  </a:lnTo>
                  <a:lnTo>
                    <a:pt x="324" y="18"/>
                  </a:lnTo>
                  <a:lnTo>
                    <a:pt x="320" y="16"/>
                  </a:lnTo>
                  <a:lnTo>
                    <a:pt x="318" y="14"/>
                  </a:lnTo>
                  <a:lnTo>
                    <a:pt x="314" y="12"/>
                  </a:lnTo>
                  <a:lnTo>
                    <a:pt x="312" y="12"/>
                  </a:lnTo>
                  <a:lnTo>
                    <a:pt x="310" y="10"/>
                  </a:lnTo>
                  <a:lnTo>
                    <a:pt x="304" y="8"/>
                  </a:lnTo>
                  <a:lnTo>
                    <a:pt x="302" y="8"/>
                  </a:lnTo>
                  <a:lnTo>
                    <a:pt x="298" y="8"/>
                  </a:lnTo>
                  <a:lnTo>
                    <a:pt x="294" y="6"/>
                  </a:lnTo>
                  <a:lnTo>
                    <a:pt x="294" y="6"/>
                  </a:lnTo>
                  <a:lnTo>
                    <a:pt x="292" y="6"/>
                  </a:lnTo>
                  <a:lnTo>
                    <a:pt x="290" y="6"/>
                  </a:lnTo>
                  <a:lnTo>
                    <a:pt x="290" y="8"/>
                  </a:lnTo>
                  <a:lnTo>
                    <a:pt x="288" y="8"/>
                  </a:lnTo>
                  <a:lnTo>
                    <a:pt x="288" y="8"/>
                  </a:lnTo>
                  <a:lnTo>
                    <a:pt x="286" y="8"/>
                  </a:lnTo>
                  <a:lnTo>
                    <a:pt x="286" y="10"/>
                  </a:lnTo>
                  <a:lnTo>
                    <a:pt x="286" y="10"/>
                  </a:lnTo>
                  <a:lnTo>
                    <a:pt x="286" y="10"/>
                  </a:lnTo>
                  <a:lnTo>
                    <a:pt x="286" y="12"/>
                  </a:lnTo>
                  <a:lnTo>
                    <a:pt x="286" y="12"/>
                  </a:lnTo>
                  <a:lnTo>
                    <a:pt x="286" y="14"/>
                  </a:lnTo>
                  <a:lnTo>
                    <a:pt x="286" y="14"/>
                  </a:lnTo>
                  <a:lnTo>
                    <a:pt x="286" y="14"/>
                  </a:lnTo>
                  <a:lnTo>
                    <a:pt x="286" y="16"/>
                  </a:lnTo>
                  <a:lnTo>
                    <a:pt x="288" y="16"/>
                  </a:lnTo>
                  <a:lnTo>
                    <a:pt x="288" y="16"/>
                  </a:lnTo>
                  <a:lnTo>
                    <a:pt x="290" y="18"/>
                  </a:lnTo>
                  <a:lnTo>
                    <a:pt x="294" y="18"/>
                  </a:lnTo>
                  <a:lnTo>
                    <a:pt x="294" y="18"/>
                  </a:lnTo>
                  <a:lnTo>
                    <a:pt x="296" y="18"/>
                  </a:lnTo>
                  <a:lnTo>
                    <a:pt x="296" y="2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 name="Freeform 18">
              <a:extLst>
                <a:ext uri="{FF2B5EF4-FFF2-40B4-BE49-F238E27FC236}">
                  <a16:creationId xmlns:a16="http://schemas.microsoft.com/office/drawing/2014/main" id="{41D988BC-0536-42E7-9539-7757BDA0E2E3}"/>
                </a:ext>
              </a:extLst>
            </p:cNvPr>
            <p:cNvSpPr>
              <a:spLocks/>
            </p:cNvSpPr>
            <p:nvPr/>
          </p:nvSpPr>
          <p:spPr bwMode="auto">
            <a:xfrm>
              <a:off x="7761075" y="5865592"/>
              <a:ext cx="96996" cy="90068"/>
            </a:xfrm>
            <a:custGeom>
              <a:avLst/>
              <a:gdLst>
                <a:gd name="T0" fmla="*/ 8 w 56"/>
                <a:gd name="T1" fmla="*/ 0 h 52"/>
                <a:gd name="T2" fmla="*/ 10 w 56"/>
                <a:gd name="T3" fmla="*/ 0 h 52"/>
                <a:gd name="T4" fmla="*/ 12 w 56"/>
                <a:gd name="T5" fmla="*/ 0 h 52"/>
                <a:gd name="T6" fmla="*/ 14 w 56"/>
                <a:gd name="T7" fmla="*/ 0 h 52"/>
                <a:gd name="T8" fmla="*/ 22 w 56"/>
                <a:gd name="T9" fmla="*/ 4 h 52"/>
                <a:gd name="T10" fmla="*/ 28 w 56"/>
                <a:gd name="T11" fmla="*/ 4 h 52"/>
                <a:gd name="T12" fmla="*/ 30 w 56"/>
                <a:gd name="T13" fmla="*/ 4 h 52"/>
                <a:gd name="T14" fmla="*/ 42 w 56"/>
                <a:gd name="T15" fmla="*/ 4 h 52"/>
                <a:gd name="T16" fmla="*/ 48 w 56"/>
                <a:gd name="T17" fmla="*/ 2 h 52"/>
                <a:gd name="T18" fmla="*/ 52 w 56"/>
                <a:gd name="T19" fmla="*/ 2 h 52"/>
                <a:gd name="T20" fmla="*/ 54 w 56"/>
                <a:gd name="T21" fmla="*/ 4 h 52"/>
                <a:gd name="T22" fmla="*/ 56 w 56"/>
                <a:gd name="T23" fmla="*/ 6 h 52"/>
                <a:gd name="T24" fmla="*/ 56 w 56"/>
                <a:gd name="T25" fmla="*/ 8 h 52"/>
                <a:gd name="T26" fmla="*/ 56 w 56"/>
                <a:gd name="T27" fmla="*/ 10 h 52"/>
                <a:gd name="T28" fmla="*/ 56 w 56"/>
                <a:gd name="T29" fmla="*/ 16 h 52"/>
                <a:gd name="T30" fmla="*/ 54 w 56"/>
                <a:gd name="T31" fmla="*/ 20 h 52"/>
                <a:gd name="T32" fmla="*/ 52 w 56"/>
                <a:gd name="T33" fmla="*/ 22 h 52"/>
                <a:gd name="T34" fmla="*/ 50 w 56"/>
                <a:gd name="T35" fmla="*/ 26 h 52"/>
                <a:gd name="T36" fmla="*/ 48 w 56"/>
                <a:gd name="T37" fmla="*/ 30 h 52"/>
                <a:gd name="T38" fmla="*/ 44 w 56"/>
                <a:gd name="T39" fmla="*/ 32 h 52"/>
                <a:gd name="T40" fmla="*/ 44 w 56"/>
                <a:gd name="T41" fmla="*/ 34 h 52"/>
                <a:gd name="T42" fmla="*/ 44 w 56"/>
                <a:gd name="T43" fmla="*/ 40 h 52"/>
                <a:gd name="T44" fmla="*/ 44 w 56"/>
                <a:gd name="T45" fmla="*/ 44 h 52"/>
                <a:gd name="T46" fmla="*/ 42 w 56"/>
                <a:gd name="T47" fmla="*/ 46 h 52"/>
                <a:gd name="T48" fmla="*/ 42 w 56"/>
                <a:gd name="T49" fmla="*/ 46 h 52"/>
                <a:gd name="T50" fmla="*/ 40 w 56"/>
                <a:gd name="T51" fmla="*/ 48 h 52"/>
                <a:gd name="T52" fmla="*/ 36 w 56"/>
                <a:gd name="T53" fmla="*/ 50 h 52"/>
                <a:gd name="T54" fmla="*/ 28 w 56"/>
                <a:gd name="T55" fmla="*/ 50 h 52"/>
                <a:gd name="T56" fmla="*/ 22 w 56"/>
                <a:gd name="T57" fmla="*/ 52 h 52"/>
                <a:gd name="T58" fmla="*/ 16 w 56"/>
                <a:gd name="T59" fmla="*/ 52 h 52"/>
                <a:gd name="T60" fmla="*/ 14 w 56"/>
                <a:gd name="T61" fmla="*/ 50 h 52"/>
                <a:gd name="T62" fmla="*/ 12 w 56"/>
                <a:gd name="T63" fmla="*/ 50 h 52"/>
                <a:gd name="T64" fmla="*/ 8 w 56"/>
                <a:gd name="T65" fmla="*/ 48 h 52"/>
                <a:gd name="T66" fmla="*/ 6 w 56"/>
                <a:gd name="T67" fmla="*/ 46 h 52"/>
                <a:gd name="T68" fmla="*/ 4 w 56"/>
                <a:gd name="T69" fmla="*/ 44 h 52"/>
                <a:gd name="T70" fmla="*/ 2 w 56"/>
                <a:gd name="T71" fmla="*/ 38 h 52"/>
                <a:gd name="T72" fmla="*/ 2 w 56"/>
                <a:gd name="T73" fmla="*/ 32 h 52"/>
                <a:gd name="T74" fmla="*/ 0 w 56"/>
                <a:gd name="T75" fmla="*/ 26 h 52"/>
                <a:gd name="T76" fmla="*/ 2 w 56"/>
                <a:gd name="T77" fmla="*/ 18 h 52"/>
                <a:gd name="T78" fmla="*/ 2 w 56"/>
                <a:gd name="T79" fmla="*/ 12 h 52"/>
                <a:gd name="T80" fmla="*/ 4 w 56"/>
                <a:gd name="T81" fmla="*/ 6 h 52"/>
                <a:gd name="T82" fmla="*/ 6 w 56"/>
                <a:gd name="T83" fmla="*/ 4 h 52"/>
                <a:gd name="T84" fmla="*/ 8 w 56"/>
                <a:gd name="T85"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52">
                  <a:moveTo>
                    <a:pt x="8" y="0"/>
                  </a:moveTo>
                  <a:lnTo>
                    <a:pt x="8" y="0"/>
                  </a:lnTo>
                  <a:lnTo>
                    <a:pt x="8" y="0"/>
                  </a:lnTo>
                  <a:lnTo>
                    <a:pt x="10" y="0"/>
                  </a:lnTo>
                  <a:lnTo>
                    <a:pt x="10" y="0"/>
                  </a:lnTo>
                  <a:lnTo>
                    <a:pt x="12" y="0"/>
                  </a:lnTo>
                  <a:lnTo>
                    <a:pt x="14" y="0"/>
                  </a:lnTo>
                  <a:lnTo>
                    <a:pt x="14" y="0"/>
                  </a:lnTo>
                  <a:lnTo>
                    <a:pt x="18" y="2"/>
                  </a:lnTo>
                  <a:lnTo>
                    <a:pt x="22" y="4"/>
                  </a:lnTo>
                  <a:lnTo>
                    <a:pt x="26" y="4"/>
                  </a:lnTo>
                  <a:lnTo>
                    <a:pt x="28" y="4"/>
                  </a:lnTo>
                  <a:lnTo>
                    <a:pt x="28" y="4"/>
                  </a:lnTo>
                  <a:lnTo>
                    <a:pt x="30" y="4"/>
                  </a:lnTo>
                  <a:lnTo>
                    <a:pt x="34" y="4"/>
                  </a:lnTo>
                  <a:lnTo>
                    <a:pt x="42" y="4"/>
                  </a:lnTo>
                  <a:lnTo>
                    <a:pt x="46" y="2"/>
                  </a:lnTo>
                  <a:lnTo>
                    <a:pt x="48" y="2"/>
                  </a:lnTo>
                  <a:lnTo>
                    <a:pt x="50" y="2"/>
                  </a:lnTo>
                  <a:lnTo>
                    <a:pt x="52" y="2"/>
                  </a:lnTo>
                  <a:lnTo>
                    <a:pt x="52" y="4"/>
                  </a:lnTo>
                  <a:lnTo>
                    <a:pt x="54" y="4"/>
                  </a:lnTo>
                  <a:lnTo>
                    <a:pt x="56" y="4"/>
                  </a:lnTo>
                  <a:lnTo>
                    <a:pt x="56" y="6"/>
                  </a:lnTo>
                  <a:lnTo>
                    <a:pt x="56" y="6"/>
                  </a:lnTo>
                  <a:lnTo>
                    <a:pt x="56" y="8"/>
                  </a:lnTo>
                  <a:lnTo>
                    <a:pt x="56" y="8"/>
                  </a:lnTo>
                  <a:lnTo>
                    <a:pt x="56" y="10"/>
                  </a:lnTo>
                  <a:lnTo>
                    <a:pt x="56" y="12"/>
                  </a:lnTo>
                  <a:lnTo>
                    <a:pt x="56" y="16"/>
                  </a:lnTo>
                  <a:lnTo>
                    <a:pt x="54" y="18"/>
                  </a:lnTo>
                  <a:lnTo>
                    <a:pt x="54" y="20"/>
                  </a:lnTo>
                  <a:lnTo>
                    <a:pt x="54" y="22"/>
                  </a:lnTo>
                  <a:lnTo>
                    <a:pt x="52" y="22"/>
                  </a:lnTo>
                  <a:lnTo>
                    <a:pt x="52" y="24"/>
                  </a:lnTo>
                  <a:lnTo>
                    <a:pt x="50" y="26"/>
                  </a:lnTo>
                  <a:lnTo>
                    <a:pt x="48" y="28"/>
                  </a:lnTo>
                  <a:lnTo>
                    <a:pt x="48" y="30"/>
                  </a:lnTo>
                  <a:lnTo>
                    <a:pt x="46" y="30"/>
                  </a:lnTo>
                  <a:lnTo>
                    <a:pt x="44" y="32"/>
                  </a:lnTo>
                  <a:lnTo>
                    <a:pt x="44" y="34"/>
                  </a:lnTo>
                  <a:lnTo>
                    <a:pt x="44" y="34"/>
                  </a:lnTo>
                  <a:lnTo>
                    <a:pt x="44" y="36"/>
                  </a:lnTo>
                  <a:lnTo>
                    <a:pt x="44" y="40"/>
                  </a:lnTo>
                  <a:lnTo>
                    <a:pt x="44" y="42"/>
                  </a:lnTo>
                  <a:lnTo>
                    <a:pt x="44" y="44"/>
                  </a:lnTo>
                  <a:lnTo>
                    <a:pt x="42" y="46"/>
                  </a:lnTo>
                  <a:lnTo>
                    <a:pt x="42" y="46"/>
                  </a:lnTo>
                  <a:lnTo>
                    <a:pt x="42" y="46"/>
                  </a:lnTo>
                  <a:lnTo>
                    <a:pt x="42" y="46"/>
                  </a:lnTo>
                  <a:lnTo>
                    <a:pt x="42" y="48"/>
                  </a:lnTo>
                  <a:lnTo>
                    <a:pt x="40" y="48"/>
                  </a:lnTo>
                  <a:lnTo>
                    <a:pt x="38" y="48"/>
                  </a:lnTo>
                  <a:lnTo>
                    <a:pt x="36" y="50"/>
                  </a:lnTo>
                  <a:lnTo>
                    <a:pt x="30" y="50"/>
                  </a:lnTo>
                  <a:lnTo>
                    <a:pt x="28" y="50"/>
                  </a:lnTo>
                  <a:lnTo>
                    <a:pt x="24" y="50"/>
                  </a:lnTo>
                  <a:lnTo>
                    <a:pt x="22" y="52"/>
                  </a:lnTo>
                  <a:lnTo>
                    <a:pt x="18" y="52"/>
                  </a:lnTo>
                  <a:lnTo>
                    <a:pt x="16" y="52"/>
                  </a:lnTo>
                  <a:lnTo>
                    <a:pt x="16" y="52"/>
                  </a:lnTo>
                  <a:lnTo>
                    <a:pt x="14" y="50"/>
                  </a:lnTo>
                  <a:lnTo>
                    <a:pt x="12" y="50"/>
                  </a:lnTo>
                  <a:lnTo>
                    <a:pt x="12" y="50"/>
                  </a:lnTo>
                  <a:lnTo>
                    <a:pt x="10" y="50"/>
                  </a:lnTo>
                  <a:lnTo>
                    <a:pt x="8" y="48"/>
                  </a:lnTo>
                  <a:lnTo>
                    <a:pt x="6" y="48"/>
                  </a:lnTo>
                  <a:lnTo>
                    <a:pt x="6" y="46"/>
                  </a:lnTo>
                  <a:lnTo>
                    <a:pt x="4" y="44"/>
                  </a:lnTo>
                  <a:lnTo>
                    <a:pt x="4" y="44"/>
                  </a:lnTo>
                  <a:lnTo>
                    <a:pt x="2" y="40"/>
                  </a:lnTo>
                  <a:lnTo>
                    <a:pt x="2" y="38"/>
                  </a:lnTo>
                  <a:lnTo>
                    <a:pt x="2" y="34"/>
                  </a:lnTo>
                  <a:lnTo>
                    <a:pt x="2" y="32"/>
                  </a:lnTo>
                  <a:lnTo>
                    <a:pt x="2" y="28"/>
                  </a:lnTo>
                  <a:lnTo>
                    <a:pt x="0" y="26"/>
                  </a:lnTo>
                  <a:lnTo>
                    <a:pt x="2" y="22"/>
                  </a:lnTo>
                  <a:lnTo>
                    <a:pt x="2" y="18"/>
                  </a:lnTo>
                  <a:lnTo>
                    <a:pt x="2" y="16"/>
                  </a:lnTo>
                  <a:lnTo>
                    <a:pt x="2" y="12"/>
                  </a:lnTo>
                  <a:lnTo>
                    <a:pt x="4" y="10"/>
                  </a:lnTo>
                  <a:lnTo>
                    <a:pt x="4" y="6"/>
                  </a:lnTo>
                  <a:lnTo>
                    <a:pt x="6" y="4"/>
                  </a:lnTo>
                  <a:lnTo>
                    <a:pt x="6" y="4"/>
                  </a:lnTo>
                  <a:lnTo>
                    <a:pt x="6" y="2"/>
                  </a:lnTo>
                  <a:lnTo>
                    <a:pt x="8" y="2"/>
                  </a:lnTo>
                  <a:lnTo>
                    <a:pt x="8"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 name="Freeform 19">
              <a:extLst>
                <a:ext uri="{FF2B5EF4-FFF2-40B4-BE49-F238E27FC236}">
                  <a16:creationId xmlns:a16="http://schemas.microsoft.com/office/drawing/2014/main" id="{7913EAB4-A10E-4E79-B013-4598CAFC09B6}"/>
                </a:ext>
              </a:extLst>
            </p:cNvPr>
            <p:cNvSpPr>
              <a:spLocks/>
            </p:cNvSpPr>
            <p:nvPr/>
          </p:nvSpPr>
          <p:spPr bwMode="auto">
            <a:xfrm>
              <a:off x="7761075" y="5865592"/>
              <a:ext cx="96996" cy="90068"/>
            </a:xfrm>
            <a:custGeom>
              <a:avLst/>
              <a:gdLst>
                <a:gd name="T0" fmla="*/ 8 w 56"/>
                <a:gd name="T1" fmla="*/ 0 h 52"/>
                <a:gd name="T2" fmla="*/ 10 w 56"/>
                <a:gd name="T3" fmla="*/ 0 h 52"/>
                <a:gd name="T4" fmla="*/ 12 w 56"/>
                <a:gd name="T5" fmla="*/ 0 h 52"/>
                <a:gd name="T6" fmla="*/ 14 w 56"/>
                <a:gd name="T7" fmla="*/ 0 h 52"/>
                <a:gd name="T8" fmla="*/ 22 w 56"/>
                <a:gd name="T9" fmla="*/ 4 h 52"/>
                <a:gd name="T10" fmla="*/ 28 w 56"/>
                <a:gd name="T11" fmla="*/ 4 h 52"/>
                <a:gd name="T12" fmla="*/ 30 w 56"/>
                <a:gd name="T13" fmla="*/ 4 h 52"/>
                <a:gd name="T14" fmla="*/ 42 w 56"/>
                <a:gd name="T15" fmla="*/ 4 h 52"/>
                <a:gd name="T16" fmla="*/ 48 w 56"/>
                <a:gd name="T17" fmla="*/ 2 h 52"/>
                <a:gd name="T18" fmla="*/ 52 w 56"/>
                <a:gd name="T19" fmla="*/ 2 h 52"/>
                <a:gd name="T20" fmla="*/ 54 w 56"/>
                <a:gd name="T21" fmla="*/ 4 h 52"/>
                <a:gd name="T22" fmla="*/ 56 w 56"/>
                <a:gd name="T23" fmla="*/ 6 h 52"/>
                <a:gd name="T24" fmla="*/ 56 w 56"/>
                <a:gd name="T25" fmla="*/ 8 h 52"/>
                <a:gd name="T26" fmla="*/ 56 w 56"/>
                <a:gd name="T27" fmla="*/ 10 h 52"/>
                <a:gd name="T28" fmla="*/ 56 w 56"/>
                <a:gd name="T29" fmla="*/ 16 h 52"/>
                <a:gd name="T30" fmla="*/ 54 w 56"/>
                <a:gd name="T31" fmla="*/ 20 h 52"/>
                <a:gd name="T32" fmla="*/ 52 w 56"/>
                <a:gd name="T33" fmla="*/ 22 h 52"/>
                <a:gd name="T34" fmla="*/ 50 w 56"/>
                <a:gd name="T35" fmla="*/ 26 h 52"/>
                <a:gd name="T36" fmla="*/ 48 w 56"/>
                <a:gd name="T37" fmla="*/ 30 h 52"/>
                <a:gd name="T38" fmla="*/ 44 w 56"/>
                <a:gd name="T39" fmla="*/ 32 h 52"/>
                <a:gd name="T40" fmla="*/ 44 w 56"/>
                <a:gd name="T41" fmla="*/ 34 h 52"/>
                <a:gd name="T42" fmla="*/ 44 w 56"/>
                <a:gd name="T43" fmla="*/ 40 h 52"/>
                <a:gd name="T44" fmla="*/ 44 w 56"/>
                <a:gd name="T45" fmla="*/ 44 h 52"/>
                <a:gd name="T46" fmla="*/ 42 w 56"/>
                <a:gd name="T47" fmla="*/ 46 h 52"/>
                <a:gd name="T48" fmla="*/ 42 w 56"/>
                <a:gd name="T49" fmla="*/ 46 h 52"/>
                <a:gd name="T50" fmla="*/ 40 w 56"/>
                <a:gd name="T51" fmla="*/ 48 h 52"/>
                <a:gd name="T52" fmla="*/ 36 w 56"/>
                <a:gd name="T53" fmla="*/ 50 h 52"/>
                <a:gd name="T54" fmla="*/ 28 w 56"/>
                <a:gd name="T55" fmla="*/ 50 h 52"/>
                <a:gd name="T56" fmla="*/ 22 w 56"/>
                <a:gd name="T57" fmla="*/ 52 h 52"/>
                <a:gd name="T58" fmla="*/ 16 w 56"/>
                <a:gd name="T59" fmla="*/ 52 h 52"/>
                <a:gd name="T60" fmla="*/ 14 w 56"/>
                <a:gd name="T61" fmla="*/ 50 h 52"/>
                <a:gd name="T62" fmla="*/ 12 w 56"/>
                <a:gd name="T63" fmla="*/ 50 h 52"/>
                <a:gd name="T64" fmla="*/ 8 w 56"/>
                <a:gd name="T65" fmla="*/ 48 h 52"/>
                <a:gd name="T66" fmla="*/ 6 w 56"/>
                <a:gd name="T67" fmla="*/ 46 h 52"/>
                <a:gd name="T68" fmla="*/ 4 w 56"/>
                <a:gd name="T69" fmla="*/ 44 h 52"/>
                <a:gd name="T70" fmla="*/ 2 w 56"/>
                <a:gd name="T71" fmla="*/ 38 h 52"/>
                <a:gd name="T72" fmla="*/ 2 w 56"/>
                <a:gd name="T73" fmla="*/ 32 h 52"/>
                <a:gd name="T74" fmla="*/ 0 w 56"/>
                <a:gd name="T75" fmla="*/ 26 h 52"/>
                <a:gd name="T76" fmla="*/ 2 w 56"/>
                <a:gd name="T77" fmla="*/ 18 h 52"/>
                <a:gd name="T78" fmla="*/ 2 w 56"/>
                <a:gd name="T79" fmla="*/ 12 h 52"/>
                <a:gd name="T80" fmla="*/ 4 w 56"/>
                <a:gd name="T81" fmla="*/ 6 h 52"/>
                <a:gd name="T82" fmla="*/ 6 w 56"/>
                <a:gd name="T83" fmla="*/ 4 h 52"/>
                <a:gd name="T84" fmla="*/ 8 w 56"/>
                <a:gd name="T85"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52">
                  <a:moveTo>
                    <a:pt x="8" y="0"/>
                  </a:moveTo>
                  <a:lnTo>
                    <a:pt x="8" y="0"/>
                  </a:lnTo>
                  <a:lnTo>
                    <a:pt x="8" y="0"/>
                  </a:lnTo>
                  <a:lnTo>
                    <a:pt x="10" y="0"/>
                  </a:lnTo>
                  <a:lnTo>
                    <a:pt x="10" y="0"/>
                  </a:lnTo>
                  <a:lnTo>
                    <a:pt x="12" y="0"/>
                  </a:lnTo>
                  <a:lnTo>
                    <a:pt x="14" y="0"/>
                  </a:lnTo>
                  <a:lnTo>
                    <a:pt x="14" y="0"/>
                  </a:lnTo>
                  <a:lnTo>
                    <a:pt x="18" y="2"/>
                  </a:lnTo>
                  <a:lnTo>
                    <a:pt x="22" y="4"/>
                  </a:lnTo>
                  <a:lnTo>
                    <a:pt x="26" y="4"/>
                  </a:lnTo>
                  <a:lnTo>
                    <a:pt x="28" y="4"/>
                  </a:lnTo>
                  <a:lnTo>
                    <a:pt x="28" y="4"/>
                  </a:lnTo>
                  <a:lnTo>
                    <a:pt x="30" y="4"/>
                  </a:lnTo>
                  <a:lnTo>
                    <a:pt x="34" y="4"/>
                  </a:lnTo>
                  <a:lnTo>
                    <a:pt x="42" y="4"/>
                  </a:lnTo>
                  <a:lnTo>
                    <a:pt x="46" y="2"/>
                  </a:lnTo>
                  <a:lnTo>
                    <a:pt x="48" y="2"/>
                  </a:lnTo>
                  <a:lnTo>
                    <a:pt x="50" y="2"/>
                  </a:lnTo>
                  <a:lnTo>
                    <a:pt x="52" y="2"/>
                  </a:lnTo>
                  <a:lnTo>
                    <a:pt x="52" y="4"/>
                  </a:lnTo>
                  <a:lnTo>
                    <a:pt x="54" y="4"/>
                  </a:lnTo>
                  <a:lnTo>
                    <a:pt x="56" y="4"/>
                  </a:lnTo>
                  <a:lnTo>
                    <a:pt x="56" y="6"/>
                  </a:lnTo>
                  <a:lnTo>
                    <a:pt x="56" y="6"/>
                  </a:lnTo>
                  <a:lnTo>
                    <a:pt x="56" y="8"/>
                  </a:lnTo>
                  <a:lnTo>
                    <a:pt x="56" y="8"/>
                  </a:lnTo>
                  <a:lnTo>
                    <a:pt x="56" y="10"/>
                  </a:lnTo>
                  <a:lnTo>
                    <a:pt x="56" y="12"/>
                  </a:lnTo>
                  <a:lnTo>
                    <a:pt x="56" y="16"/>
                  </a:lnTo>
                  <a:lnTo>
                    <a:pt x="54" y="18"/>
                  </a:lnTo>
                  <a:lnTo>
                    <a:pt x="54" y="20"/>
                  </a:lnTo>
                  <a:lnTo>
                    <a:pt x="54" y="22"/>
                  </a:lnTo>
                  <a:lnTo>
                    <a:pt x="52" y="22"/>
                  </a:lnTo>
                  <a:lnTo>
                    <a:pt x="52" y="24"/>
                  </a:lnTo>
                  <a:lnTo>
                    <a:pt x="50" y="26"/>
                  </a:lnTo>
                  <a:lnTo>
                    <a:pt x="48" y="28"/>
                  </a:lnTo>
                  <a:lnTo>
                    <a:pt x="48" y="30"/>
                  </a:lnTo>
                  <a:lnTo>
                    <a:pt x="46" y="30"/>
                  </a:lnTo>
                  <a:lnTo>
                    <a:pt x="44" y="32"/>
                  </a:lnTo>
                  <a:lnTo>
                    <a:pt x="44" y="34"/>
                  </a:lnTo>
                  <a:lnTo>
                    <a:pt x="44" y="34"/>
                  </a:lnTo>
                  <a:lnTo>
                    <a:pt x="44" y="36"/>
                  </a:lnTo>
                  <a:lnTo>
                    <a:pt x="44" y="40"/>
                  </a:lnTo>
                  <a:lnTo>
                    <a:pt x="44" y="42"/>
                  </a:lnTo>
                  <a:lnTo>
                    <a:pt x="44" y="44"/>
                  </a:lnTo>
                  <a:lnTo>
                    <a:pt x="42" y="46"/>
                  </a:lnTo>
                  <a:lnTo>
                    <a:pt x="42" y="46"/>
                  </a:lnTo>
                  <a:lnTo>
                    <a:pt x="42" y="46"/>
                  </a:lnTo>
                  <a:lnTo>
                    <a:pt x="42" y="46"/>
                  </a:lnTo>
                  <a:lnTo>
                    <a:pt x="42" y="48"/>
                  </a:lnTo>
                  <a:lnTo>
                    <a:pt x="40" y="48"/>
                  </a:lnTo>
                  <a:lnTo>
                    <a:pt x="38" y="48"/>
                  </a:lnTo>
                  <a:lnTo>
                    <a:pt x="36" y="50"/>
                  </a:lnTo>
                  <a:lnTo>
                    <a:pt x="30" y="50"/>
                  </a:lnTo>
                  <a:lnTo>
                    <a:pt x="28" y="50"/>
                  </a:lnTo>
                  <a:lnTo>
                    <a:pt x="24" y="50"/>
                  </a:lnTo>
                  <a:lnTo>
                    <a:pt x="22" y="52"/>
                  </a:lnTo>
                  <a:lnTo>
                    <a:pt x="18" y="52"/>
                  </a:lnTo>
                  <a:lnTo>
                    <a:pt x="16" y="52"/>
                  </a:lnTo>
                  <a:lnTo>
                    <a:pt x="16" y="52"/>
                  </a:lnTo>
                  <a:lnTo>
                    <a:pt x="14" y="50"/>
                  </a:lnTo>
                  <a:lnTo>
                    <a:pt x="12" y="50"/>
                  </a:lnTo>
                  <a:lnTo>
                    <a:pt x="12" y="50"/>
                  </a:lnTo>
                  <a:lnTo>
                    <a:pt x="10" y="50"/>
                  </a:lnTo>
                  <a:lnTo>
                    <a:pt x="8" y="48"/>
                  </a:lnTo>
                  <a:lnTo>
                    <a:pt x="6" y="48"/>
                  </a:lnTo>
                  <a:lnTo>
                    <a:pt x="6" y="46"/>
                  </a:lnTo>
                  <a:lnTo>
                    <a:pt x="4" y="44"/>
                  </a:lnTo>
                  <a:lnTo>
                    <a:pt x="4" y="44"/>
                  </a:lnTo>
                  <a:lnTo>
                    <a:pt x="2" y="40"/>
                  </a:lnTo>
                  <a:lnTo>
                    <a:pt x="2" y="38"/>
                  </a:lnTo>
                  <a:lnTo>
                    <a:pt x="2" y="34"/>
                  </a:lnTo>
                  <a:lnTo>
                    <a:pt x="2" y="32"/>
                  </a:lnTo>
                  <a:lnTo>
                    <a:pt x="2" y="28"/>
                  </a:lnTo>
                  <a:lnTo>
                    <a:pt x="0" y="26"/>
                  </a:lnTo>
                  <a:lnTo>
                    <a:pt x="2" y="22"/>
                  </a:lnTo>
                  <a:lnTo>
                    <a:pt x="2" y="18"/>
                  </a:lnTo>
                  <a:lnTo>
                    <a:pt x="2" y="16"/>
                  </a:lnTo>
                  <a:lnTo>
                    <a:pt x="2" y="12"/>
                  </a:lnTo>
                  <a:lnTo>
                    <a:pt x="4" y="10"/>
                  </a:lnTo>
                  <a:lnTo>
                    <a:pt x="4" y="6"/>
                  </a:lnTo>
                  <a:lnTo>
                    <a:pt x="6" y="4"/>
                  </a:lnTo>
                  <a:lnTo>
                    <a:pt x="6" y="4"/>
                  </a:lnTo>
                  <a:lnTo>
                    <a:pt x="6" y="2"/>
                  </a:lnTo>
                  <a:lnTo>
                    <a:pt x="8" y="2"/>
                  </a:lnTo>
                  <a:lnTo>
                    <a:pt x="8"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 name="Freeform 20">
              <a:extLst>
                <a:ext uri="{FF2B5EF4-FFF2-40B4-BE49-F238E27FC236}">
                  <a16:creationId xmlns:a16="http://schemas.microsoft.com/office/drawing/2014/main" id="{D1B98BD7-0BA7-473A-98DF-C52263F1B875}"/>
                </a:ext>
              </a:extLst>
            </p:cNvPr>
            <p:cNvSpPr>
              <a:spLocks/>
            </p:cNvSpPr>
            <p:nvPr/>
          </p:nvSpPr>
          <p:spPr bwMode="auto">
            <a:xfrm>
              <a:off x="8502403" y="5661207"/>
              <a:ext cx="114317" cy="232098"/>
            </a:xfrm>
            <a:custGeom>
              <a:avLst/>
              <a:gdLst>
                <a:gd name="T0" fmla="*/ 4 w 66"/>
                <a:gd name="T1" fmla="*/ 2 h 134"/>
                <a:gd name="T2" fmla="*/ 4 w 66"/>
                <a:gd name="T3" fmla="*/ 4 h 134"/>
                <a:gd name="T4" fmla="*/ 4 w 66"/>
                <a:gd name="T5" fmla="*/ 12 h 134"/>
                <a:gd name="T6" fmla="*/ 6 w 66"/>
                <a:gd name="T7" fmla="*/ 20 h 134"/>
                <a:gd name="T8" fmla="*/ 10 w 66"/>
                <a:gd name="T9" fmla="*/ 32 h 134"/>
                <a:gd name="T10" fmla="*/ 14 w 66"/>
                <a:gd name="T11" fmla="*/ 38 h 134"/>
                <a:gd name="T12" fmla="*/ 20 w 66"/>
                <a:gd name="T13" fmla="*/ 46 h 134"/>
                <a:gd name="T14" fmla="*/ 20 w 66"/>
                <a:gd name="T15" fmla="*/ 50 h 134"/>
                <a:gd name="T16" fmla="*/ 20 w 66"/>
                <a:gd name="T17" fmla="*/ 54 h 134"/>
                <a:gd name="T18" fmla="*/ 18 w 66"/>
                <a:gd name="T19" fmla="*/ 62 h 134"/>
                <a:gd name="T20" fmla="*/ 14 w 66"/>
                <a:gd name="T21" fmla="*/ 70 h 134"/>
                <a:gd name="T22" fmla="*/ 6 w 66"/>
                <a:gd name="T23" fmla="*/ 76 h 134"/>
                <a:gd name="T24" fmla="*/ 2 w 66"/>
                <a:gd name="T25" fmla="*/ 82 h 134"/>
                <a:gd name="T26" fmla="*/ 0 w 66"/>
                <a:gd name="T27" fmla="*/ 86 h 134"/>
                <a:gd name="T28" fmla="*/ 0 w 66"/>
                <a:gd name="T29" fmla="*/ 90 h 134"/>
                <a:gd name="T30" fmla="*/ 2 w 66"/>
                <a:gd name="T31" fmla="*/ 100 h 134"/>
                <a:gd name="T32" fmla="*/ 2 w 66"/>
                <a:gd name="T33" fmla="*/ 112 h 134"/>
                <a:gd name="T34" fmla="*/ 4 w 66"/>
                <a:gd name="T35" fmla="*/ 122 h 134"/>
                <a:gd name="T36" fmla="*/ 6 w 66"/>
                <a:gd name="T37" fmla="*/ 126 h 134"/>
                <a:gd name="T38" fmla="*/ 10 w 66"/>
                <a:gd name="T39" fmla="*/ 130 h 134"/>
                <a:gd name="T40" fmla="*/ 16 w 66"/>
                <a:gd name="T41" fmla="*/ 134 h 134"/>
                <a:gd name="T42" fmla="*/ 18 w 66"/>
                <a:gd name="T43" fmla="*/ 134 h 134"/>
                <a:gd name="T44" fmla="*/ 22 w 66"/>
                <a:gd name="T45" fmla="*/ 134 h 134"/>
                <a:gd name="T46" fmla="*/ 22 w 66"/>
                <a:gd name="T47" fmla="*/ 130 h 134"/>
                <a:gd name="T48" fmla="*/ 24 w 66"/>
                <a:gd name="T49" fmla="*/ 124 h 134"/>
                <a:gd name="T50" fmla="*/ 24 w 66"/>
                <a:gd name="T51" fmla="*/ 116 h 134"/>
                <a:gd name="T52" fmla="*/ 24 w 66"/>
                <a:gd name="T53" fmla="*/ 112 h 134"/>
                <a:gd name="T54" fmla="*/ 28 w 66"/>
                <a:gd name="T55" fmla="*/ 108 h 134"/>
                <a:gd name="T56" fmla="*/ 38 w 66"/>
                <a:gd name="T57" fmla="*/ 98 h 134"/>
                <a:gd name="T58" fmla="*/ 44 w 66"/>
                <a:gd name="T59" fmla="*/ 96 h 134"/>
                <a:gd name="T60" fmla="*/ 56 w 66"/>
                <a:gd name="T61" fmla="*/ 90 h 134"/>
                <a:gd name="T62" fmla="*/ 60 w 66"/>
                <a:gd name="T63" fmla="*/ 88 h 134"/>
                <a:gd name="T64" fmla="*/ 62 w 66"/>
                <a:gd name="T65" fmla="*/ 82 h 134"/>
                <a:gd name="T66" fmla="*/ 64 w 66"/>
                <a:gd name="T67" fmla="*/ 76 h 134"/>
                <a:gd name="T68" fmla="*/ 66 w 66"/>
                <a:gd name="T69" fmla="*/ 66 h 134"/>
                <a:gd name="T70" fmla="*/ 66 w 66"/>
                <a:gd name="T71" fmla="*/ 62 h 134"/>
                <a:gd name="T72" fmla="*/ 64 w 66"/>
                <a:gd name="T73" fmla="*/ 58 h 134"/>
                <a:gd name="T74" fmla="*/ 62 w 66"/>
                <a:gd name="T75" fmla="*/ 56 h 134"/>
                <a:gd name="T76" fmla="*/ 58 w 66"/>
                <a:gd name="T77" fmla="*/ 56 h 134"/>
                <a:gd name="T78" fmla="*/ 48 w 66"/>
                <a:gd name="T79" fmla="*/ 58 h 134"/>
                <a:gd name="T80" fmla="*/ 44 w 66"/>
                <a:gd name="T81" fmla="*/ 58 h 134"/>
                <a:gd name="T82" fmla="*/ 40 w 66"/>
                <a:gd name="T83" fmla="*/ 58 h 134"/>
                <a:gd name="T84" fmla="*/ 40 w 66"/>
                <a:gd name="T85" fmla="*/ 54 h 134"/>
                <a:gd name="T86" fmla="*/ 40 w 66"/>
                <a:gd name="T87" fmla="*/ 48 h 134"/>
                <a:gd name="T88" fmla="*/ 40 w 66"/>
                <a:gd name="T89" fmla="*/ 42 h 134"/>
                <a:gd name="T90" fmla="*/ 40 w 66"/>
                <a:gd name="T91" fmla="*/ 38 h 134"/>
                <a:gd name="T92" fmla="*/ 36 w 66"/>
                <a:gd name="T93" fmla="*/ 38 h 134"/>
                <a:gd name="T94" fmla="*/ 32 w 66"/>
                <a:gd name="T95" fmla="*/ 38 h 134"/>
                <a:gd name="T96" fmla="*/ 26 w 66"/>
                <a:gd name="T97" fmla="*/ 36 h 134"/>
                <a:gd name="T98" fmla="*/ 24 w 66"/>
                <a:gd name="T99" fmla="*/ 36 h 134"/>
                <a:gd name="T100" fmla="*/ 22 w 66"/>
                <a:gd name="T101" fmla="*/ 32 h 134"/>
                <a:gd name="T102" fmla="*/ 22 w 66"/>
                <a:gd name="T103" fmla="*/ 28 h 134"/>
                <a:gd name="T104" fmla="*/ 24 w 66"/>
                <a:gd name="T105" fmla="*/ 18 h 134"/>
                <a:gd name="T106" fmla="*/ 24 w 66"/>
                <a:gd name="T107" fmla="*/ 12 h 134"/>
                <a:gd name="T108" fmla="*/ 20 w 66"/>
                <a:gd name="T109" fmla="*/ 6 h 134"/>
                <a:gd name="T110" fmla="*/ 18 w 66"/>
                <a:gd name="T111" fmla="*/ 4 h 134"/>
                <a:gd name="T112" fmla="*/ 12 w 66"/>
                <a:gd name="T113" fmla="*/ 2 h 134"/>
                <a:gd name="T114" fmla="*/ 8 w 66"/>
                <a:gd name="T115" fmla="*/ 0 h 134"/>
                <a:gd name="T116" fmla="*/ 6 w 66"/>
                <a:gd name="T117" fmla="*/ 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6" h="134">
                  <a:moveTo>
                    <a:pt x="6" y="2"/>
                  </a:moveTo>
                  <a:lnTo>
                    <a:pt x="6" y="2"/>
                  </a:lnTo>
                  <a:lnTo>
                    <a:pt x="4" y="2"/>
                  </a:lnTo>
                  <a:lnTo>
                    <a:pt x="4" y="4"/>
                  </a:lnTo>
                  <a:lnTo>
                    <a:pt x="4" y="4"/>
                  </a:lnTo>
                  <a:lnTo>
                    <a:pt x="4" y="4"/>
                  </a:lnTo>
                  <a:lnTo>
                    <a:pt x="4" y="8"/>
                  </a:lnTo>
                  <a:lnTo>
                    <a:pt x="4" y="10"/>
                  </a:lnTo>
                  <a:lnTo>
                    <a:pt x="4" y="12"/>
                  </a:lnTo>
                  <a:lnTo>
                    <a:pt x="4" y="14"/>
                  </a:lnTo>
                  <a:lnTo>
                    <a:pt x="6" y="18"/>
                  </a:lnTo>
                  <a:lnTo>
                    <a:pt x="6" y="20"/>
                  </a:lnTo>
                  <a:lnTo>
                    <a:pt x="6" y="22"/>
                  </a:lnTo>
                  <a:lnTo>
                    <a:pt x="8" y="28"/>
                  </a:lnTo>
                  <a:lnTo>
                    <a:pt x="10" y="32"/>
                  </a:lnTo>
                  <a:lnTo>
                    <a:pt x="12" y="36"/>
                  </a:lnTo>
                  <a:lnTo>
                    <a:pt x="14" y="38"/>
                  </a:lnTo>
                  <a:lnTo>
                    <a:pt x="14" y="38"/>
                  </a:lnTo>
                  <a:lnTo>
                    <a:pt x="18" y="42"/>
                  </a:lnTo>
                  <a:lnTo>
                    <a:pt x="18" y="44"/>
                  </a:lnTo>
                  <a:lnTo>
                    <a:pt x="20" y="46"/>
                  </a:lnTo>
                  <a:lnTo>
                    <a:pt x="20" y="48"/>
                  </a:lnTo>
                  <a:lnTo>
                    <a:pt x="20" y="48"/>
                  </a:lnTo>
                  <a:lnTo>
                    <a:pt x="20" y="50"/>
                  </a:lnTo>
                  <a:lnTo>
                    <a:pt x="20" y="50"/>
                  </a:lnTo>
                  <a:lnTo>
                    <a:pt x="20" y="52"/>
                  </a:lnTo>
                  <a:lnTo>
                    <a:pt x="20" y="54"/>
                  </a:lnTo>
                  <a:lnTo>
                    <a:pt x="20" y="56"/>
                  </a:lnTo>
                  <a:lnTo>
                    <a:pt x="18" y="60"/>
                  </a:lnTo>
                  <a:lnTo>
                    <a:pt x="18" y="62"/>
                  </a:lnTo>
                  <a:lnTo>
                    <a:pt x="16" y="64"/>
                  </a:lnTo>
                  <a:lnTo>
                    <a:pt x="14" y="68"/>
                  </a:lnTo>
                  <a:lnTo>
                    <a:pt x="14" y="70"/>
                  </a:lnTo>
                  <a:lnTo>
                    <a:pt x="12" y="70"/>
                  </a:lnTo>
                  <a:lnTo>
                    <a:pt x="10" y="72"/>
                  </a:lnTo>
                  <a:lnTo>
                    <a:pt x="6" y="76"/>
                  </a:lnTo>
                  <a:lnTo>
                    <a:pt x="4" y="78"/>
                  </a:lnTo>
                  <a:lnTo>
                    <a:pt x="2" y="80"/>
                  </a:lnTo>
                  <a:lnTo>
                    <a:pt x="2" y="82"/>
                  </a:lnTo>
                  <a:lnTo>
                    <a:pt x="0" y="84"/>
                  </a:lnTo>
                  <a:lnTo>
                    <a:pt x="0" y="84"/>
                  </a:lnTo>
                  <a:lnTo>
                    <a:pt x="0" y="86"/>
                  </a:lnTo>
                  <a:lnTo>
                    <a:pt x="0" y="88"/>
                  </a:lnTo>
                  <a:lnTo>
                    <a:pt x="0" y="90"/>
                  </a:lnTo>
                  <a:lnTo>
                    <a:pt x="0" y="90"/>
                  </a:lnTo>
                  <a:lnTo>
                    <a:pt x="2" y="94"/>
                  </a:lnTo>
                  <a:lnTo>
                    <a:pt x="2" y="96"/>
                  </a:lnTo>
                  <a:lnTo>
                    <a:pt x="2" y="100"/>
                  </a:lnTo>
                  <a:lnTo>
                    <a:pt x="2" y="104"/>
                  </a:lnTo>
                  <a:lnTo>
                    <a:pt x="2" y="108"/>
                  </a:lnTo>
                  <a:lnTo>
                    <a:pt x="2" y="112"/>
                  </a:lnTo>
                  <a:lnTo>
                    <a:pt x="4" y="118"/>
                  </a:lnTo>
                  <a:lnTo>
                    <a:pt x="4" y="120"/>
                  </a:lnTo>
                  <a:lnTo>
                    <a:pt x="4" y="122"/>
                  </a:lnTo>
                  <a:lnTo>
                    <a:pt x="4" y="124"/>
                  </a:lnTo>
                  <a:lnTo>
                    <a:pt x="4" y="124"/>
                  </a:lnTo>
                  <a:lnTo>
                    <a:pt x="6" y="126"/>
                  </a:lnTo>
                  <a:lnTo>
                    <a:pt x="6" y="128"/>
                  </a:lnTo>
                  <a:lnTo>
                    <a:pt x="8" y="128"/>
                  </a:lnTo>
                  <a:lnTo>
                    <a:pt x="10" y="130"/>
                  </a:lnTo>
                  <a:lnTo>
                    <a:pt x="10" y="132"/>
                  </a:lnTo>
                  <a:lnTo>
                    <a:pt x="14" y="132"/>
                  </a:lnTo>
                  <a:lnTo>
                    <a:pt x="16" y="134"/>
                  </a:lnTo>
                  <a:lnTo>
                    <a:pt x="18" y="134"/>
                  </a:lnTo>
                  <a:lnTo>
                    <a:pt x="18" y="134"/>
                  </a:lnTo>
                  <a:lnTo>
                    <a:pt x="18" y="134"/>
                  </a:lnTo>
                  <a:lnTo>
                    <a:pt x="20" y="134"/>
                  </a:lnTo>
                  <a:lnTo>
                    <a:pt x="20" y="134"/>
                  </a:lnTo>
                  <a:lnTo>
                    <a:pt x="22" y="134"/>
                  </a:lnTo>
                  <a:lnTo>
                    <a:pt x="22" y="132"/>
                  </a:lnTo>
                  <a:lnTo>
                    <a:pt x="22" y="132"/>
                  </a:lnTo>
                  <a:lnTo>
                    <a:pt x="22" y="130"/>
                  </a:lnTo>
                  <a:lnTo>
                    <a:pt x="22" y="128"/>
                  </a:lnTo>
                  <a:lnTo>
                    <a:pt x="24" y="128"/>
                  </a:lnTo>
                  <a:lnTo>
                    <a:pt x="24" y="124"/>
                  </a:lnTo>
                  <a:lnTo>
                    <a:pt x="24" y="120"/>
                  </a:lnTo>
                  <a:lnTo>
                    <a:pt x="24" y="118"/>
                  </a:lnTo>
                  <a:lnTo>
                    <a:pt x="24" y="116"/>
                  </a:lnTo>
                  <a:lnTo>
                    <a:pt x="24" y="114"/>
                  </a:lnTo>
                  <a:lnTo>
                    <a:pt x="24" y="114"/>
                  </a:lnTo>
                  <a:lnTo>
                    <a:pt x="24" y="112"/>
                  </a:lnTo>
                  <a:lnTo>
                    <a:pt x="26" y="110"/>
                  </a:lnTo>
                  <a:lnTo>
                    <a:pt x="26" y="108"/>
                  </a:lnTo>
                  <a:lnTo>
                    <a:pt x="28" y="108"/>
                  </a:lnTo>
                  <a:lnTo>
                    <a:pt x="30" y="106"/>
                  </a:lnTo>
                  <a:lnTo>
                    <a:pt x="34" y="102"/>
                  </a:lnTo>
                  <a:lnTo>
                    <a:pt x="38" y="98"/>
                  </a:lnTo>
                  <a:lnTo>
                    <a:pt x="38" y="98"/>
                  </a:lnTo>
                  <a:lnTo>
                    <a:pt x="40" y="98"/>
                  </a:lnTo>
                  <a:lnTo>
                    <a:pt x="44" y="96"/>
                  </a:lnTo>
                  <a:lnTo>
                    <a:pt x="50" y="92"/>
                  </a:lnTo>
                  <a:lnTo>
                    <a:pt x="54" y="92"/>
                  </a:lnTo>
                  <a:lnTo>
                    <a:pt x="56" y="90"/>
                  </a:lnTo>
                  <a:lnTo>
                    <a:pt x="58" y="88"/>
                  </a:lnTo>
                  <a:lnTo>
                    <a:pt x="58" y="88"/>
                  </a:lnTo>
                  <a:lnTo>
                    <a:pt x="60" y="88"/>
                  </a:lnTo>
                  <a:lnTo>
                    <a:pt x="60" y="86"/>
                  </a:lnTo>
                  <a:lnTo>
                    <a:pt x="62" y="84"/>
                  </a:lnTo>
                  <a:lnTo>
                    <a:pt x="62" y="82"/>
                  </a:lnTo>
                  <a:lnTo>
                    <a:pt x="64" y="80"/>
                  </a:lnTo>
                  <a:lnTo>
                    <a:pt x="64" y="78"/>
                  </a:lnTo>
                  <a:lnTo>
                    <a:pt x="64" y="76"/>
                  </a:lnTo>
                  <a:lnTo>
                    <a:pt x="66" y="74"/>
                  </a:lnTo>
                  <a:lnTo>
                    <a:pt x="66" y="70"/>
                  </a:lnTo>
                  <a:lnTo>
                    <a:pt x="66" y="66"/>
                  </a:lnTo>
                  <a:lnTo>
                    <a:pt x="66" y="64"/>
                  </a:lnTo>
                  <a:lnTo>
                    <a:pt x="66" y="64"/>
                  </a:lnTo>
                  <a:lnTo>
                    <a:pt x="66" y="62"/>
                  </a:lnTo>
                  <a:lnTo>
                    <a:pt x="66" y="60"/>
                  </a:lnTo>
                  <a:lnTo>
                    <a:pt x="66" y="58"/>
                  </a:lnTo>
                  <a:lnTo>
                    <a:pt x="64" y="58"/>
                  </a:lnTo>
                  <a:lnTo>
                    <a:pt x="64" y="58"/>
                  </a:lnTo>
                  <a:lnTo>
                    <a:pt x="64" y="56"/>
                  </a:lnTo>
                  <a:lnTo>
                    <a:pt x="62" y="56"/>
                  </a:lnTo>
                  <a:lnTo>
                    <a:pt x="60" y="56"/>
                  </a:lnTo>
                  <a:lnTo>
                    <a:pt x="60" y="56"/>
                  </a:lnTo>
                  <a:lnTo>
                    <a:pt x="58" y="56"/>
                  </a:lnTo>
                  <a:lnTo>
                    <a:pt x="56" y="56"/>
                  </a:lnTo>
                  <a:lnTo>
                    <a:pt x="52" y="58"/>
                  </a:lnTo>
                  <a:lnTo>
                    <a:pt x="48" y="58"/>
                  </a:lnTo>
                  <a:lnTo>
                    <a:pt x="48" y="58"/>
                  </a:lnTo>
                  <a:lnTo>
                    <a:pt x="46" y="58"/>
                  </a:lnTo>
                  <a:lnTo>
                    <a:pt x="44" y="58"/>
                  </a:lnTo>
                  <a:lnTo>
                    <a:pt x="42" y="58"/>
                  </a:lnTo>
                  <a:lnTo>
                    <a:pt x="42" y="58"/>
                  </a:lnTo>
                  <a:lnTo>
                    <a:pt x="40" y="58"/>
                  </a:lnTo>
                  <a:lnTo>
                    <a:pt x="40" y="56"/>
                  </a:lnTo>
                  <a:lnTo>
                    <a:pt x="40" y="56"/>
                  </a:lnTo>
                  <a:lnTo>
                    <a:pt x="40" y="54"/>
                  </a:lnTo>
                  <a:lnTo>
                    <a:pt x="40" y="54"/>
                  </a:lnTo>
                  <a:lnTo>
                    <a:pt x="40" y="50"/>
                  </a:lnTo>
                  <a:lnTo>
                    <a:pt x="40" y="48"/>
                  </a:lnTo>
                  <a:lnTo>
                    <a:pt x="40" y="44"/>
                  </a:lnTo>
                  <a:lnTo>
                    <a:pt x="40" y="42"/>
                  </a:lnTo>
                  <a:lnTo>
                    <a:pt x="40" y="42"/>
                  </a:lnTo>
                  <a:lnTo>
                    <a:pt x="40" y="40"/>
                  </a:lnTo>
                  <a:lnTo>
                    <a:pt x="40" y="40"/>
                  </a:lnTo>
                  <a:lnTo>
                    <a:pt x="40" y="38"/>
                  </a:lnTo>
                  <a:lnTo>
                    <a:pt x="38" y="38"/>
                  </a:lnTo>
                  <a:lnTo>
                    <a:pt x="38" y="38"/>
                  </a:lnTo>
                  <a:lnTo>
                    <a:pt x="36" y="38"/>
                  </a:lnTo>
                  <a:lnTo>
                    <a:pt x="36" y="38"/>
                  </a:lnTo>
                  <a:lnTo>
                    <a:pt x="34" y="38"/>
                  </a:lnTo>
                  <a:lnTo>
                    <a:pt x="32" y="38"/>
                  </a:lnTo>
                  <a:lnTo>
                    <a:pt x="32" y="38"/>
                  </a:lnTo>
                  <a:lnTo>
                    <a:pt x="30" y="38"/>
                  </a:lnTo>
                  <a:lnTo>
                    <a:pt x="26" y="36"/>
                  </a:lnTo>
                  <a:lnTo>
                    <a:pt x="26" y="36"/>
                  </a:lnTo>
                  <a:lnTo>
                    <a:pt x="24" y="36"/>
                  </a:lnTo>
                  <a:lnTo>
                    <a:pt x="24" y="36"/>
                  </a:lnTo>
                  <a:lnTo>
                    <a:pt x="22" y="34"/>
                  </a:lnTo>
                  <a:lnTo>
                    <a:pt x="22" y="34"/>
                  </a:lnTo>
                  <a:lnTo>
                    <a:pt x="22" y="32"/>
                  </a:lnTo>
                  <a:lnTo>
                    <a:pt x="22" y="32"/>
                  </a:lnTo>
                  <a:lnTo>
                    <a:pt x="22" y="30"/>
                  </a:lnTo>
                  <a:lnTo>
                    <a:pt x="22" y="28"/>
                  </a:lnTo>
                  <a:lnTo>
                    <a:pt x="22" y="26"/>
                  </a:lnTo>
                  <a:lnTo>
                    <a:pt x="24" y="20"/>
                  </a:lnTo>
                  <a:lnTo>
                    <a:pt x="24" y="18"/>
                  </a:lnTo>
                  <a:lnTo>
                    <a:pt x="24" y="16"/>
                  </a:lnTo>
                  <a:lnTo>
                    <a:pt x="24" y="16"/>
                  </a:lnTo>
                  <a:lnTo>
                    <a:pt x="24" y="12"/>
                  </a:lnTo>
                  <a:lnTo>
                    <a:pt x="22" y="10"/>
                  </a:lnTo>
                  <a:lnTo>
                    <a:pt x="22" y="8"/>
                  </a:lnTo>
                  <a:lnTo>
                    <a:pt x="20" y="6"/>
                  </a:lnTo>
                  <a:lnTo>
                    <a:pt x="20" y="6"/>
                  </a:lnTo>
                  <a:lnTo>
                    <a:pt x="20" y="4"/>
                  </a:lnTo>
                  <a:lnTo>
                    <a:pt x="18" y="4"/>
                  </a:lnTo>
                  <a:lnTo>
                    <a:pt x="16" y="2"/>
                  </a:lnTo>
                  <a:lnTo>
                    <a:pt x="14" y="2"/>
                  </a:lnTo>
                  <a:lnTo>
                    <a:pt x="12" y="2"/>
                  </a:lnTo>
                  <a:lnTo>
                    <a:pt x="10" y="0"/>
                  </a:lnTo>
                  <a:lnTo>
                    <a:pt x="8" y="0"/>
                  </a:lnTo>
                  <a:lnTo>
                    <a:pt x="8" y="0"/>
                  </a:lnTo>
                  <a:lnTo>
                    <a:pt x="6" y="2"/>
                  </a:lnTo>
                  <a:lnTo>
                    <a:pt x="6" y="2"/>
                  </a:lnTo>
                  <a:lnTo>
                    <a:pt x="6"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 name="Freeform 21">
              <a:extLst>
                <a:ext uri="{FF2B5EF4-FFF2-40B4-BE49-F238E27FC236}">
                  <a16:creationId xmlns:a16="http://schemas.microsoft.com/office/drawing/2014/main" id="{1CB415BB-0EFB-4445-81A2-14BD67FA6BFE}"/>
                </a:ext>
              </a:extLst>
            </p:cNvPr>
            <p:cNvSpPr>
              <a:spLocks/>
            </p:cNvSpPr>
            <p:nvPr/>
          </p:nvSpPr>
          <p:spPr bwMode="auto">
            <a:xfrm>
              <a:off x="8502403" y="5661207"/>
              <a:ext cx="114317" cy="232098"/>
            </a:xfrm>
            <a:custGeom>
              <a:avLst/>
              <a:gdLst>
                <a:gd name="T0" fmla="*/ 4 w 66"/>
                <a:gd name="T1" fmla="*/ 2 h 134"/>
                <a:gd name="T2" fmla="*/ 4 w 66"/>
                <a:gd name="T3" fmla="*/ 4 h 134"/>
                <a:gd name="T4" fmla="*/ 4 w 66"/>
                <a:gd name="T5" fmla="*/ 12 h 134"/>
                <a:gd name="T6" fmla="*/ 6 w 66"/>
                <a:gd name="T7" fmla="*/ 20 h 134"/>
                <a:gd name="T8" fmla="*/ 10 w 66"/>
                <a:gd name="T9" fmla="*/ 32 h 134"/>
                <a:gd name="T10" fmla="*/ 14 w 66"/>
                <a:gd name="T11" fmla="*/ 38 h 134"/>
                <a:gd name="T12" fmla="*/ 20 w 66"/>
                <a:gd name="T13" fmla="*/ 46 h 134"/>
                <a:gd name="T14" fmla="*/ 20 w 66"/>
                <a:gd name="T15" fmla="*/ 50 h 134"/>
                <a:gd name="T16" fmla="*/ 20 w 66"/>
                <a:gd name="T17" fmla="*/ 54 h 134"/>
                <a:gd name="T18" fmla="*/ 18 w 66"/>
                <a:gd name="T19" fmla="*/ 62 h 134"/>
                <a:gd name="T20" fmla="*/ 14 w 66"/>
                <a:gd name="T21" fmla="*/ 70 h 134"/>
                <a:gd name="T22" fmla="*/ 6 w 66"/>
                <a:gd name="T23" fmla="*/ 76 h 134"/>
                <a:gd name="T24" fmla="*/ 2 w 66"/>
                <a:gd name="T25" fmla="*/ 82 h 134"/>
                <a:gd name="T26" fmla="*/ 0 w 66"/>
                <a:gd name="T27" fmla="*/ 86 h 134"/>
                <a:gd name="T28" fmla="*/ 0 w 66"/>
                <a:gd name="T29" fmla="*/ 90 h 134"/>
                <a:gd name="T30" fmla="*/ 2 w 66"/>
                <a:gd name="T31" fmla="*/ 100 h 134"/>
                <a:gd name="T32" fmla="*/ 2 w 66"/>
                <a:gd name="T33" fmla="*/ 112 h 134"/>
                <a:gd name="T34" fmla="*/ 4 w 66"/>
                <a:gd name="T35" fmla="*/ 122 h 134"/>
                <a:gd name="T36" fmla="*/ 6 w 66"/>
                <a:gd name="T37" fmla="*/ 126 h 134"/>
                <a:gd name="T38" fmla="*/ 10 w 66"/>
                <a:gd name="T39" fmla="*/ 130 h 134"/>
                <a:gd name="T40" fmla="*/ 16 w 66"/>
                <a:gd name="T41" fmla="*/ 134 h 134"/>
                <a:gd name="T42" fmla="*/ 18 w 66"/>
                <a:gd name="T43" fmla="*/ 134 h 134"/>
                <a:gd name="T44" fmla="*/ 22 w 66"/>
                <a:gd name="T45" fmla="*/ 134 h 134"/>
                <a:gd name="T46" fmla="*/ 22 w 66"/>
                <a:gd name="T47" fmla="*/ 130 h 134"/>
                <a:gd name="T48" fmla="*/ 24 w 66"/>
                <a:gd name="T49" fmla="*/ 124 h 134"/>
                <a:gd name="T50" fmla="*/ 24 w 66"/>
                <a:gd name="T51" fmla="*/ 116 h 134"/>
                <a:gd name="T52" fmla="*/ 24 w 66"/>
                <a:gd name="T53" fmla="*/ 112 h 134"/>
                <a:gd name="T54" fmla="*/ 28 w 66"/>
                <a:gd name="T55" fmla="*/ 108 h 134"/>
                <a:gd name="T56" fmla="*/ 38 w 66"/>
                <a:gd name="T57" fmla="*/ 98 h 134"/>
                <a:gd name="T58" fmla="*/ 44 w 66"/>
                <a:gd name="T59" fmla="*/ 96 h 134"/>
                <a:gd name="T60" fmla="*/ 56 w 66"/>
                <a:gd name="T61" fmla="*/ 90 h 134"/>
                <a:gd name="T62" fmla="*/ 60 w 66"/>
                <a:gd name="T63" fmla="*/ 88 h 134"/>
                <a:gd name="T64" fmla="*/ 62 w 66"/>
                <a:gd name="T65" fmla="*/ 82 h 134"/>
                <a:gd name="T66" fmla="*/ 64 w 66"/>
                <a:gd name="T67" fmla="*/ 76 h 134"/>
                <a:gd name="T68" fmla="*/ 66 w 66"/>
                <a:gd name="T69" fmla="*/ 66 h 134"/>
                <a:gd name="T70" fmla="*/ 66 w 66"/>
                <a:gd name="T71" fmla="*/ 62 h 134"/>
                <a:gd name="T72" fmla="*/ 64 w 66"/>
                <a:gd name="T73" fmla="*/ 58 h 134"/>
                <a:gd name="T74" fmla="*/ 62 w 66"/>
                <a:gd name="T75" fmla="*/ 56 h 134"/>
                <a:gd name="T76" fmla="*/ 58 w 66"/>
                <a:gd name="T77" fmla="*/ 56 h 134"/>
                <a:gd name="T78" fmla="*/ 48 w 66"/>
                <a:gd name="T79" fmla="*/ 58 h 134"/>
                <a:gd name="T80" fmla="*/ 44 w 66"/>
                <a:gd name="T81" fmla="*/ 58 h 134"/>
                <a:gd name="T82" fmla="*/ 40 w 66"/>
                <a:gd name="T83" fmla="*/ 58 h 134"/>
                <a:gd name="T84" fmla="*/ 40 w 66"/>
                <a:gd name="T85" fmla="*/ 54 h 134"/>
                <a:gd name="T86" fmla="*/ 40 w 66"/>
                <a:gd name="T87" fmla="*/ 48 h 134"/>
                <a:gd name="T88" fmla="*/ 40 w 66"/>
                <a:gd name="T89" fmla="*/ 42 h 134"/>
                <a:gd name="T90" fmla="*/ 40 w 66"/>
                <a:gd name="T91" fmla="*/ 38 h 134"/>
                <a:gd name="T92" fmla="*/ 36 w 66"/>
                <a:gd name="T93" fmla="*/ 38 h 134"/>
                <a:gd name="T94" fmla="*/ 32 w 66"/>
                <a:gd name="T95" fmla="*/ 38 h 134"/>
                <a:gd name="T96" fmla="*/ 26 w 66"/>
                <a:gd name="T97" fmla="*/ 36 h 134"/>
                <a:gd name="T98" fmla="*/ 24 w 66"/>
                <a:gd name="T99" fmla="*/ 36 h 134"/>
                <a:gd name="T100" fmla="*/ 22 w 66"/>
                <a:gd name="T101" fmla="*/ 32 h 134"/>
                <a:gd name="T102" fmla="*/ 22 w 66"/>
                <a:gd name="T103" fmla="*/ 28 h 134"/>
                <a:gd name="T104" fmla="*/ 24 w 66"/>
                <a:gd name="T105" fmla="*/ 18 h 134"/>
                <a:gd name="T106" fmla="*/ 24 w 66"/>
                <a:gd name="T107" fmla="*/ 12 h 134"/>
                <a:gd name="T108" fmla="*/ 20 w 66"/>
                <a:gd name="T109" fmla="*/ 6 h 134"/>
                <a:gd name="T110" fmla="*/ 18 w 66"/>
                <a:gd name="T111" fmla="*/ 4 h 134"/>
                <a:gd name="T112" fmla="*/ 12 w 66"/>
                <a:gd name="T113" fmla="*/ 2 h 134"/>
                <a:gd name="T114" fmla="*/ 8 w 66"/>
                <a:gd name="T115" fmla="*/ 0 h 134"/>
                <a:gd name="T116" fmla="*/ 6 w 66"/>
                <a:gd name="T117" fmla="*/ 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6" h="134">
                  <a:moveTo>
                    <a:pt x="6" y="2"/>
                  </a:moveTo>
                  <a:lnTo>
                    <a:pt x="6" y="2"/>
                  </a:lnTo>
                  <a:lnTo>
                    <a:pt x="4" y="2"/>
                  </a:lnTo>
                  <a:lnTo>
                    <a:pt x="4" y="4"/>
                  </a:lnTo>
                  <a:lnTo>
                    <a:pt x="4" y="4"/>
                  </a:lnTo>
                  <a:lnTo>
                    <a:pt x="4" y="4"/>
                  </a:lnTo>
                  <a:lnTo>
                    <a:pt x="4" y="8"/>
                  </a:lnTo>
                  <a:lnTo>
                    <a:pt x="4" y="10"/>
                  </a:lnTo>
                  <a:lnTo>
                    <a:pt x="4" y="12"/>
                  </a:lnTo>
                  <a:lnTo>
                    <a:pt x="4" y="14"/>
                  </a:lnTo>
                  <a:lnTo>
                    <a:pt x="6" y="18"/>
                  </a:lnTo>
                  <a:lnTo>
                    <a:pt x="6" y="20"/>
                  </a:lnTo>
                  <a:lnTo>
                    <a:pt x="6" y="22"/>
                  </a:lnTo>
                  <a:lnTo>
                    <a:pt x="8" y="28"/>
                  </a:lnTo>
                  <a:lnTo>
                    <a:pt x="10" y="32"/>
                  </a:lnTo>
                  <a:lnTo>
                    <a:pt x="12" y="36"/>
                  </a:lnTo>
                  <a:lnTo>
                    <a:pt x="14" y="38"/>
                  </a:lnTo>
                  <a:lnTo>
                    <a:pt x="14" y="38"/>
                  </a:lnTo>
                  <a:lnTo>
                    <a:pt x="18" y="42"/>
                  </a:lnTo>
                  <a:lnTo>
                    <a:pt x="18" y="44"/>
                  </a:lnTo>
                  <a:lnTo>
                    <a:pt x="20" y="46"/>
                  </a:lnTo>
                  <a:lnTo>
                    <a:pt x="20" y="48"/>
                  </a:lnTo>
                  <a:lnTo>
                    <a:pt x="20" y="48"/>
                  </a:lnTo>
                  <a:lnTo>
                    <a:pt x="20" y="50"/>
                  </a:lnTo>
                  <a:lnTo>
                    <a:pt x="20" y="50"/>
                  </a:lnTo>
                  <a:lnTo>
                    <a:pt x="20" y="52"/>
                  </a:lnTo>
                  <a:lnTo>
                    <a:pt x="20" y="54"/>
                  </a:lnTo>
                  <a:lnTo>
                    <a:pt x="20" y="56"/>
                  </a:lnTo>
                  <a:lnTo>
                    <a:pt x="18" y="60"/>
                  </a:lnTo>
                  <a:lnTo>
                    <a:pt x="18" y="62"/>
                  </a:lnTo>
                  <a:lnTo>
                    <a:pt x="16" y="64"/>
                  </a:lnTo>
                  <a:lnTo>
                    <a:pt x="14" y="68"/>
                  </a:lnTo>
                  <a:lnTo>
                    <a:pt x="14" y="70"/>
                  </a:lnTo>
                  <a:lnTo>
                    <a:pt x="12" y="70"/>
                  </a:lnTo>
                  <a:lnTo>
                    <a:pt x="10" y="72"/>
                  </a:lnTo>
                  <a:lnTo>
                    <a:pt x="6" y="76"/>
                  </a:lnTo>
                  <a:lnTo>
                    <a:pt x="4" y="78"/>
                  </a:lnTo>
                  <a:lnTo>
                    <a:pt x="2" y="80"/>
                  </a:lnTo>
                  <a:lnTo>
                    <a:pt x="2" y="82"/>
                  </a:lnTo>
                  <a:lnTo>
                    <a:pt x="0" y="84"/>
                  </a:lnTo>
                  <a:lnTo>
                    <a:pt x="0" y="84"/>
                  </a:lnTo>
                  <a:lnTo>
                    <a:pt x="0" y="86"/>
                  </a:lnTo>
                  <a:lnTo>
                    <a:pt x="0" y="88"/>
                  </a:lnTo>
                  <a:lnTo>
                    <a:pt x="0" y="90"/>
                  </a:lnTo>
                  <a:lnTo>
                    <a:pt x="0" y="90"/>
                  </a:lnTo>
                  <a:lnTo>
                    <a:pt x="2" y="94"/>
                  </a:lnTo>
                  <a:lnTo>
                    <a:pt x="2" y="96"/>
                  </a:lnTo>
                  <a:lnTo>
                    <a:pt x="2" y="100"/>
                  </a:lnTo>
                  <a:lnTo>
                    <a:pt x="2" y="104"/>
                  </a:lnTo>
                  <a:lnTo>
                    <a:pt x="2" y="108"/>
                  </a:lnTo>
                  <a:lnTo>
                    <a:pt x="2" y="112"/>
                  </a:lnTo>
                  <a:lnTo>
                    <a:pt x="4" y="118"/>
                  </a:lnTo>
                  <a:lnTo>
                    <a:pt x="4" y="120"/>
                  </a:lnTo>
                  <a:lnTo>
                    <a:pt x="4" y="122"/>
                  </a:lnTo>
                  <a:lnTo>
                    <a:pt x="4" y="124"/>
                  </a:lnTo>
                  <a:lnTo>
                    <a:pt x="4" y="124"/>
                  </a:lnTo>
                  <a:lnTo>
                    <a:pt x="6" y="126"/>
                  </a:lnTo>
                  <a:lnTo>
                    <a:pt x="6" y="128"/>
                  </a:lnTo>
                  <a:lnTo>
                    <a:pt x="8" y="128"/>
                  </a:lnTo>
                  <a:lnTo>
                    <a:pt x="10" y="130"/>
                  </a:lnTo>
                  <a:lnTo>
                    <a:pt x="10" y="132"/>
                  </a:lnTo>
                  <a:lnTo>
                    <a:pt x="14" y="132"/>
                  </a:lnTo>
                  <a:lnTo>
                    <a:pt x="16" y="134"/>
                  </a:lnTo>
                  <a:lnTo>
                    <a:pt x="18" y="134"/>
                  </a:lnTo>
                  <a:lnTo>
                    <a:pt x="18" y="134"/>
                  </a:lnTo>
                  <a:lnTo>
                    <a:pt x="18" y="134"/>
                  </a:lnTo>
                  <a:lnTo>
                    <a:pt x="20" y="134"/>
                  </a:lnTo>
                  <a:lnTo>
                    <a:pt x="20" y="134"/>
                  </a:lnTo>
                  <a:lnTo>
                    <a:pt x="22" y="134"/>
                  </a:lnTo>
                  <a:lnTo>
                    <a:pt x="22" y="132"/>
                  </a:lnTo>
                  <a:lnTo>
                    <a:pt x="22" y="132"/>
                  </a:lnTo>
                  <a:lnTo>
                    <a:pt x="22" y="130"/>
                  </a:lnTo>
                  <a:lnTo>
                    <a:pt x="22" y="128"/>
                  </a:lnTo>
                  <a:lnTo>
                    <a:pt x="24" y="128"/>
                  </a:lnTo>
                  <a:lnTo>
                    <a:pt x="24" y="124"/>
                  </a:lnTo>
                  <a:lnTo>
                    <a:pt x="24" y="120"/>
                  </a:lnTo>
                  <a:lnTo>
                    <a:pt x="24" y="118"/>
                  </a:lnTo>
                  <a:lnTo>
                    <a:pt x="24" y="116"/>
                  </a:lnTo>
                  <a:lnTo>
                    <a:pt x="24" y="114"/>
                  </a:lnTo>
                  <a:lnTo>
                    <a:pt x="24" y="114"/>
                  </a:lnTo>
                  <a:lnTo>
                    <a:pt x="24" y="112"/>
                  </a:lnTo>
                  <a:lnTo>
                    <a:pt x="26" y="110"/>
                  </a:lnTo>
                  <a:lnTo>
                    <a:pt x="26" y="108"/>
                  </a:lnTo>
                  <a:lnTo>
                    <a:pt x="28" y="108"/>
                  </a:lnTo>
                  <a:lnTo>
                    <a:pt x="30" y="106"/>
                  </a:lnTo>
                  <a:lnTo>
                    <a:pt x="34" y="102"/>
                  </a:lnTo>
                  <a:lnTo>
                    <a:pt x="38" y="98"/>
                  </a:lnTo>
                  <a:lnTo>
                    <a:pt x="38" y="98"/>
                  </a:lnTo>
                  <a:lnTo>
                    <a:pt x="40" y="98"/>
                  </a:lnTo>
                  <a:lnTo>
                    <a:pt x="44" y="96"/>
                  </a:lnTo>
                  <a:lnTo>
                    <a:pt x="50" y="92"/>
                  </a:lnTo>
                  <a:lnTo>
                    <a:pt x="54" y="92"/>
                  </a:lnTo>
                  <a:lnTo>
                    <a:pt x="56" y="90"/>
                  </a:lnTo>
                  <a:lnTo>
                    <a:pt x="58" y="88"/>
                  </a:lnTo>
                  <a:lnTo>
                    <a:pt x="58" y="88"/>
                  </a:lnTo>
                  <a:lnTo>
                    <a:pt x="60" y="88"/>
                  </a:lnTo>
                  <a:lnTo>
                    <a:pt x="60" y="86"/>
                  </a:lnTo>
                  <a:lnTo>
                    <a:pt x="62" y="84"/>
                  </a:lnTo>
                  <a:lnTo>
                    <a:pt x="62" y="82"/>
                  </a:lnTo>
                  <a:lnTo>
                    <a:pt x="64" y="80"/>
                  </a:lnTo>
                  <a:lnTo>
                    <a:pt x="64" y="78"/>
                  </a:lnTo>
                  <a:lnTo>
                    <a:pt x="64" y="76"/>
                  </a:lnTo>
                  <a:lnTo>
                    <a:pt x="66" y="74"/>
                  </a:lnTo>
                  <a:lnTo>
                    <a:pt x="66" y="70"/>
                  </a:lnTo>
                  <a:lnTo>
                    <a:pt x="66" y="66"/>
                  </a:lnTo>
                  <a:lnTo>
                    <a:pt x="66" y="64"/>
                  </a:lnTo>
                  <a:lnTo>
                    <a:pt x="66" y="64"/>
                  </a:lnTo>
                  <a:lnTo>
                    <a:pt x="66" y="62"/>
                  </a:lnTo>
                  <a:lnTo>
                    <a:pt x="66" y="60"/>
                  </a:lnTo>
                  <a:lnTo>
                    <a:pt x="66" y="58"/>
                  </a:lnTo>
                  <a:lnTo>
                    <a:pt x="64" y="58"/>
                  </a:lnTo>
                  <a:lnTo>
                    <a:pt x="64" y="58"/>
                  </a:lnTo>
                  <a:lnTo>
                    <a:pt x="64" y="56"/>
                  </a:lnTo>
                  <a:lnTo>
                    <a:pt x="62" y="56"/>
                  </a:lnTo>
                  <a:lnTo>
                    <a:pt x="60" y="56"/>
                  </a:lnTo>
                  <a:lnTo>
                    <a:pt x="60" y="56"/>
                  </a:lnTo>
                  <a:lnTo>
                    <a:pt x="58" y="56"/>
                  </a:lnTo>
                  <a:lnTo>
                    <a:pt x="56" y="56"/>
                  </a:lnTo>
                  <a:lnTo>
                    <a:pt x="52" y="58"/>
                  </a:lnTo>
                  <a:lnTo>
                    <a:pt x="48" y="58"/>
                  </a:lnTo>
                  <a:lnTo>
                    <a:pt x="48" y="58"/>
                  </a:lnTo>
                  <a:lnTo>
                    <a:pt x="46" y="58"/>
                  </a:lnTo>
                  <a:lnTo>
                    <a:pt x="44" y="58"/>
                  </a:lnTo>
                  <a:lnTo>
                    <a:pt x="42" y="58"/>
                  </a:lnTo>
                  <a:lnTo>
                    <a:pt x="42" y="58"/>
                  </a:lnTo>
                  <a:lnTo>
                    <a:pt x="40" y="58"/>
                  </a:lnTo>
                  <a:lnTo>
                    <a:pt x="40" y="56"/>
                  </a:lnTo>
                  <a:lnTo>
                    <a:pt x="40" y="56"/>
                  </a:lnTo>
                  <a:lnTo>
                    <a:pt x="40" y="54"/>
                  </a:lnTo>
                  <a:lnTo>
                    <a:pt x="40" y="54"/>
                  </a:lnTo>
                  <a:lnTo>
                    <a:pt x="40" y="50"/>
                  </a:lnTo>
                  <a:lnTo>
                    <a:pt x="40" y="48"/>
                  </a:lnTo>
                  <a:lnTo>
                    <a:pt x="40" y="44"/>
                  </a:lnTo>
                  <a:lnTo>
                    <a:pt x="40" y="42"/>
                  </a:lnTo>
                  <a:lnTo>
                    <a:pt x="40" y="42"/>
                  </a:lnTo>
                  <a:lnTo>
                    <a:pt x="40" y="40"/>
                  </a:lnTo>
                  <a:lnTo>
                    <a:pt x="40" y="40"/>
                  </a:lnTo>
                  <a:lnTo>
                    <a:pt x="40" y="38"/>
                  </a:lnTo>
                  <a:lnTo>
                    <a:pt x="38" y="38"/>
                  </a:lnTo>
                  <a:lnTo>
                    <a:pt x="38" y="38"/>
                  </a:lnTo>
                  <a:lnTo>
                    <a:pt x="36" y="38"/>
                  </a:lnTo>
                  <a:lnTo>
                    <a:pt x="36" y="38"/>
                  </a:lnTo>
                  <a:lnTo>
                    <a:pt x="34" y="38"/>
                  </a:lnTo>
                  <a:lnTo>
                    <a:pt x="32" y="38"/>
                  </a:lnTo>
                  <a:lnTo>
                    <a:pt x="32" y="38"/>
                  </a:lnTo>
                  <a:lnTo>
                    <a:pt x="30" y="38"/>
                  </a:lnTo>
                  <a:lnTo>
                    <a:pt x="26" y="36"/>
                  </a:lnTo>
                  <a:lnTo>
                    <a:pt x="26" y="36"/>
                  </a:lnTo>
                  <a:lnTo>
                    <a:pt x="24" y="36"/>
                  </a:lnTo>
                  <a:lnTo>
                    <a:pt x="24" y="36"/>
                  </a:lnTo>
                  <a:lnTo>
                    <a:pt x="22" y="34"/>
                  </a:lnTo>
                  <a:lnTo>
                    <a:pt x="22" y="34"/>
                  </a:lnTo>
                  <a:lnTo>
                    <a:pt x="22" y="32"/>
                  </a:lnTo>
                  <a:lnTo>
                    <a:pt x="22" y="32"/>
                  </a:lnTo>
                  <a:lnTo>
                    <a:pt x="22" y="30"/>
                  </a:lnTo>
                  <a:lnTo>
                    <a:pt x="22" y="28"/>
                  </a:lnTo>
                  <a:lnTo>
                    <a:pt x="22" y="26"/>
                  </a:lnTo>
                  <a:lnTo>
                    <a:pt x="24" y="20"/>
                  </a:lnTo>
                  <a:lnTo>
                    <a:pt x="24" y="18"/>
                  </a:lnTo>
                  <a:lnTo>
                    <a:pt x="24" y="16"/>
                  </a:lnTo>
                  <a:lnTo>
                    <a:pt x="24" y="16"/>
                  </a:lnTo>
                  <a:lnTo>
                    <a:pt x="24" y="12"/>
                  </a:lnTo>
                  <a:lnTo>
                    <a:pt x="22" y="10"/>
                  </a:lnTo>
                  <a:lnTo>
                    <a:pt x="22" y="8"/>
                  </a:lnTo>
                  <a:lnTo>
                    <a:pt x="20" y="6"/>
                  </a:lnTo>
                  <a:lnTo>
                    <a:pt x="20" y="6"/>
                  </a:lnTo>
                  <a:lnTo>
                    <a:pt x="20" y="4"/>
                  </a:lnTo>
                  <a:lnTo>
                    <a:pt x="18" y="4"/>
                  </a:lnTo>
                  <a:lnTo>
                    <a:pt x="16" y="2"/>
                  </a:lnTo>
                  <a:lnTo>
                    <a:pt x="14" y="2"/>
                  </a:lnTo>
                  <a:lnTo>
                    <a:pt x="12" y="2"/>
                  </a:lnTo>
                  <a:lnTo>
                    <a:pt x="10" y="0"/>
                  </a:lnTo>
                  <a:lnTo>
                    <a:pt x="8" y="0"/>
                  </a:lnTo>
                  <a:lnTo>
                    <a:pt x="8" y="0"/>
                  </a:lnTo>
                  <a:lnTo>
                    <a:pt x="6" y="2"/>
                  </a:lnTo>
                  <a:lnTo>
                    <a:pt x="6" y="2"/>
                  </a:lnTo>
                  <a:lnTo>
                    <a:pt x="6"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 name="Freeform 22">
              <a:extLst>
                <a:ext uri="{FF2B5EF4-FFF2-40B4-BE49-F238E27FC236}">
                  <a16:creationId xmlns:a16="http://schemas.microsoft.com/office/drawing/2014/main" id="{41E7AF37-1CF8-419E-A041-9A429A658E42}"/>
                </a:ext>
              </a:extLst>
            </p:cNvPr>
            <p:cNvSpPr>
              <a:spLocks/>
            </p:cNvSpPr>
            <p:nvPr/>
          </p:nvSpPr>
          <p:spPr bwMode="auto">
            <a:xfrm>
              <a:off x="8270305" y="5848271"/>
              <a:ext cx="218241" cy="221706"/>
            </a:xfrm>
            <a:custGeom>
              <a:avLst/>
              <a:gdLst>
                <a:gd name="T0" fmla="*/ 98 w 126"/>
                <a:gd name="T1" fmla="*/ 4 h 128"/>
                <a:gd name="T2" fmla="*/ 96 w 126"/>
                <a:gd name="T3" fmla="*/ 8 h 128"/>
                <a:gd name="T4" fmla="*/ 96 w 126"/>
                <a:gd name="T5" fmla="*/ 16 h 128"/>
                <a:gd name="T6" fmla="*/ 96 w 126"/>
                <a:gd name="T7" fmla="*/ 22 h 128"/>
                <a:gd name="T8" fmla="*/ 94 w 126"/>
                <a:gd name="T9" fmla="*/ 24 h 128"/>
                <a:gd name="T10" fmla="*/ 92 w 126"/>
                <a:gd name="T11" fmla="*/ 26 h 128"/>
                <a:gd name="T12" fmla="*/ 82 w 126"/>
                <a:gd name="T13" fmla="*/ 30 h 128"/>
                <a:gd name="T14" fmla="*/ 76 w 126"/>
                <a:gd name="T15" fmla="*/ 32 h 128"/>
                <a:gd name="T16" fmla="*/ 74 w 126"/>
                <a:gd name="T17" fmla="*/ 36 h 128"/>
                <a:gd name="T18" fmla="*/ 68 w 126"/>
                <a:gd name="T19" fmla="*/ 44 h 128"/>
                <a:gd name="T20" fmla="*/ 62 w 126"/>
                <a:gd name="T21" fmla="*/ 52 h 128"/>
                <a:gd name="T22" fmla="*/ 58 w 126"/>
                <a:gd name="T23" fmla="*/ 54 h 128"/>
                <a:gd name="T24" fmla="*/ 52 w 126"/>
                <a:gd name="T25" fmla="*/ 58 h 128"/>
                <a:gd name="T26" fmla="*/ 36 w 126"/>
                <a:gd name="T27" fmla="*/ 64 h 128"/>
                <a:gd name="T28" fmla="*/ 26 w 126"/>
                <a:gd name="T29" fmla="*/ 68 h 128"/>
                <a:gd name="T30" fmla="*/ 14 w 126"/>
                <a:gd name="T31" fmla="*/ 76 h 128"/>
                <a:gd name="T32" fmla="*/ 4 w 126"/>
                <a:gd name="T33" fmla="*/ 84 h 128"/>
                <a:gd name="T34" fmla="*/ 0 w 126"/>
                <a:gd name="T35" fmla="*/ 90 h 128"/>
                <a:gd name="T36" fmla="*/ 0 w 126"/>
                <a:gd name="T37" fmla="*/ 94 h 128"/>
                <a:gd name="T38" fmla="*/ 0 w 126"/>
                <a:gd name="T39" fmla="*/ 98 h 128"/>
                <a:gd name="T40" fmla="*/ 2 w 126"/>
                <a:gd name="T41" fmla="*/ 104 h 128"/>
                <a:gd name="T42" fmla="*/ 8 w 126"/>
                <a:gd name="T43" fmla="*/ 114 h 128"/>
                <a:gd name="T44" fmla="*/ 16 w 126"/>
                <a:gd name="T45" fmla="*/ 122 h 128"/>
                <a:gd name="T46" fmla="*/ 20 w 126"/>
                <a:gd name="T47" fmla="*/ 126 h 128"/>
                <a:gd name="T48" fmla="*/ 24 w 126"/>
                <a:gd name="T49" fmla="*/ 128 h 128"/>
                <a:gd name="T50" fmla="*/ 28 w 126"/>
                <a:gd name="T51" fmla="*/ 128 h 128"/>
                <a:gd name="T52" fmla="*/ 34 w 126"/>
                <a:gd name="T53" fmla="*/ 126 h 128"/>
                <a:gd name="T54" fmla="*/ 40 w 126"/>
                <a:gd name="T55" fmla="*/ 122 h 128"/>
                <a:gd name="T56" fmla="*/ 48 w 126"/>
                <a:gd name="T57" fmla="*/ 112 h 128"/>
                <a:gd name="T58" fmla="*/ 54 w 126"/>
                <a:gd name="T59" fmla="*/ 104 h 128"/>
                <a:gd name="T60" fmla="*/ 58 w 126"/>
                <a:gd name="T61" fmla="*/ 98 h 128"/>
                <a:gd name="T62" fmla="*/ 60 w 126"/>
                <a:gd name="T63" fmla="*/ 88 h 128"/>
                <a:gd name="T64" fmla="*/ 62 w 126"/>
                <a:gd name="T65" fmla="*/ 84 h 128"/>
                <a:gd name="T66" fmla="*/ 70 w 126"/>
                <a:gd name="T67" fmla="*/ 78 h 128"/>
                <a:gd name="T68" fmla="*/ 78 w 126"/>
                <a:gd name="T69" fmla="*/ 72 h 128"/>
                <a:gd name="T70" fmla="*/ 84 w 126"/>
                <a:gd name="T71" fmla="*/ 68 h 128"/>
                <a:gd name="T72" fmla="*/ 90 w 126"/>
                <a:gd name="T73" fmla="*/ 70 h 128"/>
                <a:gd name="T74" fmla="*/ 94 w 126"/>
                <a:gd name="T75" fmla="*/ 68 h 128"/>
                <a:gd name="T76" fmla="*/ 96 w 126"/>
                <a:gd name="T77" fmla="*/ 68 h 128"/>
                <a:gd name="T78" fmla="*/ 98 w 126"/>
                <a:gd name="T79" fmla="*/ 62 h 128"/>
                <a:gd name="T80" fmla="*/ 100 w 126"/>
                <a:gd name="T81" fmla="*/ 52 h 128"/>
                <a:gd name="T82" fmla="*/ 102 w 126"/>
                <a:gd name="T83" fmla="*/ 50 h 128"/>
                <a:gd name="T84" fmla="*/ 110 w 126"/>
                <a:gd name="T85" fmla="*/ 40 h 128"/>
                <a:gd name="T86" fmla="*/ 116 w 126"/>
                <a:gd name="T87" fmla="*/ 34 h 128"/>
                <a:gd name="T88" fmla="*/ 124 w 126"/>
                <a:gd name="T89" fmla="*/ 26 h 128"/>
                <a:gd name="T90" fmla="*/ 126 w 126"/>
                <a:gd name="T91" fmla="*/ 24 h 128"/>
                <a:gd name="T92" fmla="*/ 126 w 126"/>
                <a:gd name="T93" fmla="*/ 20 h 128"/>
                <a:gd name="T94" fmla="*/ 124 w 126"/>
                <a:gd name="T95" fmla="*/ 12 h 128"/>
                <a:gd name="T96" fmla="*/ 122 w 126"/>
                <a:gd name="T97" fmla="*/ 8 h 128"/>
                <a:gd name="T98" fmla="*/ 120 w 126"/>
                <a:gd name="T99" fmla="*/ 8 h 128"/>
                <a:gd name="T100" fmla="*/ 120 w 126"/>
                <a:gd name="T101" fmla="*/ 8 h 128"/>
                <a:gd name="T102" fmla="*/ 116 w 126"/>
                <a:gd name="T103" fmla="*/ 12 h 128"/>
                <a:gd name="T104" fmla="*/ 114 w 126"/>
                <a:gd name="T105" fmla="*/ 16 h 128"/>
                <a:gd name="T106" fmla="*/ 114 w 126"/>
                <a:gd name="T107" fmla="*/ 16 h 128"/>
                <a:gd name="T108" fmla="*/ 112 w 126"/>
                <a:gd name="T109" fmla="*/ 14 h 128"/>
                <a:gd name="T110" fmla="*/ 112 w 126"/>
                <a:gd name="T111" fmla="*/ 10 h 128"/>
                <a:gd name="T112" fmla="*/ 112 w 126"/>
                <a:gd name="T113" fmla="*/ 4 h 128"/>
                <a:gd name="T114" fmla="*/ 112 w 126"/>
                <a:gd name="T115" fmla="*/ 2 h 128"/>
                <a:gd name="T116" fmla="*/ 108 w 126"/>
                <a:gd name="T117" fmla="*/ 0 h 128"/>
                <a:gd name="T118" fmla="*/ 102 w 126"/>
                <a:gd name="T119" fmla="*/ 2 h 128"/>
                <a:gd name="T120" fmla="*/ 98 w 126"/>
                <a:gd name="T121" fmla="*/ 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 h="128">
                  <a:moveTo>
                    <a:pt x="98" y="4"/>
                  </a:moveTo>
                  <a:lnTo>
                    <a:pt x="98" y="4"/>
                  </a:lnTo>
                  <a:lnTo>
                    <a:pt x="98" y="4"/>
                  </a:lnTo>
                  <a:lnTo>
                    <a:pt x="96" y="4"/>
                  </a:lnTo>
                  <a:lnTo>
                    <a:pt x="96" y="6"/>
                  </a:lnTo>
                  <a:lnTo>
                    <a:pt x="96" y="8"/>
                  </a:lnTo>
                  <a:lnTo>
                    <a:pt x="96" y="10"/>
                  </a:lnTo>
                  <a:lnTo>
                    <a:pt x="96" y="14"/>
                  </a:lnTo>
                  <a:lnTo>
                    <a:pt x="96" y="16"/>
                  </a:lnTo>
                  <a:lnTo>
                    <a:pt x="96" y="18"/>
                  </a:lnTo>
                  <a:lnTo>
                    <a:pt x="96" y="20"/>
                  </a:lnTo>
                  <a:lnTo>
                    <a:pt x="96" y="22"/>
                  </a:lnTo>
                  <a:lnTo>
                    <a:pt x="96" y="22"/>
                  </a:lnTo>
                  <a:lnTo>
                    <a:pt x="96" y="24"/>
                  </a:lnTo>
                  <a:lnTo>
                    <a:pt x="94" y="24"/>
                  </a:lnTo>
                  <a:lnTo>
                    <a:pt x="94" y="24"/>
                  </a:lnTo>
                  <a:lnTo>
                    <a:pt x="92" y="26"/>
                  </a:lnTo>
                  <a:lnTo>
                    <a:pt x="92" y="26"/>
                  </a:lnTo>
                  <a:lnTo>
                    <a:pt x="88" y="28"/>
                  </a:lnTo>
                  <a:lnTo>
                    <a:pt x="86" y="28"/>
                  </a:lnTo>
                  <a:lnTo>
                    <a:pt x="82" y="30"/>
                  </a:lnTo>
                  <a:lnTo>
                    <a:pt x="80" y="32"/>
                  </a:lnTo>
                  <a:lnTo>
                    <a:pt x="78" y="32"/>
                  </a:lnTo>
                  <a:lnTo>
                    <a:pt x="76" y="32"/>
                  </a:lnTo>
                  <a:lnTo>
                    <a:pt x="76" y="34"/>
                  </a:lnTo>
                  <a:lnTo>
                    <a:pt x="74" y="34"/>
                  </a:lnTo>
                  <a:lnTo>
                    <a:pt x="74" y="36"/>
                  </a:lnTo>
                  <a:lnTo>
                    <a:pt x="72" y="38"/>
                  </a:lnTo>
                  <a:lnTo>
                    <a:pt x="70" y="40"/>
                  </a:lnTo>
                  <a:lnTo>
                    <a:pt x="68" y="44"/>
                  </a:lnTo>
                  <a:lnTo>
                    <a:pt x="66" y="46"/>
                  </a:lnTo>
                  <a:lnTo>
                    <a:pt x="64" y="50"/>
                  </a:lnTo>
                  <a:lnTo>
                    <a:pt x="62" y="52"/>
                  </a:lnTo>
                  <a:lnTo>
                    <a:pt x="60" y="52"/>
                  </a:lnTo>
                  <a:lnTo>
                    <a:pt x="60" y="54"/>
                  </a:lnTo>
                  <a:lnTo>
                    <a:pt x="58" y="54"/>
                  </a:lnTo>
                  <a:lnTo>
                    <a:pt x="56" y="56"/>
                  </a:lnTo>
                  <a:lnTo>
                    <a:pt x="54" y="56"/>
                  </a:lnTo>
                  <a:lnTo>
                    <a:pt x="52" y="58"/>
                  </a:lnTo>
                  <a:lnTo>
                    <a:pt x="48" y="60"/>
                  </a:lnTo>
                  <a:lnTo>
                    <a:pt x="42" y="62"/>
                  </a:lnTo>
                  <a:lnTo>
                    <a:pt x="36" y="64"/>
                  </a:lnTo>
                  <a:lnTo>
                    <a:pt x="32" y="66"/>
                  </a:lnTo>
                  <a:lnTo>
                    <a:pt x="28" y="68"/>
                  </a:lnTo>
                  <a:lnTo>
                    <a:pt x="26" y="68"/>
                  </a:lnTo>
                  <a:lnTo>
                    <a:pt x="24" y="70"/>
                  </a:lnTo>
                  <a:lnTo>
                    <a:pt x="18" y="74"/>
                  </a:lnTo>
                  <a:lnTo>
                    <a:pt x="14" y="76"/>
                  </a:lnTo>
                  <a:lnTo>
                    <a:pt x="10" y="80"/>
                  </a:lnTo>
                  <a:lnTo>
                    <a:pt x="6" y="82"/>
                  </a:lnTo>
                  <a:lnTo>
                    <a:pt x="4" y="84"/>
                  </a:lnTo>
                  <a:lnTo>
                    <a:pt x="4" y="86"/>
                  </a:lnTo>
                  <a:lnTo>
                    <a:pt x="2" y="88"/>
                  </a:lnTo>
                  <a:lnTo>
                    <a:pt x="0" y="90"/>
                  </a:lnTo>
                  <a:lnTo>
                    <a:pt x="0" y="90"/>
                  </a:lnTo>
                  <a:lnTo>
                    <a:pt x="0" y="92"/>
                  </a:lnTo>
                  <a:lnTo>
                    <a:pt x="0" y="94"/>
                  </a:lnTo>
                  <a:lnTo>
                    <a:pt x="0" y="94"/>
                  </a:lnTo>
                  <a:lnTo>
                    <a:pt x="0" y="96"/>
                  </a:lnTo>
                  <a:lnTo>
                    <a:pt x="0" y="98"/>
                  </a:lnTo>
                  <a:lnTo>
                    <a:pt x="0" y="100"/>
                  </a:lnTo>
                  <a:lnTo>
                    <a:pt x="2" y="102"/>
                  </a:lnTo>
                  <a:lnTo>
                    <a:pt x="2" y="104"/>
                  </a:lnTo>
                  <a:lnTo>
                    <a:pt x="4" y="108"/>
                  </a:lnTo>
                  <a:lnTo>
                    <a:pt x="6" y="110"/>
                  </a:lnTo>
                  <a:lnTo>
                    <a:pt x="8" y="114"/>
                  </a:lnTo>
                  <a:lnTo>
                    <a:pt x="10" y="116"/>
                  </a:lnTo>
                  <a:lnTo>
                    <a:pt x="14" y="120"/>
                  </a:lnTo>
                  <a:lnTo>
                    <a:pt x="16" y="122"/>
                  </a:lnTo>
                  <a:lnTo>
                    <a:pt x="16" y="124"/>
                  </a:lnTo>
                  <a:lnTo>
                    <a:pt x="18" y="126"/>
                  </a:lnTo>
                  <a:lnTo>
                    <a:pt x="20" y="126"/>
                  </a:lnTo>
                  <a:lnTo>
                    <a:pt x="22" y="128"/>
                  </a:lnTo>
                  <a:lnTo>
                    <a:pt x="22" y="128"/>
                  </a:lnTo>
                  <a:lnTo>
                    <a:pt x="24" y="128"/>
                  </a:lnTo>
                  <a:lnTo>
                    <a:pt x="26" y="128"/>
                  </a:lnTo>
                  <a:lnTo>
                    <a:pt x="26" y="128"/>
                  </a:lnTo>
                  <a:lnTo>
                    <a:pt x="28" y="128"/>
                  </a:lnTo>
                  <a:lnTo>
                    <a:pt x="30" y="128"/>
                  </a:lnTo>
                  <a:lnTo>
                    <a:pt x="32" y="128"/>
                  </a:lnTo>
                  <a:lnTo>
                    <a:pt x="34" y="126"/>
                  </a:lnTo>
                  <a:lnTo>
                    <a:pt x="36" y="124"/>
                  </a:lnTo>
                  <a:lnTo>
                    <a:pt x="38" y="124"/>
                  </a:lnTo>
                  <a:lnTo>
                    <a:pt x="40" y="122"/>
                  </a:lnTo>
                  <a:lnTo>
                    <a:pt x="42" y="120"/>
                  </a:lnTo>
                  <a:lnTo>
                    <a:pt x="46" y="116"/>
                  </a:lnTo>
                  <a:lnTo>
                    <a:pt x="48" y="112"/>
                  </a:lnTo>
                  <a:lnTo>
                    <a:pt x="52" y="108"/>
                  </a:lnTo>
                  <a:lnTo>
                    <a:pt x="54" y="104"/>
                  </a:lnTo>
                  <a:lnTo>
                    <a:pt x="54" y="104"/>
                  </a:lnTo>
                  <a:lnTo>
                    <a:pt x="54" y="102"/>
                  </a:lnTo>
                  <a:lnTo>
                    <a:pt x="56" y="100"/>
                  </a:lnTo>
                  <a:lnTo>
                    <a:pt x="58" y="98"/>
                  </a:lnTo>
                  <a:lnTo>
                    <a:pt x="58" y="94"/>
                  </a:lnTo>
                  <a:lnTo>
                    <a:pt x="60" y="92"/>
                  </a:lnTo>
                  <a:lnTo>
                    <a:pt x="60" y="88"/>
                  </a:lnTo>
                  <a:lnTo>
                    <a:pt x="62" y="86"/>
                  </a:lnTo>
                  <a:lnTo>
                    <a:pt x="62" y="84"/>
                  </a:lnTo>
                  <a:lnTo>
                    <a:pt x="62" y="84"/>
                  </a:lnTo>
                  <a:lnTo>
                    <a:pt x="64" y="82"/>
                  </a:lnTo>
                  <a:lnTo>
                    <a:pt x="66" y="80"/>
                  </a:lnTo>
                  <a:lnTo>
                    <a:pt x="70" y="78"/>
                  </a:lnTo>
                  <a:lnTo>
                    <a:pt x="72" y="74"/>
                  </a:lnTo>
                  <a:lnTo>
                    <a:pt x="74" y="72"/>
                  </a:lnTo>
                  <a:lnTo>
                    <a:pt x="78" y="72"/>
                  </a:lnTo>
                  <a:lnTo>
                    <a:pt x="80" y="70"/>
                  </a:lnTo>
                  <a:lnTo>
                    <a:pt x="82" y="68"/>
                  </a:lnTo>
                  <a:lnTo>
                    <a:pt x="84" y="68"/>
                  </a:lnTo>
                  <a:lnTo>
                    <a:pt x="86" y="68"/>
                  </a:lnTo>
                  <a:lnTo>
                    <a:pt x="88" y="68"/>
                  </a:lnTo>
                  <a:lnTo>
                    <a:pt x="90" y="70"/>
                  </a:lnTo>
                  <a:lnTo>
                    <a:pt x="92" y="70"/>
                  </a:lnTo>
                  <a:lnTo>
                    <a:pt x="94" y="68"/>
                  </a:lnTo>
                  <a:lnTo>
                    <a:pt x="94" y="68"/>
                  </a:lnTo>
                  <a:lnTo>
                    <a:pt x="94" y="68"/>
                  </a:lnTo>
                  <a:lnTo>
                    <a:pt x="94" y="68"/>
                  </a:lnTo>
                  <a:lnTo>
                    <a:pt x="96" y="68"/>
                  </a:lnTo>
                  <a:lnTo>
                    <a:pt x="96" y="66"/>
                  </a:lnTo>
                  <a:lnTo>
                    <a:pt x="96" y="66"/>
                  </a:lnTo>
                  <a:lnTo>
                    <a:pt x="98" y="62"/>
                  </a:lnTo>
                  <a:lnTo>
                    <a:pt x="98" y="60"/>
                  </a:lnTo>
                  <a:lnTo>
                    <a:pt x="98" y="54"/>
                  </a:lnTo>
                  <a:lnTo>
                    <a:pt x="100" y="52"/>
                  </a:lnTo>
                  <a:lnTo>
                    <a:pt x="100" y="52"/>
                  </a:lnTo>
                  <a:lnTo>
                    <a:pt x="100" y="50"/>
                  </a:lnTo>
                  <a:lnTo>
                    <a:pt x="102" y="50"/>
                  </a:lnTo>
                  <a:lnTo>
                    <a:pt x="102" y="48"/>
                  </a:lnTo>
                  <a:lnTo>
                    <a:pt x="106" y="44"/>
                  </a:lnTo>
                  <a:lnTo>
                    <a:pt x="110" y="40"/>
                  </a:lnTo>
                  <a:lnTo>
                    <a:pt x="114" y="36"/>
                  </a:lnTo>
                  <a:lnTo>
                    <a:pt x="114" y="34"/>
                  </a:lnTo>
                  <a:lnTo>
                    <a:pt x="116" y="34"/>
                  </a:lnTo>
                  <a:lnTo>
                    <a:pt x="120" y="30"/>
                  </a:lnTo>
                  <a:lnTo>
                    <a:pt x="122" y="28"/>
                  </a:lnTo>
                  <a:lnTo>
                    <a:pt x="124" y="26"/>
                  </a:lnTo>
                  <a:lnTo>
                    <a:pt x="124" y="26"/>
                  </a:lnTo>
                  <a:lnTo>
                    <a:pt x="126" y="26"/>
                  </a:lnTo>
                  <a:lnTo>
                    <a:pt x="126" y="24"/>
                  </a:lnTo>
                  <a:lnTo>
                    <a:pt x="126" y="24"/>
                  </a:lnTo>
                  <a:lnTo>
                    <a:pt x="126" y="22"/>
                  </a:lnTo>
                  <a:lnTo>
                    <a:pt x="126" y="20"/>
                  </a:lnTo>
                  <a:lnTo>
                    <a:pt x="126" y="16"/>
                  </a:lnTo>
                  <a:lnTo>
                    <a:pt x="126" y="14"/>
                  </a:lnTo>
                  <a:lnTo>
                    <a:pt x="124" y="12"/>
                  </a:lnTo>
                  <a:lnTo>
                    <a:pt x="124" y="10"/>
                  </a:lnTo>
                  <a:lnTo>
                    <a:pt x="124" y="10"/>
                  </a:lnTo>
                  <a:lnTo>
                    <a:pt x="122" y="8"/>
                  </a:lnTo>
                  <a:lnTo>
                    <a:pt x="122" y="8"/>
                  </a:lnTo>
                  <a:lnTo>
                    <a:pt x="122" y="8"/>
                  </a:lnTo>
                  <a:lnTo>
                    <a:pt x="120" y="8"/>
                  </a:lnTo>
                  <a:lnTo>
                    <a:pt x="120" y="8"/>
                  </a:lnTo>
                  <a:lnTo>
                    <a:pt x="120" y="8"/>
                  </a:lnTo>
                  <a:lnTo>
                    <a:pt x="120" y="8"/>
                  </a:lnTo>
                  <a:lnTo>
                    <a:pt x="118" y="8"/>
                  </a:lnTo>
                  <a:lnTo>
                    <a:pt x="118" y="10"/>
                  </a:lnTo>
                  <a:lnTo>
                    <a:pt x="116" y="12"/>
                  </a:lnTo>
                  <a:lnTo>
                    <a:pt x="116" y="14"/>
                  </a:lnTo>
                  <a:lnTo>
                    <a:pt x="116" y="14"/>
                  </a:lnTo>
                  <a:lnTo>
                    <a:pt x="114" y="16"/>
                  </a:lnTo>
                  <a:lnTo>
                    <a:pt x="114" y="16"/>
                  </a:lnTo>
                  <a:lnTo>
                    <a:pt x="114" y="16"/>
                  </a:lnTo>
                  <a:lnTo>
                    <a:pt x="114" y="16"/>
                  </a:lnTo>
                  <a:lnTo>
                    <a:pt x="112" y="16"/>
                  </a:lnTo>
                  <a:lnTo>
                    <a:pt x="112" y="16"/>
                  </a:lnTo>
                  <a:lnTo>
                    <a:pt x="112" y="14"/>
                  </a:lnTo>
                  <a:lnTo>
                    <a:pt x="112" y="14"/>
                  </a:lnTo>
                  <a:lnTo>
                    <a:pt x="112" y="12"/>
                  </a:lnTo>
                  <a:lnTo>
                    <a:pt x="112" y="10"/>
                  </a:lnTo>
                  <a:lnTo>
                    <a:pt x="112" y="8"/>
                  </a:lnTo>
                  <a:lnTo>
                    <a:pt x="112" y="4"/>
                  </a:lnTo>
                  <a:lnTo>
                    <a:pt x="112" y="4"/>
                  </a:lnTo>
                  <a:lnTo>
                    <a:pt x="112" y="4"/>
                  </a:lnTo>
                  <a:lnTo>
                    <a:pt x="112" y="2"/>
                  </a:lnTo>
                  <a:lnTo>
                    <a:pt x="112" y="2"/>
                  </a:lnTo>
                  <a:lnTo>
                    <a:pt x="112" y="2"/>
                  </a:lnTo>
                  <a:lnTo>
                    <a:pt x="110" y="2"/>
                  </a:lnTo>
                  <a:lnTo>
                    <a:pt x="108" y="0"/>
                  </a:lnTo>
                  <a:lnTo>
                    <a:pt x="106" y="0"/>
                  </a:lnTo>
                  <a:lnTo>
                    <a:pt x="104" y="0"/>
                  </a:lnTo>
                  <a:lnTo>
                    <a:pt x="102" y="2"/>
                  </a:lnTo>
                  <a:lnTo>
                    <a:pt x="100" y="2"/>
                  </a:lnTo>
                  <a:lnTo>
                    <a:pt x="100" y="2"/>
                  </a:lnTo>
                  <a:lnTo>
                    <a:pt x="98" y="2"/>
                  </a:lnTo>
                  <a:lnTo>
                    <a:pt x="98" y="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 name="Freeform 23">
              <a:extLst>
                <a:ext uri="{FF2B5EF4-FFF2-40B4-BE49-F238E27FC236}">
                  <a16:creationId xmlns:a16="http://schemas.microsoft.com/office/drawing/2014/main" id="{4942C4AA-EFAC-4D2A-9D1B-C4AFF0294908}"/>
                </a:ext>
              </a:extLst>
            </p:cNvPr>
            <p:cNvSpPr>
              <a:spLocks/>
            </p:cNvSpPr>
            <p:nvPr/>
          </p:nvSpPr>
          <p:spPr bwMode="auto">
            <a:xfrm>
              <a:off x="8270305" y="5848271"/>
              <a:ext cx="218241" cy="221706"/>
            </a:xfrm>
            <a:custGeom>
              <a:avLst/>
              <a:gdLst>
                <a:gd name="T0" fmla="*/ 98 w 126"/>
                <a:gd name="T1" fmla="*/ 4 h 128"/>
                <a:gd name="T2" fmla="*/ 96 w 126"/>
                <a:gd name="T3" fmla="*/ 8 h 128"/>
                <a:gd name="T4" fmla="*/ 96 w 126"/>
                <a:gd name="T5" fmla="*/ 16 h 128"/>
                <a:gd name="T6" fmla="*/ 96 w 126"/>
                <a:gd name="T7" fmla="*/ 22 h 128"/>
                <a:gd name="T8" fmla="*/ 94 w 126"/>
                <a:gd name="T9" fmla="*/ 24 h 128"/>
                <a:gd name="T10" fmla="*/ 92 w 126"/>
                <a:gd name="T11" fmla="*/ 26 h 128"/>
                <a:gd name="T12" fmla="*/ 82 w 126"/>
                <a:gd name="T13" fmla="*/ 30 h 128"/>
                <a:gd name="T14" fmla="*/ 76 w 126"/>
                <a:gd name="T15" fmla="*/ 32 h 128"/>
                <a:gd name="T16" fmla="*/ 74 w 126"/>
                <a:gd name="T17" fmla="*/ 36 h 128"/>
                <a:gd name="T18" fmla="*/ 68 w 126"/>
                <a:gd name="T19" fmla="*/ 44 h 128"/>
                <a:gd name="T20" fmla="*/ 62 w 126"/>
                <a:gd name="T21" fmla="*/ 52 h 128"/>
                <a:gd name="T22" fmla="*/ 58 w 126"/>
                <a:gd name="T23" fmla="*/ 54 h 128"/>
                <a:gd name="T24" fmla="*/ 52 w 126"/>
                <a:gd name="T25" fmla="*/ 58 h 128"/>
                <a:gd name="T26" fmla="*/ 36 w 126"/>
                <a:gd name="T27" fmla="*/ 64 h 128"/>
                <a:gd name="T28" fmla="*/ 26 w 126"/>
                <a:gd name="T29" fmla="*/ 68 h 128"/>
                <a:gd name="T30" fmla="*/ 14 w 126"/>
                <a:gd name="T31" fmla="*/ 76 h 128"/>
                <a:gd name="T32" fmla="*/ 4 w 126"/>
                <a:gd name="T33" fmla="*/ 84 h 128"/>
                <a:gd name="T34" fmla="*/ 0 w 126"/>
                <a:gd name="T35" fmla="*/ 90 h 128"/>
                <a:gd name="T36" fmla="*/ 0 w 126"/>
                <a:gd name="T37" fmla="*/ 94 h 128"/>
                <a:gd name="T38" fmla="*/ 0 w 126"/>
                <a:gd name="T39" fmla="*/ 98 h 128"/>
                <a:gd name="T40" fmla="*/ 2 w 126"/>
                <a:gd name="T41" fmla="*/ 104 h 128"/>
                <a:gd name="T42" fmla="*/ 8 w 126"/>
                <a:gd name="T43" fmla="*/ 114 h 128"/>
                <a:gd name="T44" fmla="*/ 16 w 126"/>
                <a:gd name="T45" fmla="*/ 122 h 128"/>
                <a:gd name="T46" fmla="*/ 20 w 126"/>
                <a:gd name="T47" fmla="*/ 126 h 128"/>
                <a:gd name="T48" fmla="*/ 24 w 126"/>
                <a:gd name="T49" fmla="*/ 128 h 128"/>
                <a:gd name="T50" fmla="*/ 28 w 126"/>
                <a:gd name="T51" fmla="*/ 128 h 128"/>
                <a:gd name="T52" fmla="*/ 34 w 126"/>
                <a:gd name="T53" fmla="*/ 126 h 128"/>
                <a:gd name="T54" fmla="*/ 40 w 126"/>
                <a:gd name="T55" fmla="*/ 122 h 128"/>
                <a:gd name="T56" fmla="*/ 48 w 126"/>
                <a:gd name="T57" fmla="*/ 112 h 128"/>
                <a:gd name="T58" fmla="*/ 54 w 126"/>
                <a:gd name="T59" fmla="*/ 104 h 128"/>
                <a:gd name="T60" fmla="*/ 58 w 126"/>
                <a:gd name="T61" fmla="*/ 98 h 128"/>
                <a:gd name="T62" fmla="*/ 60 w 126"/>
                <a:gd name="T63" fmla="*/ 88 h 128"/>
                <a:gd name="T64" fmla="*/ 62 w 126"/>
                <a:gd name="T65" fmla="*/ 84 h 128"/>
                <a:gd name="T66" fmla="*/ 70 w 126"/>
                <a:gd name="T67" fmla="*/ 78 h 128"/>
                <a:gd name="T68" fmla="*/ 78 w 126"/>
                <a:gd name="T69" fmla="*/ 72 h 128"/>
                <a:gd name="T70" fmla="*/ 84 w 126"/>
                <a:gd name="T71" fmla="*/ 68 h 128"/>
                <a:gd name="T72" fmla="*/ 90 w 126"/>
                <a:gd name="T73" fmla="*/ 70 h 128"/>
                <a:gd name="T74" fmla="*/ 94 w 126"/>
                <a:gd name="T75" fmla="*/ 68 h 128"/>
                <a:gd name="T76" fmla="*/ 96 w 126"/>
                <a:gd name="T77" fmla="*/ 68 h 128"/>
                <a:gd name="T78" fmla="*/ 98 w 126"/>
                <a:gd name="T79" fmla="*/ 62 h 128"/>
                <a:gd name="T80" fmla="*/ 100 w 126"/>
                <a:gd name="T81" fmla="*/ 52 h 128"/>
                <a:gd name="T82" fmla="*/ 102 w 126"/>
                <a:gd name="T83" fmla="*/ 50 h 128"/>
                <a:gd name="T84" fmla="*/ 110 w 126"/>
                <a:gd name="T85" fmla="*/ 40 h 128"/>
                <a:gd name="T86" fmla="*/ 116 w 126"/>
                <a:gd name="T87" fmla="*/ 34 h 128"/>
                <a:gd name="T88" fmla="*/ 124 w 126"/>
                <a:gd name="T89" fmla="*/ 26 h 128"/>
                <a:gd name="T90" fmla="*/ 126 w 126"/>
                <a:gd name="T91" fmla="*/ 24 h 128"/>
                <a:gd name="T92" fmla="*/ 126 w 126"/>
                <a:gd name="T93" fmla="*/ 20 h 128"/>
                <a:gd name="T94" fmla="*/ 124 w 126"/>
                <a:gd name="T95" fmla="*/ 12 h 128"/>
                <a:gd name="T96" fmla="*/ 122 w 126"/>
                <a:gd name="T97" fmla="*/ 8 h 128"/>
                <a:gd name="T98" fmla="*/ 120 w 126"/>
                <a:gd name="T99" fmla="*/ 8 h 128"/>
                <a:gd name="T100" fmla="*/ 120 w 126"/>
                <a:gd name="T101" fmla="*/ 8 h 128"/>
                <a:gd name="T102" fmla="*/ 116 w 126"/>
                <a:gd name="T103" fmla="*/ 12 h 128"/>
                <a:gd name="T104" fmla="*/ 114 w 126"/>
                <a:gd name="T105" fmla="*/ 16 h 128"/>
                <a:gd name="T106" fmla="*/ 114 w 126"/>
                <a:gd name="T107" fmla="*/ 16 h 128"/>
                <a:gd name="T108" fmla="*/ 112 w 126"/>
                <a:gd name="T109" fmla="*/ 14 h 128"/>
                <a:gd name="T110" fmla="*/ 112 w 126"/>
                <a:gd name="T111" fmla="*/ 10 h 128"/>
                <a:gd name="T112" fmla="*/ 112 w 126"/>
                <a:gd name="T113" fmla="*/ 4 h 128"/>
                <a:gd name="T114" fmla="*/ 112 w 126"/>
                <a:gd name="T115" fmla="*/ 2 h 128"/>
                <a:gd name="T116" fmla="*/ 108 w 126"/>
                <a:gd name="T117" fmla="*/ 0 h 128"/>
                <a:gd name="T118" fmla="*/ 102 w 126"/>
                <a:gd name="T119" fmla="*/ 2 h 128"/>
                <a:gd name="T120" fmla="*/ 98 w 126"/>
                <a:gd name="T121" fmla="*/ 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 h="128">
                  <a:moveTo>
                    <a:pt x="98" y="4"/>
                  </a:moveTo>
                  <a:lnTo>
                    <a:pt x="98" y="4"/>
                  </a:lnTo>
                  <a:lnTo>
                    <a:pt x="98" y="4"/>
                  </a:lnTo>
                  <a:lnTo>
                    <a:pt x="96" y="4"/>
                  </a:lnTo>
                  <a:lnTo>
                    <a:pt x="96" y="6"/>
                  </a:lnTo>
                  <a:lnTo>
                    <a:pt x="96" y="8"/>
                  </a:lnTo>
                  <a:lnTo>
                    <a:pt x="96" y="10"/>
                  </a:lnTo>
                  <a:lnTo>
                    <a:pt x="96" y="14"/>
                  </a:lnTo>
                  <a:lnTo>
                    <a:pt x="96" y="16"/>
                  </a:lnTo>
                  <a:lnTo>
                    <a:pt x="96" y="18"/>
                  </a:lnTo>
                  <a:lnTo>
                    <a:pt x="96" y="20"/>
                  </a:lnTo>
                  <a:lnTo>
                    <a:pt x="96" y="22"/>
                  </a:lnTo>
                  <a:lnTo>
                    <a:pt x="96" y="22"/>
                  </a:lnTo>
                  <a:lnTo>
                    <a:pt x="96" y="24"/>
                  </a:lnTo>
                  <a:lnTo>
                    <a:pt x="94" y="24"/>
                  </a:lnTo>
                  <a:lnTo>
                    <a:pt x="94" y="24"/>
                  </a:lnTo>
                  <a:lnTo>
                    <a:pt x="92" y="26"/>
                  </a:lnTo>
                  <a:lnTo>
                    <a:pt x="92" y="26"/>
                  </a:lnTo>
                  <a:lnTo>
                    <a:pt x="88" y="28"/>
                  </a:lnTo>
                  <a:lnTo>
                    <a:pt x="86" y="28"/>
                  </a:lnTo>
                  <a:lnTo>
                    <a:pt x="82" y="30"/>
                  </a:lnTo>
                  <a:lnTo>
                    <a:pt x="80" y="32"/>
                  </a:lnTo>
                  <a:lnTo>
                    <a:pt x="78" y="32"/>
                  </a:lnTo>
                  <a:lnTo>
                    <a:pt x="76" y="32"/>
                  </a:lnTo>
                  <a:lnTo>
                    <a:pt x="76" y="34"/>
                  </a:lnTo>
                  <a:lnTo>
                    <a:pt x="74" y="34"/>
                  </a:lnTo>
                  <a:lnTo>
                    <a:pt x="74" y="36"/>
                  </a:lnTo>
                  <a:lnTo>
                    <a:pt x="72" y="38"/>
                  </a:lnTo>
                  <a:lnTo>
                    <a:pt x="70" y="40"/>
                  </a:lnTo>
                  <a:lnTo>
                    <a:pt x="68" y="44"/>
                  </a:lnTo>
                  <a:lnTo>
                    <a:pt x="66" y="46"/>
                  </a:lnTo>
                  <a:lnTo>
                    <a:pt x="64" y="50"/>
                  </a:lnTo>
                  <a:lnTo>
                    <a:pt x="62" y="52"/>
                  </a:lnTo>
                  <a:lnTo>
                    <a:pt x="60" y="52"/>
                  </a:lnTo>
                  <a:lnTo>
                    <a:pt x="60" y="54"/>
                  </a:lnTo>
                  <a:lnTo>
                    <a:pt x="58" y="54"/>
                  </a:lnTo>
                  <a:lnTo>
                    <a:pt x="56" y="56"/>
                  </a:lnTo>
                  <a:lnTo>
                    <a:pt x="54" y="56"/>
                  </a:lnTo>
                  <a:lnTo>
                    <a:pt x="52" y="58"/>
                  </a:lnTo>
                  <a:lnTo>
                    <a:pt x="48" y="60"/>
                  </a:lnTo>
                  <a:lnTo>
                    <a:pt x="42" y="62"/>
                  </a:lnTo>
                  <a:lnTo>
                    <a:pt x="36" y="64"/>
                  </a:lnTo>
                  <a:lnTo>
                    <a:pt x="32" y="66"/>
                  </a:lnTo>
                  <a:lnTo>
                    <a:pt x="28" y="68"/>
                  </a:lnTo>
                  <a:lnTo>
                    <a:pt x="26" y="68"/>
                  </a:lnTo>
                  <a:lnTo>
                    <a:pt x="24" y="70"/>
                  </a:lnTo>
                  <a:lnTo>
                    <a:pt x="18" y="74"/>
                  </a:lnTo>
                  <a:lnTo>
                    <a:pt x="14" y="76"/>
                  </a:lnTo>
                  <a:lnTo>
                    <a:pt x="10" y="80"/>
                  </a:lnTo>
                  <a:lnTo>
                    <a:pt x="6" y="82"/>
                  </a:lnTo>
                  <a:lnTo>
                    <a:pt x="4" y="84"/>
                  </a:lnTo>
                  <a:lnTo>
                    <a:pt x="4" y="86"/>
                  </a:lnTo>
                  <a:lnTo>
                    <a:pt x="2" y="88"/>
                  </a:lnTo>
                  <a:lnTo>
                    <a:pt x="0" y="90"/>
                  </a:lnTo>
                  <a:lnTo>
                    <a:pt x="0" y="90"/>
                  </a:lnTo>
                  <a:lnTo>
                    <a:pt x="0" y="92"/>
                  </a:lnTo>
                  <a:lnTo>
                    <a:pt x="0" y="94"/>
                  </a:lnTo>
                  <a:lnTo>
                    <a:pt x="0" y="94"/>
                  </a:lnTo>
                  <a:lnTo>
                    <a:pt x="0" y="96"/>
                  </a:lnTo>
                  <a:lnTo>
                    <a:pt x="0" y="98"/>
                  </a:lnTo>
                  <a:lnTo>
                    <a:pt x="0" y="100"/>
                  </a:lnTo>
                  <a:lnTo>
                    <a:pt x="2" y="102"/>
                  </a:lnTo>
                  <a:lnTo>
                    <a:pt x="2" y="104"/>
                  </a:lnTo>
                  <a:lnTo>
                    <a:pt x="4" y="108"/>
                  </a:lnTo>
                  <a:lnTo>
                    <a:pt x="6" y="110"/>
                  </a:lnTo>
                  <a:lnTo>
                    <a:pt x="8" y="114"/>
                  </a:lnTo>
                  <a:lnTo>
                    <a:pt x="10" y="116"/>
                  </a:lnTo>
                  <a:lnTo>
                    <a:pt x="14" y="120"/>
                  </a:lnTo>
                  <a:lnTo>
                    <a:pt x="16" y="122"/>
                  </a:lnTo>
                  <a:lnTo>
                    <a:pt x="16" y="124"/>
                  </a:lnTo>
                  <a:lnTo>
                    <a:pt x="18" y="126"/>
                  </a:lnTo>
                  <a:lnTo>
                    <a:pt x="20" y="126"/>
                  </a:lnTo>
                  <a:lnTo>
                    <a:pt x="22" y="128"/>
                  </a:lnTo>
                  <a:lnTo>
                    <a:pt x="22" y="128"/>
                  </a:lnTo>
                  <a:lnTo>
                    <a:pt x="24" y="128"/>
                  </a:lnTo>
                  <a:lnTo>
                    <a:pt x="26" y="128"/>
                  </a:lnTo>
                  <a:lnTo>
                    <a:pt x="26" y="128"/>
                  </a:lnTo>
                  <a:lnTo>
                    <a:pt x="28" y="128"/>
                  </a:lnTo>
                  <a:lnTo>
                    <a:pt x="30" y="128"/>
                  </a:lnTo>
                  <a:lnTo>
                    <a:pt x="32" y="128"/>
                  </a:lnTo>
                  <a:lnTo>
                    <a:pt x="34" y="126"/>
                  </a:lnTo>
                  <a:lnTo>
                    <a:pt x="36" y="124"/>
                  </a:lnTo>
                  <a:lnTo>
                    <a:pt x="38" y="124"/>
                  </a:lnTo>
                  <a:lnTo>
                    <a:pt x="40" y="122"/>
                  </a:lnTo>
                  <a:lnTo>
                    <a:pt x="42" y="120"/>
                  </a:lnTo>
                  <a:lnTo>
                    <a:pt x="46" y="116"/>
                  </a:lnTo>
                  <a:lnTo>
                    <a:pt x="48" y="112"/>
                  </a:lnTo>
                  <a:lnTo>
                    <a:pt x="52" y="108"/>
                  </a:lnTo>
                  <a:lnTo>
                    <a:pt x="54" y="104"/>
                  </a:lnTo>
                  <a:lnTo>
                    <a:pt x="54" y="104"/>
                  </a:lnTo>
                  <a:lnTo>
                    <a:pt x="54" y="102"/>
                  </a:lnTo>
                  <a:lnTo>
                    <a:pt x="56" y="100"/>
                  </a:lnTo>
                  <a:lnTo>
                    <a:pt x="58" y="98"/>
                  </a:lnTo>
                  <a:lnTo>
                    <a:pt x="58" y="94"/>
                  </a:lnTo>
                  <a:lnTo>
                    <a:pt x="60" y="92"/>
                  </a:lnTo>
                  <a:lnTo>
                    <a:pt x="60" y="88"/>
                  </a:lnTo>
                  <a:lnTo>
                    <a:pt x="62" y="86"/>
                  </a:lnTo>
                  <a:lnTo>
                    <a:pt x="62" y="84"/>
                  </a:lnTo>
                  <a:lnTo>
                    <a:pt x="62" y="84"/>
                  </a:lnTo>
                  <a:lnTo>
                    <a:pt x="64" y="82"/>
                  </a:lnTo>
                  <a:lnTo>
                    <a:pt x="66" y="80"/>
                  </a:lnTo>
                  <a:lnTo>
                    <a:pt x="70" y="78"/>
                  </a:lnTo>
                  <a:lnTo>
                    <a:pt x="72" y="74"/>
                  </a:lnTo>
                  <a:lnTo>
                    <a:pt x="74" y="72"/>
                  </a:lnTo>
                  <a:lnTo>
                    <a:pt x="78" y="72"/>
                  </a:lnTo>
                  <a:lnTo>
                    <a:pt x="80" y="70"/>
                  </a:lnTo>
                  <a:lnTo>
                    <a:pt x="82" y="68"/>
                  </a:lnTo>
                  <a:lnTo>
                    <a:pt x="84" y="68"/>
                  </a:lnTo>
                  <a:lnTo>
                    <a:pt x="86" y="68"/>
                  </a:lnTo>
                  <a:lnTo>
                    <a:pt x="88" y="68"/>
                  </a:lnTo>
                  <a:lnTo>
                    <a:pt x="90" y="70"/>
                  </a:lnTo>
                  <a:lnTo>
                    <a:pt x="92" y="70"/>
                  </a:lnTo>
                  <a:lnTo>
                    <a:pt x="94" y="68"/>
                  </a:lnTo>
                  <a:lnTo>
                    <a:pt x="94" y="68"/>
                  </a:lnTo>
                  <a:lnTo>
                    <a:pt x="94" y="68"/>
                  </a:lnTo>
                  <a:lnTo>
                    <a:pt x="94" y="68"/>
                  </a:lnTo>
                  <a:lnTo>
                    <a:pt x="96" y="68"/>
                  </a:lnTo>
                  <a:lnTo>
                    <a:pt x="96" y="66"/>
                  </a:lnTo>
                  <a:lnTo>
                    <a:pt x="96" y="66"/>
                  </a:lnTo>
                  <a:lnTo>
                    <a:pt x="98" y="62"/>
                  </a:lnTo>
                  <a:lnTo>
                    <a:pt x="98" y="60"/>
                  </a:lnTo>
                  <a:lnTo>
                    <a:pt x="98" y="54"/>
                  </a:lnTo>
                  <a:lnTo>
                    <a:pt x="100" y="52"/>
                  </a:lnTo>
                  <a:lnTo>
                    <a:pt x="100" y="52"/>
                  </a:lnTo>
                  <a:lnTo>
                    <a:pt x="100" y="50"/>
                  </a:lnTo>
                  <a:lnTo>
                    <a:pt x="102" y="50"/>
                  </a:lnTo>
                  <a:lnTo>
                    <a:pt x="102" y="48"/>
                  </a:lnTo>
                  <a:lnTo>
                    <a:pt x="106" y="44"/>
                  </a:lnTo>
                  <a:lnTo>
                    <a:pt x="110" y="40"/>
                  </a:lnTo>
                  <a:lnTo>
                    <a:pt x="114" y="36"/>
                  </a:lnTo>
                  <a:lnTo>
                    <a:pt x="114" y="34"/>
                  </a:lnTo>
                  <a:lnTo>
                    <a:pt x="116" y="34"/>
                  </a:lnTo>
                  <a:lnTo>
                    <a:pt x="120" y="30"/>
                  </a:lnTo>
                  <a:lnTo>
                    <a:pt x="122" y="28"/>
                  </a:lnTo>
                  <a:lnTo>
                    <a:pt x="124" y="26"/>
                  </a:lnTo>
                  <a:lnTo>
                    <a:pt x="124" y="26"/>
                  </a:lnTo>
                  <a:lnTo>
                    <a:pt x="126" y="26"/>
                  </a:lnTo>
                  <a:lnTo>
                    <a:pt x="126" y="24"/>
                  </a:lnTo>
                  <a:lnTo>
                    <a:pt x="126" y="24"/>
                  </a:lnTo>
                  <a:lnTo>
                    <a:pt x="126" y="22"/>
                  </a:lnTo>
                  <a:lnTo>
                    <a:pt x="126" y="20"/>
                  </a:lnTo>
                  <a:lnTo>
                    <a:pt x="126" y="16"/>
                  </a:lnTo>
                  <a:lnTo>
                    <a:pt x="126" y="14"/>
                  </a:lnTo>
                  <a:lnTo>
                    <a:pt x="124" y="12"/>
                  </a:lnTo>
                  <a:lnTo>
                    <a:pt x="124" y="10"/>
                  </a:lnTo>
                  <a:lnTo>
                    <a:pt x="124" y="10"/>
                  </a:lnTo>
                  <a:lnTo>
                    <a:pt x="122" y="8"/>
                  </a:lnTo>
                  <a:lnTo>
                    <a:pt x="122" y="8"/>
                  </a:lnTo>
                  <a:lnTo>
                    <a:pt x="122" y="8"/>
                  </a:lnTo>
                  <a:lnTo>
                    <a:pt x="120" y="8"/>
                  </a:lnTo>
                  <a:lnTo>
                    <a:pt x="120" y="8"/>
                  </a:lnTo>
                  <a:lnTo>
                    <a:pt x="120" y="8"/>
                  </a:lnTo>
                  <a:lnTo>
                    <a:pt x="120" y="8"/>
                  </a:lnTo>
                  <a:lnTo>
                    <a:pt x="118" y="8"/>
                  </a:lnTo>
                  <a:lnTo>
                    <a:pt x="118" y="10"/>
                  </a:lnTo>
                  <a:lnTo>
                    <a:pt x="116" y="12"/>
                  </a:lnTo>
                  <a:lnTo>
                    <a:pt x="116" y="14"/>
                  </a:lnTo>
                  <a:lnTo>
                    <a:pt x="116" y="14"/>
                  </a:lnTo>
                  <a:lnTo>
                    <a:pt x="114" y="16"/>
                  </a:lnTo>
                  <a:lnTo>
                    <a:pt x="114" y="16"/>
                  </a:lnTo>
                  <a:lnTo>
                    <a:pt x="114" y="16"/>
                  </a:lnTo>
                  <a:lnTo>
                    <a:pt x="114" y="16"/>
                  </a:lnTo>
                  <a:lnTo>
                    <a:pt x="112" y="16"/>
                  </a:lnTo>
                  <a:lnTo>
                    <a:pt x="112" y="16"/>
                  </a:lnTo>
                  <a:lnTo>
                    <a:pt x="112" y="14"/>
                  </a:lnTo>
                  <a:lnTo>
                    <a:pt x="112" y="14"/>
                  </a:lnTo>
                  <a:lnTo>
                    <a:pt x="112" y="12"/>
                  </a:lnTo>
                  <a:lnTo>
                    <a:pt x="112" y="10"/>
                  </a:lnTo>
                  <a:lnTo>
                    <a:pt x="112" y="8"/>
                  </a:lnTo>
                  <a:lnTo>
                    <a:pt x="112" y="4"/>
                  </a:lnTo>
                  <a:lnTo>
                    <a:pt x="112" y="4"/>
                  </a:lnTo>
                  <a:lnTo>
                    <a:pt x="112" y="4"/>
                  </a:lnTo>
                  <a:lnTo>
                    <a:pt x="112" y="2"/>
                  </a:lnTo>
                  <a:lnTo>
                    <a:pt x="112" y="2"/>
                  </a:lnTo>
                  <a:lnTo>
                    <a:pt x="112" y="2"/>
                  </a:lnTo>
                  <a:lnTo>
                    <a:pt x="110" y="2"/>
                  </a:lnTo>
                  <a:lnTo>
                    <a:pt x="108" y="0"/>
                  </a:lnTo>
                  <a:lnTo>
                    <a:pt x="106" y="0"/>
                  </a:lnTo>
                  <a:lnTo>
                    <a:pt x="104" y="0"/>
                  </a:lnTo>
                  <a:lnTo>
                    <a:pt x="102" y="2"/>
                  </a:lnTo>
                  <a:lnTo>
                    <a:pt x="100" y="2"/>
                  </a:lnTo>
                  <a:lnTo>
                    <a:pt x="100" y="2"/>
                  </a:lnTo>
                  <a:lnTo>
                    <a:pt x="98" y="2"/>
                  </a:lnTo>
                  <a:lnTo>
                    <a:pt x="98" y="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 name="Freeform 24">
              <a:extLst>
                <a:ext uri="{FF2B5EF4-FFF2-40B4-BE49-F238E27FC236}">
                  <a16:creationId xmlns:a16="http://schemas.microsoft.com/office/drawing/2014/main" id="{25F7D3BB-013E-4812-B20A-E9BC204AD11E}"/>
                </a:ext>
              </a:extLst>
            </p:cNvPr>
            <p:cNvSpPr>
              <a:spLocks/>
            </p:cNvSpPr>
            <p:nvPr/>
          </p:nvSpPr>
          <p:spPr bwMode="auto">
            <a:xfrm>
              <a:off x="7248381" y="3911811"/>
              <a:ext cx="41570" cy="83140"/>
            </a:xfrm>
            <a:custGeom>
              <a:avLst/>
              <a:gdLst>
                <a:gd name="T0" fmla="*/ 12 w 24"/>
                <a:gd name="T1" fmla="*/ 0 h 48"/>
                <a:gd name="T2" fmla="*/ 12 w 24"/>
                <a:gd name="T3" fmla="*/ 0 h 48"/>
                <a:gd name="T4" fmla="*/ 12 w 24"/>
                <a:gd name="T5" fmla="*/ 0 h 48"/>
                <a:gd name="T6" fmla="*/ 10 w 24"/>
                <a:gd name="T7" fmla="*/ 0 h 48"/>
                <a:gd name="T8" fmla="*/ 10 w 24"/>
                <a:gd name="T9" fmla="*/ 2 h 48"/>
                <a:gd name="T10" fmla="*/ 10 w 24"/>
                <a:gd name="T11" fmla="*/ 2 h 48"/>
                <a:gd name="T12" fmla="*/ 8 w 24"/>
                <a:gd name="T13" fmla="*/ 2 h 48"/>
                <a:gd name="T14" fmla="*/ 8 w 24"/>
                <a:gd name="T15" fmla="*/ 4 h 48"/>
                <a:gd name="T16" fmla="*/ 6 w 24"/>
                <a:gd name="T17" fmla="*/ 6 h 48"/>
                <a:gd name="T18" fmla="*/ 4 w 24"/>
                <a:gd name="T19" fmla="*/ 8 h 48"/>
                <a:gd name="T20" fmla="*/ 4 w 24"/>
                <a:gd name="T21" fmla="*/ 10 h 48"/>
                <a:gd name="T22" fmla="*/ 2 w 24"/>
                <a:gd name="T23" fmla="*/ 14 h 48"/>
                <a:gd name="T24" fmla="*/ 2 w 24"/>
                <a:gd name="T25" fmla="*/ 16 h 48"/>
                <a:gd name="T26" fmla="*/ 0 w 24"/>
                <a:gd name="T27" fmla="*/ 18 h 48"/>
                <a:gd name="T28" fmla="*/ 0 w 24"/>
                <a:gd name="T29" fmla="*/ 22 h 48"/>
                <a:gd name="T30" fmla="*/ 0 w 24"/>
                <a:gd name="T31" fmla="*/ 24 h 48"/>
                <a:gd name="T32" fmla="*/ 0 w 24"/>
                <a:gd name="T33" fmla="*/ 26 h 48"/>
                <a:gd name="T34" fmla="*/ 0 w 24"/>
                <a:gd name="T35" fmla="*/ 30 h 48"/>
                <a:gd name="T36" fmla="*/ 0 w 24"/>
                <a:gd name="T37" fmla="*/ 32 h 48"/>
                <a:gd name="T38" fmla="*/ 0 w 24"/>
                <a:gd name="T39" fmla="*/ 32 h 48"/>
                <a:gd name="T40" fmla="*/ 0 w 24"/>
                <a:gd name="T41" fmla="*/ 34 h 48"/>
                <a:gd name="T42" fmla="*/ 0 w 24"/>
                <a:gd name="T43" fmla="*/ 36 h 48"/>
                <a:gd name="T44" fmla="*/ 2 w 24"/>
                <a:gd name="T45" fmla="*/ 38 h 48"/>
                <a:gd name="T46" fmla="*/ 4 w 24"/>
                <a:gd name="T47" fmla="*/ 42 h 48"/>
                <a:gd name="T48" fmla="*/ 6 w 24"/>
                <a:gd name="T49" fmla="*/ 44 h 48"/>
                <a:gd name="T50" fmla="*/ 8 w 24"/>
                <a:gd name="T51" fmla="*/ 46 h 48"/>
                <a:gd name="T52" fmla="*/ 8 w 24"/>
                <a:gd name="T53" fmla="*/ 46 h 48"/>
                <a:gd name="T54" fmla="*/ 10 w 24"/>
                <a:gd name="T55" fmla="*/ 46 h 48"/>
                <a:gd name="T56" fmla="*/ 12 w 24"/>
                <a:gd name="T57" fmla="*/ 48 h 48"/>
                <a:gd name="T58" fmla="*/ 12 w 24"/>
                <a:gd name="T59" fmla="*/ 48 h 48"/>
                <a:gd name="T60" fmla="*/ 14 w 24"/>
                <a:gd name="T61" fmla="*/ 48 h 48"/>
                <a:gd name="T62" fmla="*/ 14 w 24"/>
                <a:gd name="T63" fmla="*/ 48 h 48"/>
                <a:gd name="T64" fmla="*/ 16 w 24"/>
                <a:gd name="T65" fmla="*/ 48 h 48"/>
                <a:gd name="T66" fmla="*/ 18 w 24"/>
                <a:gd name="T67" fmla="*/ 48 h 48"/>
                <a:gd name="T68" fmla="*/ 18 w 24"/>
                <a:gd name="T69" fmla="*/ 48 h 48"/>
                <a:gd name="T70" fmla="*/ 20 w 24"/>
                <a:gd name="T71" fmla="*/ 46 h 48"/>
                <a:gd name="T72" fmla="*/ 20 w 24"/>
                <a:gd name="T73" fmla="*/ 46 h 48"/>
                <a:gd name="T74" fmla="*/ 20 w 24"/>
                <a:gd name="T75" fmla="*/ 44 h 48"/>
                <a:gd name="T76" fmla="*/ 22 w 24"/>
                <a:gd name="T77" fmla="*/ 42 h 48"/>
                <a:gd name="T78" fmla="*/ 22 w 24"/>
                <a:gd name="T79" fmla="*/ 40 h 48"/>
                <a:gd name="T80" fmla="*/ 22 w 24"/>
                <a:gd name="T81" fmla="*/ 38 h 48"/>
                <a:gd name="T82" fmla="*/ 24 w 24"/>
                <a:gd name="T83" fmla="*/ 36 h 48"/>
                <a:gd name="T84" fmla="*/ 24 w 24"/>
                <a:gd name="T85" fmla="*/ 32 h 48"/>
                <a:gd name="T86" fmla="*/ 24 w 24"/>
                <a:gd name="T87" fmla="*/ 28 h 48"/>
                <a:gd name="T88" fmla="*/ 24 w 24"/>
                <a:gd name="T89" fmla="*/ 26 h 48"/>
                <a:gd name="T90" fmla="*/ 24 w 24"/>
                <a:gd name="T91" fmla="*/ 22 h 48"/>
                <a:gd name="T92" fmla="*/ 24 w 24"/>
                <a:gd name="T93" fmla="*/ 18 h 48"/>
                <a:gd name="T94" fmla="*/ 22 w 24"/>
                <a:gd name="T95" fmla="*/ 14 h 48"/>
                <a:gd name="T96" fmla="*/ 20 w 24"/>
                <a:gd name="T97" fmla="*/ 10 h 48"/>
                <a:gd name="T98" fmla="*/ 20 w 24"/>
                <a:gd name="T99" fmla="*/ 8 h 48"/>
                <a:gd name="T100" fmla="*/ 20 w 24"/>
                <a:gd name="T101" fmla="*/ 6 h 48"/>
                <a:gd name="T102" fmla="*/ 18 w 24"/>
                <a:gd name="T103" fmla="*/ 6 h 48"/>
                <a:gd name="T104" fmla="*/ 18 w 24"/>
                <a:gd name="T105" fmla="*/ 4 h 48"/>
                <a:gd name="T106" fmla="*/ 16 w 24"/>
                <a:gd name="T107" fmla="*/ 2 h 48"/>
                <a:gd name="T108" fmla="*/ 14 w 24"/>
                <a:gd name="T109" fmla="*/ 2 h 48"/>
                <a:gd name="T110" fmla="*/ 14 w 24"/>
                <a:gd name="T111" fmla="*/ 0 h 48"/>
                <a:gd name="T112" fmla="*/ 12 w 24"/>
                <a:gd name="T113" fmla="*/ 0 h 48"/>
                <a:gd name="T114" fmla="*/ 12 w 24"/>
                <a:gd name="T11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 h="48">
                  <a:moveTo>
                    <a:pt x="12" y="0"/>
                  </a:moveTo>
                  <a:lnTo>
                    <a:pt x="12" y="0"/>
                  </a:lnTo>
                  <a:lnTo>
                    <a:pt x="12" y="0"/>
                  </a:lnTo>
                  <a:lnTo>
                    <a:pt x="10" y="0"/>
                  </a:lnTo>
                  <a:lnTo>
                    <a:pt x="10" y="2"/>
                  </a:lnTo>
                  <a:lnTo>
                    <a:pt x="10" y="2"/>
                  </a:lnTo>
                  <a:lnTo>
                    <a:pt x="8" y="2"/>
                  </a:lnTo>
                  <a:lnTo>
                    <a:pt x="8" y="4"/>
                  </a:lnTo>
                  <a:lnTo>
                    <a:pt x="6" y="6"/>
                  </a:lnTo>
                  <a:lnTo>
                    <a:pt x="4" y="8"/>
                  </a:lnTo>
                  <a:lnTo>
                    <a:pt x="4" y="10"/>
                  </a:lnTo>
                  <a:lnTo>
                    <a:pt x="2" y="14"/>
                  </a:lnTo>
                  <a:lnTo>
                    <a:pt x="2" y="16"/>
                  </a:lnTo>
                  <a:lnTo>
                    <a:pt x="0" y="18"/>
                  </a:lnTo>
                  <a:lnTo>
                    <a:pt x="0" y="22"/>
                  </a:lnTo>
                  <a:lnTo>
                    <a:pt x="0" y="24"/>
                  </a:lnTo>
                  <a:lnTo>
                    <a:pt x="0" y="26"/>
                  </a:lnTo>
                  <a:lnTo>
                    <a:pt x="0" y="30"/>
                  </a:lnTo>
                  <a:lnTo>
                    <a:pt x="0" y="32"/>
                  </a:lnTo>
                  <a:lnTo>
                    <a:pt x="0" y="32"/>
                  </a:lnTo>
                  <a:lnTo>
                    <a:pt x="0" y="34"/>
                  </a:lnTo>
                  <a:lnTo>
                    <a:pt x="0" y="36"/>
                  </a:lnTo>
                  <a:lnTo>
                    <a:pt x="2" y="38"/>
                  </a:lnTo>
                  <a:lnTo>
                    <a:pt x="4" y="42"/>
                  </a:lnTo>
                  <a:lnTo>
                    <a:pt x="6" y="44"/>
                  </a:lnTo>
                  <a:lnTo>
                    <a:pt x="8" y="46"/>
                  </a:lnTo>
                  <a:lnTo>
                    <a:pt x="8" y="46"/>
                  </a:lnTo>
                  <a:lnTo>
                    <a:pt x="10" y="46"/>
                  </a:lnTo>
                  <a:lnTo>
                    <a:pt x="12" y="48"/>
                  </a:lnTo>
                  <a:lnTo>
                    <a:pt x="12" y="48"/>
                  </a:lnTo>
                  <a:lnTo>
                    <a:pt x="14" y="48"/>
                  </a:lnTo>
                  <a:lnTo>
                    <a:pt x="14" y="48"/>
                  </a:lnTo>
                  <a:lnTo>
                    <a:pt x="16" y="48"/>
                  </a:lnTo>
                  <a:lnTo>
                    <a:pt x="18" y="48"/>
                  </a:lnTo>
                  <a:lnTo>
                    <a:pt x="18" y="48"/>
                  </a:lnTo>
                  <a:lnTo>
                    <a:pt x="20" y="46"/>
                  </a:lnTo>
                  <a:lnTo>
                    <a:pt x="20" y="46"/>
                  </a:lnTo>
                  <a:lnTo>
                    <a:pt x="20" y="44"/>
                  </a:lnTo>
                  <a:lnTo>
                    <a:pt x="22" y="42"/>
                  </a:lnTo>
                  <a:lnTo>
                    <a:pt x="22" y="40"/>
                  </a:lnTo>
                  <a:lnTo>
                    <a:pt x="22" y="38"/>
                  </a:lnTo>
                  <a:lnTo>
                    <a:pt x="24" y="36"/>
                  </a:lnTo>
                  <a:lnTo>
                    <a:pt x="24" y="32"/>
                  </a:lnTo>
                  <a:lnTo>
                    <a:pt x="24" y="28"/>
                  </a:lnTo>
                  <a:lnTo>
                    <a:pt x="24" y="26"/>
                  </a:lnTo>
                  <a:lnTo>
                    <a:pt x="24" y="22"/>
                  </a:lnTo>
                  <a:lnTo>
                    <a:pt x="24" y="18"/>
                  </a:lnTo>
                  <a:lnTo>
                    <a:pt x="22" y="14"/>
                  </a:lnTo>
                  <a:lnTo>
                    <a:pt x="20" y="10"/>
                  </a:lnTo>
                  <a:lnTo>
                    <a:pt x="20" y="8"/>
                  </a:lnTo>
                  <a:lnTo>
                    <a:pt x="20" y="6"/>
                  </a:lnTo>
                  <a:lnTo>
                    <a:pt x="18" y="6"/>
                  </a:lnTo>
                  <a:lnTo>
                    <a:pt x="18" y="4"/>
                  </a:lnTo>
                  <a:lnTo>
                    <a:pt x="16" y="2"/>
                  </a:lnTo>
                  <a:lnTo>
                    <a:pt x="14" y="2"/>
                  </a:lnTo>
                  <a:lnTo>
                    <a:pt x="14" y="0"/>
                  </a:lnTo>
                  <a:lnTo>
                    <a:pt x="12" y="0"/>
                  </a:lnTo>
                  <a:lnTo>
                    <a:pt x="12"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 name="Freeform 25">
              <a:extLst>
                <a:ext uri="{FF2B5EF4-FFF2-40B4-BE49-F238E27FC236}">
                  <a16:creationId xmlns:a16="http://schemas.microsoft.com/office/drawing/2014/main" id="{DFFEF0EE-F66B-4BA3-AB41-CCAB3C014542}"/>
                </a:ext>
              </a:extLst>
            </p:cNvPr>
            <p:cNvSpPr>
              <a:spLocks/>
            </p:cNvSpPr>
            <p:nvPr/>
          </p:nvSpPr>
          <p:spPr bwMode="auto">
            <a:xfrm>
              <a:off x="7248381" y="3911811"/>
              <a:ext cx="41570" cy="83140"/>
            </a:xfrm>
            <a:custGeom>
              <a:avLst/>
              <a:gdLst>
                <a:gd name="T0" fmla="*/ 12 w 24"/>
                <a:gd name="T1" fmla="*/ 0 h 48"/>
                <a:gd name="T2" fmla="*/ 12 w 24"/>
                <a:gd name="T3" fmla="*/ 0 h 48"/>
                <a:gd name="T4" fmla="*/ 12 w 24"/>
                <a:gd name="T5" fmla="*/ 0 h 48"/>
                <a:gd name="T6" fmla="*/ 10 w 24"/>
                <a:gd name="T7" fmla="*/ 0 h 48"/>
                <a:gd name="T8" fmla="*/ 10 w 24"/>
                <a:gd name="T9" fmla="*/ 2 h 48"/>
                <a:gd name="T10" fmla="*/ 10 w 24"/>
                <a:gd name="T11" fmla="*/ 2 h 48"/>
                <a:gd name="T12" fmla="*/ 8 w 24"/>
                <a:gd name="T13" fmla="*/ 2 h 48"/>
                <a:gd name="T14" fmla="*/ 8 w 24"/>
                <a:gd name="T15" fmla="*/ 4 h 48"/>
                <a:gd name="T16" fmla="*/ 6 w 24"/>
                <a:gd name="T17" fmla="*/ 6 h 48"/>
                <a:gd name="T18" fmla="*/ 4 w 24"/>
                <a:gd name="T19" fmla="*/ 8 h 48"/>
                <a:gd name="T20" fmla="*/ 4 w 24"/>
                <a:gd name="T21" fmla="*/ 10 h 48"/>
                <a:gd name="T22" fmla="*/ 2 w 24"/>
                <a:gd name="T23" fmla="*/ 14 h 48"/>
                <a:gd name="T24" fmla="*/ 2 w 24"/>
                <a:gd name="T25" fmla="*/ 16 h 48"/>
                <a:gd name="T26" fmla="*/ 0 w 24"/>
                <a:gd name="T27" fmla="*/ 18 h 48"/>
                <a:gd name="T28" fmla="*/ 0 w 24"/>
                <a:gd name="T29" fmla="*/ 22 h 48"/>
                <a:gd name="T30" fmla="*/ 0 w 24"/>
                <a:gd name="T31" fmla="*/ 24 h 48"/>
                <a:gd name="T32" fmla="*/ 0 w 24"/>
                <a:gd name="T33" fmla="*/ 26 h 48"/>
                <a:gd name="T34" fmla="*/ 0 w 24"/>
                <a:gd name="T35" fmla="*/ 30 h 48"/>
                <a:gd name="T36" fmla="*/ 0 w 24"/>
                <a:gd name="T37" fmla="*/ 32 h 48"/>
                <a:gd name="T38" fmla="*/ 0 w 24"/>
                <a:gd name="T39" fmla="*/ 32 h 48"/>
                <a:gd name="T40" fmla="*/ 0 w 24"/>
                <a:gd name="T41" fmla="*/ 34 h 48"/>
                <a:gd name="T42" fmla="*/ 0 w 24"/>
                <a:gd name="T43" fmla="*/ 36 h 48"/>
                <a:gd name="T44" fmla="*/ 2 w 24"/>
                <a:gd name="T45" fmla="*/ 38 h 48"/>
                <a:gd name="T46" fmla="*/ 4 w 24"/>
                <a:gd name="T47" fmla="*/ 42 h 48"/>
                <a:gd name="T48" fmla="*/ 6 w 24"/>
                <a:gd name="T49" fmla="*/ 44 h 48"/>
                <a:gd name="T50" fmla="*/ 8 w 24"/>
                <a:gd name="T51" fmla="*/ 46 h 48"/>
                <a:gd name="T52" fmla="*/ 8 w 24"/>
                <a:gd name="T53" fmla="*/ 46 h 48"/>
                <a:gd name="T54" fmla="*/ 10 w 24"/>
                <a:gd name="T55" fmla="*/ 46 h 48"/>
                <a:gd name="T56" fmla="*/ 12 w 24"/>
                <a:gd name="T57" fmla="*/ 48 h 48"/>
                <a:gd name="T58" fmla="*/ 12 w 24"/>
                <a:gd name="T59" fmla="*/ 48 h 48"/>
                <a:gd name="T60" fmla="*/ 14 w 24"/>
                <a:gd name="T61" fmla="*/ 48 h 48"/>
                <a:gd name="T62" fmla="*/ 14 w 24"/>
                <a:gd name="T63" fmla="*/ 48 h 48"/>
                <a:gd name="T64" fmla="*/ 16 w 24"/>
                <a:gd name="T65" fmla="*/ 48 h 48"/>
                <a:gd name="T66" fmla="*/ 18 w 24"/>
                <a:gd name="T67" fmla="*/ 48 h 48"/>
                <a:gd name="T68" fmla="*/ 18 w 24"/>
                <a:gd name="T69" fmla="*/ 48 h 48"/>
                <a:gd name="T70" fmla="*/ 20 w 24"/>
                <a:gd name="T71" fmla="*/ 46 h 48"/>
                <a:gd name="T72" fmla="*/ 20 w 24"/>
                <a:gd name="T73" fmla="*/ 46 h 48"/>
                <a:gd name="T74" fmla="*/ 20 w 24"/>
                <a:gd name="T75" fmla="*/ 44 h 48"/>
                <a:gd name="T76" fmla="*/ 22 w 24"/>
                <a:gd name="T77" fmla="*/ 42 h 48"/>
                <a:gd name="T78" fmla="*/ 22 w 24"/>
                <a:gd name="T79" fmla="*/ 40 h 48"/>
                <a:gd name="T80" fmla="*/ 22 w 24"/>
                <a:gd name="T81" fmla="*/ 38 h 48"/>
                <a:gd name="T82" fmla="*/ 24 w 24"/>
                <a:gd name="T83" fmla="*/ 36 h 48"/>
                <a:gd name="T84" fmla="*/ 24 w 24"/>
                <a:gd name="T85" fmla="*/ 32 h 48"/>
                <a:gd name="T86" fmla="*/ 24 w 24"/>
                <a:gd name="T87" fmla="*/ 28 h 48"/>
                <a:gd name="T88" fmla="*/ 24 w 24"/>
                <a:gd name="T89" fmla="*/ 26 h 48"/>
                <a:gd name="T90" fmla="*/ 24 w 24"/>
                <a:gd name="T91" fmla="*/ 22 h 48"/>
                <a:gd name="T92" fmla="*/ 24 w 24"/>
                <a:gd name="T93" fmla="*/ 18 h 48"/>
                <a:gd name="T94" fmla="*/ 22 w 24"/>
                <a:gd name="T95" fmla="*/ 14 h 48"/>
                <a:gd name="T96" fmla="*/ 20 w 24"/>
                <a:gd name="T97" fmla="*/ 10 h 48"/>
                <a:gd name="T98" fmla="*/ 20 w 24"/>
                <a:gd name="T99" fmla="*/ 8 h 48"/>
                <a:gd name="T100" fmla="*/ 20 w 24"/>
                <a:gd name="T101" fmla="*/ 6 h 48"/>
                <a:gd name="T102" fmla="*/ 18 w 24"/>
                <a:gd name="T103" fmla="*/ 6 h 48"/>
                <a:gd name="T104" fmla="*/ 18 w 24"/>
                <a:gd name="T105" fmla="*/ 4 h 48"/>
                <a:gd name="T106" fmla="*/ 16 w 24"/>
                <a:gd name="T107" fmla="*/ 2 h 48"/>
                <a:gd name="T108" fmla="*/ 14 w 24"/>
                <a:gd name="T109" fmla="*/ 2 h 48"/>
                <a:gd name="T110" fmla="*/ 14 w 24"/>
                <a:gd name="T111" fmla="*/ 0 h 48"/>
                <a:gd name="T112" fmla="*/ 12 w 24"/>
                <a:gd name="T113" fmla="*/ 0 h 48"/>
                <a:gd name="T114" fmla="*/ 12 w 24"/>
                <a:gd name="T11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 h="48">
                  <a:moveTo>
                    <a:pt x="12" y="0"/>
                  </a:moveTo>
                  <a:lnTo>
                    <a:pt x="12" y="0"/>
                  </a:lnTo>
                  <a:lnTo>
                    <a:pt x="12" y="0"/>
                  </a:lnTo>
                  <a:lnTo>
                    <a:pt x="10" y="0"/>
                  </a:lnTo>
                  <a:lnTo>
                    <a:pt x="10" y="2"/>
                  </a:lnTo>
                  <a:lnTo>
                    <a:pt x="10" y="2"/>
                  </a:lnTo>
                  <a:lnTo>
                    <a:pt x="8" y="2"/>
                  </a:lnTo>
                  <a:lnTo>
                    <a:pt x="8" y="4"/>
                  </a:lnTo>
                  <a:lnTo>
                    <a:pt x="6" y="6"/>
                  </a:lnTo>
                  <a:lnTo>
                    <a:pt x="4" y="8"/>
                  </a:lnTo>
                  <a:lnTo>
                    <a:pt x="4" y="10"/>
                  </a:lnTo>
                  <a:lnTo>
                    <a:pt x="2" y="14"/>
                  </a:lnTo>
                  <a:lnTo>
                    <a:pt x="2" y="16"/>
                  </a:lnTo>
                  <a:lnTo>
                    <a:pt x="0" y="18"/>
                  </a:lnTo>
                  <a:lnTo>
                    <a:pt x="0" y="22"/>
                  </a:lnTo>
                  <a:lnTo>
                    <a:pt x="0" y="24"/>
                  </a:lnTo>
                  <a:lnTo>
                    <a:pt x="0" y="26"/>
                  </a:lnTo>
                  <a:lnTo>
                    <a:pt x="0" y="30"/>
                  </a:lnTo>
                  <a:lnTo>
                    <a:pt x="0" y="32"/>
                  </a:lnTo>
                  <a:lnTo>
                    <a:pt x="0" y="32"/>
                  </a:lnTo>
                  <a:lnTo>
                    <a:pt x="0" y="34"/>
                  </a:lnTo>
                  <a:lnTo>
                    <a:pt x="0" y="36"/>
                  </a:lnTo>
                  <a:lnTo>
                    <a:pt x="2" y="38"/>
                  </a:lnTo>
                  <a:lnTo>
                    <a:pt x="4" y="42"/>
                  </a:lnTo>
                  <a:lnTo>
                    <a:pt x="6" y="44"/>
                  </a:lnTo>
                  <a:lnTo>
                    <a:pt x="8" y="46"/>
                  </a:lnTo>
                  <a:lnTo>
                    <a:pt x="8" y="46"/>
                  </a:lnTo>
                  <a:lnTo>
                    <a:pt x="10" y="46"/>
                  </a:lnTo>
                  <a:lnTo>
                    <a:pt x="12" y="48"/>
                  </a:lnTo>
                  <a:lnTo>
                    <a:pt x="12" y="48"/>
                  </a:lnTo>
                  <a:lnTo>
                    <a:pt x="14" y="48"/>
                  </a:lnTo>
                  <a:lnTo>
                    <a:pt x="14" y="48"/>
                  </a:lnTo>
                  <a:lnTo>
                    <a:pt x="16" y="48"/>
                  </a:lnTo>
                  <a:lnTo>
                    <a:pt x="18" y="48"/>
                  </a:lnTo>
                  <a:lnTo>
                    <a:pt x="18" y="48"/>
                  </a:lnTo>
                  <a:lnTo>
                    <a:pt x="20" y="46"/>
                  </a:lnTo>
                  <a:lnTo>
                    <a:pt x="20" y="46"/>
                  </a:lnTo>
                  <a:lnTo>
                    <a:pt x="20" y="44"/>
                  </a:lnTo>
                  <a:lnTo>
                    <a:pt x="22" y="42"/>
                  </a:lnTo>
                  <a:lnTo>
                    <a:pt x="22" y="40"/>
                  </a:lnTo>
                  <a:lnTo>
                    <a:pt x="22" y="38"/>
                  </a:lnTo>
                  <a:lnTo>
                    <a:pt x="24" y="36"/>
                  </a:lnTo>
                  <a:lnTo>
                    <a:pt x="24" y="32"/>
                  </a:lnTo>
                  <a:lnTo>
                    <a:pt x="24" y="28"/>
                  </a:lnTo>
                  <a:lnTo>
                    <a:pt x="24" y="26"/>
                  </a:lnTo>
                  <a:lnTo>
                    <a:pt x="24" y="22"/>
                  </a:lnTo>
                  <a:lnTo>
                    <a:pt x="24" y="18"/>
                  </a:lnTo>
                  <a:lnTo>
                    <a:pt x="22" y="14"/>
                  </a:lnTo>
                  <a:lnTo>
                    <a:pt x="20" y="10"/>
                  </a:lnTo>
                  <a:lnTo>
                    <a:pt x="20" y="8"/>
                  </a:lnTo>
                  <a:lnTo>
                    <a:pt x="20" y="6"/>
                  </a:lnTo>
                  <a:lnTo>
                    <a:pt x="18" y="6"/>
                  </a:lnTo>
                  <a:lnTo>
                    <a:pt x="18" y="4"/>
                  </a:lnTo>
                  <a:lnTo>
                    <a:pt x="16" y="2"/>
                  </a:lnTo>
                  <a:lnTo>
                    <a:pt x="14" y="2"/>
                  </a:lnTo>
                  <a:lnTo>
                    <a:pt x="14" y="0"/>
                  </a:lnTo>
                  <a:lnTo>
                    <a:pt x="12" y="0"/>
                  </a:lnTo>
                  <a:lnTo>
                    <a:pt x="12"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 name="Freeform 26">
              <a:extLst>
                <a:ext uri="{FF2B5EF4-FFF2-40B4-BE49-F238E27FC236}">
                  <a16:creationId xmlns:a16="http://schemas.microsoft.com/office/drawing/2014/main" id="{EA37BEB1-3466-4619-8A4F-715D576A4F91}"/>
                </a:ext>
              </a:extLst>
            </p:cNvPr>
            <p:cNvSpPr>
              <a:spLocks/>
            </p:cNvSpPr>
            <p:nvPr/>
          </p:nvSpPr>
          <p:spPr bwMode="auto">
            <a:xfrm>
              <a:off x="6243777" y="3762853"/>
              <a:ext cx="211313" cy="110853"/>
            </a:xfrm>
            <a:custGeom>
              <a:avLst/>
              <a:gdLst>
                <a:gd name="T0" fmla="*/ 2 w 122"/>
                <a:gd name="T1" fmla="*/ 0 h 64"/>
                <a:gd name="T2" fmla="*/ 12 w 122"/>
                <a:gd name="T3" fmla="*/ 0 h 64"/>
                <a:gd name="T4" fmla="*/ 16 w 122"/>
                <a:gd name="T5" fmla="*/ 2 h 64"/>
                <a:gd name="T6" fmla="*/ 20 w 122"/>
                <a:gd name="T7" fmla="*/ 4 h 64"/>
                <a:gd name="T8" fmla="*/ 26 w 122"/>
                <a:gd name="T9" fmla="*/ 10 h 64"/>
                <a:gd name="T10" fmla="*/ 32 w 122"/>
                <a:gd name="T11" fmla="*/ 16 h 64"/>
                <a:gd name="T12" fmla="*/ 38 w 122"/>
                <a:gd name="T13" fmla="*/ 20 h 64"/>
                <a:gd name="T14" fmla="*/ 42 w 122"/>
                <a:gd name="T15" fmla="*/ 20 h 64"/>
                <a:gd name="T16" fmla="*/ 44 w 122"/>
                <a:gd name="T17" fmla="*/ 20 h 64"/>
                <a:gd name="T18" fmla="*/ 46 w 122"/>
                <a:gd name="T19" fmla="*/ 18 h 64"/>
                <a:gd name="T20" fmla="*/ 46 w 122"/>
                <a:gd name="T21" fmla="*/ 14 h 64"/>
                <a:gd name="T22" fmla="*/ 48 w 122"/>
                <a:gd name="T23" fmla="*/ 10 h 64"/>
                <a:gd name="T24" fmla="*/ 50 w 122"/>
                <a:gd name="T25" fmla="*/ 10 h 64"/>
                <a:gd name="T26" fmla="*/ 50 w 122"/>
                <a:gd name="T27" fmla="*/ 12 h 64"/>
                <a:gd name="T28" fmla="*/ 50 w 122"/>
                <a:gd name="T29" fmla="*/ 18 h 64"/>
                <a:gd name="T30" fmla="*/ 50 w 122"/>
                <a:gd name="T31" fmla="*/ 24 h 64"/>
                <a:gd name="T32" fmla="*/ 50 w 122"/>
                <a:gd name="T33" fmla="*/ 26 h 64"/>
                <a:gd name="T34" fmla="*/ 54 w 122"/>
                <a:gd name="T35" fmla="*/ 30 h 64"/>
                <a:gd name="T36" fmla="*/ 62 w 122"/>
                <a:gd name="T37" fmla="*/ 32 h 64"/>
                <a:gd name="T38" fmla="*/ 74 w 122"/>
                <a:gd name="T39" fmla="*/ 40 h 64"/>
                <a:gd name="T40" fmla="*/ 80 w 122"/>
                <a:gd name="T41" fmla="*/ 42 h 64"/>
                <a:gd name="T42" fmla="*/ 92 w 122"/>
                <a:gd name="T43" fmla="*/ 42 h 64"/>
                <a:gd name="T44" fmla="*/ 108 w 122"/>
                <a:gd name="T45" fmla="*/ 44 h 64"/>
                <a:gd name="T46" fmla="*/ 116 w 122"/>
                <a:gd name="T47" fmla="*/ 46 h 64"/>
                <a:gd name="T48" fmla="*/ 120 w 122"/>
                <a:gd name="T49" fmla="*/ 54 h 64"/>
                <a:gd name="T50" fmla="*/ 116 w 122"/>
                <a:gd name="T51" fmla="*/ 62 h 64"/>
                <a:gd name="T52" fmla="*/ 114 w 122"/>
                <a:gd name="T53" fmla="*/ 64 h 64"/>
                <a:gd name="T54" fmla="*/ 110 w 122"/>
                <a:gd name="T55" fmla="*/ 64 h 64"/>
                <a:gd name="T56" fmla="*/ 102 w 122"/>
                <a:gd name="T57" fmla="*/ 64 h 64"/>
                <a:gd name="T58" fmla="*/ 98 w 122"/>
                <a:gd name="T59" fmla="*/ 64 h 64"/>
                <a:gd name="T60" fmla="*/ 88 w 122"/>
                <a:gd name="T61" fmla="*/ 64 h 64"/>
                <a:gd name="T62" fmla="*/ 82 w 122"/>
                <a:gd name="T63" fmla="*/ 64 h 64"/>
                <a:gd name="T64" fmla="*/ 78 w 122"/>
                <a:gd name="T65" fmla="*/ 60 h 64"/>
                <a:gd name="T66" fmla="*/ 72 w 122"/>
                <a:gd name="T67" fmla="*/ 56 h 64"/>
                <a:gd name="T68" fmla="*/ 62 w 122"/>
                <a:gd name="T69" fmla="*/ 54 h 64"/>
                <a:gd name="T70" fmla="*/ 54 w 122"/>
                <a:gd name="T71" fmla="*/ 54 h 64"/>
                <a:gd name="T72" fmla="*/ 42 w 122"/>
                <a:gd name="T73" fmla="*/ 48 h 64"/>
                <a:gd name="T74" fmla="*/ 30 w 122"/>
                <a:gd name="T75" fmla="*/ 44 h 64"/>
                <a:gd name="T76" fmla="*/ 20 w 122"/>
                <a:gd name="T77" fmla="*/ 42 h 64"/>
                <a:gd name="T78" fmla="*/ 14 w 122"/>
                <a:gd name="T79" fmla="*/ 40 h 64"/>
                <a:gd name="T80" fmla="*/ 8 w 122"/>
                <a:gd name="T81" fmla="*/ 34 h 64"/>
                <a:gd name="T82" fmla="*/ 4 w 122"/>
                <a:gd name="T83" fmla="*/ 30 h 64"/>
                <a:gd name="T84" fmla="*/ 2 w 122"/>
                <a:gd name="T85" fmla="*/ 24 h 64"/>
                <a:gd name="T86" fmla="*/ 0 w 122"/>
                <a:gd name="T87" fmla="*/ 14 h 64"/>
                <a:gd name="T88" fmla="*/ 0 w 122"/>
                <a:gd name="T8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2" h="64">
                  <a:moveTo>
                    <a:pt x="0" y="0"/>
                  </a:moveTo>
                  <a:lnTo>
                    <a:pt x="0" y="0"/>
                  </a:lnTo>
                  <a:lnTo>
                    <a:pt x="2" y="0"/>
                  </a:lnTo>
                  <a:lnTo>
                    <a:pt x="6" y="0"/>
                  </a:lnTo>
                  <a:lnTo>
                    <a:pt x="10" y="0"/>
                  </a:lnTo>
                  <a:lnTo>
                    <a:pt x="12" y="0"/>
                  </a:lnTo>
                  <a:lnTo>
                    <a:pt x="14" y="0"/>
                  </a:lnTo>
                  <a:lnTo>
                    <a:pt x="16" y="0"/>
                  </a:lnTo>
                  <a:lnTo>
                    <a:pt x="16" y="2"/>
                  </a:lnTo>
                  <a:lnTo>
                    <a:pt x="16" y="2"/>
                  </a:lnTo>
                  <a:lnTo>
                    <a:pt x="18" y="2"/>
                  </a:lnTo>
                  <a:lnTo>
                    <a:pt x="20" y="4"/>
                  </a:lnTo>
                  <a:lnTo>
                    <a:pt x="20" y="6"/>
                  </a:lnTo>
                  <a:lnTo>
                    <a:pt x="22" y="6"/>
                  </a:lnTo>
                  <a:lnTo>
                    <a:pt x="26" y="10"/>
                  </a:lnTo>
                  <a:lnTo>
                    <a:pt x="28" y="12"/>
                  </a:lnTo>
                  <a:lnTo>
                    <a:pt x="28" y="14"/>
                  </a:lnTo>
                  <a:lnTo>
                    <a:pt x="32" y="16"/>
                  </a:lnTo>
                  <a:lnTo>
                    <a:pt x="34" y="16"/>
                  </a:lnTo>
                  <a:lnTo>
                    <a:pt x="36" y="18"/>
                  </a:lnTo>
                  <a:lnTo>
                    <a:pt x="38" y="20"/>
                  </a:lnTo>
                  <a:lnTo>
                    <a:pt x="40" y="20"/>
                  </a:lnTo>
                  <a:lnTo>
                    <a:pt x="42" y="20"/>
                  </a:lnTo>
                  <a:lnTo>
                    <a:pt x="42" y="20"/>
                  </a:lnTo>
                  <a:lnTo>
                    <a:pt x="44" y="20"/>
                  </a:lnTo>
                  <a:lnTo>
                    <a:pt x="44" y="20"/>
                  </a:lnTo>
                  <a:lnTo>
                    <a:pt x="44" y="20"/>
                  </a:lnTo>
                  <a:lnTo>
                    <a:pt x="44" y="20"/>
                  </a:lnTo>
                  <a:lnTo>
                    <a:pt x="46" y="20"/>
                  </a:lnTo>
                  <a:lnTo>
                    <a:pt x="46" y="18"/>
                  </a:lnTo>
                  <a:lnTo>
                    <a:pt x="46" y="16"/>
                  </a:lnTo>
                  <a:lnTo>
                    <a:pt x="46" y="14"/>
                  </a:lnTo>
                  <a:lnTo>
                    <a:pt x="46" y="14"/>
                  </a:lnTo>
                  <a:lnTo>
                    <a:pt x="48" y="12"/>
                  </a:lnTo>
                  <a:lnTo>
                    <a:pt x="48" y="10"/>
                  </a:lnTo>
                  <a:lnTo>
                    <a:pt x="48" y="10"/>
                  </a:lnTo>
                  <a:lnTo>
                    <a:pt x="48" y="10"/>
                  </a:lnTo>
                  <a:lnTo>
                    <a:pt x="48" y="10"/>
                  </a:lnTo>
                  <a:lnTo>
                    <a:pt x="50" y="10"/>
                  </a:lnTo>
                  <a:lnTo>
                    <a:pt x="50" y="12"/>
                  </a:lnTo>
                  <a:lnTo>
                    <a:pt x="50" y="12"/>
                  </a:lnTo>
                  <a:lnTo>
                    <a:pt x="50" y="12"/>
                  </a:lnTo>
                  <a:lnTo>
                    <a:pt x="50" y="14"/>
                  </a:lnTo>
                  <a:lnTo>
                    <a:pt x="50" y="14"/>
                  </a:lnTo>
                  <a:lnTo>
                    <a:pt x="50" y="18"/>
                  </a:lnTo>
                  <a:lnTo>
                    <a:pt x="50" y="20"/>
                  </a:lnTo>
                  <a:lnTo>
                    <a:pt x="50" y="22"/>
                  </a:lnTo>
                  <a:lnTo>
                    <a:pt x="50" y="24"/>
                  </a:lnTo>
                  <a:lnTo>
                    <a:pt x="50" y="24"/>
                  </a:lnTo>
                  <a:lnTo>
                    <a:pt x="50" y="26"/>
                  </a:lnTo>
                  <a:lnTo>
                    <a:pt x="50" y="26"/>
                  </a:lnTo>
                  <a:lnTo>
                    <a:pt x="52" y="28"/>
                  </a:lnTo>
                  <a:lnTo>
                    <a:pt x="52" y="28"/>
                  </a:lnTo>
                  <a:lnTo>
                    <a:pt x="54" y="30"/>
                  </a:lnTo>
                  <a:lnTo>
                    <a:pt x="56" y="30"/>
                  </a:lnTo>
                  <a:lnTo>
                    <a:pt x="58" y="32"/>
                  </a:lnTo>
                  <a:lnTo>
                    <a:pt x="62" y="32"/>
                  </a:lnTo>
                  <a:lnTo>
                    <a:pt x="68" y="38"/>
                  </a:lnTo>
                  <a:lnTo>
                    <a:pt x="72" y="40"/>
                  </a:lnTo>
                  <a:lnTo>
                    <a:pt x="74" y="40"/>
                  </a:lnTo>
                  <a:lnTo>
                    <a:pt x="76" y="40"/>
                  </a:lnTo>
                  <a:lnTo>
                    <a:pt x="78" y="42"/>
                  </a:lnTo>
                  <a:lnTo>
                    <a:pt x="80" y="42"/>
                  </a:lnTo>
                  <a:lnTo>
                    <a:pt x="84" y="42"/>
                  </a:lnTo>
                  <a:lnTo>
                    <a:pt x="88" y="42"/>
                  </a:lnTo>
                  <a:lnTo>
                    <a:pt x="92" y="42"/>
                  </a:lnTo>
                  <a:lnTo>
                    <a:pt x="102" y="42"/>
                  </a:lnTo>
                  <a:lnTo>
                    <a:pt x="106" y="42"/>
                  </a:lnTo>
                  <a:lnTo>
                    <a:pt x="108" y="44"/>
                  </a:lnTo>
                  <a:lnTo>
                    <a:pt x="110" y="44"/>
                  </a:lnTo>
                  <a:lnTo>
                    <a:pt x="112" y="44"/>
                  </a:lnTo>
                  <a:lnTo>
                    <a:pt x="116" y="46"/>
                  </a:lnTo>
                  <a:lnTo>
                    <a:pt x="122" y="48"/>
                  </a:lnTo>
                  <a:lnTo>
                    <a:pt x="122" y="50"/>
                  </a:lnTo>
                  <a:lnTo>
                    <a:pt x="120" y="54"/>
                  </a:lnTo>
                  <a:lnTo>
                    <a:pt x="118" y="58"/>
                  </a:lnTo>
                  <a:lnTo>
                    <a:pt x="118" y="60"/>
                  </a:lnTo>
                  <a:lnTo>
                    <a:pt x="116" y="62"/>
                  </a:lnTo>
                  <a:lnTo>
                    <a:pt x="116" y="62"/>
                  </a:lnTo>
                  <a:lnTo>
                    <a:pt x="114" y="64"/>
                  </a:lnTo>
                  <a:lnTo>
                    <a:pt x="114" y="64"/>
                  </a:lnTo>
                  <a:lnTo>
                    <a:pt x="114" y="64"/>
                  </a:lnTo>
                  <a:lnTo>
                    <a:pt x="112" y="64"/>
                  </a:lnTo>
                  <a:lnTo>
                    <a:pt x="110" y="64"/>
                  </a:lnTo>
                  <a:lnTo>
                    <a:pt x="108" y="64"/>
                  </a:lnTo>
                  <a:lnTo>
                    <a:pt x="104" y="64"/>
                  </a:lnTo>
                  <a:lnTo>
                    <a:pt x="102" y="64"/>
                  </a:lnTo>
                  <a:lnTo>
                    <a:pt x="100" y="64"/>
                  </a:lnTo>
                  <a:lnTo>
                    <a:pt x="100" y="64"/>
                  </a:lnTo>
                  <a:lnTo>
                    <a:pt x="98" y="64"/>
                  </a:lnTo>
                  <a:lnTo>
                    <a:pt x="92" y="64"/>
                  </a:lnTo>
                  <a:lnTo>
                    <a:pt x="90" y="64"/>
                  </a:lnTo>
                  <a:lnTo>
                    <a:pt x="88" y="64"/>
                  </a:lnTo>
                  <a:lnTo>
                    <a:pt x="86" y="64"/>
                  </a:lnTo>
                  <a:lnTo>
                    <a:pt x="84" y="64"/>
                  </a:lnTo>
                  <a:lnTo>
                    <a:pt x="82" y="64"/>
                  </a:lnTo>
                  <a:lnTo>
                    <a:pt x="82" y="64"/>
                  </a:lnTo>
                  <a:lnTo>
                    <a:pt x="80" y="62"/>
                  </a:lnTo>
                  <a:lnTo>
                    <a:pt x="78" y="60"/>
                  </a:lnTo>
                  <a:lnTo>
                    <a:pt x="74" y="58"/>
                  </a:lnTo>
                  <a:lnTo>
                    <a:pt x="74" y="58"/>
                  </a:lnTo>
                  <a:lnTo>
                    <a:pt x="72" y="56"/>
                  </a:lnTo>
                  <a:lnTo>
                    <a:pt x="70" y="56"/>
                  </a:lnTo>
                  <a:lnTo>
                    <a:pt x="68" y="56"/>
                  </a:lnTo>
                  <a:lnTo>
                    <a:pt x="62" y="54"/>
                  </a:lnTo>
                  <a:lnTo>
                    <a:pt x="58" y="54"/>
                  </a:lnTo>
                  <a:lnTo>
                    <a:pt x="56" y="54"/>
                  </a:lnTo>
                  <a:lnTo>
                    <a:pt x="54" y="54"/>
                  </a:lnTo>
                  <a:lnTo>
                    <a:pt x="52" y="52"/>
                  </a:lnTo>
                  <a:lnTo>
                    <a:pt x="48" y="52"/>
                  </a:lnTo>
                  <a:lnTo>
                    <a:pt x="42" y="48"/>
                  </a:lnTo>
                  <a:lnTo>
                    <a:pt x="36" y="46"/>
                  </a:lnTo>
                  <a:lnTo>
                    <a:pt x="32" y="44"/>
                  </a:lnTo>
                  <a:lnTo>
                    <a:pt x="30" y="44"/>
                  </a:lnTo>
                  <a:lnTo>
                    <a:pt x="28" y="44"/>
                  </a:lnTo>
                  <a:lnTo>
                    <a:pt x="22" y="42"/>
                  </a:lnTo>
                  <a:lnTo>
                    <a:pt x="20" y="42"/>
                  </a:lnTo>
                  <a:lnTo>
                    <a:pt x="18" y="42"/>
                  </a:lnTo>
                  <a:lnTo>
                    <a:pt x="16" y="40"/>
                  </a:lnTo>
                  <a:lnTo>
                    <a:pt x="14" y="40"/>
                  </a:lnTo>
                  <a:lnTo>
                    <a:pt x="12" y="38"/>
                  </a:lnTo>
                  <a:lnTo>
                    <a:pt x="10" y="36"/>
                  </a:lnTo>
                  <a:lnTo>
                    <a:pt x="8" y="34"/>
                  </a:lnTo>
                  <a:lnTo>
                    <a:pt x="6" y="32"/>
                  </a:lnTo>
                  <a:lnTo>
                    <a:pt x="6" y="30"/>
                  </a:lnTo>
                  <a:lnTo>
                    <a:pt x="4" y="30"/>
                  </a:lnTo>
                  <a:lnTo>
                    <a:pt x="2" y="28"/>
                  </a:lnTo>
                  <a:lnTo>
                    <a:pt x="2" y="26"/>
                  </a:lnTo>
                  <a:lnTo>
                    <a:pt x="2" y="24"/>
                  </a:lnTo>
                  <a:lnTo>
                    <a:pt x="2" y="22"/>
                  </a:lnTo>
                  <a:lnTo>
                    <a:pt x="0" y="18"/>
                  </a:lnTo>
                  <a:lnTo>
                    <a:pt x="0" y="14"/>
                  </a:lnTo>
                  <a:lnTo>
                    <a:pt x="0" y="10"/>
                  </a:lnTo>
                  <a:lnTo>
                    <a:pt x="0" y="4"/>
                  </a:lnTo>
                  <a:lnTo>
                    <a:pt x="0"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 name="Freeform 27">
              <a:extLst>
                <a:ext uri="{FF2B5EF4-FFF2-40B4-BE49-F238E27FC236}">
                  <a16:creationId xmlns:a16="http://schemas.microsoft.com/office/drawing/2014/main" id="{EC03BCC3-D8CF-4CCB-813B-B7FBF27F8CCC}"/>
                </a:ext>
              </a:extLst>
            </p:cNvPr>
            <p:cNvSpPr>
              <a:spLocks/>
            </p:cNvSpPr>
            <p:nvPr/>
          </p:nvSpPr>
          <p:spPr bwMode="auto">
            <a:xfrm>
              <a:off x="6243777" y="3762853"/>
              <a:ext cx="211313" cy="110853"/>
            </a:xfrm>
            <a:custGeom>
              <a:avLst/>
              <a:gdLst>
                <a:gd name="T0" fmla="*/ 2 w 122"/>
                <a:gd name="T1" fmla="*/ 0 h 64"/>
                <a:gd name="T2" fmla="*/ 12 w 122"/>
                <a:gd name="T3" fmla="*/ 0 h 64"/>
                <a:gd name="T4" fmla="*/ 16 w 122"/>
                <a:gd name="T5" fmla="*/ 2 h 64"/>
                <a:gd name="T6" fmla="*/ 20 w 122"/>
                <a:gd name="T7" fmla="*/ 4 h 64"/>
                <a:gd name="T8" fmla="*/ 26 w 122"/>
                <a:gd name="T9" fmla="*/ 10 h 64"/>
                <a:gd name="T10" fmla="*/ 32 w 122"/>
                <a:gd name="T11" fmla="*/ 16 h 64"/>
                <a:gd name="T12" fmla="*/ 38 w 122"/>
                <a:gd name="T13" fmla="*/ 20 h 64"/>
                <a:gd name="T14" fmla="*/ 42 w 122"/>
                <a:gd name="T15" fmla="*/ 20 h 64"/>
                <a:gd name="T16" fmla="*/ 44 w 122"/>
                <a:gd name="T17" fmla="*/ 20 h 64"/>
                <a:gd name="T18" fmla="*/ 46 w 122"/>
                <a:gd name="T19" fmla="*/ 18 h 64"/>
                <a:gd name="T20" fmla="*/ 46 w 122"/>
                <a:gd name="T21" fmla="*/ 14 h 64"/>
                <a:gd name="T22" fmla="*/ 48 w 122"/>
                <a:gd name="T23" fmla="*/ 10 h 64"/>
                <a:gd name="T24" fmla="*/ 50 w 122"/>
                <a:gd name="T25" fmla="*/ 10 h 64"/>
                <a:gd name="T26" fmla="*/ 50 w 122"/>
                <a:gd name="T27" fmla="*/ 12 h 64"/>
                <a:gd name="T28" fmla="*/ 50 w 122"/>
                <a:gd name="T29" fmla="*/ 18 h 64"/>
                <a:gd name="T30" fmla="*/ 50 w 122"/>
                <a:gd name="T31" fmla="*/ 24 h 64"/>
                <a:gd name="T32" fmla="*/ 50 w 122"/>
                <a:gd name="T33" fmla="*/ 26 h 64"/>
                <a:gd name="T34" fmla="*/ 54 w 122"/>
                <a:gd name="T35" fmla="*/ 30 h 64"/>
                <a:gd name="T36" fmla="*/ 62 w 122"/>
                <a:gd name="T37" fmla="*/ 32 h 64"/>
                <a:gd name="T38" fmla="*/ 74 w 122"/>
                <a:gd name="T39" fmla="*/ 40 h 64"/>
                <a:gd name="T40" fmla="*/ 80 w 122"/>
                <a:gd name="T41" fmla="*/ 42 h 64"/>
                <a:gd name="T42" fmla="*/ 92 w 122"/>
                <a:gd name="T43" fmla="*/ 42 h 64"/>
                <a:gd name="T44" fmla="*/ 108 w 122"/>
                <a:gd name="T45" fmla="*/ 44 h 64"/>
                <a:gd name="T46" fmla="*/ 116 w 122"/>
                <a:gd name="T47" fmla="*/ 46 h 64"/>
                <a:gd name="T48" fmla="*/ 120 w 122"/>
                <a:gd name="T49" fmla="*/ 54 h 64"/>
                <a:gd name="T50" fmla="*/ 116 w 122"/>
                <a:gd name="T51" fmla="*/ 62 h 64"/>
                <a:gd name="T52" fmla="*/ 114 w 122"/>
                <a:gd name="T53" fmla="*/ 64 h 64"/>
                <a:gd name="T54" fmla="*/ 110 w 122"/>
                <a:gd name="T55" fmla="*/ 64 h 64"/>
                <a:gd name="T56" fmla="*/ 102 w 122"/>
                <a:gd name="T57" fmla="*/ 64 h 64"/>
                <a:gd name="T58" fmla="*/ 98 w 122"/>
                <a:gd name="T59" fmla="*/ 64 h 64"/>
                <a:gd name="T60" fmla="*/ 88 w 122"/>
                <a:gd name="T61" fmla="*/ 64 h 64"/>
                <a:gd name="T62" fmla="*/ 82 w 122"/>
                <a:gd name="T63" fmla="*/ 64 h 64"/>
                <a:gd name="T64" fmla="*/ 78 w 122"/>
                <a:gd name="T65" fmla="*/ 60 h 64"/>
                <a:gd name="T66" fmla="*/ 72 w 122"/>
                <a:gd name="T67" fmla="*/ 56 h 64"/>
                <a:gd name="T68" fmla="*/ 62 w 122"/>
                <a:gd name="T69" fmla="*/ 54 h 64"/>
                <a:gd name="T70" fmla="*/ 54 w 122"/>
                <a:gd name="T71" fmla="*/ 54 h 64"/>
                <a:gd name="T72" fmla="*/ 42 w 122"/>
                <a:gd name="T73" fmla="*/ 48 h 64"/>
                <a:gd name="T74" fmla="*/ 30 w 122"/>
                <a:gd name="T75" fmla="*/ 44 h 64"/>
                <a:gd name="T76" fmla="*/ 20 w 122"/>
                <a:gd name="T77" fmla="*/ 42 h 64"/>
                <a:gd name="T78" fmla="*/ 14 w 122"/>
                <a:gd name="T79" fmla="*/ 40 h 64"/>
                <a:gd name="T80" fmla="*/ 8 w 122"/>
                <a:gd name="T81" fmla="*/ 34 h 64"/>
                <a:gd name="T82" fmla="*/ 4 w 122"/>
                <a:gd name="T83" fmla="*/ 30 h 64"/>
                <a:gd name="T84" fmla="*/ 2 w 122"/>
                <a:gd name="T85" fmla="*/ 24 h 64"/>
                <a:gd name="T86" fmla="*/ 0 w 122"/>
                <a:gd name="T87" fmla="*/ 14 h 64"/>
                <a:gd name="T88" fmla="*/ 0 w 122"/>
                <a:gd name="T8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2" h="64">
                  <a:moveTo>
                    <a:pt x="0" y="0"/>
                  </a:moveTo>
                  <a:lnTo>
                    <a:pt x="0" y="0"/>
                  </a:lnTo>
                  <a:lnTo>
                    <a:pt x="2" y="0"/>
                  </a:lnTo>
                  <a:lnTo>
                    <a:pt x="6" y="0"/>
                  </a:lnTo>
                  <a:lnTo>
                    <a:pt x="10" y="0"/>
                  </a:lnTo>
                  <a:lnTo>
                    <a:pt x="12" y="0"/>
                  </a:lnTo>
                  <a:lnTo>
                    <a:pt x="14" y="0"/>
                  </a:lnTo>
                  <a:lnTo>
                    <a:pt x="16" y="0"/>
                  </a:lnTo>
                  <a:lnTo>
                    <a:pt x="16" y="2"/>
                  </a:lnTo>
                  <a:lnTo>
                    <a:pt x="16" y="2"/>
                  </a:lnTo>
                  <a:lnTo>
                    <a:pt x="18" y="2"/>
                  </a:lnTo>
                  <a:lnTo>
                    <a:pt x="20" y="4"/>
                  </a:lnTo>
                  <a:lnTo>
                    <a:pt x="20" y="6"/>
                  </a:lnTo>
                  <a:lnTo>
                    <a:pt x="22" y="6"/>
                  </a:lnTo>
                  <a:lnTo>
                    <a:pt x="26" y="10"/>
                  </a:lnTo>
                  <a:lnTo>
                    <a:pt x="28" y="12"/>
                  </a:lnTo>
                  <a:lnTo>
                    <a:pt x="28" y="14"/>
                  </a:lnTo>
                  <a:lnTo>
                    <a:pt x="32" y="16"/>
                  </a:lnTo>
                  <a:lnTo>
                    <a:pt x="34" y="16"/>
                  </a:lnTo>
                  <a:lnTo>
                    <a:pt x="36" y="18"/>
                  </a:lnTo>
                  <a:lnTo>
                    <a:pt x="38" y="20"/>
                  </a:lnTo>
                  <a:lnTo>
                    <a:pt x="40" y="20"/>
                  </a:lnTo>
                  <a:lnTo>
                    <a:pt x="42" y="20"/>
                  </a:lnTo>
                  <a:lnTo>
                    <a:pt x="42" y="20"/>
                  </a:lnTo>
                  <a:lnTo>
                    <a:pt x="44" y="20"/>
                  </a:lnTo>
                  <a:lnTo>
                    <a:pt x="44" y="20"/>
                  </a:lnTo>
                  <a:lnTo>
                    <a:pt x="44" y="20"/>
                  </a:lnTo>
                  <a:lnTo>
                    <a:pt x="44" y="20"/>
                  </a:lnTo>
                  <a:lnTo>
                    <a:pt x="46" y="20"/>
                  </a:lnTo>
                  <a:lnTo>
                    <a:pt x="46" y="18"/>
                  </a:lnTo>
                  <a:lnTo>
                    <a:pt x="46" y="16"/>
                  </a:lnTo>
                  <a:lnTo>
                    <a:pt x="46" y="14"/>
                  </a:lnTo>
                  <a:lnTo>
                    <a:pt x="46" y="14"/>
                  </a:lnTo>
                  <a:lnTo>
                    <a:pt x="48" y="12"/>
                  </a:lnTo>
                  <a:lnTo>
                    <a:pt x="48" y="10"/>
                  </a:lnTo>
                  <a:lnTo>
                    <a:pt x="48" y="10"/>
                  </a:lnTo>
                  <a:lnTo>
                    <a:pt x="48" y="10"/>
                  </a:lnTo>
                  <a:lnTo>
                    <a:pt x="48" y="10"/>
                  </a:lnTo>
                  <a:lnTo>
                    <a:pt x="50" y="10"/>
                  </a:lnTo>
                  <a:lnTo>
                    <a:pt x="50" y="12"/>
                  </a:lnTo>
                  <a:lnTo>
                    <a:pt x="50" y="12"/>
                  </a:lnTo>
                  <a:lnTo>
                    <a:pt x="50" y="12"/>
                  </a:lnTo>
                  <a:lnTo>
                    <a:pt x="50" y="14"/>
                  </a:lnTo>
                  <a:lnTo>
                    <a:pt x="50" y="14"/>
                  </a:lnTo>
                  <a:lnTo>
                    <a:pt x="50" y="18"/>
                  </a:lnTo>
                  <a:lnTo>
                    <a:pt x="50" y="20"/>
                  </a:lnTo>
                  <a:lnTo>
                    <a:pt x="50" y="22"/>
                  </a:lnTo>
                  <a:lnTo>
                    <a:pt x="50" y="24"/>
                  </a:lnTo>
                  <a:lnTo>
                    <a:pt x="50" y="24"/>
                  </a:lnTo>
                  <a:lnTo>
                    <a:pt x="50" y="26"/>
                  </a:lnTo>
                  <a:lnTo>
                    <a:pt x="50" y="26"/>
                  </a:lnTo>
                  <a:lnTo>
                    <a:pt x="52" y="28"/>
                  </a:lnTo>
                  <a:lnTo>
                    <a:pt x="52" y="28"/>
                  </a:lnTo>
                  <a:lnTo>
                    <a:pt x="54" y="30"/>
                  </a:lnTo>
                  <a:lnTo>
                    <a:pt x="56" y="30"/>
                  </a:lnTo>
                  <a:lnTo>
                    <a:pt x="58" y="32"/>
                  </a:lnTo>
                  <a:lnTo>
                    <a:pt x="62" y="32"/>
                  </a:lnTo>
                  <a:lnTo>
                    <a:pt x="68" y="38"/>
                  </a:lnTo>
                  <a:lnTo>
                    <a:pt x="72" y="40"/>
                  </a:lnTo>
                  <a:lnTo>
                    <a:pt x="74" y="40"/>
                  </a:lnTo>
                  <a:lnTo>
                    <a:pt x="76" y="40"/>
                  </a:lnTo>
                  <a:lnTo>
                    <a:pt x="78" y="42"/>
                  </a:lnTo>
                  <a:lnTo>
                    <a:pt x="80" y="42"/>
                  </a:lnTo>
                  <a:lnTo>
                    <a:pt x="84" y="42"/>
                  </a:lnTo>
                  <a:lnTo>
                    <a:pt x="88" y="42"/>
                  </a:lnTo>
                  <a:lnTo>
                    <a:pt x="92" y="42"/>
                  </a:lnTo>
                  <a:lnTo>
                    <a:pt x="102" y="42"/>
                  </a:lnTo>
                  <a:lnTo>
                    <a:pt x="106" y="42"/>
                  </a:lnTo>
                  <a:lnTo>
                    <a:pt x="108" y="44"/>
                  </a:lnTo>
                  <a:lnTo>
                    <a:pt x="110" y="44"/>
                  </a:lnTo>
                  <a:lnTo>
                    <a:pt x="112" y="44"/>
                  </a:lnTo>
                  <a:lnTo>
                    <a:pt x="116" y="46"/>
                  </a:lnTo>
                  <a:lnTo>
                    <a:pt x="122" y="48"/>
                  </a:lnTo>
                  <a:lnTo>
                    <a:pt x="122" y="50"/>
                  </a:lnTo>
                  <a:lnTo>
                    <a:pt x="120" y="54"/>
                  </a:lnTo>
                  <a:lnTo>
                    <a:pt x="118" y="58"/>
                  </a:lnTo>
                  <a:lnTo>
                    <a:pt x="118" y="60"/>
                  </a:lnTo>
                  <a:lnTo>
                    <a:pt x="116" y="62"/>
                  </a:lnTo>
                  <a:lnTo>
                    <a:pt x="116" y="62"/>
                  </a:lnTo>
                  <a:lnTo>
                    <a:pt x="114" y="64"/>
                  </a:lnTo>
                  <a:lnTo>
                    <a:pt x="114" y="64"/>
                  </a:lnTo>
                  <a:lnTo>
                    <a:pt x="114" y="64"/>
                  </a:lnTo>
                  <a:lnTo>
                    <a:pt x="112" y="64"/>
                  </a:lnTo>
                  <a:lnTo>
                    <a:pt x="110" y="64"/>
                  </a:lnTo>
                  <a:lnTo>
                    <a:pt x="108" y="64"/>
                  </a:lnTo>
                  <a:lnTo>
                    <a:pt x="104" y="64"/>
                  </a:lnTo>
                  <a:lnTo>
                    <a:pt x="102" y="64"/>
                  </a:lnTo>
                  <a:lnTo>
                    <a:pt x="100" y="64"/>
                  </a:lnTo>
                  <a:lnTo>
                    <a:pt x="100" y="64"/>
                  </a:lnTo>
                  <a:lnTo>
                    <a:pt x="98" y="64"/>
                  </a:lnTo>
                  <a:lnTo>
                    <a:pt x="92" y="64"/>
                  </a:lnTo>
                  <a:lnTo>
                    <a:pt x="90" y="64"/>
                  </a:lnTo>
                  <a:lnTo>
                    <a:pt x="88" y="64"/>
                  </a:lnTo>
                  <a:lnTo>
                    <a:pt x="86" y="64"/>
                  </a:lnTo>
                  <a:lnTo>
                    <a:pt x="84" y="64"/>
                  </a:lnTo>
                  <a:lnTo>
                    <a:pt x="82" y="64"/>
                  </a:lnTo>
                  <a:lnTo>
                    <a:pt x="82" y="64"/>
                  </a:lnTo>
                  <a:lnTo>
                    <a:pt x="80" y="62"/>
                  </a:lnTo>
                  <a:lnTo>
                    <a:pt x="78" y="60"/>
                  </a:lnTo>
                  <a:lnTo>
                    <a:pt x="74" y="58"/>
                  </a:lnTo>
                  <a:lnTo>
                    <a:pt x="74" y="58"/>
                  </a:lnTo>
                  <a:lnTo>
                    <a:pt x="72" y="56"/>
                  </a:lnTo>
                  <a:lnTo>
                    <a:pt x="70" y="56"/>
                  </a:lnTo>
                  <a:lnTo>
                    <a:pt x="68" y="56"/>
                  </a:lnTo>
                  <a:lnTo>
                    <a:pt x="62" y="54"/>
                  </a:lnTo>
                  <a:lnTo>
                    <a:pt x="58" y="54"/>
                  </a:lnTo>
                  <a:lnTo>
                    <a:pt x="56" y="54"/>
                  </a:lnTo>
                  <a:lnTo>
                    <a:pt x="54" y="54"/>
                  </a:lnTo>
                  <a:lnTo>
                    <a:pt x="52" y="52"/>
                  </a:lnTo>
                  <a:lnTo>
                    <a:pt x="48" y="52"/>
                  </a:lnTo>
                  <a:lnTo>
                    <a:pt x="42" y="48"/>
                  </a:lnTo>
                  <a:lnTo>
                    <a:pt x="36" y="46"/>
                  </a:lnTo>
                  <a:lnTo>
                    <a:pt x="32" y="44"/>
                  </a:lnTo>
                  <a:lnTo>
                    <a:pt x="30" y="44"/>
                  </a:lnTo>
                  <a:lnTo>
                    <a:pt x="28" y="44"/>
                  </a:lnTo>
                  <a:lnTo>
                    <a:pt x="22" y="42"/>
                  </a:lnTo>
                  <a:lnTo>
                    <a:pt x="20" y="42"/>
                  </a:lnTo>
                  <a:lnTo>
                    <a:pt x="18" y="42"/>
                  </a:lnTo>
                  <a:lnTo>
                    <a:pt x="16" y="40"/>
                  </a:lnTo>
                  <a:lnTo>
                    <a:pt x="14" y="40"/>
                  </a:lnTo>
                  <a:lnTo>
                    <a:pt x="12" y="38"/>
                  </a:lnTo>
                  <a:lnTo>
                    <a:pt x="10" y="36"/>
                  </a:lnTo>
                  <a:lnTo>
                    <a:pt x="8" y="34"/>
                  </a:lnTo>
                  <a:lnTo>
                    <a:pt x="6" y="32"/>
                  </a:lnTo>
                  <a:lnTo>
                    <a:pt x="6" y="30"/>
                  </a:lnTo>
                  <a:lnTo>
                    <a:pt x="4" y="30"/>
                  </a:lnTo>
                  <a:lnTo>
                    <a:pt x="2" y="28"/>
                  </a:lnTo>
                  <a:lnTo>
                    <a:pt x="2" y="26"/>
                  </a:lnTo>
                  <a:lnTo>
                    <a:pt x="2" y="24"/>
                  </a:lnTo>
                  <a:lnTo>
                    <a:pt x="2" y="22"/>
                  </a:lnTo>
                  <a:lnTo>
                    <a:pt x="0" y="18"/>
                  </a:lnTo>
                  <a:lnTo>
                    <a:pt x="0" y="14"/>
                  </a:lnTo>
                  <a:lnTo>
                    <a:pt x="0" y="10"/>
                  </a:lnTo>
                  <a:lnTo>
                    <a:pt x="0" y="4"/>
                  </a:lnTo>
                  <a:lnTo>
                    <a:pt x="0"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 name="Freeform 28">
              <a:extLst>
                <a:ext uri="{FF2B5EF4-FFF2-40B4-BE49-F238E27FC236}">
                  <a16:creationId xmlns:a16="http://schemas.microsoft.com/office/drawing/2014/main" id="{3B6BFEC6-775F-463E-8E59-037CF80A318D}"/>
                </a:ext>
              </a:extLst>
            </p:cNvPr>
            <p:cNvSpPr>
              <a:spLocks/>
            </p:cNvSpPr>
            <p:nvPr/>
          </p:nvSpPr>
          <p:spPr bwMode="auto">
            <a:xfrm>
              <a:off x="6243777" y="3762853"/>
              <a:ext cx="211313" cy="110853"/>
            </a:xfrm>
            <a:custGeom>
              <a:avLst/>
              <a:gdLst>
                <a:gd name="T0" fmla="*/ 2 w 122"/>
                <a:gd name="T1" fmla="*/ 0 h 64"/>
                <a:gd name="T2" fmla="*/ 12 w 122"/>
                <a:gd name="T3" fmla="*/ 0 h 64"/>
                <a:gd name="T4" fmla="*/ 16 w 122"/>
                <a:gd name="T5" fmla="*/ 2 h 64"/>
                <a:gd name="T6" fmla="*/ 20 w 122"/>
                <a:gd name="T7" fmla="*/ 4 h 64"/>
                <a:gd name="T8" fmla="*/ 26 w 122"/>
                <a:gd name="T9" fmla="*/ 10 h 64"/>
                <a:gd name="T10" fmla="*/ 32 w 122"/>
                <a:gd name="T11" fmla="*/ 16 h 64"/>
                <a:gd name="T12" fmla="*/ 38 w 122"/>
                <a:gd name="T13" fmla="*/ 20 h 64"/>
                <a:gd name="T14" fmla="*/ 42 w 122"/>
                <a:gd name="T15" fmla="*/ 20 h 64"/>
                <a:gd name="T16" fmla="*/ 44 w 122"/>
                <a:gd name="T17" fmla="*/ 20 h 64"/>
                <a:gd name="T18" fmla="*/ 46 w 122"/>
                <a:gd name="T19" fmla="*/ 18 h 64"/>
                <a:gd name="T20" fmla="*/ 46 w 122"/>
                <a:gd name="T21" fmla="*/ 14 h 64"/>
                <a:gd name="T22" fmla="*/ 48 w 122"/>
                <a:gd name="T23" fmla="*/ 10 h 64"/>
                <a:gd name="T24" fmla="*/ 50 w 122"/>
                <a:gd name="T25" fmla="*/ 10 h 64"/>
                <a:gd name="T26" fmla="*/ 50 w 122"/>
                <a:gd name="T27" fmla="*/ 12 h 64"/>
                <a:gd name="T28" fmla="*/ 50 w 122"/>
                <a:gd name="T29" fmla="*/ 18 h 64"/>
                <a:gd name="T30" fmla="*/ 50 w 122"/>
                <a:gd name="T31" fmla="*/ 24 h 64"/>
                <a:gd name="T32" fmla="*/ 50 w 122"/>
                <a:gd name="T33" fmla="*/ 26 h 64"/>
                <a:gd name="T34" fmla="*/ 54 w 122"/>
                <a:gd name="T35" fmla="*/ 30 h 64"/>
                <a:gd name="T36" fmla="*/ 62 w 122"/>
                <a:gd name="T37" fmla="*/ 32 h 64"/>
                <a:gd name="T38" fmla="*/ 74 w 122"/>
                <a:gd name="T39" fmla="*/ 40 h 64"/>
                <a:gd name="T40" fmla="*/ 80 w 122"/>
                <a:gd name="T41" fmla="*/ 42 h 64"/>
                <a:gd name="T42" fmla="*/ 92 w 122"/>
                <a:gd name="T43" fmla="*/ 42 h 64"/>
                <a:gd name="T44" fmla="*/ 108 w 122"/>
                <a:gd name="T45" fmla="*/ 44 h 64"/>
                <a:gd name="T46" fmla="*/ 116 w 122"/>
                <a:gd name="T47" fmla="*/ 46 h 64"/>
                <a:gd name="T48" fmla="*/ 120 w 122"/>
                <a:gd name="T49" fmla="*/ 54 h 64"/>
                <a:gd name="T50" fmla="*/ 116 w 122"/>
                <a:gd name="T51" fmla="*/ 62 h 64"/>
                <a:gd name="T52" fmla="*/ 114 w 122"/>
                <a:gd name="T53" fmla="*/ 64 h 64"/>
                <a:gd name="T54" fmla="*/ 110 w 122"/>
                <a:gd name="T55" fmla="*/ 64 h 64"/>
                <a:gd name="T56" fmla="*/ 102 w 122"/>
                <a:gd name="T57" fmla="*/ 64 h 64"/>
                <a:gd name="T58" fmla="*/ 98 w 122"/>
                <a:gd name="T59" fmla="*/ 64 h 64"/>
                <a:gd name="T60" fmla="*/ 88 w 122"/>
                <a:gd name="T61" fmla="*/ 64 h 64"/>
                <a:gd name="T62" fmla="*/ 82 w 122"/>
                <a:gd name="T63" fmla="*/ 64 h 64"/>
                <a:gd name="T64" fmla="*/ 78 w 122"/>
                <a:gd name="T65" fmla="*/ 60 h 64"/>
                <a:gd name="T66" fmla="*/ 72 w 122"/>
                <a:gd name="T67" fmla="*/ 56 h 64"/>
                <a:gd name="T68" fmla="*/ 62 w 122"/>
                <a:gd name="T69" fmla="*/ 54 h 64"/>
                <a:gd name="T70" fmla="*/ 54 w 122"/>
                <a:gd name="T71" fmla="*/ 54 h 64"/>
                <a:gd name="T72" fmla="*/ 42 w 122"/>
                <a:gd name="T73" fmla="*/ 48 h 64"/>
                <a:gd name="T74" fmla="*/ 30 w 122"/>
                <a:gd name="T75" fmla="*/ 44 h 64"/>
                <a:gd name="T76" fmla="*/ 20 w 122"/>
                <a:gd name="T77" fmla="*/ 42 h 64"/>
                <a:gd name="T78" fmla="*/ 14 w 122"/>
                <a:gd name="T79" fmla="*/ 40 h 64"/>
                <a:gd name="T80" fmla="*/ 8 w 122"/>
                <a:gd name="T81" fmla="*/ 34 h 64"/>
                <a:gd name="T82" fmla="*/ 4 w 122"/>
                <a:gd name="T83" fmla="*/ 30 h 64"/>
                <a:gd name="T84" fmla="*/ 2 w 122"/>
                <a:gd name="T85" fmla="*/ 24 h 64"/>
                <a:gd name="T86" fmla="*/ 0 w 122"/>
                <a:gd name="T87" fmla="*/ 14 h 64"/>
                <a:gd name="T88" fmla="*/ 0 w 122"/>
                <a:gd name="T8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2" h="64">
                  <a:moveTo>
                    <a:pt x="0" y="0"/>
                  </a:moveTo>
                  <a:lnTo>
                    <a:pt x="0" y="0"/>
                  </a:lnTo>
                  <a:lnTo>
                    <a:pt x="2" y="0"/>
                  </a:lnTo>
                  <a:lnTo>
                    <a:pt x="6" y="0"/>
                  </a:lnTo>
                  <a:lnTo>
                    <a:pt x="10" y="0"/>
                  </a:lnTo>
                  <a:lnTo>
                    <a:pt x="12" y="0"/>
                  </a:lnTo>
                  <a:lnTo>
                    <a:pt x="14" y="0"/>
                  </a:lnTo>
                  <a:lnTo>
                    <a:pt x="16" y="0"/>
                  </a:lnTo>
                  <a:lnTo>
                    <a:pt x="16" y="2"/>
                  </a:lnTo>
                  <a:lnTo>
                    <a:pt x="16" y="2"/>
                  </a:lnTo>
                  <a:lnTo>
                    <a:pt x="18" y="2"/>
                  </a:lnTo>
                  <a:lnTo>
                    <a:pt x="20" y="4"/>
                  </a:lnTo>
                  <a:lnTo>
                    <a:pt x="20" y="6"/>
                  </a:lnTo>
                  <a:lnTo>
                    <a:pt x="22" y="6"/>
                  </a:lnTo>
                  <a:lnTo>
                    <a:pt x="26" y="10"/>
                  </a:lnTo>
                  <a:lnTo>
                    <a:pt x="28" y="12"/>
                  </a:lnTo>
                  <a:lnTo>
                    <a:pt x="28" y="14"/>
                  </a:lnTo>
                  <a:lnTo>
                    <a:pt x="32" y="16"/>
                  </a:lnTo>
                  <a:lnTo>
                    <a:pt x="34" y="16"/>
                  </a:lnTo>
                  <a:lnTo>
                    <a:pt x="36" y="18"/>
                  </a:lnTo>
                  <a:lnTo>
                    <a:pt x="38" y="20"/>
                  </a:lnTo>
                  <a:lnTo>
                    <a:pt x="40" y="20"/>
                  </a:lnTo>
                  <a:lnTo>
                    <a:pt x="42" y="20"/>
                  </a:lnTo>
                  <a:lnTo>
                    <a:pt x="42" y="20"/>
                  </a:lnTo>
                  <a:lnTo>
                    <a:pt x="44" y="20"/>
                  </a:lnTo>
                  <a:lnTo>
                    <a:pt x="44" y="20"/>
                  </a:lnTo>
                  <a:lnTo>
                    <a:pt x="44" y="20"/>
                  </a:lnTo>
                  <a:lnTo>
                    <a:pt x="44" y="20"/>
                  </a:lnTo>
                  <a:lnTo>
                    <a:pt x="46" y="20"/>
                  </a:lnTo>
                  <a:lnTo>
                    <a:pt x="46" y="18"/>
                  </a:lnTo>
                  <a:lnTo>
                    <a:pt x="46" y="16"/>
                  </a:lnTo>
                  <a:lnTo>
                    <a:pt x="46" y="14"/>
                  </a:lnTo>
                  <a:lnTo>
                    <a:pt x="46" y="14"/>
                  </a:lnTo>
                  <a:lnTo>
                    <a:pt x="48" y="12"/>
                  </a:lnTo>
                  <a:lnTo>
                    <a:pt x="48" y="10"/>
                  </a:lnTo>
                  <a:lnTo>
                    <a:pt x="48" y="10"/>
                  </a:lnTo>
                  <a:lnTo>
                    <a:pt x="48" y="10"/>
                  </a:lnTo>
                  <a:lnTo>
                    <a:pt x="48" y="10"/>
                  </a:lnTo>
                  <a:lnTo>
                    <a:pt x="50" y="10"/>
                  </a:lnTo>
                  <a:lnTo>
                    <a:pt x="50" y="12"/>
                  </a:lnTo>
                  <a:lnTo>
                    <a:pt x="50" y="12"/>
                  </a:lnTo>
                  <a:lnTo>
                    <a:pt x="50" y="12"/>
                  </a:lnTo>
                  <a:lnTo>
                    <a:pt x="50" y="14"/>
                  </a:lnTo>
                  <a:lnTo>
                    <a:pt x="50" y="14"/>
                  </a:lnTo>
                  <a:lnTo>
                    <a:pt x="50" y="18"/>
                  </a:lnTo>
                  <a:lnTo>
                    <a:pt x="50" y="20"/>
                  </a:lnTo>
                  <a:lnTo>
                    <a:pt x="50" y="22"/>
                  </a:lnTo>
                  <a:lnTo>
                    <a:pt x="50" y="24"/>
                  </a:lnTo>
                  <a:lnTo>
                    <a:pt x="50" y="24"/>
                  </a:lnTo>
                  <a:lnTo>
                    <a:pt x="50" y="26"/>
                  </a:lnTo>
                  <a:lnTo>
                    <a:pt x="50" y="26"/>
                  </a:lnTo>
                  <a:lnTo>
                    <a:pt x="52" y="28"/>
                  </a:lnTo>
                  <a:lnTo>
                    <a:pt x="52" y="28"/>
                  </a:lnTo>
                  <a:lnTo>
                    <a:pt x="54" y="30"/>
                  </a:lnTo>
                  <a:lnTo>
                    <a:pt x="56" y="30"/>
                  </a:lnTo>
                  <a:lnTo>
                    <a:pt x="58" y="32"/>
                  </a:lnTo>
                  <a:lnTo>
                    <a:pt x="62" y="32"/>
                  </a:lnTo>
                  <a:lnTo>
                    <a:pt x="68" y="38"/>
                  </a:lnTo>
                  <a:lnTo>
                    <a:pt x="72" y="40"/>
                  </a:lnTo>
                  <a:lnTo>
                    <a:pt x="74" y="40"/>
                  </a:lnTo>
                  <a:lnTo>
                    <a:pt x="76" y="40"/>
                  </a:lnTo>
                  <a:lnTo>
                    <a:pt x="78" y="42"/>
                  </a:lnTo>
                  <a:lnTo>
                    <a:pt x="80" y="42"/>
                  </a:lnTo>
                  <a:lnTo>
                    <a:pt x="84" y="42"/>
                  </a:lnTo>
                  <a:lnTo>
                    <a:pt x="88" y="42"/>
                  </a:lnTo>
                  <a:lnTo>
                    <a:pt x="92" y="42"/>
                  </a:lnTo>
                  <a:lnTo>
                    <a:pt x="102" y="42"/>
                  </a:lnTo>
                  <a:lnTo>
                    <a:pt x="106" y="42"/>
                  </a:lnTo>
                  <a:lnTo>
                    <a:pt x="108" y="44"/>
                  </a:lnTo>
                  <a:lnTo>
                    <a:pt x="110" y="44"/>
                  </a:lnTo>
                  <a:lnTo>
                    <a:pt x="112" y="44"/>
                  </a:lnTo>
                  <a:lnTo>
                    <a:pt x="116" y="46"/>
                  </a:lnTo>
                  <a:lnTo>
                    <a:pt x="122" y="48"/>
                  </a:lnTo>
                  <a:lnTo>
                    <a:pt x="122" y="50"/>
                  </a:lnTo>
                  <a:lnTo>
                    <a:pt x="120" y="54"/>
                  </a:lnTo>
                  <a:lnTo>
                    <a:pt x="118" y="58"/>
                  </a:lnTo>
                  <a:lnTo>
                    <a:pt x="118" y="60"/>
                  </a:lnTo>
                  <a:lnTo>
                    <a:pt x="116" y="62"/>
                  </a:lnTo>
                  <a:lnTo>
                    <a:pt x="116" y="62"/>
                  </a:lnTo>
                  <a:lnTo>
                    <a:pt x="114" y="64"/>
                  </a:lnTo>
                  <a:lnTo>
                    <a:pt x="114" y="64"/>
                  </a:lnTo>
                  <a:lnTo>
                    <a:pt x="114" y="64"/>
                  </a:lnTo>
                  <a:lnTo>
                    <a:pt x="112" y="64"/>
                  </a:lnTo>
                  <a:lnTo>
                    <a:pt x="110" y="64"/>
                  </a:lnTo>
                  <a:lnTo>
                    <a:pt x="108" y="64"/>
                  </a:lnTo>
                  <a:lnTo>
                    <a:pt x="104" y="64"/>
                  </a:lnTo>
                  <a:lnTo>
                    <a:pt x="102" y="64"/>
                  </a:lnTo>
                  <a:lnTo>
                    <a:pt x="100" y="64"/>
                  </a:lnTo>
                  <a:lnTo>
                    <a:pt x="100" y="64"/>
                  </a:lnTo>
                  <a:lnTo>
                    <a:pt x="98" y="64"/>
                  </a:lnTo>
                  <a:lnTo>
                    <a:pt x="92" y="64"/>
                  </a:lnTo>
                  <a:lnTo>
                    <a:pt x="90" y="64"/>
                  </a:lnTo>
                  <a:lnTo>
                    <a:pt x="88" y="64"/>
                  </a:lnTo>
                  <a:lnTo>
                    <a:pt x="86" y="64"/>
                  </a:lnTo>
                  <a:lnTo>
                    <a:pt x="84" y="64"/>
                  </a:lnTo>
                  <a:lnTo>
                    <a:pt x="82" y="64"/>
                  </a:lnTo>
                  <a:lnTo>
                    <a:pt x="82" y="64"/>
                  </a:lnTo>
                  <a:lnTo>
                    <a:pt x="80" y="62"/>
                  </a:lnTo>
                  <a:lnTo>
                    <a:pt x="78" y="60"/>
                  </a:lnTo>
                  <a:lnTo>
                    <a:pt x="74" y="58"/>
                  </a:lnTo>
                  <a:lnTo>
                    <a:pt x="74" y="58"/>
                  </a:lnTo>
                  <a:lnTo>
                    <a:pt x="72" y="56"/>
                  </a:lnTo>
                  <a:lnTo>
                    <a:pt x="70" y="56"/>
                  </a:lnTo>
                  <a:lnTo>
                    <a:pt x="68" y="56"/>
                  </a:lnTo>
                  <a:lnTo>
                    <a:pt x="62" y="54"/>
                  </a:lnTo>
                  <a:lnTo>
                    <a:pt x="58" y="54"/>
                  </a:lnTo>
                  <a:lnTo>
                    <a:pt x="56" y="54"/>
                  </a:lnTo>
                  <a:lnTo>
                    <a:pt x="54" y="54"/>
                  </a:lnTo>
                  <a:lnTo>
                    <a:pt x="52" y="52"/>
                  </a:lnTo>
                  <a:lnTo>
                    <a:pt x="48" y="52"/>
                  </a:lnTo>
                  <a:lnTo>
                    <a:pt x="42" y="48"/>
                  </a:lnTo>
                  <a:lnTo>
                    <a:pt x="36" y="46"/>
                  </a:lnTo>
                  <a:lnTo>
                    <a:pt x="32" y="44"/>
                  </a:lnTo>
                  <a:lnTo>
                    <a:pt x="30" y="44"/>
                  </a:lnTo>
                  <a:lnTo>
                    <a:pt x="28" y="44"/>
                  </a:lnTo>
                  <a:lnTo>
                    <a:pt x="22" y="42"/>
                  </a:lnTo>
                  <a:lnTo>
                    <a:pt x="20" y="42"/>
                  </a:lnTo>
                  <a:lnTo>
                    <a:pt x="18" y="42"/>
                  </a:lnTo>
                  <a:lnTo>
                    <a:pt x="16" y="40"/>
                  </a:lnTo>
                  <a:lnTo>
                    <a:pt x="14" y="40"/>
                  </a:lnTo>
                  <a:lnTo>
                    <a:pt x="12" y="38"/>
                  </a:lnTo>
                  <a:lnTo>
                    <a:pt x="10" y="36"/>
                  </a:lnTo>
                  <a:lnTo>
                    <a:pt x="8" y="34"/>
                  </a:lnTo>
                  <a:lnTo>
                    <a:pt x="6" y="32"/>
                  </a:lnTo>
                  <a:lnTo>
                    <a:pt x="6" y="30"/>
                  </a:lnTo>
                  <a:lnTo>
                    <a:pt x="4" y="30"/>
                  </a:lnTo>
                  <a:lnTo>
                    <a:pt x="2" y="28"/>
                  </a:lnTo>
                  <a:lnTo>
                    <a:pt x="2" y="26"/>
                  </a:lnTo>
                  <a:lnTo>
                    <a:pt x="2" y="24"/>
                  </a:lnTo>
                  <a:lnTo>
                    <a:pt x="2" y="22"/>
                  </a:lnTo>
                  <a:lnTo>
                    <a:pt x="0" y="18"/>
                  </a:lnTo>
                  <a:lnTo>
                    <a:pt x="0" y="14"/>
                  </a:lnTo>
                  <a:lnTo>
                    <a:pt x="0" y="10"/>
                  </a:lnTo>
                  <a:lnTo>
                    <a:pt x="0" y="4"/>
                  </a:lnTo>
                  <a:lnTo>
                    <a:pt x="0"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 name="Freeform 29">
              <a:extLst>
                <a:ext uri="{FF2B5EF4-FFF2-40B4-BE49-F238E27FC236}">
                  <a16:creationId xmlns:a16="http://schemas.microsoft.com/office/drawing/2014/main" id="{B1952687-248A-459D-9533-ED7E8CF67FF5}"/>
                </a:ext>
              </a:extLst>
            </p:cNvPr>
            <p:cNvSpPr>
              <a:spLocks/>
            </p:cNvSpPr>
            <p:nvPr/>
          </p:nvSpPr>
          <p:spPr bwMode="auto">
            <a:xfrm>
              <a:off x="6243777" y="3762853"/>
              <a:ext cx="211313" cy="110853"/>
            </a:xfrm>
            <a:custGeom>
              <a:avLst/>
              <a:gdLst>
                <a:gd name="T0" fmla="*/ 2 w 122"/>
                <a:gd name="T1" fmla="*/ 0 h 64"/>
                <a:gd name="T2" fmla="*/ 12 w 122"/>
                <a:gd name="T3" fmla="*/ 0 h 64"/>
                <a:gd name="T4" fmla="*/ 16 w 122"/>
                <a:gd name="T5" fmla="*/ 2 h 64"/>
                <a:gd name="T6" fmla="*/ 20 w 122"/>
                <a:gd name="T7" fmla="*/ 4 h 64"/>
                <a:gd name="T8" fmla="*/ 26 w 122"/>
                <a:gd name="T9" fmla="*/ 10 h 64"/>
                <a:gd name="T10" fmla="*/ 32 w 122"/>
                <a:gd name="T11" fmla="*/ 16 h 64"/>
                <a:gd name="T12" fmla="*/ 38 w 122"/>
                <a:gd name="T13" fmla="*/ 20 h 64"/>
                <a:gd name="T14" fmla="*/ 42 w 122"/>
                <a:gd name="T15" fmla="*/ 20 h 64"/>
                <a:gd name="T16" fmla="*/ 44 w 122"/>
                <a:gd name="T17" fmla="*/ 20 h 64"/>
                <a:gd name="T18" fmla="*/ 46 w 122"/>
                <a:gd name="T19" fmla="*/ 18 h 64"/>
                <a:gd name="T20" fmla="*/ 46 w 122"/>
                <a:gd name="T21" fmla="*/ 14 h 64"/>
                <a:gd name="T22" fmla="*/ 48 w 122"/>
                <a:gd name="T23" fmla="*/ 10 h 64"/>
                <a:gd name="T24" fmla="*/ 50 w 122"/>
                <a:gd name="T25" fmla="*/ 10 h 64"/>
                <a:gd name="T26" fmla="*/ 50 w 122"/>
                <a:gd name="T27" fmla="*/ 12 h 64"/>
                <a:gd name="T28" fmla="*/ 50 w 122"/>
                <a:gd name="T29" fmla="*/ 18 h 64"/>
                <a:gd name="T30" fmla="*/ 50 w 122"/>
                <a:gd name="T31" fmla="*/ 24 h 64"/>
                <a:gd name="T32" fmla="*/ 50 w 122"/>
                <a:gd name="T33" fmla="*/ 26 h 64"/>
                <a:gd name="T34" fmla="*/ 54 w 122"/>
                <a:gd name="T35" fmla="*/ 30 h 64"/>
                <a:gd name="T36" fmla="*/ 62 w 122"/>
                <a:gd name="T37" fmla="*/ 32 h 64"/>
                <a:gd name="T38" fmla="*/ 74 w 122"/>
                <a:gd name="T39" fmla="*/ 40 h 64"/>
                <a:gd name="T40" fmla="*/ 80 w 122"/>
                <a:gd name="T41" fmla="*/ 42 h 64"/>
                <a:gd name="T42" fmla="*/ 92 w 122"/>
                <a:gd name="T43" fmla="*/ 42 h 64"/>
                <a:gd name="T44" fmla="*/ 108 w 122"/>
                <a:gd name="T45" fmla="*/ 44 h 64"/>
                <a:gd name="T46" fmla="*/ 116 w 122"/>
                <a:gd name="T47" fmla="*/ 46 h 64"/>
                <a:gd name="T48" fmla="*/ 120 w 122"/>
                <a:gd name="T49" fmla="*/ 54 h 64"/>
                <a:gd name="T50" fmla="*/ 116 w 122"/>
                <a:gd name="T51" fmla="*/ 62 h 64"/>
                <a:gd name="T52" fmla="*/ 114 w 122"/>
                <a:gd name="T53" fmla="*/ 64 h 64"/>
                <a:gd name="T54" fmla="*/ 110 w 122"/>
                <a:gd name="T55" fmla="*/ 64 h 64"/>
                <a:gd name="T56" fmla="*/ 102 w 122"/>
                <a:gd name="T57" fmla="*/ 64 h 64"/>
                <a:gd name="T58" fmla="*/ 98 w 122"/>
                <a:gd name="T59" fmla="*/ 64 h 64"/>
                <a:gd name="T60" fmla="*/ 88 w 122"/>
                <a:gd name="T61" fmla="*/ 64 h 64"/>
                <a:gd name="T62" fmla="*/ 82 w 122"/>
                <a:gd name="T63" fmla="*/ 64 h 64"/>
                <a:gd name="T64" fmla="*/ 78 w 122"/>
                <a:gd name="T65" fmla="*/ 60 h 64"/>
                <a:gd name="T66" fmla="*/ 72 w 122"/>
                <a:gd name="T67" fmla="*/ 56 h 64"/>
                <a:gd name="T68" fmla="*/ 62 w 122"/>
                <a:gd name="T69" fmla="*/ 54 h 64"/>
                <a:gd name="T70" fmla="*/ 54 w 122"/>
                <a:gd name="T71" fmla="*/ 54 h 64"/>
                <a:gd name="T72" fmla="*/ 42 w 122"/>
                <a:gd name="T73" fmla="*/ 48 h 64"/>
                <a:gd name="T74" fmla="*/ 30 w 122"/>
                <a:gd name="T75" fmla="*/ 44 h 64"/>
                <a:gd name="T76" fmla="*/ 20 w 122"/>
                <a:gd name="T77" fmla="*/ 42 h 64"/>
                <a:gd name="T78" fmla="*/ 14 w 122"/>
                <a:gd name="T79" fmla="*/ 40 h 64"/>
                <a:gd name="T80" fmla="*/ 8 w 122"/>
                <a:gd name="T81" fmla="*/ 34 h 64"/>
                <a:gd name="T82" fmla="*/ 4 w 122"/>
                <a:gd name="T83" fmla="*/ 30 h 64"/>
                <a:gd name="T84" fmla="*/ 2 w 122"/>
                <a:gd name="T85" fmla="*/ 24 h 64"/>
                <a:gd name="T86" fmla="*/ 0 w 122"/>
                <a:gd name="T87" fmla="*/ 14 h 64"/>
                <a:gd name="T88" fmla="*/ 0 w 122"/>
                <a:gd name="T8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2" h="64">
                  <a:moveTo>
                    <a:pt x="0" y="0"/>
                  </a:moveTo>
                  <a:lnTo>
                    <a:pt x="0" y="0"/>
                  </a:lnTo>
                  <a:lnTo>
                    <a:pt x="2" y="0"/>
                  </a:lnTo>
                  <a:lnTo>
                    <a:pt x="6" y="0"/>
                  </a:lnTo>
                  <a:lnTo>
                    <a:pt x="10" y="0"/>
                  </a:lnTo>
                  <a:lnTo>
                    <a:pt x="12" y="0"/>
                  </a:lnTo>
                  <a:lnTo>
                    <a:pt x="14" y="0"/>
                  </a:lnTo>
                  <a:lnTo>
                    <a:pt x="16" y="0"/>
                  </a:lnTo>
                  <a:lnTo>
                    <a:pt x="16" y="2"/>
                  </a:lnTo>
                  <a:lnTo>
                    <a:pt x="16" y="2"/>
                  </a:lnTo>
                  <a:lnTo>
                    <a:pt x="18" y="2"/>
                  </a:lnTo>
                  <a:lnTo>
                    <a:pt x="20" y="4"/>
                  </a:lnTo>
                  <a:lnTo>
                    <a:pt x="20" y="6"/>
                  </a:lnTo>
                  <a:lnTo>
                    <a:pt x="22" y="6"/>
                  </a:lnTo>
                  <a:lnTo>
                    <a:pt x="26" y="10"/>
                  </a:lnTo>
                  <a:lnTo>
                    <a:pt x="28" y="12"/>
                  </a:lnTo>
                  <a:lnTo>
                    <a:pt x="28" y="14"/>
                  </a:lnTo>
                  <a:lnTo>
                    <a:pt x="32" y="16"/>
                  </a:lnTo>
                  <a:lnTo>
                    <a:pt x="34" y="16"/>
                  </a:lnTo>
                  <a:lnTo>
                    <a:pt x="36" y="18"/>
                  </a:lnTo>
                  <a:lnTo>
                    <a:pt x="38" y="20"/>
                  </a:lnTo>
                  <a:lnTo>
                    <a:pt x="40" y="20"/>
                  </a:lnTo>
                  <a:lnTo>
                    <a:pt x="42" y="20"/>
                  </a:lnTo>
                  <a:lnTo>
                    <a:pt x="42" y="20"/>
                  </a:lnTo>
                  <a:lnTo>
                    <a:pt x="44" y="20"/>
                  </a:lnTo>
                  <a:lnTo>
                    <a:pt x="44" y="20"/>
                  </a:lnTo>
                  <a:lnTo>
                    <a:pt x="44" y="20"/>
                  </a:lnTo>
                  <a:lnTo>
                    <a:pt x="44" y="20"/>
                  </a:lnTo>
                  <a:lnTo>
                    <a:pt x="46" y="20"/>
                  </a:lnTo>
                  <a:lnTo>
                    <a:pt x="46" y="18"/>
                  </a:lnTo>
                  <a:lnTo>
                    <a:pt x="46" y="16"/>
                  </a:lnTo>
                  <a:lnTo>
                    <a:pt x="46" y="14"/>
                  </a:lnTo>
                  <a:lnTo>
                    <a:pt x="46" y="14"/>
                  </a:lnTo>
                  <a:lnTo>
                    <a:pt x="48" y="12"/>
                  </a:lnTo>
                  <a:lnTo>
                    <a:pt x="48" y="10"/>
                  </a:lnTo>
                  <a:lnTo>
                    <a:pt x="48" y="10"/>
                  </a:lnTo>
                  <a:lnTo>
                    <a:pt x="48" y="10"/>
                  </a:lnTo>
                  <a:lnTo>
                    <a:pt x="48" y="10"/>
                  </a:lnTo>
                  <a:lnTo>
                    <a:pt x="50" y="10"/>
                  </a:lnTo>
                  <a:lnTo>
                    <a:pt x="50" y="12"/>
                  </a:lnTo>
                  <a:lnTo>
                    <a:pt x="50" y="12"/>
                  </a:lnTo>
                  <a:lnTo>
                    <a:pt x="50" y="12"/>
                  </a:lnTo>
                  <a:lnTo>
                    <a:pt x="50" y="14"/>
                  </a:lnTo>
                  <a:lnTo>
                    <a:pt x="50" y="14"/>
                  </a:lnTo>
                  <a:lnTo>
                    <a:pt x="50" y="18"/>
                  </a:lnTo>
                  <a:lnTo>
                    <a:pt x="50" y="20"/>
                  </a:lnTo>
                  <a:lnTo>
                    <a:pt x="50" y="22"/>
                  </a:lnTo>
                  <a:lnTo>
                    <a:pt x="50" y="24"/>
                  </a:lnTo>
                  <a:lnTo>
                    <a:pt x="50" y="24"/>
                  </a:lnTo>
                  <a:lnTo>
                    <a:pt x="50" y="26"/>
                  </a:lnTo>
                  <a:lnTo>
                    <a:pt x="50" y="26"/>
                  </a:lnTo>
                  <a:lnTo>
                    <a:pt x="52" y="28"/>
                  </a:lnTo>
                  <a:lnTo>
                    <a:pt x="52" y="28"/>
                  </a:lnTo>
                  <a:lnTo>
                    <a:pt x="54" y="30"/>
                  </a:lnTo>
                  <a:lnTo>
                    <a:pt x="56" y="30"/>
                  </a:lnTo>
                  <a:lnTo>
                    <a:pt x="58" y="32"/>
                  </a:lnTo>
                  <a:lnTo>
                    <a:pt x="62" y="32"/>
                  </a:lnTo>
                  <a:lnTo>
                    <a:pt x="68" y="38"/>
                  </a:lnTo>
                  <a:lnTo>
                    <a:pt x="72" y="40"/>
                  </a:lnTo>
                  <a:lnTo>
                    <a:pt x="74" y="40"/>
                  </a:lnTo>
                  <a:lnTo>
                    <a:pt x="76" y="40"/>
                  </a:lnTo>
                  <a:lnTo>
                    <a:pt x="78" y="42"/>
                  </a:lnTo>
                  <a:lnTo>
                    <a:pt x="80" y="42"/>
                  </a:lnTo>
                  <a:lnTo>
                    <a:pt x="84" y="42"/>
                  </a:lnTo>
                  <a:lnTo>
                    <a:pt x="88" y="42"/>
                  </a:lnTo>
                  <a:lnTo>
                    <a:pt x="92" y="42"/>
                  </a:lnTo>
                  <a:lnTo>
                    <a:pt x="102" y="42"/>
                  </a:lnTo>
                  <a:lnTo>
                    <a:pt x="106" y="42"/>
                  </a:lnTo>
                  <a:lnTo>
                    <a:pt x="108" y="44"/>
                  </a:lnTo>
                  <a:lnTo>
                    <a:pt x="110" y="44"/>
                  </a:lnTo>
                  <a:lnTo>
                    <a:pt x="112" y="44"/>
                  </a:lnTo>
                  <a:lnTo>
                    <a:pt x="116" y="46"/>
                  </a:lnTo>
                  <a:lnTo>
                    <a:pt x="122" y="48"/>
                  </a:lnTo>
                  <a:lnTo>
                    <a:pt x="122" y="50"/>
                  </a:lnTo>
                  <a:lnTo>
                    <a:pt x="120" y="54"/>
                  </a:lnTo>
                  <a:lnTo>
                    <a:pt x="118" y="58"/>
                  </a:lnTo>
                  <a:lnTo>
                    <a:pt x="118" y="60"/>
                  </a:lnTo>
                  <a:lnTo>
                    <a:pt x="116" y="62"/>
                  </a:lnTo>
                  <a:lnTo>
                    <a:pt x="116" y="62"/>
                  </a:lnTo>
                  <a:lnTo>
                    <a:pt x="114" y="64"/>
                  </a:lnTo>
                  <a:lnTo>
                    <a:pt x="114" y="64"/>
                  </a:lnTo>
                  <a:lnTo>
                    <a:pt x="114" y="64"/>
                  </a:lnTo>
                  <a:lnTo>
                    <a:pt x="112" y="64"/>
                  </a:lnTo>
                  <a:lnTo>
                    <a:pt x="110" y="64"/>
                  </a:lnTo>
                  <a:lnTo>
                    <a:pt x="108" y="64"/>
                  </a:lnTo>
                  <a:lnTo>
                    <a:pt x="104" y="64"/>
                  </a:lnTo>
                  <a:lnTo>
                    <a:pt x="102" y="64"/>
                  </a:lnTo>
                  <a:lnTo>
                    <a:pt x="100" y="64"/>
                  </a:lnTo>
                  <a:lnTo>
                    <a:pt x="100" y="64"/>
                  </a:lnTo>
                  <a:lnTo>
                    <a:pt x="98" y="64"/>
                  </a:lnTo>
                  <a:lnTo>
                    <a:pt x="92" y="64"/>
                  </a:lnTo>
                  <a:lnTo>
                    <a:pt x="90" y="64"/>
                  </a:lnTo>
                  <a:lnTo>
                    <a:pt x="88" y="64"/>
                  </a:lnTo>
                  <a:lnTo>
                    <a:pt x="86" y="64"/>
                  </a:lnTo>
                  <a:lnTo>
                    <a:pt x="84" y="64"/>
                  </a:lnTo>
                  <a:lnTo>
                    <a:pt x="82" y="64"/>
                  </a:lnTo>
                  <a:lnTo>
                    <a:pt x="82" y="64"/>
                  </a:lnTo>
                  <a:lnTo>
                    <a:pt x="80" y="62"/>
                  </a:lnTo>
                  <a:lnTo>
                    <a:pt x="78" y="60"/>
                  </a:lnTo>
                  <a:lnTo>
                    <a:pt x="74" y="58"/>
                  </a:lnTo>
                  <a:lnTo>
                    <a:pt x="74" y="58"/>
                  </a:lnTo>
                  <a:lnTo>
                    <a:pt x="72" y="56"/>
                  </a:lnTo>
                  <a:lnTo>
                    <a:pt x="70" y="56"/>
                  </a:lnTo>
                  <a:lnTo>
                    <a:pt x="68" y="56"/>
                  </a:lnTo>
                  <a:lnTo>
                    <a:pt x="62" y="54"/>
                  </a:lnTo>
                  <a:lnTo>
                    <a:pt x="58" y="54"/>
                  </a:lnTo>
                  <a:lnTo>
                    <a:pt x="56" y="54"/>
                  </a:lnTo>
                  <a:lnTo>
                    <a:pt x="54" y="54"/>
                  </a:lnTo>
                  <a:lnTo>
                    <a:pt x="52" y="52"/>
                  </a:lnTo>
                  <a:lnTo>
                    <a:pt x="48" y="52"/>
                  </a:lnTo>
                  <a:lnTo>
                    <a:pt x="42" y="48"/>
                  </a:lnTo>
                  <a:lnTo>
                    <a:pt x="36" y="46"/>
                  </a:lnTo>
                  <a:lnTo>
                    <a:pt x="32" y="44"/>
                  </a:lnTo>
                  <a:lnTo>
                    <a:pt x="30" y="44"/>
                  </a:lnTo>
                  <a:lnTo>
                    <a:pt x="28" y="44"/>
                  </a:lnTo>
                  <a:lnTo>
                    <a:pt x="22" y="42"/>
                  </a:lnTo>
                  <a:lnTo>
                    <a:pt x="20" y="42"/>
                  </a:lnTo>
                  <a:lnTo>
                    <a:pt x="18" y="42"/>
                  </a:lnTo>
                  <a:lnTo>
                    <a:pt x="16" y="40"/>
                  </a:lnTo>
                  <a:lnTo>
                    <a:pt x="14" y="40"/>
                  </a:lnTo>
                  <a:lnTo>
                    <a:pt x="12" y="38"/>
                  </a:lnTo>
                  <a:lnTo>
                    <a:pt x="10" y="36"/>
                  </a:lnTo>
                  <a:lnTo>
                    <a:pt x="8" y="34"/>
                  </a:lnTo>
                  <a:lnTo>
                    <a:pt x="6" y="32"/>
                  </a:lnTo>
                  <a:lnTo>
                    <a:pt x="6" y="30"/>
                  </a:lnTo>
                  <a:lnTo>
                    <a:pt x="4" y="30"/>
                  </a:lnTo>
                  <a:lnTo>
                    <a:pt x="2" y="28"/>
                  </a:lnTo>
                  <a:lnTo>
                    <a:pt x="2" y="26"/>
                  </a:lnTo>
                  <a:lnTo>
                    <a:pt x="2" y="24"/>
                  </a:lnTo>
                  <a:lnTo>
                    <a:pt x="2" y="22"/>
                  </a:lnTo>
                  <a:lnTo>
                    <a:pt x="0" y="18"/>
                  </a:lnTo>
                  <a:lnTo>
                    <a:pt x="0" y="14"/>
                  </a:lnTo>
                  <a:lnTo>
                    <a:pt x="0" y="10"/>
                  </a:lnTo>
                  <a:lnTo>
                    <a:pt x="0" y="4"/>
                  </a:lnTo>
                  <a:lnTo>
                    <a:pt x="0" y="0"/>
                  </a:lnTo>
                </a:path>
              </a:pathLst>
            </a:custGeom>
            <a:grp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 name="Freeform 30">
              <a:extLst>
                <a:ext uri="{FF2B5EF4-FFF2-40B4-BE49-F238E27FC236}">
                  <a16:creationId xmlns:a16="http://schemas.microsoft.com/office/drawing/2014/main" id="{8FD3081F-A5AF-49F0-B408-EDC43E3BA4A6}"/>
                </a:ext>
              </a:extLst>
            </p:cNvPr>
            <p:cNvSpPr>
              <a:spLocks/>
            </p:cNvSpPr>
            <p:nvPr/>
          </p:nvSpPr>
          <p:spPr bwMode="auto">
            <a:xfrm>
              <a:off x="6243777" y="3762853"/>
              <a:ext cx="211313" cy="110853"/>
            </a:xfrm>
            <a:custGeom>
              <a:avLst/>
              <a:gdLst>
                <a:gd name="T0" fmla="*/ 2 w 122"/>
                <a:gd name="T1" fmla="*/ 0 h 64"/>
                <a:gd name="T2" fmla="*/ 12 w 122"/>
                <a:gd name="T3" fmla="*/ 0 h 64"/>
                <a:gd name="T4" fmla="*/ 16 w 122"/>
                <a:gd name="T5" fmla="*/ 2 h 64"/>
                <a:gd name="T6" fmla="*/ 20 w 122"/>
                <a:gd name="T7" fmla="*/ 4 h 64"/>
                <a:gd name="T8" fmla="*/ 26 w 122"/>
                <a:gd name="T9" fmla="*/ 10 h 64"/>
                <a:gd name="T10" fmla="*/ 32 w 122"/>
                <a:gd name="T11" fmla="*/ 16 h 64"/>
                <a:gd name="T12" fmla="*/ 38 w 122"/>
                <a:gd name="T13" fmla="*/ 20 h 64"/>
                <a:gd name="T14" fmla="*/ 42 w 122"/>
                <a:gd name="T15" fmla="*/ 20 h 64"/>
                <a:gd name="T16" fmla="*/ 44 w 122"/>
                <a:gd name="T17" fmla="*/ 20 h 64"/>
                <a:gd name="T18" fmla="*/ 46 w 122"/>
                <a:gd name="T19" fmla="*/ 18 h 64"/>
                <a:gd name="T20" fmla="*/ 46 w 122"/>
                <a:gd name="T21" fmla="*/ 14 h 64"/>
                <a:gd name="T22" fmla="*/ 48 w 122"/>
                <a:gd name="T23" fmla="*/ 10 h 64"/>
                <a:gd name="T24" fmla="*/ 50 w 122"/>
                <a:gd name="T25" fmla="*/ 10 h 64"/>
                <a:gd name="T26" fmla="*/ 50 w 122"/>
                <a:gd name="T27" fmla="*/ 12 h 64"/>
                <a:gd name="T28" fmla="*/ 50 w 122"/>
                <a:gd name="T29" fmla="*/ 18 h 64"/>
                <a:gd name="T30" fmla="*/ 50 w 122"/>
                <a:gd name="T31" fmla="*/ 24 h 64"/>
                <a:gd name="T32" fmla="*/ 50 w 122"/>
                <a:gd name="T33" fmla="*/ 26 h 64"/>
                <a:gd name="T34" fmla="*/ 54 w 122"/>
                <a:gd name="T35" fmla="*/ 30 h 64"/>
                <a:gd name="T36" fmla="*/ 62 w 122"/>
                <a:gd name="T37" fmla="*/ 32 h 64"/>
                <a:gd name="T38" fmla="*/ 74 w 122"/>
                <a:gd name="T39" fmla="*/ 40 h 64"/>
                <a:gd name="T40" fmla="*/ 80 w 122"/>
                <a:gd name="T41" fmla="*/ 42 h 64"/>
                <a:gd name="T42" fmla="*/ 92 w 122"/>
                <a:gd name="T43" fmla="*/ 42 h 64"/>
                <a:gd name="T44" fmla="*/ 108 w 122"/>
                <a:gd name="T45" fmla="*/ 44 h 64"/>
                <a:gd name="T46" fmla="*/ 116 w 122"/>
                <a:gd name="T47" fmla="*/ 46 h 64"/>
                <a:gd name="T48" fmla="*/ 120 w 122"/>
                <a:gd name="T49" fmla="*/ 54 h 64"/>
                <a:gd name="T50" fmla="*/ 116 w 122"/>
                <a:gd name="T51" fmla="*/ 62 h 64"/>
                <a:gd name="T52" fmla="*/ 114 w 122"/>
                <a:gd name="T53" fmla="*/ 64 h 64"/>
                <a:gd name="T54" fmla="*/ 110 w 122"/>
                <a:gd name="T55" fmla="*/ 64 h 64"/>
                <a:gd name="T56" fmla="*/ 102 w 122"/>
                <a:gd name="T57" fmla="*/ 64 h 64"/>
                <a:gd name="T58" fmla="*/ 98 w 122"/>
                <a:gd name="T59" fmla="*/ 64 h 64"/>
                <a:gd name="T60" fmla="*/ 88 w 122"/>
                <a:gd name="T61" fmla="*/ 64 h 64"/>
                <a:gd name="T62" fmla="*/ 82 w 122"/>
                <a:gd name="T63" fmla="*/ 64 h 64"/>
                <a:gd name="T64" fmla="*/ 78 w 122"/>
                <a:gd name="T65" fmla="*/ 60 h 64"/>
                <a:gd name="T66" fmla="*/ 72 w 122"/>
                <a:gd name="T67" fmla="*/ 56 h 64"/>
                <a:gd name="T68" fmla="*/ 62 w 122"/>
                <a:gd name="T69" fmla="*/ 54 h 64"/>
                <a:gd name="T70" fmla="*/ 54 w 122"/>
                <a:gd name="T71" fmla="*/ 54 h 64"/>
                <a:gd name="T72" fmla="*/ 42 w 122"/>
                <a:gd name="T73" fmla="*/ 48 h 64"/>
                <a:gd name="T74" fmla="*/ 30 w 122"/>
                <a:gd name="T75" fmla="*/ 44 h 64"/>
                <a:gd name="T76" fmla="*/ 20 w 122"/>
                <a:gd name="T77" fmla="*/ 42 h 64"/>
                <a:gd name="T78" fmla="*/ 14 w 122"/>
                <a:gd name="T79" fmla="*/ 40 h 64"/>
                <a:gd name="T80" fmla="*/ 8 w 122"/>
                <a:gd name="T81" fmla="*/ 34 h 64"/>
                <a:gd name="T82" fmla="*/ 4 w 122"/>
                <a:gd name="T83" fmla="*/ 30 h 64"/>
                <a:gd name="T84" fmla="*/ 2 w 122"/>
                <a:gd name="T85" fmla="*/ 24 h 64"/>
                <a:gd name="T86" fmla="*/ 0 w 122"/>
                <a:gd name="T87" fmla="*/ 14 h 64"/>
                <a:gd name="T88" fmla="*/ 0 w 122"/>
                <a:gd name="T8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2" h="64">
                  <a:moveTo>
                    <a:pt x="0" y="0"/>
                  </a:moveTo>
                  <a:lnTo>
                    <a:pt x="0" y="0"/>
                  </a:lnTo>
                  <a:lnTo>
                    <a:pt x="2" y="0"/>
                  </a:lnTo>
                  <a:lnTo>
                    <a:pt x="6" y="0"/>
                  </a:lnTo>
                  <a:lnTo>
                    <a:pt x="10" y="0"/>
                  </a:lnTo>
                  <a:lnTo>
                    <a:pt x="12" y="0"/>
                  </a:lnTo>
                  <a:lnTo>
                    <a:pt x="14" y="0"/>
                  </a:lnTo>
                  <a:lnTo>
                    <a:pt x="16" y="0"/>
                  </a:lnTo>
                  <a:lnTo>
                    <a:pt x="16" y="2"/>
                  </a:lnTo>
                  <a:lnTo>
                    <a:pt x="16" y="2"/>
                  </a:lnTo>
                  <a:lnTo>
                    <a:pt x="18" y="2"/>
                  </a:lnTo>
                  <a:lnTo>
                    <a:pt x="20" y="4"/>
                  </a:lnTo>
                  <a:lnTo>
                    <a:pt x="20" y="6"/>
                  </a:lnTo>
                  <a:lnTo>
                    <a:pt x="22" y="6"/>
                  </a:lnTo>
                  <a:lnTo>
                    <a:pt x="26" y="10"/>
                  </a:lnTo>
                  <a:lnTo>
                    <a:pt x="28" y="12"/>
                  </a:lnTo>
                  <a:lnTo>
                    <a:pt x="28" y="14"/>
                  </a:lnTo>
                  <a:lnTo>
                    <a:pt x="32" y="16"/>
                  </a:lnTo>
                  <a:lnTo>
                    <a:pt x="34" y="16"/>
                  </a:lnTo>
                  <a:lnTo>
                    <a:pt x="36" y="18"/>
                  </a:lnTo>
                  <a:lnTo>
                    <a:pt x="38" y="20"/>
                  </a:lnTo>
                  <a:lnTo>
                    <a:pt x="40" y="20"/>
                  </a:lnTo>
                  <a:lnTo>
                    <a:pt x="42" y="20"/>
                  </a:lnTo>
                  <a:lnTo>
                    <a:pt x="42" y="20"/>
                  </a:lnTo>
                  <a:lnTo>
                    <a:pt x="44" y="20"/>
                  </a:lnTo>
                  <a:lnTo>
                    <a:pt x="44" y="20"/>
                  </a:lnTo>
                  <a:lnTo>
                    <a:pt x="44" y="20"/>
                  </a:lnTo>
                  <a:lnTo>
                    <a:pt x="44" y="20"/>
                  </a:lnTo>
                  <a:lnTo>
                    <a:pt x="46" y="20"/>
                  </a:lnTo>
                  <a:lnTo>
                    <a:pt x="46" y="18"/>
                  </a:lnTo>
                  <a:lnTo>
                    <a:pt x="46" y="16"/>
                  </a:lnTo>
                  <a:lnTo>
                    <a:pt x="46" y="14"/>
                  </a:lnTo>
                  <a:lnTo>
                    <a:pt x="46" y="14"/>
                  </a:lnTo>
                  <a:lnTo>
                    <a:pt x="48" y="12"/>
                  </a:lnTo>
                  <a:lnTo>
                    <a:pt x="48" y="10"/>
                  </a:lnTo>
                  <a:lnTo>
                    <a:pt x="48" y="10"/>
                  </a:lnTo>
                  <a:lnTo>
                    <a:pt x="48" y="10"/>
                  </a:lnTo>
                  <a:lnTo>
                    <a:pt x="48" y="10"/>
                  </a:lnTo>
                  <a:lnTo>
                    <a:pt x="50" y="10"/>
                  </a:lnTo>
                  <a:lnTo>
                    <a:pt x="50" y="12"/>
                  </a:lnTo>
                  <a:lnTo>
                    <a:pt x="50" y="12"/>
                  </a:lnTo>
                  <a:lnTo>
                    <a:pt x="50" y="12"/>
                  </a:lnTo>
                  <a:lnTo>
                    <a:pt x="50" y="14"/>
                  </a:lnTo>
                  <a:lnTo>
                    <a:pt x="50" y="14"/>
                  </a:lnTo>
                  <a:lnTo>
                    <a:pt x="50" y="18"/>
                  </a:lnTo>
                  <a:lnTo>
                    <a:pt x="50" y="20"/>
                  </a:lnTo>
                  <a:lnTo>
                    <a:pt x="50" y="22"/>
                  </a:lnTo>
                  <a:lnTo>
                    <a:pt x="50" y="24"/>
                  </a:lnTo>
                  <a:lnTo>
                    <a:pt x="50" y="24"/>
                  </a:lnTo>
                  <a:lnTo>
                    <a:pt x="50" y="26"/>
                  </a:lnTo>
                  <a:lnTo>
                    <a:pt x="50" y="26"/>
                  </a:lnTo>
                  <a:lnTo>
                    <a:pt x="52" y="28"/>
                  </a:lnTo>
                  <a:lnTo>
                    <a:pt x="52" y="28"/>
                  </a:lnTo>
                  <a:lnTo>
                    <a:pt x="54" y="30"/>
                  </a:lnTo>
                  <a:lnTo>
                    <a:pt x="56" y="30"/>
                  </a:lnTo>
                  <a:lnTo>
                    <a:pt x="58" y="32"/>
                  </a:lnTo>
                  <a:lnTo>
                    <a:pt x="62" y="32"/>
                  </a:lnTo>
                  <a:lnTo>
                    <a:pt x="68" y="38"/>
                  </a:lnTo>
                  <a:lnTo>
                    <a:pt x="72" y="40"/>
                  </a:lnTo>
                  <a:lnTo>
                    <a:pt x="74" y="40"/>
                  </a:lnTo>
                  <a:lnTo>
                    <a:pt x="76" y="40"/>
                  </a:lnTo>
                  <a:lnTo>
                    <a:pt x="78" y="42"/>
                  </a:lnTo>
                  <a:lnTo>
                    <a:pt x="80" y="42"/>
                  </a:lnTo>
                  <a:lnTo>
                    <a:pt x="84" y="42"/>
                  </a:lnTo>
                  <a:lnTo>
                    <a:pt x="88" y="42"/>
                  </a:lnTo>
                  <a:lnTo>
                    <a:pt x="92" y="42"/>
                  </a:lnTo>
                  <a:lnTo>
                    <a:pt x="102" y="42"/>
                  </a:lnTo>
                  <a:lnTo>
                    <a:pt x="106" y="42"/>
                  </a:lnTo>
                  <a:lnTo>
                    <a:pt x="108" y="44"/>
                  </a:lnTo>
                  <a:lnTo>
                    <a:pt x="110" y="44"/>
                  </a:lnTo>
                  <a:lnTo>
                    <a:pt x="112" y="44"/>
                  </a:lnTo>
                  <a:lnTo>
                    <a:pt x="116" y="46"/>
                  </a:lnTo>
                  <a:lnTo>
                    <a:pt x="122" y="48"/>
                  </a:lnTo>
                  <a:lnTo>
                    <a:pt x="122" y="50"/>
                  </a:lnTo>
                  <a:lnTo>
                    <a:pt x="120" y="54"/>
                  </a:lnTo>
                  <a:lnTo>
                    <a:pt x="118" y="58"/>
                  </a:lnTo>
                  <a:lnTo>
                    <a:pt x="118" y="60"/>
                  </a:lnTo>
                  <a:lnTo>
                    <a:pt x="116" y="62"/>
                  </a:lnTo>
                  <a:lnTo>
                    <a:pt x="116" y="62"/>
                  </a:lnTo>
                  <a:lnTo>
                    <a:pt x="114" y="64"/>
                  </a:lnTo>
                  <a:lnTo>
                    <a:pt x="114" y="64"/>
                  </a:lnTo>
                  <a:lnTo>
                    <a:pt x="114" y="64"/>
                  </a:lnTo>
                  <a:lnTo>
                    <a:pt x="112" y="64"/>
                  </a:lnTo>
                  <a:lnTo>
                    <a:pt x="110" y="64"/>
                  </a:lnTo>
                  <a:lnTo>
                    <a:pt x="108" y="64"/>
                  </a:lnTo>
                  <a:lnTo>
                    <a:pt x="104" y="64"/>
                  </a:lnTo>
                  <a:lnTo>
                    <a:pt x="102" y="64"/>
                  </a:lnTo>
                  <a:lnTo>
                    <a:pt x="100" y="64"/>
                  </a:lnTo>
                  <a:lnTo>
                    <a:pt x="100" y="64"/>
                  </a:lnTo>
                  <a:lnTo>
                    <a:pt x="98" y="64"/>
                  </a:lnTo>
                  <a:lnTo>
                    <a:pt x="92" y="64"/>
                  </a:lnTo>
                  <a:lnTo>
                    <a:pt x="90" y="64"/>
                  </a:lnTo>
                  <a:lnTo>
                    <a:pt x="88" y="64"/>
                  </a:lnTo>
                  <a:lnTo>
                    <a:pt x="86" y="64"/>
                  </a:lnTo>
                  <a:lnTo>
                    <a:pt x="84" y="64"/>
                  </a:lnTo>
                  <a:lnTo>
                    <a:pt x="82" y="64"/>
                  </a:lnTo>
                  <a:lnTo>
                    <a:pt x="82" y="64"/>
                  </a:lnTo>
                  <a:lnTo>
                    <a:pt x="80" y="62"/>
                  </a:lnTo>
                  <a:lnTo>
                    <a:pt x="78" y="60"/>
                  </a:lnTo>
                  <a:lnTo>
                    <a:pt x="74" y="58"/>
                  </a:lnTo>
                  <a:lnTo>
                    <a:pt x="74" y="58"/>
                  </a:lnTo>
                  <a:lnTo>
                    <a:pt x="72" y="56"/>
                  </a:lnTo>
                  <a:lnTo>
                    <a:pt x="70" y="56"/>
                  </a:lnTo>
                  <a:lnTo>
                    <a:pt x="68" y="56"/>
                  </a:lnTo>
                  <a:lnTo>
                    <a:pt x="62" y="54"/>
                  </a:lnTo>
                  <a:lnTo>
                    <a:pt x="58" y="54"/>
                  </a:lnTo>
                  <a:lnTo>
                    <a:pt x="56" y="54"/>
                  </a:lnTo>
                  <a:lnTo>
                    <a:pt x="54" y="54"/>
                  </a:lnTo>
                  <a:lnTo>
                    <a:pt x="52" y="52"/>
                  </a:lnTo>
                  <a:lnTo>
                    <a:pt x="48" y="52"/>
                  </a:lnTo>
                  <a:lnTo>
                    <a:pt x="42" y="48"/>
                  </a:lnTo>
                  <a:lnTo>
                    <a:pt x="36" y="46"/>
                  </a:lnTo>
                  <a:lnTo>
                    <a:pt x="32" y="44"/>
                  </a:lnTo>
                  <a:lnTo>
                    <a:pt x="30" y="44"/>
                  </a:lnTo>
                  <a:lnTo>
                    <a:pt x="28" y="44"/>
                  </a:lnTo>
                  <a:lnTo>
                    <a:pt x="22" y="42"/>
                  </a:lnTo>
                  <a:lnTo>
                    <a:pt x="20" y="42"/>
                  </a:lnTo>
                  <a:lnTo>
                    <a:pt x="18" y="42"/>
                  </a:lnTo>
                  <a:lnTo>
                    <a:pt x="16" y="40"/>
                  </a:lnTo>
                  <a:lnTo>
                    <a:pt x="14" y="40"/>
                  </a:lnTo>
                  <a:lnTo>
                    <a:pt x="12" y="38"/>
                  </a:lnTo>
                  <a:lnTo>
                    <a:pt x="10" y="36"/>
                  </a:lnTo>
                  <a:lnTo>
                    <a:pt x="8" y="34"/>
                  </a:lnTo>
                  <a:lnTo>
                    <a:pt x="6" y="32"/>
                  </a:lnTo>
                  <a:lnTo>
                    <a:pt x="6" y="30"/>
                  </a:lnTo>
                  <a:lnTo>
                    <a:pt x="4" y="30"/>
                  </a:lnTo>
                  <a:lnTo>
                    <a:pt x="2" y="28"/>
                  </a:lnTo>
                  <a:lnTo>
                    <a:pt x="2" y="26"/>
                  </a:lnTo>
                  <a:lnTo>
                    <a:pt x="2" y="24"/>
                  </a:lnTo>
                  <a:lnTo>
                    <a:pt x="2" y="22"/>
                  </a:lnTo>
                  <a:lnTo>
                    <a:pt x="0" y="18"/>
                  </a:lnTo>
                  <a:lnTo>
                    <a:pt x="0" y="14"/>
                  </a:lnTo>
                  <a:lnTo>
                    <a:pt x="0" y="10"/>
                  </a:lnTo>
                  <a:lnTo>
                    <a:pt x="0" y="4"/>
                  </a:lnTo>
                  <a:lnTo>
                    <a:pt x="0" y="0"/>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 name="Freeform 31">
              <a:extLst>
                <a:ext uri="{FF2B5EF4-FFF2-40B4-BE49-F238E27FC236}">
                  <a16:creationId xmlns:a16="http://schemas.microsoft.com/office/drawing/2014/main" id="{7051502D-C86C-4A96-B0B6-935966C44119}"/>
                </a:ext>
              </a:extLst>
            </p:cNvPr>
            <p:cNvSpPr>
              <a:spLocks/>
            </p:cNvSpPr>
            <p:nvPr/>
          </p:nvSpPr>
          <p:spPr bwMode="auto">
            <a:xfrm>
              <a:off x="6704509" y="4029592"/>
              <a:ext cx="200921" cy="346415"/>
            </a:xfrm>
            <a:custGeom>
              <a:avLst/>
              <a:gdLst>
                <a:gd name="T0" fmla="*/ 20 w 116"/>
                <a:gd name="T1" fmla="*/ 172 h 200"/>
                <a:gd name="T2" fmla="*/ 26 w 116"/>
                <a:gd name="T3" fmla="*/ 162 h 200"/>
                <a:gd name="T4" fmla="*/ 30 w 116"/>
                <a:gd name="T5" fmla="*/ 152 h 200"/>
                <a:gd name="T6" fmla="*/ 30 w 116"/>
                <a:gd name="T7" fmla="*/ 148 h 200"/>
                <a:gd name="T8" fmla="*/ 28 w 116"/>
                <a:gd name="T9" fmla="*/ 144 h 200"/>
                <a:gd name="T10" fmla="*/ 20 w 116"/>
                <a:gd name="T11" fmla="*/ 138 h 200"/>
                <a:gd name="T12" fmla="*/ 16 w 116"/>
                <a:gd name="T13" fmla="*/ 132 h 200"/>
                <a:gd name="T14" fmla="*/ 14 w 116"/>
                <a:gd name="T15" fmla="*/ 118 h 200"/>
                <a:gd name="T16" fmla="*/ 12 w 116"/>
                <a:gd name="T17" fmla="*/ 104 h 200"/>
                <a:gd name="T18" fmla="*/ 14 w 116"/>
                <a:gd name="T19" fmla="*/ 88 h 200"/>
                <a:gd name="T20" fmla="*/ 16 w 116"/>
                <a:gd name="T21" fmla="*/ 80 h 200"/>
                <a:gd name="T22" fmla="*/ 14 w 116"/>
                <a:gd name="T23" fmla="*/ 76 h 200"/>
                <a:gd name="T24" fmla="*/ 6 w 116"/>
                <a:gd name="T25" fmla="*/ 66 h 200"/>
                <a:gd name="T26" fmla="*/ 0 w 116"/>
                <a:gd name="T27" fmla="*/ 56 h 200"/>
                <a:gd name="T28" fmla="*/ 0 w 116"/>
                <a:gd name="T29" fmla="*/ 44 h 200"/>
                <a:gd name="T30" fmla="*/ 0 w 116"/>
                <a:gd name="T31" fmla="*/ 32 h 200"/>
                <a:gd name="T32" fmla="*/ 2 w 116"/>
                <a:gd name="T33" fmla="*/ 28 h 200"/>
                <a:gd name="T34" fmla="*/ 6 w 116"/>
                <a:gd name="T35" fmla="*/ 24 h 200"/>
                <a:gd name="T36" fmla="*/ 16 w 116"/>
                <a:gd name="T37" fmla="*/ 22 h 200"/>
                <a:gd name="T38" fmla="*/ 24 w 116"/>
                <a:gd name="T39" fmla="*/ 14 h 200"/>
                <a:gd name="T40" fmla="*/ 30 w 116"/>
                <a:gd name="T41" fmla="*/ 6 h 200"/>
                <a:gd name="T42" fmla="*/ 36 w 116"/>
                <a:gd name="T43" fmla="*/ 16 h 200"/>
                <a:gd name="T44" fmla="*/ 38 w 116"/>
                <a:gd name="T45" fmla="*/ 26 h 200"/>
                <a:gd name="T46" fmla="*/ 42 w 116"/>
                <a:gd name="T47" fmla="*/ 30 h 200"/>
                <a:gd name="T48" fmla="*/ 48 w 116"/>
                <a:gd name="T49" fmla="*/ 36 h 200"/>
                <a:gd name="T50" fmla="*/ 56 w 116"/>
                <a:gd name="T51" fmla="*/ 38 h 200"/>
                <a:gd name="T52" fmla="*/ 64 w 116"/>
                <a:gd name="T53" fmla="*/ 50 h 200"/>
                <a:gd name="T54" fmla="*/ 68 w 116"/>
                <a:gd name="T55" fmla="*/ 56 h 200"/>
                <a:gd name="T56" fmla="*/ 72 w 116"/>
                <a:gd name="T57" fmla="*/ 58 h 200"/>
                <a:gd name="T58" fmla="*/ 76 w 116"/>
                <a:gd name="T59" fmla="*/ 54 h 200"/>
                <a:gd name="T60" fmla="*/ 80 w 116"/>
                <a:gd name="T61" fmla="*/ 48 h 200"/>
                <a:gd name="T62" fmla="*/ 84 w 116"/>
                <a:gd name="T63" fmla="*/ 48 h 200"/>
                <a:gd name="T64" fmla="*/ 88 w 116"/>
                <a:gd name="T65" fmla="*/ 50 h 200"/>
                <a:gd name="T66" fmla="*/ 94 w 116"/>
                <a:gd name="T67" fmla="*/ 60 h 200"/>
                <a:gd name="T68" fmla="*/ 100 w 116"/>
                <a:gd name="T69" fmla="*/ 76 h 200"/>
                <a:gd name="T70" fmla="*/ 104 w 116"/>
                <a:gd name="T71" fmla="*/ 88 h 200"/>
                <a:gd name="T72" fmla="*/ 108 w 116"/>
                <a:gd name="T73" fmla="*/ 92 h 200"/>
                <a:gd name="T74" fmla="*/ 114 w 116"/>
                <a:gd name="T75" fmla="*/ 92 h 200"/>
                <a:gd name="T76" fmla="*/ 116 w 116"/>
                <a:gd name="T77" fmla="*/ 96 h 200"/>
                <a:gd name="T78" fmla="*/ 116 w 116"/>
                <a:gd name="T79" fmla="*/ 102 h 200"/>
                <a:gd name="T80" fmla="*/ 114 w 116"/>
                <a:gd name="T81" fmla="*/ 118 h 200"/>
                <a:gd name="T82" fmla="*/ 104 w 116"/>
                <a:gd name="T83" fmla="*/ 120 h 200"/>
                <a:gd name="T84" fmla="*/ 98 w 116"/>
                <a:gd name="T85" fmla="*/ 120 h 200"/>
                <a:gd name="T86" fmla="*/ 92 w 116"/>
                <a:gd name="T87" fmla="*/ 114 h 200"/>
                <a:gd name="T88" fmla="*/ 88 w 116"/>
                <a:gd name="T89" fmla="*/ 112 h 200"/>
                <a:gd name="T90" fmla="*/ 84 w 116"/>
                <a:gd name="T91" fmla="*/ 112 h 200"/>
                <a:gd name="T92" fmla="*/ 78 w 116"/>
                <a:gd name="T93" fmla="*/ 116 h 200"/>
                <a:gd name="T94" fmla="*/ 70 w 116"/>
                <a:gd name="T95" fmla="*/ 126 h 200"/>
                <a:gd name="T96" fmla="*/ 66 w 116"/>
                <a:gd name="T97" fmla="*/ 140 h 200"/>
                <a:gd name="T98" fmla="*/ 58 w 116"/>
                <a:gd name="T99" fmla="*/ 140 h 200"/>
                <a:gd name="T100" fmla="*/ 52 w 116"/>
                <a:gd name="T101" fmla="*/ 140 h 200"/>
                <a:gd name="T102" fmla="*/ 48 w 116"/>
                <a:gd name="T103" fmla="*/ 142 h 200"/>
                <a:gd name="T104" fmla="*/ 44 w 116"/>
                <a:gd name="T105" fmla="*/ 150 h 200"/>
                <a:gd name="T106" fmla="*/ 40 w 116"/>
                <a:gd name="T107" fmla="*/ 164 h 200"/>
                <a:gd name="T108" fmla="*/ 40 w 116"/>
                <a:gd name="T109" fmla="*/ 172 h 200"/>
                <a:gd name="T110" fmla="*/ 46 w 116"/>
                <a:gd name="T111" fmla="*/ 180 h 200"/>
                <a:gd name="T112" fmla="*/ 32 w 116"/>
                <a:gd name="T113" fmla="*/ 196 h 200"/>
                <a:gd name="T114" fmla="*/ 22 w 116"/>
                <a:gd name="T115" fmla="*/ 18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6" h="200">
                  <a:moveTo>
                    <a:pt x="14" y="180"/>
                  </a:moveTo>
                  <a:lnTo>
                    <a:pt x="14" y="180"/>
                  </a:lnTo>
                  <a:lnTo>
                    <a:pt x="16" y="174"/>
                  </a:lnTo>
                  <a:lnTo>
                    <a:pt x="20" y="172"/>
                  </a:lnTo>
                  <a:lnTo>
                    <a:pt x="20" y="168"/>
                  </a:lnTo>
                  <a:lnTo>
                    <a:pt x="22" y="166"/>
                  </a:lnTo>
                  <a:lnTo>
                    <a:pt x="24" y="164"/>
                  </a:lnTo>
                  <a:lnTo>
                    <a:pt x="26" y="162"/>
                  </a:lnTo>
                  <a:lnTo>
                    <a:pt x="28" y="158"/>
                  </a:lnTo>
                  <a:lnTo>
                    <a:pt x="28" y="156"/>
                  </a:lnTo>
                  <a:lnTo>
                    <a:pt x="30" y="154"/>
                  </a:lnTo>
                  <a:lnTo>
                    <a:pt x="30" y="152"/>
                  </a:lnTo>
                  <a:lnTo>
                    <a:pt x="30" y="152"/>
                  </a:lnTo>
                  <a:lnTo>
                    <a:pt x="30" y="150"/>
                  </a:lnTo>
                  <a:lnTo>
                    <a:pt x="30" y="148"/>
                  </a:lnTo>
                  <a:lnTo>
                    <a:pt x="30" y="148"/>
                  </a:lnTo>
                  <a:lnTo>
                    <a:pt x="30" y="146"/>
                  </a:lnTo>
                  <a:lnTo>
                    <a:pt x="30" y="146"/>
                  </a:lnTo>
                  <a:lnTo>
                    <a:pt x="30" y="146"/>
                  </a:lnTo>
                  <a:lnTo>
                    <a:pt x="28" y="144"/>
                  </a:lnTo>
                  <a:lnTo>
                    <a:pt x="26" y="144"/>
                  </a:lnTo>
                  <a:lnTo>
                    <a:pt x="24" y="142"/>
                  </a:lnTo>
                  <a:lnTo>
                    <a:pt x="20" y="138"/>
                  </a:lnTo>
                  <a:lnTo>
                    <a:pt x="20" y="138"/>
                  </a:lnTo>
                  <a:lnTo>
                    <a:pt x="18" y="136"/>
                  </a:lnTo>
                  <a:lnTo>
                    <a:pt x="18" y="136"/>
                  </a:lnTo>
                  <a:lnTo>
                    <a:pt x="18" y="134"/>
                  </a:lnTo>
                  <a:lnTo>
                    <a:pt x="16" y="132"/>
                  </a:lnTo>
                  <a:lnTo>
                    <a:pt x="16" y="130"/>
                  </a:lnTo>
                  <a:lnTo>
                    <a:pt x="14" y="126"/>
                  </a:lnTo>
                  <a:lnTo>
                    <a:pt x="14" y="122"/>
                  </a:lnTo>
                  <a:lnTo>
                    <a:pt x="14" y="118"/>
                  </a:lnTo>
                  <a:lnTo>
                    <a:pt x="12" y="114"/>
                  </a:lnTo>
                  <a:lnTo>
                    <a:pt x="12" y="110"/>
                  </a:lnTo>
                  <a:lnTo>
                    <a:pt x="12" y="108"/>
                  </a:lnTo>
                  <a:lnTo>
                    <a:pt x="12" y="104"/>
                  </a:lnTo>
                  <a:lnTo>
                    <a:pt x="12" y="102"/>
                  </a:lnTo>
                  <a:lnTo>
                    <a:pt x="12" y="98"/>
                  </a:lnTo>
                  <a:lnTo>
                    <a:pt x="14" y="92"/>
                  </a:lnTo>
                  <a:lnTo>
                    <a:pt x="14" y="88"/>
                  </a:lnTo>
                  <a:lnTo>
                    <a:pt x="16" y="86"/>
                  </a:lnTo>
                  <a:lnTo>
                    <a:pt x="16" y="84"/>
                  </a:lnTo>
                  <a:lnTo>
                    <a:pt x="16" y="82"/>
                  </a:lnTo>
                  <a:lnTo>
                    <a:pt x="16" y="80"/>
                  </a:lnTo>
                  <a:lnTo>
                    <a:pt x="16" y="80"/>
                  </a:lnTo>
                  <a:lnTo>
                    <a:pt x="16" y="78"/>
                  </a:lnTo>
                  <a:lnTo>
                    <a:pt x="14" y="78"/>
                  </a:lnTo>
                  <a:lnTo>
                    <a:pt x="14" y="76"/>
                  </a:lnTo>
                  <a:lnTo>
                    <a:pt x="12" y="74"/>
                  </a:lnTo>
                  <a:lnTo>
                    <a:pt x="10" y="72"/>
                  </a:lnTo>
                  <a:lnTo>
                    <a:pt x="6" y="68"/>
                  </a:lnTo>
                  <a:lnTo>
                    <a:pt x="6" y="66"/>
                  </a:lnTo>
                  <a:lnTo>
                    <a:pt x="4" y="64"/>
                  </a:lnTo>
                  <a:lnTo>
                    <a:pt x="4" y="62"/>
                  </a:lnTo>
                  <a:lnTo>
                    <a:pt x="2" y="60"/>
                  </a:lnTo>
                  <a:lnTo>
                    <a:pt x="0" y="56"/>
                  </a:lnTo>
                  <a:lnTo>
                    <a:pt x="0" y="54"/>
                  </a:lnTo>
                  <a:lnTo>
                    <a:pt x="0" y="52"/>
                  </a:lnTo>
                  <a:lnTo>
                    <a:pt x="0" y="48"/>
                  </a:lnTo>
                  <a:lnTo>
                    <a:pt x="0" y="44"/>
                  </a:lnTo>
                  <a:lnTo>
                    <a:pt x="0" y="40"/>
                  </a:lnTo>
                  <a:lnTo>
                    <a:pt x="0" y="36"/>
                  </a:lnTo>
                  <a:lnTo>
                    <a:pt x="0" y="34"/>
                  </a:lnTo>
                  <a:lnTo>
                    <a:pt x="0" y="32"/>
                  </a:lnTo>
                  <a:lnTo>
                    <a:pt x="0" y="32"/>
                  </a:lnTo>
                  <a:lnTo>
                    <a:pt x="0" y="30"/>
                  </a:lnTo>
                  <a:lnTo>
                    <a:pt x="0" y="28"/>
                  </a:lnTo>
                  <a:lnTo>
                    <a:pt x="2" y="28"/>
                  </a:lnTo>
                  <a:lnTo>
                    <a:pt x="2" y="26"/>
                  </a:lnTo>
                  <a:lnTo>
                    <a:pt x="2" y="26"/>
                  </a:lnTo>
                  <a:lnTo>
                    <a:pt x="4" y="26"/>
                  </a:lnTo>
                  <a:lnTo>
                    <a:pt x="6" y="24"/>
                  </a:lnTo>
                  <a:lnTo>
                    <a:pt x="8" y="24"/>
                  </a:lnTo>
                  <a:lnTo>
                    <a:pt x="14" y="22"/>
                  </a:lnTo>
                  <a:lnTo>
                    <a:pt x="16" y="22"/>
                  </a:lnTo>
                  <a:lnTo>
                    <a:pt x="16" y="22"/>
                  </a:lnTo>
                  <a:lnTo>
                    <a:pt x="20" y="20"/>
                  </a:lnTo>
                  <a:lnTo>
                    <a:pt x="22" y="18"/>
                  </a:lnTo>
                  <a:lnTo>
                    <a:pt x="24" y="16"/>
                  </a:lnTo>
                  <a:lnTo>
                    <a:pt x="24" y="14"/>
                  </a:lnTo>
                  <a:lnTo>
                    <a:pt x="26" y="14"/>
                  </a:lnTo>
                  <a:lnTo>
                    <a:pt x="26" y="12"/>
                  </a:lnTo>
                  <a:lnTo>
                    <a:pt x="28" y="10"/>
                  </a:lnTo>
                  <a:lnTo>
                    <a:pt x="30" y="6"/>
                  </a:lnTo>
                  <a:lnTo>
                    <a:pt x="32" y="0"/>
                  </a:lnTo>
                  <a:lnTo>
                    <a:pt x="34" y="6"/>
                  </a:lnTo>
                  <a:lnTo>
                    <a:pt x="34" y="12"/>
                  </a:lnTo>
                  <a:lnTo>
                    <a:pt x="36" y="16"/>
                  </a:lnTo>
                  <a:lnTo>
                    <a:pt x="36" y="20"/>
                  </a:lnTo>
                  <a:lnTo>
                    <a:pt x="36" y="22"/>
                  </a:lnTo>
                  <a:lnTo>
                    <a:pt x="38" y="24"/>
                  </a:lnTo>
                  <a:lnTo>
                    <a:pt x="38" y="26"/>
                  </a:lnTo>
                  <a:lnTo>
                    <a:pt x="38" y="28"/>
                  </a:lnTo>
                  <a:lnTo>
                    <a:pt x="38" y="28"/>
                  </a:lnTo>
                  <a:lnTo>
                    <a:pt x="40" y="30"/>
                  </a:lnTo>
                  <a:lnTo>
                    <a:pt x="42" y="30"/>
                  </a:lnTo>
                  <a:lnTo>
                    <a:pt x="44" y="32"/>
                  </a:lnTo>
                  <a:lnTo>
                    <a:pt x="46" y="34"/>
                  </a:lnTo>
                  <a:lnTo>
                    <a:pt x="48" y="34"/>
                  </a:lnTo>
                  <a:lnTo>
                    <a:pt x="48" y="36"/>
                  </a:lnTo>
                  <a:lnTo>
                    <a:pt x="52" y="36"/>
                  </a:lnTo>
                  <a:lnTo>
                    <a:pt x="54" y="38"/>
                  </a:lnTo>
                  <a:lnTo>
                    <a:pt x="56" y="38"/>
                  </a:lnTo>
                  <a:lnTo>
                    <a:pt x="56" y="38"/>
                  </a:lnTo>
                  <a:lnTo>
                    <a:pt x="58" y="40"/>
                  </a:lnTo>
                  <a:lnTo>
                    <a:pt x="58" y="40"/>
                  </a:lnTo>
                  <a:lnTo>
                    <a:pt x="60" y="44"/>
                  </a:lnTo>
                  <a:lnTo>
                    <a:pt x="64" y="50"/>
                  </a:lnTo>
                  <a:lnTo>
                    <a:pt x="66" y="52"/>
                  </a:lnTo>
                  <a:lnTo>
                    <a:pt x="66" y="54"/>
                  </a:lnTo>
                  <a:lnTo>
                    <a:pt x="68" y="56"/>
                  </a:lnTo>
                  <a:lnTo>
                    <a:pt x="68" y="56"/>
                  </a:lnTo>
                  <a:lnTo>
                    <a:pt x="70" y="56"/>
                  </a:lnTo>
                  <a:lnTo>
                    <a:pt x="70" y="58"/>
                  </a:lnTo>
                  <a:lnTo>
                    <a:pt x="72" y="58"/>
                  </a:lnTo>
                  <a:lnTo>
                    <a:pt x="72" y="58"/>
                  </a:lnTo>
                  <a:lnTo>
                    <a:pt x="72" y="58"/>
                  </a:lnTo>
                  <a:lnTo>
                    <a:pt x="74" y="56"/>
                  </a:lnTo>
                  <a:lnTo>
                    <a:pt x="74" y="56"/>
                  </a:lnTo>
                  <a:lnTo>
                    <a:pt x="76" y="54"/>
                  </a:lnTo>
                  <a:lnTo>
                    <a:pt x="78" y="52"/>
                  </a:lnTo>
                  <a:lnTo>
                    <a:pt x="78" y="50"/>
                  </a:lnTo>
                  <a:lnTo>
                    <a:pt x="80" y="50"/>
                  </a:lnTo>
                  <a:lnTo>
                    <a:pt x="80" y="48"/>
                  </a:lnTo>
                  <a:lnTo>
                    <a:pt x="82" y="48"/>
                  </a:lnTo>
                  <a:lnTo>
                    <a:pt x="82" y="48"/>
                  </a:lnTo>
                  <a:lnTo>
                    <a:pt x="82" y="48"/>
                  </a:lnTo>
                  <a:lnTo>
                    <a:pt x="84" y="48"/>
                  </a:lnTo>
                  <a:lnTo>
                    <a:pt x="84" y="48"/>
                  </a:lnTo>
                  <a:lnTo>
                    <a:pt x="86" y="48"/>
                  </a:lnTo>
                  <a:lnTo>
                    <a:pt x="86" y="50"/>
                  </a:lnTo>
                  <a:lnTo>
                    <a:pt x="88" y="50"/>
                  </a:lnTo>
                  <a:lnTo>
                    <a:pt x="90" y="52"/>
                  </a:lnTo>
                  <a:lnTo>
                    <a:pt x="90" y="54"/>
                  </a:lnTo>
                  <a:lnTo>
                    <a:pt x="92" y="56"/>
                  </a:lnTo>
                  <a:lnTo>
                    <a:pt x="94" y="60"/>
                  </a:lnTo>
                  <a:lnTo>
                    <a:pt x="96" y="62"/>
                  </a:lnTo>
                  <a:lnTo>
                    <a:pt x="96" y="64"/>
                  </a:lnTo>
                  <a:lnTo>
                    <a:pt x="98" y="70"/>
                  </a:lnTo>
                  <a:lnTo>
                    <a:pt x="100" y="76"/>
                  </a:lnTo>
                  <a:lnTo>
                    <a:pt x="102" y="80"/>
                  </a:lnTo>
                  <a:lnTo>
                    <a:pt x="102" y="84"/>
                  </a:lnTo>
                  <a:lnTo>
                    <a:pt x="104" y="86"/>
                  </a:lnTo>
                  <a:lnTo>
                    <a:pt x="104" y="88"/>
                  </a:lnTo>
                  <a:lnTo>
                    <a:pt x="106" y="90"/>
                  </a:lnTo>
                  <a:lnTo>
                    <a:pt x="106" y="92"/>
                  </a:lnTo>
                  <a:lnTo>
                    <a:pt x="108" y="92"/>
                  </a:lnTo>
                  <a:lnTo>
                    <a:pt x="108" y="92"/>
                  </a:lnTo>
                  <a:lnTo>
                    <a:pt x="108" y="92"/>
                  </a:lnTo>
                  <a:lnTo>
                    <a:pt x="110" y="92"/>
                  </a:lnTo>
                  <a:lnTo>
                    <a:pt x="112" y="92"/>
                  </a:lnTo>
                  <a:lnTo>
                    <a:pt x="114" y="92"/>
                  </a:lnTo>
                  <a:lnTo>
                    <a:pt x="114" y="92"/>
                  </a:lnTo>
                  <a:lnTo>
                    <a:pt x="114" y="94"/>
                  </a:lnTo>
                  <a:lnTo>
                    <a:pt x="116" y="94"/>
                  </a:lnTo>
                  <a:lnTo>
                    <a:pt x="116" y="96"/>
                  </a:lnTo>
                  <a:lnTo>
                    <a:pt x="116" y="98"/>
                  </a:lnTo>
                  <a:lnTo>
                    <a:pt x="116" y="98"/>
                  </a:lnTo>
                  <a:lnTo>
                    <a:pt x="116" y="100"/>
                  </a:lnTo>
                  <a:lnTo>
                    <a:pt x="116" y="102"/>
                  </a:lnTo>
                  <a:lnTo>
                    <a:pt x="116" y="106"/>
                  </a:lnTo>
                  <a:lnTo>
                    <a:pt x="116" y="110"/>
                  </a:lnTo>
                  <a:lnTo>
                    <a:pt x="116" y="114"/>
                  </a:lnTo>
                  <a:lnTo>
                    <a:pt x="114" y="118"/>
                  </a:lnTo>
                  <a:lnTo>
                    <a:pt x="112" y="118"/>
                  </a:lnTo>
                  <a:lnTo>
                    <a:pt x="108" y="118"/>
                  </a:lnTo>
                  <a:lnTo>
                    <a:pt x="106" y="120"/>
                  </a:lnTo>
                  <a:lnTo>
                    <a:pt x="104" y="120"/>
                  </a:lnTo>
                  <a:lnTo>
                    <a:pt x="102" y="120"/>
                  </a:lnTo>
                  <a:lnTo>
                    <a:pt x="100" y="120"/>
                  </a:lnTo>
                  <a:lnTo>
                    <a:pt x="100" y="120"/>
                  </a:lnTo>
                  <a:lnTo>
                    <a:pt x="98" y="120"/>
                  </a:lnTo>
                  <a:lnTo>
                    <a:pt x="98" y="120"/>
                  </a:lnTo>
                  <a:lnTo>
                    <a:pt x="96" y="118"/>
                  </a:lnTo>
                  <a:lnTo>
                    <a:pt x="94" y="116"/>
                  </a:lnTo>
                  <a:lnTo>
                    <a:pt x="92" y="114"/>
                  </a:lnTo>
                  <a:lnTo>
                    <a:pt x="90" y="114"/>
                  </a:lnTo>
                  <a:lnTo>
                    <a:pt x="88" y="112"/>
                  </a:lnTo>
                  <a:lnTo>
                    <a:pt x="88" y="112"/>
                  </a:lnTo>
                  <a:lnTo>
                    <a:pt x="88" y="112"/>
                  </a:lnTo>
                  <a:lnTo>
                    <a:pt x="86" y="110"/>
                  </a:lnTo>
                  <a:lnTo>
                    <a:pt x="86" y="110"/>
                  </a:lnTo>
                  <a:lnTo>
                    <a:pt x="84" y="112"/>
                  </a:lnTo>
                  <a:lnTo>
                    <a:pt x="84" y="112"/>
                  </a:lnTo>
                  <a:lnTo>
                    <a:pt x="82" y="112"/>
                  </a:lnTo>
                  <a:lnTo>
                    <a:pt x="82" y="112"/>
                  </a:lnTo>
                  <a:lnTo>
                    <a:pt x="80" y="114"/>
                  </a:lnTo>
                  <a:lnTo>
                    <a:pt x="78" y="116"/>
                  </a:lnTo>
                  <a:lnTo>
                    <a:pt x="76" y="118"/>
                  </a:lnTo>
                  <a:lnTo>
                    <a:pt x="74" y="120"/>
                  </a:lnTo>
                  <a:lnTo>
                    <a:pt x="72" y="124"/>
                  </a:lnTo>
                  <a:lnTo>
                    <a:pt x="70" y="126"/>
                  </a:lnTo>
                  <a:lnTo>
                    <a:pt x="70" y="130"/>
                  </a:lnTo>
                  <a:lnTo>
                    <a:pt x="68" y="132"/>
                  </a:lnTo>
                  <a:lnTo>
                    <a:pt x="68" y="136"/>
                  </a:lnTo>
                  <a:lnTo>
                    <a:pt x="66" y="140"/>
                  </a:lnTo>
                  <a:lnTo>
                    <a:pt x="64" y="142"/>
                  </a:lnTo>
                  <a:lnTo>
                    <a:pt x="64" y="142"/>
                  </a:lnTo>
                  <a:lnTo>
                    <a:pt x="62" y="142"/>
                  </a:lnTo>
                  <a:lnTo>
                    <a:pt x="58" y="140"/>
                  </a:lnTo>
                  <a:lnTo>
                    <a:pt x="56" y="140"/>
                  </a:lnTo>
                  <a:lnTo>
                    <a:pt x="54" y="140"/>
                  </a:lnTo>
                  <a:lnTo>
                    <a:pt x="52" y="140"/>
                  </a:lnTo>
                  <a:lnTo>
                    <a:pt x="52" y="140"/>
                  </a:lnTo>
                  <a:lnTo>
                    <a:pt x="50" y="140"/>
                  </a:lnTo>
                  <a:lnTo>
                    <a:pt x="50" y="140"/>
                  </a:lnTo>
                  <a:lnTo>
                    <a:pt x="48" y="140"/>
                  </a:lnTo>
                  <a:lnTo>
                    <a:pt x="48" y="142"/>
                  </a:lnTo>
                  <a:lnTo>
                    <a:pt x="46" y="144"/>
                  </a:lnTo>
                  <a:lnTo>
                    <a:pt x="46" y="146"/>
                  </a:lnTo>
                  <a:lnTo>
                    <a:pt x="44" y="148"/>
                  </a:lnTo>
                  <a:lnTo>
                    <a:pt x="44" y="150"/>
                  </a:lnTo>
                  <a:lnTo>
                    <a:pt x="42" y="152"/>
                  </a:lnTo>
                  <a:lnTo>
                    <a:pt x="42" y="154"/>
                  </a:lnTo>
                  <a:lnTo>
                    <a:pt x="42" y="158"/>
                  </a:lnTo>
                  <a:lnTo>
                    <a:pt x="40" y="164"/>
                  </a:lnTo>
                  <a:lnTo>
                    <a:pt x="40" y="168"/>
                  </a:lnTo>
                  <a:lnTo>
                    <a:pt x="40" y="170"/>
                  </a:lnTo>
                  <a:lnTo>
                    <a:pt x="40" y="170"/>
                  </a:lnTo>
                  <a:lnTo>
                    <a:pt x="40" y="172"/>
                  </a:lnTo>
                  <a:lnTo>
                    <a:pt x="42" y="172"/>
                  </a:lnTo>
                  <a:lnTo>
                    <a:pt x="42" y="176"/>
                  </a:lnTo>
                  <a:lnTo>
                    <a:pt x="44" y="178"/>
                  </a:lnTo>
                  <a:lnTo>
                    <a:pt x="46" y="180"/>
                  </a:lnTo>
                  <a:lnTo>
                    <a:pt x="48" y="184"/>
                  </a:lnTo>
                  <a:lnTo>
                    <a:pt x="50" y="186"/>
                  </a:lnTo>
                  <a:lnTo>
                    <a:pt x="36" y="200"/>
                  </a:lnTo>
                  <a:lnTo>
                    <a:pt x="32" y="196"/>
                  </a:lnTo>
                  <a:lnTo>
                    <a:pt x="28" y="194"/>
                  </a:lnTo>
                  <a:lnTo>
                    <a:pt x="26" y="192"/>
                  </a:lnTo>
                  <a:lnTo>
                    <a:pt x="24" y="190"/>
                  </a:lnTo>
                  <a:lnTo>
                    <a:pt x="22" y="188"/>
                  </a:lnTo>
                  <a:lnTo>
                    <a:pt x="18" y="184"/>
                  </a:lnTo>
                  <a:lnTo>
                    <a:pt x="14" y="18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 name="Freeform 32">
              <a:extLst>
                <a:ext uri="{FF2B5EF4-FFF2-40B4-BE49-F238E27FC236}">
                  <a16:creationId xmlns:a16="http://schemas.microsoft.com/office/drawing/2014/main" id="{48F655BD-D98A-4CCD-BED2-48BA727B64B4}"/>
                </a:ext>
              </a:extLst>
            </p:cNvPr>
            <p:cNvSpPr>
              <a:spLocks/>
            </p:cNvSpPr>
            <p:nvPr/>
          </p:nvSpPr>
          <p:spPr bwMode="auto">
            <a:xfrm>
              <a:off x="6704509" y="4029592"/>
              <a:ext cx="200921" cy="346415"/>
            </a:xfrm>
            <a:custGeom>
              <a:avLst/>
              <a:gdLst>
                <a:gd name="T0" fmla="*/ 20 w 116"/>
                <a:gd name="T1" fmla="*/ 172 h 200"/>
                <a:gd name="T2" fmla="*/ 26 w 116"/>
                <a:gd name="T3" fmla="*/ 162 h 200"/>
                <a:gd name="T4" fmla="*/ 30 w 116"/>
                <a:gd name="T5" fmla="*/ 152 h 200"/>
                <a:gd name="T6" fmla="*/ 30 w 116"/>
                <a:gd name="T7" fmla="*/ 148 h 200"/>
                <a:gd name="T8" fmla="*/ 28 w 116"/>
                <a:gd name="T9" fmla="*/ 144 h 200"/>
                <a:gd name="T10" fmla="*/ 20 w 116"/>
                <a:gd name="T11" fmla="*/ 138 h 200"/>
                <a:gd name="T12" fmla="*/ 16 w 116"/>
                <a:gd name="T13" fmla="*/ 132 h 200"/>
                <a:gd name="T14" fmla="*/ 14 w 116"/>
                <a:gd name="T15" fmla="*/ 118 h 200"/>
                <a:gd name="T16" fmla="*/ 12 w 116"/>
                <a:gd name="T17" fmla="*/ 104 h 200"/>
                <a:gd name="T18" fmla="*/ 14 w 116"/>
                <a:gd name="T19" fmla="*/ 88 h 200"/>
                <a:gd name="T20" fmla="*/ 16 w 116"/>
                <a:gd name="T21" fmla="*/ 80 h 200"/>
                <a:gd name="T22" fmla="*/ 14 w 116"/>
                <a:gd name="T23" fmla="*/ 76 h 200"/>
                <a:gd name="T24" fmla="*/ 6 w 116"/>
                <a:gd name="T25" fmla="*/ 66 h 200"/>
                <a:gd name="T26" fmla="*/ 0 w 116"/>
                <a:gd name="T27" fmla="*/ 56 h 200"/>
                <a:gd name="T28" fmla="*/ 0 w 116"/>
                <a:gd name="T29" fmla="*/ 44 h 200"/>
                <a:gd name="T30" fmla="*/ 0 w 116"/>
                <a:gd name="T31" fmla="*/ 32 h 200"/>
                <a:gd name="T32" fmla="*/ 2 w 116"/>
                <a:gd name="T33" fmla="*/ 28 h 200"/>
                <a:gd name="T34" fmla="*/ 6 w 116"/>
                <a:gd name="T35" fmla="*/ 24 h 200"/>
                <a:gd name="T36" fmla="*/ 16 w 116"/>
                <a:gd name="T37" fmla="*/ 22 h 200"/>
                <a:gd name="T38" fmla="*/ 24 w 116"/>
                <a:gd name="T39" fmla="*/ 14 h 200"/>
                <a:gd name="T40" fmla="*/ 30 w 116"/>
                <a:gd name="T41" fmla="*/ 6 h 200"/>
                <a:gd name="T42" fmla="*/ 36 w 116"/>
                <a:gd name="T43" fmla="*/ 16 h 200"/>
                <a:gd name="T44" fmla="*/ 38 w 116"/>
                <a:gd name="T45" fmla="*/ 26 h 200"/>
                <a:gd name="T46" fmla="*/ 42 w 116"/>
                <a:gd name="T47" fmla="*/ 30 h 200"/>
                <a:gd name="T48" fmla="*/ 48 w 116"/>
                <a:gd name="T49" fmla="*/ 36 h 200"/>
                <a:gd name="T50" fmla="*/ 56 w 116"/>
                <a:gd name="T51" fmla="*/ 38 h 200"/>
                <a:gd name="T52" fmla="*/ 64 w 116"/>
                <a:gd name="T53" fmla="*/ 50 h 200"/>
                <a:gd name="T54" fmla="*/ 68 w 116"/>
                <a:gd name="T55" fmla="*/ 56 h 200"/>
                <a:gd name="T56" fmla="*/ 72 w 116"/>
                <a:gd name="T57" fmla="*/ 58 h 200"/>
                <a:gd name="T58" fmla="*/ 76 w 116"/>
                <a:gd name="T59" fmla="*/ 54 h 200"/>
                <a:gd name="T60" fmla="*/ 80 w 116"/>
                <a:gd name="T61" fmla="*/ 48 h 200"/>
                <a:gd name="T62" fmla="*/ 84 w 116"/>
                <a:gd name="T63" fmla="*/ 48 h 200"/>
                <a:gd name="T64" fmla="*/ 88 w 116"/>
                <a:gd name="T65" fmla="*/ 50 h 200"/>
                <a:gd name="T66" fmla="*/ 94 w 116"/>
                <a:gd name="T67" fmla="*/ 60 h 200"/>
                <a:gd name="T68" fmla="*/ 100 w 116"/>
                <a:gd name="T69" fmla="*/ 76 h 200"/>
                <a:gd name="T70" fmla="*/ 104 w 116"/>
                <a:gd name="T71" fmla="*/ 88 h 200"/>
                <a:gd name="T72" fmla="*/ 108 w 116"/>
                <a:gd name="T73" fmla="*/ 92 h 200"/>
                <a:gd name="T74" fmla="*/ 114 w 116"/>
                <a:gd name="T75" fmla="*/ 92 h 200"/>
                <a:gd name="T76" fmla="*/ 116 w 116"/>
                <a:gd name="T77" fmla="*/ 96 h 200"/>
                <a:gd name="T78" fmla="*/ 116 w 116"/>
                <a:gd name="T79" fmla="*/ 102 h 200"/>
                <a:gd name="T80" fmla="*/ 114 w 116"/>
                <a:gd name="T81" fmla="*/ 118 h 200"/>
                <a:gd name="T82" fmla="*/ 104 w 116"/>
                <a:gd name="T83" fmla="*/ 120 h 200"/>
                <a:gd name="T84" fmla="*/ 98 w 116"/>
                <a:gd name="T85" fmla="*/ 120 h 200"/>
                <a:gd name="T86" fmla="*/ 92 w 116"/>
                <a:gd name="T87" fmla="*/ 114 h 200"/>
                <a:gd name="T88" fmla="*/ 88 w 116"/>
                <a:gd name="T89" fmla="*/ 112 h 200"/>
                <a:gd name="T90" fmla="*/ 84 w 116"/>
                <a:gd name="T91" fmla="*/ 112 h 200"/>
                <a:gd name="T92" fmla="*/ 78 w 116"/>
                <a:gd name="T93" fmla="*/ 116 h 200"/>
                <a:gd name="T94" fmla="*/ 70 w 116"/>
                <a:gd name="T95" fmla="*/ 126 h 200"/>
                <a:gd name="T96" fmla="*/ 66 w 116"/>
                <a:gd name="T97" fmla="*/ 140 h 200"/>
                <a:gd name="T98" fmla="*/ 58 w 116"/>
                <a:gd name="T99" fmla="*/ 140 h 200"/>
                <a:gd name="T100" fmla="*/ 52 w 116"/>
                <a:gd name="T101" fmla="*/ 140 h 200"/>
                <a:gd name="T102" fmla="*/ 48 w 116"/>
                <a:gd name="T103" fmla="*/ 142 h 200"/>
                <a:gd name="T104" fmla="*/ 44 w 116"/>
                <a:gd name="T105" fmla="*/ 150 h 200"/>
                <a:gd name="T106" fmla="*/ 40 w 116"/>
                <a:gd name="T107" fmla="*/ 164 h 200"/>
                <a:gd name="T108" fmla="*/ 40 w 116"/>
                <a:gd name="T109" fmla="*/ 172 h 200"/>
                <a:gd name="T110" fmla="*/ 46 w 116"/>
                <a:gd name="T111" fmla="*/ 180 h 200"/>
                <a:gd name="T112" fmla="*/ 32 w 116"/>
                <a:gd name="T113" fmla="*/ 196 h 200"/>
                <a:gd name="T114" fmla="*/ 22 w 116"/>
                <a:gd name="T115" fmla="*/ 18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6" h="200">
                  <a:moveTo>
                    <a:pt x="14" y="180"/>
                  </a:moveTo>
                  <a:lnTo>
                    <a:pt x="14" y="180"/>
                  </a:lnTo>
                  <a:lnTo>
                    <a:pt x="16" y="174"/>
                  </a:lnTo>
                  <a:lnTo>
                    <a:pt x="20" y="172"/>
                  </a:lnTo>
                  <a:lnTo>
                    <a:pt x="20" y="168"/>
                  </a:lnTo>
                  <a:lnTo>
                    <a:pt x="22" y="166"/>
                  </a:lnTo>
                  <a:lnTo>
                    <a:pt x="24" y="164"/>
                  </a:lnTo>
                  <a:lnTo>
                    <a:pt x="26" y="162"/>
                  </a:lnTo>
                  <a:lnTo>
                    <a:pt x="28" y="158"/>
                  </a:lnTo>
                  <a:lnTo>
                    <a:pt x="28" y="156"/>
                  </a:lnTo>
                  <a:lnTo>
                    <a:pt x="30" y="154"/>
                  </a:lnTo>
                  <a:lnTo>
                    <a:pt x="30" y="152"/>
                  </a:lnTo>
                  <a:lnTo>
                    <a:pt x="30" y="152"/>
                  </a:lnTo>
                  <a:lnTo>
                    <a:pt x="30" y="150"/>
                  </a:lnTo>
                  <a:lnTo>
                    <a:pt x="30" y="148"/>
                  </a:lnTo>
                  <a:lnTo>
                    <a:pt x="30" y="148"/>
                  </a:lnTo>
                  <a:lnTo>
                    <a:pt x="30" y="146"/>
                  </a:lnTo>
                  <a:lnTo>
                    <a:pt x="30" y="146"/>
                  </a:lnTo>
                  <a:lnTo>
                    <a:pt x="30" y="146"/>
                  </a:lnTo>
                  <a:lnTo>
                    <a:pt x="28" y="144"/>
                  </a:lnTo>
                  <a:lnTo>
                    <a:pt x="26" y="144"/>
                  </a:lnTo>
                  <a:lnTo>
                    <a:pt x="24" y="142"/>
                  </a:lnTo>
                  <a:lnTo>
                    <a:pt x="20" y="138"/>
                  </a:lnTo>
                  <a:lnTo>
                    <a:pt x="20" y="138"/>
                  </a:lnTo>
                  <a:lnTo>
                    <a:pt x="18" y="136"/>
                  </a:lnTo>
                  <a:lnTo>
                    <a:pt x="18" y="136"/>
                  </a:lnTo>
                  <a:lnTo>
                    <a:pt x="18" y="134"/>
                  </a:lnTo>
                  <a:lnTo>
                    <a:pt x="16" y="132"/>
                  </a:lnTo>
                  <a:lnTo>
                    <a:pt x="16" y="130"/>
                  </a:lnTo>
                  <a:lnTo>
                    <a:pt x="14" y="126"/>
                  </a:lnTo>
                  <a:lnTo>
                    <a:pt x="14" y="122"/>
                  </a:lnTo>
                  <a:lnTo>
                    <a:pt x="14" y="118"/>
                  </a:lnTo>
                  <a:lnTo>
                    <a:pt x="12" y="114"/>
                  </a:lnTo>
                  <a:lnTo>
                    <a:pt x="12" y="110"/>
                  </a:lnTo>
                  <a:lnTo>
                    <a:pt x="12" y="108"/>
                  </a:lnTo>
                  <a:lnTo>
                    <a:pt x="12" y="104"/>
                  </a:lnTo>
                  <a:lnTo>
                    <a:pt x="12" y="102"/>
                  </a:lnTo>
                  <a:lnTo>
                    <a:pt x="12" y="98"/>
                  </a:lnTo>
                  <a:lnTo>
                    <a:pt x="14" y="92"/>
                  </a:lnTo>
                  <a:lnTo>
                    <a:pt x="14" y="88"/>
                  </a:lnTo>
                  <a:lnTo>
                    <a:pt x="16" y="86"/>
                  </a:lnTo>
                  <a:lnTo>
                    <a:pt x="16" y="84"/>
                  </a:lnTo>
                  <a:lnTo>
                    <a:pt x="16" y="82"/>
                  </a:lnTo>
                  <a:lnTo>
                    <a:pt x="16" y="80"/>
                  </a:lnTo>
                  <a:lnTo>
                    <a:pt x="16" y="80"/>
                  </a:lnTo>
                  <a:lnTo>
                    <a:pt x="16" y="78"/>
                  </a:lnTo>
                  <a:lnTo>
                    <a:pt x="14" y="78"/>
                  </a:lnTo>
                  <a:lnTo>
                    <a:pt x="14" y="76"/>
                  </a:lnTo>
                  <a:lnTo>
                    <a:pt x="12" y="74"/>
                  </a:lnTo>
                  <a:lnTo>
                    <a:pt x="10" y="72"/>
                  </a:lnTo>
                  <a:lnTo>
                    <a:pt x="6" y="68"/>
                  </a:lnTo>
                  <a:lnTo>
                    <a:pt x="6" y="66"/>
                  </a:lnTo>
                  <a:lnTo>
                    <a:pt x="4" y="64"/>
                  </a:lnTo>
                  <a:lnTo>
                    <a:pt x="4" y="62"/>
                  </a:lnTo>
                  <a:lnTo>
                    <a:pt x="2" y="60"/>
                  </a:lnTo>
                  <a:lnTo>
                    <a:pt x="0" y="56"/>
                  </a:lnTo>
                  <a:lnTo>
                    <a:pt x="0" y="54"/>
                  </a:lnTo>
                  <a:lnTo>
                    <a:pt x="0" y="52"/>
                  </a:lnTo>
                  <a:lnTo>
                    <a:pt x="0" y="48"/>
                  </a:lnTo>
                  <a:lnTo>
                    <a:pt x="0" y="44"/>
                  </a:lnTo>
                  <a:lnTo>
                    <a:pt x="0" y="40"/>
                  </a:lnTo>
                  <a:lnTo>
                    <a:pt x="0" y="36"/>
                  </a:lnTo>
                  <a:lnTo>
                    <a:pt x="0" y="34"/>
                  </a:lnTo>
                  <a:lnTo>
                    <a:pt x="0" y="32"/>
                  </a:lnTo>
                  <a:lnTo>
                    <a:pt x="0" y="32"/>
                  </a:lnTo>
                  <a:lnTo>
                    <a:pt x="0" y="30"/>
                  </a:lnTo>
                  <a:lnTo>
                    <a:pt x="0" y="28"/>
                  </a:lnTo>
                  <a:lnTo>
                    <a:pt x="2" y="28"/>
                  </a:lnTo>
                  <a:lnTo>
                    <a:pt x="2" y="26"/>
                  </a:lnTo>
                  <a:lnTo>
                    <a:pt x="2" y="26"/>
                  </a:lnTo>
                  <a:lnTo>
                    <a:pt x="4" y="26"/>
                  </a:lnTo>
                  <a:lnTo>
                    <a:pt x="6" y="24"/>
                  </a:lnTo>
                  <a:lnTo>
                    <a:pt x="8" y="24"/>
                  </a:lnTo>
                  <a:lnTo>
                    <a:pt x="14" y="22"/>
                  </a:lnTo>
                  <a:lnTo>
                    <a:pt x="16" y="22"/>
                  </a:lnTo>
                  <a:lnTo>
                    <a:pt x="16" y="22"/>
                  </a:lnTo>
                  <a:lnTo>
                    <a:pt x="20" y="20"/>
                  </a:lnTo>
                  <a:lnTo>
                    <a:pt x="22" y="18"/>
                  </a:lnTo>
                  <a:lnTo>
                    <a:pt x="24" y="16"/>
                  </a:lnTo>
                  <a:lnTo>
                    <a:pt x="24" y="14"/>
                  </a:lnTo>
                  <a:lnTo>
                    <a:pt x="26" y="14"/>
                  </a:lnTo>
                  <a:lnTo>
                    <a:pt x="26" y="12"/>
                  </a:lnTo>
                  <a:lnTo>
                    <a:pt x="28" y="10"/>
                  </a:lnTo>
                  <a:lnTo>
                    <a:pt x="30" y="6"/>
                  </a:lnTo>
                  <a:lnTo>
                    <a:pt x="32" y="0"/>
                  </a:lnTo>
                  <a:lnTo>
                    <a:pt x="34" y="6"/>
                  </a:lnTo>
                  <a:lnTo>
                    <a:pt x="34" y="12"/>
                  </a:lnTo>
                  <a:lnTo>
                    <a:pt x="36" y="16"/>
                  </a:lnTo>
                  <a:lnTo>
                    <a:pt x="36" y="20"/>
                  </a:lnTo>
                  <a:lnTo>
                    <a:pt x="36" y="22"/>
                  </a:lnTo>
                  <a:lnTo>
                    <a:pt x="38" y="24"/>
                  </a:lnTo>
                  <a:lnTo>
                    <a:pt x="38" y="26"/>
                  </a:lnTo>
                  <a:lnTo>
                    <a:pt x="38" y="28"/>
                  </a:lnTo>
                  <a:lnTo>
                    <a:pt x="38" y="28"/>
                  </a:lnTo>
                  <a:lnTo>
                    <a:pt x="40" y="30"/>
                  </a:lnTo>
                  <a:lnTo>
                    <a:pt x="42" y="30"/>
                  </a:lnTo>
                  <a:lnTo>
                    <a:pt x="44" y="32"/>
                  </a:lnTo>
                  <a:lnTo>
                    <a:pt x="46" y="34"/>
                  </a:lnTo>
                  <a:lnTo>
                    <a:pt x="48" y="34"/>
                  </a:lnTo>
                  <a:lnTo>
                    <a:pt x="48" y="36"/>
                  </a:lnTo>
                  <a:lnTo>
                    <a:pt x="52" y="36"/>
                  </a:lnTo>
                  <a:lnTo>
                    <a:pt x="54" y="38"/>
                  </a:lnTo>
                  <a:lnTo>
                    <a:pt x="56" y="38"/>
                  </a:lnTo>
                  <a:lnTo>
                    <a:pt x="56" y="38"/>
                  </a:lnTo>
                  <a:lnTo>
                    <a:pt x="58" y="40"/>
                  </a:lnTo>
                  <a:lnTo>
                    <a:pt x="58" y="40"/>
                  </a:lnTo>
                  <a:lnTo>
                    <a:pt x="60" y="44"/>
                  </a:lnTo>
                  <a:lnTo>
                    <a:pt x="64" y="50"/>
                  </a:lnTo>
                  <a:lnTo>
                    <a:pt x="66" y="52"/>
                  </a:lnTo>
                  <a:lnTo>
                    <a:pt x="66" y="54"/>
                  </a:lnTo>
                  <a:lnTo>
                    <a:pt x="68" y="56"/>
                  </a:lnTo>
                  <a:lnTo>
                    <a:pt x="68" y="56"/>
                  </a:lnTo>
                  <a:lnTo>
                    <a:pt x="70" y="56"/>
                  </a:lnTo>
                  <a:lnTo>
                    <a:pt x="70" y="58"/>
                  </a:lnTo>
                  <a:lnTo>
                    <a:pt x="72" y="58"/>
                  </a:lnTo>
                  <a:lnTo>
                    <a:pt x="72" y="58"/>
                  </a:lnTo>
                  <a:lnTo>
                    <a:pt x="72" y="58"/>
                  </a:lnTo>
                  <a:lnTo>
                    <a:pt x="74" y="56"/>
                  </a:lnTo>
                  <a:lnTo>
                    <a:pt x="74" y="56"/>
                  </a:lnTo>
                  <a:lnTo>
                    <a:pt x="76" y="54"/>
                  </a:lnTo>
                  <a:lnTo>
                    <a:pt x="78" y="52"/>
                  </a:lnTo>
                  <a:lnTo>
                    <a:pt x="78" y="50"/>
                  </a:lnTo>
                  <a:lnTo>
                    <a:pt x="80" y="50"/>
                  </a:lnTo>
                  <a:lnTo>
                    <a:pt x="80" y="48"/>
                  </a:lnTo>
                  <a:lnTo>
                    <a:pt x="82" y="48"/>
                  </a:lnTo>
                  <a:lnTo>
                    <a:pt x="82" y="48"/>
                  </a:lnTo>
                  <a:lnTo>
                    <a:pt x="82" y="48"/>
                  </a:lnTo>
                  <a:lnTo>
                    <a:pt x="84" y="48"/>
                  </a:lnTo>
                  <a:lnTo>
                    <a:pt x="84" y="48"/>
                  </a:lnTo>
                  <a:lnTo>
                    <a:pt x="86" y="48"/>
                  </a:lnTo>
                  <a:lnTo>
                    <a:pt x="86" y="50"/>
                  </a:lnTo>
                  <a:lnTo>
                    <a:pt x="88" y="50"/>
                  </a:lnTo>
                  <a:lnTo>
                    <a:pt x="90" y="52"/>
                  </a:lnTo>
                  <a:lnTo>
                    <a:pt x="90" y="54"/>
                  </a:lnTo>
                  <a:lnTo>
                    <a:pt x="92" y="56"/>
                  </a:lnTo>
                  <a:lnTo>
                    <a:pt x="94" y="60"/>
                  </a:lnTo>
                  <a:lnTo>
                    <a:pt x="96" y="62"/>
                  </a:lnTo>
                  <a:lnTo>
                    <a:pt x="96" y="64"/>
                  </a:lnTo>
                  <a:lnTo>
                    <a:pt x="98" y="70"/>
                  </a:lnTo>
                  <a:lnTo>
                    <a:pt x="100" y="76"/>
                  </a:lnTo>
                  <a:lnTo>
                    <a:pt x="102" y="80"/>
                  </a:lnTo>
                  <a:lnTo>
                    <a:pt x="102" y="84"/>
                  </a:lnTo>
                  <a:lnTo>
                    <a:pt x="104" y="86"/>
                  </a:lnTo>
                  <a:lnTo>
                    <a:pt x="104" y="88"/>
                  </a:lnTo>
                  <a:lnTo>
                    <a:pt x="106" y="90"/>
                  </a:lnTo>
                  <a:lnTo>
                    <a:pt x="106" y="92"/>
                  </a:lnTo>
                  <a:lnTo>
                    <a:pt x="108" y="92"/>
                  </a:lnTo>
                  <a:lnTo>
                    <a:pt x="108" y="92"/>
                  </a:lnTo>
                  <a:lnTo>
                    <a:pt x="108" y="92"/>
                  </a:lnTo>
                  <a:lnTo>
                    <a:pt x="110" y="92"/>
                  </a:lnTo>
                  <a:lnTo>
                    <a:pt x="112" y="92"/>
                  </a:lnTo>
                  <a:lnTo>
                    <a:pt x="114" y="92"/>
                  </a:lnTo>
                  <a:lnTo>
                    <a:pt x="114" y="92"/>
                  </a:lnTo>
                  <a:lnTo>
                    <a:pt x="114" y="94"/>
                  </a:lnTo>
                  <a:lnTo>
                    <a:pt x="116" y="94"/>
                  </a:lnTo>
                  <a:lnTo>
                    <a:pt x="116" y="96"/>
                  </a:lnTo>
                  <a:lnTo>
                    <a:pt x="116" y="98"/>
                  </a:lnTo>
                  <a:lnTo>
                    <a:pt x="116" y="98"/>
                  </a:lnTo>
                  <a:lnTo>
                    <a:pt x="116" y="100"/>
                  </a:lnTo>
                  <a:lnTo>
                    <a:pt x="116" y="102"/>
                  </a:lnTo>
                  <a:lnTo>
                    <a:pt x="116" y="106"/>
                  </a:lnTo>
                  <a:lnTo>
                    <a:pt x="116" y="110"/>
                  </a:lnTo>
                  <a:lnTo>
                    <a:pt x="116" y="114"/>
                  </a:lnTo>
                  <a:lnTo>
                    <a:pt x="114" y="118"/>
                  </a:lnTo>
                  <a:lnTo>
                    <a:pt x="112" y="118"/>
                  </a:lnTo>
                  <a:lnTo>
                    <a:pt x="108" y="118"/>
                  </a:lnTo>
                  <a:lnTo>
                    <a:pt x="106" y="120"/>
                  </a:lnTo>
                  <a:lnTo>
                    <a:pt x="104" y="120"/>
                  </a:lnTo>
                  <a:lnTo>
                    <a:pt x="102" y="120"/>
                  </a:lnTo>
                  <a:lnTo>
                    <a:pt x="100" y="120"/>
                  </a:lnTo>
                  <a:lnTo>
                    <a:pt x="100" y="120"/>
                  </a:lnTo>
                  <a:lnTo>
                    <a:pt x="98" y="120"/>
                  </a:lnTo>
                  <a:lnTo>
                    <a:pt x="98" y="120"/>
                  </a:lnTo>
                  <a:lnTo>
                    <a:pt x="96" y="118"/>
                  </a:lnTo>
                  <a:lnTo>
                    <a:pt x="94" y="116"/>
                  </a:lnTo>
                  <a:lnTo>
                    <a:pt x="92" y="114"/>
                  </a:lnTo>
                  <a:lnTo>
                    <a:pt x="90" y="114"/>
                  </a:lnTo>
                  <a:lnTo>
                    <a:pt x="88" y="112"/>
                  </a:lnTo>
                  <a:lnTo>
                    <a:pt x="88" y="112"/>
                  </a:lnTo>
                  <a:lnTo>
                    <a:pt x="88" y="112"/>
                  </a:lnTo>
                  <a:lnTo>
                    <a:pt x="86" y="110"/>
                  </a:lnTo>
                  <a:lnTo>
                    <a:pt x="86" y="110"/>
                  </a:lnTo>
                  <a:lnTo>
                    <a:pt x="84" y="112"/>
                  </a:lnTo>
                  <a:lnTo>
                    <a:pt x="84" y="112"/>
                  </a:lnTo>
                  <a:lnTo>
                    <a:pt x="82" y="112"/>
                  </a:lnTo>
                  <a:lnTo>
                    <a:pt x="82" y="112"/>
                  </a:lnTo>
                  <a:lnTo>
                    <a:pt x="80" y="114"/>
                  </a:lnTo>
                  <a:lnTo>
                    <a:pt x="78" y="116"/>
                  </a:lnTo>
                  <a:lnTo>
                    <a:pt x="76" y="118"/>
                  </a:lnTo>
                  <a:lnTo>
                    <a:pt x="74" y="120"/>
                  </a:lnTo>
                  <a:lnTo>
                    <a:pt x="72" y="124"/>
                  </a:lnTo>
                  <a:lnTo>
                    <a:pt x="70" y="126"/>
                  </a:lnTo>
                  <a:lnTo>
                    <a:pt x="70" y="130"/>
                  </a:lnTo>
                  <a:lnTo>
                    <a:pt x="68" y="132"/>
                  </a:lnTo>
                  <a:lnTo>
                    <a:pt x="68" y="136"/>
                  </a:lnTo>
                  <a:lnTo>
                    <a:pt x="66" y="140"/>
                  </a:lnTo>
                  <a:lnTo>
                    <a:pt x="64" y="142"/>
                  </a:lnTo>
                  <a:lnTo>
                    <a:pt x="64" y="142"/>
                  </a:lnTo>
                  <a:lnTo>
                    <a:pt x="62" y="142"/>
                  </a:lnTo>
                  <a:lnTo>
                    <a:pt x="58" y="140"/>
                  </a:lnTo>
                  <a:lnTo>
                    <a:pt x="56" y="140"/>
                  </a:lnTo>
                  <a:lnTo>
                    <a:pt x="54" y="140"/>
                  </a:lnTo>
                  <a:lnTo>
                    <a:pt x="52" y="140"/>
                  </a:lnTo>
                  <a:lnTo>
                    <a:pt x="52" y="140"/>
                  </a:lnTo>
                  <a:lnTo>
                    <a:pt x="50" y="140"/>
                  </a:lnTo>
                  <a:lnTo>
                    <a:pt x="50" y="140"/>
                  </a:lnTo>
                  <a:lnTo>
                    <a:pt x="48" y="140"/>
                  </a:lnTo>
                  <a:lnTo>
                    <a:pt x="48" y="142"/>
                  </a:lnTo>
                  <a:lnTo>
                    <a:pt x="46" y="144"/>
                  </a:lnTo>
                  <a:lnTo>
                    <a:pt x="46" y="146"/>
                  </a:lnTo>
                  <a:lnTo>
                    <a:pt x="44" y="148"/>
                  </a:lnTo>
                  <a:lnTo>
                    <a:pt x="44" y="150"/>
                  </a:lnTo>
                  <a:lnTo>
                    <a:pt x="42" y="152"/>
                  </a:lnTo>
                  <a:lnTo>
                    <a:pt x="42" y="154"/>
                  </a:lnTo>
                  <a:lnTo>
                    <a:pt x="42" y="158"/>
                  </a:lnTo>
                  <a:lnTo>
                    <a:pt x="40" y="164"/>
                  </a:lnTo>
                  <a:lnTo>
                    <a:pt x="40" y="168"/>
                  </a:lnTo>
                  <a:lnTo>
                    <a:pt x="40" y="170"/>
                  </a:lnTo>
                  <a:lnTo>
                    <a:pt x="40" y="170"/>
                  </a:lnTo>
                  <a:lnTo>
                    <a:pt x="40" y="172"/>
                  </a:lnTo>
                  <a:lnTo>
                    <a:pt x="42" y="172"/>
                  </a:lnTo>
                  <a:lnTo>
                    <a:pt x="42" y="176"/>
                  </a:lnTo>
                  <a:lnTo>
                    <a:pt x="44" y="178"/>
                  </a:lnTo>
                  <a:lnTo>
                    <a:pt x="46" y="180"/>
                  </a:lnTo>
                  <a:lnTo>
                    <a:pt x="48" y="184"/>
                  </a:lnTo>
                  <a:lnTo>
                    <a:pt x="50" y="186"/>
                  </a:lnTo>
                  <a:lnTo>
                    <a:pt x="36" y="200"/>
                  </a:lnTo>
                  <a:lnTo>
                    <a:pt x="32" y="196"/>
                  </a:lnTo>
                  <a:lnTo>
                    <a:pt x="28" y="194"/>
                  </a:lnTo>
                  <a:lnTo>
                    <a:pt x="26" y="192"/>
                  </a:lnTo>
                  <a:lnTo>
                    <a:pt x="24" y="190"/>
                  </a:lnTo>
                  <a:lnTo>
                    <a:pt x="22" y="188"/>
                  </a:lnTo>
                  <a:lnTo>
                    <a:pt x="18" y="184"/>
                  </a:lnTo>
                  <a:lnTo>
                    <a:pt x="14" y="18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 name="Freeform 33">
              <a:extLst>
                <a:ext uri="{FF2B5EF4-FFF2-40B4-BE49-F238E27FC236}">
                  <a16:creationId xmlns:a16="http://schemas.microsoft.com/office/drawing/2014/main" id="{9BF15A6A-A7E4-41BC-8A33-516750D8841D}"/>
                </a:ext>
              </a:extLst>
            </p:cNvPr>
            <p:cNvSpPr>
              <a:spLocks/>
            </p:cNvSpPr>
            <p:nvPr/>
          </p:nvSpPr>
          <p:spPr bwMode="auto">
            <a:xfrm>
              <a:off x="5793438" y="3582717"/>
              <a:ext cx="311774" cy="370664"/>
            </a:xfrm>
            <a:custGeom>
              <a:avLst/>
              <a:gdLst>
                <a:gd name="T0" fmla="*/ 132 w 180"/>
                <a:gd name="T1" fmla="*/ 2 h 214"/>
                <a:gd name="T2" fmla="*/ 124 w 180"/>
                <a:gd name="T3" fmla="*/ 6 h 214"/>
                <a:gd name="T4" fmla="*/ 122 w 180"/>
                <a:gd name="T5" fmla="*/ 24 h 214"/>
                <a:gd name="T6" fmla="*/ 114 w 180"/>
                <a:gd name="T7" fmla="*/ 48 h 214"/>
                <a:gd name="T8" fmla="*/ 108 w 180"/>
                <a:gd name="T9" fmla="*/ 56 h 214"/>
                <a:gd name="T10" fmla="*/ 100 w 180"/>
                <a:gd name="T11" fmla="*/ 62 h 214"/>
                <a:gd name="T12" fmla="*/ 98 w 180"/>
                <a:gd name="T13" fmla="*/ 76 h 214"/>
                <a:gd name="T14" fmla="*/ 94 w 180"/>
                <a:gd name="T15" fmla="*/ 80 h 214"/>
                <a:gd name="T16" fmla="*/ 84 w 180"/>
                <a:gd name="T17" fmla="*/ 80 h 214"/>
                <a:gd name="T18" fmla="*/ 66 w 180"/>
                <a:gd name="T19" fmla="*/ 90 h 214"/>
                <a:gd name="T20" fmla="*/ 54 w 180"/>
                <a:gd name="T21" fmla="*/ 100 h 214"/>
                <a:gd name="T22" fmla="*/ 50 w 180"/>
                <a:gd name="T23" fmla="*/ 112 h 214"/>
                <a:gd name="T24" fmla="*/ 46 w 180"/>
                <a:gd name="T25" fmla="*/ 116 h 214"/>
                <a:gd name="T26" fmla="*/ 22 w 180"/>
                <a:gd name="T27" fmla="*/ 116 h 214"/>
                <a:gd name="T28" fmla="*/ 8 w 180"/>
                <a:gd name="T29" fmla="*/ 118 h 214"/>
                <a:gd name="T30" fmla="*/ 4 w 180"/>
                <a:gd name="T31" fmla="*/ 124 h 214"/>
                <a:gd name="T32" fmla="*/ 2 w 180"/>
                <a:gd name="T33" fmla="*/ 140 h 214"/>
                <a:gd name="T34" fmla="*/ 6 w 180"/>
                <a:gd name="T35" fmla="*/ 146 h 214"/>
                <a:gd name="T36" fmla="*/ 14 w 180"/>
                <a:gd name="T37" fmla="*/ 148 h 214"/>
                <a:gd name="T38" fmla="*/ 18 w 180"/>
                <a:gd name="T39" fmla="*/ 150 h 214"/>
                <a:gd name="T40" fmla="*/ 22 w 180"/>
                <a:gd name="T41" fmla="*/ 158 h 214"/>
                <a:gd name="T42" fmla="*/ 16 w 180"/>
                <a:gd name="T43" fmla="*/ 166 h 214"/>
                <a:gd name="T44" fmla="*/ 2 w 180"/>
                <a:gd name="T45" fmla="*/ 172 h 214"/>
                <a:gd name="T46" fmla="*/ 12 w 180"/>
                <a:gd name="T47" fmla="*/ 174 h 214"/>
                <a:gd name="T48" fmla="*/ 16 w 180"/>
                <a:gd name="T49" fmla="*/ 182 h 214"/>
                <a:gd name="T50" fmla="*/ 20 w 180"/>
                <a:gd name="T51" fmla="*/ 188 h 214"/>
                <a:gd name="T52" fmla="*/ 34 w 180"/>
                <a:gd name="T53" fmla="*/ 190 h 214"/>
                <a:gd name="T54" fmla="*/ 52 w 180"/>
                <a:gd name="T55" fmla="*/ 184 h 214"/>
                <a:gd name="T56" fmla="*/ 60 w 180"/>
                <a:gd name="T57" fmla="*/ 182 h 214"/>
                <a:gd name="T58" fmla="*/ 62 w 180"/>
                <a:gd name="T59" fmla="*/ 188 h 214"/>
                <a:gd name="T60" fmla="*/ 64 w 180"/>
                <a:gd name="T61" fmla="*/ 196 h 214"/>
                <a:gd name="T62" fmla="*/ 80 w 180"/>
                <a:gd name="T63" fmla="*/ 206 h 214"/>
                <a:gd name="T64" fmla="*/ 100 w 180"/>
                <a:gd name="T65" fmla="*/ 206 h 214"/>
                <a:gd name="T66" fmla="*/ 112 w 180"/>
                <a:gd name="T67" fmla="*/ 206 h 214"/>
                <a:gd name="T68" fmla="*/ 128 w 180"/>
                <a:gd name="T69" fmla="*/ 208 h 214"/>
                <a:gd name="T70" fmla="*/ 132 w 180"/>
                <a:gd name="T71" fmla="*/ 204 h 214"/>
                <a:gd name="T72" fmla="*/ 132 w 180"/>
                <a:gd name="T73" fmla="*/ 194 h 214"/>
                <a:gd name="T74" fmla="*/ 120 w 180"/>
                <a:gd name="T75" fmla="*/ 178 h 214"/>
                <a:gd name="T76" fmla="*/ 106 w 180"/>
                <a:gd name="T77" fmla="*/ 164 h 214"/>
                <a:gd name="T78" fmla="*/ 104 w 180"/>
                <a:gd name="T79" fmla="*/ 158 h 214"/>
                <a:gd name="T80" fmla="*/ 108 w 180"/>
                <a:gd name="T81" fmla="*/ 146 h 214"/>
                <a:gd name="T82" fmla="*/ 118 w 180"/>
                <a:gd name="T83" fmla="*/ 136 h 214"/>
                <a:gd name="T84" fmla="*/ 130 w 180"/>
                <a:gd name="T85" fmla="*/ 142 h 214"/>
                <a:gd name="T86" fmla="*/ 142 w 180"/>
                <a:gd name="T87" fmla="*/ 146 h 214"/>
                <a:gd name="T88" fmla="*/ 144 w 180"/>
                <a:gd name="T89" fmla="*/ 142 h 214"/>
                <a:gd name="T90" fmla="*/ 148 w 180"/>
                <a:gd name="T91" fmla="*/ 130 h 214"/>
                <a:gd name="T92" fmla="*/ 150 w 180"/>
                <a:gd name="T93" fmla="*/ 120 h 214"/>
                <a:gd name="T94" fmla="*/ 164 w 180"/>
                <a:gd name="T95" fmla="*/ 110 h 214"/>
                <a:gd name="T96" fmla="*/ 168 w 180"/>
                <a:gd name="T97" fmla="*/ 98 h 214"/>
                <a:gd name="T98" fmla="*/ 178 w 180"/>
                <a:gd name="T99" fmla="*/ 88 h 214"/>
                <a:gd name="T100" fmla="*/ 180 w 180"/>
                <a:gd name="T101" fmla="*/ 82 h 214"/>
                <a:gd name="T102" fmla="*/ 176 w 180"/>
                <a:gd name="T103" fmla="*/ 62 h 214"/>
                <a:gd name="T104" fmla="*/ 164 w 180"/>
                <a:gd name="T105" fmla="*/ 54 h 214"/>
                <a:gd name="T106" fmla="*/ 164 w 180"/>
                <a:gd name="T107" fmla="*/ 44 h 214"/>
                <a:gd name="T108" fmla="*/ 166 w 180"/>
                <a:gd name="T109" fmla="*/ 32 h 214"/>
                <a:gd name="T110" fmla="*/ 158 w 180"/>
                <a:gd name="T111" fmla="*/ 24 h 214"/>
                <a:gd name="T112" fmla="*/ 160 w 180"/>
                <a:gd name="T113" fmla="*/ 16 h 214"/>
                <a:gd name="T114" fmla="*/ 146 w 180"/>
                <a:gd name="T115" fmla="*/ 2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0" h="214">
                  <a:moveTo>
                    <a:pt x="138" y="0"/>
                  </a:moveTo>
                  <a:lnTo>
                    <a:pt x="138" y="0"/>
                  </a:lnTo>
                  <a:lnTo>
                    <a:pt x="138" y="0"/>
                  </a:lnTo>
                  <a:lnTo>
                    <a:pt x="136" y="0"/>
                  </a:lnTo>
                  <a:lnTo>
                    <a:pt x="134" y="2"/>
                  </a:lnTo>
                  <a:lnTo>
                    <a:pt x="132" y="2"/>
                  </a:lnTo>
                  <a:lnTo>
                    <a:pt x="130" y="2"/>
                  </a:lnTo>
                  <a:lnTo>
                    <a:pt x="128" y="4"/>
                  </a:lnTo>
                  <a:lnTo>
                    <a:pt x="126" y="4"/>
                  </a:lnTo>
                  <a:lnTo>
                    <a:pt x="126" y="6"/>
                  </a:lnTo>
                  <a:lnTo>
                    <a:pt x="124" y="6"/>
                  </a:lnTo>
                  <a:lnTo>
                    <a:pt x="124" y="6"/>
                  </a:lnTo>
                  <a:lnTo>
                    <a:pt x="124" y="8"/>
                  </a:lnTo>
                  <a:lnTo>
                    <a:pt x="122" y="12"/>
                  </a:lnTo>
                  <a:lnTo>
                    <a:pt x="122" y="14"/>
                  </a:lnTo>
                  <a:lnTo>
                    <a:pt x="122" y="18"/>
                  </a:lnTo>
                  <a:lnTo>
                    <a:pt x="122" y="22"/>
                  </a:lnTo>
                  <a:lnTo>
                    <a:pt x="122" y="24"/>
                  </a:lnTo>
                  <a:lnTo>
                    <a:pt x="120" y="26"/>
                  </a:lnTo>
                  <a:lnTo>
                    <a:pt x="120" y="30"/>
                  </a:lnTo>
                  <a:lnTo>
                    <a:pt x="118" y="36"/>
                  </a:lnTo>
                  <a:lnTo>
                    <a:pt x="116" y="40"/>
                  </a:lnTo>
                  <a:lnTo>
                    <a:pt x="114" y="44"/>
                  </a:lnTo>
                  <a:lnTo>
                    <a:pt x="114" y="48"/>
                  </a:lnTo>
                  <a:lnTo>
                    <a:pt x="112" y="50"/>
                  </a:lnTo>
                  <a:lnTo>
                    <a:pt x="112" y="52"/>
                  </a:lnTo>
                  <a:lnTo>
                    <a:pt x="110" y="54"/>
                  </a:lnTo>
                  <a:lnTo>
                    <a:pt x="110" y="54"/>
                  </a:lnTo>
                  <a:lnTo>
                    <a:pt x="108" y="56"/>
                  </a:lnTo>
                  <a:lnTo>
                    <a:pt x="108" y="56"/>
                  </a:lnTo>
                  <a:lnTo>
                    <a:pt x="104" y="58"/>
                  </a:lnTo>
                  <a:lnTo>
                    <a:pt x="104" y="58"/>
                  </a:lnTo>
                  <a:lnTo>
                    <a:pt x="102" y="60"/>
                  </a:lnTo>
                  <a:lnTo>
                    <a:pt x="100" y="60"/>
                  </a:lnTo>
                  <a:lnTo>
                    <a:pt x="100" y="60"/>
                  </a:lnTo>
                  <a:lnTo>
                    <a:pt x="100" y="62"/>
                  </a:lnTo>
                  <a:lnTo>
                    <a:pt x="98" y="62"/>
                  </a:lnTo>
                  <a:lnTo>
                    <a:pt x="98" y="64"/>
                  </a:lnTo>
                  <a:lnTo>
                    <a:pt x="98" y="68"/>
                  </a:lnTo>
                  <a:lnTo>
                    <a:pt x="98" y="70"/>
                  </a:lnTo>
                  <a:lnTo>
                    <a:pt x="98" y="72"/>
                  </a:lnTo>
                  <a:lnTo>
                    <a:pt x="98" y="76"/>
                  </a:lnTo>
                  <a:lnTo>
                    <a:pt x="98" y="76"/>
                  </a:lnTo>
                  <a:lnTo>
                    <a:pt x="96" y="78"/>
                  </a:lnTo>
                  <a:lnTo>
                    <a:pt x="96" y="78"/>
                  </a:lnTo>
                  <a:lnTo>
                    <a:pt x="96" y="78"/>
                  </a:lnTo>
                  <a:lnTo>
                    <a:pt x="96" y="78"/>
                  </a:lnTo>
                  <a:lnTo>
                    <a:pt x="94" y="80"/>
                  </a:lnTo>
                  <a:lnTo>
                    <a:pt x="94" y="80"/>
                  </a:lnTo>
                  <a:lnTo>
                    <a:pt x="92" y="80"/>
                  </a:lnTo>
                  <a:lnTo>
                    <a:pt x="90" y="80"/>
                  </a:lnTo>
                  <a:lnTo>
                    <a:pt x="86" y="80"/>
                  </a:lnTo>
                  <a:lnTo>
                    <a:pt x="84" y="80"/>
                  </a:lnTo>
                  <a:lnTo>
                    <a:pt x="84" y="80"/>
                  </a:lnTo>
                  <a:lnTo>
                    <a:pt x="82" y="80"/>
                  </a:lnTo>
                  <a:lnTo>
                    <a:pt x="80" y="82"/>
                  </a:lnTo>
                  <a:lnTo>
                    <a:pt x="78" y="82"/>
                  </a:lnTo>
                  <a:lnTo>
                    <a:pt x="74" y="84"/>
                  </a:lnTo>
                  <a:lnTo>
                    <a:pt x="70" y="88"/>
                  </a:lnTo>
                  <a:lnTo>
                    <a:pt x="66" y="90"/>
                  </a:lnTo>
                  <a:lnTo>
                    <a:pt x="64" y="92"/>
                  </a:lnTo>
                  <a:lnTo>
                    <a:pt x="60" y="94"/>
                  </a:lnTo>
                  <a:lnTo>
                    <a:pt x="58" y="96"/>
                  </a:lnTo>
                  <a:lnTo>
                    <a:pt x="56" y="98"/>
                  </a:lnTo>
                  <a:lnTo>
                    <a:pt x="56" y="98"/>
                  </a:lnTo>
                  <a:lnTo>
                    <a:pt x="54" y="100"/>
                  </a:lnTo>
                  <a:lnTo>
                    <a:pt x="54" y="100"/>
                  </a:lnTo>
                  <a:lnTo>
                    <a:pt x="54" y="102"/>
                  </a:lnTo>
                  <a:lnTo>
                    <a:pt x="52" y="106"/>
                  </a:lnTo>
                  <a:lnTo>
                    <a:pt x="52" y="108"/>
                  </a:lnTo>
                  <a:lnTo>
                    <a:pt x="52" y="110"/>
                  </a:lnTo>
                  <a:lnTo>
                    <a:pt x="50" y="112"/>
                  </a:lnTo>
                  <a:lnTo>
                    <a:pt x="50" y="112"/>
                  </a:lnTo>
                  <a:lnTo>
                    <a:pt x="50" y="114"/>
                  </a:lnTo>
                  <a:lnTo>
                    <a:pt x="50" y="114"/>
                  </a:lnTo>
                  <a:lnTo>
                    <a:pt x="48" y="114"/>
                  </a:lnTo>
                  <a:lnTo>
                    <a:pt x="48" y="114"/>
                  </a:lnTo>
                  <a:lnTo>
                    <a:pt x="46" y="116"/>
                  </a:lnTo>
                  <a:lnTo>
                    <a:pt x="42" y="116"/>
                  </a:lnTo>
                  <a:lnTo>
                    <a:pt x="40" y="116"/>
                  </a:lnTo>
                  <a:lnTo>
                    <a:pt x="38" y="116"/>
                  </a:lnTo>
                  <a:lnTo>
                    <a:pt x="34" y="116"/>
                  </a:lnTo>
                  <a:lnTo>
                    <a:pt x="28" y="116"/>
                  </a:lnTo>
                  <a:lnTo>
                    <a:pt x="22" y="116"/>
                  </a:lnTo>
                  <a:lnTo>
                    <a:pt x="20" y="116"/>
                  </a:lnTo>
                  <a:lnTo>
                    <a:pt x="16" y="116"/>
                  </a:lnTo>
                  <a:lnTo>
                    <a:pt x="14" y="116"/>
                  </a:lnTo>
                  <a:lnTo>
                    <a:pt x="12" y="116"/>
                  </a:lnTo>
                  <a:lnTo>
                    <a:pt x="10" y="116"/>
                  </a:lnTo>
                  <a:lnTo>
                    <a:pt x="8" y="118"/>
                  </a:lnTo>
                  <a:lnTo>
                    <a:pt x="8" y="118"/>
                  </a:lnTo>
                  <a:lnTo>
                    <a:pt x="6" y="118"/>
                  </a:lnTo>
                  <a:lnTo>
                    <a:pt x="6" y="118"/>
                  </a:lnTo>
                  <a:lnTo>
                    <a:pt x="6" y="120"/>
                  </a:lnTo>
                  <a:lnTo>
                    <a:pt x="4" y="122"/>
                  </a:lnTo>
                  <a:lnTo>
                    <a:pt x="4" y="124"/>
                  </a:lnTo>
                  <a:lnTo>
                    <a:pt x="2" y="128"/>
                  </a:lnTo>
                  <a:lnTo>
                    <a:pt x="0" y="130"/>
                  </a:lnTo>
                  <a:lnTo>
                    <a:pt x="2" y="132"/>
                  </a:lnTo>
                  <a:lnTo>
                    <a:pt x="2" y="134"/>
                  </a:lnTo>
                  <a:lnTo>
                    <a:pt x="2" y="138"/>
                  </a:lnTo>
                  <a:lnTo>
                    <a:pt x="2" y="140"/>
                  </a:lnTo>
                  <a:lnTo>
                    <a:pt x="2" y="142"/>
                  </a:lnTo>
                  <a:lnTo>
                    <a:pt x="4" y="144"/>
                  </a:lnTo>
                  <a:lnTo>
                    <a:pt x="4" y="146"/>
                  </a:lnTo>
                  <a:lnTo>
                    <a:pt x="4" y="146"/>
                  </a:lnTo>
                  <a:lnTo>
                    <a:pt x="4" y="146"/>
                  </a:lnTo>
                  <a:lnTo>
                    <a:pt x="6" y="146"/>
                  </a:lnTo>
                  <a:lnTo>
                    <a:pt x="6" y="148"/>
                  </a:lnTo>
                  <a:lnTo>
                    <a:pt x="8" y="148"/>
                  </a:lnTo>
                  <a:lnTo>
                    <a:pt x="8" y="148"/>
                  </a:lnTo>
                  <a:lnTo>
                    <a:pt x="10" y="148"/>
                  </a:lnTo>
                  <a:lnTo>
                    <a:pt x="12" y="148"/>
                  </a:lnTo>
                  <a:lnTo>
                    <a:pt x="14" y="148"/>
                  </a:lnTo>
                  <a:lnTo>
                    <a:pt x="16" y="148"/>
                  </a:lnTo>
                  <a:lnTo>
                    <a:pt x="16" y="148"/>
                  </a:lnTo>
                  <a:lnTo>
                    <a:pt x="16" y="148"/>
                  </a:lnTo>
                  <a:lnTo>
                    <a:pt x="18" y="148"/>
                  </a:lnTo>
                  <a:lnTo>
                    <a:pt x="18" y="150"/>
                  </a:lnTo>
                  <a:lnTo>
                    <a:pt x="18" y="150"/>
                  </a:lnTo>
                  <a:lnTo>
                    <a:pt x="20" y="152"/>
                  </a:lnTo>
                  <a:lnTo>
                    <a:pt x="20" y="154"/>
                  </a:lnTo>
                  <a:lnTo>
                    <a:pt x="20" y="154"/>
                  </a:lnTo>
                  <a:lnTo>
                    <a:pt x="22" y="156"/>
                  </a:lnTo>
                  <a:lnTo>
                    <a:pt x="22" y="156"/>
                  </a:lnTo>
                  <a:lnTo>
                    <a:pt x="22" y="158"/>
                  </a:lnTo>
                  <a:lnTo>
                    <a:pt x="20" y="158"/>
                  </a:lnTo>
                  <a:lnTo>
                    <a:pt x="20" y="160"/>
                  </a:lnTo>
                  <a:lnTo>
                    <a:pt x="20" y="162"/>
                  </a:lnTo>
                  <a:lnTo>
                    <a:pt x="18" y="162"/>
                  </a:lnTo>
                  <a:lnTo>
                    <a:pt x="16" y="164"/>
                  </a:lnTo>
                  <a:lnTo>
                    <a:pt x="16" y="166"/>
                  </a:lnTo>
                  <a:lnTo>
                    <a:pt x="14" y="166"/>
                  </a:lnTo>
                  <a:lnTo>
                    <a:pt x="12" y="168"/>
                  </a:lnTo>
                  <a:lnTo>
                    <a:pt x="12" y="168"/>
                  </a:lnTo>
                  <a:lnTo>
                    <a:pt x="10" y="170"/>
                  </a:lnTo>
                  <a:lnTo>
                    <a:pt x="6" y="170"/>
                  </a:lnTo>
                  <a:lnTo>
                    <a:pt x="2" y="172"/>
                  </a:lnTo>
                  <a:lnTo>
                    <a:pt x="0" y="172"/>
                  </a:lnTo>
                  <a:lnTo>
                    <a:pt x="2" y="172"/>
                  </a:lnTo>
                  <a:lnTo>
                    <a:pt x="6" y="172"/>
                  </a:lnTo>
                  <a:lnTo>
                    <a:pt x="8" y="174"/>
                  </a:lnTo>
                  <a:lnTo>
                    <a:pt x="10" y="174"/>
                  </a:lnTo>
                  <a:lnTo>
                    <a:pt x="12" y="174"/>
                  </a:lnTo>
                  <a:lnTo>
                    <a:pt x="12" y="176"/>
                  </a:lnTo>
                  <a:lnTo>
                    <a:pt x="12" y="176"/>
                  </a:lnTo>
                  <a:lnTo>
                    <a:pt x="14" y="176"/>
                  </a:lnTo>
                  <a:lnTo>
                    <a:pt x="14" y="178"/>
                  </a:lnTo>
                  <a:lnTo>
                    <a:pt x="14" y="180"/>
                  </a:lnTo>
                  <a:lnTo>
                    <a:pt x="16" y="182"/>
                  </a:lnTo>
                  <a:lnTo>
                    <a:pt x="16" y="184"/>
                  </a:lnTo>
                  <a:lnTo>
                    <a:pt x="16" y="186"/>
                  </a:lnTo>
                  <a:lnTo>
                    <a:pt x="18" y="188"/>
                  </a:lnTo>
                  <a:lnTo>
                    <a:pt x="18" y="188"/>
                  </a:lnTo>
                  <a:lnTo>
                    <a:pt x="18" y="188"/>
                  </a:lnTo>
                  <a:lnTo>
                    <a:pt x="20" y="188"/>
                  </a:lnTo>
                  <a:lnTo>
                    <a:pt x="22" y="190"/>
                  </a:lnTo>
                  <a:lnTo>
                    <a:pt x="22" y="190"/>
                  </a:lnTo>
                  <a:lnTo>
                    <a:pt x="24" y="190"/>
                  </a:lnTo>
                  <a:lnTo>
                    <a:pt x="28" y="190"/>
                  </a:lnTo>
                  <a:lnTo>
                    <a:pt x="32" y="190"/>
                  </a:lnTo>
                  <a:lnTo>
                    <a:pt x="34" y="190"/>
                  </a:lnTo>
                  <a:lnTo>
                    <a:pt x="38" y="190"/>
                  </a:lnTo>
                  <a:lnTo>
                    <a:pt x="44" y="188"/>
                  </a:lnTo>
                  <a:lnTo>
                    <a:pt x="44" y="188"/>
                  </a:lnTo>
                  <a:lnTo>
                    <a:pt x="46" y="188"/>
                  </a:lnTo>
                  <a:lnTo>
                    <a:pt x="48" y="186"/>
                  </a:lnTo>
                  <a:lnTo>
                    <a:pt x="52" y="184"/>
                  </a:lnTo>
                  <a:lnTo>
                    <a:pt x="54" y="182"/>
                  </a:lnTo>
                  <a:lnTo>
                    <a:pt x="56" y="182"/>
                  </a:lnTo>
                  <a:lnTo>
                    <a:pt x="58" y="182"/>
                  </a:lnTo>
                  <a:lnTo>
                    <a:pt x="58" y="182"/>
                  </a:lnTo>
                  <a:lnTo>
                    <a:pt x="60" y="182"/>
                  </a:lnTo>
                  <a:lnTo>
                    <a:pt x="60" y="182"/>
                  </a:lnTo>
                  <a:lnTo>
                    <a:pt x="60" y="182"/>
                  </a:lnTo>
                  <a:lnTo>
                    <a:pt x="62" y="182"/>
                  </a:lnTo>
                  <a:lnTo>
                    <a:pt x="62" y="184"/>
                  </a:lnTo>
                  <a:lnTo>
                    <a:pt x="62" y="184"/>
                  </a:lnTo>
                  <a:lnTo>
                    <a:pt x="62" y="186"/>
                  </a:lnTo>
                  <a:lnTo>
                    <a:pt x="62" y="188"/>
                  </a:lnTo>
                  <a:lnTo>
                    <a:pt x="62" y="192"/>
                  </a:lnTo>
                  <a:lnTo>
                    <a:pt x="62" y="194"/>
                  </a:lnTo>
                  <a:lnTo>
                    <a:pt x="62" y="194"/>
                  </a:lnTo>
                  <a:lnTo>
                    <a:pt x="64" y="194"/>
                  </a:lnTo>
                  <a:lnTo>
                    <a:pt x="64" y="196"/>
                  </a:lnTo>
                  <a:lnTo>
                    <a:pt x="64" y="196"/>
                  </a:lnTo>
                  <a:lnTo>
                    <a:pt x="66" y="198"/>
                  </a:lnTo>
                  <a:lnTo>
                    <a:pt x="68" y="200"/>
                  </a:lnTo>
                  <a:lnTo>
                    <a:pt x="70" y="200"/>
                  </a:lnTo>
                  <a:lnTo>
                    <a:pt x="76" y="204"/>
                  </a:lnTo>
                  <a:lnTo>
                    <a:pt x="78" y="204"/>
                  </a:lnTo>
                  <a:lnTo>
                    <a:pt x="80" y="206"/>
                  </a:lnTo>
                  <a:lnTo>
                    <a:pt x="92" y="214"/>
                  </a:lnTo>
                  <a:lnTo>
                    <a:pt x="94" y="214"/>
                  </a:lnTo>
                  <a:lnTo>
                    <a:pt x="96" y="210"/>
                  </a:lnTo>
                  <a:lnTo>
                    <a:pt x="96" y="210"/>
                  </a:lnTo>
                  <a:lnTo>
                    <a:pt x="98" y="208"/>
                  </a:lnTo>
                  <a:lnTo>
                    <a:pt x="100" y="206"/>
                  </a:lnTo>
                  <a:lnTo>
                    <a:pt x="102" y="206"/>
                  </a:lnTo>
                  <a:lnTo>
                    <a:pt x="102" y="206"/>
                  </a:lnTo>
                  <a:lnTo>
                    <a:pt x="104" y="206"/>
                  </a:lnTo>
                  <a:lnTo>
                    <a:pt x="106" y="206"/>
                  </a:lnTo>
                  <a:lnTo>
                    <a:pt x="108" y="206"/>
                  </a:lnTo>
                  <a:lnTo>
                    <a:pt x="112" y="206"/>
                  </a:lnTo>
                  <a:lnTo>
                    <a:pt x="116" y="206"/>
                  </a:lnTo>
                  <a:lnTo>
                    <a:pt x="120" y="208"/>
                  </a:lnTo>
                  <a:lnTo>
                    <a:pt x="122" y="208"/>
                  </a:lnTo>
                  <a:lnTo>
                    <a:pt x="124" y="208"/>
                  </a:lnTo>
                  <a:lnTo>
                    <a:pt x="126" y="208"/>
                  </a:lnTo>
                  <a:lnTo>
                    <a:pt x="128" y="208"/>
                  </a:lnTo>
                  <a:lnTo>
                    <a:pt x="128" y="206"/>
                  </a:lnTo>
                  <a:lnTo>
                    <a:pt x="130" y="206"/>
                  </a:lnTo>
                  <a:lnTo>
                    <a:pt x="130" y="206"/>
                  </a:lnTo>
                  <a:lnTo>
                    <a:pt x="130" y="206"/>
                  </a:lnTo>
                  <a:lnTo>
                    <a:pt x="130" y="204"/>
                  </a:lnTo>
                  <a:lnTo>
                    <a:pt x="132" y="204"/>
                  </a:lnTo>
                  <a:lnTo>
                    <a:pt x="132" y="202"/>
                  </a:lnTo>
                  <a:lnTo>
                    <a:pt x="132" y="200"/>
                  </a:lnTo>
                  <a:lnTo>
                    <a:pt x="132" y="198"/>
                  </a:lnTo>
                  <a:lnTo>
                    <a:pt x="132" y="196"/>
                  </a:lnTo>
                  <a:lnTo>
                    <a:pt x="132" y="194"/>
                  </a:lnTo>
                  <a:lnTo>
                    <a:pt x="132" y="194"/>
                  </a:lnTo>
                  <a:lnTo>
                    <a:pt x="132" y="192"/>
                  </a:lnTo>
                  <a:lnTo>
                    <a:pt x="130" y="190"/>
                  </a:lnTo>
                  <a:lnTo>
                    <a:pt x="128" y="188"/>
                  </a:lnTo>
                  <a:lnTo>
                    <a:pt x="126" y="186"/>
                  </a:lnTo>
                  <a:lnTo>
                    <a:pt x="124" y="182"/>
                  </a:lnTo>
                  <a:lnTo>
                    <a:pt x="120" y="178"/>
                  </a:lnTo>
                  <a:lnTo>
                    <a:pt x="116" y="172"/>
                  </a:lnTo>
                  <a:lnTo>
                    <a:pt x="114" y="172"/>
                  </a:lnTo>
                  <a:lnTo>
                    <a:pt x="114" y="170"/>
                  </a:lnTo>
                  <a:lnTo>
                    <a:pt x="110" y="168"/>
                  </a:lnTo>
                  <a:lnTo>
                    <a:pt x="108" y="166"/>
                  </a:lnTo>
                  <a:lnTo>
                    <a:pt x="106" y="164"/>
                  </a:lnTo>
                  <a:lnTo>
                    <a:pt x="104" y="162"/>
                  </a:lnTo>
                  <a:lnTo>
                    <a:pt x="104" y="162"/>
                  </a:lnTo>
                  <a:lnTo>
                    <a:pt x="104" y="162"/>
                  </a:lnTo>
                  <a:lnTo>
                    <a:pt x="104" y="160"/>
                  </a:lnTo>
                  <a:lnTo>
                    <a:pt x="104" y="160"/>
                  </a:lnTo>
                  <a:lnTo>
                    <a:pt x="104" y="158"/>
                  </a:lnTo>
                  <a:lnTo>
                    <a:pt x="104" y="156"/>
                  </a:lnTo>
                  <a:lnTo>
                    <a:pt x="104" y="154"/>
                  </a:lnTo>
                  <a:lnTo>
                    <a:pt x="104" y="152"/>
                  </a:lnTo>
                  <a:lnTo>
                    <a:pt x="106" y="150"/>
                  </a:lnTo>
                  <a:lnTo>
                    <a:pt x="106" y="148"/>
                  </a:lnTo>
                  <a:lnTo>
                    <a:pt x="108" y="146"/>
                  </a:lnTo>
                  <a:lnTo>
                    <a:pt x="110" y="142"/>
                  </a:lnTo>
                  <a:lnTo>
                    <a:pt x="112" y="140"/>
                  </a:lnTo>
                  <a:lnTo>
                    <a:pt x="114" y="138"/>
                  </a:lnTo>
                  <a:lnTo>
                    <a:pt x="116" y="138"/>
                  </a:lnTo>
                  <a:lnTo>
                    <a:pt x="116" y="138"/>
                  </a:lnTo>
                  <a:lnTo>
                    <a:pt x="118" y="136"/>
                  </a:lnTo>
                  <a:lnTo>
                    <a:pt x="118" y="136"/>
                  </a:lnTo>
                  <a:lnTo>
                    <a:pt x="120" y="136"/>
                  </a:lnTo>
                  <a:lnTo>
                    <a:pt x="122" y="138"/>
                  </a:lnTo>
                  <a:lnTo>
                    <a:pt x="124" y="138"/>
                  </a:lnTo>
                  <a:lnTo>
                    <a:pt x="126" y="140"/>
                  </a:lnTo>
                  <a:lnTo>
                    <a:pt x="130" y="142"/>
                  </a:lnTo>
                  <a:lnTo>
                    <a:pt x="134" y="144"/>
                  </a:lnTo>
                  <a:lnTo>
                    <a:pt x="136" y="144"/>
                  </a:lnTo>
                  <a:lnTo>
                    <a:pt x="138" y="144"/>
                  </a:lnTo>
                  <a:lnTo>
                    <a:pt x="138" y="146"/>
                  </a:lnTo>
                  <a:lnTo>
                    <a:pt x="140" y="146"/>
                  </a:lnTo>
                  <a:lnTo>
                    <a:pt x="142" y="146"/>
                  </a:lnTo>
                  <a:lnTo>
                    <a:pt x="142" y="146"/>
                  </a:lnTo>
                  <a:lnTo>
                    <a:pt x="142" y="146"/>
                  </a:lnTo>
                  <a:lnTo>
                    <a:pt x="144" y="144"/>
                  </a:lnTo>
                  <a:lnTo>
                    <a:pt x="144" y="144"/>
                  </a:lnTo>
                  <a:lnTo>
                    <a:pt x="144" y="144"/>
                  </a:lnTo>
                  <a:lnTo>
                    <a:pt x="144" y="142"/>
                  </a:lnTo>
                  <a:lnTo>
                    <a:pt x="146" y="140"/>
                  </a:lnTo>
                  <a:lnTo>
                    <a:pt x="146" y="138"/>
                  </a:lnTo>
                  <a:lnTo>
                    <a:pt x="146" y="136"/>
                  </a:lnTo>
                  <a:lnTo>
                    <a:pt x="146" y="134"/>
                  </a:lnTo>
                  <a:lnTo>
                    <a:pt x="146" y="132"/>
                  </a:lnTo>
                  <a:lnTo>
                    <a:pt x="148" y="130"/>
                  </a:lnTo>
                  <a:lnTo>
                    <a:pt x="148" y="126"/>
                  </a:lnTo>
                  <a:lnTo>
                    <a:pt x="148" y="126"/>
                  </a:lnTo>
                  <a:lnTo>
                    <a:pt x="148" y="124"/>
                  </a:lnTo>
                  <a:lnTo>
                    <a:pt x="148" y="122"/>
                  </a:lnTo>
                  <a:lnTo>
                    <a:pt x="150" y="122"/>
                  </a:lnTo>
                  <a:lnTo>
                    <a:pt x="150" y="120"/>
                  </a:lnTo>
                  <a:lnTo>
                    <a:pt x="154" y="118"/>
                  </a:lnTo>
                  <a:lnTo>
                    <a:pt x="156" y="116"/>
                  </a:lnTo>
                  <a:lnTo>
                    <a:pt x="158" y="116"/>
                  </a:lnTo>
                  <a:lnTo>
                    <a:pt x="160" y="114"/>
                  </a:lnTo>
                  <a:lnTo>
                    <a:pt x="162" y="112"/>
                  </a:lnTo>
                  <a:lnTo>
                    <a:pt x="164" y="110"/>
                  </a:lnTo>
                  <a:lnTo>
                    <a:pt x="164" y="110"/>
                  </a:lnTo>
                  <a:lnTo>
                    <a:pt x="166" y="108"/>
                  </a:lnTo>
                  <a:lnTo>
                    <a:pt x="166" y="108"/>
                  </a:lnTo>
                  <a:lnTo>
                    <a:pt x="166" y="104"/>
                  </a:lnTo>
                  <a:lnTo>
                    <a:pt x="168" y="100"/>
                  </a:lnTo>
                  <a:lnTo>
                    <a:pt x="168" y="98"/>
                  </a:lnTo>
                  <a:lnTo>
                    <a:pt x="170" y="96"/>
                  </a:lnTo>
                  <a:lnTo>
                    <a:pt x="170" y="94"/>
                  </a:lnTo>
                  <a:lnTo>
                    <a:pt x="172" y="94"/>
                  </a:lnTo>
                  <a:lnTo>
                    <a:pt x="174" y="92"/>
                  </a:lnTo>
                  <a:lnTo>
                    <a:pt x="176" y="90"/>
                  </a:lnTo>
                  <a:lnTo>
                    <a:pt x="178" y="88"/>
                  </a:lnTo>
                  <a:lnTo>
                    <a:pt x="178" y="88"/>
                  </a:lnTo>
                  <a:lnTo>
                    <a:pt x="180" y="86"/>
                  </a:lnTo>
                  <a:lnTo>
                    <a:pt x="180" y="86"/>
                  </a:lnTo>
                  <a:lnTo>
                    <a:pt x="180" y="86"/>
                  </a:lnTo>
                  <a:lnTo>
                    <a:pt x="180" y="84"/>
                  </a:lnTo>
                  <a:lnTo>
                    <a:pt x="180" y="82"/>
                  </a:lnTo>
                  <a:lnTo>
                    <a:pt x="180" y="80"/>
                  </a:lnTo>
                  <a:lnTo>
                    <a:pt x="180" y="76"/>
                  </a:lnTo>
                  <a:lnTo>
                    <a:pt x="180" y="72"/>
                  </a:lnTo>
                  <a:lnTo>
                    <a:pt x="178" y="66"/>
                  </a:lnTo>
                  <a:lnTo>
                    <a:pt x="178" y="64"/>
                  </a:lnTo>
                  <a:lnTo>
                    <a:pt x="176" y="62"/>
                  </a:lnTo>
                  <a:lnTo>
                    <a:pt x="172" y="60"/>
                  </a:lnTo>
                  <a:lnTo>
                    <a:pt x="170" y="58"/>
                  </a:lnTo>
                  <a:lnTo>
                    <a:pt x="168" y="56"/>
                  </a:lnTo>
                  <a:lnTo>
                    <a:pt x="166" y="54"/>
                  </a:lnTo>
                  <a:lnTo>
                    <a:pt x="164" y="54"/>
                  </a:lnTo>
                  <a:lnTo>
                    <a:pt x="164" y="54"/>
                  </a:lnTo>
                  <a:lnTo>
                    <a:pt x="164" y="52"/>
                  </a:lnTo>
                  <a:lnTo>
                    <a:pt x="164" y="52"/>
                  </a:lnTo>
                  <a:lnTo>
                    <a:pt x="164" y="50"/>
                  </a:lnTo>
                  <a:lnTo>
                    <a:pt x="164" y="50"/>
                  </a:lnTo>
                  <a:lnTo>
                    <a:pt x="164" y="46"/>
                  </a:lnTo>
                  <a:lnTo>
                    <a:pt x="164" y="44"/>
                  </a:lnTo>
                  <a:lnTo>
                    <a:pt x="166" y="40"/>
                  </a:lnTo>
                  <a:lnTo>
                    <a:pt x="166" y="38"/>
                  </a:lnTo>
                  <a:lnTo>
                    <a:pt x="166" y="36"/>
                  </a:lnTo>
                  <a:lnTo>
                    <a:pt x="166" y="34"/>
                  </a:lnTo>
                  <a:lnTo>
                    <a:pt x="166" y="34"/>
                  </a:lnTo>
                  <a:lnTo>
                    <a:pt x="166" y="32"/>
                  </a:lnTo>
                  <a:lnTo>
                    <a:pt x="164" y="30"/>
                  </a:lnTo>
                  <a:lnTo>
                    <a:pt x="162" y="28"/>
                  </a:lnTo>
                  <a:lnTo>
                    <a:pt x="160" y="26"/>
                  </a:lnTo>
                  <a:lnTo>
                    <a:pt x="160" y="26"/>
                  </a:lnTo>
                  <a:lnTo>
                    <a:pt x="158" y="24"/>
                  </a:lnTo>
                  <a:lnTo>
                    <a:pt x="158" y="24"/>
                  </a:lnTo>
                  <a:lnTo>
                    <a:pt x="158" y="24"/>
                  </a:lnTo>
                  <a:lnTo>
                    <a:pt x="158" y="22"/>
                  </a:lnTo>
                  <a:lnTo>
                    <a:pt x="158" y="22"/>
                  </a:lnTo>
                  <a:lnTo>
                    <a:pt x="158" y="20"/>
                  </a:lnTo>
                  <a:lnTo>
                    <a:pt x="158" y="18"/>
                  </a:lnTo>
                  <a:lnTo>
                    <a:pt x="160" y="16"/>
                  </a:lnTo>
                  <a:lnTo>
                    <a:pt x="160" y="12"/>
                  </a:lnTo>
                  <a:lnTo>
                    <a:pt x="160" y="10"/>
                  </a:lnTo>
                  <a:lnTo>
                    <a:pt x="156" y="6"/>
                  </a:lnTo>
                  <a:lnTo>
                    <a:pt x="152" y="4"/>
                  </a:lnTo>
                  <a:lnTo>
                    <a:pt x="148" y="2"/>
                  </a:lnTo>
                  <a:lnTo>
                    <a:pt x="146" y="2"/>
                  </a:lnTo>
                  <a:lnTo>
                    <a:pt x="144" y="2"/>
                  </a:lnTo>
                  <a:lnTo>
                    <a:pt x="142" y="0"/>
                  </a:lnTo>
                  <a:lnTo>
                    <a:pt x="140" y="0"/>
                  </a:lnTo>
                  <a:lnTo>
                    <a:pt x="138"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 name="Freeform 34">
              <a:extLst>
                <a:ext uri="{FF2B5EF4-FFF2-40B4-BE49-F238E27FC236}">
                  <a16:creationId xmlns:a16="http://schemas.microsoft.com/office/drawing/2014/main" id="{6FAD8C2C-1927-4531-B19B-6DC3A46AE0D9}"/>
                </a:ext>
              </a:extLst>
            </p:cNvPr>
            <p:cNvSpPr>
              <a:spLocks/>
            </p:cNvSpPr>
            <p:nvPr/>
          </p:nvSpPr>
          <p:spPr bwMode="auto">
            <a:xfrm>
              <a:off x="5793438" y="3582717"/>
              <a:ext cx="311774" cy="370664"/>
            </a:xfrm>
            <a:custGeom>
              <a:avLst/>
              <a:gdLst>
                <a:gd name="T0" fmla="*/ 132 w 180"/>
                <a:gd name="T1" fmla="*/ 2 h 214"/>
                <a:gd name="T2" fmla="*/ 124 w 180"/>
                <a:gd name="T3" fmla="*/ 6 h 214"/>
                <a:gd name="T4" fmla="*/ 122 w 180"/>
                <a:gd name="T5" fmla="*/ 24 h 214"/>
                <a:gd name="T6" fmla="*/ 114 w 180"/>
                <a:gd name="T7" fmla="*/ 48 h 214"/>
                <a:gd name="T8" fmla="*/ 108 w 180"/>
                <a:gd name="T9" fmla="*/ 56 h 214"/>
                <a:gd name="T10" fmla="*/ 100 w 180"/>
                <a:gd name="T11" fmla="*/ 62 h 214"/>
                <a:gd name="T12" fmla="*/ 98 w 180"/>
                <a:gd name="T13" fmla="*/ 76 h 214"/>
                <a:gd name="T14" fmla="*/ 94 w 180"/>
                <a:gd name="T15" fmla="*/ 80 h 214"/>
                <a:gd name="T16" fmla="*/ 84 w 180"/>
                <a:gd name="T17" fmla="*/ 80 h 214"/>
                <a:gd name="T18" fmla="*/ 66 w 180"/>
                <a:gd name="T19" fmla="*/ 90 h 214"/>
                <a:gd name="T20" fmla="*/ 54 w 180"/>
                <a:gd name="T21" fmla="*/ 100 h 214"/>
                <a:gd name="T22" fmla="*/ 50 w 180"/>
                <a:gd name="T23" fmla="*/ 112 h 214"/>
                <a:gd name="T24" fmla="*/ 46 w 180"/>
                <a:gd name="T25" fmla="*/ 116 h 214"/>
                <a:gd name="T26" fmla="*/ 22 w 180"/>
                <a:gd name="T27" fmla="*/ 116 h 214"/>
                <a:gd name="T28" fmla="*/ 8 w 180"/>
                <a:gd name="T29" fmla="*/ 118 h 214"/>
                <a:gd name="T30" fmla="*/ 4 w 180"/>
                <a:gd name="T31" fmla="*/ 124 h 214"/>
                <a:gd name="T32" fmla="*/ 2 w 180"/>
                <a:gd name="T33" fmla="*/ 140 h 214"/>
                <a:gd name="T34" fmla="*/ 6 w 180"/>
                <a:gd name="T35" fmla="*/ 146 h 214"/>
                <a:gd name="T36" fmla="*/ 14 w 180"/>
                <a:gd name="T37" fmla="*/ 148 h 214"/>
                <a:gd name="T38" fmla="*/ 18 w 180"/>
                <a:gd name="T39" fmla="*/ 150 h 214"/>
                <a:gd name="T40" fmla="*/ 22 w 180"/>
                <a:gd name="T41" fmla="*/ 158 h 214"/>
                <a:gd name="T42" fmla="*/ 16 w 180"/>
                <a:gd name="T43" fmla="*/ 166 h 214"/>
                <a:gd name="T44" fmla="*/ 2 w 180"/>
                <a:gd name="T45" fmla="*/ 172 h 214"/>
                <a:gd name="T46" fmla="*/ 12 w 180"/>
                <a:gd name="T47" fmla="*/ 174 h 214"/>
                <a:gd name="T48" fmla="*/ 16 w 180"/>
                <a:gd name="T49" fmla="*/ 182 h 214"/>
                <a:gd name="T50" fmla="*/ 20 w 180"/>
                <a:gd name="T51" fmla="*/ 188 h 214"/>
                <a:gd name="T52" fmla="*/ 34 w 180"/>
                <a:gd name="T53" fmla="*/ 190 h 214"/>
                <a:gd name="T54" fmla="*/ 52 w 180"/>
                <a:gd name="T55" fmla="*/ 184 h 214"/>
                <a:gd name="T56" fmla="*/ 60 w 180"/>
                <a:gd name="T57" fmla="*/ 182 h 214"/>
                <a:gd name="T58" fmla="*/ 62 w 180"/>
                <a:gd name="T59" fmla="*/ 188 h 214"/>
                <a:gd name="T60" fmla="*/ 64 w 180"/>
                <a:gd name="T61" fmla="*/ 196 h 214"/>
                <a:gd name="T62" fmla="*/ 80 w 180"/>
                <a:gd name="T63" fmla="*/ 206 h 214"/>
                <a:gd name="T64" fmla="*/ 100 w 180"/>
                <a:gd name="T65" fmla="*/ 206 h 214"/>
                <a:gd name="T66" fmla="*/ 112 w 180"/>
                <a:gd name="T67" fmla="*/ 206 h 214"/>
                <a:gd name="T68" fmla="*/ 128 w 180"/>
                <a:gd name="T69" fmla="*/ 208 h 214"/>
                <a:gd name="T70" fmla="*/ 132 w 180"/>
                <a:gd name="T71" fmla="*/ 204 h 214"/>
                <a:gd name="T72" fmla="*/ 132 w 180"/>
                <a:gd name="T73" fmla="*/ 194 h 214"/>
                <a:gd name="T74" fmla="*/ 120 w 180"/>
                <a:gd name="T75" fmla="*/ 178 h 214"/>
                <a:gd name="T76" fmla="*/ 106 w 180"/>
                <a:gd name="T77" fmla="*/ 164 h 214"/>
                <a:gd name="T78" fmla="*/ 104 w 180"/>
                <a:gd name="T79" fmla="*/ 158 h 214"/>
                <a:gd name="T80" fmla="*/ 108 w 180"/>
                <a:gd name="T81" fmla="*/ 146 h 214"/>
                <a:gd name="T82" fmla="*/ 118 w 180"/>
                <a:gd name="T83" fmla="*/ 136 h 214"/>
                <a:gd name="T84" fmla="*/ 130 w 180"/>
                <a:gd name="T85" fmla="*/ 142 h 214"/>
                <a:gd name="T86" fmla="*/ 142 w 180"/>
                <a:gd name="T87" fmla="*/ 146 h 214"/>
                <a:gd name="T88" fmla="*/ 144 w 180"/>
                <a:gd name="T89" fmla="*/ 142 h 214"/>
                <a:gd name="T90" fmla="*/ 148 w 180"/>
                <a:gd name="T91" fmla="*/ 130 h 214"/>
                <a:gd name="T92" fmla="*/ 150 w 180"/>
                <a:gd name="T93" fmla="*/ 120 h 214"/>
                <a:gd name="T94" fmla="*/ 164 w 180"/>
                <a:gd name="T95" fmla="*/ 110 h 214"/>
                <a:gd name="T96" fmla="*/ 168 w 180"/>
                <a:gd name="T97" fmla="*/ 98 h 214"/>
                <a:gd name="T98" fmla="*/ 178 w 180"/>
                <a:gd name="T99" fmla="*/ 88 h 214"/>
                <a:gd name="T100" fmla="*/ 180 w 180"/>
                <a:gd name="T101" fmla="*/ 82 h 214"/>
                <a:gd name="T102" fmla="*/ 176 w 180"/>
                <a:gd name="T103" fmla="*/ 62 h 214"/>
                <a:gd name="T104" fmla="*/ 164 w 180"/>
                <a:gd name="T105" fmla="*/ 54 h 214"/>
                <a:gd name="T106" fmla="*/ 164 w 180"/>
                <a:gd name="T107" fmla="*/ 44 h 214"/>
                <a:gd name="T108" fmla="*/ 166 w 180"/>
                <a:gd name="T109" fmla="*/ 32 h 214"/>
                <a:gd name="T110" fmla="*/ 158 w 180"/>
                <a:gd name="T111" fmla="*/ 24 h 214"/>
                <a:gd name="T112" fmla="*/ 160 w 180"/>
                <a:gd name="T113" fmla="*/ 16 h 214"/>
                <a:gd name="T114" fmla="*/ 146 w 180"/>
                <a:gd name="T115" fmla="*/ 2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0" h="214">
                  <a:moveTo>
                    <a:pt x="138" y="0"/>
                  </a:moveTo>
                  <a:lnTo>
                    <a:pt x="138" y="0"/>
                  </a:lnTo>
                  <a:lnTo>
                    <a:pt x="138" y="0"/>
                  </a:lnTo>
                  <a:lnTo>
                    <a:pt x="136" y="0"/>
                  </a:lnTo>
                  <a:lnTo>
                    <a:pt x="134" y="2"/>
                  </a:lnTo>
                  <a:lnTo>
                    <a:pt x="132" y="2"/>
                  </a:lnTo>
                  <a:lnTo>
                    <a:pt x="130" y="2"/>
                  </a:lnTo>
                  <a:lnTo>
                    <a:pt x="128" y="4"/>
                  </a:lnTo>
                  <a:lnTo>
                    <a:pt x="126" y="4"/>
                  </a:lnTo>
                  <a:lnTo>
                    <a:pt x="126" y="6"/>
                  </a:lnTo>
                  <a:lnTo>
                    <a:pt x="124" y="6"/>
                  </a:lnTo>
                  <a:lnTo>
                    <a:pt x="124" y="6"/>
                  </a:lnTo>
                  <a:lnTo>
                    <a:pt x="124" y="8"/>
                  </a:lnTo>
                  <a:lnTo>
                    <a:pt x="122" y="12"/>
                  </a:lnTo>
                  <a:lnTo>
                    <a:pt x="122" y="14"/>
                  </a:lnTo>
                  <a:lnTo>
                    <a:pt x="122" y="18"/>
                  </a:lnTo>
                  <a:lnTo>
                    <a:pt x="122" y="22"/>
                  </a:lnTo>
                  <a:lnTo>
                    <a:pt x="122" y="24"/>
                  </a:lnTo>
                  <a:lnTo>
                    <a:pt x="120" y="26"/>
                  </a:lnTo>
                  <a:lnTo>
                    <a:pt x="120" y="30"/>
                  </a:lnTo>
                  <a:lnTo>
                    <a:pt x="118" y="36"/>
                  </a:lnTo>
                  <a:lnTo>
                    <a:pt x="116" y="40"/>
                  </a:lnTo>
                  <a:lnTo>
                    <a:pt x="114" y="44"/>
                  </a:lnTo>
                  <a:lnTo>
                    <a:pt x="114" y="48"/>
                  </a:lnTo>
                  <a:lnTo>
                    <a:pt x="112" y="50"/>
                  </a:lnTo>
                  <a:lnTo>
                    <a:pt x="112" y="52"/>
                  </a:lnTo>
                  <a:lnTo>
                    <a:pt x="110" y="54"/>
                  </a:lnTo>
                  <a:lnTo>
                    <a:pt x="110" y="54"/>
                  </a:lnTo>
                  <a:lnTo>
                    <a:pt x="108" y="56"/>
                  </a:lnTo>
                  <a:lnTo>
                    <a:pt x="108" y="56"/>
                  </a:lnTo>
                  <a:lnTo>
                    <a:pt x="104" y="58"/>
                  </a:lnTo>
                  <a:lnTo>
                    <a:pt x="104" y="58"/>
                  </a:lnTo>
                  <a:lnTo>
                    <a:pt x="102" y="60"/>
                  </a:lnTo>
                  <a:lnTo>
                    <a:pt x="100" y="60"/>
                  </a:lnTo>
                  <a:lnTo>
                    <a:pt x="100" y="60"/>
                  </a:lnTo>
                  <a:lnTo>
                    <a:pt x="100" y="62"/>
                  </a:lnTo>
                  <a:lnTo>
                    <a:pt x="98" y="62"/>
                  </a:lnTo>
                  <a:lnTo>
                    <a:pt x="98" y="64"/>
                  </a:lnTo>
                  <a:lnTo>
                    <a:pt x="98" y="68"/>
                  </a:lnTo>
                  <a:lnTo>
                    <a:pt x="98" y="70"/>
                  </a:lnTo>
                  <a:lnTo>
                    <a:pt x="98" y="72"/>
                  </a:lnTo>
                  <a:lnTo>
                    <a:pt x="98" y="76"/>
                  </a:lnTo>
                  <a:lnTo>
                    <a:pt x="98" y="76"/>
                  </a:lnTo>
                  <a:lnTo>
                    <a:pt x="96" y="78"/>
                  </a:lnTo>
                  <a:lnTo>
                    <a:pt x="96" y="78"/>
                  </a:lnTo>
                  <a:lnTo>
                    <a:pt x="96" y="78"/>
                  </a:lnTo>
                  <a:lnTo>
                    <a:pt x="96" y="78"/>
                  </a:lnTo>
                  <a:lnTo>
                    <a:pt x="94" y="80"/>
                  </a:lnTo>
                  <a:lnTo>
                    <a:pt x="94" y="80"/>
                  </a:lnTo>
                  <a:lnTo>
                    <a:pt x="92" y="80"/>
                  </a:lnTo>
                  <a:lnTo>
                    <a:pt x="90" y="80"/>
                  </a:lnTo>
                  <a:lnTo>
                    <a:pt x="86" y="80"/>
                  </a:lnTo>
                  <a:lnTo>
                    <a:pt x="84" y="80"/>
                  </a:lnTo>
                  <a:lnTo>
                    <a:pt x="84" y="80"/>
                  </a:lnTo>
                  <a:lnTo>
                    <a:pt x="82" y="80"/>
                  </a:lnTo>
                  <a:lnTo>
                    <a:pt x="80" y="82"/>
                  </a:lnTo>
                  <a:lnTo>
                    <a:pt x="78" y="82"/>
                  </a:lnTo>
                  <a:lnTo>
                    <a:pt x="74" y="84"/>
                  </a:lnTo>
                  <a:lnTo>
                    <a:pt x="70" y="88"/>
                  </a:lnTo>
                  <a:lnTo>
                    <a:pt x="66" y="90"/>
                  </a:lnTo>
                  <a:lnTo>
                    <a:pt x="64" y="92"/>
                  </a:lnTo>
                  <a:lnTo>
                    <a:pt x="60" y="94"/>
                  </a:lnTo>
                  <a:lnTo>
                    <a:pt x="58" y="96"/>
                  </a:lnTo>
                  <a:lnTo>
                    <a:pt x="56" y="98"/>
                  </a:lnTo>
                  <a:lnTo>
                    <a:pt x="56" y="98"/>
                  </a:lnTo>
                  <a:lnTo>
                    <a:pt x="54" y="100"/>
                  </a:lnTo>
                  <a:lnTo>
                    <a:pt x="54" y="100"/>
                  </a:lnTo>
                  <a:lnTo>
                    <a:pt x="54" y="102"/>
                  </a:lnTo>
                  <a:lnTo>
                    <a:pt x="52" y="106"/>
                  </a:lnTo>
                  <a:lnTo>
                    <a:pt x="52" y="108"/>
                  </a:lnTo>
                  <a:lnTo>
                    <a:pt x="52" y="110"/>
                  </a:lnTo>
                  <a:lnTo>
                    <a:pt x="50" y="112"/>
                  </a:lnTo>
                  <a:lnTo>
                    <a:pt x="50" y="112"/>
                  </a:lnTo>
                  <a:lnTo>
                    <a:pt x="50" y="114"/>
                  </a:lnTo>
                  <a:lnTo>
                    <a:pt x="50" y="114"/>
                  </a:lnTo>
                  <a:lnTo>
                    <a:pt x="48" y="114"/>
                  </a:lnTo>
                  <a:lnTo>
                    <a:pt x="48" y="114"/>
                  </a:lnTo>
                  <a:lnTo>
                    <a:pt x="46" y="116"/>
                  </a:lnTo>
                  <a:lnTo>
                    <a:pt x="42" y="116"/>
                  </a:lnTo>
                  <a:lnTo>
                    <a:pt x="40" y="116"/>
                  </a:lnTo>
                  <a:lnTo>
                    <a:pt x="38" y="116"/>
                  </a:lnTo>
                  <a:lnTo>
                    <a:pt x="34" y="116"/>
                  </a:lnTo>
                  <a:lnTo>
                    <a:pt x="28" y="116"/>
                  </a:lnTo>
                  <a:lnTo>
                    <a:pt x="22" y="116"/>
                  </a:lnTo>
                  <a:lnTo>
                    <a:pt x="20" y="116"/>
                  </a:lnTo>
                  <a:lnTo>
                    <a:pt x="16" y="116"/>
                  </a:lnTo>
                  <a:lnTo>
                    <a:pt x="14" y="116"/>
                  </a:lnTo>
                  <a:lnTo>
                    <a:pt x="12" y="116"/>
                  </a:lnTo>
                  <a:lnTo>
                    <a:pt x="10" y="116"/>
                  </a:lnTo>
                  <a:lnTo>
                    <a:pt x="8" y="118"/>
                  </a:lnTo>
                  <a:lnTo>
                    <a:pt x="8" y="118"/>
                  </a:lnTo>
                  <a:lnTo>
                    <a:pt x="6" y="118"/>
                  </a:lnTo>
                  <a:lnTo>
                    <a:pt x="6" y="118"/>
                  </a:lnTo>
                  <a:lnTo>
                    <a:pt x="6" y="120"/>
                  </a:lnTo>
                  <a:lnTo>
                    <a:pt x="4" y="122"/>
                  </a:lnTo>
                  <a:lnTo>
                    <a:pt x="4" y="124"/>
                  </a:lnTo>
                  <a:lnTo>
                    <a:pt x="2" y="128"/>
                  </a:lnTo>
                  <a:lnTo>
                    <a:pt x="0" y="130"/>
                  </a:lnTo>
                  <a:lnTo>
                    <a:pt x="2" y="132"/>
                  </a:lnTo>
                  <a:lnTo>
                    <a:pt x="2" y="134"/>
                  </a:lnTo>
                  <a:lnTo>
                    <a:pt x="2" y="138"/>
                  </a:lnTo>
                  <a:lnTo>
                    <a:pt x="2" y="140"/>
                  </a:lnTo>
                  <a:lnTo>
                    <a:pt x="2" y="142"/>
                  </a:lnTo>
                  <a:lnTo>
                    <a:pt x="4" y="144"/>
                  </a:lnTo>
                  <a:lnTo>
                    <a:pt x="4" y="146"/>
                  </a:lnTo>
                  <a:lnTo>
                    <a:pt x="4" y="146"/>
                  </a:lnTo>
                  <a:lnTo>
                    <a:pt x="4" y="146"/>
                  </a:lnTo>
                  <a:lnTo>
                    <a:pt x="6" y="146"/>
                  </a:lnTo>
                  <a:lnTo>
                    <a:pt x="6" y="148"/>
                  </a:lnTo>
                  <a:lnTo>
                    <a:pt x="8" y="148"/>
                  </a:lnTo>
                  <a:lnTo>
                    <a:pt x="8" y="148"/>
                  </a:lnTo>
                  <a:lnTo>
                    <a:pt x="10" y="148"/>
                  </a:lnTo>
                  <a:lnTo>
                    <a:pt x="12" y="148"/>
                  </a:lnTo>
                  <a:lnTo>
                    <a:pt x="14" y="148"/>
                  </a:lnTo>
                  <a:lnTo>
                    <a:pt x="16" y="148"/>
                  </a:lnTo>
                  <a:lnTo>
                    <a:pt x="16" y="148"/>
                  </a:lnTo>
                  <a:lnTo>
                    <a:pt x="16" y="148"/>
                  </a:lnTo>
                  <a:lnTo>
                    <a:pt x="18" y="148"/>
                  </a:lnTo>
                  <a:lnTo>
                    <a:pt x="18" y="150"/>
                  </a:lnTo>
                  <a:lnTo>
                    <a:pt x="18" y="150"/>
                  </a:lnTo>
                  <a:lnTo>
                    <a:pt x="20" y="152"/>
                  </a:lnTo>
                  <a:lnTo>
                    <a:pt x="20" y="154"/>
                  </a:lnTo>
                  <a:lnTo>
                    <a:pt x="20" y="154"/>
                  </a:lnTo>
                  <a:lnTo>
                    <a:pt x="22" y="156"/>
                  </a:lnTo>
                  <a:lnTo>
                    <a:pt x="22" y="156"/>
                  </a:lnTo>
                  <a:lnTo>
                    <a:pt x="22" y="158"/>
                  </a:lnTo>
                  <a:lnTo>
                    <a:pt x="20" y="158"/>
                  </a:lnTo>
                  <a:lnTo>
                    <a:pt x="20" y="160"/>
                  </a:lnTo>
                  <a:lnTo>
                    <a:pt x="20" y="162"/>
                  </a:lnTo>
                  <a:lnTo>
                    <a:pt x="18" y="162"/>
                  </a:lnTo>
                  <a:lnTo>
                    <a:pt x="16" y="164"/>
                  </a:lnTo>
                  <a:lnTo>
                    <a:pt x="16" y="166"/>
                  </a:lnTo>
                  <a:lnTo>
                    <a:pt x="14" y="166"/>
                  </a:lnTo>
                  <a:lnTo>
                    <a:pt x="12" y="168"/>
                  </a:lnTo>
                  <a:lnTo>
                    <a:pt x="12" y="168"/>
                  </a:lnTo>
                  <a:lnTo>
                    <a:pt x="10" y="170"/>
                  </a:lnTo>
                  <a:lnTo>
                    <a:pt x="6" y="170"/>
                  </a:lnTo>
                  <a:lnTo>
                    <a:pt x="2" y="172"/>
                  </a:lnTo>
                  <a:lnTo>
                    <a:pt x="0" y="172"/>
                  </a:lnTo>
                  <a:lnTo>
                    <a:pt x="2" y="172"/>
                  </a:lnTo>
                  <a:lnTo>
                    <a:pt x="6" y="172"/>
                  </a:lnTo>
                  <a:lnTo>
                    <a:pt x="8" y="174"/>
                  </a:lnTo>
                  <a:lnTo>
                    <a:pt x="10" y="174"/>
                  </a:lnTo>
                  <a:lnTo>
                    <a:pt x="12" y="174"/>
                  </a:lnTo>
                  <a:lnTo>
                    <a:pt x="12" y="176"/>
                  </a:lnTo>
                  <a:lnTo>
                    <a:pt x="12" y="176"/>
                  </a:lnTo>
                  <a:lnTo>
                    <a:pt x="14" y="176"/>
                  </a:lnTo>
                  <a:lnTo>
                    <a:pt x="14" y="178"/>
                  </a:lnTo>
                  <a:lnTo>
                    <a:pt x="14" y="180"/>
                  </a:lnTo>
                  <a:lnTo>
                    <a:pt x="16" y="182"/>
                  </a:lnTo>
                  <a:lnTo>
                    <a:pt x="16" y="184"/>
                  </a:lnTo>
                  <a:lnTo>
                    <a:pt x="16" y="186"/>
                  </a:lnTo>
                  <a:lnTo>
                    <a:pt x="18" y="188"/>
                  </a:lnTo>
                  <a:lnTo>
                    <a:pt x="18" y="188"/>
                  </a:lnTo>
                  <a:lnTo>
                    <a:pt x="18" y="188"/>
                  </a:lnTo>
                  <a:lnTo>
                    <a:pt x="20" y="188"/>
                  </a:lnTo>
                  <a:lnTo>
                    <a:pt x="22" y="190"/>
                  </a:lnTo>
                  <a:lnTo>
                    <a:pt x="22" y="190"/>
                  </a:lnTo>
                  <a:lnTo>
                    <a:pt x="24" y="190"/>
                  </a:lnTo>
                  <a:lnTo>
                    <a:pt x="28" y="190"/>
                  </a:lnTo>
                  <a:lnTo>
                    <a:pt x="32" y="190"/>
                  </a:lnTo>
                  <a:lnTo>
                    <a:pt x="34" y="190"/>
                  </a:lnTo>
                  <a:lnTo>
                    <a:pt x="38" y="190"/>
                  </a:lnTo>
                  <a:lnTo>
                    <a:pt x="44" y="188"/>
                  </a:lnTo>
                  <a:lnTo>
                    <a:pt x="44" y="188"/>
                  </a:lnTo>
                  <a:lnTo>
                    <a:pt x="46" y="188"/>
                  </a:lnTo>
                  <a:lnTo>
                    <a:pt x="48" y="186"/>
                  </a:lnTo>
                  <a:lnTo>
                    <a:pt x="52" y="184"/>
                  </a:lnTo>
                  <a:lnTo>
                    <a:pt x="54" y="182"/>
                  </a:lnTo>
                  <a:lnTo>
                    <a:pt x="56" y="182"/>
                  </a:lnTo>
                  <a:lnTo>
                    <a:pt x="58" y="182"/>
                  </a:lnTo>
                  <a:lnTo>
                    <a:pt x="58" y="182"/>
                  </a:lnTo>
                  <a:lnTo>
                    <a:pt x="60" y="182"/>
                  </a:lnTo>
                  <a:lnTo>
                    <a:pt x="60" y="182"/>
                  </a:lnTo>
                  <a:lnTo>
                    <a:pt x="60" y="182"/>
                  </a:lnTo>
                  <a:lnTo>
                    <a:pt x="62" y="182"/>
                  </a:lnTo>
                  <a:lnTo>
                    <a:pt x="62" y="184"/>
                  </a:lnTo>
                  <a:lnTo>
                    <a:pt x="62" y="184"/>
                  </a:lnTo>
                  <a:lnTo>
                    <a:pt x="62" y="186"/>
                  </a:lnTo>
                  <a:lnTo>
                    <a:pt x="62" y="188"/>
                  </a:lnTo>
                  <a:lnTo>
                    <a:pt x="62" y="192"/>
                  </a:lnTo>
                  <a:lnTo>
                    <a:pt x="62" y="194"/>
                  </a:lnTo>
                  <a:lnTo>
                    <a:pt x="62" y="194"/>
                  </a:lnTo>
                  <a:lnTo>
                    <a:pt x="64" y="194"/>
                  </a:lnTo>
                  <a:lnTo>
                    <a:pt x="64" y="196"/>
                  </a:lnTo>
                  <a:lnTo>
                    <a:pt x="64" y="196"/>
                  </a:lnTo>
                  <a:lnTo>
                    <a:pt x="66" y="198"/>
                  </a:lnTo>
                  <a:lnTo>
                    <a:pt x="68" y="200"/>
                  </a:lnTo>
                  <a:lnTo>
                    <a:pt x="70" y="200"/>
                  </a:lnTo>
                  <a:lnTo>
                    <a:pt x="76" y="204"/>
                  </a:lnTo>
                  <a:lnTo>
                    <a:pt x="78" y="204"/>
                  </a:lnTo>
                  <a:lnTo>
                    <a:pt x="80" y="206"/>
                  </a:lnTo>
                  <a:lnTo>
                    <a:pt x="92" y="214"/>
                  </a:lnTo>
                  <a:lnTo>
                    <a:pt x="94" y="214"/>
                  </a:lnTo>
                  <a:lnTo>
                    <a:pt x="96" y="210"/>
                  </a:lnTo>
                  <a:lnTo>
                    <a:pt x="96" y="210"/>
                  </a:lnTo>
                  <a:lnTo>
                    <a:pt x="98" y="208"/>
                  </a:lnTo>
                  <a:lnTo>
                    <a:pt x="100" y="206"/>
                  </a:lnTo>
                  <a:lnTo>
                    <a:pt x="102" y="206"/>
                  </a:lnTo>
                  <a:lnTo>
                    <a:pt x="102" y="206"/>
                  </a:lnTo>
                  <a:lnTo>
                    <a:pt x="104" y="206"/>
                  </a:lnTo>
                  <a:lnTo>
                    <a:pt x="106" y="206"/>
                  </a:lnTo>
                  <a:lnTo>
                    <a:pt x="108" y="206"/>
                  </a:lnTo>
                  <a:lnTo>
                    <a:pt x="112" y="206"/>
                  </a:lnTo>
                  <a:lnTo>
                    <a:pt x="116" y="206"/>
                  </a:lnTo>
                  <a:lnTo>
                    <a:pt x="120" y="208"/>
                  </a:lnTo>
                  <a:lnTo>
                    <a:pt x="122" y="208"/>
                  </a:lnTo>
                  <a:lnTo>
                    <a:pt x="124" y="208"/>
                  </a:lnTo>
                  <a:lnTo>
                    <a:pt x="126" y="208"/>
                  </a:lnTo>
                  <a:lnTo>
                    <a:pt x="128" y="208"/>
                  </a:lnTo>
                  <a:lnTo>
                    <a:pt x="128" y="206"/>
                  </a:lnTo>
                  <a:lnTo>
                    <a:pt x="130" y="206"/>
                  </a:lnTo>
                  <a:lnTo>
                    <a:pt x="130" y="206"/>
                  </a:lnTo>
                  <a:lnTo>
                    <a:pt x="130" y="206"/>
                  </a:lnTo>
                  <a:lnTo>
                    <a:pt x="130" y="204"/>
                  </a:lnTo>
                  <a:lnTo>
                    <a:pt x="132" y="204"/>
                  </a:lnTo>
                  <a:lnTo>
                    <a:pt x="132" y="202"/>
                  </a:lnTo>
                  <a:lnTo>
                    <a:pt x="132" y="200"/>
                  </a:lnTo>
                  <a:lnTo>
                    <a:pt x="132" y="198"/>
                  </a:lnTo>
                  <a:lnTo>
                    <a:pt x="132" y="196"/>
                  </a:lnTo>
                  <a:lnTo>
                    <a:pt x="132" y="194"/>
                  </a:lnTo>
                  <a:lnTo>
                    <a:pt x="132" y="194"/>
                  </a:lnTo>
                  <a:lnTo>
                    <a:pt x="132" y="192"/>
                  </a:lnTo>
                  <a:lnTo>
                    <a:pt x="130" y="190"/>
                  </a:lnTo>
                  <a:lnTo>
                    <a:pt x="128" y="188"/>
                  </a:lnTo>
                  <a:lnTo>
                    <a:pt x="126" y="186"/>
                  </a:lnTo>
                  <a:lnTo>
                    <a:pt x="124" y="182"/>
                  </a:lnTo>
                  <a:lnTo>
                    <a:pt x="120" y="178"/>
                  </a:lnTo>
                  <a:lnTo>
                    <a:pt x="116" y="172"/>
                  </a:lnTo>
                  <a:lnTo>
                    <a:pt x="114" y="172"/>
                  </a:lnTo>
                  <a:lnTo>
                    <a:pt x="114" y="170"/>
                  </a:lnTo>
                  <a:lnTo>
                    <a:pt x="110" y="168"/>
                  </a:lnTo>
                  <a:lnTo>
                    <a:pt x="108" y="166"/>
                  </a:lnTo>
                  <a:lnTo>
                    <a:pt x="106" y="164"/>
                  </a:lnTo>
                  <a:lnTo>
                    <a:pt x="104" y="162"/>
                  </a:lnTo>
                  <a:lnTo>
                    <a:pt x="104" y="162"/>
                  </a:lnTo>
                  <a:lnTo>
                    <a:pt x="104" y="162"/>
                  </a:lnTo>
                  <a:lnTo>
                    <a:pt x="104" y="160"/>
                  </a:lnTo>
                  <a:lnTo>
                    <a:pt x="104" y="160"/>
                  </a:lnTo>
                  <a:lnTo>
                    <a:pt x="104" y="158"/>
                  </a:lnTo>
                  <a:lnTo>
                    <a:pt x="104" y="156"/>
                  </a:lnTo>
                  <a:lnTo>
                    <a:pt x="104" y="154"/>
                  </a:lnTo>
                  <a:lnTo>
                    <a:pt x="104" y="152"/>
                  </a:lnTo>
                  <a:lnTo>
                    <a:pt x="106" y="150"/>
                  </a:lnTo>
                  <a:lnTo>
                    <a:pt x="106" y="148"/>
                  </a:lnTo>
                  <a:lnTo>
                    <a:pt x="108" y="146"/>
                  </a:lnTo>
                  <a:lnTo>
                    <a:pt x="110" y="142"/>
                  </a:lnTo>
                  <a:lnTo>
                    <a:pt x="112" y="140"/>
                  </a:lnTo>
                  <a:lnTo>
                    <a:pt x="114" y="138"/>
                  </a:lnTo>
                  <a:lnTo>
                    <a:pt x="116" y="138"/>
                  </a:lnTo>
                  <a:lnTo>
                    <a:pt x="116" y="138"/>
                  </a:lnTo>
                  <a:lnTo>
                    <a:pt x="118" y="136"/>
                  </a:lnTo>
                  <a:lnTo>
                    <a:pt x="118" y="136"/>
                  </a:lnTo>
                  <a:lnTo>
                    <a:pt x="120" y="136"/>
                  </a:lnTo>
                  <a:lnTo>
                    <a:pt x="122" y="138"/>
                  </a:lnTo>
                  <a:lnTo>
                    <a:pt x="124" y="138"/>
                  </a:lnTo>
                  <a:lnTo>
                    <a:pt x="126" y="140"/>
                  </a:lnTo>
                  <a:lnTo>
                    <a:pt x="130" y="142"/>
                  </a:lnTo>
                  <a:lnTo>
                    <a:pt x="134" y="144"/>
                  </a:lnTo>
                  <a:lnTo>
                    <a:pt x="136" y="144"/>
                  </a:lnTo>
                  <a:lnTo>
                    <a:pt x="138" y="144"/>
                  </a:lnTo>
                  <a:lnTo>
                    <a:pt x="138" y="146"/>
                  </a:lnTo>
                  <a:lnTo>
                    <a:pt x="140" y="146"/>
                  </a:lnTo>
                  <a:lnTo>
                    <a:pt x="142" y="146"/>
                  </a:lnTo>
                  <a:lnTo>
                    <a:pt x="142" y="146"/>
                  </a:lnTo>
                  <a:lnTo>
                    <a:pt x="142" y="146"/>
                  </a:lnTo>
                  <a:lnTo>
                    <a:pt x="144" y="144"/>
                  </a:lnTo>
                  <a:lnTo>
                    <a:pt x="144" y="144"/>
                  </a:lnTo>
                  <a:lnTo>
                    <a:pt x="144" y="144"/>
                  </a:lnTo>
                  <a:lnTo>
                    <a:pt x="144" y="142"/>
                  </a:lnTo>
                  <a:lnTo>
                    <a:pt x="146" y="140"/>
                  </a:lnTo>
                  <a:lnTo>
                    <a:pt x="146" y="138"/>
                  </a:lnTo>
                  <a:lnTo>
                    <a:pt x="146" y="136"/>
                  </a:lnTo>
                  <a:lnTo>
                    <a:pt x="146" y="134"/>
                  </a:lnTo>
                  <a:lnTo>
                    <a:pt x="146" y="132"/>
                  </a:lnTo>
                  <a:lnTo>
                    <a:pt x="148" y="130"/>
                  </a:lnTo>
                  <a:lnTo>
                    <a:pt x="148" y="126"/>
                  </a:lnTo>
                  <a:lnTo>
                    <a:pt x="148" y="126"/>
                  </a:lnTo>
                  <a:lnTo>
                    <a:pt x="148" y="124"/>
                  </a:lnTo>
                  <a:lnTo>
                    <a:pt x="148" y="122"/>
                  </a:lnTo>
                  <a:lnTo>
                    <a:pt x="150" y="122"/>
                  </a:lnTo>
                  <a:lnTo>
                    <a:pt x="150" y="120"/>
                  </a:lnTo>
                  <a:lnTo>
                    <a:pt x="154" y="118"/>
                  </a:lnTo>
                  <a:lnTo>
                    <a:pt x="156" y="116"/>
                  </a:lnTo>
                  <a:lnTo>
                    <a:pt x="158" y="116"/>
                  </a:lnTo>
                  <a:lnTo>
                    <a:pt x="160" y="114"/>
                  </a:lnTo>
                  <a:lnTo>
                    <a:pt x="162" y="112"/>
                  </a:lnTo>
                  <a:lnTo>
                    <a:pt x="164" y="110"/>
                  </a:lnTo>
                  <a:lnTo>
                    <a:pt x="164" y="110"/>
                  </a:lnTo>
                  <a:lnTo>
                    <a:pt x="166" y="108"/>
                  </a:lnTo>
                  <a:lnTo>
                    <a:pt x="166" y="108"/>
                  </a:lnTo>
                  <a:lnTo>
                    <a:pt x="166" y="104"/>
                  </a:lnTo>
                  <a:lnTo>
                    <a:pt x="168" y="100"/>
                  </a:lnTo>
                  <a:lnTo>
                    <a:pt x="168" y="98"/>
                  </a:lnTo>
                  <a:lnTo>
                    <a:pt x="170" y="96"/>
                  </a:lnTo>
                  <a:lnTo>
                    <a:pt x="170" y="94"/>
                  </a:lnTo>
                  <a:lnTo>
                    <a:pt x="172" y="94"/>
                  </a:lnTo>
                  <a:lnTo>
                    <a:pt x="174" y="92"/>
                  </a:lnTo>
                  <a:lnTo>
                    <a:pt x="176" y="90"/>
                  </a:lnTo>
                  <a:lnTo>
                    <a:pt x="178" y="88"/>
                  </a:lnTo>
                  <a:lnTo>
                    <a:pt x="178" y="88"/>
                  </a:lnTo>
                  <a:lnTo>
                    <a:pt x="180" y="86"/>
                  </a:lnTo>
                  <a:lnTo>
                    <a:pt x="180" y="86"/>
                  </a:lnTo>
                  <a:lnTo>
                    <a:pt x="180" y="86"/>
                  </a:lnTo>
                  <a:lnTo>
                    <a:pt x="180" y="84"/>
                  </a:lnTo>
                  <a:lnTo>
                    <a:pt x="180" y="82"/>
                  </a:lnTo>
                  <a:lnTo>
                    <a:pt x="180" y="80"/>
                  </a:lnTo>
                  <a:lnTo>
                    <a:pt x="180" y="76"/>
                  </a:lnTo>
                  <a:lnTo>
                    <a:pt x="180" y="72"/>
                  </a:lnTo>
                  <a:lnTo>
                    <a:pt x="178" y="66"/>
                  </a:lnTo>
                  <a:lnTo>
                    <a:pt x="178" y="64"/>
                  </a:lnTo>
                  <a:lnTo>
                    <a:pt x="176" y="62"/>
                  </a:lnTo>
                  <a:lnTo>
                    <a:pt x="172" y="60"/>
                  </a:lnTo>
                  <a:lnTo>
                    <a:pt x="170" y="58"/>
                  </a:lnTo>
                  <a:lnTo>
                    <a:pt x="168" y="56"/>
                  </a:lnTo>
                  <a:lnTo>
                    <a:pt x="166" y="54"/>
                  </a:lnTo>
                  <a:lnTo>
                    <a:pt x="164" y="54"/>
                  </a:lnTo>
                  <a:lnTo>
                    <a:pt x="164" y="54"/>
                  </a:lnTo>
                  <a:lnTo>
                    <a:pt x="164" y="52"/>
                  </a:lnTo>
                  <a:lnTo>
                    <a:pt x="164" y="52"/>
                  </a:lnTo>
                  <a:lnTo>
                    <a:pt x="164" y="50"/>
                  </a:lnTo>
                  <a:lnTo>
                    <a:pt x="164" y="50"/>
                  </a:lnTo>
                  <a:lnTo>
                    <a:pt x="164" y="46"/>
                  </a:lnTo>
                  <a:lnTo>
                    <a:pt x="164" y="44"/>
                  </a:lnTo>
                  <a:lnTo>
                    <a:pt x="166" y="40"/>
                  </a:lnTo>
                  <a:lnTo>
                    <a:pt x="166" y="38"/>
                  </a:lnTo>
                  <a:lnTo>
                    <a:pt x="166" y="36"/>
                  </a:lnTo>
                  <a:lnTo>
                    <a:pt x="166" y="34"/>
                  </a:lnTo>
                  <a:lnTo>
                    <a:pt x="166" y="34"/>
                  </a:lnTo>
                  <a:lnTo>
                    <a:pt x="166" y="32"/>
                  </a:lnTo>
                  <a:lnTo>
                    <a:pt x="164" y="30"/>
                  </a:lnTo>
                  <a:lnTo>
                    <a:pt x="162" y="28"/>
                  </a:lnTo>
                  <a:lnTo>
                    <a:pt x="160" y="26"/>
                  </a:lnTo>
                  <a:lnTo>
                    <a:pt x="160" y="26"/>
                  </a:lnTo>
                  <a:lnTo>
                    <a:pt x="158" y="24"/>
                  </a:lnTo>
                  <a:lnTo>
                    <a:pt x="158" y="24"/>
                  </a:lnTo>
                  <a:lnTo>
                    <a:pt x="158" y="24"/>
                  </a:lnTo>
                  <a:lnTo>
                    <a:pt x="158" y="22"/>
                  </a:lnTo>
                  <a:lnTo>
                    <a:pt x="158" y="22"/>
                  </a:lnTo>
                  <a:lnTo>
                    <a:pt x="158" y="20"/>
                  </a:lnTo>
                  <a:lnTo>
                    <a:pt x="158" y="18"/>
                  </a:lnTo>
                  <a:lnTo>
                    <a:pt x="160" y="16"/>
                  </a:lnTo>
                  <a:lnTo>
                    <a:pt x="160" y="12"/>
                  </a:lnTo>
                  <a:lnTo>
                    <a:pt x="160" y="10"/>
                  </a:lnTo>
                  <a:lnTo>
                    <a:pt x="156" y="6"/>
                  </a:lnTo>
                  <a:lnTo>
                    <a:pt x="152" y="4"/>
                  </a:lnTo>
                  <a:lnTo>
                    <a:pt x="148" y="2"/>
                  </a:lnTo>
                  <a:lnTo>
                    <a:pt x="146" y="2"/>
                  </a:lnTo>
                  <a:lnTo>
                    <a:pt x="144" y="2"/>
                  </a:lnTo>
                  <a:lnTo>
                    <a:pt x="142" y="0"/>
                  </a:lnTo>
                  <a:lnTo>
                    <a:pt x="140" y="0"/>
                  </a:lnTo>
                  <a:lnTo>
                    <a:pt x="138"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 name="Freeform 35">
              <a:extLst>
                <a:ext uri="{FF2B5EF4-FFF2-40B4-BE49-F238E27FC236}">
                  <a16:creationId xmlns:a16="http://schemas.microsoft.com/office/drawing/2014/main" id="{D5C7BE0E-B780-4931-9CD1-B311021E4F00}"/>
                </a:ext>
              </a:extLst>
            </p:cNvPr>
            <p:cNvSpPr>
              <a:spLocks/>
            </p:cNvSpPr>
            <p:nvPr/>
          </p:nvSpPr>
          <p:spPr bwMode="auto">
            <a:xfrm>
              <a:off x="7331520" y="3485721"/>
              <a:ext cx="100460" cy="152423"/>
            </a:xfrm>
            <a:custGeom>
              <a:avLst/>
              <a:gdLst>
                <a:gd name="T0" fmla="*/ 22 w 58"/>
                <a:gd name="T1" fmla="*/ 16 h 88"/>
                <a:gd name="T2" fmla="*/ 2 w 58"/>
                <a:gd name="T3" fmla="*/ 24 h 88"/>
                <a:gd name="T4" fmla="*/ 6 w 58"/>
                <a:gd name="T5" fmla="*/ 30 h 88"/>
                <a:gd name="T6" fmla="*/ 8 w 58"/>
                <a:gd name="T7" fmla="*/ 34 h 88"/>
                <a:gd name="T8" fmla="*/ 8 w 58"/>
                <a:gd name="T9" fmla="*/ 36 h 88"/>
                <a:gd name="T10" fmla="*/ 8 w 58"/>
                <a:gd name="T11" fmla="*/ 42 h 88"/>
                <a:gd name="T12" fmla="*/ 8 w 58"/>
                <a:gd name="T13" fmla="*/ 44 h 88"/>
                <a:gd name="T14" fmla="*/ 8 w 58"/>
                <a:gd name="T15" fmla="*/ 46 h 88"/>
                <a:gd name="T16" fmla="*/ 8 w 58"/>
                <a:gd name="T17" fmla="*/ 48 h 88"/>
                <a:gd name="T18" fmla="*/ 10 w 58"/>
                <a:gd name="T19" fmla="*/ 48 h 88"/>
                <a:gd name="T20" fmla="*/ 12 w 58"/>
                <a:gd name="T21" fmla="*/ 50 h 88"/>
                <a:gd name="T22" fmla="*/ 16 w 58"/>
                <a:gd name="T23" fmla="*/ 50 h 88"/>
                <a:gd name="T24" fmla="*/ 18 w 58"/>
                <a:gd name="T25" fmla="*/ 50 h 88"/>
                <a:gd name="T26" fmla="*/ 20 w 58"/>
                <a:gd name="T27" fmla="*/ 52 h 88"/>
                <a:gd name="T28" fmla="*/ 20 w 58"/>
                <a:gd name="T29" fmla="*/ 52 h 88"/>
                <a:gd name="T30" fmla="*/ 22 w 58"/>
                <a:gd name="T31" fmla="*/ 54 h 88"/>
                <a:gd name="T32" fmla="*/ 22 w 58"/>
                <a:gd name="T33" fmla="*/ 58 h 88"/>
                <a:gd name="T34" fmla="*/ 20 w 58"/>
                <a:gd name="T35" fmla="*/ 62 h 88"/>
                <a:gd name="T36" fmla="*/ 18 w 58"/>
                <a:gd name="T37" fmla="*/ 70 h 88"/>
                <a:gd name="T38" fmla="*/ 16 w 58"/>
                <a:gd name="T39" fmla="*/ 74 h 88"/>
                <a:gd name="T40" fmla="*/ 16 w 58"/>
                <a:gd name="T41" fmla="*/ 78 h 88"/>
                <a:gd name="T42" fmla="*/ 18 w 58"/>
                <a:gd name="T43" fmla="*/ 80 h 88"/>
                <a:gd name="T44" fmla="*/ 18 w 58"/>
                <a:gd name="T45" fmla="*/ 82 h 88"/>
                <a:gd name="T46" fmla="*/ 20 w 58"/>
                <a:gd name="T47" fmla="*/ 84 h 88"/>
                <a:gd name="T48" fmla="*/ 24 w 58"/>
                <a:gd name="T49" fmla="*/ 86 h 88"/>
                <a:gd name="T50" fmla="*/ 30 w 58"/>
                <a:gd name="T51" fmla="*/ 88 h 88"/>
                <a:gd name="T52" fmla="*/ 32 w 58"/>
                <a:gd name="T53" fmla="*/ 88 h 88"/>
                <a:gd name="T54" fmla="*/ 36 w 58"/>
                <a:gd name="T55" fmla="*/ 86 h 88"/>
                <a:gd name="T56" fmla="*/ 40 w 58"/>
                <a:gd name="T57" fmla="*/ 86 h 88"/>
                <a:gd name="T58" fmla="*/ 46 w 58"/>
                <a:gd name="T59" fmla="*/ 82 h 88"/>
                <a:gd name="T60" fmla="*/ 52 w 58"/>
                <a:gd name="T61" fmla="*/ 78 h 88"/>
                <a:gd name="T62" fmla="*/ 54 w 58"/>
                <a:gd name="T63" fmla="*/ 76 h 88"/>
                <a:gd name="T64" fmla="*/ 56 w 58"/>
                <a:gd name="T65" fmla="*/ 74 h 88"/>
                <a:gd name="T66" fmla="*/ 58 w 58"/>
                <a:gd name="T67" fmla="*/ 70 h 88"/>
                <a:gd name="T68" fmla="*/ 58 w 58"/>
                <a:gd name="T69" fmla="*/ 66 h 88"/>
                <a:gd name="T70" fmla="*/ 58 w 58"/>
                <a:gd name="T71" fmla="*/ 60 h 88"/>
                <a:gd name="T72" fmla="*/ 58 w 58"/>
                <a:gd name="T73" fmla="*/ 50 h 88"/>
                <a:gd name="T74" fmla="*/ 58 w 58"/>
                <a:gd name="T75" fmla="*/ 42 h 88"/>
                <a:gd name="T76" fmla="*/ 56 w 58"/>
                <a:gd name="T77" fmla="*/ 38 h 88"/>
                <a:gd name="T78" fmla="*/ 54 w 58"/>
                <a:gd name="T79" fmla="*/ 34 h 88"/>
                <a:gd name="T80" fmla="*/ 50 w 58"/>
                <a:gd name="T81" fmla="*/ 28 h 88"/>
                <a:gd name="T82" fmla="*/ 44 w 58"/>
                <a:gd name="T83" fmla="*/ 20 h 88"/>
                <a:gd name="T84" fmla="*/ 34 w 58"/>
                <a:gd name="T85" fmla="*/ 8 h 88"/>
                <a:gd name="T86" fmla="*/ 26 w 58"/>
                <a:gd name="T8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 h="88">
                  <a:moveTo>
                    <a:pt x="26" y="0"/>
                  </a:moveTo>
                  <a:lnTo>
                    <a:pt x="22" y="16"/>
                  </a:lnTo>
                  <a:lnTo>
                    <a:pt x="0" y="22"/>
                  </a:lnTo>
                  <a:lnTo>
                    <a:pt x="2" y="24"/>
                  </a:lnTo>
                  <a:lnTo>
                    <a:pt x="4" y="28"/>
                  </a:lnTo>
                  <a:lnTo>
                    <a:pt x="6" y="30"/>
                  </a:lnTo>
                  <a:lnTo>
                    <a:pt x="8" y="32"/>
                  </a:lnTo>
                  <a:lnTo>
                    <a:pt x="8" y="34"/>
                  </a:lnTo>
                  <a:lnTo>
                    <a:pt x="8" y="36"/>
                  </a:lnTo>
                  <a:lnTo>
                    <a:pt x="8" y="36"/>
                  </a:lnTo>
                  <a:lnTo>
                    <a:pt x="8" y="38"/>
                  </a:lnTo>
                  <a:lnTo>
                    <a:pt x="8" y="42"/>
                  </a:lnTo>
                  <a:lnTo>
                    <a:pt x="8" y="42"/>
                  </a:lnTo>
                  <a:lnTo>
                    <a:pt x="8" y="44"/>
                  </a:lnTo>
                  <a:lnTo>
                    <a:pt x="8" y="46"/>
                  </a:lnTo>
                  <a:lnTo>
                    <a:pt x="8" y="46"/>
                  </a:lnTo>
                  <a:lnTo>
                    <a:pt x="8" y="46"/>
                  </a:lnTo>
                  <a:lnTo>
                    <a:pt x="8" y="48"/>
                  </a:lnTo>
                  <a:lnTo>
                    <a:pt x="8" y="48"/>
                  </a:lnTo>
                  <a:lnTo>
                    <a:pt x="10" y="48"/>
                  </a:lnTo>
                  <a:lnTo>
                    <a:pt x="10" y="48"/>
                  </a:lnTo>
                  <a:lnTo>
                    <a:pt x="12" y="50"/>
                  </a:lnTo>
                  <a:lnTo>
                    <a:pt x="14" y="50"/>
                  </a:lnTo>
                  <a:lnTo>
                    <a:pt x="16" y="50"/>
                  </a:lnTo>
                  <a:lnTo>
                    <a:pt x="18" y="50"/>
                  </a:lnTo>
                  <a:lnTo>
                    <a:pt x="18" y="50"/>
                  </a:lnTo>
                  <a:lnTo>
                    <a:pt x="20" y="50"/>
                  </a:lnTo>
                  <a:lnTo>
                    <a:pt x="20" y="52"/>
                  </a:lnTo>
                  <a:lnTo>
                    <a:pt x="20" y="52"/>
                  </a:lnTo>
                  <a:lnTo>
                    <a:pt x="20" y="52"/>
                  </a:lnTo>
                  <a:lnTo>
                    <a:pt x="20" y="54"/>
                  </a:lnTo>
                  <a:lnTo>
                    <a:pt x="22" y="54"/>
                  </a:lnTo>
                  <a:lnTo>
                    <a:pt x="22" y="56"/>
                  </a:lnTo>
                  <a:lnTo>
                    <a:pt x="22" y="58"/>
                  </a:lnTo>
                  <a:lnTo>
                    <a:pt x="20" y="60"/>
                  </a:lnTo>
                  <a:lnTo>
                    <a:pt x="20" y="62"/>
                  </a:lnTo>
                  <a:lnTo>
                    <a:pt x="18" y="66"/>
                  </a:lnTo>
                  <a:lnTo>
                    <a:pt x="18" y="70"/>
                  </a:lnTo>
                  <a:lnTo>
                    <a:pt x="18" y="72"/>
                  </a:lnTo>
                  <a:lnTo>
                    <a:pt x="16" y="74"/>
                  </a:lnTo>
                  <a:lnTo>
                    <a:pt x="16" y="76"/>
                  </a:lnTo>
                  <a:lnTo>
                    <a:pt x="16" y="78"/>
                  </a:lnTo>
                  <a:lnTo>
                    <a:pt x="18" y="80"/>
                  </a:lnTo>
                  <a:lnTo>
                    <a:pt x="18" y="80"/>
                  </a:lnTo>
                  <a:lnTo>
                    <a:pt x="18" y="82"/>
                  </a:lnTo>
                  <a:lnTo>
                    <a:pt x="18" y="82"/>
                  </a:lnTo>
                  <a:lnTo>
                    <a:pt x="18" y="82"/>
                  </a:lnTo>
                  <a:lnTo>
                    <a:pt x="20" y="84"/>
                  </a:lnTo>
                  <a:lnTo>
                    <a:pt x="22" y="84"/>
                  </a:lnTo>
                  <a:lnTo>
                    <a:pt x="24" y="86"/>
                  </a:lnTo>
                  <a:lnTo>
                    <a:pt x="26" y="86"/>
                  </a:lnTo>
                  <a:lnTo>
                    <a:pt x="30" y="88"/>
                  </a:lnTo>
                  <a:lnTo>
                    <a:pt x="32" y="88"/>
                  </a:lnTo>
                  <a:lnTo>
                    <a:pt x="32" y="88"/>
                  </a:lnTo>
                  <a:lnTo>
                    <a:pt x="34" y="88"/>
                  </a:lnTo>
                  <a:lnTo>
                    <a:pt x="36" y="86"/>
                  </a:lnTo>
                  <a:lnTo>
                    <a:pt x="38" y="86"/>
                  </a:lnTo>
                  <a:lnTo>
                    <a:pt x="40" y="86"/>
                  </a:lnTo>
                  <a:lnTo>
                    <a:pt x="42" y="84"/>
                  </a:lnTo>
                  <a:lnTo>
                    <a:pt x="46" y="82"/>
                  </a:lnTo>
                  <a:lnTo>
                    <a:pt x="50" y="80"/>
                  </a:lnTo>
                  <a:lnTo>
                    <a:pt x="52" y="78"/>
                  </a:lnTo>
                  <a:lnTo>
                    <a:pt x="54" y="76"/>
                  </a:lnTo>
                  <a:lnTo>
                    <a:pt x="54" y="76"/>
                  </a:lnTo>
                  <a:lnTo>
                    <a:pt x="56" y="74"/>
                  </a:lnTo>
                  <a:lnTo>
                    <a:pt x="56" y="74"/>
                  </a:lnTo>
                  <a:lnTo>
                    <a:pt x="56" y="72"/>
                  </a:lnTo>
                  <a:lnTo>
                    <a:pt x="58" y="70"/>
                  </a:lnTo>
                  <a:lnTo>
                    <a:pt x="58" y="68"/>
                  </a:lnTo>
                  <a:lnTo>
                    <a:pt x="58" y="66"/>
                  </a:lnTo>
                  <a:lnTo>
                    <a:pt x="58" y="64"/>
                  </a:lnTo>
                  <a:lnTo>
                    <a:pt x="58" y="60"/>
                  </a:lnTo>
                  <a:lnTo>
                    <a:pt x="58" y="56"/>
                  </a:lnTo>
                  <a:lnTo>
                    <a:pt x="58" y="50"/>
                  </a:lnTo>
                  <a:lnTo>
                    <a:pt x="58" y="46"/>
                  </a:lnTo>
                  <a:lnTo>
                    <a:pt x="58" y="42"/>
                  </a:lnTo>
                  <a:lnTo>
                    <a:pt x="56" y="40"/>
                  </a:lnTo>
                  <a:lnTo>
                    <a:pt x="56" y="38"/>
                  </a:lnTo>
                  <a:lnTo>
                    <a:pt x="56" y="36"/>
                  </a:lnTo>
                  <a:lnTo>
                    <a:pt x="54" y="34"/>
                  </a:lnTo>
                  <a:lnTo>
                    <a:pt x="52" y="30"/>
                  </a:lnTo>
                  <a:lnTo>
                    <a:pt x="50" y="28"/>
                  </a:lnTo>
                  <a:lnTo>
                    <a:pt x="48" y="24"/>
                  </a:lnTo>
                  <a:lnTo>
                    <a:pt x="44" y="20"/>
                  </a:lnTo>
                  <a:lnTo>
                    <a:pt x="40" y="14"/>
                  </a:lnTo>
                  <a:lnTo>
                    <a:pt x="34" y="8"/>
                  </a:lnTo>
                  <a:lnTo>
                    <a:pt x="30" y="4"/>
                  </a:lnTo>
                  <a:lnTo>
                    <a:pt x="26"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 name="Freeform 36">
              <a:extLst>
                <a:ext uri="{FF2B5EF4-FFF2-40B4-BE49-F238E27FC236}">
                  <a16:creationId xmlns:a16="http://schemas.microsoft.com/office/drawing/2014/main" id="{2889F6B4-51D7-4213-8ACE-263FDE1312F1}"/>
                </a:ext>
              </a:extLst>
            </p:cNvPr>
            <p:cNvSpPr>
              <a:spLocks/>
            </p:cNvSpPr>
            <p:nvPr/>
          </p:nvSpPr>
          <p:spPr bwMode="auto">
            <a:xfrm>
              <a:off x="7331520" y="3485721"/>
              <a:ext cx="100460" cy="152423"/>
            </a:xfrm>
            <a:custGeom>
              <a:avLst/>
              <a:gdLst>
                <a:gd name="T0" fmla="*/ 22 w 58"/>
                <a:gd name="T1" fmla="*/ 16 h 88"/>
                <a:gd name="T2" fmla="*/ 2 w 58"/>
                <a:gd name="T3" fmla="*/ 24 h 88"/>
                <a:gd name="T4" fmla="*/ 6 w 58"/>
                <a:gd name="T5" fmla="*/ 30 h 88"/>
                <a:gd name="T6" fmla="*/ 8 w 58"/>
                <a:gd name="T7" fmla="*/ 34 h 88"/>
                <a:gd name="T8" fmla="*/ 8 w 58"/>
                <a:gd name="T9" fmla="*/ 36 h 88"/>
                <a:gd name="T10" fmla="*/ 8 w 58"/>
                <a:gd name="T11" fmla="*/ 42 h 88"/>
                <a:gd name="T12" fmla="*/ 8 w 58"/>
                <a:gd name="T13" fmla="*/ 44 h 88"/>
                <a:gd name="T14" fmla="*/ 8 w 58"/>
                <a:gd name="T15" fmla="*/ 46 h 88"/>
                <a:gd name="T16" fmla="*/ 8 w 58"/>
                <a:gd name="T17" fmla="*/ 48 h 88"/>
                <a:gd name="T18" fmla="*/ 10 w 58"/>
                <a:gd name="T19" fmla="*/ 48 h 88"/>
                <a:gd name="T20" fmla="*/ 12 w 58"/>
                <a:gd name="T21" fmla="*/ 50 h 88"/>
                <a:gd name="T22" fmla="*/ 16 w 58"/>
                <a:gd name="T23" fmla="*/ 50 h 88"/>
                <a:gd name="T24" fmla="*/ 18 w 58"/>
                <a:gd name="T25" fmla="*/ 50 h 88"/>
                <a:gd name="T26" fmla="*/ 20 w 58"/>
                <a:gd name="T27" fmla="*/ 52 h 88"/>
                <a:gd name="T28" fmla="*/ 20 w 58"/>
                <a:gd name="T29" fmla="*/ 52 h 88"/>
                <a:gd name="T30" fmla="*/ 22 w 58"/>
                <a:gd name="T31" fmla="*/ 54 h 88"/>
                <a:gd name="T32" fmla="*/ 22 w 58"/>
                <a:gd name="T33" fmla="*/ 58 h 88"/>
                <a:gd name="T34" fmla="*/ 20 w 58"/>
                <a:gd name="T35" fmla="*/ 62 h 88"/>
                <a:gd name="T36" fmla="*/ 18 w 58"/>
                <a:gd name="T37" fmla="*/ 70 h 88"/>
                <a:gd name="T38" fmla="*/ 16 w 58"/>
                <a:gd name="T39" fmla="*/ 74 h 88"/>
                <a:gd name="T40" fmla="*/ 16 w 58"/>
                <a:gd name="T41" fmla="*/ 78 h 88"/>
                <a:gd name="T42" fmla="*/ 18 w 58"/>
                <a:gd name="T43" fmla="*/ 80 h 88"/>
                <a:gd name="T44" fmla="*/ 18 w 58"/>
                <a:gd name="T45" fmla="*/ 82 h 88"/>
                <a:gd name="T46" fmla="*/ 20 w 58"/>
                <a:gd name="T47" fmla="*/ 84 h 88"/>
                <a:gd name="T48" fmla="*/ 24 w 58"/>
                <a:gd name="T49" fmla="*/ 86 h 88"/>
                <a:gd name="T50" fmla="*/ 30 w 58"/>
                <a:gd name="T51" fmla="*/ 88 h 88"/>
                <a:gd name="T52" fmla="*/ 32 w 58"/>
                <a:gd name="T53" fmla="*/ 88 h 88"/>
                <a:gd name="T54" fmla="*/ 36 w 58"/>
                <a:gd name="T55" fmla="*/ 86 h 88"/>
                <a:gd name="T56" fmla="*/ 40 w 58"/>
                <a:gd name="T57" fmla="*/ 86 h 88"/>
                <a:gd name="T58" fmla="*/ 46 w 58"/>
                <a:gd name="T59" fmla="*/ 82 h 88"/>
                <a:gd name="T60" fmla="*/ 52 w 58"/>
                <a:gd name="T61" fmla="*/ 78 h 88"/>
                <a:gd name="T62" fmla="*/ 54 w 58"/>
                <a:gd name="T63" fmla="*/ 76 h 88"/>
                <a:gd name="T64" fmla="*/ 56 w 58"/>
                <a:gd name="T65" fmla="*/ 74 h 88"/>
                <a:gd name="T66" fmla="*/ 58 w 58"/>
                <a:gd name="T67" fmla="*/ 70 h 88"/>
                <a:gd name="T68" fmla="*/ 58 w 58"/>
                <a:gd name="T69" fmla="*/ 66 h 88"/>
                <a:gd name="T70" fmla="*/ 58 w 58"/>
                <a:gd name="T71" fmla="*/ 60 h 88"/>
                <a:gd name="T72" fmla="*/ 58 w 58"/>
                <a:gd name="T73" fmla="*/ 50 h 88"/>
                <a:gd name="T74" fmla="*/ 58 w 58"/>
                <a:gd name="T75" fmla="*/ 42 h 88"/>
                <a:gd name="T76" fmla="*/ 56 w 58"/>
                <a:gd name="T77" fmla="*/ 38 h 88"/>
                <a:gd name="T78" fmla="*/ 54 w 58"/>
                <a:gd name="T79" fmla="*/ 34 h 88"/>
                <a:gd name="T80" fmla="*/ 50 w 58"/>
                <a:gd name="T81" fmla="*/ 28 h 88"/>
                <a:gd name="T82" fmla="*/ 44 w 58"/>
                <a:gd name="T83" fmla="*/ 20 h 88"/>
                <a:gd name="T84" fmla="*/ 34 w 58"/>
                <a:gd name="T85" fmla="*/ 8 h 88"/>
                <a:gd name="T86" fmla="*/ 26 w 58"/>
                <a:gd name="T8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 h="88">
                  <a:moveTo>
                    <a:pt x="26" y="0"/>
                  </a:moveTo>
                  <a:lnTo>
                    <a:pt x="22" y="16"/>
                  </a:lnTo>
                  <a:lnTo>
                    <a:pt x="0" y="22"/>
                  </a:lnTo>
                  <a:lnTo>
                    <a:pt x="2" y="24"/>
                  </a:lnTo>
                  <a:lnTo>
                    <a:pt x="4" y="28"/>
                  </a:lnTo>
                  <a:lnTo>
                    <a:pt x="6" y="30"/>
                  </a:lnTo>
                  <a:lnTo>
                    <a:pt x="8" y="32"/>
                  </a:lnTo>
                  <a:lnTo>
                    <a:pt x="8" y="34"/>
                  </a:lnTo>
                  <a:lnTo>
                    <a:pt x="8" y="36"/>
                  </a:lnTo>
                  <a:lnTo>
                    <a:pt x="8" y="36"/>
                  </a:lnTo>
                  <a:lnTo>
                    <a:pt x="8" y="38"/>
                  </a:lnTo>
                  <a:lnTo>
                    <a:pt x="8" y="42"/>
                  </a:lnTo>
                  <a:lnTo>
                    <a:pt x="8" y="42"/>
                  </a:lnTo>
                  <a:lnTo>
                    <a:pt x="8" y="44"/>
                  </a:lnTo>
                  <a:lnTo>
                    <a:pt x="8" y="46"/>
                  </a:lnTo>
                  <a:lnTo>
                    <a:pt x="8" y="46"/>
                  </a:lnTo>
                  <a:lnTo>
                    <a:pt x="8" y="46"/>
                  </a:lnTo>
                  <a:lnTo>
                    <a:pt x="8" y="48"/>
                  </a:lnTo>
                  <a:lnTo>
                    <a:pt x="8" y="48"/>
                  </a:lnTo>
                  <a:lnTo>
                    <a:pt x="10" y="48"/>
                  </a:lnTo>
                  <a:lnTo>
                    <a:pt x="10" y="48"/>
                  </a:lnTo>
                  <a:lnTo>
                    <a:pt x="12" y="50"/>
                  </a:lnTo>
                  <a:lnTo>
                    <a:pt x="14" y="50"/>
                  </a:lnTo>
                  <a:lnTo>
                    <a:pt x="16" y="50"/>
                  </a:lnTo>
                  <a:lnTo>
                    <a:pt x="18" y="50"/>
                  </a:lnTo>
                  <a:lnTo>
                    <a:pt x="18" y="50"/>
                  </a:lnTo>
                  <a:lnTo>
                    <a:pt x="20" y="50"/>
                  </a:lnTo>
                  <a:lnTo>
                    <a:pt x="20" y="52"/>
                  </a:lnTo>
                  <a:lnTo>
                    <a:pt x="20" y="52"/>
                  </a:lnTo>
                  <a:lnTo>
                    <a:pt x="20" y="52"/>
                  </a:lnTo>
                  <a:lnTo>
                    <a:pt x="20" y="54"/>
                  </a:lnTo>
                  <a:lnTo>
                    <a:pt x="22" y="54"/>
                  </a:lnTo>
                  <a:lnTo>
                    <a:pt x="22" y="56"/>
                  </a:lnTo>
                  <a:lnTo>
                    <a:pt x="22" y="58"/>
                  </a:lnTo>
                  <a:lnTo>
                    <a:pt x="20" y="60"/>
                  </a:lnTo>
                  <a:lnTo>
                    <a:pt x="20" y="62"/>
                  </a:lnTo>
                  <a:lnTo>
                    <a:pt x="18" y="66"/>
                  </a:lnTo>
                  <a:lnTo>
                    <a:pt x="18" y="70"/>
                  </a:lnTo>
                  <a:lnTo>
                    <a:pt x="18" y="72"/>
                  </a:lnTo>
                  <a:lnTo>
                    <a:pt x="16" y="74"/>
                  </a:lnTo>
                  <a:lnTo>
                    <a:pt x="16" y="76"/>
                  </a:lnTo>
                  <a:lnTo>
                    <a:pt x="16" y="78"/>
                  </a:lnTo>
                  <a:lnTo>
                    <a:pt x="18" y="80"/>
                  </a:lnTo>
                  <a:lnTo>
                    <a:pt x="18" y="80"/>
                  </a:lnTo>
                  <a:lnTo>
                    <a:pt x="18" y="82"/>
                  </a:lnTo>
                  <a:lnTo>
                    <a:pt x="18" y="82"/>
                  </a:lnTo>
                  <a:lnTo>
                    <a:pt x="18" y="82"/>
                  </a:lnTo>
                  <a:lnTo>
                    <a:pt x="20" y="84"/>
                  </a:lnTo>
                  <a:lnTo>
                    <a:pt x="22" y="84"/>
                  </a:lnTo>
                  <a:lnTo>
                    <a:pt x="24" y="86"/>
                  </a:lnTo>
                  <a:lnTo>
                    <a:pt x="26" y="86"/>
                  </a:lnTo>
                  <a:lnTo>
                    <a:pt x="30" y="88"/>
                  </a:lnTo>
                  <a:lnTo>
                    <a:pt x="32" y="88"/>
                  </a:lnTo>
                  <a:lnTo>
                    <a:pt x="32" y="88"/>
                  </a:lnTo>
                  <a:lnTo>
                    <a:pt x="34" y="88"/>
                  </a:lnTo>
                  <a:lnTo>
                    <a:pt x="36" y="86"/>
                  </a:lnTo>
                  <a:lnTo>
                    <a:pt x="38" y="86"/>
                  </a:lnTo>
                  <a:lnTo>
                    <a:pt x="40" y="86"/>
                  </a:lnTo>
                  <a:lnTo>
                    <a:pt x="42" y="84"/>
                  </a:lnTo>
                  <a:lnTo>
                    <a:pt x="46" y="82"/>
                  </a:lnTo>
                  <a:lnTo>
                    <a:pt x="50" y="80"/>
                  </a:lnTo>
                  <a:lnTo>
                    <a:pt x="52" y="78"/>
                  </a:lnTo>
                  <a:lnTo>
                    <a:pt x="54" y="76"/>
                  </a:lnTo>
                  <a:lnTo>
                    <a:pt x="54" y="76"/>
                  </a:lnTo>
                  <a:lnTo>
                    <a:pt x="56" y="74"/>
                  </a:lnTo>
                  <a:lnTo>
                    <a:pt x="56" y="74"/>
                  </a:lnTo>
                  <a:lnTo>
                    <a:pt x="56" y="72"/>
                  </a:lnTo>
                  <a:lnTo>
                    <a:pt x="58" y="70"/>
                  </a:lnTo>
                  <a:lnTo>
                    <a:pt x="58" y="68"/>
                  </a:lnTo>
                  <a:lnTo>
                    <a:pt x="58" y="66"/>
                  </a:lnTo>
                  <a:lnTo>
                    <a:pt x="58" y="64"/>
                  </a:lnTo>
                  <a:lnTo>
                    <a:pt x="58" y="60"/>
                  </a:lnTo>
                  <a:lnTo>
                    <a:pt x="58" y="56"/>
                  </a:lnTo>
                  <a:lnTo>
                    <a:pt x="58" y="50"/>
                  </a:lnTo>
                  <a:lnTo>
                    <a:pt x="58" y="46"/>
                  </a:lnTo>
                  <a:lnTo>
                    <a:pt x="58" y="42"/>
                  </a:lnTo>
                  <a:lnTo>
                    <a:pt x="56" y="40"/>
                  </a:lnTo>
                  <a:lnTo>
                    <a:pt x="56" y="38"/>
                  </a:lnTo>
                  <a:lnTo>
                    <a:pt x="56" y="36"/>
                  </a:lnTo>
                  <a:lnTo>
                    <a:pt x="54" y="34"/>
                  </a:lnTo>
                  <a:lnTo>
                    <a:pt x="52" y="30"/>
                  </a:lnTo>
                  <a:lnTo>
                    <a:pt x="50" y="28"/>
                  </a:lnTo>
                  <a:lnTo>
                    <a:pt x="48" y="24"/>
                  </a:lnTo>
                  <a:lnTo>
                    <a:pt x="44" y="20"/>
                  </a:lnTo>
                  <a:lnTo>
                    <a:pt x="40" y="14"/>
                  </a:lnTo>
                  <a:lnTo>
                    <a:pt x="34" y="8"/>
                  </a:lnTo>
                  <a:lnTo>
                    <a:pt x="30" y="4"/>
                  </a:lnTo>
                  <a:lnTo>
                    <a:pt x="26"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 name="Freeform 37">
              <a:extLst>
                <a:ext uri="{FF2B5EF4-FFF2-40B4-BE49-F238E27FC236}">
                  <a16:creationId xmlns:a16="http://schemas.microsoft.com/office/drawing/2014/main" id="{FD64DA15-B3B0-4701-AA13-2ABABE16C66F}"/>
                </a:ext>
              </a:extLst>
            </p:cNvPr>
            <p:cNvSpPr>
              <a:spLocks/>
            </p:cNvSpPr>
            <p:nvPr/>
          </p:nvSpPr>
          <p:spPr bwMode="auto">
            <a:xfrm>
              <a:off x="5952789" y="3672785"/>
              <a:ext cx="713615" cy="737864"/>
            </a:xfrm>
            <a:custGeom>
              <a:avLst/>
              <a:gdLst>
                <a:gd name="T0" fmla="*/ 408 w 412"/>
                <a:gd name="T1" fmla="*/ 108 h 426"/>
                <a:gd name="T2" fmla="*/ 388 w 412"/>
                <a:gd name="T3" fmla="*/ 120 h 426"/>
                <a:gd name="T4" fmla="*/ 374 w 412"/>
                <a:gd name="T5" fmla="*/ 150 h 426"/>
                <a:gd name="T6" fmla="*/ 360 w 412"/>
                <a:gd name="T7" fmla="*/ 168 h 426"/>
                <a:gd name="T8" fmla="*/ 352 w 412"/>
                <a:gd name="T9" fmla="*/ 184 h 426"/>
                <a:gd name="T10" fmla="*/ 346 w 412"/>
                <a:gd name="T11" fmla="*/ 150 h 426"/>
                <a:gd name="T12" fmla="*/ 330 w 412"/>
                <a:gd name="T13" fmla="*/ 134 h 426"/>
                <a:gd name="T14" fmla="*/ 302 w 412"/>
                <a:gd name="T15" fmla="*/ 122 h 426"/>
                <a:gd name="T16" fmla="*/ 290 w 412"/>
                <a:gd name="T17" fmla="*/ 122 h 426"/>
                <a:gd name="T18" fmla="*/ 282 w 412"/>
                <a:gd name="T19" fmla="*/ 146 h 426"/>
                <a:gd name="T20" fmla="*/ 294 w 412"/>
                <a:gd name="T21" fmla="*/ 152 h 426"/>
                <a:gd name="T22" fmla="*/ 296 w 412"/>
                <a:gd name="T23" fmla="*/ 180 h 426"/>
                <a:gd name="T24" fmla="*/ 276 w 412"/>
                <a:gd name="T25" fmla="*/ 198 h 426"/>
                <a:gd name="T26" fmla="*/ 276 w 412"/>
                <a:gd name="T27" fmla="*/ 216 h 426"/>
                <a:gd name="T28" fmla="*/ 262 w 412"/>
                <a:gd name="T29" fmla="*/ 232 h 426"/>
                <a:gd name="T30" fmla="*/ 244 w 412"/>
                <a:gd name="T31" fmla="*/ 242 h 426"/>
                <a:gd name="T32" fmla="*/ 224 w 412"/>
                <a:gd name="T33" fmla="*/ 260 h 426"/>
                <a:gd name="T34" fmla="*/ 210 w 412"/>
                <a:gd name="T35" fmla="*/ 276 h 426"/>
                <a:gd name="T36" fmla="*/ 190 w 412"/>
                <a:gd name="T37" fmla="*/ 296 h 426"/>
                <a:gd name="T38" fmla="*/ 172 w 412"/>
                <a:gd name="T39" fmla="*/ 310 h 426"/>
                <a:gd name="T40" fmla="*/ 180 w 412"/>
                <a:gd name="T41" fmla="*/ 352 h 426"/>
                <a:gd name="T42" fmla="*/ 172 w 412"/>
                <a:gd name="T43" fmla="*/ 360 h 426"/>
                <a:gd name="T44" fmla="*/ 178 w 412"/>
                <a:gd name="T45" fmla="*/ 382 h 426"/>
                <a:gd name="T46" fmla="*/ 164 w 412"/>
                <a:gd name="T47" fmla="*/ 410 h 426"/>
                <a:gd name="T48" fmla="*/ 144 w 412"/>
                <a:gd name="T49" fmla="*/ 426 h 426"/>
                <a:gd name="T50" fmla="*/ 132 w 412"/>
                <a:gd name="T51" fmla="*/ 420 h 426"/>
                <a:gd name="T52" fmla="*/ 124 w 412"/>
                <a:gd name="T53" fmla="*/ 388 h 426"/>
                <a:gd name="T54" fmla="*/ 96 w 412"/>
                <a:gd name="T55" fmla="*/ 318 h 426"/>
                <a:gd name="T56" fmla="*/ 74 w 412"/>
                <a:gd name="T57" fmla="*/ 278 h 426"/>
                <a:gd name="T58" fmla="*/ 70 w 412"/>
                <a:gd name="T59" fmla="*/ 224 h 426"/>
                <a:gd name="T60" fmla="*/ 62 w 412"/>
                <a:gd name="T61" fmla="*/ 186 h 426"/>
                <a:gd name="T62" fmla="*/ 58 w 412"/>
                <a:gd name="T63" fmla="*/ 190 h 426"/>
                <a:gd name="T64" fmla="*/ 52 w 412"/>
                <a:gd name="T65" fmla="*/ 206 h 426"/>
                <a:gd name="T66" fmla="*/ 30 w 412"/>
                <a:gd name="T67" fmla="*/ 208 h 426"/>
                <a:gd name="T68" fmla="*/ 12 w 412"/>
                <a:gd name="T69" fmla="*/ 188 h 426"/>
                <a:gd name="T70" fmla="*/ 20 w 412"/>
                <a:gd name="T71" fmla="*/ 176 h 426"/>
                <a:gd name="T72" fmla="*/ 12 w 412"/>
                <a:gd name="T73" fmla="*/ 176 h 426"/>
                <a:gd name="T74" fmla="*/ 2 w 412"/>
                <a:gd name="T75" fmla="*/ 162 h 426"/>
                <a:gd name="T76" fmla="*/ 24 w 412"/>
                <a:gd name="T77" fmla="*/ 156 h 426"/>
                <a:gd name="T78" fmla="*/ 40 w 412"/>
                <a:gd name="T79" fmla="*/ 152 h 426"/>
                <a:gd name="T80" fmla="*/ 34 w 412"/>
                <a:gd name="T81" fmla="*/ 132 h 426"/>
                <a:gd name="T82" fmla="*/ 12 w 412"/>
                <a:gd name="T83" fmla="*/ 110 h 426"/>
                <a:gd name="T84" fmla="*/ 22 w 412"/>
                <a:gd name="T85" fmla="*/ 88 h 426"/>
                <a:gd name="T86" fmla="*/ 44 w 412"/>
                <a:gd name="T87" fmla="*/ 94 h 426"/>
                <a:gd name="T88" fmla="*/ 54 w 412"/>
                <a:gd name="T89" fmla="*/ 90 h 426"/>
                <a:gd name="T90" fmla="*/ 60 w 412"/>
                <a:gd name="T91" fmla="*/ 70 h 426"/>
                <a:gd name="T92" fmla="*/ 76 w 412"/>
                <a:gd name="T93" fmla="*/ 48 h 426"/>
                <a:gd name="T94" fmla="*/ 88 w 412"/>
                <a:gd name="T95" fmla="*/ 34 h 426"/>
                <a:gd name="T96" fmla="*/ 100 w 412"/>
                <a:gd name="T97" fmla="*/ 2 h 426"/>
                <a:gd name="T98" fmla="*/ 122 w 412"/>
                <a:gd name="T99" fmla="*/ 2 h 426"/>
                <a:gd name="T100" fmla="*/ 134 w 412"/>
                <a:gd name="T101" fmla="*/ 14 h 426"/>
                <a:gd name="T102" fmla="*/ 134 w 412"/>
                <a:gd name="T103" fmla="*/ 36 h 426"/>
                <a:gd name="T104" fmla="*/ 158 w 412"/>
                <a:gd name="T105" fmla="*/ 42 h 426"/>
                <a:gd name="T106" fmla="*/ 170 w 412"/>
                <a:gd name="T107" fmla="*/ 76 h 426"/>
                <a:gd name="T108" fmla="*/ 186 w 412"/>
                <a:gd name="T109" fmla="*/ 94 h 426"/>
                <a:gd name="T110" fmla="*/ 224 w 412"/>
                <a:gd name="T111" fmla="*/ 106 h 426"/>
                <a:gd name="T112" fmla="*/ 250 w 412"/>
                <a:gd name="T113" fmla="*/ 116 h 426"/>
                <a:gd name="T114" fmla="*/ 276 w 412"/>
                <a:gd name="T115" fmla="*/ 116 h 426"/>
                <a:gd name="T116" fmla="*/ 290 w 412"/>
                <a:gd name="T117" fmla="*/ 102 h 426"/>
                <a:gd name="T118" fmla="*/ 324 w 412"/>
                <a:gd name="T119" fmla="*/ 94 h 426"/>
                <a:gd name="T120" fmla="*/ 354 w 412"/>
                <a:gd name="T121" fmla="*/ 78 h 426"/>
                <a:gd name="T122" fmla="*/ 382 w 412"/>
                <a:gd name="T123" fmla="*/ 72 h 426"/>
                <a:gd name="T124" fmla="*/ 404 w 412"/>
                <a:gd name="T125" fmla="*/ 8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2" h="426">
                  <a:moveTo>
                    <a:pt x="412" y="96"/>
                  </a:moveTo>
                  <a:lnTo>
                    <a:pt x="412" y="96"/>
                  </a:lnTo>
                  <a:lnTo>
                    <a:pt x="412" y="98"/>
                  </a:lnTo>
                  <a:lnTo>
                    <a:pt x="412" y="100"/>
                  </a:lnTo>
                  <a:lnTo>
                    <a:pt x="412" y="102"/>
                  </a:lnTo>
                  <a:lnTo>
                    <a:pt x="412" y="104"/>
                  </a:lnTo>
                  <a:lnTo>
                    <a:pt x="410" y="104"/>
                  </a:lnTo>
                  <a:lnTo>
                    <a:pt x="410" y="106"/>
                  </a:lnTo>
                  <a:lnTo>
                    <a:pt x="410" y="106"/>
                  </a:lnTo>
                  <a:lnTo>
                    <a:pt x="410" y="106"/>
                  </a:lnTo>
                  <a:lnTo>
                    <a:pt x="408" y="108"/>
                  </a:lnTo>
                  <a:lnTo>
                    <a:pt x="406" y="108"/>
                  </a:lnTo>
                  <a:lnTo>
                    <a:pt x="404" y="110"/>
                  </a:lnTo>
                  <a:lnTo>
                    <a:pt x="402" y="110"/>
                  </a:lnTo>
                  <a:lnTo>
                    <a:pt x="398" y="112"/>
                  </a:lnTo>
                  <a:lnTo>
                    <a:pt x="396" y="112"/>
                  </a:lnTo>
                  <a:lnTo>
                    <a:pt x="394" y="114"/>
                  </a:lnTo>
                  <a:lnTo>
                    <a:pt x="392" y="114"/>
                  </a:lnTo>
                  <a:lnTo>
                    <a:pt x="392" y="114"/>
                  </a:lnTo>
                  <a:lnTo>
                    <a:pt x="390" y="116"/>
                  </a:lnTo>
                  <a:lnTo>
                    <a:pt x="388" y="118"/>
                  </a:lnTo>
                  <a:lnTo>
                    <a:pt x="388" y="120"/>
                  </a:lnTo>
                  <a:lnTo>
                    <a:pt x="386" y="122"/>
                  </a:lnTo>
                  <a:lnTo>
                    <a:pt x="382" y="126"/>
                  </a:lnTo>
                  <a:lnTo>
                    <a:pt x="382" y="128"/>
                  </a:lnTo>
                  <a:lnTo>
                    <a:pt x="380" y="130"/>
                  </a:lnTo>
                  <a:lnTo>
                    <a:pt x="380" y="132"/>
                  </a:lnTo>
                  <a:lnTo>
                    <a:pt x="378" y="134"/>
                  </a:lnTo>
                  <a:lnTo>
                    <a:pt x="378" y="140"/>
                  </a:lnTo>
                  <a:lnTo>
                    <a:pt x="376" y="142"/>
                  </a:lnTo>
                  <a:lnTo>
                    <a:pt x="376" y="146"/>
                  </a:lnTo>
                  <a:lnTo>
                    <a:pt x="376" y="148"/>
                  </a:lnTo>
                  <a:lnTo>
                    <a:pt x="374" y="150"/>
                  </a:lnTo>
                  <a:lnTo>
                    <a:pt x="372" y="150"/>
                  </a:lnTo>
                  <a:lnTo>
                    <a:pt x="372" y="152"/>
                  </a:lnTo>
                  <a:lnTo>
                    <a:pt x="368" y="156"/>
                  </a:lnTo>
                  <a:lnTo>
                    <a:pt x="366" y="158"/>
                  </a:lnTo>
                  <a:lnTo>
                    <a:pt x="364" y="160"/>
                  </a:lnTo>
                  <a:lnTo>
                    <a:pt x="362" y="162"/>
                  </a:lnTo>
                  <a:lnTo>
                    <a:pt x="362" y="162"/>
                  </a:lnTo>
                  <a:lnTo>
                    <a:pt x="362" y="164"/>
                  </a:lnTo>
                  <a:lnTo>
                    <a:pt x="362" y="164"/>
                  </a:lnTo>
                  <a:lnTo>
                    <a:pt x="360" y="166"/>
                  </a:lnTo>
                  <a:lnTo>
                    <a:pt x="360" y="168"/>
                  </a:lnTo>
                  <a:lnTo>
                    <a:pt x="360" y="170"/>
                  </a:lnTo>
                  <a:lnTo>
                    <a:pt x="360" y="176"/>
                  </a:lnTo>
                  <a:lnTo>
                    <a:pt x="360" y="180"/>
                  </a:lnTo>
                  <a:lnTo>
                    <a:pt x="360" y="184"/>
                  </a:lnTo>
                  <a:lnTo>
                    <a:pt x="362" y="188"/>
                  </a:lnTo>
                  <a:lnTo>
                    <a:pt x="362" y="192"/>
                  </a:lnTo>
                  <a:lnTo>
                    <a:pt x="360" y="192"/>
                  </a:lnTo>
                  <a:lnTo>
                    <a:pt x="358" y="190"/>
                  </a:lnTo>
                  <a:lnTo>
                    <a:pt x="354" y="186"/>
                  </a:lnTo>
                  <a:lnTo>
                    <a:pt x="354" y="186"/>
                  </a:lnTo>
                  <a:lnTo>
                    <a:pt x="352" y="184"/>
                  </a:lnTo>
                  <a:lnTo>
                    <a:pt x="352" y="184"/>
                  </a:lnTo>
                  <a:lnTo>
                    <a:pt x="352" y="182"/>
                  </a:lnTo>
                  <a:lnTo>
                    <a:pt x="350" y="180"/>
                  </a:lnTo>
                  <a:lnTo>
                    <a:pt x="350" y="176"/>
                  </a:lnTo>
                  <a:lnTo>
                    <a:pt x="348" y="172"/>
                  </a:lnTo>
                  <a:lnTo>
                    <a:pt x="348" y="166"/>
                  </a:lnTo>
                  <a:lnTo>
                    <a:pt x="346" y="160"/>
                  </a:lnTo>
                  <a:lnTo>
                    <a:pt x="346" y="158"/>
                  </a:lnTo>
                  <a:lnTo>
                    <a:pt x="346" y="156"/>
                  </a:lnTo>
                  <a:lnTo>
                    <a:pt x="346" y="152"/>
                  </a:lnTo>
                  <a:lnTo>
                    <a:pt x="346" y="150"/>
                  </a:lnTo>
                  <a:lnTo>
                    <a:pt x="346" y="146"/>
                  </a:lnTo>
                  <a:lnTo>
                    <a:pt x="344" y="144"/>
                  </a:lnTo>
                  <a:lnTo>
                    <a:pt x="344" y="144"/>
                  </a:lnTo>
                  <a:lnTo>
                    <a:pt x="344" y="144"/>
                  </a:lnTo>
                  <a:lnTo>
                    <a:pt x="344" y="142"/>
                  </a:lnTo>
                  <a:lnTo>
                    <a:pt x="342" y="142"/>
                  </a:lnTo>
                  <a:lnTo>
                    <a:pt x="340" y="140"/>
                  </a:lnTo>
                  <a:lnTo>
                    <a:pt x="338" y="138"/>
                  </a:lnTo>
                  <a:lnTo>
                    <a:pt x="336" y="138"/>
                  </a:lnTo>
                  <a:lnTo>
                    <a:pt x="334" y="136"/>
                  </a:lnTo>
                  <a:lnTo>
                    <a:pt x="330" y="134"/>
                  </a:lnTo>
                  <a:lnTo>
                    <a:pt x="326" y="134"/>
                  </a:lnTo>
                  <a:lnTo>
                    <a:pt x="324" y="132"/>
                  </a:lnTo>
                  <a:lnTo>
                    <a:pt x="322" y="132"/>
                  </a:lnTo>
                  <a:lnTo>
                    <a:pt x="318" y="132"/>
                  </a:lnTo>
                  <a:lnTo>
                    <a:pt x="314" y="132"/>
                  </a:lnTo>
                  <a:lnTo>
                    <a:pt x="312" y="130"/>
                  </a:lnTo>
                  <a:lnTo>
                    <a:pt x="312" y="130"/>
                  </a:lnTo>
                  <a:lnTo>
                    <a:pt x="310" y="130"/>
                  </a:lnTo>
                  <a:lnTo>
                    <a:pt x="310" y="130"/>
                  </a:lnTo>
                  <a:lnTo>
                    <a:pt x="308" y="128"/>
                  </a:lnTo>
                  <a:lnTo>
                    <a:pt x="302" y="122"/>
                  </a:lnTo>
                  <a:lnTo>
                    <a:pt x="300" y="120"/>
                  </a:lnTo>
                  <a:lnTo>
                    <a:pt x="298" y="120"/>
                  </a:lnTo>
                  <a:lnTo>
                    <a:pt x="298" y="118"/>
                  </a:lnTo>
                  <a:lnTo>
                    <a:pt x="296" y="118"/>
                  </a:lnTo>
                  <a:lnTo>
                    <a:pt x="296" y="118"/>
                  </a:lnTo>
                  <a:lnTo>
                    <a:pt x="294" y="118"/>
                  </a:lnTo>
                  <a:lnTo>
                    <a:pt x="294" y="118"/>
                  </a:lnTo>
                  <a:lnTo>
                    <a:pt x="292" y="118"/>
                  </a:lnTo>
                  <a:lnTo>
                    <a:pt x="292" y="118"/>
                  </a:lnTo>
                  <a:lnTo>
                    <a:pt x="290" y="120"/>
                  </a:lnTo>
                  <a:lnTo>
                    <a:pt x="290" y="122"/>
                  </a:lnTo>
                  <a:lnTo>
                    <a:pt x="288" y="122"/>
                  </a:lnTo>
                  <a:lnTo>
                    <a:pt x="286" y="124"/>
                  </a:lnTo>
                  <a:lnTo>
                    <a:pt x="286" y="128"/>
                  </a:lnTo>
                  <a:lnTo>
                    <a:pt x="284" y="130"/>
                  </a:lnTo>
                  <a:lnTo>
                    <a:pt x="284" y="132"/>
                  </a:lnTo>
                  <a:lnTo>
                    <a:pt x="284" y="134"/>
                  </a:lnTo>
                  <a:lnTo>
                    <a:pt x="282" y="136"/>
                  </a:lnTo>
                  <a:lnTo>
                    <a:pt x="282" y="140"/>
                  </a:lnTo>
                  <a:lnTo>
                    <a:pt x="282" y="142"/>
                  </a:lnTo>
                  <a:lnTo>
                    <a:pt x="282" y="144"/>
                  </a:lnTo>
                  <a:lnTo>
                    <a:pt x="282" y="146"/>
                  </a:lnTo>
                  <a:lnTo>
                    <a:pt x="282" y="148"/>
                  </a:lnTo>
                  <a:lnTo>
                    <a:pt x="284" y="150"/>
                  </a:lnTo>
                  <a:lnTo>
                    <a:pt x="284" y="150"/>
                  </a:lnTo>
                  <a:lnTo>
                    <a:pt x="284" y="150"/>
                  </a:lnTo>
                  <a:lnTo>
                    <a:pt x="286" y="150"/>
                  </a:lnTo>
                  <a:lnTo>
                    <a:pt x="286" y="150"/>
                  </a:lnTo>
                  <a:lnTo>
                    <a:pt x="288" y="150"/>
                  </a:lnTo>
                  <a:lnTo>
                    <a:pt x="290" y="150"/>
                  </a:lnTo>
                  <a:lnTo>
                    <a:pt x="292" y="150"/>
                  </a:lnTo>
                  <a:lnTo>
                    <a:pt x="292" y="152"/>
                  </a:lnTo>
                  <a:lnTo>
                    <a:pt x="294" y="152"/>
                  </a:lnTo>
                  <a:lnTo>
                    <a:pt x="294" y="152"/>
                  </a:lnTo>
                  <a:lnTo>
                    <a:pt x="294" y="152"/>
                  </a:lnTo>
                  <a:lnTo>
                    <a:pt x="294" y="154"/>
                  </a:lnTo>
                  <a:lnTo>
                    <a:pt x="296" y="156"/>
                  </a:lnTo>
                  <a:lnTo>
                    <a:pt x="296" y="158"/>
                  </a:lnTo>
                  <a:lnTo>
                    <a:pt x="296" y="162"/>
                  </a:lnTo>
                  <a:lnTo>
                    <a:pt x="296" y="164"/>
                  </a:lnTo>
                  <a:lnTo>
                    <a:pt x="296" y="168"/>
                  </a:lnTo>
                  <a:lnTo>
                    <a:pt x="296" y="170"/>
                  </a:lnTo>
                  <a:lnTo>
                    <a:pt x="296" y="174"/>
                  </a:lnTo>
                  <a:lnTo>
                    <a:pt x="296" y="180"/>
                  </a:lnTo>
                  <a:lnTo>
                    <a:pt x="296" y="186"/>
                  </a:lnTo>
                  <a:lnTo>
                    <a:pt x="294" y="190"/>
                  </a:lnTo>
                  <a:lnTo>
                    <a:pt x="290" y="192"/>
                  </a:lnTo>
                  <a:lnTo>
                    <a:pt x="288" y="192"/>
                  </a:lnTo>
                  <a:lnTo>
                    <a:pt x="286" y="192"/>
                  </a:lnTo>
                  <a:lnTo>
                    <a:pt x="284" y="192"/>
                  </a:lnTo>
                  <a:lnTo>
                    <a:pt x="282" y="194"/>
                  </a:lnTo>
                  <a:lnTo>
                    <a:pt x="280" y="194"/>
                  </a:lnTo>
                  <a:lnTo>
                    <a:pt x="278" y="196"/>
                  </a:lnTo>
                  <a:lnTo>
                    <a:pt x="276" y="196"/>
                  </a:lnTo>
                  <a:lnTo>
                    <a:pt x="276" y="198"/>
                  </a:lnTo>
                  <a:lnTo>
                    <a:pt x="274" y="198"/>
                  </a:lnTo>
                  <a:lnTo>
                    <a:pt x="274" y="200"/>
                  </a:lnTo>
                  <a:lnTo>
                    <a:pt x="274" y="200"/>
                  </a:lnTo>
                  <a:lnTo>
                    <a:pt x="274" y="202"/>
                  </a:lnTo>
                  <a:lnTo>
                    <a:pt x="274" y="202"/>
                  </a:lnTo>
                  <a:lnTo>
                    <a:pt x="274" y="206"/>
                  </a:lnTo>
                  <a:lnTo>
                    <a:pt x="274" y="208"/>
                  </a:lnTo>
                  <a:lnTo>
                    <a:pt x="276" y="210"/>
                  </a:lnTo>
                  <a:lnTo>
                    <a:pt x="276" y="214"/>
                  </a:lnTo>
                  <a:lnTo>
                    <a:pt x="276" y="214"/>
                  </a:lnTo>
                  <a:lnTo>
                    <a:pt x="276" y="216"/>
                  </a:lnTo>
                  <a:lnTo>
                    <a:pt x="276" y="216"/>
                  </a:lnTo>
                  <a:lnTo>
                    <a:pt x="274" y="218"/>
                  </a:lnTo>
                  <a:lnTo>
                    <a:pt x="274" y="218"/>
                  </a:lnTo>
                  <a:lnTo>
                    <a:pt x="274" y="218"/>
                  </a:lnTo>
                  <a:lnTo>
                    <a:pt x="272" y="220"/>
                  </a:lnTo>
                  <a:lnTo>
                    <a:pt x="270" y="220"/>
                  </a:lnTo>
                  <a:lnTo>
                    <a:pt x="270" y="220"/>
                  </a:lnTo>
                  <a:lnTo>
                    <a:pt x="268" y="222"/>
                  </a:lnTo>
                  <a:lnTo>
                    <a:pt x="266" y="224"/>
                  </a:lnTo>
                  <a:lnTo>
                    <a:pt x="264" y="230"/>
                  </a:lnTo>
                  <a:lnTo>
                    <a:pt x="262" y="232"/>
                  </a:lnTo>
                  <a:lnTo>
                    <a:pt x="262" y="234"/>
                  </a:lnTo>
                  <a:lnTo>
                    <a:pt x="260" y="236"/>
                  </a:lnTo>
                  <a:lnTo>
                    <a:pt x="260" y="236"/>
                  </a:lnTo>
                  <a:lnTo>
                    <a:pt x="258" y="238"/>
                  </a:lnTo>
                  <a:lnTo>
                    <a:pt x="258" y="238"/>
                  </a:lnTo>
                  <a:lnTo>
                    <a:pt x="256" y="238"/>
                  </a:lnTo>
                  <a:lnTo>
                    <a:pt x="254" y="240"/>
                  </a:lnTo>
                  <a:lnTo>
                    <a:pt x="252" y="240"/>
                  </a:lnTo>
                  <a:lnTo>
                    <a:pt x="250" y="242"/>
                  </a:lnTo>
                  <a:lnTo>
                    <a:pt x="248" y="242"/>
                  </a:lnTo>
                  <a:lnTo>
                    <a:pt x="244" y="242"/>
                  </a:lnTo>
                  <a:lnTo>
                    <a:pt x="242" y="244"/>
                  </a:lnTo>
                  <a:lnTo>
                    <a:pt x="240" y="244"/>
                  </a:lnTo>
                  <a:lnTo>
                    <a:pt x="240" y="246"/>
                  </a:lnTo>
                  <a:lnTo>
                    <a:pt x="238" y="248"/>
                  </a:lnTo>
                  <a:lnTo>
                    <a:pt x="236" y="252"/>
                  </a:lnTo>
                  <a:lnTo>
                    <a:pt x="234" y="254"/>
                  </a:lnTo>
                  <a:lnTo>
                    <a:pt x="232" y="256"/>
                  </a:lnTo>
                  <a:lnTo>
                    <a:pt x="230" y="258"/>
                  </a:lnTo>
                  <a:lnTo>
                    <a:pt x="230" y="258"/>
                  </a:lnTo>
                  <a:lnTo>
                    <a:pt x="228" y="258"/>
                  </a:lnTo>
                  <a:lnTo>
                    <a:pt x="224" y="260"/>
                  </a:lnTo>
                  <a:lnTo>
                    <a:pt x="220" y="262"/>
                  </a:lnTo>
                  <a:lnTo>
                    <a:pt x="218" y="262"/>
                  </a:lnTo>
                  <a:lnTo>
                    <a:pt x="218" y="262"/>
                  </a:lnTo>
                  <a:lnTo>
                    <a:pt x="216" y="264"/>
                  </a:lnTo>
                  <a:lnTo>
                    <a:pt x="216" y="264"/>
                  </a:lnTo>
                  <a:lnTo>
                    <a:pt x="214" y="264"/>
                  </a:lnTo>
                  <a:lnTo>
                    <a:pt x="214" y="266"/>
                  </a:lnTo>
                  <a:lnTo>
                    <a:pt x="214" y="268"/>
                  </a:lnTo>
                  <a:lnTo>
                    <a:pt x="212" y="270"/>
                  </a:lnTo>
                  <a:lnTo>
                    <a:pt x="212" y="272"/>
                  </a:lnTo>
                  <a:lnTo>
                    <a:pt x="210" y="276"/>
                  </a:lnTo>
                  <a:lnTo>
                    <a:pt x="210" y="278"/>
                  </a:lnTo>
                  <a:lnTo>
                    <a:pt x="210" y="280"/>
                  </a:lnTo>
                  <a:lnTo>
                    <a:pt x="208" y="282"/>
                  </a:lnTo>
                  <a:lnTo>
                    <a:pt x="208" y="282"/>
                  </a:lnTo>
                  <a:lnTo>
                    <a:pt x="206" y="284"/>
                  </a:lnTo>
                  <a:lnTo>
                    <a:pt x="206" y="286"/>
                  </a:lnTo>
                  <a:lnTo>
                    <a:pt x="202" y="286"/>
                  </a:lnTo>
                  <a:lnTo>
                    <a:pt x="200" y="288"/>
                  </a:lnTo>
                  <a:lnTo>
                    <a:pt x="196" y="292"/>
                  </a:lnTo>
                  <a:lnTo>
                    <a:pt x="192" y="294"/>
                  </a:lnTo>
                  <a:lnTo>
                    <a:pt x="190" y="296"/>
                  </a:lnTo>
                  <a:lnTo>
                    <a:pt x="188" y="296"/>
                  </a:lnTo>
                  <a:lnTo>
                    <a:pt x="182" y="300"/>
                  </a:lnTo>
                  <a:lnTo>
                    <a:pt x="180" y="300"/>
                  </a:lnTo>
                  <a:lnTo>
                    <a:pt x="176" y="302"/>
                  </a:lnTo>
                  <a:lnTo>
                    <a:pt x="176" y="304"/>
                  </a:lnTo>
                  <a:lnTo>
                    <a:pt x="174" y="304"/>
                  </a:lnTo>
                  <a:lnTo>
                    <a:pt x="174" y="306"/>
                  </a:lnTo>
                  <a:lnTo>
                    <a:pt x="172" y="306"/>
                  </a:lnTo>
                  <a:lnTo>
                    <a:pt x="172" y="308"/>
                  </a:lnTo>
                  <a:lnTo>
                    <a:pt x="172" y="308"/>
                  </a:lnTo>
                  <a:lnTo>
                    <a:pt x="172" y="310"/>
                  </a:lnTo>
                  <a:lnTo>
                    <a:pt x="172" y="312"/>
                  </a:lnTo>
                  <a:lnTo>
                    <a:pt x="172" y="314"/>
                  </a:lnTo>
                  <a:lnTo>
                    <a:pt x="172" y="318"/>
                  </a:lnTo>
                  <a:lnTo>
                    <a:pt x="172" y="322"/>
                  </a:lnTo>
                  <a:lnTo>
                    <a:pt x="174" y="324"/>
                  </a:lnTo>
                  <a:lnTo>
                    <a:pt x="176" y="332"/>
                  </a:lnTo>
                  <a:lnTo>
                    <a:pt x="178" y="340"/>
                  </a:lnTo>
                  <a:lnTo>
                    <a:pt x="178" y="344"/>
                  </a:lnTo>
                  <a:lnTo>
                    <a:pt x="180" y="346"/>
                  </a:lnTo>
                  <a:lnTo>
                    <a:pt x="180" y="350"/>
                  </a:lnTo>
                  <a:lnTo>
                    <a:pt x="180" y="352"/>
                  </a:lnTo>
                  <a:lnTo>
                    <a:pt x="180" y="352"/>
                  </a:lnTo>
                  <a:lnTo>
                    <a:pt x="180" y="354"/>
                  </a:lnTo>
                  <a:lnTo>
                    <a:pt x="178" y="356"/>
                  </a:lnTo>
                  <a:lnTo>
                    <a:pt x="178" y="356"/>
                  </a:lnTo>
                  <a:lnTo>
                    <a:pt x="178" y="358"/>
                  </a:lnTo>
                  <a:lnTo>
                    <a:pt x="178" y="358"/>
                  </a:lnTo>
                  <a:lnTo>
                    <a:pt x="176" y="358"/>
                  </a:lnTo>
                  <a:lnTo>
                    <a:pt x="174" y="360"/>
                  </a:lnTo>
                  <a:lnTo>
                    <a:pt x="172" y="360"/>
                  </a:lnTo>
                  <a:lnTo>
                    <a:pt x="172" y="360"/>
                  </a:lnTo>
                  <a:lnTo>
                    <a:pt x="172" y="360"/>
                  </a:lnTo>
                  <a:lnTo>
                    <a:pt x="172" y="362"/>
                  </a:lnTo>
                  <a:lnTo>
                    <a:pt x="172" y="362"/>
                  </a:lnTo>
                  <a:lnTo>
                    <a:pt x="172" y="364"/>
                  </a:lnTo>
                  <a:lnTo>
                    <a:pt x="172" y="366"/>
                  </a:lnTo>
                  <a:lnTo>
                    <a:pt x="172" y="368"/>
                  </a:lnTo>
                  <a:lnTo>
                    <a:pt x="172" y="368"/>
                  </a:lnTo>
                  <a:lnTo>
                    <a:pt x="174" y="372"/>
                  </a:lnTo>
                  <a:lnTo>
                    <a:pt x="176" y="376"/>
                  </a:lnTo>
                  <a:lnTo>
                    <a:pt x="176" y="378"/>
                  </a:lnTo>
                  <a:lnTo>
                    <a:pt x="178" y="380"/>
                  </a:lnTo>
                  <a:lnTo>
                    <a:pt x="178" y="382"/>
                  </a:lnTo>
                  <a:lnTo>
                    <a:pt x="178" y="382"/>
                  </a:lnTo>
                  <a:lnTo>
                    <a:pt x="178" y="384"/>
                  </a:lnTo>
                  <a:lnTo>
                    <a:pt x="178" y="386"/>
                  </a:lnTo>
                  <a:lnTo>
                    <a:pt x="178" y="386"/>
                  </a:lnTo>
                  <a:lnTo>
                    <a:pt x="176" y="388"/>
                  </a:lnTo>
                  <a:lnTo>
                    <a:pt x="176" y="390"/>
                  </a:lnTo>
                  <a:lnTo>
                    <a:pt x="174" y="394"/>
                  </a:lnTo>
                  <a:lnTo>
                    <a:pt x="170" y="398"/>
                  </a:lnTo>
                  <a:lnTo>
                    <a:pt x="168" y="402"/>
                  </a:lnTo>
                  <a:lnTo>
                    <a:pt x="166" y="406"/>
                  </a:lnTo>
                  <a:lnTo>
                    <a:pt x="164" y="410"/>
                  </a:lnTo>
                  <a:lnTo>
                    <a:pt x="162" y="412"/>
                  </a:lnTo>
                  <a:lnTo>
                    <a:pt x="160" y="414"/>
                  </a:lnTo>
                  <a:lnTo>
                    <a:pt x="160" y="416"/>
                  </a:lnTo>
                  <a:lnTo>
                    <a:pt x="158" y="418"/>
                  </a:lnTo>
                  <a:lnTo>
                    <a:pt x="156" y="420"/>
                  </a:lnTo>
                  <a:lnTo>
                    <a:pt x="154" y="420"/>
                  </a:lnTo>
                  <a:lnTo>
                    <a:pt x="152" y="422"/>
                  </a:lnTo>
                  <a:lnTo>
                    <a:pt x="150" y="424"/>
                  </a:lnTo>
                  <a:lnTo>
                    <a:pt x="148" y="426"/>
                  </a:lnTo>
                  <a:lnTo>
                    <a:pt x="146" y="426"/>
                  </a:lnTo>
                  <a:lnTo>
                    <a:pt x="144" y="426"/>
                  </a:lnTo>
                  <a:lnTo>
                    <a:pt x="142" y="426"/>
                  </a:lnTo>
                  <a:lnTo>
                    <a:pt x="142" y="426"/>
                  </a:lnTo>
                  <a:lnTo>
                    <a:pt x="140" y="426"/>
                  </a:lnTo>
                  <a:lnTo>
                    <a:pt x="140" y="426"/>
                  </a:lnTo>
                  <a:lnTo>
                    <a:pt x="138" y="426"/>
                  </a:lnTo>
                  <a:lnTo>
                    <a:pt x="136" y="424"/>
                  </a:lnTo>
                  <a:lnTo>
                    <a:pt x="136" y="424"/>
                  </a:lnTo>
                  <a:lnTo>
                    <a:pt x="134" y="422"/>
                  </a:lnTo>
                  <a:lnTo>
                    <a:pt x="134" y="422"/>
                  </a:lnTo>
                  <a:lnTo>
                    <a:pt x="132" y="420"/>
                  </a:lnTo>
                  <a:lnTo>
                    <a:pt x="132" y="420"/>
                  </a:lnTo>
                  <a:lnTo>
                    <a:pt x="132" y="418"/>
                  </a:lnTo>
                  <a:lnTo>
                    <a:pt x="132" y="416"/>
                  </a:lnTo>
                  <a:lnTo>
                    <a:pt x="132" y="414"/>
                  </a:lnTo>
                  <a:lnTo>
                    <a:pt x="130" y="412"/>
                  </a:lnTo>
                  <a:lnTo>
                    <a:pt x="130" y="406"/>
                  </a:lnTo>
                  <a:lnTo>
                    <a:pt x="130" y="404"/>
                  </a:lnTo>
                  <a:lnTo>
                    <a:pt x="130" y="402"/>
                  </a:lnTo>
                  <a:lnTo>
                    <a:pt x="130" y="400"/>
                  </a:lnTo>
                  <a:lnTo>
                    <a:pt x="128" y="398"/>
                  </a:lnTo>
                  <a:lnTo>
                    <a:pt x="126" y="392"/>
                  </a:lnTo>
                  <a:lnTo>
                    <a:pt x="124" y="388"/>
                  </a:lnTo>
                  <a:lnTo>
                    <a:pt x="122" y="382"/>
                  </a:lnTo>
                  <a:lnTo>
                    <a:pt x="116" y="370"/>
                  </a:lnTo>
                  <a:lnTo>
                    <a:pt x="114" y="366"/>
                  </a:lnTo>
                  <a:lnTo>
                    <a:pt x="112" y="362"/>
                  </a:lnTo>
                  <a:lnTo>
                    <a:pt x="110" y="358"/>
                  </a:lnTo>
                  <a:lnTo>
                    <a:pt x="108" y="352"/>
                  </a:lnTo>
                  <a:lnTo>
                    <a:pt x="104" y="340"/>
                  </a:lnTo>
                  <a:lnTo>
                    <a:pt x="102" y="334"/>
                  </a:lnTo>
                  <a:lnTo>
                    <a:pt x="100" y="328"/>
                  </a:lnTo>
                  <a:lnTo>
                    <a:pt x="98" y="322"/>
                  </a:lnTo>
                  <a:lnTo>
                    <a:pt x="96" y="318"/>
                  </a:lnTo>
                  <a:lnTo>
                    <a:pt x="94" y="314"/>
                  </a:lnTo>
                  <a:lnTo>
                    <a:pt x="92" y="312"/>
                  </a:lnTo>
                  <a:lnTo>
                    <a:pt x="88" y="304"/>
                  </a:lnTo>
                  <a:lnTo>
                    <a:pt x="84" y="300"/>
                  </a:lnTo>
                  <a:lnTo>
                    <a:pt x="82" y="298"/>
                  </a:lnTo>
                  <a:lnTo>
                    <a:pt x="80" y="294"/>
                  </a:lnTo>
                  <a:lnTo>
                    <a:pt x="80" y="292"/>
                  </a:lnTo>
                  <a:lnTo>
                    <a:pt x="78" y="292"/>
                  </a:lnTo>
                  <a:lnTo>
                    <a:pt x="78" y="288"/>
                  </a:lnTo>
                  <a:lnTo>
                    <a:pt x="76" y="284"/>
                  </a:lnTo>
                  <a:lnTo>
                    <a:pt x="74" y="278"/>
                  </a:lnTo>
                  <a:lnTo>
                    <a:pt x="74" y="274"/>
                  </a:lnTo>
                  <a:lnTo>
                    <a:pt x="72" y="268"/>
                  </a:lnTo>
                  <a:lnTo>
                    <a:pt x="72" y="264"/>
                  </a:lnTo>
                  <a:lnTo>
                    <a:pt x="72" y="260"/>
                  </a:lnTo>
                  <a:lnTo>
                    <a:pt x="70" y="256"/>
                  </a:lnTo>
                  <a:lnTo>
                    <a:pt x="70" y="252"/>
                  </a:lnTo>
                  <a:lnTo>
                    <a:pt x="70" y="250"/>
                  </a:lnTo>
                  <a:lnTo>
                    <a:pt x="70" y="240"/>
                  </a:lnTo>
                  <a:lnTo>
                    <a:pt x="72" y="232"/>
                  </a:lnTo>
                  <a:lnTo>
                    <a:pt x="72" y="228"/>
                  </a:lnTo>
                  <a:lnTo>
                    <a:pt x="70" y="224"/>
                  </a:lnTo>
                  <a:lnTo>
                    <a:pt x="70" y="218"/>
                  </a:lnTo>
                  <a:lnTo>
                    <a:pt x="70" y="212"/>
                  </a:lnTo>
                  <a:lnTo>
                    <a:pt x="70" y="208"/>
                  </a:lnTo>
                  <a:lnTo>
                    <a:pt x="68" y="206"/>
                  </a:lnTo>
                  <a:lnTo>
                    <a:pt x="68" y="202"/>
                  </a:lnTo>
                  <a:lnTo>
                    <a:pt x="68" y="200"/>
                  </a:lnTo>
                  <a:lnTo>
                    <a:pt x="66" y="196"/>
                  </a:lnTo>
                  <a:lnTo>
                    <a:pt x="66" y="192"/>
                  </a:lnTo>
                  <a:lnTo>
                    <a:pt x="64" y="190"/>
                  </a:lnTo>
                  <a:lnTo>
                    <a:pt x="64" y="188"/>
                  </a:lnTo>
                  <a:lnTo>
                    <a:pt x="62" y="186"/>
                  </a:lnTo>
                  <a:lnTo>
                    <a:pt x="62" y="186"/>
                  </a:lnTo>
                  <a:lnTo>
                    <a:pt x="62" y="186"/>
                  </a:lnTo>
                  <a:lnTo>
                    <a:pt x="62" y="184"/>
                  </a:lnTo>
                  <a:lnTo>
                    <a:pt x="60" y="184"/>
                  </a:lnTo>
                  <a:lnTo>
                    <a:pt x="60" y="184"/>
                  </a:lnTo>
                  <a:lnTo>
                    <a:pt x="60" y="184"/>
                  </a:lnTo>
                  <a:lnTo>
                    <a:pt x="58" y="186"/>
                  </a:lnTo>
                  <a:lnTo>
                    <a:pt x="58" y="186"/>
                  </a:lnTo>
                  <a:lnTo>
                    <a:pt x="58" y="186"/>
                  </a:lnTo>
                  <a:lnTo>
                    <a:pt x="58" y="188"/>
                  </a:lnTo>
                  <a:lnTo>
                    <a:pt x="58" y="190"/>
                  </a:lnTo>
                  <a:lnTo>
                    <a:pt x="60" y="192"/>
                  </a:lnTo>
                  <a:lnTo>
                    <a:pt x="60" y="194"/>
                  </a:lnTo>
                  <a:lnTo>
                    <a:pt x="60" y="196"/>
                  </a:lnTo>
                  <a:lnTo>
                    <a:pt x="60" y="198"/>
                  </a:lnTo>
                  <a:lnTo>
                    <a:pt x="60" y="198"/>
                  </a:lnTo>
                  <a:lnTo>
                    <a:pt x="60" y="200"/>
                  </a:lnTo>
                  <a:lnTo>
                    <a:pt x="58" y="202"/>
                  </a:lnTo>
                  <a:lnTo>
                    <a:pt x="56" y="202"/>
                  </a:lnTo>
                  <a:lnTo>
                    <a:pt x="56" y="204"/>
                  </a:lnTo>
                  <a:lnTo>
                    <a:pt x="54" y="206"/>
                  </a:lnTo>
                  <a:lnTo>
                    <a:pt x="52" y="206"/>
                  </a:lnTo>
                  <a:lnTo>
                    <a:pt x="52" y="208"/>
                  </a:lnTo>
                  <a:lnTo>
                    <a:pt x="50" y="208"/>
                  </a:lnTo>
                  <a:lnTo>
                    <a:pt x="48" y="208"/>
                  </a:lnTo>
                  <a:lnTo>
                    <a:pt x="48" y="210"/>
                  </a:lnTo>
                  <a:lnTo>
                    <a:pt x="44" y="210"/>
                  </a:lnTo>
                  <a:lnTo>
                    <a:pt x="42" y="210"/>
                  </a:lnTo>
                  <a:lnTo>
                    <a:pt x="38" y="210"/>
                  </a:lnTo>
                  <a:lnTo>
                    <a:pt x="36" y="210"/>
                  </a:lnTo>
                  <a:lnTo>
                    <a:pt x="34" y="208"/>
                  </a:lnTo>
                  <a:lnTo>
                    <a:pt x="30" y="208"/>
                  </a:lnTo>
                  <a:lnTo>
                    <a:pt x="30" y="208"/>
                  </a:lnTo>
                  <a:lnTo>
                    <a:pt x="28" y="208"/>
                  </a:lnTo>
                  <a:lnTo>
                    <a:pt x="28" y="206"/>
                  </a:lnTo>
                  <a:lnTo>
                    <a:pt x="26" y="206"/>
                  </a:lnTo>
                  <a:lnTo>
                    <a:pt x="24" y="204"/>
                  </a:lnTo>
                  <a:lnTo>
                    <a:pt x="20" y="200"/>
                  </a:lnTo>
                  <a:lnTo>
                    <a:pt x="18" y="198"/>
                  </a:lnTo>
                  <a:lnTo>
                    <a:pt x="16" y="194"/>
                  </a:lnTo>
                  <a:lnTo>
                    <a:pt x="14" y="194"/>
                  </a:lnTo>
                  <a:lnTo>
                    <a:pt x="14" y="192"/>
                  </a:lnTo>
                  <a:lnTo>
                    <a:pt x="12" y="190"/>
                  </a:lnTo>
                  <a:lnTo>
                    <a:pt x="12" y="188"/>
                  </a:lnTo>
                  <a:lnTo>
                    <a:pt x="12" y="188"/>
                  </a:lnTo>
                  <a:lnTo>
                    <a:pt x="12" y="186"/>
                  </a:lnTo>
                  <a:lnTo>
                    <a:pt x="12" y="186"/>
                  </a:lnTo>
                  <a:lnTo>
                    <a:pt x="12" y="184"/>
                  </a:lnTo>
                  <a:lnTo>
                    <a:pt x="12" y="184"/>
                  </a:lnTo>
                  <a:lnTo>
                    <a:pt x="14" y="184"/>
                  </a:lnTo>
                  <a:lnTo>
                    <a:pt x="16" y="182"/>
                  </a:lnTo>
                  <a:lnTo>
                    <a:pt x="18" y="180"/>
                  </a:lnTo>
                  <a:lnTo>
                    <a:pt x="18" y="178"/>
                  </a:lnTo>
                  <a:lnTo>
                    <a:pt x="20" y="178"/>
                  </a:lnTo>
                  <a:lnTo>
                    <a:pt x="20" y="176"/>
                  </a:lnTo>
                  <a:lnTo>
                    <a:pt x="20" y="176"/>
                  </a:lnTo>
                  <a:lnTo>
                    <a:pt x="20" y="176"/>
                  </a:lnTo>
                  <a:lnTo>
                    <a:pt x="20" y="174"/>
                  </a:lnTo>
                  <a:lnTo>
                    <a:pt x="20" y="174"/>
                  </a:lnTo>
                  <a:lnTo>
                    <a:pt x="20" y="174"/>
                  </a:lnTo>
                  <a:lnTo>
                    <a:pt x="20" y="174"/>
                  </a:lnTo>
                  <a:lnTo>
                    <a:pt x="18" y="174"/>
                  </a:lnTo>
                  <a:lnTo>
                    <a:pt x="16" y="174"/>
                  </a:lnTo>
                  <a:lnTo>
                    <a:pt x="14" y="174"/>
                  </a:lnTo>
                  <a:lnTo>
                    <a:pt x="12" y="176"/>
                  </a:lnTo>
                  <a:lnTo>
                    <a:pt x="12" y="176"/>
                  </a:lnTo>
                  <a:lnTo>
                    <a:pt x="10" y="176"/>
                  </a:lnTo>
                  <a:lnTo>
                    <a:pt x="8" y="176"/>
                  </a:lnTo>
                  <a:lnTo>
                    <a:pt x="8" y="176"/>
                  </a:lnTo>
                  <a:lnTo>
                    <a:pt x="8" y="176"/>
                  </a:lnTo>
                  <a:lnTo>
                    <a:pt x="6" y="174"/>
                  </a:lnTo>
                  <a:lnTo>
                    <a:pt x="6" y="174"/>
                  </a:lnTo>
                  <a:lnTo>
                    <a:pt x="4" y="172"/>
                  </a:lnTo>
                  <a:lnTo>
                    <a:pt x="4" y="168"/>
                  </a:lnTo>
                  <a:lnTo>
                    <a:pt x="2" y="166"/>
                  </a:lnTo>
                  <a:lnTo>
                    <a:pt x="0" y="164"/>
                  </a:lnTo>
                  <a:lnTo>
                    <a:pt x="2" y="162"/>
                  </a:lnTo>
                  <a:lnTo>
                    <a:pt x="4" y="160"/>
                  </a:lnTo>
                  <a:lnTo>
                    <a:pt x="6" y="158"/>
                  </a:lnTo>
                  <a:lnTo>
                    <a:pt x="6" y="156"/>
                  </a:lnTo>
                  <a:lnTo>
                    <a:pt x="8" y="156"/>
                  </a:lnTo>
                  <a:lnTo>
                    <a:pt x="10" y="154"/>
                  </a:lnTo>
                  <a:lnTo>
                    <a:pt x="10" y="154"/>
                  </a:lnTo>
                  <a:lnTo>
                    <a:pt x="12" y="154"/>
                  </a:lnTo>
                  <a:lnTo>
                    <a:pt x="14" y="154"/>
                  </a:lnTo>
                  <a:lnTo>
                    <a:pt x="16" y="154"/>
                  </a:lnTo>
                  <a:lnTo>
                    <a:pt x="20" y="154"/>
                  </a:lnTo>
                  <a:lnTo>
                    <a:pt x="24" y="156"/>
                  </a:lnTo>
                  <a:lnTo>
                    <a:pt x="28" y="156"/>
                  </a:lnTo>
                  <a:lnTo>
                    <a:pt x="30" y="156"/>
                  </a:lnTo>
                  <a:lnTo>
                    <a:pt x="32" y="156"/>
                  </a:lnTo>
                  <a:lnTo>
                    <a:pt x="34" y="156"/>
                  </a:lnTo>
                  <a:lnTo>
                    <a:pt x="36" y="156"/>
                  </a:lnTo>
                  <a:lnTo>
                    <a:pt x="38" y="156"/>
                  </a:lnTo>
                  <a:lnTo>
                    <a:pt x="38" y="154"/>
                  </a:lnTo>
                  <a:lnTo>
                    <a:pt x="38" y="154"/>
                  </a:lnTo>
                  <a:lnTo>
                    <a:pt x="38" y="154"/>
                  </a:lnTo>
                  <a:lnTo>
                    <a:pt x="40" y="154"/>
                  </a:lnTo>
                  <a:lnTo>
                    <a:pt x="40" y="152"/>
                  </a:lnTo>
                  <a:lnTo>
                    <a:pt x="40" y="150"/>
                  </a:lnTo>
                  <a:lnTo>
                    <a:pt x="40" y="148"/>
                  </a:lnTo>
                  <a:lnTo>
                    <a:pt x="40" y="146"/>
                  </a:lnTo>
                  <a:lnTo>
                    <a:pt x="40" y="144"/>
                  </a:lnTo>
                  <a:lnTo>
                    <a:pt x="40" y="144"/>
                  </a:lnTo>
                  <a:lnTo>
                    <a:pt x="40" y="142"/>
                  </a:lnTo>
                  <a:lnTo>
                    <a:pt x="40" y="140"/>
                  </a:lnTo>
                  <a:lnTo>
                    <a:pt x="38" y="140"/>
                  </a:lnTo>
                  <a:lnTo>
                    <a:pt x="38" y="136"/>
                  </a:lnTo>
                  <a:lnTo>
                    <a:pt x="36" y="134"/>
                  </a:lnTo>
                  <a:lnTo>
                    <a:pt x="34" y="132"/>
                  </a:lnTo>
                  <a:lnTo>
                    <a:pt x="28" y="126"/>
                  </a:lnTo>
                  <a:lnTo>
                    <a:pt x="24" y="122"/>
                  </a:lnTo>
                  <a:lnTo>
                    <a:pt x="24" y="120"/>
                  </a:lnTo>
                  <a:lnTo>
                    <a:pt x="22" y="120"/>
                  </a:lnTo>
                  <a:lnTo>
                    <a:pt x="18" y="116"/>
                  </a:lnTo>
                  <a:lnTo>
                    <a:pt x="16" y="114"/>
                  </a:lnTo>
                  <a:lnTo>
                    <a:pt x="14" y="112"/>
                  </a:lnTo>
                  <a:lnTo>
                    <a:pt x="14" y="112"/>
                  </a:lnTo>
                  <a:lnTo>
                    <a:pt x="12" y="110"/>
                  </a:lnTo>
                  <a:lnTo>
                    <a:pt x="12" y="110"/>
                  </a:lnTo>
                  <a:lnTo>
                    <a:pt x="12" y="110"/>
                  </a:lnTo>
                  <a:lnTo>
                    <a:pt x="12" y="108"/>
                  </a:lnTo>
                  <a:lnTo>
                    <a:pt x="12" y="108"/>
                  </a:lnTo>
                  <a:lnTo>
                    <a:pt x="12" y="106"/>
                  </a:lnTo>
                  <a:lnTo>
                    <a:pt x="12" y="104"/>
                  </a:lnTo>
                  <a:lnTo>
                    <a:pt x="14" y="102"/>
                  </a:lnTo>
                  <a:lnTo>
                    <a:pt x="14" y="100"/>
                  </a:lnTo>
                  <a:lnTo>
                    <a:pt x="16" y="98"/>
                  </a:lnTo>
                  <a:lnTo>
                    <a:pt x="18" y="94"/>
                  </a:lnTo>
                  <a:lnTo>
                    <a:pt x="18" y="92"/>
                  </a:lnTo>
                  <a:lnTo>
                    <a:pt x="20" y="90"/>
                  </a:lnTo>
                  <a:lnTo>
                    <a:pt x="22" y="88"/>
                  </a:lnTo>
                  <a:lnTo>
                    <a:pt x="24" y="86"/>
                  </a:lnTo>
                  <a:lnTo>
                    <a:pt x="24" y="86"/>
                  </a:lnTo>
                  <a:lnTo>
                    <a:pt x="26" y="86"/>
                  </a:lnTo>
                  <a:lnTo>
                    <a:pt x="28" y="86"/>
                  </a:lnTo>
                  <a:lnTo>
                    <a:pt x="28" y="86"/>
                  </a:lnTo>
                  <a:lnTo>
                    <a:pt x="30" y="86"/>
                  </a:lnTo>
                  <a:lnTo>
                    <a:pt x="32" y="86"/>
                  </a:lnTo>
                  <a:lnTo>
                    <a:pt x="34" y="88"/>
                  </a:lnTo>
                  <a:lnTo>
                    <a:pt x="38" y="90"/>
                  </a:lnTo>
                  <a:lnTo>
                    <a:pt x="42" y="92"/>
                  </a:lnTo>
                  <a:lnTo>
                    <a:pt x="44" y="94"/>
                  </a:lnTo>
                  <a:lnTo>
                    <a:pt x="46" y="94"/>
                  </a:lnTo>
                  <a:lnTo>
                    <a:pt x="46" y="94"/>
                  </a:lnTo>
                  <a:lnTo>
                    <a:pt x="48" y="94"/>
                  </a:lnTo>
                  <a:lnTo>
                    <a:pt x="50" y="94"/>
                  </a:lnTo>
                  <a:lnTo>
                    <a:pt x="50" y="94"/>
                  </a:lnTo>
                  <a:lnTo>
                    <a:pt x="50" y="94"/>
                  </a:lnTo>
                  <a:lnTo>
                    <a:pt x="52" y="94"/>
                  </a:lnTo>
                  <a:lnTo>
                    <a:pt x="52" y="94"/>
                  </a:lnTo>
                  <a:lnTo>
                    <a:pt x="52" y="92"/>
                  </a:lnTo>
                  <a:lnTo>
                    <a:pt x="54" y="92"/>
                  </a:lnTo>
                  <a:lnTo>
                    <a:pt x="54" y="90"/>
                  </a:lnTo>
                  <a:lnTo>
                    <a:pt x="54" y="86"/>
                  </a:lnTo>
                  <a:lnTo>
                    <a:pt x="54" y="84"/>
                  </a:lnTo>
                  <a:lnTo>
                    <a:pt x="54" y="84"/>
                  </a:lnTo>
                  <a:lnTo>
                    <a:pt x="54" y="82"/>
                  </a:lnTo>
                  <a:lnTo>
                    <a:pt x="56" y="78"/>
                  </a:lnTo>
                  <a:lnTo>
                    <a:pt x="56" y="76"/>
                  </a:lnTo>
                  <a:lnTo>
                    <a:pt x="56" y="74"/>
                  </a:lnTo>
                  <a:lnTo>
                    <a:pt x="56" y="72"/>
                  </a:lnTo>
                  <a:lnTo>
                    <a:pt x="56" y="72"/>
                  </a:lnTo>
                  <a:lnTo>
                    <a:pt x="58" y="72"/>
                  </a:lnTo>
                  <a:lnTo>
                    <a:pt x="60" y="70"/>
                  </a:lnTo>
                  <a:lnTo>
                    <a:pt x="62" y="68"/>
                  </a:lnTo>
                  <a:lnTo>
                    <a:pt x="64" y="66"/>
                  </a:lnTo>
                  <a:lnTo>
                    <a:pt x="66" y="64"/>
                  </a:lnTo>
                  <a:lnTo>
                    <a:pt x="68" y="62"/>
                  </a:lnTo>
                  <a:lnTo>
                    <a:pt x="70" y="60"/>
                  </a:lnTo>
                  <a:lnTo>
                    <a:pt x="72" y="60"/>
                  </a:lnTo>
                  <a:lnTo>
                    <a:pt x="72" y="60"/>
                  </a:lnTo>
                  <a:lnTo>
                    <a:pt x="74" y="58"/>
                  </a:lnTo>
                  <a:lnTo>
                    <a:pt x="74" y="56"/>
                  </a:lnTo>
                  <a:lnTo>
                    <a:pt x="74" y="52"/>
                  </a:lnTo>
                  <a:lnTo>
                    <a:pt x="76" y="48"/>
                  </a:lnTo>
                  <a:lnTo>
                    <a:pt x="76" y="46"/>
                  </a:lnTo>
                  <a:lnTo>
                    <a:pt x="78" y="46"/>
                  </a:lnTo>
                  <a:lnTo>
                    <a:pt x="78" y="44"/>
                  </a:lnTo>
                  <a:lnTo>
                    <a:pt x="80" y="42"/>
                  </a:lnTo>
                  <a:lnTo>
                    <a:pt x="82" y="40"/>
                  </a:lnTo>
                  <a:lnTo>
                    <a:pt x="84" y="38"/>
                  </a:lnTo>
                  <a:lnTo>
                    <a:pt x="86" y="38"/>
                  </a:lnTo>
                  <a:lnTo>
                    <a:pt x="86" y="36"/>
                  </a:lnTo>
                  <a:lnTo>
                    <a:pt x="86" y="36"/>
                  </a:lnTo>
                  <a:lnTo>
                    <a:pt x="88" y="36"/>
                  </a:lnTo>
                  <a:lnTo>
                    <a:pt x="88" y="34"/>
                  </a:lnTo>
                  <a:lnTo>
                    <a:pt x="88" y="32"/>
                  </a:lnTo>
                  <a:lnTo>
                    <a:pt x="88" y="32"/>
                  </a:lnTo>
                  <a:lnTo>
                    <a:pt x="88" y="30"/>
                  </a:lnTo>
                  <a:lnTo>
                    <a:pt x="88" y="26"/>
                  </a:lnTo>
                  <a:lnTo>
                    <a:pt x="88" y="22"/>
                  </a:lnTo>
                  <a:lnTo>
                    <a:pt x="86" y="16"/>
                  </a:lnTo>
                  <a:lnTo>
                    <a:pt x="86" y="12"/>
                  </a:lnTo>
                  <a:lnTo>
                    <a:pt x="88" y="10"/>
                  </a:lnTo>
                  <a:lnTo>
                    <a:pt x="94" y="6"/>
                  </a:lnTo>
                  <a:lnTo>
                    <a:pt x="98" y="4"/>
                  </a:lnTo>
                  <a:lnTo>
                    <a:pt x="100" y="2"/>
                  </a:lnTo>
                  <a:lnTo>
                    <a:pt x="104" y="2"/>
                  </a:lnTo>
                  <a:lnTo>
                    <a:pt x="106" y="0"/>
                  </a:lnTo>
                  <a:lnTo>
                    <a:pt x="106" y="0"/>
                  </a:lnTo>
                  <a:lnTo>
                    <a:pt x="108" y="0"/>
                  </a:lnTo>
                  <a:lnTo>
                    <a:pt x="110" y="0"/>
                  </a:lnTo>
                  <a:lnTo>
                    <a:pt x="112" y="0"/>
                  </a:lnTo>
                  <a:lnTo>
                    <a:pt x="114" y="0"/>
                  </a:lnTo>
                  <a:lnTo>
                    <a:pt x="116" y="0"/>
                  </a:lnTo>
                  <a:lnTo>
                    <a:pt x="118" y="0"/>
                  </a:lnTo>
                  <a:lnTo>
                    <a:pt x="122" y="0"/>
                  </a:lnTo>
                  <a:lnTo>
                    <a:pt x="122" y="2"/>
                  </a:lnTo>
                  <a:lnTo>
                    <a:pt x="124" y="2"/>
                  </a:lnTo>
                  <a:lnTo>
                    <a:pt x="126" y="2"/>
                  </a:lnTo>
                  <a:lnTo>
                    <a:pt x="128" y="4"/>
                  </a:lnTo>
                  <a:lnTo>
                    <a:pt x="128" y="4"/>
                  </a:lnTo>
                  <a:lnTo>
                    <a:pt x="130" y="6"/>
                  </a:lnTo>
                  <a:lnTo>
                    <a:pt x="132" y="8"/>
                  </a:lnTo>
                  <a:lnTo>
                    <a:pt x="134" y="8"/>
                  </a:lnTo>
                  <a:lnTo>
                    <a:pt x="134" y="10"/>
                  </a:lnTo>
                  <a:lnTo>
                    <a:pt x="134" y="12"/>
                  </a:lnTo>
                  <a:lnTo>
                    <a:pt x="134" y="12"/>
                  </a:lnTo>
                  <a:lnTo>
                    <a:pt x="134" y="14"/>
                  </a:lnTo>
                  <a:lnTo>
                    <a:pt x="134" y="16"/>
                  </a:lnTo>
                  <a:lnTo>
                    <a:pt x="134" y="20"/>
                  </a:lnTo>
                  <a:lnTo>
                    <a:pt x="134" y="24"/>
                  </a:lnTo>
                  <a:lnTo>
                    <a:pt x="132" y="28"/>
                  </a:lnTo>
                  <a:lnTo>
                    <a:pt x="132" y="28"/>
                  </a:lnTo>
                  <a:lnTo>
                    <a:pt x="132" y="30"/>
                  </a:lnTo>
                  <a:lnTo>
                    <a:pt x="132" y="32"/>
                  </a:lnTo>
                  <a:lnTo>
                    <a:pt x="132" y="34"/>
                  </a:lnTo>
                  <a:lnTo>
                    <a:pt x="134" y="34"/>
                  </a:lnTo>
                  <a:lnTo>
                    <a:pt x="134" y="36"/>
                  </a:lnTo>
                  <a:lnTo>
                    <a:pt x="134" y="36"/>
                  </a:lnTo>
                  <a:lnTo>
                    <a:pt x="136" y="38"/>
                  </a:lnTo>
                  <a:lnTo>
                    <a:pt x="136" y="38"/>
                  </a:lnTo>
                  <a:lnTo>
                    <a:pt x="138" y="38"/>
                  </a:lnTo>
                  <a:lnTo>
                    <a:pt x="140" y="38"/>
                  </a:lnTo>
                  <a:lnTo>
                    <a:pt x="144" y="38"/>
                  </a:lnTo>
                  <a:lnTo>
                    <a:pt x="148" y="38"/>
                  </a:lnTo>
                  <a:lnTo>
                    <a:pt x="150" y="40"/>
                  </a:lnTo>
                  <a:lnTo>
                    <a:pt x="154" y="40"/>
                  </a:lnTo>
                  <a:lnTo>
                    <a:pt x="154" y="40"/>
                  </a:lnTo>
                  <a:lnTo>
                    <a:pt x="156" y="40"/>
                  </a:lnTo>
                  <a:lnTo>
                    <a:pt x="158" y="42"/>
                  </a:lnTo>
                  <a:lnTo>
                    <a:pt x="158" y="44"/>
                  </a:lnTo>
                  <a:lnTo>
                    <a:pt x="162" y="46"/>
                  </a:lnTo>
                  <a:lnTo>
                    <a:pt x="164" y="48"/>
                  </a:lnTo>
                  <a:lnTo>
                    <a:pt x="166" y="52"/>
                  </a:lnTo>
                  <a:lnTo>
                    <a:pt x="168" y="52"/>
                  </a:lnTo>
                  <a:lnTo>
                    <a:pt x="168" y="56"/>
                  </a:lnTo>
                  <a:lnTo>
                    <a:pt x="168" y="64"/>
                  </a:lnTo>
                  <a:lnTo>
                    <a:pt x="168" y="68"/>
                  </a:lnTo>
                  <a:lnTo>
                    <a:pt x="168" y="72"/>
                  </a:lnTo>
                  <a:lnTo>
                    <a:pt x="170" y="74"/>
                  </a:lnTo>
                  <a:lnTo>
                    <a:pt x="170" y="76"/>
                  </a:lnTo>
                  <a:lnTo>
                    <a:pt x="170" y="78"/>
                  </a:lnTo>
                  <a:lnTo>
                    <a:pt x="172" y="80"/>
                  </a:lnTo>
                  <a:lnTo>
                    <a:pt x="172" y="82"/>
                  </a:lnTo>
                  <a:lnTo>
                    <a:pt x="174" y="84"/>
                  </a:lnTo>
                  <a:lnTo>
                    <a:pt x="176" y="86"/>
                  </a:lnTo>
                  <a:lnTo>
                    <a:pt x="176" y="88"/>
                  </a:lnTo>
                  <a:lnTo>
                    <a:pt x="178" y="90"/>
                  </a:lnTo>
                  <a:lnTo>
                    <a:pt x="180" y="90"/>
                  </a:lnTo>
                  <a:lnTo>
                    <a:pt x="182" y="92"/>
                  </a:lnTo>
                  <a:lnTo>
                    <a:pt x="184" y="92"/>
                  </a:lnTo>
                  <a:lnTo>
                    <a:pt x="186" y="94"/>
                  </a:lnTo>
                  <a:lnTo>
                    <a:pt x="188" y="94"/>
                  </a:lnTo>
                  <a:lnTo>
                    <a:pt x="190" y="94"/>
                  </a:lnTo>
                  <a:lnTo>
                    <a:pt x="196" y="96"/>
                  </a:lnTo>
                  <a:lnTo>
                    <a:pt x="198" y="96"/>
                  </a:lnTo>
                  <a:lnTo>
                    <a:pt x="200" y="96"/>
                  </a:lnTo>
                  <a:lnTo>
                    <a:pt x="204" y="98"/>
                  </a:lnTo>
                  <a:lnTo>
                    <a:pt x="210" y="102"/>
                  </a:lnTo>
                  <a:lnTo>
                    <a:pt x="216" y="104"/>
                  </a:lnTo>
                  <a:lnTo>
                    <a:pt x="220" y="104"/>
                  </a:lnTo>
                  <a:lnTo>
                    <a:pt x="222" y="106"/>
                  </a:lnTo>
                  <a:lnTo>
                    <a:pt x="224" y="106"/>
                  </a:lnTo>
                  <a:lnTo>
                    <a:pt x="226" y="106"/>
                  </a:lnTo>
                  <a:lnTo>
                    <a:pt x="230" y="108"/>
                  </a:lnTo>
                  <a:lnTo>
                    <a:pt x="236" y="108"/>
                  </a:lnTo>
                  <a:lnTo>
                    <a:pt x="238" y="108"/>
                  </a:lnTo>
                  <a:lnTo>
                    <a:pt x="240" y="110"/>
                  </a:lnTo>
                  <a:lnTo>
                    <a:pt x="240" y="110"/>
                  </a:lnTo>
                  <a:lnTo>
                    <a:pt x="242" y="110"/>
                  </a:lnTo>
                  <a:lnTo>
                    <a:pt x="246" y="114"/>
                  </a:lnTo>
                  <a:lnTo>
                    <a:pt x="248" y="114"/>
                  </a:lnTo>
                  <a:lnTo>
                    <a:pt x="250" y="116"/>
                  </a:lnTo>
                  <a:lnTo>
                    <a:pt x="250" y="116"/>
                  </a:lnTo>
                  <a:lnTo>
                    <a:pt x="252" y="116"/>
                  </a:lnTo>
                  <a:lnTo>
                    <a:pt x="254" y="118"/>
                  </a:lnTo>
                  <a:lnTo>
                    <a:pt x="256" y="118"/>
                  </a:lnTo>
                  <a:lnTo>
                    <a:pt x="258" y="116"/>
                  </a:lnTo>
                  <a:lnTo>
                    <a:pt x="260" y="116"/>
                  </a:lnTo>
                  <a:lnTo>
                    <a:pt x="264" y="116"/>
                  </a:lnTo>
                  <a:lnTo>
                    <a:pt x="266" y="116"/>
                  </a:lnTo>
                  <a:lnTo>
                    <a:pt x="268" y="116"/>
                  </a:lnTo>
                  <a:lnTo>
                    <a:pt x="270" y="116"/>
                  </a:lnTo>
                  <a:lnTo>
                    <a:pt x="272" y="116"/>
                  </a:lnTo>
                  <a:lnTo>
                    <a:pt x="276" y="116"/>
                  </a:lnTo>
                  <a:lnTo>
                    <a:pt x="278" y="116"/>
                  </a:lnTo>
                  <a:lnTo>
                    <a:pt x="280" y="116"/>
                  </a:lnTo>
                  <a:lnTo>
                    <a:pt x="280" y="116"/>
                  </a:lnTo>
                  <a:lnTo>
                    <a:pt x="282" y="116"/>
                  </a:lnTo>
                  <a:lnTo>
                    <a:pt x="282" y="116"/>
                  </a:lnTo>
                  <a:lnTo>
                    <a:pt x="282" y="114"/>
                  </a:lnTo>
                  <a:lnTo>
                    <a:pt x="284" y="114"/>
                  </a:lnTo>
                  <a:lnTo>
                    <a:pt x="284" y="112"/>
                  </a:lnTo>
                  <a:lnTo>
                    <a:pt x="286" y="110"/>
                  </a:lnTo>
                  <a:lnTo>
                    <a:pt x="288" y="108"/>
                  </a:lnTo>
                  <a:lnTo>
                    <a:pt x="290" y="102"/>
                  </a:lnTo>
                  <a:lnTo>
                    <a:pt x="290" y="100"/>
                  </a:lnTo>
                  <a:lnTo>
                    <a:pt x="298" y="86"/>
                  </a:lnTo>
                  <a:lnTo>
                    <a:pt x="300" y="88"/>
                  </a:lnTo>
                  <a:lnTo>
                    <a:pt x="304" y="90"/>
                  </a:lnTo>
                  <a:lnTo>
                    <a:pt x="308" y="92"/>
                  </a:lnTo>
                  <a:lnTo>
                    <a:pt x="312" y="94"/>
                  </a:lnTo>
                  <a:lnTo>
                    <a:pt x="314" y="94"/>
                  </a:lnTo>
                  <a:lnTo>
                    <a:pt x="314" y="94"/>
                  </a:lnTo>
                  <a:lnTo>
                    <a:pt x="316" y="94"/>
                  </a:lnTo>
                  <a:lnTo>
                    <a:pt x="320" y="94"/>
                  </a:lnTo>
                  <a:lnTo>
                    <a:pt x="324" y="94"/>
                  </a:lnTo>
                  <a:lnTo>
                    <a:pt x="328" y="94"/>
                  </a:lnTo>
                  <a:lnTo>
                    <a:pt x="334" y="94"/>
                  </a:lnTo>
                  <a:lnTo>
                    <a:pt x="338" y="94"/>
                  </a:lnTo>
                  <a:lnTo>
                    <a:pt x="340" y="90"/>
                  </a:lnTo>
                  <a:lnTo>
                    <a:pt x="342" y="86"/>
                  </a:lnTo>
                  <a:lnTo>
                    <a:pt x="344" y="84"/>
                  </a:lnTo>
                  <a:lnTo>
                    <a:pt x="344" y="82"/>
                  </a:lnTo>
                  <a:lnTo>
                    <a:pt x="346" y="82"/>
                  </a:lnTo>
                  <a:lnTo>
                    <a:pt x="348" y="80"/>
                  </a:lnTo>
                  <a:lnTo>
                    <a:pt x="350" y="78"/>
                  </a:lnTo>
                  <a:lnTo>
                    <a:pt x="354" y="78"/>
                  </a:lnTo>
                  <a:lnTo>
                    <a:pt x="356" y="76"/>
                  </a:lnTo>
                  <a:lnTo>
                    <a:pt x="358" y="74"/>
                  </a:lnTo>
                  <a:lnTo>
                    <a:pt x="360" y="74"/>
                  </a:lnTo>
                  <a:lnTo>
                    <a:pt x="362" y="72"/>
                  </a:lnTo>
                  <a:lnTo>
                    <a:pt x="364" y="72"/>
                  </a:lnTo>
                  <a:lnTo>
                    <a:pt x="368" y="72"/>
                  </a:lnTo>
                  <a:lnTo>
                    <a:pt x="370" y="72"/>
                  </a:lnTo>
                  <a:lnTo>
                    <a:pt x="374" y="72"/>
                  </a:lnTo>
                  <a:lnTo>
                    <a:pt x="378" y="72"/>
                  </a:lnTo>
                  <a:lnTo>
                    <a:pt x="380" y="72"/>
                  </a:lnTo>
                  <a:lnTo>
                    <a:pt x="382" y="72"/>
                  </a:lnTo>
                  <a:lnTo>
                    <a:pt x="386" y="72"/>
                  </a:lnTo>
                  <a:lnTo>
                    <a:pt x="388" y="74"/>
                  </a:lnTo>
                  <a:lnTo>
                    <a:pt x="390" y="74"/>
                  </a:lnTo>
                  <a:lnTo>
                    <a:pt x="392" y="76"/>
                  </a:lnTo>
                  <a:lnTo>
                    <a:pt x="394" y="76"/>
                  </a:lnTo>
                  <a:lnTo>
                    <a:pt x="396" y="78"/>
                  </a:lnTo>
                  <a:lnTo>
                    <a:pt x="398" y="80"/>
                  </a:lnTo>
                  <a:lnTo>
                    <a:pt x="400" y="80"/>
                  </a:lnTo>
                  <a:lnTo>
                    <a:pt x="402" y="82"/>
                  </a:lnTo>
                  <a:lnTo>
                    <a:pt x="404" y="84"/>
                  </a:lnTo>
                  <a:lnTo>
                    <a:pt x="404" y="86"/>
                  </a:lnTo>
                  <a:lnTo>
                    <a:pt x="406" y="88"/>
                  </a:lnTo>
                  <a:lnTo>
                    <a:pt x="408" y="90"/>
                  </a:lnTo>
                  <a:lnTo>
                    <a:pt x="410" y="94"/>
                  </a:lnTo>
                  <a:lnTo>
                    <a:pt x="412" y="9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 name="Freeform 38">
              <a:extLst>
                <a:ext uri="{FF2B5EF4-FFF2-40B4-BE49-F238E27FC236}">
                  <a16:creationId xmlns:a16="http://schemas.microsoft.com/office/drawing/2014/main" id="{F7F6C725-C324-4688-B08D-DD162A298F7B}"/>
                </a:ext>
              </a:extLst>
            </p:cNvPr>
            <p:cNvSpPr>
              <a:spLocks/>
            </p:cNvSpPr>
            <p:nvPr/>
          </p:nvSpPr>
          <p:spPr bwMode="auto">
            <a:xfrm>
              <a:off x="5952789" y="3672785"/>
              <a:ext cx="713615" cy="737864"/>
            </a:xfrm>
            <a:custGeom>
              <a:avLst/>
              <a:gdLst>
                <a:gd name="T0" fmla="*/ 408 w 412"/>
                <a:gd name="T1" fmla="*/ 108 h 426"/>
                <a:gd name="T2" fmla="*/ 388 w 412"/>
                <a:gd name="T3" fmla="*/ 120 h 426"/>
                <a:gd name="T4" fmla="*/ 374 w 412"/>
                <a:gd name="T5" fmla="*/ 150 h 426"/>
                <a:gd name="T6" fmla="*/ 360 w 412"/>
                <a:gd name="T7" fmla="*/ 168 h 426"/>
                <a:gd name="T8" fmla="*/ 352 w 412"/>
                <a:gd name="T9" fmla="*/ 184 h 426"/>
                <a:gd name="T10" fmla="*/ 346 w 412"/>
                <a:gd name="T11" fmla="*/ 150 h 426"/>
                <a:gd name="T12" fmla="*/ 330 w 412"/>
                <a:gd name="T13" fmla="*/ 134 h 426"/>
                <a:gd name="T14" fmla="*/ 302 w 412"/>
                <a:gd name="T15" fmla="*/ 122 h 426"/>
                <a:gd name="T16" fmla="*/ 290 w 412"/>
                <a:gd name="T17" fmla="*/ 122 h 426"/>
                <a:gd name="T18" fmla="*/ 282 w 412"/>
                <a:gd name="T19" fmla="*/ 146 h 426"/>
                <a:gd name="T20" fmla="*/ 294 w 412"/>
                <a:gd name="T21" fmla="*/ 152 h 426"/>
                <a:gd name="T22" fmla="*/ 296 w 412"/>
                <a:gd name="T23" fmla="*/ 180 h 426"/>
                <a:gd name="T24" fmla="*/ 276 w 412"/>
                <a:gd name="T25" fmla="*/ 198 h 426"/>
                <a:gd name="T26" fmla="*/ 276 w 412"/>
                <a:gd name="T27" fmla="*/ 216 h 426"/>
                <a:gd name="T28" fmla="*/ 262 w 412"/>
                <a:gd name="T29" fmla="*/ 232 h 426"/>
                <a:gd name="T30" fmla="*/ 244 w 412"/>
                <a:gd name="T31" fmla="*/ 242 h 426"/>
                <a:gd name="T32" fmla="*/ 224 w 412"/>
                <a:gd name="T33" fmla="*/ 260 h 426"/>
                <a:gd name="T34" fmla="*/ 210 w 412"/>
                <a:gd name="T35" fmla="*/ 276 h 426"/>
                <a:gd name="T36" fmla="*/ 190 w 412"/>
                <a:gd name="T37" fmla="*/ 296 h 426"/>
                <a:gd name="T38" fmla="*/ 172 w 412"/>
                <a:gd name="T39" fmla="*/ 310 h 426"/>
                <a:gd name="T40" fmla="*/ 180 w 412"/>
                <a:gd name="T41" fmla="*/ 352 h 426"/>
                <a:gd name="T42" fmla="*/ 172 w 412"/>
                <a:gd name="T43" fmla="*/ 360 h 426"/>
                <a:gd name="T44" fmla="*/ 178 w 412"/>
                <a:gd name="T45" fmla="*/ 382 h 426"/>
                <a:gd name="T46" fmla="*/ 164 w 412"/>
                <a:gd name="T47" fmla="*/ 410 h 426"/>
                <a:gd name="T48" fmla="*/ 144 w 412"/>
                <a:gd name="T49" fmla="*/ 426 h 426"/>
                <a:gd name="T50" fmla="*/ 132 w 412"/>
                <a:gd name="T51" fmla="*/ 420 h 426"/>
                <a:gd name="T52" fmla="*/ 124 w 412"/>
                <a:gd name="T53" fmla="*/ 388 h 426"/>
                <a:gd name="T54" fmla="*/ 96 w 412"/>
                <a:gd name="T55" fmla="*/ 318 h 426"/>
                <a:gd name="T56" fmla="*/ 74 w 412"/>
                <a:gd name="T57" fmla="*/ 278 h 426"/>
                <a:gd name="T58" fmla="*/ 70 w 412"/>
                <a:gd name="T59" fmla="*/ 224 h 426"/>
                <a:gd name="T60" fmla="*/ 62 w 412"/>
                <a:gd name="T61" fmla="*/ 186 h 426"/>
                <a:gd name="T62" fmla="*/ 58 w 412"/>
                <a:gd name="T63" fmla="*/ 190 h 426"/>
                <a:gd name="T64" fmla="*/ 52 w 412"/>
                <a:gd name="T65" fmla="*/ 206 h 426"/>
                <a:gd name="T66" fmla="*/ 30 w 412"/>
                <a:gd name="T67" fmla="*/ 208 h 426"/>
                <a:gd name="T68" fmla="*/ 12 w 412"/>
                <a:gd name="T69" fmla="*/ 188 h 426"/>
                <a:gd name="T70" fmla="*/ 20 w 412"/>
                <a:gd name="T71" fmla="*/ 176 h 426"/>
                <a:gd name="T72" fmla="*/ 12 w 412"/>
                <a:gd name="T73" fmla="*/ 176 h 426"/>
                <a:gd name="T74" fmla="*/ 2 w 412"/>
                <a:gd name="T75" fmla="*/ 162 h 426"/>
                <a:gd name="T76" fmla="*/ 24 w 412"/>
                <a:gd name="T77" fmla="*/ 156 h 426"/>
                <a:gd name="T78" fmla="*/ 40 w 412"/>
                <a:gd name="T79" fmla="*/ 152 h 426"/>
                <a:gd name="T80" fmla="*/ 34 w 412"/>
                <a:gd name="T81" fmla="*/ 132 h 426"/>
                <a:gd name="T82" fmla="*/ 12 w 412"/>
                <a:gd name="T83" fmla="*/ 110 h 426"/>
                <a:gd name="T84" fmla="*/ 22 w 412"/>
                <a:gd name="T85" fmla="*/ 88 h 426"/>
                <a:gd name="T86" fmla="*/ 44 w 412"/>
                <a:gd name="T87" fmla="*/ 94 h 426"/>
                <a:gd name="T88" fmla="*/ 54 w 412"/>
                <a:gd name="T89" fmla="*/ 90 h 426"/>
                <a:gd name="T90" fmla="*/ 60 w 412"/>
                <a:gd name="T91" fmla="*/ 70 h 426"/>
                <a:gd name="T92" fmla="*/ 76 w 412"/>
                <a:gd name="T93" fmla="*/ 48 h 426"/>
                <a:gd name="T94" fmla="*/ 88 w 412"/>
                <a:gd name="T95" fmla="*/ 34 h 426"/>
                <a:gd name="T96" fmla="*/ 100 w 412"/>
                <a:gd name="T97" fmla="*/ 2 h 426"/>
                <a:gd name="T98" fmla="*/ 122 w 412"/>
                <a:gd name="T99" fmla="*/ 2 h 426"/>
                <a:gd name="T100" fmla="*/ 134 w 412"/>
                <a:gd name="T101" fmla="*/ 14 h 426"/>
                <a:gd name="T102" fmla="*/ 134 w 412"/>
                <a:gd name="T103" fmla="*/ 36 h 426"/>
                <a:gd name="T104" fmla="*/ 158 w 412"/>
                <a:gd name="T105" fmla="*/ 42 h 426"/>
                <a:gd name="T106" fmla="*/ 170 w 412"/>
                <a:gd name="T107" fmla="*/ 76 h 426"/>
                <a:gd name="T108" fmla="*/ 186 w 412"/>
                <a:gd name="T109" fmla="*/ 94 h 426"/>
                <a:gd name="T110" fmla="*/ 224 w 412"/>
                <a:gd name="T111" fmla="*/ 106 h 426"/>
                <a:gd name="T112" fmla="*/ 250 w 412"/>
                <a:gd name="T113" fmla="*/ 116 h 426"/>
                <a:gd name="T114" fmla="*/ 276 w 412"/>
                <a:gd name="T115" fmla="*/ 116 h 426"/>
                <a:gd name="T116" fmla="*/ 290 w 412"/>
                <a:gd name="T117" fmla="*/ 102 h 426"/>
                <a:gd name="T118" fmla="*/ 324 w 412"/>
                <a:gd name="T119" fmla="*/ 94 h 426"/>
                <a:gd name="T120" fmla="*/ 354 w 412"/>
                <a:gd name="T121" fmla="*/ 78 h 426"/>
                <a:gd name="T122" fmla="*/ 382 w 412"/>
                <a:gd name="T123" fmla="*/ 72 h 426"/>
                <a:gd name="T124" fmla="*/ 404 w 412"/>
                <a:gd name="T125" fmla="*/ 8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2" h="426">
                  <a:moveTo>
                    <a:pt x="412" y="96"/>
                  </a:moveTo>
                  <a:lnTo>
                    <a:pt x="412" y="96"/>
                  </a:lnTo>
                  <a:lnTo>
                    <a:pt x="412" y="98"/>
                  </a:lnTo>
                  <a:lnTo>
                    <a:pt x="412" y="100"/>
                  </a:lnTo>
                  <a:lnTo>
                    <a:pt x="412" y="102"/>
                  </a:lnTo>
                  <a:lnTo>
                    <a:pt x="412" y="104"/>
                  </a:lnTo>
                  <a:lnTo>
                    <a:pt x="410" y="104"/>
                  </a:lnTo>
                  <a:lnTo>
                    <a:pt x="410" y="106"/>
                  </a:lnTo>
                  <a:lnTo>
                    <a:pt x="410" y="106"/>
                  </a:lnTo>
                  <a:lnTo>
                    <a:pt x="410" y="106"/>
                  </a:lnTo>
                  <a:lnTo>
                    <a:pt x="408" y="108"/>
                  </a:lnTo>
                  <a:lnTo>
                    <a:pt x="406" y="108"/>
                  </a:lnTo>
                  <a:lnTo>
                    <a:pt x="404" y="110"/>
                  </a:lnTo>
                  <a:lnTo>
                    <a:pt x="402" y="110"/>
                  </a:lnTo>
                  <a:lnTo>
                    <a:pt x="398" y="112"/>
                  </a:lnTo>
                  <a:lnTo>
                    <a:pt x="396" y="112"/>
                  </a:lnTo>
                  <a:lnTo>
                    <a:pt x="394" y="114"/>
                  </a:lnTo>
                  <a:lnTo>
                    <a:pt x="392" y="114"/>
                  </a:lnTo>
                  <a:lnTo>
                    <a:pt x="392" y="114"/>
                  </a:lnTo>
                  <a:lnTo>
                    <a:pt x="390" y="116"/>
                  </a:lnTo>
                  <a:lnTo>
                    <a:pt x="388" y="118"/>
                  </a:lnTo>
                  <a:lnTo>
                    <a:pt x="388" y="120"/>
                  </a:lnTo>
                  <a:lnTo>
                    <a:pt x="386" y="122"/>
                  </a:lnTo>
                  <a:lnTo>
                    <a:pt x="382" y="126"/>
                  </a:lnTo>
                  <a:lnTo>
                    <a:pt x="382" y="128"/>
                  </a:lnTo>
                  <a:lnTo>
                    <a:pt x="380" y="130"/>
                  </a:lnTo>
                  <a:lnTo>
                    <a:pt x="380" y="132"/>
                  </a:lnTo>
                  <a:lnTo>
                    <a:pt x="378" y="134"/>
                  </a:lnTo>
                  <a:lnTo>
                    <a:pt x="378" y="140"/>
                  </a:lnTo>
                  <a:lnTo>
                    <a:pt x="376" y="142"/>
                  </a:lnTo>
                  <a:lnTo>
                    <a:pt x="376" y="146"/>
                  </a:lnTo>
                  <a:lnTo>
                    <a:pt x="376" y="148"/>
                  </a:lnTo>
                  <a:lnTo>
                    <a:pt x="374" y="150"/>
                  </a:lnTo>
                  <a:lnTo>
                    <a:pt x="372" y="150"/>
                  </a:lnTo>
                  <a:lnTo>
                    <a:pt x="372" y="152"/>
                  </a:lnTo>
                  <a:lnTo>
                    <a:pt x="368" y="156"/>
                  </a:lnTo>
                  <a:lnTo>
                    <a:pt x="366" y="158"/>
                  </a:lnTo>
                  <a:lnTo>
                    <a:pt x="364" y="160"/>
                  </a:lnTo>
                  <a:lnTo>
                    <a:pt x="362" y="162"/>
                  </a:lnTo>
                  <a:lnTo>
                    <a:pt x="362" y="162"/>
                  </a:lnTo>
                  <a:lnTo>
                    <a:pt x="362" y="164"/>
                  </a:lnTo>
                  <a:lnTo>
                    <a:pt x="362" y="164"/>
                  </a:lnTo>
                  <a:lnTo>
                    <a:pt x="360" y="166"/>
                  </a:lnTo>
                  <a:lnTo>
                    <a:pt x="360" y="168"/>
                  </a:lnTo>
                  <a:lnTo>
                    <a:pt x="360" y="170"/>
                  </a:lnTo>
                  <a:lnTo>
                    <a:pt x="360" y="176"/>
                  </a:lnTo>
                  <a:lnTo>
                    <a:pt x="360" y="180"/>
                  </a:lnTo>
                  <a:lnTo>
                    <a:pt x="360" y="184"/>
                  </a:lnTo>
                  <a:lnTo>
                    <a:pt x="362" y="188"/>
                  </a:lnTo>
                  <a:lnTo>
                    <a:pt x="362" y="192"/>
                  </a:lnTo>
                  <a:lnTo>
                    <a:pt x="360" y="192"/>
                  </a:lnTo>
                  <a:lnTo>
                    <a:pt x="358" y="190"/>
                  </a:lnTo>
                  <a:lnTo>
                    <a:pt x="354" y="186"/>
                  </a:lnTo>
                  <a:lnTo>
                    <a:pt x="354" y="186"/>
                  </a:lnTo>
                  <a:lnTo>
                    <a:pt x="352" y="184"/>
                  </a:lnTo>
                  <a:lnTo>
                    <a:pt x="352" y="184"/>
                  </a:lnTo>
                  <a:lnTo>
                    <a:pt x="352" y="182"/>
                  </a:lnTo>
                  <a:lnTo>
                    <a:pt x="350" y="180"/>
                  </a:lnTo>
                  <a:lnTo>
                    <a:pt x="350" y="176"/>
                  </a:lnTo>
                  <a:lnTo>
                    <a:pt x="348" y="172"/>
                  </a:lnTo>
                  <a:lnTo>
                    <a:pt x="348" y="166"/>
                  </a:lnTo>
                  <a:lnTo>
                    <a:pt x="346" y="160"/>
                  </a:lnTo>
                  <a:lnTo>
                    <a:pt x="346" y="158"/>
                  </a:lnTo>
                  <a:lnTo>
                    <a:pt x="346" y="156"/>
                  </a:lnTo>
                  <a:lnTo>
                    <a:pt x="346" y="152"/>
                  </a:lnTo>
                  <a:lnTo>
                    <a:pt x="346" y="150"/>
                  </a:lnTo>
                  <a:lnTo>
                    <a:pt x="346" y="146"/>
                  </a:lnTo>
                  <a:lnTo>
                    <a:pt x="344" y="144"/>
                  </a:lnTo>
                  <a:lnTo>
                    <a:pt x="344" y="144"/>
                  </a:lnTo>
                  <a:lnTo>
                    <a:pt x="344" y="144"/>
                  </a:lnTo>
                  <a:lnTo>
                    <a:pt x="344" y="142"/>
                  </a:lnTo>
                  <a:lnTo>
                    <a:pt x="342" y="142"/>
                  </a:lnTo>
                  <a:lnTo>
                    <a:pt x="340" y="140"/>
                  </a:lnTo>
                  <a:lnTo>
                    <a:pt x="338" y="138"/>
                  </a:lnTo>
                  <a:lnTo>
                    <a:pt x="336" y="138"/>
                  </a:lnTo>
                  <a:lnTo>
                    <a:pt x="334" y="136"/>
                  </a:lnTo>
                  <a:lnTo>
                    <a:pt x="330" y="134"/>
                  </a:lnTo>
                  <a:lnTo>
                    <a:pt x="326" y="134"/>
                  </a:lnTo>
                  <a:lnTo>
                    <a:pt x="324" y="132"/>
                  </a:lnTo>
                  <a:lnTo>
                    <a:pt x="322" y="132"/>
                  </a:lnTo>
                  <a:lnTo>
                    <a:pt x="318" y="132"/>
                  </a:lnTo>
                  <a:lnTo>
                    <a:pt x="314" y="132"/>
                  </a:lnTo>
                  <a:lnTo>
                    <a:pt x="312" y="130"/>
                  </a:lnTo>
                  <a:lnTo>
                    <a:pt x="312" y="130"/>
                  </a:lnTo>
                  <a:lnTo>
                    <a:pt x="310" y="130"/>
                  </a:lnTo>
                  <a:lnTo>
                    <a:pt x="310" y="130"/>
                  </a:lnTo>
                  <a:lnTo>
                    <a:pt x="308" y="128"/>
                  </a:lnTo>
                  <a:lnTo>
                    <a:pt x="302" y="122"/>
                  </a:lnTo>
                  <a:lnTo>
                    <a:pt x="300" y="120"/>
                  </a:lnTo>
                  <a:lnTo>
                    <a:pt x="298" y="120"/>
                  </a:lnTo>
                  <a:lnTo>
                    <a:pt x="298" y="118"/>
                  </a:lnTo>
                  <a:lnTo>
                    <a:pt x="296" y="118"/>
                  </a:lnTo>
                  <a:lnTo>
                    <a:pt x="296" y="118"/>
                  </a:lnTo>
                  <a:lnTo>
                    <a:pt x="294" y="118"/>
                  </a:lnTo>
                  <a:lnTo>
                    <a:pt x="294" y="118"/>
                  </a:lnTo>
                  <a:lnTo>
                    <a:pt x="292" y="118"/>
                  </a:lnTo>
                  <a:lnTo>
                    <a:pt x="292" y="118"/>
                  </a:lnTo>
                  <a:lnTo>
                    <a:pt x="290" y="120"/>
                  </a:lnTo>
                  <a:lnTo>
                    <a:pt x="290" y="122"/>
                  </a:lnTo>
                  <a:lnTo>
                    <a:pt x="288" y="122"/>
                  </a:lnTo>
                  <a:lnTo>
                    <a:pt x="286" y="124"/>
                  </a:lnTo>
                  <a:lnTo>
                    <a:pt x="286" y="128"/>
                  </a:lnTo>
                  <a:lnTo>
                    <a:pt x="284" y="130"/>
                  </a:lnTo>
                  <a:lnTo>
                    <a:pt x="284" y="132"/>
                  </a:lnTo>
                  <a:lnTo>
                    <a:pt x="284" y="134"/>
                  </a:lnTo>
                  <a:lnTo>
                    <a:pt x="282" y="136"/>
                  </a:lnTo>
                  <a:lnTo>
                    <a:pt x="282" y="140"/>
                  </a:lnTo>
                  <a:lnTo>
                    <a:pt x="282" y="142"/>
                  </a:lnTo>
                  <a:lnTo>
                    <a:pt x="282" y="144"/>
                  </a:lnTo>
                  <a:lnTo>
                    <a:pt x="282" y="146"/>
                  </a:lnTo>
                  <a:lnTo>
                    <a:pt x="282" y="148"/>
                  </a:lnTo>
                  <a:lnTo>
                    <a:pt x="284" y="150"/>
                  </a:lnTo>
                  <a:lnTo>
                    <a:pt x="284" y="150"/>
                  </a:lnTo>
                  <a:lnTo>
                    <a:pt x="284" y="150"/>
                  </a:lnTo>
                  <a:lnTo>
                    <a:pt x="286" y="150"/>
                  </a:lnTo>
                  <a:lnTo>
                    <a:pt x="286" y="150"/>
                  </a:lnTo>
                  <a:lnTo>
                    <a:pt x="288" y="150"/>
                  </a:lnTo>
                  <a:lnTo>
                    <a:pt x="290" y="150"/>
                  </a:lnTo>
                  <a:lnTo>
                    <a:pt x="292" y="150"/>
                  </a:lnTo>
                  <a:lnTo>
                    <a:pt x="292" y="152"/>
                  </a:lnTo>
                  <a:lnTo>
                    <a:pt x="294" y="152"/>
                  </a:lnTo>
                  <a:lnTo>
                    <a:pt x="294" y="152"/>
                  </a:lnTo>
                  <a:lnTo>
                    <a:pt x="294" y="152"/>
                  </a:lnTo>
                  <a:lnTo>
                    <a:pt x="294" y="154"/>
                  </a:lnTo>
                  <a:lnTo>
                    <a:pt x="296" y="156"/>
                  </a:lnTo>
                  <a:lnTo>
                    <a:pt x="296" y="158"/>
                  </a:lnTo>
                  <a:lnTo>
                    <a:pt x="296" y="162"/>
                  </a:lnTo>
                  <a:lnTo>
                    <a:pt x="296" y="164"/>
                  </a:lnTo>
                  <a:lnTo>
                    <a:pt x="296" y="168"/>
                  </a:lnTo>
                  <a:lnTo>
                    <a:pt x="296" y="170"/>
                  </a:lnTo>
                  <a:lnTo>
                    <a:pt x="296" y="174"/>
                  </a:lnTo>
                  <a:lnTo>
                    <a:pt x="296" y="180"/>
                  </a:lnTo>
                  <a:lnTo>
                    <a:pt x="296" y="186"/>
                  </a:lnTo>
                  <a:lnTo>
                    <a:pt x="294" y="190"/>
                  </a:lnTo>
                  <a:lnTo>
                    <a:pt x="290" y="192"/>
                  </a:lnTo>
                  <a:lnTo>
                    <a:pt x="288" y="192"/>
                  </a:lnTo>
                  <a:lnTo>
                    <a:pt x="286" y="192"/>
                  </a:lnTo>
                  <a:lnTo>
                    <a:pt x="284" y="192"/>
                  </a:lnTo>
                  <a:lnTo>
                    <a:pt x="282" y="194"/>
                  </a:lnTo>
                  <a:lnTo>
                    <a:pt x="280" y="194"/>
                  </a:lnTo>
                  <a:lnTo>
                    <a:pt x="278" y="196"/>
                  </a:lnTo>
                  <a:lnTo>
                    <a:pt x="276" y="196"/>
                  </a:lnTo>
                  <a:lnTo>
                    <a:pt x="276" y="198"/>
                  </a:lnTo>
                  <a:lnTo>
                    <a:pt x="274" y="198"/>
                  </a:lnTo>
                  <a:lnTo>
                    <a:pt x="274" y="200"/>
                  </a:lnTo>
                  <a:lnTo>
                    <a:pt x="274" y="200"/>
                  </a:lnTo>
                  <a:lnTo>
                    <a:pt x="274" y="202"/>
                  </a:lnTo>
                  <a:lnTo>
                    <a:pt x="274" y="202"/>
                  </a:lnTo>
                  <a:lnTo>
                    <a:pt x="274" y="206"/>
                  </a:lnTo>
                  <a:lnTo>
                    <a:pt x="274" y="208"/>
                  </a:lnTo>
                  <a:lnTo>
                    <a:pt x="276" y="210"/>
                  </a:lnTo>
                  <a:lnTo>
                    <a:pt x="276" y="214"/>
                  </a:lnTo>
                  <a:lnTo>
                    <a:pt x="276" y="214"/>
                  </a:lnTo>
                  <a:lnTo>
                    <a:pt x="276" y="216"/>
                  </a:lnTo>
                  <a:lnTo>
                    <a:pt x="276" y="216"/>
                  </a:lnTo>
                  <a:lnTo>
                    <a:pt x="274" y="218"/>
                  </a:lnTo>
                  <a:lnTo>
                    <a:pt x="274" y="218"/>
                  </a:lnTo>
                  <a:lnTo>
                    <a:pt x="274" y="218"/>
                  </a:lnTo>
                  <a:lnTo>
                    <a:pt x="272" y="220"/>
                  </a:lnTo>
                  <a:lnTo>
                    <a:pt x="270" y="220"/>
                  </a:lnTo>
                  <a:lnTo>
                    <a:pt x="270" y="220"/>
                  </a:lnTo>
                  <a:lnTo>
                    <a:pt x="268" y="222"/>
                  </a:lnTo>
                  <a:lnTo>
                    <a:pt x="266" y="224"/>
                  </a:lnTo>
                  <a:lnTo>
                    <a:pt x="264" y="230"/>
                  </a:lnTo>
                  <a:lnTo>
                    <a:pt x="262" y="232"/>
                  </a:lnTo>
                  <a:lnTo>
                    <a:pt x="262" y="234"/>
                  </a:lnTo>
                  <a:lnTo>
                    <a:pt x="260" y="236"/>
                  </a:lnTo>
                  <a:lnTo>
                    <a:pt x="260" y="236"/>
                  </a:lnTo>
                  <a:lnTo>
                    <a:pt x="258" y="238"/>
                  </a:lnTo>
                  <a:lnTo>
                    <a:pt x="258" y="238"/>
                  </a:lnTo>
                  <a:lnTo>
                    <a:pt x="256" y="238"/>
                  </a:lnTo>
                  <a:lnTo>
                    <a:pt x="254" y="240"/>
                  </a:lnTo>
                  <a:lnTo>
                    <a:pt x="252" y="240"/>
                  </a:lnTo>
                  <a:lnTo>
                    <a:pt x="250" y="242"/>
                  </a:lnTo>
                  <a:lnTo>
                    <a:pt x="248" y="242"/>
                  </a:lnTo>
                  <a:lnTo>
                    <a:pt x="244" y="242"/>
                  </a:lnTo>
                  <a:lnTo>
                    <a:pt x="242" y="244"/>
                  </a:lnTo>
                  <a:lnTo>
                    <a:pt x="240" y="244"/>
                  </a:lnTo>
                  <a:lnTo>
                    <a:pt x="240" y="246"/>
                  </a:lnTo>
                  <a:lnTo>
                    <a:pt x="238" y="248"/>
                  </a:lnTo>
                  <a:lnTo>
                    <a:pt x="236" y="252"/>
                  </a:lnTo>
                  <a:lnTo>
                    <a:pt x="234" y="254"/>
                  </a:lnTo>
                  <a:lnTo>
                    <a:pt x="232" y="256"/>
                  </a:lnTo>
                  <a:lnTo>
                    <a:pt x="230" y="258"/>
                  </a:lnTo>
                  <a:lnTo>
                    <a:pt x="230" y="258"/>
                  </a:lnTo>
                  <a:lnTo>
                    <a:pt x="228" y="258"/>
                  </a:lnTo>
                  <a:lnTo>
                    <a:pt x="224" y="260"/>
                  </a:lnTo>
                  <a:lnTo>
                    <a:pt x="220" y="262"/>
                  </a:lnTo>
                  <a:lnTo>
                    <a:pt x="218" y="262"/>
                  </a:lnTo>
                  <a:lnTo>
                    <a:pt x="218" y="262"/>
                  </a:lnTo>
                  <a:lnTo>
                    <a:pt x="216" y="264"/>
                  </a:lnTo>
                  <a:lnTo>
                    <a:pt x="216" y="264"/>
                  </a:lnTo>
                  <a:lnTo>
                    <a:pt x="214" y="264"/>
                  </a:lnTo>
                  <a:lnTo>
                    <a:pt x="214" y="266"/>
                  </a:lnTo>
                  <a:lnTo>
                    <a:pt x="214" y="268"/>
                  </a:lnTo>
                  <a:lnTo>
                    <a:pt x="212" y="270"/>
                  </a:lnTo>
                  <a:lnTo>
                    <a:pt x="212" y="272"/>
                  </a:lnTo>
                  <a:lnTo>
                    <a:pt x="210" y="276"/>
                  </a:lnTo>
                  <a:lnTo>
                    <a:pt x="210" y="278"/>
                  </a:lnTo>
                  <a:lnTo>
                    <a:pt x="210" y="280"/>
                  </a:lnTo>
                  <a:lnTo>
                    <a:pt x="208" y="282"/>
                  </a:lnTo>
                  <a:lnTo>
                    <a:pt x="208" y="282"/>
                  </a:lnTo>
                  <a:lnTo>
                    <a:pt x="206" y="284"/>
                  </a:lnTo>
                  <a:lnTo>
                    <a:pt x="206" y="286"/>
                  </a:lnTo>
                  <a:lnTo>
                    <a:pt x="202" y="286"/>
                  </a:lnTo>
                  <a:lnTo>
                    <a:pt x="200" y="288"/>
                  </a:lnTo>
                  <a:lnTo>
                    <a:pt x="196" y="292"/>
                  </a:lnTo>
                  <a:lnTo>
                    <a:pt x="192" y="294"/>
                  </a:lnTo>
                  <a:lnTo>
                    <a:pt x="190" y="296"/>
                  </a:lnTo>
                  <a:lnTo>
                    <a:pt x="188" y="296"/>
                  </a:lnTo>
                  <a:lnTo>
                    <a:pt x="182" y="300"/>
                  </a:lnTo>
                  <a:lnTo>
                    <a:pt x="180" y="300"/>
                  </a:lnTo>
                  <a:lnTo>
                    <a:pt x="176" y="302"/>
                  </a:lnTo>
                  <a:lnTo>
                    <a:pt x="176" y="304"/>
                  </a:lnTo>
                  <a:lnTo>
                    <a:pt x="174" y="304"/>
                  </a:lnTo>
                  <a:lnTo>
                    <a:pt x="174" y="306"/>
                  </a:lnTo>
                  <a:lnTo>
                    <a:pt x="172" y="306"/>
                  </a:lnTo>
                  <a:lnTo>
                    <a:pt x="172" y="308"/>
                  </a:lnTo>
                  <a:lnTo>
                    <a:pt x="172" y="308"/>
                  </a:lnTo>
                  <a:lnTo>
                    <a:pt x="172" y="310"/>
                  </a:lnTo>
                  <a:lnTo>
                    <a:pt x="172" y="312"/>
                  </a:lnTo>
                  <a:lnTo>
                    <a:pt x="172" y="314"/>
                  </a:lnTo>
                  <a:lnTo>
                    <a:pt x="172" y="318"/>
                  </a:lnTo>
                  <a:lnTo>
                    <a:pt x="172" y="322"/>
                  </a:lnTo>
                  <a:lnTo>
                    <a:pt x="174" y="324"/>
                  </a:lnTo>
                  <a:lnTo>
                    <a:pt x="176" y="332"/>
                  </a:lnTo>
                  <a:lnTo>
                    <a:pt x="178" y="340"/>
                  </a:lnTo>
                  <a:lnTo>
                    <a:pt x="178" y="344"/>
                  </a:lnTo>
                  <a:lnTo>
                    <a:pt x="180" y="346"/>
                  </a:lnTo>
                  <a:lnTo>
                    <a:pt x="180" y="350"/>
                  </a:lnTo>
                  <a:lnTo>
                    <a:pt x="180" y="352"/>
                  </a:lnTo>
                  <a:lnTo>
                    <a:pt x="180" y="352"/>
                  </a:lnTo>
                  <a:lnTo>
                    <a:pt x="180" y="354"/>
                  </a:lnTo>
                  <a:lnTo>
                    <a:pt x="178" y="356"/>
                  </a:lnTo>
                  <a:lnTo>
                    <a:pt x="178" y="356"/>
                  </a:lnTo>
                  <a:lnTo>
                    <a:pt x="178" y="358"/>
                  </a:lnTo>
                  <a:lnTo>
                    <a:pt x="178" y="358"/>
                  </a:lnTo>
                  <a:lnTo>
                    <a:pt x="176" y="358"/>
                  </a:lnTo>
                  <a:lnTo>
                    <a:pt x="174" y="360"/>
                  </a:lnTo>
                  <a:lnTo>
                    <a:pt x="172" y="360"/>
                  </a:lnTo>
                  <a:lnTo>
                    <a:pt x="172" y="360"/>
                  </a:lnTo>
                  <a:lnTo>
                    <a:pt x="172" y="360"/>
                  </a:lnTo>
                  <a:lnTo>
                    <a:pt x="172" y="362"/>
                  </a:lnTo>
                  <a:lnTo>
                    <a:pt x="172" y="362"/>
                  </a:lnTo>
                  <a:lnTo>
                    <a:pt x="172" y="364"/>
                  </a:lnTo>
                  <a:lnTo>
                    <a:pt x="172" y="366"/>
                  </a:lnTo>
                  <a:lnTo>
                    <a:pt x="172" y="368"/>
                  </a:lnTo>
                  <a:lnTo>
                    <a:pt x="172" y="368"/>
                  </a:lnTo>
                  <a:lnTo>
                    <a:pt x="174" y="372"/>
                  </a:lnTo>
                  <a:lnTo>
                    <a:pt x="176" y="376"/>
                  </a:lnTo>
                  <a:lnTo>
                    <a:pt x="176" y="378"/>
                  </a:lnTo>
                  <a:lnTo>
                    <a:pt x="178" y="380"/>
                  </a:lnTo>
                  <a:lnTo>
                    <a:pt x="178" y="382"/>
                  </a:lnTo>
                  <a:lnTo>
                    <a:pt x="178" y="382"/>
                  </a:lnTo>
                  <a:lnTo>
                    <a:pt x="178" y="384"/>
                  </a:lnTo>
                  <a:lnTo>
                    <a:pt x="178" y="386"/>
                  </a:lnTo>
                  <a:lnTo>
                    <a:pt x="178" y="386"/>
                  </a:lnTo>
                  <a:lnTo>
                    <a:pt x="176" y="388"/>
                  </a:lnTo>
                  <a:lnTo>
                    <a:pt x="176" y="390"/>
                  </a:lnTo>
                  <a:lnTo>
                    <a:pt x="174" y="394"/>
                  </a:lnTo>
                  <a:lnTo>
                    <a:pt x="170" y="398"/>
                  </a:lnTo>
                  <a:lnTo>
                    <a:pt x="168" y="402"/>
                  </a:lnTo>
                  <a:lnTo>
                    <a:pt x="166" y="406"/>
                  </a:lnTo>
                  <a:lnTo>
                    <a:pt x="164" y="410"/>
                  </a:lnTo>
                  <a:lnTo>
                    <a:pt x="162" y="412"/>
                  </a:lnTo>
                  <a:lnTo>
                    <a:pt x="160" y="414"/>
                  </a:lnTo>
                  <a:lnTo>
                    <a:pt x="160" y="416"/>
                  </a:lnTo>
                  <a:lnTo>
                    <a:pt x="158" y="418"/>
                  </a:lnTo>
                  <a:lnTo>
                    <a:pt x="156" y="420"/>
                  </a:lnTo>
                  <a:lnTo>
                    <a:pt x="154" y="420"/>
                  </a:lnTo>
                  <a:lnTo>
                    <a:pt x="152" y="422"/>
                  </a:lnTo>
                  <a:lnTo>
                    <a:pt x="150" y="424"/>
                  </a:lnTo>
                  <a:lnTo>
                    <a:pt x="148" y="426"/>
                  </a:lnTo>
                  <a:lnTo>
                    <a:pt x="146" y="426"/>
                  </a:lnTo>
                  <a:lnTo>
                    <a:pt x="144" y="426"/>
                  </a:lnTo>
                  <a:lnTo>
                    <a:pt x="142" y="426"/>
                  </a:lnTo>
                  <a:lnTo>
                    <a:pt x="142" y="426"/>
                  </a:lnTo>
                  <a:lnTo>
                    <a:pt x="140" y="426"/>
                  </a:lnTo>
                  <a:lnTo>
                    <a:pt x="140" y="426"/>
                  </a:lnTo>
                  <a:lnTo>
                    <a:pt x="138" y="426"/>
                  </a:lnTo>
                  <a:lnTo>
                    <a:pt x="136" y="424"/>
                  </a:lnTo>
                  <a:lnTo>
                    <a:pt x="136" y="424"/>
                  </a:lnTo>
                  <a:lnTo>
                    <a:pt x="134" y="422"/>
                  </a:lnTo>
                  <a:lnTo>
                    <a:pt x="134" y="422"/>
                  </a:lnTo>
                  <a:lnTo>
                    <a:pt x="132" y="420"/>
                  </a:lnTo>
                  <a:lnTo>
                    <a:pt x="132" y="420"/>
                  </a:lnTo>
                  <a:lnTo>
                    <a:pt x="132" y="418"/>
                  </a:lnTo>
                  <a:lnTo>
                    <a:pt x="132" y="416"/>
                  </a:lnTo>
                  <a:lnTo>
                    <a:pt x="132" y="414"/>
                  </a:lnTo>
                  <a:lnTo>
                    <a:pt x="130" y="412"/>
                  </a:lnTo>
                  <a:lnTo>
                    <a:pt x="130" y="406"/>
                  </a:lnTo>
                  <a:lnTo>
                    <a:pt x="130" y="404"/>
                  </a:lnTo>
                  <a:lnTo>
                    <a:pt x="130" y="402"/>
                  </a:lnTo>
                  <a:lnTo>
                    <a:pt x="130" y="400"/>
                  </a:lnTo>
                  <a:lnTo>
                    <a:pt x="128" y="398"/>
                  </a:lnTo>
                  <a:lnTo>
                    <a:pt x="126" y="392"/>
                  </a:lnTo>
                  <a:lnTo>
                    <a:pt x="124" y="388"/>
                  </a:lnTo>
                  <a:lnTo>
                    <a:pt x="122" y="382"/>
                  </a:lnTo>
                  <a:lnTo>
                    <a:pt x="116" y="370"/>
                  </a:lnTo>
                  <a:lnTo>
                    <a:pt x="114" y="366"/>
                  </a:lnTo>
                  <a:lnTo>
                    <a:pt x="112" y="362"/>
                  </a:lnTo>
                  <a:lnTo>
                    <a:pt x="110" y="358"/>
                  </a:lnTo>
                  <a:lnTo>
                    <a:pt x="108" y="352"/>
                  </a:lnTo>
                  <a:lnTo>
                    <a:pt x="104" y="340"/>
                  </a:lnTo>
                  <a:lnTo>
                    <a:pt x="102" y="334"/>
                  </a:lnTo>
                  <a:lnTo>
                    <a:pt x="100" y="328"/>
                  </a:lnTo>
                  <a:lnTo>
                    <a:pt x="98" y="322"/>
                  </a:lnTo>
                  <a:lnTo>
                    <a:pt x="96" y="318"/>
                  </a:lnTo>
                  <a:lnTo>
                    <a:pt x="94" y="314"/>
                  </a:lnTo>
                  <a:lnTo>
                    <a:pt x="92" y="312"/>
                  </a:lnTo>
                  <a:lnTo>
                    <a:pt x="88" y="304"/>
                  </a:lnTo>
                  <a:lnTo>
                    <a:pt x="84" y="300"/>
                  </a:lnTo>
                  <a:lnTo>
                    <a:pt x="82" y="298"/>
                  </a:lnTo>
                  <a:lnTo>
                    <a:pt x="80" y="294"/>
                  </a:lnTo>
                  <a:lnTo>
                    <a:pt x="80" y="292"/>
                  </a:lnTo>
                  <a:lnTo>
                    <a:pt x="78" y="292"/>
                  </a:lnTo>
                  <a:lnTo>
                    <a:pt x="78" y="288"/>
                  </a:lnTo>
                  <a:lnTo>
                    <a:pt x="76" y="284"/>
                  </a:lnTo>
                  <a:lnTo>
                    <a:pt x="74" y="278"/>
                  </a:lnTo>
                  <a:lnTo>
                    <a:pt x="74" y="274"/>
                  </a:lnTo>
                  <a:lnTo>
                    <a:pt x="72" y="268"/>
                  </a:lnTo>
                  <a:lnTo>
                    <a:pt x="72" y="264"/>
                  </a:lnTo>
                  <a:lnTo>
                    <a:pt x="72" y="260"/>
                  </a:lnTo>
                  <a:lnTo>
                    <a:pt x="70" y="256"/>
                  </a:lnTo>
                  <a:lnTo>
                    <a:pt x="70" y="252"/>
                  </a:lnTo>
                  <a:lnTo>
                    <a:pt x="70" y="250"/>
                  </a:lnTo>
                  <a:lnTo>
                    <a:pt x="70" y="240"/>
                  </a:lnTo>
                  <a:lnTo>
                    <a:pt x="72" y="232"/>
                  </a:lnTo>
                  <a:lnTo>
                    <a:pt x="72" y="228"/>
                  </a:lnTo>
                  <a:lnTo>
                    <a:pt x="70" y="224"/>
                  </a:lnTo>
                  <a:lnTo>
                    <a:pt x="70" y="218"/>
                  </a:lnTo>
                  <a:lnTo>
                    <a:pt x="70" y="212"/>
                  </a:lnTo>
                  <a:lnTo>
                    <a:pt x="70" y="208"/>
                  </a:lnTo>
                  <a:lnTo>
                    <a:pt x="68" y="206"/>
                  </a:lnTo>
                  <a:lnTo>
                    <a:pt x="68" y="202"/>
                  </a:lnTo>
                  <a:lnTo>
                    <a:pt x="68" y="200"/>
                  </a:lnTo>
                  <a:lnTo>
                    <a:pt x="66" y="196"/>
                  </a:lnTo>
                  <a:lnTo>
                    <a:pt x="66" y="192"/>
                  </a:lnTo>
                  <a:lnTo>
                    <a:pt x="64" y="190"/>
                  </a:lnTo>
                  <a:lnTo>
                    <a:pt x="64" y="188"/>
                  </a:lnTo>
                  <a:lnTo>
                    <a:pt x="62" y="186"/>
                  </a:lnTo>
                  <a:lnTo>
                    <a:pt x="62" y="186"/>
                  </a:lnTo>
                  <a:lnTo>
                    <a:pt x="62" y="186"/>
                  </a:lnTo>
                  <a:lnTo>
                    <a:pt x="62" y="184"/>
                  </a:lnTo>
                  <a:lnTo>
                    <a:pt x="60" y="184"/>
                  </a:lnTo>
                  <a:lnTo>
                    <a:pt x="60" y="184"/>
                  </a:lnTo>
                  <a:lnTo>
                    <a:pt x="60" y="184"/>
                  </a:lnTo>
                  <a:lnTo>
                    <a:pt x="58" y="186"/>
                  </a:lnTo>
                  <a:lnTo>
                    <a:pt x="58" y="186"/>
                  </a:lnTo>
                  <a:lnTo>
                    <a:pt x="58" y="186"/>
                  </a:lnTo>
                  <a:lnTo>
                    <a:pt x="58" y="188"/>
                  </a:lnTo>
                  <a:lnTo>
                    <a:pt x="58" y="190"/>
                  </a:lnTo>
                  <a:lnTo>
                    <a:pt x="60" y="192"/>
                  </a:lnTo>
                  <a:lnTo>
                    <a:pt x="60" y="194"/>
                  </a:lnTo>
                  <a:lnTo>
                    <a:pt x="60" y="196"/>
                  </a:lnTo>
                  <a:lnTo>
                    <a:pt x="60" y="198"/>
                  </a:lnTo>
                  <a:lnTo>
                    <a:pt x="60" y="198"/>
                  </a:lnTo>
                  <a:lnTo>
                    <a:pt x="60" y="200"/>
                  </a:lnTo>
                  <a:lnTo>
                    <a:pt x="58" y="202"/>
                  </a:lnTo>
                  <a:lnTo>
                    <a:pt x="56" y="202"/>
                  </a:lnTo>
                  <a:lnTo>
                    <a:pt x="56" y="204"/>
                  </a:lnTo>
                  <a:lnTo>
                    <a:pt x="54" y="206"/>
                  </a:lnTo>
                  <a:lnTo>
                    <a:pt x="52" y="206"/>
                  </a:lnTo>
                  <a:lnTo>
                    <a:pt x="52" y="208"/>
                  </a:lnTo>
                  <a:lnTo>
                    <a:pt x="50" y="208"/>
                  </a:lnTo>
                  <a:lnTo>
                    <a:pt x="48" y="208"/>
                  </a:lnTo>
                  <a:lnTo>
                    <a:pt x="48" y="210"/>
                  </a:lnTo>
                  <a:lnTo>
                    <a:pt x="44" y="210"/>
                  </a:lnTo>
                  <a:lnTo>
                    <a:pt x="42" y="210"/>
                  </a:lnTo>
                  <a:lnTo>
                    <a:pt x="38" y="210"/>
                  </a:lnTo>
                  <a:lnTo>
                    <a:pt x="36" y="210"/>
                  </a:lnTo>
                  <a:lnTo>
                    <a:pt x="34" y="208"/>
                  </a:lnTo>
                  <a:lnTo>
                    <a:pt x="30" y="208"/>
                  </a:lnTo>
                  <a:lnTo>
                    <a:pt x="30" y="208"/>
                  </a:lnTo>
                  <a:lnTo>
                    <a:pt x="28" y="208"/>
                  </a:lnTo>
                  <a:lnTo>
                    <a:pt x="28" y="206"/>
                  </a:lnTo>
                  <a:lnTo>
                    <a:pt x="26" y="206"/>
                  </a:lnTo>
                  <a:lnTo>
                    <a:pt x="24" y="204"/>
                  </a:lnTo>
                  <a:lnTo>
                    <a:pt x="20" y="200"/>
                  </a:lnTo>
                  <a:lnTo>
                    <a:pt x="18" y="198"/>
                  </a:lnTo>
                  <a:lnTo>
                    <a:pt x="16" y="194"/>
                  </a:lnTo>
                  <a:lnTo>
                    <a:pt x="14" y="194"/>
                  </a:lnTo>
                  <a:lnTo>
                    <a:pt x="14" y="192"/>
                  </a:lnTo>
                  <a:lnTo>
                    <a:pt x="12" y="190"/>
                  </a:lnTo>
                  <a:lnTo>
                    <a:pt x="12" y="188"/>
                  </a:lnTo>
                  <a:lnTo>
                    <a:pt x="12" y="188"/>
                  </a:lnTo>
                  <a:lnTo>
                    <a:pt x="12" y="186"/>
                  </a:lnTo>
                  <a:lnTo>
                    <a:pt x="12" y="186"/>
                  </a:lnTo>
                  <a:lnTo>
                    <a:pt x="12" y="184"/>
                  </a:lnTo>
                  <a:lnTo>
                    <a:pt x="12" y="184"/>
                  </a:lnTo>
                  <a:lnTo>
                    <a:pt x="14" y="184"/>
                  </a:lnTo>
                  <a:lnTo>
                    <a:pt x="16" y="182"/>
                  </a:lnTo>
                  <a:lnTo>
                    <a:pt x="18" y="180"/>
                  </a:lnTo>
                  <a:lnTo>
                    <a:pt x="18" y="178"/>
                  </a:lnTo>
                  <a:lnTo>
                    <a:pt x="20" y="178"/>
                  </a:lnTo>
                  <a:lnTo>
                    <a:pt x="20" y="176"/>
                  </a:lnTo>
                  <a:lnTo>
                    <a:pt x="20" y="176"/>
                  </a:lnTo>
                  <a:lnTo>
                    <a:pt x="20" y="176"/>
                  </a:lnTo>
                  <a:lnTo>
                    <a:pt x="20" y="174"/>
                  </a:lnTo>
                  <a:lnTo>
                    <a:pt x="20" y="174"/>
                  </a:lnTo>
                  <a:lnTo>
                    <a:pt x="20" y="174"/>
                  </a:lnTo>
                  <a:lnTo>
                    <a:pt x="20" y="174"/>
                  </a:lnTo>
                  <a:lnTo>
                    <a:pt x="18" y="174"/>
                  </a:lnTo>
                  <a:lnTo>
                    <a:pt x="16" y="174"/>
                  </a:lnTo>
                  <a:lnTo>
                    <a:pt x="14" y="174"/>
                  </a:lnTo>
                  <a:lnTo>
                    <a:pt x="12" y="176"/>
                  </a:lnTo>
                  <a:lnTo>
                    <a:pt x="12" y="176"/>
                  </a:lnTo>
                  <a:lnTo>
                    <a:pt x="10" y="176"/>
                  </a:lnTo>
                  <a:lnTo>
                    <a:pt x="8" y="176"/>
                  </a:lnTo>
                  <a:lnTo>
                    <a:pt x="8" y="176"/>
                  </a:lnTo>
                  <a:lnTo>
                    <a:pt x="8" y="176"/>
                  </a:lnTo>
                  <a:lnTo>
                    <a:pt x="6" y="174"/>
                  </a:lnTo>
                  <a:lnTo>
                    <a:pt x="6" y="174"/>
                  </a:lnTo>
                  <a:lnTo>
                    <a:pt x="4" y="172"/>
                  </a:lnTo>
                  <a:lnTo>
                    <a:pt x="4" y="168"/>
                  </a:lnTo>
                  <a:lnTo>
                    <a:pt x="2" y="166"/>
                  </a:lnTo>
                  <a:lnTo>
                    <a:pt x="0" y="164"/>
                  </a:lnTo>
                  <a:lnTo>
                    <a:pt x="2" y="162"/>
                  </a:lnTo>
                  <a:lnTo>
                    <a:pt x="4" y="160"/>
                  </a:lnTo>
                  <a:lnTo>
                    <a:pt x="6" y="158"/>
                  </a:lnTo>
                  <a:lnTo>
                    <a:pt x="6" y="156"/>
                  </a:lnTo>
                  <a:lnTo>
                    <a:pt x="8" y="156"/>
                  </a:lnTo>
                  <a:lnTo>
                    <a:pt x="10" y="154"/>
                  </a:lnTo>
                  <a:lnTo>
                    <a:pt x="10" y="154"/>
                  </a:lnTo>
                  <a:lnTo>
                    <a:pt x="12" y="154"/>
                  </a:lnTo>
                  <a:lnTo>
                    <a:pt x="14" y="154"/>
                  </a:lnTo>
                  <a:lnTo>
                    <a:pt x="16" y="154"/>
                  </a:lnTo>
                  <a:lnTo>
                    <a:pt x="20" y="154"/>
                  </a:lnTo>
                  <a:lnTo>
                    <a:pt x="24" y="156"/>
                  </a:lnTo>
                  <a:lnTo>
                    <a:pt x="28" y="156"/>
                  </a:lnTo>
                  <a:lnTo>
                    <a:pt x="30" y="156"/>
                  </a:lnTo>
                  <a:lnTo>
                    <a:pt x="32" y="156"/>
                  </a:lnTo>
                  <a:lnTo>
                    <a:pt x="34" y="156"/>
                  </a:lnTo>
                  <a:lnTo>
                    <a:pt x="36" y="156"/>
                  </a:lnTo>
                  <a:lnTo>
                    <a:pt x="38" y="156"/>
                  </a:lnTo>
                  <a:lnTo>
                    <a:pt x="38" y="154"/>
                  </a:lnTo>
                  <a:lnTo>
                    <a:pt x="38" y="154"/>
                  </a:lnTo>
                  <a:lnTo>
                    <a:pt x="38" y="154"/>
                  </a:lnTo>
                  <a:lnTo>
                    <a:pt x="40" y="154"/>
                  </a:lnTo>
                  <a:lnTo>
                    <a:pt x="40" y="152"/>
                  </a:lnTo>
                  <a:lnTo>
                    <a:pt x="40" y="150"/>
                  </a:lnTo>
                  <a:lnTo>
                    <a:pt x="40" y="148"/>
                  </a:lnTo>
                  <a:lnTo>
                    <a:pt x="40" y="146"/>
                  </a:lnTo>
                  <a:lnTo>
                    <a:pt x="40" y="144"/>
                  </a:lnTo>
                  <a:lnTo>
                    <a:pt x="40" y="144"/>
                  </a:lnTo>
                  <a:lnTo>
                    <a:pt x="40" y="142"/>
                  </a:lnTo>
                  <a:lnTo>
                    <a:pt x="40" y="140"/>
                  </a:lnTo>
                  <a:lnTo>
                    <a:pt x="38" y="140"/>
                  </a:lnTo>
                  <a:lnTo>
                    <a:pt x="38" y="136"/>
                  </a:lnTo>
                  <a:lnTo>
                    <a:pt x="36" y="134"/>
                  </a:lnTo>
                  <a:lnTo>
                    <a:pt x="34" y="132"/>
                  </a:lnTo>
                  <a:lnTo>
                    <a:pt x="28" y="126"/>
                  </a:lnTo>
                  <a:lnTo>
                    <a:pt x="24" y="122"/>
                  </a:lnTo>
                  <a:lnTo>
                    <a:pt x="24" y="120"/>
                  </a:lnTo>
                  <a:lnTo>
                    <a:pt x="22" y="120"/>
                  </a:lnTo>
                  <a:lnTo>
                    <a:pt x="18" y="116"/>
                  </a:lnTo>
                  <a:lnTo>
                    <a:pt x="16" y="114"/>
                  </a:lnTo>
                  <a:lnTo>
                    <a:pt x="14" y="112"/>
                  </a:lnTo>
                  <a:lnTo>
                    <a:pt x="14" y="112"/>
                  </a:lnTo>
                  <a:lnTo>
                    <a:pt x="12" y="110"/>
                  </a:lnTo>
                  <a:lnTo>
                    <a:pt x="12" y="110"/>
                  </a:lnTo>
                  <a:lnTo>
                    <a:pt x="12" y="110"/>
                  </a:lnTo>
                  <a:lnTo>
                    <a:pt x="12" y="108"/>
                  </a:lnTo>
                  <a:lnTo>
                    <a:pt x="12" y="108"/>
                  </a:lnTo>
                  <a:lnTo>
                    <a:pt x="12" y="106"/>
                  </a:lnTo>
                  <a:lnTo>
                    <a:pt x="12" y="104"/>
                  </a:lnTo>
                  <a:lnTo>
                    <a:pt x="14" y="102"/>
                  </a:lnTo>
                  <a:lnTo>
                    <a:pt x="14" y="100"/>
                  </a:lnTo>
                  <a:lnTo>
                    <a:pt x="16" y="98"/>
                  </a:lnTo>
                  <a:lnTo>
                    <a:pt x="18" y="94"/>
                  </a:lnTo>
                  <a:lnTo>
                    <a:pt x="18" y="92"/>
                  </a:lnTo>
                  <a:lnTo>
                    <a:pt x="20" y="90"/>
                  </a:lnTo>
                  <a:lnTo>
                    <a:pt x="22" y="88"/>
                  </a:lnTo>
                  <a:lnTo>
                    <a:pt x="24" y="86"/>
                  </a:lnTo>
                  <a:lnTo>
                    <a:pt x="24" y="86"/>
                  </a:lnTo>
                  <a:lnTo>
                    <a:pt x="26" y="86"/>
                  </a:lnTo>
                  <a:lnTo>
                    <a:pt x="28" y="86"/>
                  </a:lnTo>
                  <a:lnTo>
                    <a:pt x="28" y="86"/>
                  </a:lnTo>
                  <a:lnTo>
                    <a:pt x="30" y="86"/>
                  </a:lnTo>
                  <a:lnTo>
                    <a:pt x="32" y="86"/>
                  </a:lnTo>
                  <a:lnTo>
                    <a:pt x="34" y="88"/>
                  </a:lnTo>
                  <a:lnTo>
                    <a:pt x="38" y="90"/>
                  </a:lnTo>
                  <a:lnTo>
                    <a:pt x="42" y="92"/>
                  </a:lnTo>
                  <a:lnTo>
                    <a:pt x="44" y="94"/>
                  </a:lnTo>
                  <a:lnTo>
                    <a:pt x="46" y="94"/>
                  </a:lnTo>
                  <a:lnTo>
                    <a:pt x="46" y="94"/>
                  </a:lnTo>
                  <a:lnTo>
                    <a:pt x="48" y="94"/>
                  </a:lnTo>
                  <a:lnTo>
                    <a:pt x="50" y="94"/>
                  </a:lnTo>
                  <a:lnTo>
                    <a:pt x="50" y="94"/>
                  </a:lnTo>
                  <a:lnTo>
                    <a:pt x="50" y="94"/>
                  </a:lnTo>
                  <a:lnTo>
                    <a:pt x="52" y="94"/>
                  </a:lnTo>
                  <a:lnTo>
                    <a:pt x="52" y="94"/>
                  </a:lnTo>
                  <a:lnTo>
                    <a:pt x="52" y="92"/>
                  </a:lnTo>
                  <a:lnTo>
                    <a:pt x="54" y="92"/>
                  </a:lnTo>
                  <a:lnTo>
                    <a:pt x="54" y="90"/>
                  </a:lnTo>
                  <a:lnTo>
                    <a:pt x="54" y="86"/>
                  </a:lnTo>
                  <a:lnTo>
                    <a:pt x="54" y="84"/>
                  </a:lnTo>
                  <a:lnTo>
                    <a:pt x="54" y="84"/>
                  </a:lnTo>
                  <a:lnTo>
                    <a:pt x="54" y="82"/>
                  </a:lnTo>
                  <a:lnTo>
                    <a:pt x="56" y="78"/>
                  </a:lnTo>
                  <a:lnTo>
                    <a:pt x="56" y="76"/>
                  </a:lnTo>
                  <a:lnTo>
                    <a:pt x="56" y="74"/>
                  </a:lnTo>
                  <a:lnTo>
                    <a:pt x="56" y="72"/>
                  </a:lnTo>
                  <a:lnTo>
                    <a:pt x="56" y="72"/>
                  </a:lnTo>
                  <a:lnTo>
                    <a:pt x="58" y="72"/>
                  </a:lnTo>
                  <a:lnTo>
                    <a:pt x="60" y="70"/>
                  </a:lnTo>
                  <a:lnTo>
                    <a:pt x="62" y="68"/>
                  </a:lnTo>
                  <a:lnTo>
                    <a:pt x="64" y="66"/>
                  </a:lnTo>
                  <a:lnTo>
                    <a:pt x="66" y="64"/>
                  </a:lnTo>
                  <a:lnTo>
                    <a:pt x="68" y="62"/>
                  </a:lnTo>
                  <a:lnTo>
                    <a:pt x="70" y="60"/>
                  </a:lnTo>
                  <a:lnTo>
                    <a:pt x="72" y="60"/>
                  </a:lnTo>
                  <a:lnTo>
                    <a:pt x="72" y="60"/>
                  </a:lnTo>
                  <a:lnTo>
                    <a:pt x="74" y="58"/>
                  </a:lnTo>
                  <a:lnTo>
                    <a:pt x="74" y="56"/>
                  </a:lnTo>
                  <a:lnTo>
                    <a:pt x="74" y="52"/>
                  </a:lnTo>
                  <a:lnTo>
                    <a:pt x="76" y="48"/>
                  </a:lnTo>
                  <a:lnTo>
                    <a:pt x="76" y="46"/>
                  </a:lnTo>
                  <a:lnTo>
                    <a:pt x="78" y="46"/>
                  </a:lnTo>
                  <a:lnTo>
                    <a:pt x="78" y="44"/>
                  </a:lnTo>
                  <a:lnTo>
                    <a:pt x="80" y="42"/>
                  </a:lnTo>
                  <a:lnTo>
                    <a:pt x="82" y="40"/>
                  </a:lnTo>
                  <a:lnTo>
                    <a:pt x="84" y="38"/>
                  </a:lnTo>
                  <a:lnTo>
                    <a:pt x="86" y="38"/>
                  </a:lnTo>
                  <a:lnTo>
                    <a:pt x="86" y="36"/>
                  </a:lnTo>
                  <a:lnTo>
                    <a:pt x="86" y="36"/>
                  </a:lnTo>
                  <a:lnTo>
                    <a:pt x="88" y="36"/>
                  </a:lnTo>
                  <a:lnTo>
                    <a:pt x="88" y="34"/>
                  </a:lnTo>
                  <a:lnTo>
                    <a:pt x="88" y="32"/>
                  </a:lnTo>
                  <a:lnTo>
                    <a:pt x="88" y="32"/>
                  </a:lnTo>
                  <a:lnTo>
                    <a:pt x="88" y="30"/>
                  </a:lnTo>
                  <a:lnTo>
                    <a:pt x="88" y="26"/>
                  </a:lnTo>
                  <a:lnTo>
                    <a:pt x="88" y="22"/>
                  </a:lnTo>
                  <a:lnTo>
                    <a:pt x="86" y="16"/>
                  </a:lnTo>
                  <a:lnTo>
                    <a:pt x="86" y="12"/>
                  </a:lnTo>
                  <a:lnTo>
                    <a:pt x="88" y="10"/>
                  </a:lnTo>
                  <a:lnTo>
                    <a:pt x="94" y="6"/>
                  </a:lnTo>
                  <a:lnTo>
                    <a:pt x="98" y="4"/>
                  </a:lnTo>
                  <a:lnTo>
                    <a:pt x="100" y="2"/>
                  </a:lnTo>
                  <a:lnTo>
                    <a:pt x="104" y="2"/>
                  </a:lnTo>
                  <a:lnTo>
                    <a:pt x="106" y="0"/>
                  </a:lnTo>
                  <a:lnTo>
                    <a:pt x="106" y="0"/>
                  </a:lnTo>
                  <a:lnTo>
                    <a:pt x="108" y="0"/>
                  </a:lnTo>
                  <a:lnTo>
                    <a:pt x="110" y="0"/>
                  </a:lnTo>
                  <a:lnTo>
                    <a:pt x="112" y="0"/>
                  </a:lnTo>
                  <a:lnTo>
                    <a:pt x="114" y="0"/>
                  </a:lnTo>
                  <a:lnTo>
                    <a:pt x="116" y="0"/>
                  </a:lnTo>
                  <a:lnTo>
                    <a:pt x="118" y="0"/>
                  </a:lnTo>
                  <a:lnTo>
                    <a:pt x="122" y="0"/>
                  </a:lnTo>
                  <a:lnTo>
                    <a:pt x="122" y="2"/>
                  </a:lnTo>
                  <a:lnTo>
                    <a:pt x="124" y="2"/>
                  </a:lnTo>
                  <a:lnTo>
                    <a:pt x="126" y="2"/>
                  </a:lnTo>
                  <a:lnTo>
                    <a:pt x="128" y="4"/>
                  </a:lnTo>
                  <a:lnTo>
                    <a:pt x="128" y="4"/>
                  </a:lnTo>
                  <a:lnTo>
                    <a:pt x="130" y="6"/>
                  </a:lnTo>
                  <a:lnTo>
                    <a:pt x="132" y="8"/>
                  </a:lnTo>
                  <a:lnTo>
                    <a:pt x="134" y="8"/>
                  </a:lnTo>
                  <a:lnTo>
                    <a:pt x="134" y="10"/>
                  </a:lnTo>
                  <a:lnTo>
                    <a:pt x="134" y="12"/>
                  </a:lnTo>
                  <a:lnTo>
                    <a:pt x="134" y="12"/>
                  </a:lnTo>
                  <a:lnTo>
                    <a:pt x="134" y="14"/>
                  </a:lnTo>
                  <a:lnTo>
                    <a:pt x="134" y="16"/>
                  </a:lnTo>
                  <a:lnTo>
                    <a:pt x="134" y="20"/>
                  </a:lnTo>
                  <a:lnTo>
                    <a:pt x="134" y="24"/>
                  </a:lnTo>
                  <a:lnTo>
                    <a:pt x="132" y="28"/>
                  </a:lnTo>
                  <a:lnTo>
                    <a:pt x="132" y="28"/>
                  </a:lnTo>
                  <a:lnTo>
                    <a:pt x="132" y="30"/>
                  </a:lnTo>
                  <a:lnTo>
                    <a:pt x="132" y="32"/>
                  </a:lnTo>
                  <a:lnTo>
                    <a:pt x="132" y="34"/>
                  </a:lnTo>
                  <a:lnTo>
                    <a:pt x="134" y="34"/>
                  </a:lnTo>
                  <a:lnTo>
                    <a:pt x="134" y="36"/>
                  </a:lnTo>
                  <a:lnTo>
                    <a:pt x="134" y="36"/>
                  </a:lnTo>
                  <a:lnTo>
                    <a:pt x="136" y="38"/>
                  </a:lnTo>
                  <a:lnTo>
                    <a:pt x="136" y="38"/>
                  </a:lnTo>
                  <a:lnTo>
                    <a:pt x="138" y="38"/>
                  </a:lnTo>
                  <a:lnTo>
                    <a:pt x="140" y="38"/>
                  </a:lnTo>
                  <a:lnTo>
                    <a:pt x="144" y="38"/>
                  </a:lnTo>
                  <a:lnTo>
                    <a:pt x="148" y="38"/>
                  </a:lnTo>
                  <a:lnTo>
                    <a:pt x="150" y="40"/>
                  </a:lnTo>
                  <a:lnTo>
                    <a:pt x="154" y="40"/>
                  </a:lnTo>
                  <a:lnTo>
                    <a:pt x="154" y="40"/>
                  </a:lnTo>
                  <a:lnTo>
                    <a:pt x="156" y="40"/>
                  </a:lnTo>
                  <a:lnTo>
                    <a:pt x="158" y="42"/>
                  </a:lnTo>
                  <a:lnTo>
                    <a:pt x="158" y="44"/>
                  </a:lnTo>
                  <a:lnTo>
                    <a:pt x="162" y="46"/>
                  </a:lnTo>
                  <a:lnTo>
                    <a:pt x="164" y="48"/>
                  </a:lnTo>
                  <a:lnTo>
                    <a:pt x="166" y="52"/>
                  </a:lnTo>
                  <a:lnTo>
                    <a:pt x="168" y="52"/>
                  </a:lnTo>
                  <a:lnTo>
                    <a:pt x="168" y="56"/>
                  </a:lnTo>
                  <a:lnTo>
                    <a:pt x="168" y="64"/>
                  </a:lnTo>
                  <a:lnTo>
                    <a:pt x="168" y="68"/>
                  </a:lnTo>
                  <a:lnTo>
                    <a:pt x="168" y="72"/>
                  </a:lnTo>
                  <a:lnTo>
                    <a:pt x="170" y="74"/>
                  </a:lnTo>
                  <a:lnTo>
                    <a:pt x="170" y="76"/>
                  </a:lnTo>
                  <a:lnTo>
                    <a:pt x="170" y="78"/>
                  </a:lnTo>
                  <a:lnTo>
                    <a:pt x="172" y="80"/>
                  </a:lnTo>
                  <a:lnTo>
                    <a:pt x="172" y="82"/>
                  </a:lnTo>
                  <a:lnTo>
                    <a:pt x="174" y="84"/>
                  </a:lnTo>
                  <a:lnTo>
                    <a:pt x="176" y="86"/>
                  </a:lnTo>
                  <a:lnTo>
                    <a:pt x="176" y="88"/>
                  </a:lnTo>
                  <a:lnTo>
                    <a:pt x="178" y="90"/>
                  </a:lnTo>
                  <a:lnTo>
                    <a:pt x="180" y="90"/>
                  </a:lnTo>
                  <a:lnTo>
                    <a:pt x="182" y="92"/>
                  </a:lnTo>
                  <a:lnTo>
                    <a:pt x="184" y="92"/>
                  </a:lnTo>
                  <a:lnTo>
                    <a:pt x="186" y="94"/>
                  </a:lnTo>
                  <a:lnTo>
                    <a:pt x="188" y="94"/>
                  </a:lnTo>
                  <a:lnTo>
                    <a:pt x="190" y="94"/>
                  </a:lnTo>
                  <a:lnTo>
                    <a:pt x="196" y="96"/>
                  </a:lnTo>
                  <a:lnTo>
                    <a:pt x="198" y="96"/>
                  </a:lnTo>
                  <a:lnTo>
                    <a:pt x="200" y="96"/>
                  </a:lnTo>
                  <a:lnTo>
                    <a:pt x="204" y="98"/>
                  </a:lnTo>
                  <a:lnTo>
                    <a:pt x="210" y="102"/>
                  </a:lnTo>
                  <a:lnTo>
                    <a:pt x="216" y="104"/>
                  </a:lnTo>
                  <a:lnTo>
                    <a:pt x="220" y="104"/>
                  </a:lnTo>
                  <a:lnTo>
                    <a:pt x="222" y="106"/>
                  </a:lnTo>
                  <a:lnTo>
                    <a:pt x="224" y="106"/>
                  </a:lnTo>
                  <a:lnTo>
                    <a:pt x="226" y="106"/>
                  </a:lnTo>
                  <a:lnTo>
                    <a:pt x="230" y="108"/>
                  </a:lnTo>
                  <a:lnTo>
                    <a:pt x="236" y="108"/>
                  </a:lnTo>
                  <a:lnTo>
                    <a:pt x="238" y="108"/>
                  </a:lnTo>
                  <a:lnTo>
                    <a:pt x="240" y="110"/>
                  </a:lnTo>
                  <a:lnTo>
                    <a:pt x="240" y="110"/>
                  </a:lnTo>
                  <a:lnTo>
                    <a:pt x="242" y="110"/>
                  </a:lnTo>
                  <a:lnTo>
                    <a:pt x="246" y="114"/>
                  </a:lnTo>
                  <a:lnTo>
                    <a:pt x="248" y="114"/>
                  </a:lnTo>
                  <a:lnTo>
                    <a:pt x="250" y="116"/>
                  </a:lnTo>
                  <a:lnTo>
                    <a:pt x="250" y="116"/>
                  </a:lnTo>
                  <a:lnTo>
                    <a:pt x="252" y="116"/>
                  </a:lnTo>
                  <a:lnTo>
                    <a:pt x="254" y="118"/>
                  </a:lnTo>
                  <a:lnTo>
                    <a:pt x="256" y="118"/>
                  </a:lnTo>
                  <a:lnTo>
                    <a:pt x="258" y="116"/>
                  </a:lnTo>
                  <a:lnTo>
                    <a:pt x="260" y="116"/>
                  </a:lnTo>
                  <a:lnTo>
                    <a:pt x="264" y="116"/>
                  </a:lnTo>
                  <a:lnTo>
                    <a:pt x="266" y="116"/>
                  </a:lnTo>
                  <a:lnTo>
                    <a:pt x="268" y="116"/>
                  </a:lnTo>
                  <a:lnTo>
                    <a:pt x="270" y="116"/>
                  </a:lnTo>
                  <a:lnTo>
                    <a:pt x="272" y="116"/>
                  </a:lnTo>
                  <a:lnTo>
                    <a:pt x="276" y="116"/>
                  </a:lnTo>
                  <a:lnTo>
                    <a:pt x="278" y="116"/>
                  </a:lnTo>
                  <a:lnTo>
                    <a:pt x="280" y="116"/>
                  </a:lnTo>
                  <a:lnTo>
                    <a:pt x="280" y="116"/>
                  </a:lnTo>
                  <a:lnTo>
                    <a:pt x="282" y="116"/>
                  </a:lnTo>
                  <a:lnTo>
                    <a:pt x="282" y="116"/>
                  </a:lnTo>
                  <a:lnTo>
                    <a:pt x="282" y="114"/>
                  </a:lnTo>
                  <a:lnTo>
                    <a:pt x="284" y="114"/>
                  </a:lnTo>
                  <a:lnTo>
                    <a:pt x="284" y="112"/>
                  </a:lnTo>
                  <a:lnTo>
                    <a:pt x="286" y="110"/>
                  </a:lnTo>
                  <a:lnTo>
                    <a:pt x="288" y="108"/>
                  </a:lnTo>
                  <a:lnTo>
                    <a:pt x="290" y="102"/>
                  </a:lnTo>
                  <a:lnTo>
                    <a:pt x="290" y="100"/>
                  </a:lnTo>
                  <a:lnTo>
                    <a:pt x="298" y="86"/>
                  </a:lnTo>
                  <a:lnTo>
                    <a:pt x="300" y="88"/>
                  </a:lnTo>
                  <a:lnTo>
                    <a:pt x="304" y="90"/>
                  </a:lnTo>
                  <a:lnTo>
                    <a:pt x="308" y="92"/>
                  </a:lnTo>
                  <a:lnTo>
                    <a:pt x="312" y="94"/>
                  </a:lnTo>
                  <a:lnTo>
                    <a:pt x="314" y="94"/>
                  </a:lnTo>
                  <a:lnTo>
                    <a:pt x="314" y="94"/>
                  </a:lnTo>
                  <a:lnTo>
                    <a:pt x="316" y="94"/>
                  </a:lnTo>
                  <a:lnTo>
                    <a:pt x="320" y="94"/>
                  </a:lnTo>
                  <a:lnTo>
                    <a:pt x="324" y="94"/>
                  </a:lnTo>
                  <a:lnTo>
                    <a:pt x="328" y="94"/>
                  </a:lnTo>
                  <a:lnTo>
                    <a:pt x="334" y="94"/>
                  </a:lnTo>
                  <a:lnTo>
                    <a:pt x="338" y="94"/>
                  </a:lnTo>
                  <a:lnTo>
                    <a:pt x="340" y="90"/>
                  </a:lnTo>
                  <a:lnTo>
                    <a:pt x="342" y="86"/>
                  </a:lnTo>
                  <a:lnTo>
                    <a:pt x="344" y="84"/>
                  </a:lnTo>
                  <a:lnTo>
                    <a:pt x="344" y="82"/>
                  </a:lnTo>
                  <a:lnTo>
                    <a:pt x="346" y="82"/>
                  </a:lnTo>
                  <a:lnTo>
                    <a:pt x="348" y="80"/>
                  </a:lnTo>
                  <a:lnTo>
                    <a:pt x="350" y="78"/>
                  </a:lnTo>
                  <a:lnTo>
                    <a:pt x="354" y="78"/>
                  </a:lnTo>
                  <a:lnTo>
                    <a:pt x="356" y="76"/>
                  </a:lnTo>
                  <a:lnTo>
                    <a:pt x="358" y="74"/>
                  </a:lnTo>
                  <a:lnTo>
                    <a:pt x="360" y="74"/>
                  </a:lnTo>
                  <a:lnTo>
                    <a:pt x="362" y="72"/>
                  </a:lnTo>
                  <a:lnTo>
                    <a:pt x="364" y="72"/>
                  </a:lnTo>
                  <a:lnTo>
                    <a:pt x="368" y="72"/>
                  </a:lnTo>
                  <a:lnTo>
                    <a:pt x="370" y="72"/>
                  </a:lnTo>
                  <a:lnTo>
                    <a:pt x="374" y="72"/>
                  </a:lnTo>
                  <a:lnTo>
                    <a:pt x="378" y="72"/>
                  </a:lnTo>
                  <a:lnTo>
                    <a:pt x="380" y="72"/>
                  </a:lnTo>
                  <a:lnTo>
                    <a:pt x="382" y="72"/>
                  </a:lnTo>
                  <a:lnTo>
                    <a:pt x="386" y="72"/>
                  </a:lnTo>
                  <a:lnTo>
                    <a:pt x="388" y="74"/>
                  </a:lnTo>
                  <a:lnTo>
                    <a:pt x="390" y="74"/>
                  </a:lnTo>
                  <a:lnTo>
                    <a:pt x="392" y="76"/>
                  </a:lnTo>
                  <a:lnTo>
                    <a:pt x="394" y="76"/>
                  </a:lnTo>
                  <a:lnTo>
                    <a:pt x="396" y="78"/>
                  </a:lnTo>
                  <a:lnTo>
                    <a:pt x="398" y="80"/>
                  </a:lnTo>
                  <a:lnTo>
                    <a:pt x="400" y="80"/>
                  </a:lnTo>
                  <a:lnTo>
                    <a:pt x="402" y="82"/>
                  </a:lnTo>
                  <a:lnTo>
                    <a:pt x="404" y="84"/>
                  </a:lnTo>
                  <a:lnTo>
                    <a:pt x="404" y="86"/>
                  </a:lnTo>
                  <a:lnTo>
                    <a:pt x="406" y="88"/>
                  </a:lnTo>
                  <a:lnTo>
                    <a:pt x="408" y="90"/>
                  </a:lnTo>
                  <a:lnTo>
                    <a:pt x="410" y="94"/>
                  </a:lnTo>
                  <a:lnTo>
                    <a:pt x="412" y="9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 name="Freeform 39">
              <a:extLst>
                <a:ext uri="{FF2B5EF4-FFF2-40B4-BE49-F238E27FC236}">
                  <a16:creationId xmlns:a16="http://schemas.microsoft.com/office/drawing/2014/main" id="{A317E3BD-3DCF-43DD-A281-772536B2E63F}"/>
                </a:ext>
              </a:extLst>
            </p:cNvPr>
            <p:cNvSpPr>
              <a:spLocks/>
            </p:cNvSpPr>
            <p:nvPr/>
          </p:nvSpPr>
          <p:spPr bwMode="auto">
            <a:xfrm>
              <a:off x="5952789" y="3672785"/>
              <a:ext cx="713615" cy="737864"/>
            </a:xfrm>
            <a:custGeom>
              <a:avLst/>
              <a:gdLst>
                <a:gd name="T0" fmla="*/ 408 w 412"/>
                <a:gd name="T1" fmla="*/ 108 h 426"/>
                <a:gd name="T2" fmla="*/ 388 w 412"/>
                <a:gd name="T3" fmla="*/ 120 h 426"/>
                <a:gd name="T4" fmla="*/ 374 w 412"/>
                <a:gd name="T5" fmla="*/ 150 h 426"/>
                <a:gd name="T6" fmla="*/ 360 w 412"/>
                <a:gd name="T7" fmla="*/ 168 h 426"/>
                <a:gd name="T8" fmla="*/ 352 w 412"/>
                <a:gd name="T9" fmla="*/ 184 h 426"/>
                <a:gd name="T10" fmla="*/ 346 w 412"/>
                <a:gd name="T11" fmla="*/ 150 h 426"/>
                <a:gd name="T12" fmla="*/ 330 w 412"/>
                <a:gd name="T13" fmla="*/ 134 h 426"/>
                <a:gd name="T14" fmla="*/ 302 w 412"/>
                <a:gd name="T15" fmla="*/ 122 h 426"/>
                <a:gd name="T16" fmla="*/ 290 w 412"/>
                <a:gd name="T17" fmla="*/ 122 h 426"/>
                <a:gd name="T18" fmla="*/ 282 w 412"/>
                <a:gd name="T19" fmla="*/ 146 h 426"/>
                <a:gd name="T20" fmla="*/ 294 w 412"/>
                <a:gd name="T21" fmla="*/ 152 h 426"/>
                <a:gd name="T22" fmla="*/ 296 w 412"/>
                <a:gd name="T23" fmla="*/ 180 h 426"/>
                <a:gd name="T24" fmla="*/ 276 w 412"/>
                <a:gd name="T25" fmla="*/ 198 h 426"/>
                <a:gd name="T26" fmla="*/ 276 w 412"/>
                <a:gd name="T27" fmla="*/ 216 h 426"/>
                <a:gd name="T28" fmla="*/ 262 w 412"/>
                <a:gd name="T29" fmla="*/ 232 h 426"/>
                <a:gd name="T30" fmla="*/ 244 w 412"/>
                <a:gd name="T31" fmla="*/ 242 h 426"/>
                <a:gd name="T32" fmla="*/ 224 w 412"/>
                <a:gd name="T33" fmla="*/ 260 h 426"/>
                <a:gd name="T34" fmla="*/ 210 w 412"/>
                <a:gd name="T35" fmla="*/ 276 h 426"/>
                <a:gd name="T36" fmla="*/ 190 w 412"/>
                <a:gd name="T37" fmla="*/ 296 h 426"/>
                <a:gd name="T38" fmla="*/ 172 w 412"/>
                <a:gd name="T39" fmla="*/ 310 h 426"/>
                <a:gd name="T40" fmla="*/ 180 w 412"/>
                <a:gd name="T41" fmla="*/ 352 h 426"/>
                <a:gd name="T42" fmla="*/ 172 w 412"/>
                <a:gd name="T43" fmla="*/ 360 h 426"/>
                <a:gd name="T44" fmla="*/ 178 w 412"/>
                <a:gd name="T45" fmla="*/ 382 h 426"/>
                <a:gd name="T46" fmla="*/ 164 w 412"/>
                <a:gd name="T47" fmla="*/ 410 h 426"/>
                <a:gd name="T48" fmla="*/ 144 w 412"/>
                <a:gd name="T49" fmla="*/ 426 h 426"/>
                <a:gd name="T50" fmla="*/ 132 w 412"/>
                <a:gd name="T51" fmla="*/ 420 h 426"/>
                <a:gd name="T52" fmla="*/ 124 w 412"/>
                <a:gd name="T53" fmla="*/ 388 h 426"/>
                <a:gd name="T54" fmla="*/ 96 w 412"/>
                <a:gd name="T55" fmla="*/ 318 h 426"/>
                <a:gd name="T56" fmla="*/ 74 w 412"/>
                <a:gd name="T57" fmla="*/ 278 h 426"/>
                <a:gd name="T58" fmla="*/ 70 w 412"/>
                <a:gd name="T59" fmla="*/ 224 h 426"/>
                <a:gd name="T60" fmla="*/ 62 w 412"/>
                <a:gd name="T61" fmla="*/ 186 h 426"/>
                <a:gd name="T62" fmla="*/ 58 w 412"/>
                <a:gd name="T63" fmla="*/ 190 h 426"/>
                <a:gd name="T64" fmla="*/ 52 w 412"/>
                <a:gd name="T65" fmla="*/ 206 h 426"/>
                <a:gd name="T66" fmla="*/ 30 w 412"/>
                <a:gd name="T67" fmla="*/ 208 h 426"/>
                <a:gd name="T68" fmla="*/ 12 w 412"/>
                <a:gd name="T69" fmla="*/ 188 h 426"/>
                <a:gd name="T70" fmla="*/ 20 w 412"/>
                <a:gd name="T71" fmla="*/ 176 h 426"/>
                <a:gd name="T72" fmla="*/ 12 w 412"/>
                <a:gd name="T73" fmla="*/ 176 h 426"/>
                <a:gd name="T74" fmla="*/ 2 w 412"/>
                <a:gd name="T75" fmla="*/ 162 h 426"/>
                <a:gd name="T76" fmla="*/ 24 w 412"/>
                <a:gd name="T77" fmla="*/ 156 h 426"/>
                <a:gd name="T78" fmla="*/ 40 w 412"/>
                <a:gd name="T79" fmla="*/ 152 h 426"/>
                <a:gd name="T80" fmla="*/ 34 w 412"/>
                <a:gd name="T81" fmla="*/ 132 h 426"/>
                <a:gd name="T82" fmla="*/ 12 w 412"/>
                <a:gd name="T83" fmla="*/ 110 h 426"/>
                <a:gd name="T84" fmla="*/ 22 w 412"/>
                <a:gd name="T85" fmla="*/ 88 h 426"/>
                <a:gd name="T86" fmla="*/ 44 w 412"/>
                <a:gd name="T87" fmla="*/ 94 h 426"/>
                <a:gd name="T88" fmla="*/ 54 w 412"/>
                <a:gd name="T89" fmla="*/ 90 h 426"/>
                <a:gd name="T90" fmla="*/ 60 w 412"/>
                <a:gd name="T91" fmla="*/ 70 h 426"/>
                <a:gd name="T92" fmla="*/ 76 w 412"/>
                <a:gd name="T93" fmla="*/ 48 h 426"/>
                <a:gd name="T94" fmla="*/ 88 w 412"/>
                <a:gd name="T95" fmla="*/ 34 h 426"/>
                <a:gd name="T96" fmla="*/ 100 w 412"/>
                <a:gd name="T97" fmla="*/ 2 h 426"/>
                <a:gd name="T98" fmla="*/ 122 w 412"/>
                <a:gd name="T99" fmla="*/ 2 h 426"/>
                <a:gd name="T100" fmla="*/ 134 w 412"/>
                <a:gd name="T101" fmla="*/ 14 h 426"/>
                <a:gd name="T102" fmla="*/ 134 w 412"/>
                <a:gd name="T103" fmla="*/ 36 h 426"/>
                <a:gd name="T104" fmla="*/ 158 w 412"/>
                <a:gd name="T105" fmla="*/ 42 h 426"/>
                <a:gd name="T106" fmla="*/ 170 w 412"/>
                <a:gd name="T107" fmla="*/ 76 h 426"/>
                <a:gd name="T108" fmla="*/ 186 w 412"/>
                <a:gd name="T109" fmla="*/ 94 h 426"/>
                <a:gd name="T110" fmla="*/ 224 w 412"/>
                <a:gd name="T111" fmla="*/ 106 h 426"/>
                <a:gd name="T112" fmla="*/ 250 w 412"/>
                <a:gd name="T113" fmla="*/ 116 h 426"/>
                <a:gd name="T114" fmla="*/ 276 w 412"/>
                <a:gd name="T115" fmla="*/ 116 h 426"/>
                <a:gd name="T116" fmla="*/ 290 w 412"/>
                <a:gd name="T117" fmla="*/ 102 h 426"/>
                <a:gd name="T118" fmla="*/ 324 w 412"/>
                <a:gd name="T119" fmla="*/ 94 h 426"/>
                <a:gd name="T120" fmla="*/ 354 w 412"/>
                <a:gd name="T121" fmla="*/ 78 h 426"/>
                <a:gd name="T122" fmla="*/ 382 w 412"/>
                <a:gd name="T123" fmla="*/ 72 h 426"/>
                <a:gd name="T124" fmla="*/ 404 w 412"/>
                <a:gd name="T125" fmla="*/ 8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2" h="426">
                  <a:moveTo>
                    <a:pt x="412" y="96"/>
                  </a:moveTo>
                  <a:lnTo>
                    <a:pt x="412" y="96"/>
                  </a:lnTo>
                  <a:lnTo>
                    <a:pt x="412" y="98"/>
                  </a:lnTo>
                  <a:lnTo>
                    <a:pt x="412" y="100"/>
                  </a:lnTo>
                  <a:lnTo>
                    <a:pt x="412" y="102"/>
                  </a:lnTo>
                  <a:lnTo>
                    <a:pt x="412" y="104"/>
                  </a:lnTo>
                  <a:lnTo>
                    <a:pt x="410" y="104"/>
                  </a:lnTo>
                  <a:lnTo>
                    <a:pt x="410" y="106"/>
                  </a:lnTo>
                  <a:lnTo>
                    <a:pt x="410" y="106"/>
                  </a:lnTo>
                  <a:lnTo>
                    <a:pt x="410" y="106"/>
                  </a:lnTo>
                  <a:lnTo>
                    <a:pt x="408" y="108"/>
                  </a:lnTo>
                  <a:lnTo>
                    <a:pt x="406" y="108"/>
                  </a:lnTo>
                  <a:lnTo>
                    <a:pt x="404" y="110"/>
                  </a:lnTo>
                  <a:lnTo>
                    <a:pt x="402" y="110"/>
                  </a:lnTo>
                  <a:lnTo>
                    <a:pt x="398" y="112"/>
                  </a:lnTo>
                  <a:lnTo>
                    <a:pt x="396" y="112"/>
                  </a:lnTo>
                  <a:lnTo>
                    <a:pt x="394" y="114"/>
                  </a:lnTo>
                  <a:lnTo>
                    <a:pt x="392" y="114"/>
                  </a:lnTo>
                  <a:lnTo>
                    <a:pt x="392" y="114"/>
                  </a:lnTo>
                  <a:lnTo>
                    <a:pt x="390" y="116"/>
                  </a:lnTo>
                  <a:lnTo>
                    <a:pt x="388" y="118"/>
                  </a:lnTo>
                  <a:lnTo>
                    <a:pt x="388" y="120"/>
                  </a:lnTo>
                  <a:lnTo>
                    <a:pt x="386" y="122"/>
                  </a:lnTo>
                  <a:lnTo>
                    <a:pt x="382" y="126"/>
                  </a:lnTo>
                  <a:lnTo>
                    <a:pt x="382" y="128"/>
                  </a:lnTo>
                  <a:lnTo>
                    <a:pt x="380" y="130"/>
                  </a:lnTo>
                  <a:lnTo>
                    <a:pt x="380" y="132"/>
                  </a:lnTo>
                  <a:lnTo>
                    <a:pt x="378" y="134"/>
                  </a:lnTo>
                  <a:lnTo>
                    <a:pt x="378" y="140"/>
                  </a:lnTo>
                  <a:lnTo>
                    <a:pt x="376" y="142"/>
                  </a:lnTo>
                  <a:lnTo>
                    <a:pt x="376" y="146"/>
                  </a:lnTo>
                  <a:lnTo>
                    <a:pt x="376" y="148"/>
                  </a:lnTo>
                  <a:lnTo>
                    <a:pt x="374" y="150"/>
                  </a:lnTo>
                  <a:lnTo>
                    <a:pt x="372" y="150"/>
                  </a:lnTo>
                  <a:lnTo>
                    <a:pt x="372" y="152"/>
                  </a:lnTo>
                  <a:lnTo>
                    <a:pt x="368" y="156"/>
                  </a:lnTo>
                  <a:lnTo>
                    <a:pt x="366" y="158"/>
                  </a:lnTo>
                  <a:lnTo>
                    <a:pt x="364" y="160"/>
                  </a:lnTo>
                  <a:lnTo>
                    <a:pt x="362" y="162"/>
                  </a:lnTo>
                  <a:lnTo>
                    <a:pt x="362" y="162"/>
                  </a:lnTo>
                  <a:lnTo>
                    <a:pt x="362" y="164"/>
                  </a:lnTo>
                  <a:lnTo>
                    <a:pt x="362" y="164"/>
                  </a:lnTo>
                  <a:lnTo>
                    <a:pt x="360" y="166"/>
                  </a:lnTo>
                  <a:lnTo>
                    <a:pt x="360" y="168"/>
                  </a:lnTo>
                  <a:lnTo>
                    <a:pt x="360" y="170"/>
                  </a:lnTo>
                  <a:lnTo>
                    <a:pt x="360" y="176"/>
                  </a:lnTo>
                  <a:lnTo>
                    <a:pt x="360" y="180"/>
                  </a:lnTo>
                  <a:lnTo>
                    <a:pt x="360" y="184"/>
                  </a:lnTo>
                  <a:lnTo>
                    <a:pt x="362" y="188"/>
                  </a:lnTo>
                  <a:lnTo>
                    <a:pt x="362" y="192"/>
                  </a:lnTo>
                  <a:lnTo>
                    <a:pt x="360" y="192"/>
                  </a:lnTo>
                  <a:lnTo>
                    <a:pt x="358" y="190"/>
                  </a:lnTo>
                  <a:lnTo>
                    <a:pt x="354" y="186"/>
                  </a:lnTo>
                  <a:lnTo>
                    <a:pt x="354" y="186"/>
                  </a:lnTo>
                  <a:lnTo>
                    <a:pt x="352" y="184"/>
                  </a:lnTo>
                  <a:lnTo>
                    <a:pt x="352" y="184"/>
                  </a:lnTo>
                  <a:lnTo>
                    <a:pt x="352" y="182"/>
                  </a:lnTo>
                  <a:lnTo>
                    <a:pt x="350" y="180"/>
                  </a:lnTo>
                  <a:lnTo>
                    <a:pt x="350" y="176"/>
                  </a:lnTo>
                  <a:lnTo>
                    <a:pt x="348" y="172"/>
                  </a:lnTo>
                  <a:lnTo>
                    <a:pt x="348" y="166"/>
                  </a:lnTo>
                  <a:lnTo>
                    <a:pt x="346" y="160"/>
                  </a:lnTo>
                  <a:lnTo>
                    <a:pt x="346" y="158"/>
                  </a:lnTo>
                  <a:lnTo>
                    <a:pt x="346" y="156"/>
                  </a:lnTo>
                  <a:lnTo>
                    <a:pt x="346" y="152"/>
                  </a:lnTo>
                  <a:lnTo>
                    <a:pt x="346" y="150"/>
                  </a:lnTo>
                  <a:lnTo>
                    <a:pt x="346" y="146"/>
                  </a:lnTo>
                  <a:lnTo>
                    <a:pt x="344" y="144"/>
                  </a:lnTo>
                  <a:lnTo>
                    <a:pt x="344" y="144"/>
                  </a:lnTo>
                  <a:lnTo>
                    <a:pt x="344" y="144"/>
                  </a:lnTo>
                  <a:lnTo>
                    <a:pt x="344" y="142"/>
                  </a:lnTo>
                  <a:lnTo>
                    <a:pt x="342" y="142"/>
                  </a:lnTo>
                  <a:lnTo>
                    <a:pt x="340" y="140"/>
                  </a:lnTo>
                  <a:lnTo>
                    <a:pt x="338" y="138"/>
                  </a:lnTo>
                  <a:lnTo>
                    <a:pt x="336" y="138"/>
                  </a:lnTo>
                  <a:lnTo>
                    <a:pt x="334" y="136"/>
                  </a:lnTo>
                  <a:lnTo>
                    <a:pt x="330" y="134"/>
                  </a:lnTo>
                  <a:lnTo>
                    <a:pt x="326" y="134"/>
                  </a:lnTo>
                  <a:lnTo>
                    <a:pt x="324" y="132"/>
                  </a:lnTo>
                  <a:lnTo>
                    <a:pt x="322" y="132"/>
                  </a:lnTo>
                  <a:lnTo>
                    <a:pt x="318" y="132"/>
                  </a:lnTo>
                  <a:lnTo>
                    <a:pt x="314" y="132"/>
                  </a:lnTo>
                  <a:lnTo>
                    <a:pt x="312" y="130"/>
                  </a:lnTo>
                  <a:lnTo>
                    <a:pt x="312" y="130"/>
                  </a:lnTo>
                  <a:lnTo>
                    <a:pt x="310" y="130"/>
                  </a:lnTo>
                  <a:lnTo>
                    <a:pt x="310" y="130"/>
                  </a:lnTo>
                  <a:lnTo>
                    <a:pt x="308" y="128"/>
                  </a:lnTo>
                  <a:lnTo>
                    <a:pt x="302" y="122"/>
                  </a:lnTo>
                  <a:lnTo>
                    <a:pt x="300" y="120"/>
                  </a:lnTo>
                  <a:lnTo>
                    <a:pt x="298" y="120"/>
                  </a:lnTo>
                  <a:lnTo>
                    <a:pt x="298" y="118"/>
                  </a:lnTo>
                  <a:lnTo>
                    <a:pt x="296" y="118"/>
                  </a:lnTo>
                  <a:lnTo>
                    <a:pt x="296" y="118"/>
                  </a:lnTo>
                  <a:lnTo>
                    <a:pt x="294" y="118"/>
                  </a:lnTo>
                  <a:lnTo>
                    <a:pt x="294" y="118"/>
                  </a:lnTo>
                  <a:lnTo>
                    <a:pt x="292" y="118"/>
                  </a:lnTo>
                  <a:lnTo>
                    <a:pt x="292" y="118"/>
                  </a:lnTo>
                  <a:lnTo>
                    <a:pt x="290" y="120"/>
                  </a:lnTo>
                  <a:lnTo>
                    <a:pt x="290" y="122"/>
                  </a:lnTo>
                  <a:lnTo>
                    <a:pt x="288" y="122"/>
                  </a:lnTo>
                  <a:lnTo>
                    <a:pt x="286" y="124"/>
                  </a:lnTo>
                  <a:lnTo>
                    <a:pt x="286" y="128"/>
                  </a:lnTo>
                  <a:lnTo>
                    <a:pt x="284" y="130"/>
                  </a:lnTo>
                  <a:lnTo>
                    <a:pt x="284" y="132"/>
                  </a:lnTo>
                  <a:lnTo>
                    <a:pt x="284" y="134"/>
                  </a:lnTo>
                  <a:lnTo>
                    <a:pt x="282" y="136"/>
                  </a:lnTo>
                  <a:lnTo>
                    <a:pt x="282" y="140"/>
                  </a:lnTo>
                  <a:lnTo>
                    <a:pt x="282" y="142"/>
                  </a:lnTo>
                  <a:lnTo>
                    <a:pt x="282" y="144"/>
                  </a:lnTo>
                  <a:lnTo>
                    <a:pt x="282" y="146"/>
                  </a:lnTo>
                  <a:lnTo>
                    <a:pt x="282" y="148"/>
                  </a:lnTo>
                  <a:lnTo>
                    <a:pt x="284" y="150"/>
                  </a:lnTo>
                  <a:lnTo>
                    <a:pt x="284" y="150"/>
                  </a:lnTo>
                  <a:lnTo>
                    <a:pt x="284" y="150"/>
                  </a:lnTo>
                  <a:lnTo>
                    <a:pt x="286" y="150"/>
                  </a:lnTo>
                  <a:lnTo>
                    <a:pt x="286" y="150"/>
                  </a:lnTo>
                  <a:lnTo>
                    <a:pt x="288" y="150"/>
                  </a:lnTo>
                  <a:lnTo>
                    <a:pt x="290" y="150"/>
                  </a:lnTo>
                  <a:lnTo>
                    <a:pt x="292" y="150"/>
                  </a:lnTo>
                  <a:lnTo>
                    <a:pt x="292" y="152"/>
                  </a:lnTo>
                  <a:lnTo>
                    <a:pt x="294" y="152"/>
                  </a:lnTo>
                  <a:lnTo>
                    <a:pt x="294" y="152"/>
                  </a:lnTo>
                  <a:lnTo>
                    <a:pt x="294" y="152"/>
                  </a:lnTo>
                  <a:lnTo>
                    <a:pt x="294" y="154"/>
                  </a:lnTo>
                  <a:lnTo>
                    <a:pt x="296" y="156"/>
                  </a:lnTo>
                  <a:lnTo>
                    <a:pt x="296" y="158"/>
                  </a:lnTo>
                  <a:lnTo>
                    <a:pt x="296" y="162"/>
                  </a:lnTo>
                  <a:lnTo>
                    <a:pt x="296" y="164"/>
                  </a:lnTo>
                  <a:lnTo>
                    <a:pt x="296" y="168"/>
                  </a:lnTo>
                  <a:lnTo>
                    <a:pt x="296" y="170"/>
                  </a:lnTo>
                  <a:lnTo>
                    <a:pt x="296" y="174"/>
                  </a:lnTo>
                  <a:lnTo>
                    <a:pt x="296" y="180"/>
                  </a:lnTo>
                  <a:lnTo>
                    <a:pt x="296" y="186"/>
                  </a:lnTo>
                  <a:lnTo>
                    <a:pt x="294" y="190"/>
                  </a:lnTo>
                  <a:lnTo>
                    <a:pt x="290" y="192"/>
                  </a:lnTo>
                  <a:lnTo>
                    <a:pt x="288" y="192"/>
                  </a:lnTo>
                  <a:lnTo>
                    <a:pt x="286" y="192"/>
                  </a:lnTo>
                  <a:lnTo>
                    <a:pt x="284" y="192"/>
                  </a:lnTo>
                  <a:lnTo>
                    <a:pt x="282" y="194"/>
                  </a:lnTo>
                  <a:lnTo>
                    <a:pt x="280" y="194"/>
                  </a:lnTo>
                  <a:lnTo>
                    <a:pt x="278" y="196"/>
                  </a:lnTo>
                  <a:lnTo>
                    <a:pt x="276" y="196"/>
                  </a:lnTo>
                  <a:lnTo>
                    <a:pt x="276" y="198"/>
                  </a:lnTo>
                  <a:lnTo>
                    <a:pt x="274" y="198"/>
                  </a:lnTo>
                  <a:lnTo>
                    <a:pt x="274" y="200"/>
                  </a:lnTo>
                  <a:lnTo>
                    <a:pt x="274" y="200"/>
                  </a:lnTo>
                  <a:lnTo>
                    <a:pt x="274" y="202"/>
                  </a:lnTo>
                  <a:lnTo>
                    <a:pt x="274" y="202"/>
                  </a:lnTo>
                  <a:lnTo>
                    <a:pt x="274" y="206"/>
                  </a:lnTo>
                  <a:lnTo>
                    <a:pt x="274" y="208"/>
                  </a:lnTo>
                  <a:lnTo>
                    <a:pt x="276" y="210"/>
                  </a:lnTo>
                  <a:lnTo>
                    <a:pt x="276" y="214"/>
                  </a:lnTo>
                  <a:lnTo>
                    <a:pt x="276" y="214"/>
                  </a:lnTo>
                  <a:lnTo>
                    <a:pt x="276" y="216"/>
                  </a:lnTo>
                  <a:lnTo>
                    <a:pt x="276" y="216"/>
                  </a:lnTo>
                  <a:lnTo>
                    <a:pt x="274" y="218"/>
                  </a:lnTo>
                  <a:lnTo>
                    <a:pt x="274" y="218"/>
                  </a:lnTo>
                  <a:lnTo>
                    <a:pt x="274" y="218"/>
                  </a:lnTo>
                  <a:lnTo>
                    <a:pt x="272" y="220"/>
                  </a:lnTo>
                  <a:lnTo>
                    <a:pt x="270" y="220"/>
                  </a:lnTo>
                  <a:lnTo>
                    <a:pt x="270" y="220"/>
                  </a:lnTo>
                  <a:lnTo>
                    <a:pt x="268" y="222"/>
                  </a:lnTo>
                  <a:lnTo>
                    <a:pt x="266" y="224"/>
                  </a:lnTo>
                  <a:lnTo>
                    <a:pt x="264" y="230"/>
                  </a:lnTo>
                  <a:lnTo>
                    <a:pt x="262" y="232"/>
                  </a:lnTo>
                  <a:lnTo>
                    <a:pt x="262" y="234"/>
                  </a:lnTo>
                  <a:lnTo>
                    <a:pt x="260" y="236"/>
                  </a:lnTo>
                  <a:lnTo>
                    <a:pt x="260" y="236"/>
                  </a:lnTo>
                  <a:lnTo>
                    <a:pt x="258" y="238"/>
                  </a:lnTo>
                  <a:lnTo>
                    <a:pt x="258" y="238"/>
                  </a:lnTo>
                  <a:lnTo>
                    <a:pt x="256" y="238"/>
                  </a:lnTo>
                  <a:lnTo>
                    <a:pt x="254" y="240"/>
                  </a:lnTo>
                  <a:lnTo>
                    <a:pt x="252" y="240"/>
                  </a:lnTo>
                  <a:lnTo>
                    <a:pt x="250" y="242"/>
                  </a:lnTo>
                  <a:lnTo>
                    <a:pt x="248" y="242"/>
                  </a:lnTo>
                  <a:lnTo>
                    <a:pt x="244" y="242"/>
                  </a:lnTo>
                  <a:lnTo>
                    <a:pt x="242" y="244"/>
                  </a:lnTo>
                  <a:lnTo>
                    <a:pt x="240" y="244"/>
                  </a:lnTo>
                  <a:lnTo>
                    <a:pt x="240" y="246"/>
                  </a:lnTo>
                  <a:lnTo>
                    <a:pt x="238" y="248"/>
                  </a:lnTo>
                  <a:lnTo>
                    <a:pt x="236" y="252"/>
                  </a:lnTo>
                  <a:lnTo>
                    <a:pt x="234" y="254"/>
                  </a:lnTo>
                  <a:lnTo>
                    <a:pt x="232" y="256"/>
                  </a:lnTo>
                  <a:lnTo>
                    <a:pt x="230" y="258"/>
                  </a:lnTo>
                  <a:lnTo>
                    <a:pt x="230" y="258"/>
                  </a:lnTo>
                  <a:lnTo>
                    <a:pt x="228" y="258"/>
                  </a:lnTo>
                  <a:lnTo>
                    <a:pt x="224" y="260"/>
                  </a:lnTo>
                  <a:lnTo>
                    <a:pt x="220" y="262"/>
                  </a:lnTo>
                  <a:lnTo>
                    <a:pt x="218" y="262"/>
                  </a:lnTo>
                  <a:lnTo>
                    <a:pt x="218" y="262"/>
                  </a:lnTo>
                  <a:lnTo>
                    <a:pt x="216" y="264"/>
                  </a:lnTo>
                  <a:lnTo>
                    <a:pt x="216" y="264"/>
                  </a:lnTo>
                  <a:lnTo>
                    <a:pt x="214" y="264"/>
                  </a:lnTo>
                  <a:lnTo>
                    <a:pt x="214" y="266"/>
                  </a:lnTo>
                  <a:lnTo>
                    <a:pt x="214" y="268"/>
                  </a:lnTo>
                  <a:lnTo>
                    <a:pt x="212" y="270"/>
                  </a:lnTo>
                  <a:lnTo>
                    <a:pt x="212" y="272"/>
                  </a:lnTo>
                  <a:lnTo>
                    <a:pt x="210" y="276"/>
                  </a:lnTo>
                  <a:lnTo>
                    <a:pt x="210" y="278"/>
                  </a:lnTo>
                  <a:lnTo>
                    <a:pt x="210" y="280"/>
                  </a:lnTo>
                  <a:lnTo>
                    <a:pt x="208" y="282"/>
                  </a:lnTo>
                  <a:lnTo>
                    <a:pt x="208" y="282"/>
                  </a:lnTo>
                  <a:lnTo>
                    <a:pt x="206" y="284"/>
                  </a:lnTo>
                  <a:lnTo>
                    <a:pt x="206" y="286"/>
                  </a:lnTo>
                  <a:lnTo>
                    <a:pt x="202" y="286"/>
                  </a:lnTo>
                  <a:lnTo>
                    <a:pt x="200" y="288"/>
                  </a:lnTo>
                  <a:lnTo>
                    <a:pt x="196" y="292"/>
                  </a:lnTo>
                  <a:lnTo>
                    <a:pt x="192" y="294"/>
                  </a:lnTo>
                  <a:lnTo>
                    <a:pt x="190" y="296"/>
                  </a:lnTo>
                  <a:lnTo>
                    <a:pt x="188" y="296"/>
                  </a:lnTo>
                  <a:lnTo>
                    <a:pt x="182" y="300"/>
                  </a:lnTo>
                  <a:lnTo>
                    <a:pt x="180" y="300"/>
                  </a:lnTo>
                  <a:lnTo>
                    <a:pt x="176" y="302"/>
                  </a:lnTo>
                  <a:lnTo>
                    <a:pt x="176" y="304"/>
                  </a:lnTo>
                  <a:lnTo>
                    <a:pt x="174" y="304"/>
                  </a:lnTo>
                  <a:lnTo>
                    <a:pt x="174" y="306"/>
                  </a:lnTo>
                  <a:lnTo>
                    <a:pt x="172" y="306"/>
                  </a:lnTo>
                  <a:lnTo>
                    <a:pt x="172" y="308"/>
                  </a:lnTo>
                  <a:lnTo>
                    <a:pt x="172" y="308"/>
                  </a:lnTo>
                  <a:lnTo>
                    <a:pt x="172" y="310"/>
                  </a:lnTo>
                  <a:lnTo>
                    <a:pt x="172" y="312"/>
                  </a:lnTo>
                  <a:lnTo>
                    <a:pt x="172" y="314"/>
                  </a:lnTo>
                  <a:lnTo>
                    <a:pt x="172" y="318"/>
                  </a:lnTo>
                  <a:lnTo>
                    <a:pt x="172" y="322"/>
                  </a:lnTo>
                  <a:lnTo>
                    <a:pt x="174" y="324"/>
                  </a:lnTo>
                  <a:lnTo>
                    <a:pt x="176" y="332"/>
                  </a:lnTo>
                  <a:lnTo>
                    <a:pt x="178" y="340"/>
                  </a:lnTo>
                  <a:lnTo>
                    <a:pt x="178" y="344"/>
                  </a:lnTo>
                  <a:lnTo>
                    <a:pt x="180" y="346"/>
                  </a:lnTo>
                  <a:lnTo>
                    <a:pt x="180" y="350"/>
                  </a:lnTo>
                  <a:lnTo>
                    <a:pt x="180" y="352"/>
                  </a:lnTo>
                  <a:lnTo>
                    <a:pt x="180" y="352"/>
                  </a:lnTo>
                  <a:lnTo>
                    <a:pt x="180" y="354"/>
                  </a:lnTo>
                  <a:lnTo>
                    <a:pt x="178" y="356"/>
                  </a:lnTo>
                  <a:lnTo>
                    <a:pt x="178" y="356"/>
                  </a:lnTo>
                  <a:lnTo>
                    <a:pt x="178" y="358"/>
                  </a:lnTo>
                  <a:lnTo>
                    <a:pt x="178" y="358"/>
                  </a:lnTo>
                  <a:lnTo>
                    <a:pt x="176" y="358"/>
                  </a:lnTo>
                  <a:lnTo>
                    <a:pt x="174" y="360"/>
                  </a:lnTo>
                  <a:lnTo>
                    <a:pt x="172" y="360"/>
                  </a:lnTo>
                  <a:lnTo>
                    <a:pt x="172" y="360"/>
                  </a:lnTo>
                  <a:lnTo>
                    <a:pt x="172" y="360"/>
                  </a:lnTo>
                  <a:lnTo>
                    <a:pt x="172" y="362"/>
                  </a:lnTo>
                  <a:lnTo>
                    <a:pt x="172" y="362"/>
                  </a:lnTo>
                  <a:lnTo>
                    <a:pt x="172" y="364"/>
                  </a:lnTo>
                  <a:lnTo>
                    <a:pt x="172" y="366"/>
                  </a:lnTo>
                  <a:lnTo>
                    <a:pt x="172" y="368"/>
                  </a:lnTo>
                  <a:lnTo>
                    <a:pt x="172" y="368"/>
                  </a:lnTo>
                  <a:lnTo>
                    <a:pt x="174" y="372"/>
                  </a:lnTo>
                  <a:lnTo>
                    <a:pt x="176" y="376"/>
                  </a:lnTo>
                  <a:lnTo>
                    <a:pt x="176" y="378"/>
                  </a:lnTo>
                  <a:lnTo>
                    <a:pt x="178" y="380"/>
                  </a:lnTo>
                  <a:lnTo>
                    <a:pt x="178" y="382"/>
                  </a:lnTo>
                  <a:lnTo>
                    <a:pt x="178" y="382"/>
                  </a:lnTo>
                  <a:lnTo>
                    <a:pt x="178" y="384"/>
                  </a:lnTo>
                  <a:lnTo>
                    <a:pt x="178" y="386"/>
                  </a:lnTo>
                  <a:lnTo>
                    <a:pt x="178" y="386"/>
                  </a:lnTo>
                  <a:lnTo>
                    <a:pt x="176" y="388"/>
                  </a:lnTo>
                  <a:lnTo>
                    <a:pt x="176" y="390"/>
                  </a:lnTo>
                  <a:lnTo>
                    <a:pt x="174" y="394"/>
                  </a:lnTo>
                  <a:lnTo>
                    <a:pt x="170" y="398"/>
                  </a:lnTo>
                  <a:lnTo>
                    <a:pt x="168" y="402"/>
                  </a:lnTo>
                  <a:lnTo>
                    <a:pt x="166" y="406"/>
                  </a:lnTo>
                  <a:lnTo>
                    <a:pt x="164" y="410"/>
                  </a:lnTo>
                  <a:lnTo>
                    <a:pt x="162" y="412"/>
                  </a:lnTo>
                  <a:lnTo>
                    <a:pt x="160" y="414"/>
                  </a:lnTo>
                  <a:lnTo>
                    <a:pt x="160" y="416"/>
                  </a:lnTo>
                  <a:lnTo>
                    <a:pt x="158" y="418"/>
                  </a:lnTo>
                  <a:lnTo>
                    <a:pt x="156" y="420"/>
                  </a:lnTo>
                  <a:lnTo>
                    <a:pt x="154" y="420"/>
                  </a:lnTo>
                  <a:lnTo>
                    <a:pt x="152" y="422"/>
                  </a:lnTo>
                  <a:lnTo>
                    <a:pt x="150" y="424"/>
                  </a:lnTo>
                  <a:lnTo>
                    <a:pt x="148" y="426"/>
                  </a:lnTo>
                  <a:lnTo>
                    <a:pt x="146" y="426"/>
                  </a:lnTo>
                  <a:lnTo>
                    <a:pt x="144" y="426"/>
                  </a:lnTo>
                  <a:lnTo>
                    <a:pt x="142" y="426"/>
                  </a:lnTo>
                  <a:lnTo>
                    <a:pt x="142" y="426"/>
                  </a:lnTo>
                  <a:lnTo>
                    <a:pt x="140" y="426"/>
                  </a:lnTo>
                  <a:lnTo>
                    <a:pt x="140" y="426"/>
                  </a:lnTo>
                  <a:lnTo>
                    <a:pt x="138" y="426"/>
                  </a:lnTo>
                  <a:lnTo>
                    <a:pt x="136" y="424"/>
                  </a:lnTo>
                  <a:lnTo>
                    <a:pt x="136" y="424"/>
                  </a:lnTo>
                  <a:lnTo>
                    <a:pt x="134" y="422"/>
                  </a:lnTo>
                  <a:lnTo>
                    <a:pt x="134" y="422"/>
                  </a:lnTo>
                  <a:lnTo>
                    <a:pt x="132" y="420"/>
                  </a:lnTo>
                  <a:lnTo>
                    <a:pt x="132" y="420"/>
                  </a:lnTo>
                  <a:lnTo>
                    <a:pt x="132" y="418"/>
                  </a:lnTo>
                  <a:lnTo>
                    <a:pt x="132" y="416"/>
                  </a:lnTo>
                  <a:lnTo>
                    <a:pt x="132" y="414"/>
                  </a:lnTo>
                  <a:lnTo>
                    <a:pt x="130" y="412"/>
                  </a:lnTo>
                  <a:lnTo>
                    <a:pt x="130" y="406"/>
                  </a:lnTo>
                  <a:lnTo>
                    <a:pt x="130" y="404"/>
                  </a:lnTo>
                  <a:lnTo>
                    <a:pt x="130" y="402"/>
                  </a:lnTo>
                  <a:lnTo>
                    <a:pt x="130" y="400"/>
                  </a:lnTo>
                  <a:lnTo>
                    <a:pt x="128" y="398"/>
                  </a:lnTo>
                  <a:lnTo>
                    <a:pt x="126" y="392"/>
                  </a:lnTo>
                  <a:lnTo>
                    <a:pt x="124" y="388"/>
                  </a:lnTo>
                  <a:lnTo>
                    <a:pt x="122" y="382"/>
                  </a:lnTo>
                  <a:lnTo>
                    <a:pt x="116" y="370"/>
                  </a:lnTo>
                  <a:lnTo>
                    <a:pt x="114" y="366"/>
                  </a:lnTo>
                  <a:lnTo>
                    <a:pt x="112" y="362"/>
                  </a:lnTo>
                  <a:lnTo>
                    <a:pt x="110" y="358"/>
                  </a:lnTo>
                  <a:lnTo>
                    <a:pt x="108" y="352"/>
                  </a:lnTo>
                  <a:lnTo>
                    <a:pt x="104" y="340"/>
                  </a:lnTo>
                  <a:lnTo>
                    <a:pt x="102" y="334"/>
                  </a:lnTo>
                  <a:lnTo>
                    <a:pt x="100" y="328"/>
                  </a:lnTo>
                  <a:lnTo>
                    <a:pt x="98" y="322"/>
                  </a:lnTo>
                  <a:lnTo>
                    <a:pt x="96" y="318"/>
                  </a:lnTo>
                  <a:lnTo>
                    <a:pt x="94" y="314"/>
                  </a:lnTo>
                  <a:lnTo>
                    <a:pt x="92" y="312"/>
                  </a:lnTo>
                  <a:lnTo>
                    <a:pt x="88" y="304"/>
                  </a:lnTo>
                  <a:lnTo>
                    <a:pt x="84" y="300"/>
                  </a:lnTo>
                  <a:lnTo>
                    <a:pt x="82" y="298"/>
                  </a:lnTo>
                  <a:lnTo>
                    <a:pt x="80" y="294"/>
                  </a:lnTo>
                  <a:lnTo>
                    <a:pt x="80" y="292"/>
                  </a:lnTo>
                  <a:lnTo>
                    <a:pt x="78" y="292"/>
                  </a:lnTo>
                  <a:lnTo>
                    <a:pt x="78" y="288"/>
                  </a:lnTo>
                  <a:lnTo>
                    <a:pt x="76" y="284"/>
                  </a:lnTo>
                  <a:lnTo>
                    <a:pt x="74" y="278"/>
                  </a:lnTo>
                  <a:lnTo>
                    <a:pt x="74" y="274"/>
                  </a:lnTo>
                  <a:lnTo>
                    <a:pt x="72" y="268"/>
                  </a:lnTo>
                  <a:lnTo>
                    <a:pt x="72" y="264"/>
                  </a:lnTo>
                  <a:lnTo>
                    <a:pt x="72" y="260"/>
                  </a:lnTo>
                  <a:lnTo>
                    <a:pt x="70" y="256"/>
                  </a:lnTo>
                  <a:lnTo>
                    <a:pt x="70" y="252"/>
                  </a:lnTo>
                  <a:lnTo>
                    <a:pt x="70" y="250"/>
                  </a:lnTo>
                  <a:lnTo>
                    <a:pt x="70" y="240"/>
                  </a:lnTo>
                  <a:lnTo>
                    <a:pt x="72" y="232"/>
                  </a:lnTo>
                  <a:lnTo>
                    <a:pt x="72" y="228"/>
                  </a:lnTo>
                  <a:lnTo>
                    <a:pt x="70" y="224"/>
                  </a:lnTo>
                  <a:lnTo>
                    <a:pt x="70" y="218"/>
                  </a:lnTo>
                  <a:lnTo>
                    <a:pt x="70" y="212"/>
                  </a:lnTo>
                  <a:lnTo>
                    <a:pt x="70" y="208"/>
                  </a:lnTo>
                  <a:lnTo>
                    <a:pt x="68" y="206"/>
                  </a:lnTo>
                  <a:lnTo>
                    <a:pt x="68" y="202"/>
                  </a:lnTo>
                  <a:lnTo>
                    <a:pt x="68" y="200"/>
                  </a:lnTo>
                  <a:lnTo>
                    <a:pt x="66" y="196"/>
                  </a:lnTo>
                  <a:lnTo>
                    <a:pt x="66" y="192"/>
                  </a:lnTo>
                  <a:lnTo>
                    <a:pt x="64" y="190"/>
                  </a:lnTo>
                  <a:lnTo>
                    <a:pt x="64" y="188"/>
                  </a:lnTo>
                  <a:lnTo>
                    <a:pt x="62" y="186"/>
                  </a:lnTo>
                  <a:lnTo>
                    <a:pt x="62" y="186"/>
                  </a:lnTo>
                  <a:lnTo>
                    <a:pt x="62" y="186"/>
                  </a:lnTo>
                  <a:lnTo>
                    <a:pt x="62" y="184"/>
                  </a:lnTo>
                  <a:lnTo>
                    <a:pt x="60" y="184"/>
                  </a:lnTo>
                  <a:lnTo>
                    <a:pt x="60" y="184"/>
                  </a:lnTo>
                  <a:lnTo>
                    <a:pt x="60" y="184"/>
                  </a:lnTo>
                  <a:lnTo>
                    <a:pt x="58" y="186"/>
                  </a:lnTo>
                  <a:lnTo>
                    <a:pt x="58" y="186"/>
                  </a:lnTo>
                  <a:lnTo>
                    <a:pt x="58" y="186"/>
                  </a:lnTo>
                  <a:lnTo>
                    <a:pt x="58" y="188"/>
                  </a:lnTo>
                  <a:lnTo>
                    <a:pt x="58" y="190"/>
                  </a:lnTo>
                  <a:lnTo>
                    <a:pt x="60" y="192"/>
                  </a:lnTo>
                  <a:lnTo>
                    <a:pt x="60" y="194"/>
                  </a:lnTo>
                  <a:lnTo>
                    <a:pt x="60" y="196"/>
                  </a:lnTo>
                  <a:lnTo>
                    <a:pt x="60" y="198"/>
                  </a:lnTo>
                  <a:lnTo>
                    <a:pt x="60" y="198"/>
                  </a:lnTo>
                  <a:lnTo>
                    <a:pt x="60" y="200"/>
                  </a:lnTo>
                  <a:lnTo>
                    <a:pt x="58" y="202"/>
                  </a:lnTo>
                  <a:lnTo>
                    <a:pt x="56" y="202"/>
                  </a:lnTo>
                  <a:lnTo>
                    <a:pt x="56" y="204"/>
                  </a:lnTo>
                  <a:lnTo>
                    <a:pt x="54" y="206"/>
                  </a:lnTo>
                  <a:lnTo>
                    <a:pt x="52" y="206"/>
                  </a:lnTo>
                  <a:lnTo>
                    <a:pt x="52" y="208"/>
                  </a:lnTo>
                  <a:lnTo>
                    <a:pt x="50" y="208"/>
                  </a:lnTo>
                  <a:lnTo>
                    <a:pt x="48" y="208"/>
                  </a:lnTo>
                  <a:lnTo>
                    <a:pt x="48" y="210"/>
                  </a:lnTo>
                  <a:lnTo>
                    <a:pt x="44" y="210"/>
                  </a:lnTo>
                  <a:lnTo>
                    <a:pt x="42" y="210"/>
                  </a:lnTo>
                  <a:lnTo>
                    <a:pt x="38" y="210"/>
                  </a:lnTo>
                  <a:lnTo>
                    <a:pt x="36" y="210"/>
                  </a:lnTo>
                  <a:lnTo>
                    <a:pt x="34" y="208"/>
                  </a:lnTo>
                  <a:lnTo>
                    <a:pt x="30" y="208"/>
                  </a:lnTo>
                  <a:lnTo>
                    <a:pt x="30" y="208"/>
                  </a:lnTo>
                  <a:lnTo>
                    <a:pt x="28" y="208"/>
                  </a:lnTo>
                  <a:lnTo>
                    <a:pt x="28" y="206"/>
                  </a:lnTo>
                  <a:lnTo>
                    <a:pt x="26" y="206"/>
                  </a:lnTo>
                  <a:lnTo>
                    <a:pt x="24" y="204"/>
                  </a:lnTo>
                  <a:lnTo>
                    <a:pt x="20" y="200"/>
                  </a:lnTo>
                  <a:lnTo>
                    <a:pt x="18" y="198"/>
                  </a:lnTo>
                  <a:lnTo>
                    <a:pt x="16" y="194"/>
                  </a:lnTo>
                  <a:lnTo>
                    <a:pt x="14" y="194"/>
                  </a:lnTo>
                  <a:lnTo>
                    <a:pt x="14" y="192"/>
                  </a:lnTo>
                  <a:lnTo>
                    <a:pt x="12" y="190"/>
                  </a:lnTo>
                  <a:lnTo>
                    <a:pt x="12" y="188"/>
                  </a:lnTo>
                  <a:lnTo>
                    <a:pt x="12" y="188"/>
                  </a:lnTo>
                  <a:lnTo>
                    <a:pt x="12" y="186"/>
                  </a:lnTo>
                  <a:lnTo>
                    <a:pt x="12" y="186"/>
                  </a:lnTo>
                  <a:lnTo>
                    <a:pt x="12" y="184"/>
                  </a:lnTo>
                  <a:lnTo>
                    <a:pt x="12" y="184"/>
                  </a:lnTo>
                  <a:lnTo>
                    <a:pt x="14" y="184"/>
                  </a:lnTo>
                  <a:lnTo>
                    <a:pt x="16" y="182"/>
                  </a:lnTo>
                  <a:lnTo>
                    <a:pt x="18" y="180"/>
                  </a:lnTo>
                  <a:lnTo>
                    <a:pt x="18" y="178"/>
                  </a:lnTo>
                  <a:lnTo>
                    <a:pt x="20" y="178"/>
                  </a:lnTo>
                  <a:lnTo>
                    <a:pt x="20" y="176"/>
                  </a:lnTo>
                  <a:lnTo>
                    <a:pt x="20" y="176"/>
                  </a:lnTo>
                  <a:lnTo>
                    <a:pt x="20" y="176"/>
                  </a:lnTo>
                  <a:lnTo>
                    <a:pt x="20" y="174"/>
                  </a:lnTo>
                  <a:lnTo>
                    <a:pt x="20" y="174"/>
                  </a:lnTo>
                  <a:lnTo>
                    <a:pt x="20" y="174"/>
                  </a:lnTo>
                  <a:lnTo>
                    <a:pt x="20" y="174"/>
                  </a:lnTo>
                  <a:lnTo>
                    <a:pt x="18" y="174"/>
                  </a:lnTo>
                  <a:lnTo>
                    <a:pt x="16" y="174"/>
                  </a:lnTo>
                  <a:lnTo>
                    <a:pt x="14" y="174"/>
                  </a:lnTo>
                  <a:lnTo>
                    <a:pt x="12" y="176"/>
                  </a:lnTo>
                  <a:lnTo>
                    <a:pt x="12" y="176"/>
                  </a:lnTo>
                  <a:lnTo>
                    <a:pt x="10" y="176"/>
                  </a:lnTo>
                  <a:lnTo>
                    <a:pt x="8" y="176"/>
                  </a:lnTo>
                  <a:lnTo>
                    <a:pt x="8" y="176"/>
                  </a:lnTo>
                  <a:lnTo>
                    <a:pt x="8" y="176"/>
                  </a:lnTo>
                  <a:lnTo>
                    <a:pt x="6" y="174"/>
                  </a:lnTo>
                  <a:lnTo>
                    <a:pt x="6" y="174"/>
                  </a:lnTo>
                  <a:lnTo>
                    <a:pt x="4" y="172"/>
                  </a:lnTo>
                  <a:lnTo>
                    <a:pt x="4" y="168"/>
                  </a:lnTo>
                  <a:lnTo>
                    <a:pt x="2" y="166"/>
                  </a:lnTo>
                  <a:lnTo>
                    <a:pt x="0" y="164"/>
                  </a:lnTo>
                  <a:lnTo>
                    <a:pt x="2" y="162"/>
                  </a:lnTo>
                  <a:lnTo>
                    <a:pt x="4" y="160"/>
                  </a:lnTo>
                  <a:lnTo>
                    <a:pt x="6" y="158"/>
                  </a:lnTo>
                  <a:lnTo>
                    <a:pt x="6" y="156"/>
                  </a:lnTo>
                  <a:lnTo>
                    <a:pt x="8" y="156"/>
                  </a:lnTo>
                  <a:lnTo>
                    <a:pt x="10" y="154"/>
                  </a:lnTo>
                  <a:lnTo>
                    <a:pt x="10" y="154"/>
                  </a:lnTo>
                  <a:lnTo>
                    <a:pt x="12" y="154"/>
                  </a:lnTo>
                  <a:lnTo>
                    <a:pt x="14" y="154"/>
                  </a:lnTo>
                  <a:lnTo>
                    <a:pt x="16" y="154"/>
                  </a:lnTo>
                  <a:lnTo>
                    <a:pt x="20" y="154"/>
                  </a:lnTo>
                  <a:lnTo>
                    <a:pt x="24" y="156"/>
                  </a:lnTo>
                  <a:lnTo>
                    <a:pt x="28" y="156"/>
                  </a:lnTo>
                  <a:lnTo>
                    <a:pt x="30" y="156"/>
                  </a:lnTo>
                  <a:lnTo>
                    <a:pt x="32" y="156"/>
                  </a:lnTo>
                  <a:lnTo>
                    <a:pt x="34" y="156"/>
                  </a:lnTo>
                  <a:lnTo>
                    <a:pt x="36" y="156"/>
                  </a:lnTo>
                  <a:lnTo>
                    <a:pt x="38" y="156"/>
                  </a:lnTo>
                  <a:lnTo>
                    <a:pt x="38" y="154"/>
                  </a:lnTo>
                  <a:lnTo>
                    <a:pt x="38" y="154"/>
                  </a:lnTo>
                  <a:lnTo>
                    <a:pt x="38" y="154"/>
                  </a:lnTo>
                  <a:lnTo>
                    <a:pt x="40" y="154"/>
                  </a:lnTo>
                  <a:lnTo>
                    <a:pt x="40" y="152"/>
                  </a:lnTo>
                  <a:lnTo>
                    <a:pt x="40" y="150"/>
                  </a:lnTo>
                  <a:lnTo>
                    <a:pt x="40" y="148"/>
                  </a:lnTo>
                  <a:lnTo>
                    <a:pt x="40" y="146"/>
                  </a:lnTo>
                  <a:lnTo>
                    <a:pt x="40" y="144"/>
                  </a:lnTo>
                  <a:lnTo>
                    <a:pt x="40" y="144"/>
                  </a:lnTo>
                  <a:lnTo>
                    <a:pt x="40" y="142"/>
                  </a:lnTo>
                  <a:lnTo>
                    <a:pt x="40" y="140"/>
                  </a:lnTo>
                  <a:lnTo>
                    <a:pt x="38" y="140"/>
                  </a:lnTo>
                  <a:lnTo>
                    <a:pt x="38" y="136"/>
                  </a:lnTo>
                  <a:lnTo>
                    <a:pt x="36" y="134"/>
                  </a:lnTo>
                  <a:lnTo>
                    <a:pt x="34" y="132"/>
                  </a:lnTo>
                  <a:lnTo>
                    <a:pt x="28" y="126"/>
                  </a:lnTo>
                  <a:lnTo>
                    <a:pt x="24" y="122"/>
                  </a:lnTo>
                  <a:lnTo>
                    <a:pt x="24" y="120"/>
                  </a:lnTo>
                  <a:lnTo>
                    <a:pt x="22" y="120"/>
                  </a:lnTo>
                  <a:lnTo>
                    <a:pt x="18" y="116"/>
                  </a:lnTo>
                  <a:lnTo>
                    <a:pt x="16" y="114"/>
                  </a:lnTo>
                  <a:lnTo>
                    <a:pt x="14" y="112"/>
                  </a:lnTo>
                  <a:lnTo>
                    <a:pt x="14" y="112"/>
                  </a:lnTo>
                  <a:lnTo>
                    <a:pt x="12" y="110"/>
                  </a:lnTo>
                  <a:lnTo>
                    <a:pt x="12" y="110"/>
                  </a:lnTo>
                  <a:lnTo>
                    <a:pt x="12" y="110"/>
                  </a:lnTo>
                  <a:lnTo>
                    <a:pt x="12" y="108"/>
                  </a:lnTo>
                  <a:lnTo>
                    <a:pt x="12" y="108"/>
                  </a:lnTo>
                  <a:lnTo>
                    <a:pt x="12" y="106"/>
                  </a:lnTo>
                  <a:lnTo>
                    <a:pt x="12" y="104"/>
                  </a:lnTo>
                  <a:lnTo>
                    <a:pt x="14" y="102"/>
                  </a:lnTo>
                  <a:lnTo>
                    <a:pt x="14" y="100"/>
                  </a:lnTo>
                  <a:lnTo>
                    <a:pt x="16" y="98"/>
                  </a:lnTo>
                  <a:lnTo>
                    <a:pt x="18" y="94"/>
                  </a:lnTo>
                  <a:lnTo>
                    <a:pt x="18" y="92"/>
                  </a:lnTo>
                  <a:lnTo>
                    <a:pt x="20" y="90"/>
                  </a:lnTo>
                  <a:lnTo>
                    <a:pt x="22" y="88"/>
                  </a:lnTo>
                  <a:lnTo>
                    <a:pt x="24" y="86"/>
                  </a:lnTo>
                  <a:lnTo>
                    <a:pt x="24" y="86"/>
                  </a:lnTo>
                  <a:lnTo>
                    <a:pt x="26" y="86"/>
                  </a:lnTo>
                  <a:lnTo>
                    <a:pt x="28" y="86"/>
                  </a:lnTo>
                  <a:lnTo>
                    <a:pt x="28" y="86"/>
                  </a:lnTo>
                  <a:lnTo>
                    <a:pt x="30" y="86"/>
                  </a:lnTo>
                  <a:lnTo>
                    <a:pt x="32" y="86"/>
                  </a:lnTo>
                  <a:lnTo>
                    <a:pt x="34" y="88"/>
                  </a:lnTo>
                  <a:lnTo>
                    <a:pt x="38" y="90"/>
                  </a:lnTo>
                  <a:lnTo>
                    <a:pt x="42" y="92"/>
                  </a:lnTo>
                  <a:lnTo>
                    <a:pt x="44" y="94"/>
                  </a:lnTo>
                  <a:lnTo>
                    <a:pt x="46" y="94"/>
                  </a:lnTo>
                  <a:lnTo>
                    <a:pt x="46" y="94"/>
                  </a:lnTo>
                  <a:lnTo>
                    <a:pt x="48" y="94"/>
                  </a:lnTo>
                  <a:lnTo>
                    <a:pt x="50" y="94"/>
                  </a:lnTo>
                  <a:lnTo>
                    <a:pt x="50" y="94"/>
                  </a:lnTo>
                  <a:lnTo>
                    <a:pt x="50" y="94"/>
                  </a:lnTo>
                  <a:lnTo>
                    <a:pt x="52" y="94"/>
                  </a:lnTo>
                  <a:lnTo>
                    <a:pt x="52" y="94"/>
                  </a:lnTo>
                  <a:lnTo>
                    <a:pt x="52" y="92"/>
                  </a:lnTo>
                  <a:lnTo>
                    <a:pt x="54" y="92"/>
                  </a:lnTo>
                  <a:lnTo>
                    <a:pt x="54" y="90"/>
                  </a:lnTo>
                  <a:lnTo>
                    <a:pt x="54" y="86"/>
                  </a:lnTo>
                  <a:lnTo>
                    <a:pt x="54" y="84"/>
                  </a:lnTo>
                  <a:lnTo>
                    <a:pt x="54" y="84"/>
                  </a:lnTo>
                  <a:lnTo>
                    <a:pt x="54" y="82"/>
                  </a:lnTo>
                  <a:lnTo>
                    <a:pt x="56" y="78"/>
                  </a:lnTo>
                  <a:lnTo>
                    <a:pt x="56" y="76"/>
                  </a:lnTo>
                  <a:lnTo>
                    <a:pt x="56" y="74"/>
                  </a:lnTo>
                  <a:lnTo>
                    <a:pt x="56" y="72"/>
                  </a:lnTo>
                  <a:lnTo>
                    <a:pt x="56" y="72"/>
                  </a:lnTo>
                  <a:lnTo>
                    <a:pt x="58" y="72"/>
                  </a:lnTo>
                  <a:lnTo>
                    <a:pt x="60" y="70"/>
                  </a:lnTo>
                  <a:lnTo>
                    <a:pt x="62" y="68"/>
                  </a:lnTo>
                  <a:lnTo>
                    <a:pt x="64" y="66"/>
                  </a:lnTo>
                  <a:lnTo>
                    <a:pt x="66" y="64"/>
                  </a:lnTo>
                  <a:lnTo>
                    <a:pt x="68" y="62"/>
                  </a:lnTo>
                  <a:lnTo>
                    <a:pt x="70" y="60"/>
                  </a:lnTo>
                  <a:lnTo>
                    <a:pt x="72" y="60"/>
                  </a:lnTo>
                  <a:lnTo>
                    <a:pt x="72" y="60"/>
                  </a:lnTo>
                  <a:lnTo>
                    <a:pt x="74" y="58"/>
                  </a:lnTo>
                  <a:lnTo>
                    <a:pt x="74" y="56"/>
                  </a:lnTo>
                  <a:lnTo>
                    <a:pt x="74" y="52"/>
                  </a:lnTo>
                  <a:lnTo>
                    <a:pt x="76" y="48"/>
                  </a:lnTo>
                  <a:lnTo>
                    <a:pt x="76" y="46"/>
                  </a:lnTo>
                  <a:lnTo>
                    <a:pt x="78" y="46"/>
                  </a:lnTo>
                  <a:lnTo>
                    <a:pt x="78" y="44"/>
                  </a:lnTo>
                  <a:lnTo>
                    <a:pt x="80" y="42"/>
                  </a:lnTo>
                  <a:lnTo>
                    <a:pt x="82" y="40"/>
                  </a:lnTo>
                  <a:lnTo>
                    <a:pt x="84" y="38"/>
                  </a:lnTo>
                  <a:lnTo>
                    <a:pt x="86" y="38"/>
                  </a:lnTo>
                  <a:lnTo>
                    <a:pt x="86" y="36"/>
                  </a:lnTo>
                  <a:lnTo>
                    <a:pt x="86" y="36"/>
                  </a:lnTo>
                  <a:lnTo>
                    <a:pt x="88" y="36"/>
                  </a:lnTo>
                  <a:lnTo>
                    <a:pt x="88" y="34"/>
                  </a:lnTo>
                  <a:lnTo>
                    <a:pt x="88" y="32"/>
                  </a:lnTo>
                  <a:lnTo>
                    <a:pt x="88" y="32"/>
                  </a:lnTo>
                  <a:lnTo>
                    <a:pt x="88" y="30"/>
                  </a:lnTo>
                  <a:lnTo>
                    <a:pt x="88" y="26"/>
                  </a:lnTo>
                  <a:lnTo>
                    <a:pt x="88" y="22"/>
                  </a:lnTo>
                  <a:lnTo>
                    <a:pt x="86" y="16"/>
                  </a:lnTo>
                  <a:lnTo>
                    <a:pt x="86" y="12"/>
                  </a:lnTo>
                  <a:lnTo>
                    <a:pt x="88" y="10"/>
                  </a:lnTo>
                  <a:lnTo>
                    <a:pt x="94" y="6"/>
                  </a:lnTo>
                  <a:lnTo>
                    <a:pt x="98" y="4"/>
                  </a:lnTo>
                  <a:lnTo>
                    <a:pt x="100" y="2"/>
                  </a:lnTo>
                  <a:lnTo>
                    <a:pt x="104" y="2"/>
                  </a:lnTo>
                  <a:lnTo>
                    <a:pt x="106" y="0"/>
                  </a:lnTo>
                  <a:lnTo>
                    <a:pt x="106" y="0"/>
                  </a:lnTo>
                  <a:lnTo>
                    <a:pt x="108" y="0"/>
                  </a:lnTo>
                  <a:lnTo>
                    <a:pt x="110" y="0"/>
                  </a:lnTo>
                  <a:lnTo>
                    <a:pt x="112" y="0"/>
                  </a:lnTo>
                  <a:lnTo>
                    <a:pt x="114" y="0"/>
                  </a:lnTo>
                  <a:lnTo>
                    <a:pt x="116" y="0"/>
                  </a:lnTo>
                  <a:lnTo>
                    <a:pt x="118" y="0"/>
                  </a:lnTo>
                  <a:lnTo>
                    <a:pt x="122" y="0"/>
                  </a:lnTo>
                  <a:lnTo>
                    <a:pt x="122" y="2"/>
                  </a:lnTo>
                  <a:lnTo>
                    <a:pt x="124" y="2"/>
                  </a:lnTo>
                  <a:lnTo>
                    <a:pt x="126" y="2"/>
                  </a:lnTo>
                  <a:lnTo>
                    <a:pt x="128" y="4"/>
                  </a:lnTo>
                  <a:lnTo>
                    <a:pt x="128" y="4"/>
                  </a:lnTo>
                  <a:lnTo>
                    <a:pt x="130" y="6"/>
                  </a:lnTo>
                  <a:lnTo>
                    <a:pt x="132" y="8"/>
                  </a:lnTo>
                  <a:lnTo>
                    <a:pt x="134" y="8"/>
                  </a:lnTo>
                  <a:lnTo>
                    <a:pt x="134" y="10"/>
                  </a:lnTo>
                  <a:lnTo>
                    <a:pt x="134" y="12"/>
                  </a:lnTo>
                  <a:lnTo>
                    <a:pt x="134" y="12"/>
                  </a:lnTo>
                  <a:lnTo>
                    <a:pt x="134" y="14"/>
                  </a:lnTo>
                  <a:lnTo>
                    <a:pt x="134" y="16"/>
                  </a:lnTo>
                  <a:lnTo>
                    <a:pt x="134" y="20"/>
                  </a:lnTo>
                  <a:lnTo>
                    <a:pt x="134" y="24"/>
                  </a:lnTo>
                  <a:lnTo>
                    <a:pt x="132" y="28"/>
                  </a:lnTo>
                  <a:lnTo>
                    <a:pt x="132" y="28"/>
                  </a:lnTo>
                  <a:lnTo>
                    <a:pt x="132" y="30"/>
                  </a:lnTo>
                  <a:lnTo>
                    <a:pt x="132" y="32"/>
                  </a:lnTo>
                  <a:lnTo>
                    <a:pt x="132" y="34"/>
                  </a:lnTo>
                  <a:lnTo>
                    <a:pt x="134" y="34"/>
                  </a:lnTo>
                  <a:lnTo>
                    <a:pt x="134" y="36"/>
                  </a:lnTo>
                  <a:lnTo>
                    <a:pt x="134" y="36"/>
                  </a:lnTo>
                  <a:lnTo>
                    <a:pt x="136" y="38"/>
                  </a:lnTo>
                  <a:lnTo>
                    <a:pt x="136" y="38"/>
                  </a:lnTo>
                  <a:lnTo>
                    <a:pt x="138" y="38"/>
                  </a:lnTo>
                  <a:lnTo>
                    <a:pt x="140" y="38"/>
                  </a:lnTo>
                  <a:lnTo>
                    <a:pt x="144" y="38"/>
                  </a:lnTo>
                  <a:lnTo>
                    <a:pt x="148" y="38"/>
                  </a:lnTo>
                  <a:lnTo>
                    <a:pt x="150" y="40"/>
                  </a:lnTo>
                  <a:lnTo>
                    <a:pt x="154" y="40"/>
                  </a:lnTo>
                  <a:lnTo>
                    <a:pt x="154" y="40"/>
                  </a:lnTo>
                  <a:lnTo>
                    <a:pt x="156" y="40"/>
                  </a:lnTo>
                  <a:lnTo>
                    <a:pt x="158" y="42"/>
                  </a:lnTo>
                  <a:lnTo>
                    <a:pt x="158" y="44"/>
                  </a:lnTo>
                  <a:lnTo>
                    <a:pt x="162" y="46"/>
                  </a:lnTo>
                  <a:lnTo>
                    <a:pt x="164" y="48"/>
                  </a:lnTo>
                  <a:lnTo>
                    <a:pt x="166" y="52"/>
                  </a:lnTo>
                  <a:lnTo>
                    <a:pt x="168" y="52"/>
                  </a:lnTo>
                  <a:lnTo>
                    <a:pt x="168" y="56"/>
                  </a:lnTo>
                  <a:lnTo>
                    <a:pt x="168" y="64"/>
                  </a:lnTo>
                  <a:lnTo>
                    <a:pt x="168" y="68"/>
                  </a:lnTo>
                  <a:lnTo>
                    <a:pt x="168" y="72"/>
                  </a:lnTo>
                  <a:lnTo>
                    <a:pt x="170" y="74"/>
                  </a:lnTo>
                  <a:lnTo>
                    <a:pt x="170" y="76"/>
                  </a:lnTo>
                  <a:lnTo>
                    <a:pt x="170" y="78"/>
                  </a:lnTo>
                  <a:lnTo>
                    <a:pt x="172" y="80"/>
                  </a:lnTo>
                  <a:lnTo>
                    <a:pt x="172" y="82"/>
                  </a:lnTo>
                  <a:lnTo>
                    <a:pt x="174" y="84"/>
                  </a:lnTo>
                  <a:lnTo>
                    <a:pt x="176" y="86"/>
                  </a:lnTo>
                  <a:lnTo>
                    <a:pt x="176" y="88"/>
                  </a:lnTo>
                  <a:lnTo>
                    <a:pt x="178" y="90"/>
                  </a:lnTo>
                  <a:lnTo>
                    <a:pt x="180" y="90"/>
                  </a:lnTo>
                  <a:lnTo>
                    <a:pt x="182" y="92"/>
                  </a:lnTo>
                  <a:lnTo>
                    <a:pt x="184" y="92"/>
                  </a:lnTo>
                  <a:lnTo>
                    <a:pt x="186" y="94"/>
                  </a:lnTo>
                  <a:lnTo>
                    <a:pt x="188" y="94"/>
                  </a:lnTo>
                  <a:lnTo>
                    <a:pt x="190" y="94"/>
                  </a:lnTo>
                  <a:lnTo>
                    <a:pt x="196" y="96"/>
                  </a:lnTo>
                  <a:lnTo>
                    <a:pt x="198" y="96"/>
                  </a:lnTo>
                  <a:lnTo>
                    <a:pt x="200" y="96"/>
                  </a:lnTo>
                  <a:lnTo>
                    <a:pt x="204" y="98"/>
                  </a:lnTo>
                  <a:lnTo>
                    <a:pt x="210" y="102"/>
                  </a:lnTo>
                  <a:lnTo>
                    <a:pt x="216" y="104"/>
                  </a:lnTo>
                  <a:lnTo>
                    <a:pt x="220" y="104"/>
                  </a:lnTo>
                  <a:lnTo>
                    <a:pt x="222" y="106"/>
                  </a:lnTo>
                  <a:lnTo>
                    <a:pt x="224" y="106"/>
                  </a:lnTo>
                  <a:lnTo>
                    <a:pt x="226" y="106"/>
                  </a:lnTo>
                  <a:lnTo>
                    <a:pt x="230" y="108"/>
                  </a:lnTo>
                  <a:lnTo>
                    <a:pt x="236" y="108"/>
                  </a:lnTo>
                  <a:lnTo>
                    <a:pt x="238" y="108"/>
                  </a:lnTo>
                  <a:lnTo>
                    <a:pt x="240" y="110"/>
                  </a:lnTo>
                  <a:lnTo>
                    <a:pt x="240" y="110"/>
                  </a:lnTo>
                  <a:lnTo>
                    <a:pt x="242" y="110"/>
                  </a:lnTo>
                  <a:lnTo>
                    <a:pt x="246" y="114"/>
                  </a:lnTo>
                  <a:lnTo>
                    <a:pt x="248" y="114"/>
                  </a:lnTo>
                  <a:lnTo>
                    <a:pt x="250" y="116"/>
                  </a:lnTo>
                  <a:lnTo>
                    <a:pt x="250" y="116"/>
                  </a:lnTo>
                  <a:lnTo>
                    <a:pt x="252" y="116"/>
                  </a:lnTo>
                  <a:lnTo>
                    <a:pt x="254" y="118"/>
                  </a:lnTo>
                  <a:lnTo>
                    <a:pt x="256" y="118"/>
                  </a:lnTo>
                  <a:lnTo>
                    <a:pt x="258" y="116"/>
                  </a:lnTo>
                  <a:lnTo>
                    <a:pt x="260" y="116"/>
                  </a:lnTo>
                  <a:lnTo>
                    <a:pt x="264" y="116"/>
                  </a:lnTo>
                  <a:lnTo>
                    <a:pt x="266" y="116"/>
                  </a:lnTo>
                  <a:lnTo>
                    <a:pt x="268" y="116"/>
                  </a:lnTo>
                  <a:lnTo>
                    <a:pt x="270" y="116"/>
                  </a:lnTo>
                  <a:lnTo>
                    <a:pt x="272" y="116"/>
                  </a:lnTo>
                  <a:lnTo>
                    <a:pt x="276" y="116"/>
                  </a:lnTo>
                  <a:lnTo>
                    <a:pt x="278" y="116"/>
                  </a:lnTo>
                  <a:lnTo>
                    <a:pt x="280" y="116"/>
                  </a:lnTo>
                  <a:lnTo>
                    <a:pt x="280" y="116"/>
                  </a:lnTo>
                  <a:lnTo>
                    <a:pt x="282" y="116"/>
                  </a:lnTo>
                  <a:lnTo>
                    <a:pt x="282" y="116"/>
                  </a:lnTo>
                  <a:lnTo>
                    <a:pt x="282" y="114"/>
                  </a:lnTo>
                  <a:lnTo>
                    <a:pt x="284" y="114"/>
                  </a:lnTo>
                  <a:lnTo>
                    <a:pt x="284" y="112"/>
                  </a:lnTo>
                  <a:lnTo>
                    <a:pt x="286" y="110"/>
                  </a:lnTo>
                  <a:lnTo>
                    <a:pt x="288" y="108"/>
                  </a:lnTo>
                  <a:lnTo>
                    <a:pt x="290" y="102"/>
                  </a:lnTo>
                  <a:lnTo>
                    <a:pt x="290" y="100"/>
                  </a:lnTo>
                  <a:lnTo>
                    <a:pt x="298" y="86"/>
                  </a:lnTo>
                  <a:lnTo>
                    <a:pt x="300" y="88"/>
                  </a:lnTo>
                  <a:lnTo>
                    <a:pt x="304" y="90"/>
                  </a:lnTo>
                  <a:lnTo>
                    <a:pt x="308" y="92"/>
                  </a:lnTo>
                  <a:lnTo>
                    <a:pt x="312" y="94"/>
                  </a:lnTo>
                  <a:lnTo>
                    <a:pt x="314" y="94"/>
                  </a:lnTo>
                  <a:lnTo>
                    <a:pt x="314" y="94"/>
                  </a:lnTo>
                  <a:lnTo>
                    <a:pt x="316" y="94"/>
                  </a:lnTo>
                  <a:lnTo>
                    <a:pt x="320" y="94"/>
                  </a:lnTo>
                  <a:lnTo>
                    <a:pt x="324" y="94"/>
                  </a:lnTo>
                  <a:lnTo>
                    <a:pt x="328" y="94"/>
                  </a:lnTo>
                  <a:lnTo>
                    <a:pt x="334" y="94"/>
                  </a:lnTo>
                  <a:lnTo>
                    <a:pt x="338" y="94"/>
                  </a:lnTo>
                  <a:lnTo>
                    <a:pt x="340" y="90"/>
                  </a:lnTo>
                  <a:lnTo>
                    <a:pt x="342" y="86"/>
                  </a:lnTo>
                  <a:lnTo>
                    <a:pt x="344" y="84"/>
                  </a:lnTo>
                  <a:lnTo>
                    <a:pt x="344" y="82"/>
                  </a:lnTo>
                  <a:lnTo>
                    <a:pt x="346" y="82"/>
                  </a:lnTo>
                  <a:lnTo>
                    <a:pt x="348" y="80"/>
                  </a:lnTo>
                  <a:lnTo>
                    <a:pt x="350" y="78"/>
                  </a:lnTo>
                  <a:lnTo>
                    <a:pt x="354" y="78"/>
                  </a:lnTo>
                  <a:lnTo>
                    <a:pt x="356" y="76"/>
                  </a:lnTo>
                  <a:lnTo>
                    <a:pt x="358" y="74"/>
                  </a:lnTo>
                  <a:lnTo>
                    <a:pt x="360" y="74"/>
                  </a:lnTo>
                  <a:lnTo>
                    <a:pt x="362" y="72"/>
                  </a:lnTo>
                  <a:lnTo>
                    <a:pt x="364" y="72"/>
                  </a:lnTo>
                  <a:lnTo>
                    <a:pt x="368" y="72"/>
                  </a:lnTo>
                  <a:lnTo>
                    <a:pt x="370" y="72"/>
                  </a:lnTo>
                  <a:lnTo>
                    <a:pt x="374" y="72"/>
                  </a:lnTo>
                  <a:lnTo>
                    <a:pt x="378" y="72"/>
                  </a:lnTo>
                  <a:lnTo>
                    <a:pt x="380" y="72"/>
                  </a:lnTo>
                  <a:lnTo>
                    <a:pt x="382" y="72"/>
                  </a:lnTo>
                  <a:lnTo>
                    <a:pt x="386" y="72"/>
                  </a:lnTo>
                  <a:lnTo>
                    <a:pt x="388" y="74"/>
                  </a:lnTo>
                  <a:lnTo>
                    <a:pt x="390" y="74"/>
                  </a:lnTo>
                  <a:lnTo>
                    <a:pt x="392" y="76"/>
                  </a:lnTo>
                  <a:lnTo>
                    <a:pt x="394" y="76"/>
                  </a:lnTo>
                  <a:lnTo>
                    <a:pt x="396" y="78"/>
                  </a:lnTo>
                  <a:lnTo>
                    <a:pt x="398" y="80"/>
                  </a:lnTo>
                  <a:lnTo>
                    <a:pt x="400" y="80"/>
                  </a:lnTo>
                  <a:lnTo>
                    <a:pt x="402" y="82"/>
                  </a:lnTo>
                  <a:lnTo>
                    <a:pt x="404" y="84"/>
                  </a:lnTo>
                  <a:lnTo>
                    <a:pt x="404" y="86"/>
                  </a:lnTo>
                  <a:lnTo>
                    <a:pt x="406" y="88"/>
                  </a:lnTo>
                  <a:lnTo>
                    <a:pt x="408" y="90"/>
                  </a:lnTo>
                  <a:lnTo>
                    <a:pt x="410" y="94"/>
                  </a:lnTo>
                  <a:lnTo>
                    <a:pt x="412" y="9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 name="Freeform 40">
              <a:extLst>
                <a:ext uri="{FF2B5EF4-FFF2-40B4-BE49-F238E27FC236}">
                  <a16:creationId xmlns:a16="http://schemas.microsoft.com/office/drawing/2014/main" id="{A7E241DD-0397-487D-AD46-AFE973ABEAE4}"/>
                </a:ext>
              </a:extLst>
            </p:cNvPr>
            <p:cNvSpPr>
              <a:spLocks/>
            </p:cNvSpPr>
            <p:nvPr/>
          </p:nvSpPr>
          <p:spPr bwMode="auto">
            <a:xfrm>
              <a:off x="5952789" y="3672785"/>
              <a:ext cx="713615" cy="737864"/>
            </a:xfrm>
            <a:custGeom>
              <a:avLst/>
              <a:gdLst>
                <a:gd name="T0" fmla="*/ 408 w 412"/>
                <a:gd name="T1" fmla="*/ 108 h 426"/>
                <a:gd name="T2" fmla="*/ 388 w 412"/>
                <a:gd name="T3" fmla="*/ 120 h 426"/>
                <a:gd name="T4" fmla="*/ 374 w 412"/>
                <a:gd name="T5" fmla="*/ 150 h 426"/>
                <a:gd name="T6" fmla="*/ 360 w 412"/>
                <a:gd name="T7" fmla="*/ 168 h 426"/>
                <a:gd name="T8" fmla="*/ 352 w 412"/>
                <a:gd name="T9" fmla="*/ 184 h 426"/>
                <a:gd name="T10" fmla="*/ 346 w 412"/>
                <a:gd name="T11" fmla="*/ 150 h 426"/>
                <a:gd name="T12" fmla="*/ 330 w 412"/>
                <a:gd name="T13" fmla="*/ 134 h 426"/>
                <a:gd name="T14" fmla="*/ 302 w 412"/>
                <a:gd name="T15" fmla="*/ 122 h 426"/>
                <a:gd name="T16" fmla="*/ 290 w 412"/>
                <a:gd name="T17" fmla="*/ 122 h 426"/>
                <a:gd name="T18" fmla="*/ 282 w 412"/>
                <a:gd name="T19" fmla="*/ 146 h 426"/>
                <a:gd name="T20" fmla="*/ 294 w 412"/>
                <a:gd name="T21" fmla="*/ 152 h 426"/>
                <a:gd name="T22" fmla="*/ 296 w 412"/>
                <a:gd name="T23" fmla="*/ 180 h 426"/>
                <a:gd name="T24" fmla="*/ 276 w 412"/>
                <a:gd name="T25" fmla="*/ 198 h 426"/>
                <a:gd name="T26" fmla="*/ 276 w 412"/>
                <a:gd name="T27" fmla="*/ 216 h 426"/>
                <a:gd name="T28" fmla="*/ 262 w 412"/>
                <a:gd name="T29" fmla="*/ 232 h 426"/>
                <a:gd name="T30" fmla="*/ 244 w 412"/>
                <a:gd name="T31" fmla="*/ 242 h 426"/>
                <a:gd name="T32" fmla="*/ 224 w 412"/>
                <a:gd name="T33" fmla="*/ 260 h 426"/>
                <a:gd name="T34" fmla="*/ 210 w 412"/>
                <a:gd name="T35" fmla="*/ 276 h 426"/>
                <a:gd name="T36" fmla="*/ 190 w 412"/>
                <a:gd name="T37" fmla="*/ 296 h 426"/>
                <a:gd name="T38" fmla="*/ 172 w 412"/>
                <a:gd name="T39" fmla="*/ 310 h 426"/>
                <a:gd name="T40" fmla="*/ 180 w 412"/>
                <a:gd name="T41" fmla="*/ 352 h 426"/>
                <a:gd name="T42" fmla="*/ 172 w 412"/>
                <a:gd name="T43" fmla="*/ 360 h 426"/>
                <a:gd name="T44" fmla="*/ 178 w 412"/>
                <a:gd name="T45" fmla="*/ 382 h 426"/>
                <a:gd name="T46" fmla="*/ 164 w 412"/>
                <a:gd name="T47" fmla="*/ 410 h 426"/>
                <a:gd name="T48" fmla="*/ 144 w 412"/>
                <a:gd name="T49" fmla="*/ 426 h 426"/>
                <a:gd name="T50" fmla="*/ 132 w 412"/>
                <a:gd name="T51" fmla="*/ 420 h 426"/>
                <a:gd name="T52" fmla="*/ 124 w 412"/>
                <a:gd name="T53" fmla="*/ 388 h 426"/>
                <a:gd name="T54" fmla="*/ 96 w 412"/>
                <a:gd name="T55" fmla="*/ 318 h 426"/>
                <a:gd name="T56" fmla="*/ 74 w 412"/>
                <a:gd name="T57" fmla="*/ 278 h 426"/>
                <a:gd name="T58" fmla="*/ 70 w 412"/>
                <a:gd name="T59" fmla="*/ 224 h 426"/>
                <a:gd name="T60" fmla="*/ 62 w 412"/>
                <a:gd name="T61" fmla="*/ 186 h 426"/>
                <a:gd name="T62" fmla="*/ 58 w 412"/>
                <a:gd name="T63" fmla="*/ 190 h 426"/>
                <a:gd name="T64" fmla="*/ 52 w 412"/>
                <a:gd name="T65" fmla="*/ 206 h 426"/>
                <a:gd name="T66" fmla="*/ 30 w 412"/>
                <a:gd name="T67" fmla="*/ 208 h 426"/>
                <a:gd name="T68" fmla="*/ 12 w 412"/>
                <a:gd name="T69" fmla="*/ 188 h 426"/>
                <a:gd name="T70" fmla="*/ 20 w 412"/>
                <a:gd name="T71" fmla="*/ 176 h 426"/>
                <a:gd name="T72" fmla="*/ 12 w 412"/>
                <a:gd name="T73" fmla="*/ 176 h 426"/>
                <a:gd name="T74" fmla="*/ 2 w 412"/>
                <a:gd name="T75" fmla="*/ 162 h 426"/>
                <a:gd name="T76" fmla="*/ 24 w 412"/>
                <a:gd name="T77" fmla="*/ 156 h 426"/>
                <a:gd name="T78" fmla="*/ 40 w 412"/>
                <a:gd name="T79" fmla="*/ 152 h 426"/>
                <a:gd name="T80" fmla="*/ 34 w 412"/>
                <a:gd name="T81" fmla="*/ 132 h 426"/>
                <a:gd name="T82" fmla="*/ 12 w 412"/>
                <a:gd name="T83" fmla="*/ 110 h 426"/>
                <a:gd name="T84" fmla="*/ 22 w 412"/>
                <a:gd name="T85" fmla="*/ 88 h 426"/>
                <a:gd name="T86" fmla="*/ 44 w 412"/>
                <a:gd name="T87" fmla="*/ 94 h 426"/>
                <a:gd name="T88" fmla="*/ 54 w 412"/>
                <a:gd name="T89" fmla="*/ 90 h 426"/>
                <a:gd name="T90" fmla="*/ 60 w 412"/>
                <a:gd name="T91" fmla="*/ 70 h 426"/>
                <a:gd name="T92" fmla="*/ 76 w 412"/>
                <a:gd name="T93" fmla="*/ 48 h 426"/>
                <a:gd name="T94" fmla="*/ 88 w 412"/>
                <a:gd name="T95" fmla="*/ 34 h 426"/>
                <a:gd name="T96" fmla="*/ 100 w 412"/>
                <a:gd name="T97" fmla="*/ 2 h 426"/>
                <a:gd name="T98" fmla="*/ 122 w 412"/>
                <a:gd name="T99" fmla="*/ 2 h 426"/>
                <a:gd name="T100" fmla="*/ 134 w 412"/>
                <a:gd name="T101" fmla="*/ 14 h 426"/>
                <a:gd name="T102" fmla="*/ 134 w 412"/>
                <a:gd name="T103" fmla="*/ 36 h 426"/>
                <a:gd name="T104" fmla="*/ 158 w 412"/>
                <a:gd name="T105" fmla="*/ 42 h 426"/>
                <a:gd name="T106" fmla="*/ 170 w 412"/>
                <a:gd name="T107" fmla="*/ 76 h 426"/>
                <a:gd name="T108" fmla="*/ 186 w 412"/>
                <a:gd name="T109" fmla="*/ 94 h 426"/>
                <a:gd name="T110" fmla="*/ 224 w 412"/>
                <a:gd name="T111" fmla="*/ 106 h 426"/>
                <a:gd name="T112" fmla="*/ 250 w 412"/>
                <a:gd name="T113" fmla="*/ 116 h 426"/>
                <a:gd name="T114" fmla="*/ 276 w 412"/>
                <a:gd name="T115" fmla="*/ 116 h 426"/>
                <a:gd name="T116" fmla="*/ 290 w 412"/>
                <a:gd name="T117" fmla="*/ 102 h 426"/>
                <a:gd name="T118" fmla="*/ 324 w 412"/>
                <a:gd name="T119" fmla="*/ 94 h 426"/>
                <a:gd name="T120" fmla="*/ 354 w 412"/>
                <a:gd name="T121" fmla="*/ 78 h 426"/>
                <a:gd name="T122" fmla="*/ 382 w 412"/>
                <a:gd name="T123" fmla="*/ 72 h 426"/>
                <a:gd name="T124" fmla="*/ 404 w 412"/>
                <a:gd name="T125" fmla="*/ 8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2" h="426">
                  <a:moveTo>
                    <a:pt x="412" y="96"/>
                  </a:moveTo>
                  <a:lnTo>
                    <a:pt x="412" y="96"/>
                  </a:lnTo>
                  <a:lnTo>
                    <a:pt x="412" y="98"/>
                  </a:lnTo>
                  <a:lnTo>
                    <a:pt x="412" y="100"/>
                  </a:lnTo>
                  <a:lnTo>
                    <a:pt x="412" y="102"/>
                  </a:lnTo>
                  <a:lnTo>
                    <a:pt x="412" y="104"/>
                  </a:lnTo>
                  <a:lnTo>
                    <a:pt x="410" y="104"/>
                  </a:lnTo>
                  <a:lnTo>
                    <a:pt x="410" y="106"/>
                  </a:lnTo>
                  <a:lnTo>
                    <a:pt x="410" y="106"/>
                  </a:lnTo>
                  <a:lnTo>
                    <a:pt x="410" y="106"/>
                  </a:lnTo>
                  <a:lnTo>
                    <a:pt x="408" y="108"/>
                  </a:lnTo>
                  <a:lnTo>
                    <a:pt x="406" y="108"/>
                  </a:lnTo>
                  <a:lnTo>
                    <a:pt x="404" y="110"/>
                  </a:lnTo>
                  <a:lnTo>
                    <a:pt x="402" y="110"/>
                  </a:lnTo>
                  <a:lnTo>
                    <a:pt x="398" y="112"/>
                  </a:lnTo>
                  <a:lnTo>
                    <a:pt x="396" y="112"/>
                  </a:lnTo>
                  <a:lnTo>
                    <a:pt x="394" y="114"/>
                  </a:lnTo>
                  <a:lnTo>
                    <a:pt x="392" y="114"/>
                  </a:lnTo>
                  <a:lnTo>
                    <a:pt x="392" y="114"/>
                  </a:lnTo>
                  <a:lnTo>
                    <a:pt x="390" y="116"/>
                  </a:lnTo>
                  <a:lnTo>
                    <a:pt x="388" y="118"/>
                  </a:lnTo>
                  <a:lnTo>
                    <a:pt x="388" y="120"/>
                  </a:lnTo>
                  <a:lnTo>
                    <a:pt x="386" y="122"/>
                  </a:lnTo>
                  <a:lnTo>
                    <a:pt x="382" y="126"/>
                  </a:lnTo>
                  <a:lnTo>
                    <a:pt x="382" y="128"/>
                  </a:lnTo>
                  <a:lnTo>
                    <a:pt x="380" y="130"/>
                  </a:lnTo>
                  <a:lnTo>
                    <a:pt x="380" y="132"/>
                  </a:lnTo>
                  <a:lnTo>
                    <a:pt x="378" y="134"/>
                  </a:lnTo>
                  <a:lnTo>
                    <a:pt x="378" y="140"/>
                  </a:lnTo>
                  <a:lnTo>
                    <a:pt x="376" y="142"/>
                  </a:lnTo>
                  <a:lnTo>
                    <a:pt x="376" y="146"/>
                  </a:lnTo>
                  <a:lnTo>
                    <a:pt x="376" y="148"/>
                  </a:lnTo>
                  <a:lnTo>
                    <a:pt x="374" y="150"/>
                  </a:lnTo>
                  <a:lnTo>
                    <a:pt x="372" y="150"/>
                  </a:lnTo>
                  <a:lnTo>
                    <a:pt x="372" y="152"/>
                  </a:lnTo>
                  <a:lnTo>
                    <a:pt x="368" y="156"/>
                  </a:lnTo>
                  <a:lnTo>
                    <a:pt x="366" y="158"/>
                  </a:lnTo>
                  <a:lnTo>
                    <a:pt x="364" y="160"/>
                  </a:lnTo>
                  <a:lnTo>
                    <a:pt x="362" y="162"/>
                  </a:lnTo>
                  <a:lnTo>
                    <a:pt x="362" y="162"/>
                  </a:lnTo>
                  <a:lnTo>
                    <a:pt x="362" y="164"/>
                  </a:lnTo>
                  <a:lnTo>
                    <a:pt x="362" y="164"/>
                  </a:lnTo>
                  <a:lnTo>
                    <a:pt x="360" y="166"/>
                  </a:lnTo>
                  <a:lnTo>
                    <a:pt x="360" y="168"/>
                  </a:lnTo>
                  <a:lnTo>
                    <a:pt x="360" y="170"/>
                  </a:lnTo>
                  <a:lnTo>
                    <a:pt x="360" y="176"/>
                  </a:lnTo>
                  <a:lnTo>
                    <a:pt x="360" y="180"/>
                  </a:lnTo>
                  <a:lnTo>
                    <a:pt x="360" y="184"/>
                  </a:lnTo>
                  <a:lnTo>
                    <a:pt x="362" y="188"/>
                  </a:lnTo>
                  <a:lnTo>
                    <a:pt x="362" y="192"/>
                  </a:lnTo>
                  <a:lnTo>
                    <a:pt x="360" y="192"/>
                  </a:lnTo>
                  <a:lnTo>
                    <a:pt x="358" y="190"/>
                  </a:lnTo>
                  <a:lnTo>
                    <a:pt x="354" y="186"/>
                  </a:lnTo>
                  <a:lnTo>
                    <a:pt x="354" y="186"/>
                  </a:lnTo>
                  <a:lnTo>
                    <a:pt x="352" y="184"/>
                  </a:lnTo>
                  <a:lnTo>
                    <a:pt x="352" y="184"/>
                  </a:lnTo>
                  <a:lnTo>
                    <a:pt x="352" y="182"/>
                  </a:lnTo>
                  <a:lnTo>
                    <a:pt x="350" y="180"/>
                  </a:lnTo>
                  <a:lnTo>
                    <a:pt x="350" y="176"/>
                  </a:lnTo>
                  <a:lnTo>
                    <a:pt x="348" y="172"/>
                  </a:lnTo>
                  <a:lnTo>
                    <a:pt x="348" y="166"/>
                  </a:lnTo>
                  <a:lnTo>
                    <a:pt x="346" y="160"/>
                  </a:lnTo>
                  <a:lnTo>
                    <a:pt x="346" y="158"/>
                  </a:lnTo>
                  <a:lnTo>
                    <a:pt x="346" y="156"/>
                  </a:lnTo>
                  <a:lnTo>
                    <a:pt x="346" y="152"/>
                  </a:lnTo>
                  <a:lnTo>
                    <a:pt x="346" y="150"/>
                  </a:lnTo>
                  <a:lnTo>
                    <a:pt x="346" y="146"/>
                  </a:lnTo>
                  <a:lnTo>
                    <a:pt x="344" y="144"/>
                  </a:lnTo>
                  <a:lnTo>
                    <a:pt x="344" y="144"/>
                  </a:lnTo>
                  <a:lnTo>
                    <a:pt x="344" y="144"/>
                  </a:lnTo>
                  <a:lnTo>
                    <a:pt x="344" y="142"/>
                  </a:lnTo>
                  <a:lnTo>
                    <a:pt x="342" y="142"/>
                  </a:lnTo>
                  <a:lnTo>
                    <a:pt x="340" y="140"/>
                  </a:lnTo>
                  <a:lnTo>
                    <a:pt x="338" y="138"/>
                  </a:lnTo>
                  <a:lnTo>
                    <a:pt x="336" y="138"/>
                  </a:lnTo>
                  <a:lnTo>
                    <a:pt x="334" y="136"/>
                  </a:lnTo>
                  <a:lnTo>
                    <a:pt x="330" y="134"/>
                  </a:lnTo>
                  <a:lnTo>
                    <a:pt x="326" y="134"/>
                  </a:lnTo>
                  <a:lnTo>
                    <a:pt x="324" y="132"/>
                  </a:lnTo>
                  <a:lnTo>
                    <a:pt x="322" y="132"/>
                  </a:lnTo>
                  <a:lnTo>
                    <a:pt x="318" y="132"/>
                  </a:lnTo>
                  <a:lnTo>
                    <a:pt x="314" y="132"/>
                  </a:lnTo>
                  <a:lnTo>
                    <a:pt x="312" y="130"/>
                  </a:lnTo>
                  <a:lnTo>
                    <a:pt x="312" y="130"/>
                  </a:lnTo>
                  <a:lnTo>
                    <a:pt x="310" y="130"/>
                  </a:lnTo>
                  <a:lnTo>
                    <a:pt x="310" y="130"/>
                  </a:lnTo>
                  <a:lnTo>
                    <a:pt x="308" y="128"/>
                  </a:lnTo>
                  <a:lnTo>
                    <a:pt x="302" y="122"/>
                  </a:lnTo>
                  <a:lnTo>
                    <a:pt x="300" y="120"/>
                  </a:lnTo>
                  <a:lnTo>
                    <a:pt x="298" y="120"/>
                  </a:lnTo>
                  <a:lnTo>
                    <a:pt x="298" y="118"/>
                  </a:lnTo>
                  <a:lnTo>
                    <a:pt x="296" y="118"/>
                  </a:lnTo>
                  <a:lnTo>
                    <a:pt x="296" y="118"/>
                  </a:lnTo>
                  <a:lnTo>
                    <a:pt x="294" y="118"/>
                  </a:lnTo>
                  <a:lnTo>
                    <a:pt x="294" y="118"/>
                  </a:lnTo>
                  <a:lnTo>
                    <a:pt x="292" y="118"/>
                  </a:lnTo>
                  <a:lnTo>
                    <a:pt x="292" y="118"/>
                  </a:lnTo>
                  <a:lnTo>
                    <a:pt x="290" y="120"/>
                  </a:lnTo>
                  <a:lnTo>
                    <a:pt x="290" y="122"/>
                  </a:lnTo>
                  <a:lnTo>
                    <a:pt x="288" y="122"/>
                  </a:lnTo>
                  <a:lnTo>
                    <a:pt x="286" y="124"/>
                  </a:lnTo>
                  <a:lnTo>
                    <a:pt x="286" y="128"/>
                  </a:lnTo>
                  <a:lnTo>
                    <a:pt x="284" y="130"/>
                  </a:lnTo>
                  <a:lnTo>
                    <a:pt x="284" y="132"/>
                  </a:lnTo>
                  <a:lnTo>
                    <a:pt x="284" y="134"/>
                  </a:lnTo>
                  <a:lnTo>
                    <a:pt x="282" y="136"/>
                  </a:lnTo>
                  <a:lnTo>
                    <a:pt x="282" y="140"/>
                  </a:lnTo>
                  <a:lnTo>
                    <a:pt x="282" y="142"/>
                  </a:lnTo>
                  <a:lnTo>
                    <a:pt x="282" y="144"/>
                  </a:lnTo>
                  <a:lnTo>
                    <a:pt x="282" y="146"/>
                  </a:lnTo>
                  <a:lnTo>
                    <a:pt x="282" y="148"/>
                  </a:lnTo>
                  <a:lnTo>
                    <a:pt x="284" y="150"/>
                  </a:lnTo>
                  <a:lnTo>
                    <a:pt x="284" y="150"/>
                  </a:lnTo>
                  <a:lnTo>
                    <a:pt x="284" y="150"/>
                  </a:lnTo>
                  <a:lnTo>
                    <a:pt x="286" y="150"/>
                  </a:lnTo>
                  <a:lnTo>
                    <a:pt x="286" y="150"/>
                  </a:lnTo>
                  <a:lnTo>
                    <a:pt x="288" y="150"/>
                  </a:lnTo>
                  <a:lnTo>
                    <a:pt x="290" y="150"/>
                  </a:lnTo>
                  <a:lnTo>
                    <a:pt x="292" y="150"/>
                  </a:lnTo>
                  <a:lnTo>
                    <a:pt x="292" y="152"/>
                  </a:lnTo>
                  <a:lnTo>
                    <a:pt x="294" y="152"/>
                  </a:lnTo>
                  <a:lnTo>
                    <a:pt x="294" y="152"/>
                  </a:lnTo>
                  <a:lnTo>
                    <a:pt x="294" y="152"/>
                  </a:lnTo>
                  <a:lnTo>
                    <a:pt x="294" y="154"/>
                  </a:lnTo>
                  <a:lnTo>
                    <a:pt x="296" y="156"/>
                  </a:lnTo>
                  <a:lnTo>
                    <a:pt x="296" y="158"/>
                  </a:lnTo>
                  <a:lnTo>
                    <a:pt x="296" y="162"/>
                  </a:lnTo>
                  <a:lnTo>
                    <a:pt x="296" y="164"/>
                  </a:lnTo>
                  <a:lnTo>
                    <a:pt x="296" y="168"/>
                  </a:lnTo>
                  <a:lnTo>
                    <a:pt x="296" y="170"/>
                  </a:lnTo>
                  <a:lnTo>
                    <a:pt x="296" y="174"/>
                  </a:lnTo>
                  <a:lnTo>
                    <a:pt x="296" y="180"/>
                  </a:lnTo>
                  <a:lnTo>
                    <a:pt x="296" y="186"/>
                  </a:lnTo>
                  <a:lnTo>
                    <a:pt x="294" y="190"/>
                  </a:lnTo>
                  <a:lnTo>
                    <a:pt x="290" y="192"/>
                  </a:lnTo>
                  <a:lnTo>
                    <a:pt x="288" y="192"/>
                  </a:lnTo>
                  <a:lnTo>
                    <a:pt x="286" y="192"/>
                  </a:lnTo>
                  <a:lnTo>
                    <a:pt x="284" y="192"/>
                  </a:lnTo>
                  <a:lnTo>
                    <a:pt x="282" y="194"/>
                  </a:lnTo>
                  <a:lnTo>
                    <a:pt x="280" y="194"/>
                  </a:lnTo>
                  <a:lnTo>
                    <a:pt x="278" y="196"/>
                  </a:lnTo>
                  <a:lnTo>
                    <a:pt x="276" y="196"/>
                  </a:lnTo>
                  <a:lnTo>
                    <a:pt x="276" y="198"/>
                  </a:lnTo>
                  <a:lnTo>
                    <a:pt x="274" y="198"/>
                  </a:lnTo>
                  <a:lnTo>
                    <a:pt x="274" y="200"/>
                  </a:lnTo>
                  <a:lnTo>
                    <a:pt x="274" y="200"/>
                  </a:lnTo>
                  <a:lnTo>
                    <a:pt x="274" y="202"/>
                  </a:lnTo>
                  <a:lnTo>
                    <a:pt x="274" y="202"/>
                  </a:lnTo>
                  <a:lnTo>
                    <a:pt x="274" y="206"/>
                  </a:lnTo>
                  <a:lnTo>
                    <a:pt x="274" y="208"/>
                  </a:lnTo>
                  <a:lnTo>
                    <a:pt x="276" y="210"/>
                  </a:lnTo>
                  <a:lnTo>
                    <a:pt x="276" y="214"/>
                  </a:lnTo>
                  <a:lnTo>
                    <a:pt x="276" y="214"/>
                  </a:lnTo>
                  <a:lnTo>
                    <a:pt x="276" y="216"/>
                  </a:lnTo>
                  <a:lnTo>
                    <a:pt x="276" y="216"/>
                  </a:lnTo>
                  <a:lnTo>
                    <a:pt x="274" y="218"/>
                  </a:lnTo>
                  <a:lnTo>
                    <a:pt x="274" y="218"/>
                  </a:lnTo>
                  <a:lnTo>
                    <a:pt x="274" y="218"/>
                  </a:lnTo>
                  <a:lnTo>
                    <a:pt x="272" y="220"/>
                  </a:lnTo>
                  <a:lnTo>
                    <a:pt x="270" y="220"/>
                  </a:lnTo>
                  <a:lnTo>
                    <a:pt x="270" y="220"/>
                  </a:lnTo>
                  <a:lnTo>
                    <a:pt x="268" y="222"/>
                  </a:lnTo>
                  <a:lnTo>
                    <a:pt x="266" y="224"/>
                  </a:lnTo>
                  <a:lnTo>
                    <a:pt x="264" y="230"/>
                  </a:lnTo>
                  <a:lnTo>
                    <a:pt x="262" y="232"/>
                  </a:lnTo>
                  <a:lnTo>
                    <a:pt x="262" y="234"/>
                  </a:lnTo>
                  <a:lnTo>
                    <a:pt x="260" y="236"/>
                  </a:lnTo>
                  <a:lnTo>
                    <a:pt x="260" y="236"/>
                  </a:lnTo>
                  <a:lnTo>
                    <a:pt x="258" y="238"/>
                  </a:lnTo>
                  <a:lnTo>
                    <a:pt x="258" y="238"/>
                  </a:lnTo>
                  <a:lnTo>
                    <a:pt x="256" y="238"/>
                  </a:lnTo>
                  <a:lnTo>
                    <a:pt x="254" y="240"/>
                  </a:lnTo>
                  <a:lnTo>
                    <a:pt x="252" y="240"/>
                  </a:lnTo>
                  <a:lnTo>
                    <a:pt x="250" y="242"/>
                  </a:lnTo>
                  <a:lnTo>
                    <a:pt x="248" y="242"/>
                  </a:lnTo>
                  <a:lnTo>
                    <a:pt x="244" y="242"/>
                  </a:lnTo>
                  <a:lnTo>
                    <a:pt x="242" y="244"/>
                  </a:lnTo>
                  <a:lnTo>
                    <a:pt x="240" y="244"/>
                  </a:lnTo>
                  <a:lnTo>
                    <a:pt x="240" y="246"/>
                  </a:lnTo>
                  <a:lnTo>
                    <a:pt x="238" y="248"/>
                  </a:lnTo>
                  <a:lnTo>
                    <a:pt x="236" y="252"/>
                  </a:lnTo>
                  <a:lnTo>
                    <a:pt x="234" y="254"/>
                  </a:lnTo>
                  <a:lnTo>
                    <a:pt x="232" y="256"/>
                  </a:lnTo>
                  <a:lnTo>
                    <a:pt x="230" y="258"/>
                  </a:lnTo>
                  <a:lnTo>
                    <a:pt x="230" y="258"/>
                  </a:lnTo>
                  <a:lnTo>
                    <a:pt x="228" y="258"/>
                  </a:lnTo>
                  <a:lnTo>
                    <a:pt x="224" y="260"/>
                  </a:lnTo>
                  <a:lnTo>
                    <a:pt x="220" y="262"/>
                  </a:lnTo>
                  <a:lnTo>
                    <a:pt x="218" y="262"/>
                  </a:lnTo>
                  <a:lnTo>
                    <a:pt x="218" y="262"/>
                  </a:lnTo>
                  <a:lnTo>
                    <a:pt x="216" y="264"/>
                  </a:lnTo>
                  <a:lnTo>
                    <a:pt x="216" y="264"/>
                  </a:lnTo>
                  <a:lnTo>
                    <a:pt x="214" y="264"/>
                  </a:lnTo>
                  <a:lnTo>
                    <a:pt x="214" y="266"/>
                  </a:lnTo>
                  <a:lnTo>
                    <a:pt x="214" y="268"/>
                  </a:lnTo>
                  <a:lnTo>
                    <a:pt x="212" y="270"/>
                  </a:lnTo>
                  <a:lnTo>
                    <a:pt x="212" y="272"/>
                  </a:lnTo>
                  <a:lnTo>
                    <a:pt x="210" y="276"/>
                  </a:lnTo>
                  <a:lnTo>
                    <a:pt x="210" y="278"/>
                  </a:lnTo>
                  <a:lnTo>
                    <a:pt x="210" y="280"/>
                  </a:lnTo>
                  <a:lnTo>
                    <a:pt x="208" y="282"/>
                  </a:lnTo>
                  <a:lnTo>
                    <a:pt x="208" y="282"/>
                  </a:lnTo>
                  <a:lnTo>
                    <a:pt x="206" y="284"/>
                  </a:lnTo>
                  <a:lnTo>
                    <a:pt x="206" y="286"/>
                  </a:lnTo>
                  <a:lnTo>
                    <a:pt x="202" y="286"/>
                  </a:lnTo>
                  <a:lnTo>
                    <a:pt x="200" y="288"/>
                  </a:lnTo>
                  <a:lnTo>
                    <a:pt x="196" y="292"/>
                  </a:lnTo>
                  <a:lnTo>
                    <a:pt x="192" y="294"/>
                  </a:lnTo>
                  <a:lnTo>
                    <a:pt x="190" y="296"/>
                  </a:lnTo>
                  <a:lnTo>
                    <a:pt x="188" y="296"/>
                  </a:lnTo>
                  <a:lnTo>
                    <a:pt x="182" y="300"/>
                  </a:lnTo>
                  <a:lnTo>
                    <a:pt x="180" y="300"/>
                  </a:lnTo>
                  <a:lnTo>
                    <a:pt x="176" y="302"/>
                  </a:lnTo>
                  <a:lnTo>
                    <a:pt x="176" y="304"/>
                  </a:lnTo>
                  <a:lnTo>
                    <a:pt x="174" y="304"/>
                  </a:lnTo>
                  <a:lnTo>
                    <a:pt x="174" y="306"/>
                  </a:lnTo>
                  <a:lnTo>
                    <a:pt x="172" y="306"/>
                  </a:lnTo>
                  <a:lnTo>
                    <a:pt x="172" y="308"/>
                  </a:lnTo>
                  <a:lnTo>
                    <a:pt x="172" y="308"/>
                  </a:lnTo>
                  <a:lnTo>
                    <a:pt x="172" y="310"/>
                  </a:lnTo>
                  <a:lnTo>
                    <a:pt x="172" y="312"/>
                  </a:lnTo>
                  <a:lnTo>
                    <a:pt x="172" y="314"/>
                  </a:lnTo>
                  <a:lnTo>
                    <a:pt x="172" y="318"/>
                  </a:lnTo>
                  <a:lnTo>
                    <a:pt x="172" y="322"/>
                  </a:lnTo>
                  <a:lnTo>
                    <a:pt x="174" y="324"/>
                  </a:lnTo>
                  <a:lnTo>
                    <a:pt x="176" y="332"/>
                  </a:lnTo>
                  <a:lnTo>
                    <a:pt x="178" y="340"/>
                  </a:lnTo>
                  <a:lnTo>
                    <a:pt x="178" y="344"/>
                  </a:lnTo>
                  <a:lnTo>
                    <a:pt x="180" y="346"/>
                  </a:lnTo>
                  <a:lnTo>
                    <a:pt x="180" y="350"/>
                  </a:lnTo>
                  <a:lnTo>
                    <a:pt x="180" y="352"/>
                  </a:lnTo>
                  <a:lnTo>
                    <a:pt x="180" y="352"/>
                  </a:lnTo>
                  <a:lnTo>
                    <a:pt x="180" y="354"/>
                  </a:lnTo>
                  <a:lnTo>
                    <a:pt x="178" y="356"/>
                  </a:lnTo>
                  <a:lnTo>
                    <a:pt x="178" y="356"/>
                  </a:lnTo>
                  <a:lnTo>
                    <a:pt x="178" y="358"/>
                  </a:lnTo>
                  <a:lnTo>
                    <a:pt x="178" y="358"/>
                  </a:lnTo>
                  <a:lnTo>
                    <a:pt x="176" y="358"/>
                  </a:lnTo>
                  <a:lnTo>
                    <a:pt x="174" y="360"/>
                  </a:lnTo>
                  <a:lnTo>
                    <a:pt x="172" y="360"/>
                  </a:lnTo>
                  <a:lnTo>
                    <a:pt x="172" y="360"/>
                  </a:lnTo>
                  <a:lnTo>
                    <a:pt x="172" y="360"/>
                  </a:lnTo>
                  <a:lnTo>
                    <a:pt x="172" y="362"/>
                  </a:lnTo>
                  <a:lnTo>
                    <a:pt x="172" y="362"/>
                  </a:lnTo>
                  <a:lnTo>
                    <a:pt x="172" y="364"/>
                  </a:lnTo>
                  <a:lnTo>
                    <a:pt x="172" y="366"/>
                  </a:lnTo>
                  <a:lnTo>
                    <a:pt x="172" y="368"/>
                  </a:lnTo>
                  <a:lnTo>
                    <a:pt x="172" y="368"/>
                  </a:lnTo>
                  <a:lnTo>
                    <a:pt x="174" y="372"/>
                  </a:lnTo>
                  <a:lnTo>
                    <a:pt x="176" y="376"/>
                  </a:lnTo>
                  <a:lnTo>
                    <a:pt x="176" y="378"/>
                  </a:lnTo>
                  <a:lnTo>
                    <a:pt x="178" y="380"/>
                  </a:lnTo>
                  <a:lnTo>
                    <a:pt x="178" y="382"/>
                  </a:lnTo>
                  <a:lnTo>
                    <a:pt x="178" y="382"/>
                  </a:lnTo>
                  <a:lnTo>
                    <a:pt x="178" y="384"/>
                  </a:lnTo>
                  <a:lnTo>
                    <a:pt x="178" y="386"/>
                  </a:lnTo>
                  <a:lnTo>
                    <a:pt x="178" y="386"/>
                  </a:lnTo>
                  <a:lnTo>
                    <a:pt x="176" y="388"/>
                  </a:lnTo>
                  <a:lnTo>
                    <a:pt x="176" y="390"/>
                  </a:lnTo>
                  <a:lnTo>
                    <a:pt x="174" y="394"/>
                  </a:lnTo>
                  <a:lnTo>
                    <a:pt x="170" y="398"/>
                  </a:lnTo>
                  <a:lnTo>
                    <a:pt x="168" y="402"/>
                  </a:lnTo>
                  <a:lnTo>
                    <a:pt x="166" y="406"/>
                  </a:lnTo>
                  <a:lnTo>
                    <a:pt x="164" y="410"/>
                  </a:lnTo>
                  <a:lnTo>
                    <a:pt x="162" y="412"/>
                  </a:lnTo>
                  <a:lnTo>
                    <a:pt x="160" y="414"/>
                  </a:lnTo>
                  <a:lnTo>
                    <a:pt x="160" y="416"/>
                  </a:lnTo>
                  <a:lnTo>
                    <a:pt x="158" y="418"/>
                  </a:lnTo>
                  <a:lnTo>
                    <a:pt x="156" y="420"/>
                  </a:lnTo>
                  <a:lnTo>
                    <a:pt x="154" y="420"/>
                  </a:lnTo>
                  <a:lnTo>
                    <a:pt x="152" y="422"/>
                  </a:lnTo>
                  <a:lnTo>
                    <a:pt x="150" y="424"/>
                  </a:lnTo>
                  <a:lnTo>
                    <a:pt x="148" y="426"/>
                  </a:lnTo>
                  <a:lnTo>
                    <a:pt x="146" y="426"/>
                  </a:lnTo>
                  <a:lnTo>
                    <a:pt x="144" y="426"/>
                  </a:lnTo>
                  <a:lnTo>
                    <a:pt x="142" y="426"/>
                  </a:lnTo>
                  <a:lnTo>
                    <a:pt x="142" y="426"/>
                  </a:lnTo>
                  <a:lnTo>
                    <a:pt x="140" y="426"/>
                  </a:lnTo>
                  <a:lnTo>
                    <a:pt x="140" y="426"/>
                  </a:lnTo>
                  <a:lnTo>
                    <a:pt x="138" y="426"/>
                  </a:lnTo>
                  <a:lnTo>
                    <a:pt x="136" y="424"/>
                  </a:lnTo>
                  <a:lnTo>
                    <a:pt x="136" y="424"/>
                  </a:lnTo>
                  <a:lnTo>
                    <a:pt x="134" y="422"/>
                  </a:lnTo>
                  <a:lnTo>
                    <a:pt x="134" y="422"/>
                  </a:lnTo>
                  <a:lnTo>
                    <a:pt x="132" y="420"/>
                  </a:lnTo>
                  <a:lnTo>
                    <a:pt x="132" y="420"/>
                  </a:lnTo>
                  <a:lnTo>
                    <a:pt x="132" y="418"/>
                  </a:lnTo>
                  <a:lnTo>
                    <a:pt x="132" y="416"/>
                  </a:lnTo>
                  <a:lnTo>
                    <a:pt x="132" y="414"/>
                  </a:lnTo>
                  <a:lnTo>
                    <a:pt x="130" y="412"/>
                  </a:lnTo>
                  <a:lnTo>
                    <a:pt x="130" y="406"/>
                  </a:lnTo>
                  <a:lnTo>
                    <a:pt x="130" y="404"/>
                  </a:lnTo>
                  <a:lnTo>
                    <a:pt x="130" y="402"/>
                  </a:lnTo>
                  <a:lnTo>
                    <a:pt x="130" y="400"/>
                  </a:lnTo>
                  <a:lnTo>
                    <a:pt x="128" y="398"/>
                  </a:lnTo>
                  <a:lnTo>
                    <a:pt x="126" y="392"/>
                  </a:lnTo>
                  <a:lnTo>
                    <a:pt x="124" y="388"/>
                  </a:lnTo>
                  <a:lnTo>
                    <a:pt x="122" y="382"/>
                  </a:lnTo>
                  <a:lnTo>
                    <a:pt x="116" y="370"/>
                  </a:lnTo>
                  <a:lnTo>
                    <a:pt x="114" y="366"/>
                  </a:lnTo>
                  <a:lnTo>
                    <a:pt x="112" y="362"/>
                  </a:lnTo>
                  <a:lnTo>
                    <a:pt x="110" y="358"/>
                  </a:lnTo>
                  <a:lnTo>
                    <a:pt x="108" y="352"/>
                  </a:lnTo>
                  <a:lnTo>
                    <a:pt x="104" y="340"/>
                  </a:lnTo>
                  <a:lnTo>
                    <a:pt x="102" y="334"/>
                  </a:lnTo>
                  <a:lnTo>
                    <a:pt x="100" y="328"/>
                  </a:lnTo>
                  <a:lnTo>
                    <a:pt x="98" y="322"/>
                  </a:lnTo>
                  <a:lnTo>
                    <a:pt x="96" y="318"/>
                  </a:lnTo>
                  <a:lnTo>
                    <a:pt x="94" y="314"/>
                  </a:lnTo>
                  <a:lnTo>
                    <a:pt x="92" y="312"/>
                  </a:lnTo>
                  <a:lnTo>
                    <a:pt x="88" y="304"/>
                  </a:lnTo>
                  <a:lnTo>
                    <a:pt x="84" y="300"/>
                  </a:lnTo>
                  <a:lnTo>
                    <a:pt x="82" y="298"/>
                  </a:lnTo>
                  <a:lnTo>
                    <a:pt x="80" y="294"/>
                  </a:lnTo>
                  <a:lnTo>
                    <a:pt x="80" y="292"/>
                  </a:lnTo>
                  <a:lnTo>
                    <a:pt x="78" y="292"/>
                  </a:lnTo>
                  <a:lnTo>
                    <a:pt x="78" y="288"/>
                  </a:lnTo>
                  <a:lnTo>
                    <a:pt x="76" y="284"/>
                  </a:lnTo>
                  <a:lnTo>
                    <a:pt x="74" y="278"/>
                  </a:lnTo>
                  <a:lnTo>
                    <a:pt x="74" y="274"/>
                  </a:lnTo>
                  <a:lnTo>
                    <a:pt x="72" y="268"/>
                  </a:lnTo>
                  <a:lnTo>
                    <a:pt x="72" y="264"/>
                  </a:lnTo>
                  <a:lnTo>
                    <a:pt x="72" y="260"/>
                  </a:lnTo>
                  <a:lnTo>
                    <a:pt x="70" y="256"/>
                  </a:lnTo>
                  <a:lnTo>
                    <a:pt x="70" y="252"/>
                  </a:lnTo>
                  <a:lnTo>
                    <a:pt x="70" y="250"/>
                  </a:lnTo>
                  <a:lnTo>
                    <a:pt x="70" y="240"/>
                  </a:lnTo>
                  <a:lnTo>
                    <a:pt x="72" y="232"/>
                  </a:lnTo>
                  <a:lnTo>
                    <a:pt x="72" y="228"/>
                  </a:lnTo>
                  <a:lnTo>
                    <a:pt x="70" y="224"/>
                  </a:lnTo>
                  <a:lnTo>
                    <a:pt x="70" y="218"/>
                  </a:lnTo>
                  <a:lnTo>
                    <a:pt x="70" y="212"/>
                  </a:lnTo>
                  <a:lnTo>
                    <a:pt x="70" y="208"/>
                  </a:lnTo>
                  <a:lnTo>
                    <a:pt x="68" y="206"/>
                  </a:lnTo>
                  <a:lnTo>
                    <a:pt x="68" y="202"/>
                  </a:lnTo>
                  <a:lnTo>
                    <a:pt x="68" y="200"/>
                  </a:lnTo>
                  <a:lnTo>
                    <a:pt x="66" y="196"/>
                  </a:lnTo>
                  <a:lnTo>
                    <a:pt x="66" y="192"/>
                  </a:lnTo>
                  <a:lnTo>
                    <a:pt x="64" y="190"/>
                  </a:lnTo>
                  <a:lnTo>
                    <a:pt x="64" y="188"/>
                  </a:lnTo>
                  <a:lnTo>
                    <a:pt x="62" y="186"/>
                  </a:lnTo>
                  <a:lnTo>
                    <a:pt x="62" y="186"/>
                  </a:lnTo>
                  <a:lnTo>
                    <a:pt x="62" y="186"/>
                  </a:lnTo>
                  <a:lnTo>
                    <a:pt x="62" y="184"/>
                  </a:lnTo>
                  <a:lnTo>
                    <a:pt x="60" y="184"/>
                  </a:lnTo>
                  <a:lnTo>
                    <a:pt x="60" y="184"/>
                  </a:lnTo>
                  <a:lnTo>
                    <a:pt x="60" y="184"/>
                  </a:lnTo>
                  <a:lnTo>
                    <a:pt x="58" y="186"/>
                  </a:lnTo>
                  <a:lnTo>
                    <a:pt x="58" y="186"/>
                  </a:lnTo>
                  <a:lnTo>
                    <a:pt x="58" y="186"/>
                  </a:lnTo>
                  <a:lnTo>
                    <a:pt x="58" y="188"/>
                  </a:lnTo>
                  <a:lnTo>
                    <a:pt x="58" y="190"/>
                  </a:lnTo>
                  <a:lnTo>
                    <a:pt x="60" y="192"/>
                  </a:lnTo>
                  <a:lnTo>
                    <a:pt x="60" y="194"/>
                  </a:lnTo>
                  <a:lnTo>
                    <a:pt x="60" y="196"/>
                  </a:lnTo>
                  <a:lnTo>
                    <a:pt x="60" y="198"/>
                  </a:lnTo>
                  <a:lnTo>
                    <a:pt x="60" y="198"/>
                  </a:lnTo>
                  <a:lnTo>
                    <a:pt x="60" y="200"/>
                  </a:lnTo>
                  <a:lnTo>
                    <a:pt x="58" y="202"/>
                  </a:lnTo>
                  <a:lnTo>
                    <a:pt x="56" y="202"/>
                  </a:lnTo>
                  <a:lnTo>
                    <a:pt x="56" y="204"/>
                  </a:lnTo>
                  <a:lnTo>
                    <a:pt x="54" y="206"/>
                  </a:lnTo>
                  <a:lnTo>
                    <a:pt x="52" y="206"/>
                  </a:lnTo>
                  <a:lnTo>
                    <a:pt x="52" y="208"/>
                  </a:lnTo>
                  <a:lnTo>
                    <a:pt x="50" y="208"/>
                  </a:lnTo>
                  <a:lnTo>
                    <a:pt x="48" y="208"/>
                  </a:lnTo>
                  <a:lnTo>
                    <a:pt x="48" y="210"/>
                  </a:lnTo>
                  <a:lnTo>
                    <a:pt x="44" y="210"/>
                  </a:lnTo>
                  <a:lnTo>
                    <a:pt x="42" y="210"/>
                  </a:lnTo>
                  <a:lnTo>
                    <a:pt x="38" y="210"/>
                  </a:lnTo>
                  <a:lnTo>
                    <a:pt x="36" y="210"/>
                  </a:lnTo>
                  <a:lnTo>
                    <a:pt x="34" y="208"/>
                  </a:lnTo>
                  <a:lnTo>
                    <a:pt x="30" y="208"/>
                  </a:lnTo>
                  <a:lnTo>
                    <a:pt x="30" y="208"/>
                  </a:lnTo>
                  <a:lnTo>
                    <a:pt x="28" y="208"/>
                  </a:lnTo>
                  <a:lnTo>
                    <a:pt x="28" y="206"/>
                  </a:lnTo>
                  <a:lnTo>
                    <a:pt x="26" y="206"/>
                  </a:lnTo>
                  <a:lnTo>
                    <a:pt x="24" y="204"/>
                  </a:lnTo>
                  <a:lnTo>
                    <a:pt x="20" y="200"/>
                  </a:lnTo>
                  <a:lnTo>
                    <a:pt x="18" y="198"/>
                  </a:lnTo>
                  <a:lnTo>
                    <a:pt x="16" y="194"/>
                  </a:lnTo>
                  <a:lnTo>
                    <a:pt x="14" y="194"/>
                  </a:lnTo>
                  <a:lnTo>
                    <a:pt x="14" y="192"/>
                  </a:lnTo>
                  <a:lnTo>
                    <a:pt x="12" y="190"/>
                  </a:lnTo>
                  <a:lnTo>
                    <a:pt x="12" y="188"/>
                  </a:lnTo>
                  <a:lnTo>
                    <a:pt x="12" y="188"/>
                  </a:lnTo>
                  <a:lnTo>
                    <a:pt x="12" y="186"/>
                  </a:lnTo>
                  <a:lnTo>
                    <a:pt x="12" y="186"/>
                  </a:lnTo>
                  <a:lnTo>
                    <a:pt x="12" y="184"/>
                  </a:lnTo>
                  <a:lnTo>
                    <a:pt x="12" y="184"/>
                  </a:lnTo>
                  <a:lnTo>
                    <a:pt x="14" y="184"/>
                  </a:lnTo>
                  <a:lnTo>
                    <a:pt x="16" y="182"/>
                  </a:lnTo>
                  <a:lnTo>
                    <a:pt x="18" y="180"/>
                  </a:lnTo>
                  <a:lnTo>
                    <a:pt x="18" y="178"/>
                  </a:lnTo>
                  <a:lnTo>
                    <a:pt x="20" y="178"/>
                  </a:lnTo>
                  <a:lnTo>
                    <a:pt x="20" y="176"/>
                  </a:lnTo>
                  <a:lnTo>
                    <a:pt x="20" y="176"/>
                  </a:lnTo>
                  <a:lnTo>
                    <a:pt x="20" y="176"/>
                  </a:lnTo>
                  <a:lnTo>
                    <a:pt x="20" y="174"/>
                  </a:lnTo>
                  <a:lnTo>
                    <a:pt x="20" y="174"/>
                  </a:lnTo>
                  <a:lnTo>
                    <a:pt x="20" y="174"/>
                  </a:lnTo>
                  <a:lnTo>
                    <a:pt x="20" y="174"/>
                  </a:lnTo>
                  <a:lnTo>
                    <a:pt x="18" y="174"/>
                  </a:lnTo>
                  <a:lnTo>
                    <a:pt x="16" y="174"/>
                  </a:lnTo>
                  <a:lnTo>
                    <a:pt x="14" y="174"/>
                  </a:lnTo>
                  <a:lnTo>
                    <a:pt x="12" y="176"/>
                  </a:lnTo>
                  <a:lnTo>
                    <a:pt x="12" y="176"/>
                  </a:lnTo>
                  <a:lnTo>
                    <a:pt x="10" y="176"/>
                  </a:lnTo>
                  <a:lnTo>
                    <a:pt x="8" y="176"/>
                  </a:lnTo>
                  <a:lnTo>
                    <a:pt x="8" y="176"/>
                  </a:lnTo>
                  <a:lnTo>
                    <a:pt x="8" y="176"/>
                  </a:lnTo>
                  <a:lnTo>
                    <a:pt x="6" y="174"/>
                  </a:lnTo>
                  <a:lnTo>
                    <a:pt x="6" y="174"/>
                  </a:lnTo>
                  <a:lnTo>
                    <a:pt x="4" y="172"/>
                  </a:lnTo>
                  <a:lnTo>
                    <a:pt x="4" y="168"/>
                  </a:lnTo>
                  <a:lnTo>
                    <a:pt x="2" y="166"/>
                  </a:lnTo>
                  <a:lnTo>
                    <a:pt x="0" y="164"/>
                  </a:lnTo>
                  <a:lnTo>
                    <a:pt x="2" y="162"/>
                  </a:lnTo>
                  <a:lnTo>
                    <a:pt x="4" y="160"/>
                  </a:lnTo>
                  <a:lnTo>
                    <a:pt x="6" y="158"/>
                  </a:lnTo>
                  <a:lnTo>
                    <a:pt x="6" y="156"/>
                  </a:lnTo>
                  <a:lnTo>
                    <a:pt x="8" y="156"/>
                  </a:lnTo>
                  <a:lnTo>
                    <a:pt x="10" y="154"/>
                  </a:lnTo>
                  <a:lnTo>
                    <a:pt x="10" y="154"/>
                  </a:lnTo>
                  <a:lnTo>
                    <a:pt x="12" y="154"/>
                  </a:lnTo>
                  <a:lnTo>
                    <a:pt x="14" y="154"/>
                  </a:lnTo>
                  <a:lnTo>
                    <a:pt x="16" y="154"/>
                  </a:lnTo>
                  <a:lnTo>
                    <a:pt x="20" y="154"/>
                  </a:lnTo>
                  <a:lnTo>
                    <a:pt x="24" y="156"/>
                  </a:lnTo>
                  <a:lnTo>
                    <a:pt x="28" y="156"/>
                  </a:lnTo>
                  <a:lnTo>
                    <a:pt x="30" y="156"/>
                  </a:lnTo>
                  <a:lnTo>
                    <a:pt x="32" y="156"/>
                  </a:lnTo>
                  <a:lnTo>
                    <a:pt x="34" y="156"/>
                  </a:lnTo>
                  <a:lnTo>
                    <a:pt x="36" y="156"/>
                  </a:lnTo>
                  <a:lnTo>
                    <a:pt x="38" y="156"/>
                  </a:lnTo>
                  <a:lnTo>
                    <a:pt x="38" y="154"/>
                  </a:lnTo>
                  <a:lnTo>
                    <a:pt x="38" y="154"/>
                  </a:lnTo>
                  <a:lnTo>
                    <a:pt x="38" y="154"/>
                  </a:lnTo>
                  <a:lnTo>
                    <a:pt x="40" y="154"/>
                  </a:lnTo>
                  <a:lnTo>
                    <a:pt x="40" y="152"/>
                  </a:lnTo>
                  <a:lnTo>
                    <a:pt x="40" y="150"/>
                  </a:lnTo>
                  <a:lnTo>
                    <a:pt x="40" y="148"/>
                  </a:lnTo>
                  <a:lnTo>
                    <a:pt x="40" y="146"/>
                  </a:lnTo>
                  <a:lnTo>
                    <a:pt x="40" y="144"/>
                  </a:lnTo>
                  <a:lnTo>
                    <a:pt x="40" y="144"/>
                  </a:lnTo>
                  <a:lnTo>
                    <a:pt x="40" y="142"/>
                  </a:lnTo>
                  <a:lnTo>
                    <a:pt x="40" y="140"/>
                  </a:lnTo>
                  <a:lnTo>
                    <a:pt x="38" y="140"/>
                  </a:lnTo>
                  <a:lnTo>
                    <a:pt x="38" y="136"/>
                  </a:lnTo>
                  <a:lnTo>
                    <a:pt x="36" y="134"/>
                  </a:lnTo>
                  <a:lnTo>
                    <a:pt x="34" y="132"/>
                  </a:lnTo>
                  <a:lnTo>
                    <a:pt x="28" y="126"/>
                  </a:lnTo>
                  <a:lnTo>
                    <a:pt x="24" y="122"/>
                  </a:lnTo>
                  <a:lnTo>
                    <a:pt x="24" y="120"/>
                  </a:lnTo>
                  <a:lnTo>
                    <a:pt x="22" y="120"/>
                  </a:lnTo>
                  <a:lnTo>
                    <a:pt x="18" y="116"/>
                  </a:lnTo>
                  <a:lnTo>
                    <a:pt x="16" y="114"/>
                  </a:lnTo>
                  <a:lnTo>
                    <a:pt x="14" y="112"/>
                  </a:lnTo>
                  <a:lnTo>
                    <a:pt x="14" y="112"/>
                  </a:lnTo>
                  <a:lnTo>
                    <a:pt x="12" y="110"/>
                  </a:lnTo>
                  <a:lnTo>
                    <a:pt x="12" y="110"/>
                  </a:lnTo>
                  <a:lnTo>
                    <a:pt x="12" y="110"/>
                  </a:lnTo>
                  <a:lnTo>
                    <a:pt x="12" y="108"/>
                  </a:lnTo>
                  <a:lnTo>
                    <a:pt x="12" y="108"/>
                  </a:lnTo>
                  <a:lnTo>
                    <a:pt x="12" y="106"/>
                  </a:lnTo>
                  <a:lnTo>
                    <a:pt x="12" y="104"/>
                  </a:lnTo>
                  <a:lnTo>
                    <a:pt x="14" y="102"/>
                  </a:lnTo>
                  <a:lnTo>
                    <a:pt x="14" y="100"/>
                  </a:lnTo>
                  <a:lnTo>
                    <a:pt x="16" y="98"/>
                  </a:lnTo>
                  <a:lnTo>
                    <a:pt x="18" y="94"/>
                  </a:lnTo>
                  <a:lnTo>
                    <a:pt x="18" y="92"/>
                  </a:lnTo>
                  <a:lnTo>
                    <a:pt x="20" y="90"/>
                  </a:lnTo>
                  <a:lnTo>
                    <a:pt x="22" y="88"/>
                  </a:lnTo>
                  <a:lnTo>
                    <a:pt x="24" y="86"/>
                  </a:lnTo>
                  <a:lnTo>
                    <a:pt x="24" y="86"/>
                  </a:lnTo>
                  <a:lnTo>
                    <a:pt x="26" y="86"/>
                  </a:lnTo>
                  <a:lnTo>
                    <a:pt x="28" y="86"/>
                  </a:lnTo>
                  <a:lnTo>
                    <a:pt x="28" y="86"/>
                  </a:lnTo>
                  <a:lnTo>
                    <a:pt x="30" y="86"/>
                  </a:lnTo>
                  <a:lnTo>
                    <a:pt x="32" y="86"/>
                  </a:lnTo>
                  <a:lnTo>
                    <a:pt x="34" y="88"/>
                  </a:lnTo>
                  <a:lnTo>
                    <a:pt x="38" y="90"/>
                  </a:lnTo>
                  <a:lnTo>
                    <a:pt x="42" y="92"/>
                  </a:lnTo>
                  <a:lnTo>
                    <a:pt x="44" y="94"/>
                  </a:lnTo>
                  <a:lnTo>
                    <a:pt x="46" y="94"/>
                  </a:lnTo>
                  <a:lnTo>
                    <a:pt x="46" y="94"/>
                  </a:lnTo>
                  <a:lnTo>
                    <a:pt x="48" y="94"/>
                  </a:lnTo>
                  <a:lnTo>
                    <a:pt x="50" y="94"/>
                  </a:lnTo>
                  <a:lnTo>
                    <a:pt x="50" y="94"/>
                  </a:lnTo>
                  <a:lnTo>
                    <a:pt x="50" y="94"/>
                  </a:lnTo>
                  <a:lnTo>
                    <a:pt x="52" y="94"/>
                  </a:lnTo>
                  <a:lnTo>
                    <a:pt x="52" y="94"/>
                  </a:lnTo>
                  <a:lnTo>
                    <a:pt x="52" y="92"/>
                  </a:lnTo>
                  <a:lnTo>
                    <a:pt x="54" y="92"/>
                  </a:lnTo>
                  <a:lnTo>
                    <a:pt x="54" y="90"/>
                  </a:lnTo>
                  <a:lnTo>
                    <a:pt x="54" y="86"/>
                  </a:lnTo>
                  <a:lnTo>
                    <a:pt x="54" y="84"/>
                  </a:lnTo>
                  <a:lnTo>
                    <a:pt x="54" y="84"/>
                  </a:lnTo>
                  <a:lnTo>
                    <a:pt x="54" y="82"/>
                  </a:lnTo>
                  <a:lnTo>
                    <a:pt x="56" y="78"/>
                  </a:lnTo>
                  <a:lnTo>
                    <a:pt x="56" y="76"/>
                  </a:lnTo>
                  <a:lnTo>
                    <a:pt x="56" y="74"/>
                  </a:lnTo>
                  <a:lnTo>
                    <a:pt x="56" y="72"/>
                  </a:lnTo>
                  <a:lnTo>
                    <a:pt x="56" y="72"/>
                  </a:lnTo>
                  <a:lnTo>
                    <a:pt x="58" y="72"/>
                  </a:lnTo>
                  <a:lnTo>
                    <a:pt x="60" y="70"/>
                  </a:lnTo>
                  <a:lnTo>
                    <a:pt x="62" y="68"/>
                  </a:lnTo>
                  <a:lnTo>
                    <a:pt x="64" y="66"/>
                  </a:lnTo>
                  <a:lnTo>
                    <a:pt x="66" y="64"/>
                  </a:lnTo>
                  <a:lnTo>
                    <a:pt x="68" y="62"/>
                  </a:lnTo>
                  <a:lnTo>
                    <a:pt x="70" y="60"/>
                  </a:lnTo>
                  <a:lnTo>
                    <a:pt x="72" y="60"/>
                  </a:lnTo>
                  <a:lnTo>
                    <a:pt x="72" y="60"/>
                  </a:lnTo>
                  <a:lnTo>
                    <a:pt x="74" y="58"/>
                  </a:lnTo>
                  <a:lnTo>
                    <a:pt x="74" y="56"/>
                  </a:lnTo>
                  <a:lnTo>
                    <a:pt x="74" y="52"/>
                  </a:lnTo>
                  <a:lnTo>
                    <a:pt x="76" y="48"/>
                  </a:lnTo>
                  <a:lnTo>
                    <a:pt x="76" y="46"/>
                  </a:lnTo>
                  <a:lnTo>
                    <a:pt x="78" y="46"/>
                  </a:lnTo>
                  <a:lnTo>
                    <a:pt x="78" y="44"/>
                  </a:lnTo>
                  <a:lnTo>
                    <a:pt x="80" y="42"/>
                  </a:lnTo>
                  <a:lnTo>
                    <a:pt x="82" y="40"/>
                  </a:lnTo>
                  <a:lnTo>
                    <a:pt x="84" y="38"/>
                  </a:lnTo>
                  <a:lnTo>
                    <a:pt x="86" y="38"/>
                  </a:lnTo>
                  <a:lnTo>
                    <a:pt x="86" y="36"/>
                  </a:lnTo>
                  <a:lnTo>
                    <a:pt x="86" y="36"/>
                  </a:lnTo>
                  <a:lnTo>
                    <a:pt x="88" y="36"/>
                  </a:lnTo>
                  <a:lnTo>
                    <a:pt x="88" y="34"/>
                  </a:lnTo>
                  <a:lnTo>
                    <a:pt x="88" y="32"/>
                  </a:lnTo>
                  <a:lnTo>
                    <a:pt x="88" y="32"/>
                  </a:lnTo>
                  <a:lnTo>
                    <a:pt x="88" y="30"/>
                  </a:lnTo>
                  <a:lnTo>
                    <a:pt x="88" y="26"/>
                  </a:lnTo>
                  <a:lnTo>
                    <a:pt x="88" y="22"/>
                  </a:lnTo>
                  <a:lnTo>
                    <a:pt x="86" y="16"/>
                  </a:lnTo>
                  <a:lnTo>
                    <a:pt x="86" y="12"/>
                  </a:lnTo>
                  <a:lnTo>
                    <a:pt x="88" y="10"/>
                  </a:lnTo>
                  <a:lnTo>
                    <a:pt x="94" y="6"/>
                  </a:lnTo>
                  <a:lnTo>
                    <a:pt x="98" y="4"/>
                  </a:lnTo>
                  <a:lnTo>
                    <a:pt x="100" y="2"/>
                  </a:lnTo>
                  <a:lnTo>
                    <a:pt x="104" y="2"/>
                  </a:lnTo>
                  <a:lnTo>
                    <a:pt x="106" y="0"/>
                  </a:lnTo>
                  <a:lnTo>
                    <a:pt x="106" y="0"/>
                  </a:lnTo>
                  <a:lnTo>
                    <a:pt x="108" y="0"/>
                  </a:lnTo>
                  <a:lnTo>
                    <a:pt x="110" y="0"/>
                  </a:lnTo>
                  <a:lnTo>
                    <a:pt x="112" y="0"/>
                  </a:lnTo>
                  <a:lnTo>
                    <a:pt x="114" y="0"/>
                  </a:lnTo>
                  <a:lnTo>
                    <a:pt x="116" y="0"/>
                  </a:lnTo>
                  <a:lnTo>
                    <a:pt x="118" y="0"/>
                  </a:lnTo>
                  <a:lnTo>
                    <a:pt x="122" y="0"/>
                  </a:lnTo>
                  <a:lnTo>
                    <a:pt x="122" y="2"/>
                  </a:lnTo>
                  <a:lnTo>
                    <a:pt x="124" y="2"/>
                  </a:lnTo>
                  <a:lnTo>
                    <a:pt x="126" y="2"/>
                  </a:lnTo>
                  <a:lnTo>
                    <a:pt x="128" y="4"/>
                  </a:lnTo>
                  <a:lnTo>
                    <a:pt x="128" y="4"/>
                  </a:lnTo>
                  <a:lnTo>
                    <a:pt x="130" y="6"/>
                  </a:lnTo>
                  <a:lnTo>
                    <a:pt x="132" y="8"/>
                  </a:lnTo>
                  <a:lnTo>
                    <a:pt x="134" y="8"/>
                  </a:lnTo>
                  <a:lnTo>
                    <a:pt x="134" y="10"/>
                  </a:lnTo>
                  <a:lnTo>
                    <a:pt x="134" y="12"/>
                  </a:lnTo>
                  <a:lnTo>
                    <a:pt x="134" y="12"/>
                  </a:lnTo>
                  <a:lnTo>
                    <a:pt x="134" y="14"/>
                  </a:lnTo>
                  <a:lnTo>
                    <a:pt x="134" y="16"/>
                  </a:lnTo>
                  <a:lnTo>
                    <a:pt x="134" y="20"/>
                  </a:lnTo>
                  <a:lnTo>
                    <a:pt x="134" y="24"/>
                  </a:lnTo>
                  <a:lnTo>
                    <a:pt x="132" y="28"/>
                  </a:lnTo>
                  <a:lnTo>
                    <a:pt x="132" y="28"/>
                  </a:lnTo>
                  <a:lnTo>
                    <a:pt x="132" y="30"/>
                  </a:lnTo>
                  <a:lnTo>
                    <a:pt x="132" y="32"/>
                  </a:lnTo>
                  <a:lnTo>
                    <a:pt x="132" y="34"/>
                  </a:lnTo>
                  <a:lnTo>
                    <a:pt x="134" y="34"/>
                  </a:lnTo>
                  <a:lnTo>
                    <a:pt x="134" y="36"/>
                  </a:lnTo>
                  <a:lnTo>
                    <a:pt x="134" y="36"/>
                  </a:lnTo>
                  <a:lnTo>
                    <a:pt x="136" y="38"/>
                  </a:lnTo>
                  <a:lnTo>
                    <a:pt x="136" y="38"/>
                  </a:lnTo>
                  <a:lnTo>
                    <a:pt x="138" y="38"/>
                  </a:lnTo>
                  <a:lnTo>
                    <a:pt x="140" y="38"/>
                  </a:lnTo>
                  <a:lnTo>
                    <a:pt x="144" y="38"/>
                  </a:lnTo>
                  <a:lnTo>
                    <a:pt x="148" y="38"/>
                  </a:lnTo>
                  <a:lnTo>
                    <a:pt x="150" y="40"/>
                  </a:lnTo>
                  <a:lnTo>
                    <a:pt x="154" y="40"/>
                  </a:lnTo>
                  <a:lnTo>
                    <a:pt x="154" y="40"/>
                  </a:lnTo>
                  <a:lnTo>
                    <a:pt x="156" y="40"/>
                  </a:lnTo>
                  <a:lnTo>
                    <a:pt x="158" y="42"/>
                  </a:lnTo>
                  <a:lnTo>
                    <a:pt x="158" y="44"/>
                  </a:lnTo>
                  <a:lnTo>
                    <a:pt x="162" y="46"/>
                  </a:lnTo>
                  <a:lnTo>
                    <a:pt x="164" y="48"/>
                  </a:lnTo>
                  <a:lnTo>
                    <a:pt x="166" y="52"/>
                  </a:lnTo>
                  <a:lnTo>
                    <a:pt x="168" y="52"/>
                  </a:lnTo>
                  <a:lnTo>
                    <a:pt x="168" y="56"/>
                  </a:lnTo>
                  <a:lnTo>
                    <a:pt x="168" y="64"/>
                  </a:lnTo>
                  <a:lnTo>
                    <a:pt x="168" y="68"/>
                  </a:lnTo>
                  <a:lnTo>
                    <a:pt x="168" y="72"/>
                  </a:lnTo>
                  <a:lnTo>
                    <a:pt x="170" y="74"/>
                  </a:lnTo>
                  <a:lnTo>
                    <a:pt x="170" y="76"/>
                  </a:lnTo>
                  <a:lnTo>
                    <a:pt x="170" y="78"/>
                  </a:lnTo>
                  <a:lnTo>
                    <a:pt x="172" y="80"/>
                  </a:lnTo>
                  <a:lnTo>
                    <a:pt x="172" y="82"/>
                  </a:lnTo>
                  <a:lnTo>
                    <a:pt x="174" y="84"/>
                  </a:lnTo>
                  <a:lnTo>
                    <a:pt x="176" y="86"/>
                  </a:lnTo>
                  <a:lnTo>
                    <a:pt x="176" y="88"/>
                  </a:lnTo>
                  <a:lnTo>
                    <a:pt x="178" y="90"/>
                  </a:lnTo>
                  <a:lnTo>
                    <a:pt x="180" y="90"/>
                  </a:lnTo>
                  <a:lnTo>
                    <a:pt x="182" y="92"/>
                  </a:lnTo>
                  <a:lnTo>
                    <a:pt x="184" y="92"/>
                  </a:lnTo>
                  <a:lnTo>
                    <a:pt x="186" y="94"/>
                  </a:lnTo>
                  <a:lnTo>
                    <a:pt x="188" y="94"/>
                  </a:lnTo>
                  <a:lnTo>
                    <a:pt x="190" y="94"/>
                  </a:lnTo>
                  <a:lnTo>
                    <a:pt x="196" y="96"/>
                  </a:lnTo>
                  <a:lnTo>
                    <a:pt x="198" y="96"/>
                  </a:lnTo>
                  <a:lnTo>
                    <a:pt x="200" y="96"/>
                  </a:lnTo>
                  <a:lnTo>
                    <a:pt x="204" y="98"/>
                  </a:lnTo>
                  <a:lnTo>
                    <a:pt x="210" y="102"/>
                  </a:lnTo>
                  <a:lnTo>
                    <a:pt x="216" y="104"/>
                  </a:lnTo>
                  <a:lnTo>
                    <a:pt x="220" y="104"/>
                  </a:lnTo>
                  <a:lnTo>
                    <a:pt x="222" y="106"/>
                  </a:lnTo>
                  <a:lnTo>
                    <a:pt x="224" y="106"/>
                  </a:lnTo>
                  <a:lnTo>
                    <a:pt x="226" y="106"/>
                  </a:lnTo>
                  <a:lnTo>
                    <a:pt x="230" y="108"/>
                  </a:lnTo>
                  <a:lnTo>
                    <a:pt x="236" y="108"/>
                  </a:lnTo>
                  <a:lnTo>
                    <a:pt x="238" y="108"/>
                  </a:lnTo>
                  <a:lnTo>
                    <a:pt x="240" y="110"/>
                  </a:lnTo>
                  <a:lnTo>
                    <a:pt x="240" y="110"/>
                  </a:lnTo>
                  <a:lnTo>
                    <a:pt x="242" y="110"/>
                  </a:lnTo>
                  <a:lnTo>
                    <a:pt x="246" y="114"/>
                  </a:lnTo>
                  <a:lnTo>
                    <a:pt x="248" y="114"/>
                  </a:lnTo>
                  <a:lnTo>
                    <a:pt x="250" y="116"/>
                  </a:lnTo>
                  <a:lnTo>
                    <a:pt x="250" y="116"/>
                  </a:lnTo>
                  <a:lnTo>
                    <a:pt x="252" y="116"/>
                  </a:lnTo>
                  <a:lnTo>
                    <a:pt x="254" y="118"/>
                  </a:lnTo>
                  <a:lnTo>
                    <a:pt x="256" y="118"/>
                  </a:lnTo>
                  <a:lnTo>
                    <a:pt x="258" y="116"/>
                  </a:lnTo>
                  <a:lnTo>
                    <a:pt x="260" y="116"/>
                  </a:lnTo>
                  <a:lnTo>
                    <a:pt x="264" y="116"/>
                  </a:lnTo>
                  <a:lnTo>
                    <a:pt x="266" y="116"/>
                  </a:lnTo>
                  <a:lnTo>
                    <a:pt x="268" y="116"/>
                  </a:lnTo>
                  <a:lnTo>
                    <a:pt x="270" y="116"/>
                  </a:lnTo>
                  <a:lnTo>
                    <a:pt x="272" y="116"/>
                  </a:lnTo>
                  <a:lnTo>
                    <a:pt x="276" y="116"/>
                  </a:lnTo>
                  <a:lnTo>
                    <a:pt x="278" y="116"/>
                  </a:lnTo>
                  <a:lnTo>
                    <a:pt x="280" y="116"/>
                  </a:lnTo>
                  <a:lnTo>
                    <a:pt x="280" y="116"/>
                  </a:lnTo>
                  <a:lnTo>
                    <a:pt x="282" y="116"/>
                  </a:lnTo>
                  <a:lnTo>
                    <a:pt x="282" y="116"/>
                  </a:lnTo>
                  <a:lnTo>
                    <a:pt x="282" y="114"/>
                  </a:lnTo>
                  <a:lnTo>
                    <a:pt x="284" y="114"/>
                  </a:lnTo>
                  <a:lnTo>
                    <a:pt x="284" y="112"/>
                  </a:lnTo>
                  <a:lnTo>
                    <a:pt x="286" y="110"/>
                  </a:lnTo>
                  <a:lnTo>
                    <a:pt x="288" y="108"/>
                  </a:lnTo>
                  <a:lnTo>
                    <a:pt x="290" y="102"/>
                  </a:lnTo>
                  <a:lnTo>
                    <a:pt x="290" y="100"/>
                  </a:lnTo>
                  <a:lnTo>
                    <a:pt x="298" y="86"/>
                  </a:lnTo>
                  <a:lnTo>
                    <a:pt x="300" y="88"/>
                  </a:lnTo>
                  <a:lnTo>
                    <a:pt x="304" y="90"/>
                  </a:lnTo>
                  <a:lnTo>
                    <a:pt x="308" y="92"/>
                  </a:lnTo>
                  <a:lnTo>
                    <a:pt x="312" y="94"/>
                  </a:lnTo>
                  <a:lnTo>
                    <a:pt x="314" y="94"/>
                  </a:lnTo>
                  <a:lnTo>
                    <a:pt x="314" y="94"/>
                  </a:lnTo>
                  <a:lnTo>
                    <a:pt x="316" y="94"/>
                  </a:lnTo>
                  <a:lnTo>
                    <a:pt x="320" y="94"/>
                  </a:lnTo>
                  <a:lnTo>
                    <a:pt x="324" y="94"/>
                  </a:lnTo>
                  <a:lnTo>
                    <a:pt x="328" y="94"/>
                  </a:lnTo>
                  <a:lnTo>
                    <a:pt x="334" y="94"/>
                  </a:lnTo>
                  <a:lnTo>
                    <a:pt x="338" y="94"/>
                  </a:lnTo>
                  <a:lnTo>
                    <a:pt x="340" y="90"/>
                  </a:lnTo>
                  <a:lnTo>
                    <a:pt x="342" y="86"/>
                  </a:lnTo>
                  <a:lnTo>
                    <a:pt x="344" y="84"/>
                  </a:lnTo>
                  <a:lnTo>
                    <a:pt x="344" y="82"/>
                  </a:lnTo>
                  <a:lnTo>
                    <a:pt x="346" y="82"/>
                  </a:lnTo>
                  <a:lnTo>
                    <a:pt x="348" y="80"/>
                  </a:lnTo>
                  <a:lnTo>
                    <a:pt x="350" y="78"/>
                  </a:lnTo>
                  <a:lnTo>
                    <a:pt x="354" y="78"/>
                  </a:lnTo>
                  <a:lnTo>
                    <a:pt x="356" y="76"/>
                  </a:lnTo>
                  <a:lnTo>
                    <a:pt x="358" y="74"/>
                  </a:lnTo>
                  <a:lnTo>
                    <a:pt x="360" y="74"/>
                  </a:lnTo>
                  <a:lnTo>
                    <a:pt x="362" y="72"/>
                  </a:lnTo>
                  <a:lnTo>
                    <a:pt x="364" y="72"/>
                  </a:lnTo>
                  <a:lnTo>
                    <a:pt x="368" y="72"/>
                  </a:lnTo>
                  <a:lnTo>
                    <a:pt x="370" y="72"/>
                  </a:lnTo>
                  <a:lnTo>
                    <a:pt x="374" y="72"/>
                  </a:lnTo>
                  <a:lnTo>
                    <a:pt x="378" y="72"/>
                  </a:lnTo>
                  <a:lnTo>
                    <a:pt x="380" y="72"/>
                  </a:lnTo>
                  <a:lnTo>
                    <a:pt x="382" y="72"/>
                  </a:lnTo>
                  <a:lnTo>
                    <a:pt x="386" y="72"/>
                  </a:lnTo>
                  <a:lnTo>
                    <a:pt x="388" y="74"/>
                  </a:lnTo>
                  <a:lnTo>
                    <a:pt x="390" y="74"/>
                  </a:lnTo>
                  <a:lnTo>
                    <a:pt x="392" y="76"/>
                  </a:lnTo>
                  <a:lnTo>
                    <a:pt x="394" y="76"/>
                  </a:lnTo>
                  <a:lnTo>
                    <a:pt x="396" y="78"/>
                  </a:lnTo>
                  <a:lnTo>
                    <a:pt x="398" y="80"/>
                  </a:lnTo>
                  <a:lnTo>
                    <a:pt x="400" y="80"/>
                  </a:lnTo>
                  <a:lnTo>
                    <a:pt x="402" y="82"/>
                  </a:lnTo>
                  <a:lnTo>
                    <a:pt x="404" y="84"/>
                  </a:lnTo>
                  <a:lnTo>
                    <a:pt x="404" y="86"/>
                  </a:lnTo>
                  <a:lnTo>
                    <a:pt x="406" y="88"/>
                  </a:lnTo>
                  <a:lnTo>
                    <a:pt x="408" y="90"/>
                  </a:lnTo>
                  <a:lnTo>
                    <a:pt x="410" y="94"/>
                  </a:lnTo>
                  <a:lnTo>
                    <a:pt x="412" y="96"/>
                  </a:lnTo>
                </a:path>
              </a:pathLst>
            </a:custGeom>
            <a:grp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 name="Freeform 41">
              <a:extLst>
                <a:ext uri="{FF2B5EF4-FFF2-40B4-BE49-F238E27FC236}">
                  <a16:creationId xmlns:a16="http://schemas.microsoft.com/office/drawing/2014/main" id="{4EC41CF0-0343-4734-86F7-5EB78A5B1C4B}"/>
                </a:ext>
              </a:extLst>
            </p:cNvPr>
            <p:cNvSpPr>
              <a:spLocks/>
            </p:cNvSpPr>
            <p:nvPr/>
          </p:nvSpPr>
          <p:spPr bwMode="auto">
            <a:xfrm>
              <a:off x="5952789" y="3672785"/>
              <a:ext cx="713615" cy="737864"/>
            </a:xfrm>
            <a:custGeom>
              <a:avLst/>
              <a:gdLst>
                <a:gd name="T0" fmla="*/ 408 w 412"/>
                <a:gd name="T1" fmla="*/ 108 h 426"/>
                <a:gd name="T2" fmla="*/ 388 w 412"/>
                <a:gd name="T3" fmla="*/ 120 h 426"/>
                <a:gd name="T4" fmla="*/ 374 w 412"/>
                <a:gd name="T5" fmla="*/ 150 h 426"/>
                <a:gd name="T6" fmla="*/ 360 w 412"/>
                <a:gd name="T7" fmla="*/ 168 h 426"/>
                <a:gd name="T8" fmla="*/ 352 w 412"/>
                <a:gd name="T9" fmla="*/ 184 h 426"/>
                <a:gd name="T10" fmla="*/ 346 w 412"/>
                <a:gd name="T11" fmla="*/ 150 h 426"/>
                <a:gd name="T12" fmla="*/ 330 w 412"/>
                <a:gd name="T13" fmla="*/ 134 h 426"/>
                <a:gd name="T14" fmla="*/ 302 w 412"/>
                <a:gd name="T15" fmla="*/ 122 h 426"/>
                <a:gd name="T16" fmla="*/ 290 w 412"/>
                <a:gd name="T17" fmla="*/ 122 h 426"/>
                <a:gd name="T18" fmla="*/ 282 w 412"/>
                <a:gd name="T19" fmla="*/ 146 h 426"/>
                <a:gd name="T20" fmla="*/ 294 w 412"/>
                <a:gd name="T21" fmla="*/ 152 h 426"/>
                <a:gd name="T22" fmla="*/ 296 w 412"/>
                <a:gd name="T23" fmla="*/ 180 h 426"/>
                <a:gd name="T24" fmla="*/ 276 w 412"/>
                <a:gd name="T25" fmla="*/ 198 h 426"/>
                <a:gd name="T26" fmla="*/ 276 w 412"/>
                <a:gd name="T27" fmla="*/ 216 h 426"/>
                <a:gd name="T28" fmla="*/ 262 w 412"/>
                <a:gd name="T29" fmla="*/ 232 h 426"/>
                <a:gd name="T30" fmla="*/ 244 w 412"/>
                <a:gd name="T31" fmla="*/ 242 h 426"/>
                <a:gd name="T32" fmla="*/ 224 w 412"/>
                <a:gd name="T33" fmla="*/ 260 h 426"/>
                <a:gd name="T34" fmla="*/ 210 w 412"/>
                <a:gd name="T35" fmla="*/ 276 h 426"/>
                <a:gd name="T36" fmla="*/ 190 w 412"/>
                <a:gd name="T37" fmla="*/ 296 h 426"/>
                <a:gd name="T38" fmla="*/ 172 w 412"/>
                <a:gd name="T39" fmla="*/ 310 h 426"/>
                <a:gd name="T40" fmla="*/ 180 w 412"/>
                <a:gd name="T41" fmla="*/ 352 h 426"/>
                <a:gd name="T42" fmla="*/ 172 w 412"/>
                <a:gd name="T43" fmla="*/ 360 h 426"/>
                <a:gd name="T44" fmla="*/ 178 w 412"/>
                <a:gd name="T45" fmla="*/ 382 h 426"/>
                <a:gd name="T46" fmla="*/ 164 w 412"/>
                <a:gd name="T47" fmla="*/ 410 h 426"/>
                <a:gd name="T48" fmla="*/ 144 w 412"/>
                <a:gd name="T49" fmla="*/ 426 h 426"/>
                <a:gd name="T50" fmla="*/ 132 w 412"/>
                <a:gd name="T51" fmla="*/ 420 h 426"/>
                <a:gd name="T52" fmla="*/ 124 w 412"/>
                <a:gd name="T53" fmla="*/ 388 h 426"/>
                <a:gd name="T54" fmla="*/ 96 w 412"/>
                <a:gd name="T55" fmla="*/ 318 h 426"/>
                <a:gd name="T56" fmla="*/ 74 w 412"/>
                <a:gd name="T57" fmla="*/ 278 h 426"/>
                <a:gd name="T58" fmla="*/ 70 w 412"/>
                <a:gd name="T59" fmla="*/ 224 h 426"/>
                <a:gd name="T60" fmla="*/ 62 w 412"/>
                <a:gd name="T61" fmla="*/ 186 h 426"/>
                <a:gd name="T62" fmla="*/ 58 w 412"/>
                <a:gd name="T63" fmla="*/ 190 h 426"/>
                <a:gd name="T64" fmla="*/ 52 w 412"/>
                <a:gd name="T65" fmla="*/ 206 h 426"/>
                <a:gd name="T66" fmla="*/ 30 w 412"/>
                <a:gd name="T67" fmla="*/ 208 h 426"/>
                <a:gd name="T68" fmla="*/ 12 w 412"/>
                <a:gd name="T69" fmla="*/ 188 h 426"/>
                <a:gd name="T70" fmla="*/ 20 w 412"/>
                <a:gd name="T71" fmla="*/ 176 h 426"/>
                <a:gd name="T72" fmla="*/ 12 w 412"/>
                <a:gd name="T73" fmla="*/ 176 h 426"/>
                <a:gd name="T74" fmla="*/ 2 w 412"/>
                <a:gd name="T75" fmla="*/ 162 h 426"/>
                <a:gd name="T76" fmla="*/ 24 w 412"/>
                <a:gd name="T77" fmla="*/ 156 h 426"/>
                <a:gd name="T78" fmla="*/ 40 w 412"/>
                <a:gd name="T79" fmla="*/ 152 h 426"/>
                <a:gd name="T80" fmla="*/ 34 w 412"/>
                <a:gd name="T81" fmla="*/ 132 h 426"/>
                <a:gd name="T82" fmla="*/ 12 w 412"/>
                <a:gd name="T83" fmla="*/ 110 h 426"/>
                <a:gd name="T84" fmla="*/ 22 w 412"/>
                <a:gd name="T85" fmla="*/ 88 h 426"/>
                <a:gd name="T86" fmla="*/ 44 w 412"/>
                <a:gd name="T87" fmla="*/ 94 h 426"/>
                <a:gd name="T88" fmla="*/ 54 w 412"/>
                <a:gd name="T89" fmla="*/ 90 h 426"/>
                <a:gd name="T90" fmla="*/ 60 w 412"/>
                <a:gd name="T91" fmla="*/ 70 h 426"/>
                <a:gd name="T92" fmla="*/ 76 w 412"/>
                <a:gd name="T93" fmla="*/ 48 h 426"/>
                <a:gd name="T94" fmla="*/ 88 w 412"/>
                <a:gd name="T95" fmla="*/ 34 h 426"/>
                <a:gd name="T96" fmla="*/ 100 w 412"/>
                <a:gd name="T97" fmla="*/ 2 h 426"/>
                <a:gd name="T98" fmla="*/ 122 w 412"/>
                <a:gd name="T99" fmla="*/ 2 h 426"/>
                <a:gd name="T100" fmla="*/ 134 w 412"/>
                <a:gd name="T101" fmla="*/ 14 h 426"/>
                <a:gd name="T102" fmla="*/ 134 w 412"/>
                <a:gd name="T103" fmla="*/ 36 h 426"/>
                <a:gd name="T104" fmla="*/ 158 w 412"/>
                <a:gd name="T105" fmla="*/ 42 h 426"/>
                <a:gd name="T106" fmla="*/ 170 w 412"/>
                <a:gd name="T107" fmla="*/ 76 h 426"/>
                <a:gd name="T108" fmla="*/ 186 w 412"/>
                <a:gd name="T109" fmla="*/ 94 h 426"/>
                <a:gd name="T110" fmla="*/ 224 w 412"/>
                <a:gd name="T111" fmla="*/ 106 h 426"/>
                <a:gd name="T112" fmla="*/ 250 w 412"/>
                <a:gd name="T113" fmla="*/ 116 h 426"/>
                <a:gd name="T114" fmla="*/ 276 w 412"/>
                <a:gd name="T115" fmla="*/ 116 h 426"/>
                <a:gd name="T116" fmla="*/ 290 w 412"/>
                <a:gd name="T117" fmla="*/ 102 h 426"/>
                <a:gd name="T118" fmla="*/ 324 w 412"/>
                <a:gd name="T119" fmla="*/ 94 h 426"/>
                <a:gd name="T120" fmla="*/ 354 w 412"/>
                <a:gd name="T121" fmla="*/ 78 h 426"/>
                <a:gd name="T122" fmla="*/ 382 w 412"/>
                <a:gd name="T123" fmla="*/ 72 h 426"/>
                <a:gd name="T124" fmla="*/ 404 w 412"/>
                <a:gd name="T125" fmla="*/ 8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2" h="426">
                  <a:moveTo>
                    <a:pt x="412" y="96"/>
                  </a:moveTo>
                  <a:lnTo>
                    <a:pt x="412" y="96"/>
                  </a:lnTo>
                  <a:lnTo>
                    <a:pt x="412" y="98"/>
                  </a:lnTo>
                  <a:lnTo>
                    <a:pt x="412" y="100"/>
                  </a:lnTo>
                  <a:lnTo>
                    <a:pt x="412" y="102"/>
                  </a:lnTo>
                  <a:lnTo>
                    <a:pt x="412" y="104"/>
                  </a:lnTo>
                  <a:lnTo>
                    <a:pt x="410" y="104"/>
                  </a:lnTo>
                  <a:lnTo>
                    <a:pt x="410" y="106"/>
                  </a:lnTo>
                  <a:lnTo>
                    <a:pt x="410" y="106"/>
                  </a:lnTo>
                  <a:lnTo>
                    <a:pt x="410" y="106"/>
                  </a:lnTo>
                  <a:lnTo>
                    <a:pt x="408" y="108"/>
                  </a:lnTo>
                  <a:lnTo>
                    <a:pt x="406" y="108"/>
                  </a:lnTo>
                  <a:lnTo>
                    <a:pt x="404" y="110"/>
                  </a:lnTo>
                  <a:lnTo>
                    <a:pt x="402" y="110"/>
                  </a:lnTo>
                  <a:lnTo>
                    <a:pt x="398" y="112"/>
                  </a:lnTo>
                  <a:lnTo>
                    <a:pt x="396" y="112"/>
                  </a:lnTo>
                  <a:lnTo>
                    <a:pt x="394" y="114"/>
                  </a:lnTo>
                  <a:lnTo>
                    <a:pt x="392" y="114"/>
                  </a:lnTo>
                  <a:lnTo>
                    <a:pt x="392" y="114"/>
                  </a:lnTo>
                  <a:lnTo>
                    <a:pt x="390" y="116"/>
                  </a:lnTo>
                  <a:lnTo>
                    <a:pt x="388" y="118"/>
                  </a:lnTo>
                  <a:lnTo>
                    <a:pt x="388" y="120"/>
                  </a:lnTo>
                  <a:lnTo>
                    <a:pt x="386" y="122"/>
                  </a:lnTo>
                  <a:lnTo>
                    <a:pt x="382" y="126"/>
                  </a:lnTo>
                  <a:lnTo>
                    <a:pt x="382" y="128"/>
                  </a:lnTo>
                  <a:lnTo>
                    <a:pt x="380" y="130"/>
                  </a:lnTo>
                  <a:lnTo>
                    <a:pt x="380" y="132"/>
                  </a:lnTo>
                  <a:lnTo>
                    <a:pt x="378" y="134"/>
                  </a:lnTo>
                  <a:lnTo>
                    <a:pt x="378" y="140"/>
                  </a:lnTo>
                  <a:lnTo>
                    <a:pt x="376" y="142"/>
                  </a:lnTo>
                  <a:lnTo>
                    <a:pt x="376" y="146"/>
                  </a:lnTo>
                  <a:lnTo>
                    <a:pt x="376" y="148"/>
                  </a:lnTo>
                  <a:lnTo>
                    <a:pt x="374" y="150"/>
                  </a:lnTo>
                  <a:lnTo>
                    <a:pt x="372" y="150"/>
                  </a:lnTo>
                  <a:lnTo>
                    <a:pt x="372" y="152"/>
                  </a:lnTo>
                  <a:lnTo>
                    <a:pt x="368" y="156"/>
                  </a:lnTo>
                  <a:lnTo>
                    <a:pt x="366" y="158"/>
                  </a:lnTo>
                  <a:lnTo>
                    <a:pt x="364" y="160"/>
                  </a:lnTo>
                  <a:lnTo>
                    <a:pt x="362" y="162"/>
                  </a:lnTo>
                  <a:lnTo>
                    <a:pt x="362" y="162"/>
                  </a:lnTo>
                  <a:lnTo>
                    <a:pt x="362" y="164"/>
                  </a:lnTo>
                  <a:lnTo>
                    <a:pt x="362" y="164"/>
                  </a:lnTo>
                  <a:lnTo>
                    <a:pt x="360" y="166"/>
                  </a:lnTo>
                  <a:lnTo>
                    <a:pt x="360" y="168"/>
                  </a:lnTo>
                  <a:lnTo>
                    <a:pt x="360" y="170"/>
                  </a:lnTo>
                  <a:lnTo>
                    <a:pt x="360" y="176"/>
                  </a:lnTo>
                  <a:lnTo>
                    <a:pt x="360" y="180"/>
                  </a:lnTo>
                  <a:lnTo>
                    <a:pt x="360" y="184"/>
                  </a:lnTo>
                  <a:lnTo>
                    <a:pt x="362" y="188"/>
                  </a:lnTo>
                  <a:lnTo>
                    <a:pt x="362" y="192"/>
                  </a:lnTo>
                  <a:lnTo>
                    <a:pt x="360" y="192"/>
                  </a:lnTo>
                  <a:lnTo>
                    <a:pt x="358" y="190"/>
                  </a:lnTo>
                  <a:lnTo>
                    <a:pt x="354" y="186"/>
                  </a:lnTo>
                  <a:lnTo>
                    <a:pt x="354" y="186"/>
                  </a:lnTo>
                  <a:lnTo>
                    <a:pt x="352" y="184"/>
                  </a:lnTo>
                  <a:lnTo>
                    <a:pt x="352" y="184"/>
                  </a:lnTo>
                  <a:lnTo>
                    <a:pt x="352" y="182"/>
                  </a:lnTo>
                  <a:lnTo>
                    <a:pt x="350" y="180"/>
                  </a:lnTo>
                  <a:lnTo>
                    <a:pt x="350" y="176"/>
                  </a:lnTo>
                  <a:lnTo>
                    <a:pt x="348" y="172"/>
                  </a:lnTo>
                  <a:lnTo>
                    <a:pt x="348" y="166"/>
                  </a:lnTo>
                  <a:lnTo>
                    <a:pt x="346" y="160"/>
                  </a:lnTo>
                  <a:lnTo>
                    <a:pt x="346" y="158"/>
                  </a:lnTo>
                  <a:lnTo>
                    <a:pt x="346" y="156"/>
                  </a:lnTo>
                  <a:lnTo>
                    <a:pt x="346" y="152"/>
                  </a:lnTo>
                  <a:lnTo>
                    <a:pt x="346" y="150"/>
                  </a:lnTo>
                  <a:lnTo>
                    <a:pt x="346" y="146"/>
                  </a:lnTo>
                  <a:lnTo>
                    <a:pt x="344" y="144"/>
                  </a:lnTo>
                  <a:lnTo>
                    <a:pt x="344" y="144"/>
                  </a:lnTo>
                  <a:lnTo>
                    <a:pt x="344" y="144"/>
                  </a:lnTo>
                  <a:lnTo>
                    <a:pt x="344" y="142"/>
                  </a:lnTo>
                  <a:lnTo>
                    <a:pt x="342" y="142"/>
                  </a:lnTo>
                  <a:lnTo>
                    <a:pt x="340" y="140"/>
                  </a:lnTo>
                  <a:lnTo>
                    <a:pt x="338" y="138"/>
                  </a:lnTo>
                  <a:lnTo>
                    <a:pt x="336" y="138"/>
                  </a:lnTo>
                  <a:lnTo>
                    <a:pt x="334" y="136"/>
                  </a:lnTo>
                  <a:lnTo>
                    <a:pt x="330" y="134"/>
                  </a:lnTo>
                  <a:lnTo>
                    <a:pt x="326" y="134"/>
                  </a:lnTo>
                  <a:lnTo>
                    <a:pt x="324" y="132"/>
                  </a:lnTo>
                  <a:lnTo>
                    <a:pt x="322" y="132"/>
                  </a:lnTo>
                  <a:lnTo>
                    <a:pt x="318" y="132"/>
                  </a:lnTo>
                  <a:lnTo>
                    <a:pt x="314" y="132"/>
                  </a:lnTo>
                  <a:lnTo>
                    <a:pt x="312" y="130"/>
                  </a:lnTo>
                  <a:lnTo>
                    <a:pt x="312" y="130"/>
                  </a:lnTo>
                  <a:lnTo>
                    <a:pt x="310" y="130"/>
                  </a:lnTo>
                  <a:lnTo>
                    <a:pt x="310" y="130"/>
                  </a:lnTo>
                  <a:lnTo>
                    <a:pt x="308" y="128"/>
                  </a:lnTo>
                  <a:lnTo>
                    <a:pt x="302" y="122"/>
                  </a:lnTo>
                  <a:lnTo>
                    <a:pt x="300" y="120"/>
                  </a:lnTo>
                  <a:lnTo>
                    <a:pt x="298" y="120"/>
                  </a:lnTo>
                  <a:lnTo>
                    <a:pt x="298" y="118"/>
                  </a:lnTo>
                  <a:lnTo>
                    <a:pt x="296" y="118"/>
                  </a:lnTo>
                  <a:lnTo>
                    <a:pt x="296" y="118"/>
                  </a:lnTo>
                  <a:lnTo>
                    <a:pt x="294" y="118"/>
                  </a:lnTo>
                  <a:lnTo>
                    <a:pt x="294" y="118"/>
                  </a:lnTo>
                  <a:lnTo>
                    <a:pt x="292" y="118"/>
                  </a:lnTo>
                  <a:lnTo>
                    <a:pt x="292" y="118"/>
                  </a:lnTo>
                  <a:lnTo>
                    <a:pt x="290" y="120"/>
                  </a:lnTo>
                  <a:lnTo>
                    <a:pt x="290" y="122"/>
                  </a:lnTo>
                  <a:lnTo>
                    <a:pt x="288" y="122"/>
                  </a:lnTo>
                  <a:lnTo>
                    <a:pt x="286" y="124"/>
                  </a:lnTo>
                  <a:lnTo>
                    <a:pt x="286" y="128"/>
                  </a:lnTo>
                  <a:lnTo>
                    <a:pt x="284" y="130"/>
                  </a:lnTo>
                  <a:lnTo>
                    <a:pt x="284" y="132"/>
                  </a:lnTo>
                  <a:lnTo>
                    <a:pt x="284" y="134"/>
                  </a:lnTo>
                  <a:lnTo>
                    <a:pt x="282" y="136"/>
                  </a:lnTo>
                  <a:lnTo>
                    <a:pt x="282" y="140"/>
                  </a:lnTo>
                  <a:lnTo>
                    <a:pt x="282" y="142"/>
                  </a:lnTo>
                  <a:lnTo>
                    <a:pt x="282" y="144"/>
                  </a:lnTo>
                  <a:lnTo>
                    <a:pt x="282" y="146"/>
                  </a:lnTo>
                  <a:lnTo>
                    <a:pt x="282" y="148"/>
                  </a:lnTo>
                  <a:lnTo>
                    <a:pt x="284" y="150"/>
                  </a:lnTo>
                  <a:lnTo>
                    <a:pt x="284" y="150"/>
                  </a:lnTo>
                  <a:lnTo>
                    <a:pt x="284" y="150"/>
                  </a:lnTo>
                  <a:lnTo>
                    <a:pt x="286" y="150"/>
                  </a:lnTo>
                  <a:lnTo>
                    <a:pt x="286" y="150"/>
                  </a:lnTo>
                  <a:lnTo>
                    <a:pt x="288" y="150"/>
                  </a:lnTo>
                  <a:lnTo>
                    <a:pt x="290" y="150"/>
                  </a:lnTo>
                  <a:lnTo>
                    <a:pt x="292" y="150"/>
                  </a:lnTo>
                  <a:lnTo>
                    <a:pt x="292" y="152"/>
                  </a:lnTo>
                  <a:lnTo>
                    <a:pt x="294" y="152"/>
                  </a:lnTo>
                  <a:lnTo>
                    <a:pt x="294" y="152"/>
                  </a:lnTo>
                  <a:lnTo>
                    <a:pt x="294" y="152"/>
                  </a:lnTo>
                  <a:lnTo>
                    <a:pt x="294" y="154"/>
                  </a:lnTo>
                  <a:lnTo>
                    <a:pt x="296" y="156"/>
                  </a:lnTo>
                  <a:lnTo>
                    <a:pt x="296" y="158"/>
                  </a:lnTo>
                  <a:lnTo>
                    <a:pt x="296" y="162"/>
                  </a:lnTo>
                  <a:lnTo>
                    <a:pt x="296" y="164"/>
                  </a:lnTo>
                  <a:lnTo>
                    <a:pt x="296" y="168"/>
                  </a:lnTo>
                  <a:lnTo>
                    <a:pt x="296" y="170"/>
                  </a:lnTo>
                  <a:lnTo>
                    <a:pt x="296" y="174"/>
                  </a:lnTo>
                  <a:lnTo>
                    <a:pt x="296" y="180"/>
                  </a:lnTo>
                  <a:lnTo>
                    <a:pt x="296" y="186"/>
                  </a:lnTo>
                  <a:lnTo>
                    <a:pt x="294" y="190"/>
                  </a:lnTo>
                  <a:lnTo>
                    <a:pt x="290" y="192"/>
                  </a:lnTo>
                  <a:lnTo>
                    <a:pt x="288" y="192"/>
                  </a:lnTo>
                  <a:lnTo>
                    <a:pt x="286" y="192"/>
                  </a:lnTo>
                  <a:lnTo>
                    <a:pt x="284" y="192"/>
                  </a:lnTo>
                  <a:lnTo>
                    <a:pt x="282" y="194"/>
                  </a:lnTo>
                  <a:lnTo>
                    <a:pt x="280" y="194"/>
                  </a:lnTo>
                  <a:lnTo>
                    <a:pt x="278" y="196"/>
                  </a:lnTo>
                  <a:lnTo>
                    <a:pt x="276" y="196"/>
                  </a:lnTo>
                  <a:lnTo>
                    <a:pt x="276" y="198"/>
                  </a:lnTo>
                  <a:lnTo>
                    <a:pt x="274" y="198"/>
                  </a:lnTo>
                  <a:lnTo>
                    <a:pt x="274" y="200"/>
                  </a:lnTo>
                  <a:lnTo>
                    <a:pt x="274" y="200"/>
                  </a:lnTo>
                  <a:lnTo>
                    <a:pt x="274" y="202"/>
                  </a:lnTo>
                  <a:lnTo>
                    <a:pt x="274" y="202"/>
                  </a:lnTo>
                  <a:lnTo>
                    <a:pt x="274" y="206"/>
                  </a:lnTo>
                  <a:lnTo>
                    <a:pt x="274" y="208"/>
                  </a:lnTo>
                  <a:lnTo>
                    <a:pt x="276" y="210"/>
                  </a:lnTo>
                  <a:lnTo>
                    <a:pt x="276" y="214"/>
                  </a:lnTo>
                  <a:lnTo>
                    <a:pt x="276" y="214"/>
                  </a:lnTo>
                  <a:lnTo>
                    <a:pt x="276" y="216"/>
                  </a:lnTo>
                  <a:lnTo>
                    <a:pt x="276" y="216"/>
                  </a:lnTo>
                  <a:lnTo>
                    <a:pt x="274" y="218"/>
                  </a:lnTo>
                  <a:lnTo>
                    <a:pt x="274" y="218"/>
                  </a:lnTo>
                  <a:lnTo>
                    <a:pt x="274" y="218"/>
                  </a:lnTo>
                  <a:lnTo>
                    <a:pt x="272" y="220"/>
                  </a:lnTo>
                  <a:lnTo>
                    <a:pt x="270" y="220"/>
                  </a:lnTo>
                  <a:lnTo>
                    <a:pt x="270" y="220"/>
                  </a:lnTo>
                  <a:lnTo>
                    <a:pt x="268" y="222"/>
                  </a:lnTo>
                  <a:lnTo>
                    <a:pt x="266" y="224"/>
                  </a:lnTo>
                  <a:lnTo>
                    <a:pt x="264" y="230"/>
                  </a:lnTo>
                  <a:lnTo>
                    <a:pt x="262" y="232"/>
                  </a:lnTo>
                  <a:lnTo>
                    <a:pt x="262" y="234"/>
                  </a:lnTo>
                  <a:lnTo>
                    <a:pt x="260" y="236"/>
                  </a:lnTo>
                  <a:lnTo>
                    <a:pt x="260" y="236"/>
                  </a:lnTo>
                  <a:lnTo>
                    <a:pt x="258" y="238"/>
                  </a:lnTo>
                  <a:lnTo>
                    <a:pt x="258" y="238"/>
                  </a:lnTo>
                  <a:lnTo>
                    <a:pt x="256" y="238"/>
                  </a:lnTo>
                  <a:lnTo>
                    <a:pt x="254" y="240"/>
                  </a:lnTo>
                  <a:lnTo>
                    <a:pt x="252" y="240"/>
                  </a:lnTo>
                  <a:lnTo>
                    <a:pt x="250" y="242"/>
                  </a:lnTo>
                  <a:lnTo>
                    <a:pt x="248" y="242"/>
                  </a:lnTo>
                  <a:lnTo>
                    <a:pt x="244" y="242"/>
                  </a:lnTo>
                  <a:lnTo>
                    <a:pt x="242" y="244"/>
                  </a:lnTo>
                  <a:lnTo>
                    <a:pt x="240" y="244"/>
                  </a:lnTo>
                  <a:lnTo>
                    <a:pt x="240" y="246"/>
                  </a:lnTo>
                  <a:lnTo>
                    <a:pt x="238" y="248"/>
                  </a:lnTo>
                  <a:lnTo>
                    <a:pt x="236" y="252"/>
                  </a:lnTo>
                  <a:lnTo>
                    <a:pt x="234" y="254"/>
                  </a:lnTo>
                  <a:lnTo>
                    <a:pt x="232" y="256"/>
                  </a:lnTo>
                  <a:lnTo>
                    <a:pt x="230" y="258"/>
                  </a:lnTo>
                  <a:lnTo>
                    <a:pt x="230" y="258"/>
                  </a:lnTo>
                  <a:lnTo>
                    <a:pt x="228" y="258"/>
                  </a:lnTo>
                  <a:lnTo>
                    <a:pt x="224" y="260"/>
                  </a:lnTo>
                  <a:lnTo>
                    <a:pt x="220" y="262"/>
                  </a:lnTo>
                  <a:lnTo>
                    <a:pt x="218" y="262"/>
                  </a:lnTo>
                  <a:lnTo>
                    <a:pt x="218" y="262"/>
                  </a:lnTo>
                  <a:lnTo>
                    <a:pt x="216" y="264"/>
                  </a:lnTo>
                  <a:lnTo>
                    <a:pt x="216" y="264"/>
                  </a:lnTo>
                  <a:lnTo>
                    <a:pt x="214" y="264"/>
                  </a:lnTo>
                  <a:lnTo>
                    <a:pt x="214" y="266"/>
                  </a:lnTo>
                  <a:lnTo>
                    <a:pt x="214" y="268"/>
                  </a:lnTo>
                  <a:lnTo>
                    <a:pt x="212" y="270"/>
                  </a:lnTo>
                  <a:lnTo>
                    <a:pt x="212" y="272"/>
                  </a:lnTo>
                  <a:lnTo>
                    <a:pt x="210" y="276"/>
                  </a:lnTo>
                  <a:lnTo>
                    <a:pt x="210" y="278"/>
                  </a:lnTo>
                  <a:lnTo>
                    <a:pt x="210" y="280"/>
                  </a:lnTo>
                  <a:lnTo>
                    <a:pt x="208" y="282"/>
                  </a:lnTo>
                  <a:lnTo>
                    <a:pt x="208" y="282"/>
                  </a:lnTo>
                  <a:lnTo>
                    <a:pt x="206" y="284"/>
                  </a:lnTo>
                  <a:lnTo>
                    <a:pt x="206" y="286"/>
                  </a:lnTo>
                  <a:lnTo>
                    <a:pt x="202" y="286"/>
                  </a:lnTo>
                  <a:lnTo>
                    <a:pt x="200" y="288"/>
                  </a:lnTo>
                  <a:lnTo>
                    <a:pt x="196" y="292"/>
                  </a:lnTo>
                  <a:lnTo>
                    <a:pt x="192" y="294"/>
                  </a:lnTo>
                  <a:lnTo>
                    <a:pt x="190" y="296"/>
                  </a:lnTo>
                  <a:lnTo>
                    <a:pt x="188" y="296"/>
                  </a:lnTo>
                  <a:lnTo>
                    <a:pt x="182" y="300"/>
                  </a:lnTo>
                  <a:lnTo>
                    <a:pt x="180" y="300"/>
                  </a:lnTo>
                  <a:lnTo>
                    <a:pt x="176" y="302"/>
                  </a:lnTo>
                  <a:lnTo>
                    <a:pt x="176" y="304"/>
                  </a:lnTo>
                  <a:lnTo>
                    <a:pt x="174" y="304"/>
                  </a:lnTo>
                  <a:lnTo>
                    <a:pt x="174" y="306"/>
                  </a:lnTo>
                  <a:lnTo>
                    <a:pt x="172" y="306"/>
                  </a:lnTo>
                  <a:lnTo>
                    <a:pt x="172" y="308"/>
                  </a:lnTo>
                  <a:lnTo>
                    <a:pt x="172" y="308"/>
                  </a:lnTo>
                  <a:lnTo>
                    <a:pt x="172" y="310"/>
                  </a:lnTo>
                  <a:lnTo>
                    <a:pt x="172" y="312"/>
                  </a:lnTo>
                  <a:lnTo>
                    <a:pt x="172" y="314"/>
                  </a:lnTo>
                  <a:lnTo>
                    <a:pt x="172" y="318"/>
                  </a:lnTo>
                  <a:lnTo>
                    <a:pt x="172" y="322"/>
                  </a:lnTo>
                  <a:lnTo>
                    <a:pt x="174" y="324"/>
                  </a:lnTo>
                  <a:lnTo>
                    <a:pt x="176" y="332"/>
                  </a:lnTo>
                  <a:lnTo>
                    <a:pt x="178" y="340"/>
                  </a:lnTo>
                  <a:lnTo>
                    <a:pt x="178" y="344"/>
                  </a:lnTo>
                  <a:lnTo>
                    <a:pt x="180" y="346"/>
                  </a:lnTo>
                  <a:lnTo>
                    <a:pt x="180" y="350"/>
                  </a:lnTo>
                  <a:lnTo>
                    <a:pt x="180" y="352"/>
                  </a:lnTo>
                  <a:lnTo>
                    <a:pt x="180" y="352"/>
                  </a:lnTo>
                  <a:lnTo>
                    <a:pt x="180" y="354"/>
                  </a:lnTo>
                  <a:lnTo>
                    <a:pt x="178" y="356"/>
                  </a:lnTo>
                  <a:lnTo>
                    <a:pt x="178" y="356"/>
                  </a:lnTo>
                  <a:lnTo>
                    <a:pt x="178" y="358"/>
                  </a:lnTo>
                  <a:lnTo>
                    <a:pt x="178" y="358"/>
                  </a:lnTo>
                  <a:lnTo>
                    <a:pt x="176" y="358"/>
                  </a:lnTo>
                  <a:lnTo>
                    <a:pt x="174" y="360"/>
                  </a:lnTo>
                  <a:lnTo>
                    <a:pt x="172" y="360"/>
                  </a:lnTo>
                  <a:lnTo>
                    <a:pt x="172" y="360"/>
                  </a:lnTo>
                  <a:lnTo>
                    <a:pt x="172" y="360"/>
                  </a:lnTo>
                  <a:lnTo>
                    <a:pt x="172" y="362"/>
                  </a:lnTo>
                  <a:lnTo>
                    <a:pt x="172" y="362"/>
                  </a:lnTo>
                  <a:lnTo>
                    <a:pt x="172" y="364"/>
                  </a:lnTo>
                  <a:lnTo>
                    <a:pt x="172" y="366"/>
                  </a:lnTo>
                  <a:lnTo>
                    <a:pt x="172" y="368"/>
                  </a:lnTo>
                  <a:lnTo>
                    <a:pt x="172" y="368"/>
                  </a:lnTo>
                  <a:lnTo>
                    <a:pt x="174" y="372"/>
                  </a:lnTo>
                  <a:lnTo>
                    <a:pt x="176" y="376"/>
                  </a:lnTo>
                  <a:lnTo>
                    <a:pt x="176" y="378"/>
                  </a:lnTo>
                  <a:lnTo>
                    <a:pt x="178" y="380"/>
                  </a:lnTo>
                  <a:lnTo>
                    <a:pt x="178" y="382"/>
                  </a:lnTo>
                  <a:lnTo>
                    <a:pt x="178" y="382"/>
                  </a:lnTo>
                  <a:lnTo>
                    <a:pt x="178" y="384"/>
                  </a:lnTo>
                  <a:lnTo>
                    <a:pt x="178" y="386"/>
                  </a:lnTo>
                  <a:lnTo>
                    <a:pt x="178" y="386"/>
                  </a:lnTo>
                  <a:lnTo>
                    <a:pt x="176" y="388"/>
                  </a:lnTo>
                  <a:lnTo>
                    <a:pt x="176" y="390"/>
                  </a:lnTo>
                  <a:lnTo>
                    <a:pt x="174" y="394"/>
                  </a:lnTo>
                  <a:lnTo>
                    <a:pt x="170" y="398"/>
                  </a:lnTo>
                  <a:lnTo>
                    <a:pt x="168" y="402"/>
                  </a:lnTo>
                  <a:lnTo>
                    <a:pt x="166" y="406"/>
                  </a:lnTo>
                  <a:lnTo>
                    <a:pt x="164" y="410"/>
                  </a:lnTo>
                  <a:lnTo>
                    <a:pt x="162" y="412"/>
                  </a:lnTo>
                  <a:lnTo>
                    <a:pt x="160" y="414"/>
                  </a:lnTo>
                  <a:lnTo>
                    <a:pt x="160" y="416"/>
                  </a:lnTo>
                  <a:lnTo>
                    <a:pt x="158" y="418"/>
                  </a:lnTo>
                  <a:lnTo>
                    <a:pt x="156" y="420"/>
                  </a:lnTo>
                  <a:lnTo>
                    <a:pt x="154" y="420"/>
                  </a:lnTo>
                  <a:lnTo>
                    <a:pt x="152" y="422"/>
                  </a:lnTo>
                  <a:lnTo>
                    <a:pt x="150" y="424"/>
                  </a:lnTo>
                  <a:lnTo>
                    <a:pt x="148" y="426"/>
                  </a:lnTo>
                  <a:lnTo>
                    <a:pt x="146" y="426"/>
                  </a:lnTo>
                  <a:lnTo>
                    <a:pt x="144" y="426"/>
                  </a:lnTo>
                  <a:lnTo>
                    <a:pt x="142" y="426"/>
                  </a:lnTo>
                  <a:lnTo>
                    <a:pt x="142" y="426"/>
                  </a:lnTo>
                  <a:lnTo>
                    <a:pt x="140" y="426"/>
                  </a:lnTo>
                  <a:lnTo>
                    <a:pt x="140" y="426"/>
                  </a:lnTo>
                  <a:lnTo>
                    <a:pt x="138" y="426"/>
                  </a:lnTo>
                  <a:lnTo>
                    <a:pt x="136" y="424"/>
                  </a:lnTo>
                  <a:lnTo>
                    <a:pt x="136" y="424"/>
                  </a:lnTo>
                  <a:lnTo>
                    <a:pt x="134" y="422"/>
                  </a:lnTo>
                  <a:lnTo>
                    <a:pt x="134" y="422"/>
                  </a:lnTo>
                  <a:lnTo>
                    <a:pt x="132" y="420"/>
                  </a:lnTo>
                  <a:lnTo>
                    <a:pt x="132" y="420"/>
                  </a:lnTo>
                  <a:lnTo>
                    <a:pt x="132" y="418"/>
                  </a:lnTo>
                  <a:lnTo>
                    <a:pt x="132" y="416"/>
                  </a:lnTo>
                  <a:lnTo>
                    <a:pt x="132" y="414"/>
                  </a:lnTo>
                  <a:lnTo>
                    <a:pt x="130" y="412"/>
                  </a:lnTo>
                  <a:lnTo>
                    <a:pt x="130" y="406"/>
                  </a:lnTo>
                  <a:lnTo>
                    <a:pt x="130" y="404"/>
                  </a:lnTo>
                  <a:lnTo>
                    <a:pt x="130" y="402"/>
                  </a:lnTo>
                  <a:lnTo>
                    <a:pt x="130" y="400"/>
                  </a:lnTo>
                  <a:lnTo>
                    <a:pt x="128" y="398"/>
                  </a:lnTo>
                  <a:lnTo>
                    <a:pt x="126" y="392"/>
                  </a:lnTo>
                  <a:lnTo>
                    <a:pt x="124" y="388"/>
                  </a:lnTo>
                  <a:lnTo>
                    <a:pt x="122" y="382"/>
                  </a:lnTo>
                  <a:lnTo>
                    <a:pt x="116" y="370"/>
                  </a:lnTo>
                  <a:lnTo>
                    <a:pt x="114" y="366"/>
                  </a:lnTo>
                  <a:lnTo>
                    <a:pt x="112" y="362"/>
                  </a:lnTo>
                  <a:lnTo>
                    <a:pt x="110" y="358"/>
                  </a:lnTo>
                  <a:lnTo>
                    <a:pt x="108" y="352"/>
                  </a:lnTo>
                  <a:lnTo>
                    <a:pt x="104" y="340"/>
                  </a:lnTo>
                  <a:lnTo>
                    <a:pt x="102" y="334"/>
                  </a:lnTo>
                  <a:lnTo>
                    <a:pt x="100" y="328"/>
                  </a:lnTo>
                  <a:lnTo>
                    <a:pt x="98" y="322"/>
                  </a:lnTo>
                  <a:lnTo>
                    <a:pt x="96" y="318"/>
                  </a:lnTo>
                  <a:lnTo>
                    <a:pt x="94" y="314"/>
                  </a:lnTo>
                  <a:lnTo>
                    <a:pt x="92" y="312"/>
                  </a:lnTo>
                  <a:lnTo>
                    <a:pt x="88" y="304"/>
                  </a:lnTo>
                  <a:lnTo>
                    <a:pt x="84" y="300"/>
                  </a:lnTo>
                  <a:lnTo>
                    <a:pt x="82" y="298"/>
                  </a:lnTo>
                  <a:lnTo>
                    <a:pt x="80" y="294"/>
                  </a:lnTo>
                  <a:lnTo>
                    <a:pt x="80" y="292"/>
                  </a:lnTo>
                  <a:lnTo>
                    <a:pt x="78" y="292"/>
                  </a:lnTo>
                  <a:lnTo>
                    <a:pt x="78" y="288"/>
                  </a:lnTo>
                  <a:lnTo>
                    <a:pt x="76" y="284"/>
                  </a:lnTo>
                  <a:lnTo>
                    <a:pt x="74" y="278"/>
                  </a:lnTo>
                  <a:lnTo>
                    <a:pt x="74" y="274"/>
                  </a:lnTo>
                  <a:lnTo>
                    <a:pt x="72" y="268"/>
                  </a:lnTo>
                  <a:lnTo>
                    <a:pt x="72" y="264"/>
                  </a:lnTo>
                  <a:lnTo>
                    <a:pt x="72" y="260"/>
                  </a:lnTo>
                  <a:lnTo>
                    <a:pt x="70" y="256"/>
                  </a:lnTo>
                  <a:lnTo>
                    <a:pt x="70" y="252"/>
                  </a:lnTo>
                  <a:lnTo>
                    <a:pt x="70" y="250"/>
                  </a:lnTo>
                  <a:lnTo>
                    <a:pt x="70" y="240"/>
                  </a:lnTo>
                  <a:lnTo>
                    <a:pt x="72" y="232"/>
                  </a:lnTo>
                  <a:lnTo>
                    <a:pt x="72" y="228"/>
                  </a:lnTo>
                  <a:lnTo>
                    <a:pt x="70" y="224"/>
                  </a:lnTo>
                  <a:lnTo>
                    <a:pt x="70" y="218"/>
                  </a:lnTo>
                  <a:lnTo>
                    <a:pt x="70" y="212"/>
                  </a:lnTo>
                  <a:lnTo>
                    <a:pt x="70" y="208"/>
                  </a:lnTo>
                  <a:lnTo>
                    <a:pt x="68" y="206"/>
                  </a:lnTo>
                  <a:lnTo>
                    <a:pt x="68" y="202"/>
                  </a:lnTo>
                  <a:lnTo>
                    <a:pt x="68" y="200"/>
                  </a:lnTo>
                  <a:lnTo>
                    <a:pt x="66" y="196"/>
                  </a:lnTo>
                  <a:lnTo>
                    <a:pt x="66" y="192"/>
                  </a:lnTo>
                  <a:lnTo>
                    <a:pt x="64" y="190"/>
                  </a:lnTo>
                  <a:lnTo>
                    <a:pt x="64" y="188"/>
                  </a:lnTo>
                  <a:lnTo>
                    <a:pt x="62" y="186"/>
                  </a:lnTo>
                  <a:lnTo>
                    <a:pt x="62" y="186"/>
                  </a:lnTo>
                  <a:lnTo>
                    <a:pt x="62" y="186"/>
                  </a:lnTo>
                  <a:lnTo>
                    <a:pt x="62" y="184"/>
                  </a:lnTo>
                  <a:lnTo>
                    <a:pt x="60" y="184"/>
                  </a:lnTo>
                  <a:lnTo>
                    <a:pt x="60" y="184"/>
                  </a:lnTo>
                  <a:lnTo>
                    <a:pt x="60" y="184"/>
                  </a:lnTo>
                  <a:lnTo>
                    <a:pt x="58" y="186"/>
                  </a:lnTo>
                  <a:lnTo>
                    <a:pt x="58" y="186"/>
                  </a:lnTo>
                  <a:lnTo>
                    <a:pt x="58" y="186"/>
                  </a:lnTo>
                  <a:lnTo>
                    <a:pt x="58" y="188"/>
                  </a:lnTo>
                  <a:lnTo>
                    <a:pt x="58" y="190"/>
                  </a:lnTo>
                  <a:lnTo>
                    <a:pt x="60" y="192"/>
                  </a:lnTo>
                  <a:lnTo>
                    <a:pt x="60" y="194"/>
                  </a:lnTo>
                  <a:lnTo>
                    <a:pt x="60" y="196"/>
                  </a:lnTo>
                  <a:lnTo>
                    <a:pt x="60" y="198"/>
                  </a:lnTo>
                  <a:lnTo>
                    <a:pt x="60" y="198"/>
                  </a:lnTo>
                  <a:lnTo>
                    <a:pt x="60" y="200"/>
                  </a:lnTo>
                  <a:lnTo>
                    <a:pt x="58" y="202"/>
                  </a:lnTo>
                  <a:lnTo>
                    <a:pt x="56" y="202"/>
                  </a:lnTo>
                  <a:lnTo>
                    <a:pt x="56" y="204"/>
                  </a:lnTo>
                  <a:lnTo>
                    <a:pt x="54" y="206"/>
                  </a:lnTo>
                  <a:lnTo>
                    <a:pt x="52" y="206"/>
                  </a:lnTo>
                  <a:lnTo>
                    <a:pt x="52" y="208"/>
                  </a:lnTo>
                  <a:lnTo>
                    <a:pt x="50" y="208"/>
                  </a:lnTo>
                  <a:lnTo>
                    <a:pt x="48" y="208"/>
                  </a:lnTo>
                  <a:lnTo>
                    <a:pt x="48" y="210"/>
                  </a:lnTo>
                  <a:lnTo>
                    <a:pt x="44" y="210"/>
                  </a:lnTo>
                  <a:lnTo>
                    <a:pt x="42" y="210"/>
                  </a:lnTo>
                  <a:lnTo>
                    <a:pt x="38" y="210"/>
                  </a:lnTo>
                  <a:lnTo>
                    <a:pt x="36" y="210"/>
                  </a:lnTo>
                  <a:lnTo>
                    <a:pt x="34" y="208"/>
                  </a:lnTo>
                  <a:lnTo>
                    <a:pt x="30" y="208"/>
                  </a:lnTo>
                  <a:lnTo>
                    <a:pt x="30" y="208"/>
                  </a:lnTo>
                  <a:lnTo>
                    <a:pt x="28" y="208"/>
                  </a:lnTo>
                  <a:lnTo>
                    <a:pt x="28" y="206"/>
                  </a:lnTo>
                  <a:lnTo>
                    <a:pt x="26" y="206"/>
                  </a:lnTo>
                  <a:lnTo>
                    <a:pt x="24" y="204"/>
                  </a:lnTo>
                  <a:lnTo>
                    <a:pt x="20" y="200"/>
                  </a:lnTo>
                  <a:lnTo>
                    <a:pt x="18" y="198"/>
                  </a:lnTo>
                  <a:lnTo>
                    <a:pt x="16" y="194"/>
                  </a:lnTo>
                  <a:lnTo>
                    <a:pt x="14" y="194"/>
                  </a:lnTo>
                  <a:lnTo>
                    <a:pt x="14" y="192"/>
                  </a:lnTo>
                  <a:lnTo>
                    <a:pt x="12" y="190"/>
                  </a:lnTo>
                  <a:lnTo>
                    <a:pt x="12" y="188"/>
                  </a:lnTo>
                  <a:lnTo>
                    <a:pt x="12" y="188"/>
                  </a:lnTo>
                  <a:lnTo>
                    <a:pt x="12" y="186"/>
                  </a:lnTo>
                  <a:lnTo>
                    <a:pt x="12" y="186"/>
                  </a:lnTo>
                  <a:lnTo>
                    <a:pt x="12" y="184"/>
                  </a:lnTo>
                  <a:lnTo>
                    <a:pt x="12" y="184"/>
                  </a:lnTo>
                  <a:lnTo>
                    <a:pt x="14" y="184"/>
                  </a:lnTo>
                  <a:lnTo>
                    <a:pt x="16" y="182"/>
                  </a:lnTo>
                  <a:lnTo>
                    <a:pt x="18" y="180"/>
                  </a:lnTo>
                  <a:lnTo>
                    <a:pt x="18" y="178"/>
                  </a:lnTo>
                  <a:lnTo>
                    <a:pt x="20" y="178"/>
                  </a:lnTo>
                  <a:lnTo>
                    <a:pt x="20" y="176"/>
                  </a:lnTo>
                  <a:lnTo>
                    <a:pt x="20" y="176"/>
                  </a:lnTo>
                  <a:lnTo>
                    <a:pt x="20" y="176"/>
                  </a:lnTo>
                  <a:lnTo>
                    <a:pt x="20" y="174"/>
                  </a:lnTo>
                  <a:lnTo>
                    <a:pt x="20" y="174"/>
                  </a:lnTo>
                  <a:lnTo>
                    <a:pt x="20" y="174"/>
                  </a:lnTo>
                  <a:lnTo>
                    <a:pt x="20" y="174"/>
                  </a:lnTo>
                  <a:lnTo>
                    <a:pt x="18" y="174"/>
                  </a:lnTo>
                  <a:lnTo>
                    <a:pt x="16" y="174"/>
                  </a:lnTo>
                  <a:lnTo>
                    <a:pt x="14" y="174"/>
                  </a:lnTo>
                  <a:lnTo>
                    <a:pt x="12" y="176"/>
                  </a:lnTo>
                  <a:lnTo>
                    <a:pt x="12" y="176"/>
                  </a:lnTo>
                  <a:lnTo>
                    <a:pt x="10" y="176"/>
                  </a:lnTo>
                  <a:lnTo>
                    <a:pt x="8" y="176"/>
                  </a:lnTo>
                  <a:lnTo>
                    <a:pt x="8" y="176"/>
                  </a:lnTo>
                  <a:lnTo>
                    <a:pt x="8" y="176"/>
                  </a:lnTo>
                  <a:lnTo>
                    <a:pt x="6" y="174"/>
                  </a:lnTo>
                  <a:lnTo>
                    <a:pt x="6" y="174"/>
                  </a:lnTo>
                  <a:lnTo>
                    <a:pt x="4" y="172"/>
                  </a:lnTo>
                  <a:lnTo>
                    <a:pt x="4" y="168"/>
                  </a:lnTo>
                  <a:lnTo>
                    <a:pt x="2" y="166"/>
                  </a:lnTo>
                  <a:lnTo>
                    <a:pt x="0" y="164"/>
                  </a:lnTo>
                  <a:lnTo>
                    <a:pt x="2" y="162"/>
                  </a:lnTo>
                  <a:lnTo>
                    <a:pt x="4" y="160"/>
                  </a:lnTo>
                  <a:lnTo>
                    <a:pt x="6" y="158"/>
                  </a:lnTo>
                  <a:lnTo>
                    <a:pt x="6" y="156"/>
                  </a:lnTo>
                  <a:lnTo>
                    <a:pt x="8" y="156"/>
                  </a:lnTo>
                  <a:lnTo>
                    <a:pt x="10" y="154"/>
                  </a:lnTo>
                  <a:lnTo>
                    <a:pt x="10" y="154"/>
                  </a:lnTo>
                  <a:lnTo>
                    <a:pt x="12" y="154"/>
                  </a:lnTo>
                  <a:lnTo>
                    <a:pt x="14" y="154"/>
                  </a:lnTo>
                  <a:lnTo>
                    <a:pt x="16" y="154"/>
                  </a:lnTo>
                  <a:lnTo>
                    <a:pt x="20" y="154"/>
                  </a:lnTo>
                  <a:lnTo>
                    <a:pt x="24" y="156"/>
                  </a:lnTo>
                  <a:lnTo>
                    <a:pt x="28" y="156"/>
                  </a:lnTo>
                  <a:lnTo>
                    <a:pt x="30" y="156"/>
                  </a:lnTo>
                  <a:lnTo>
                    <a:pt x="32" y="156"/>
                  </a:lnTo>
                  <a:lnTo>
                    <a:pt x="34" y="156"/>
                  </a:lnTo>
                  <a:lnTo>
                    <a:pt x="36" y="156"/>
                  </a:lnTo>
                  <a:lnTo>
                    <a:pt x="38" y="156"/>
                  </a:lnTo>
                  <a:lnTo>
                    <a:pt x="38" y="154"/>
                  </a:lnTo>
                  <a:lnTo>
                    <a:pt x="38" y="154"/>
                  </a:lnTo>
                  <a:lnTo>
                    <a:pt x="38" y="154"/>
                  </a:lnTo>
                  <a:lnTo>
                    <a:pt x="40" y="154"/>
                  </a:lnTo>
                  <a:lnTo>
                    <a:pt x="40" y="152"/>
                  </a:lnTo>
                  <a:lnTo>
                    <a:pt x="40" y="150"/>
                  </a:lnTo>
                  <a:lnTo>
                    <a:pt x="40" y="148"/>
                  </a:lnTo>
                  <a:lnTo>
                    <a:pt x="40" y="146"/>
                  </a:lnTo>
                  <a:lnTo>
                    <a:pt x="40" y="144"/>
                  </a:lnTo>
                  <a:lnTo>
                    <a:pt x="40" y="144"/>
                  </a:lnTo>
                  <a:lnTo>
                    <a:pt x="40" y="142"/>
                  </a:lnTo>
                  <a:lnTo>
                    <a:pt x="40" y="140"/>
                  </a:lnTo>
                  <a:lnTo>
                    <a:pt x="38" y="140"/>
                  </a:lnTo>
                  <a:lnTo>
                    <a:pt x="38" y="136"/>
                  </a:lnTo>
                  <a:lnTo>
                    <a:pt x="36" y="134"/>
                  </a:lnTo>
                  <a:lnTo>
                    <a:pt x="34" y="132"/>
                  </a:lnTo>
                  <a:lnTo>
                    <a:pt x="28" y="126"/>
                  </a:lnTo>
                  <a:lnTo>
                    <a:pt x="24" y="122"/>
                  </a:lnTo>
                  <a:lnTo>
                    <a:pt x="24" y="120"/>
                  </a:lnTo>
                  <a:lnTo>
                    <a:pt x="22" y="120"/>
                  </a:lnTo>
                  <a:lnTo>
                    <a:pt x="18" y="116"/>
                  </a:lnTo>
                  <a:lnTo>
                    <a:pt x="16" y="114"/>
                  </a:lnTo>
                  <a:lnTo>
                    <a:pt x="14" y="112"/>
                  </a:lnTo>
                  <a:lnTo>
                    <a:pt x="14" y="112"/>
                  </a:lnTo>
                  <a:lnTo>
                    <a:pt x="12" y="110"/>
                  </a:lnTo>
                  <a:lnTo>
                    <a:pt x="12" y="110"/>
                  </a:lnTo>
                  <a:lnTo>
                    <a:pt x="12" y="110"/>
                  </a:lnTo>
                  <a:lnTo>
                    <a:pt x="12" y="108"/>
                  </a:lnTo>
                  <a:lnTo>
                    <a:pt x="12" y="108"/>
                  </a:lnTo>
                  <a:lnTo>
                    <a:pt x="12" y="106"/>
                  </a:lnTo>
                  <a:lnTo>
                    <a:pt x="12" y="104"/>
                  </a:lnTo>
                  <a:lnTo>
                    <a:pt x="14" y="102"/>
                  </a:lnTo>
                  <a:lnTo>
                    <a:pt x="14" y="100"/>
                  </a:lnTo>
                  <a:lnTo>
                    <a:pt x="16" y="98"/>
                  </a:lnTo>
                  <a:lnTo>
                    <a:pt x="18" y="94"/>
                  </a:lnTo>
                  <a:lnTo>
                    <a:pt x="18" y="92"/>
                  </a:lnTo>
                  <a:lnTo>
                    <a:pt x="20" y="90"/>
                  </a:lnTo>
                  <a:lnTo>
                    <a:pt x="22" y="88"/>
                  </a:lnTo>
                  <a:lnTo>
                    <a:pt x="24" y="86"/>
                  </a:lnTo>
                  <a:lnTo>
                    <a:pt x="24" y="86"/>
                  </a:lnTo>
                  <a:lnTo>
                    <a:pt x="26" y="86"/>
                  </a:lnTo>
                  <a:lnTo>
                    <a:pt x="28" y="86"/>
                  </a:lnTo>
                  <a:lnTo>
                    <a:pt x="28" y="86"/>
                  </a:lnTo>
                  <a:lnTo>
                    <a:pt x="30" y="86"/>
                  </a:lnTo>
                  <a:lnTo>
                    <a:pt x="32" y="86"/>
                  </a:lnTo>
                  <a:lnTo>
                    <a:pt x="34" y="88"/>
                  </a:lnTo>
                  <a:lnTo>
                    <a:pt x="38" y="90"/>
                  </a:lnTo>
                  <a:lnTo>
                    <a:pt x="42" y="92"/>
                  </a:lnTo>
                  <a:lnTo>
                    <a:pt x="44" y="94"/>
                  </a:lnTo>
                  <a:lnTo>
                    <a:pt x="46" y="94"/>
                  </a:lnTo>
                  <a:lnTo>
                    <a:pt x="46" y="94"/>
                  </a:lnTo>
                  <a:lnTo>
                    <a:pt x="48" y="94"/>
                  </a:lnTo>
                  <a:lnTo>
                    <a:pt x="50" y="94"/>
                  </a:lnTo>
                  <a:lnTo>
                    <a:pt x="50" y="94"/>
                  </a:lnTo>
                  <a:lnTo>
                    <a:pt x="50" y="94"/>
                  </a:lnTo>
                  <a:lnTo>
                    <a:pt x="52" y="94"/>
                  </a:lnTo>
                  <a:lnTo>
                    <a:pt x="52" y="94"/>
                  </a:lnTo>
                  <a:lnTo>
                    <a:pt x="52" y="92"/>
                  </a:lnTo>
                  <a:lnTo>
                    <a:pt x="54" y="92"/>
                  </a:lnTo>
                  <a:lnTo>
                    <a:pt x="54" y="90"/>
                  </a:lnTo>
                  <a:lnTo>
                    <a:pt x="54" y="86"/>
                  </a:lnTo>
                  <a:lnTo>
                    <a:pt x="54" y="84"/>
                  </a:lnTo>
                  <a:lnTo>
                    <a:pt x="54" y="84"/>
                  </a:lnTo>
                  <a:lnTo>
                    <a:pt x="54" y="82"/>
                  </a:lnTo>
                  <a:lnTo>
                    <a:pt x="56" y="78"/>
                  </a:lnTo>
                  <a:lnTo>
                    <a:pt x="56" y="76"/>
                  </a:lnTo>
                  <a:lnTo>
                    <a:pt x="56" y="74"/>
                  </a:lnTo>
                  <a:lnTo>
                    <a:pt x="56" y="72"/>
                  </a:lnTo>
                  <a:lnTo>
                    <a:pt x="56" y="72"/>
                  </a:lnTo>
                  <a:lnTo>
                    <a:pt x="58" y="72"/>
                  </a:lnTo>
                  <a:lnTo>
                    <a:pt x="60" y="70"/>
                  </a:lnTo>
                  <a:lnTo>
                    <a:pt x="62" y="68"/>
                  </a:lnTo>
                  <a:lnTo>
                    <a:pt x="64" y="66"/>
                  </a:lnTo>
                  <a:lnTo>
                    <a:pt x="66" y="64"/>
                  </a:lnTo>
                  <a:lnTo>
                    <a:pt x="68" y="62"/>
                  </a:lnTo>
                  <a:lnTo>
                    <a:pt x="70" y="60"/>
                  </a:lnTo>
                  <a:lnTo>
                    <a:pt x="72" y="60"/>
                  </a:lnTo>
                  <a:lnTo>
                    <a:pt x="72" y="60"/>
                  </a:lnTo>
                  <a:lnTo>
                    <a:pt x="74" y="58"/>
                  </a:lnTo>
                  <a:lnTo>
                    <a:pt x="74" y="56"/>
                  </a:lnTo>
                  <a:lnTo>
                    <a:pt x="74" y="52"/>
                  </a:lnTo>
                  <a:lnTo>
                    <a:pt x="76" y="48"/>
                  </a:lnTo>
                  <a:lnTo>
                    <a:pt x="76" y="46"/>
                  </a:lnTo>
                  <a:lnTo>
                    <a:pt x="78" y="46"/>
                  </a:lnTo>
                  <a:lnTo>
                    <a:pt x="78" y="44"/>
                  </a:lnTo>
                  <a:lnTo>
                    <a:pt x="80" y="42"/>
                  </a:lnTo>
                  <a:lnTo>
                    <a:pt x="82" y="40"/>
                  </a:lnTo>
                  <a:lnTo>
                    <a:pt x="84" y="38"/>
                  </a:lnTo>
                  <a:lnTo>
                    <a:pt x="86" y="38"/>
                  </a:lnTo>
                  <a:lnTo>
                    <a:pt x="86" y="36"/>
                  </a:lnTo>
                  <a:lnTo>
                    <a:pt x="86" y="36"/>
                  </a:lnTo>
                  <a:lnTo>
                    <a:pt x="88" y="36"/>
                  </a:lnTo>
                  <a:lnTo>
                    <a:pt x="88" y="34"/>
                  </a:lnTo>
                  <a:lnTo>
                    <a:pt x="88" y="32"/>
                  </a:lnTo>
                  <a:lnTo>
                    <a:pt x="88" y="32"/>
                  </a:lnTo>
                  <a:lnTo>
                    <a:pt x="88" y="30"/>
                  </a:lnTo>
                  <a:lnTo>
                    <a:pt x="88" y="26"/>
                  </a:lnTo>
                  <a:lnTo>
                    <a:pt x="88" y="22"/>
                  </a:lnTo>
                  <a:lnTo>
                    <a:pt x="86" y="16"/>
                  </a:lnTo>
                  <a:lnTo>
                    <a:pt x="86" y="12"/>
                  </a:lnTo>
                  <a:lnTo>
                    <a:pt x="88" y="10"/>
                  </a:lnTo>
                  <a:lnTo>
                    <a:pt x="94" y="6"/>
                  </a:lnTo>
                  <a:lnTo>
                    <a:pt x="98" y="4"/>
                  </a:lnTo>
                  <a:lnTo>
                    <a:pt x="100" y="2"/>
                  </a:lnTo>
                  <a:lnTo>
                    <a:pt x="104" y="2"/>
                  </a:lnTo>
                  <a:lnTo>
                    <a:pt x="106" y="0"/>
                  </a:lnTo>
                  <a:lnTo>
                    <a:pt x="106" y="0"/>
                  </a:lnTo>
                  <a:lnTo>
                    <a:pt x="108" y="0"/>
                  </a:lnTo>
                  <a:lnTo>
                    <a:pt x="110" y="0"/>
                  </a:lnTo>
                  <a:lnTo>
                    <a:pt x="112" y="0"/>
                  </a:lnTo>
                  <a:lnTo>
                    <a:pt x="114" y="0"/>
                  </a:lnTo>
                  <a:lnTo>
                    <a:pt x="116" y="0"/>
                  </a:lnTo>
                  <a:lnTo>
                    <a:pt x="118" y="0"/>
                  </a:lnTo>
                  <a:lnTo>
                    <a:pt x="122" y="0"/>
                  </a:lnTo>
                  <a:lnTo>
                    <a:pt x="122" y="2"/>
                  </a:lnTo>
                  <a:lnTo>
                    <a:pt x="124" y="2"/>
                  </a:lnTo>
                  <a:lnTo>
                    <a:pt x="126" y="2"/>
                  </a:lnTo>
                  <a:lnTo>
                    <a:pt x="128" y="4"/>
                  </a:lnTo>
                  <a:lnTo>
                    <a:pt x="128" y="4"/>
                  </a:lnTo>
                  <a:lnTo>
                    <a:pt x="130" y="6"/>
                  </a:lnTo>
                  <a:lnTo>
                    <a:pt x="132" y="8"/>
                  </a:lnTo>
                  <a:lnTo>
                    <a:pt x="134" y="8"/>
                  </a:lnTo>
                  <a:lnTo>
                    <a:pt x="134" y="10"/>
                  </a:lnTo>
                  <a:lnTo>
                    <a:pt x="134" y="12"/>
                  </a:lnTo>
                  <a:lnTo>
                    <a:pt x="134" y="12"/>
                  </a:lnTo>
                  <a:lnTo>
                    <a:pt x="134" y="14"/>
                  </a:lnTo>
                  <a:lnTo>
                    <a:pt x="134" y="16"/>
                  </a:lnTo>
                  <a:lnTo>
                    <a:pt x="134" y="20"/>
                  </a:lnTo>
                  <a:lnTo>
                    <a:pt x="134" y="24"/>
                  </a:lnTo>
                  <a:lnTo>
                    <a:pt x="132" y="28"/>
                  </a:lnTo>
                  <a:lnTo>
                    <a:pt x="132" y="28"/>
                  </a:lnTo>
                  <a:lnTo>
                    <a:pt x="132" y="30"/>
                  </a:lnTo>
                  <a:lnTo>
                    <a:pt x="132" y="32"/>
                  </a:lnTo>
                  <a:lnTo>
                    <a:pt x="132" y="34"/>
                  </a:lnTo>
                  <a:lnTo>
                    <a:pt x="134" y="34"/>
                  </a:lnTo>
                  <a:lnTo>
                    <a:pt x="134" y="36"/>
                  </a:lnTo>
                  <a:lnTo>
                    <a:pt x="134" y="36"/>
                  </a:lnTo>
                  <a:lnTo>
                    <a:pt x="136" y="38"/>
                  </a:lnTo>
                  <a:lnTo>
                    <a:pt x="136" y="38"/>
                  </a:lnTo>
                  <a:lnTo>
                    <a:pt x="138" y="38"/>
                  </a:lnTo>
                  <a:lnTo>
                    <a:pt x="140" y="38"/>
                  </a:lnTo>
                  <a:lnTo>
                    <a:pt x="144" y="38"/>
                  </a:lnTo>
                  <a:lnTo>
                    <a:pt x="148" y="38"/>
                  </a:lnTo>
                  <a:lnTo>
                    <a:pt x="150" y="40"/>
                  </a:lnTo>
                  <a:lnTo>
                    <a:pt x="154" y="40"/>
                  </a:lnTo>
                  <a:lnTo>
                    <a:pt x="154" y="40"/>
                  </a:lnTo>
                  <a:lnTo>
                    <a:pt x="156" y="40"/>
                  </a:lnTo>
                  <a:lnTo>
                    <a:pt x="158" y="42"/>
                  </a:lnTo>
                  <a:lnTo>
                    <a:pt x="158" y="44"/>
                  </a:lnTo>
                  <a:lnTo>
                    <a:pt x="162" y="46"/>
                  </a:lnTo>
                  <a:lnTo>
                    <a:pt x="164" y="48"/>
                  </a:lnTo>
                  <a:lnTo>
                    <a:pt x="166" y="52"/>
                  </a:lnTo>
                  <a:lnTo>
                    <a:pt x="168" y="52"/>
                  </a:lnTo>
                  <a:lnTo>
                    <a:pt x="168" y="56"/>
                  </a:lnTo>
                  <a:lnTo>
                    <a:pt x="168" y="64"/>
                  </a:lnTo>
                  <a:lnTo>
                    <a:pt x="168" y="68"/>
                  </a:lnTo>
                  <a:lnTo>
                    <a:pt x="168" y="72"/>
                  </a:lnTo>
                  <a:lnTo>
                    <a:pt x="170" y="74"/>
                  </a:lnTo>
                  <a:lnTo>
                    <a:pt x="170" y="76"/>
                  </a:lnTo>
                  <a:lnTo>
                    <a:pt x="170" y="78"/>
                  </a:lnTo>
                  <a:lnTo>
                    <a:pt x="172" y="80"/>
                  </a:lnTo>
                  <a:lnTo>
                    <a:pt x="172" y="82"/>
                  </a:lnTo>
                  <a:lnTo>
                    <a:pt x="174" y="84"/>
                  </a:lnTo>
                  <a:lnTo>
                    <a:pt x="176" y="86"/>
                  </a:lnTo>
                  <a:lnTo>
                    <a:pt x="176" y="88"/>
                  </a:lnTo>
                  <a:lnTo>
                    <a:pt x="178" y="90"/>
                  </a:lnTo>
                  <a:lnTo>
                    <a:pt x="180" y="90"/>
                  </a:lnTo>
                  <a:lnTo>
                    <a:pt x="182" y="92"/>
                  </a:lnTo>
                  <a:lnTo>
                    <a:pt x="184" y="92"/>
                  </a:lnTo>
                  <a:lnTo>
                    <a:pt x="186" y="94"/>
                  </a:lnTo>
                  <a:lnTo>
                    <a:pt x="188" y="94"/>
                  </a:lnTo>
                  <a:lnTo>
                    <a:pt x="190" y="94"/>
                  </a:lnTo>
                  <a:lnTo>
                    <a:pt x="196" y="96"/>
                  </a:lnTo>
                  <a:lnTo>
                    <a:pt x="198" y="96"/>
                  </a:lnTo>
                  <a:lnTo>
                    <a:pt x="200" y="96"/>
                  </a:lnTo>
                  <a:lnTo>
                    <a:pt x="204" y="98"/>
                  </a:lnTo>
                  <a:lnTo>
                    <a:pt x="210" y="102"/>
                  </a:lnTo>
                  <a:lnTo>
                    <a:pt x="216" y="104"/>
                  </a:lnTo>
                  <a:lnTo>
                    <a:pt x="220" y="104"/>
                  </a:lnTo>
                  <a:lnTo>
                    <a:pt x="222" y="106"/>
                  </a:lnTo>
                  <a:lnTo>
                    <a:pt x="224" y="106"/>
                  </a:lnTo>
                  <a:lnTo>
                    <a:pt x="226" y="106"/>
                  </a:lnTo>
                  <a:lnTo>
                    <a:pt x="230" y="108"/>
                  </a:lnTo>
                  <a:lnTo>
                    <a:pt x="236" y="108"/>
                  </a:lnTo>
                  <a:lnTo>
                    <a:pt x="238" y="108"/>
                  </a:lnTo>
                  <a:lnTo>
                    <a:pt x="240" y="110"/>
                  </a:lnTo>
                  <a:lnTo>
                    <a:pt x="240" y="110"/>
                  </a:lnTo>
                  <a:lnTo>
                    <a:pt x="242" y="110"/>
                  </a:lnTo>
                  <a:lnTo>
                    <a:pt x="246" y="114"/>
                  </a:lnTo>
                  <a:lnTo>
                    <a:pt x="248" y="114"/>
                  </a:lnTo>
                  <a:lnTo>
                    <a:pt x="250" y="116"/>
                  </a:lnTo>
                  <a:lnTo>
                    <a:pt x="250" y="116"/>
                  </a:lnTo>
                  <a:lnTo>
                    <a:pt x="252" y="116"/>
                  </a:lnTo>
                  <a:lnTo>
                    <a:pt x="254" y="118"/>
                  </a:lnTo>
                  <a:lnTo>
                    <a:pt x="256" y="118"/>
                  </a:lnTo>
                  <a:lnTo>
                    <a:pt x="258" y="116"/>
                  </a:lnTo>
                  <a:lnTo>
                    <a:pt x="260" y="116"/>
                  </a:lnTo>
                  <a:lnTo>
                    <a:pt x="264" y="116"/>
                  </a:lnTo>
                  <a:lnTo>
                    <a:pt x="266" y="116"/>
                  </a:lnTo>
                  <a:lnTo>
                    <a:pt x="268" y="116"/>
                  </a:lnTo>
                  <a:lnTo>
                    <a:pt x="270" y="116"/>
                  </a:lnTo>
                  <a:lnTo>
                    <a:pt x="272" y="116"/>
                  </a:lnTo>
                  <a:lnTo>
                    <a:pt x="276" y="116"/>
                  </a:lnTo>
                  <a:lnTo>
                    <a:pt x="278" y="116"/>
                  </a:lnTo>
                  <a:lnTo>
                    <a:pt x="280" y="116"/>
                  </a:lnTo>
                  <a:lnTo>
                    <a:pt x="280" y="116"/>
                  </a:lnTo>
                  <a:lnTo>
                    <a:pt x="282" y="116"/>
                  </a:lnTo>
                  <a:lnTo>
                    <a:pt x="282" y="116"/>
                  </a:lnTo>
                  <a:lnTo>
                    <a:pt x="282" y="114"/>
                  </a:lnTo>
                  <a:lnTo>
                    <a:pt x="284" y="114"/>
                  </a:lnTo>
                  <a:lnTo>
                    <a:pt x="284" y="112"/>
                  </a:lnTo>
                  <a:lnTo>
                    <a:pt x="286" y="110"/>
                  </a:lnTo>
                  <a:lnTo>
                    <a:pt x="288" y="108"/>
                  </a:lnTo>
                  <a:lnTo>
                    <a:pt x="290" y="102"/>
                  </a:lnTo>
                  <a:lnTo>
                    <a:pt x="290" y="100"/>
                  </a:lnTo>
                  <a:lnTo>
                    <a:pt x="298" y="86"/>
                  </a:lnTo>
                  <a:lnTo>
                    <a:pt x="300" y="88"/>
                  </a:lnTo>
                  <a:lnTo>
                    <a:pt x="304" y="90"/>
                  </a:lnTo>
                  <a:lnTo>
                    <a:pt x="308" y="92"/>
                  </a:lnTo>
                  <a:lnTo>
                    <a:pt x="312" y="94"/>
                  </a:lnTo>
                  <a:lnTo>
                    <a:pt x="314" y="94"/>
                  </a:lnTo>
                  <a:lnTo>
                    <a:pt x="314" y="94"/>
                  </a:lnTo>
                  <a:lnTo>
                    <a:pt x="316" y="94"/>
                  </a:lnTo>
                  <a:lnTo>
                    <a:pt x="320" y="94"/>
                  </a:lnTo>
                  <a:lnTo>
                    <a:pt x="324" y="94"/>
                  </a:lnTo>
                  <a:lnTo>
                    <a:pt x="328" y="94"/>
                  </a:lnTo>
                  <a:lnTo>
                    <a:pt x="334" y="94"/>
                  </a:lnTo>
                  <a:lnTo>
                    <a:pt x="338" y="94"/>
                  </a:lnTo>
                  <a:lnTo>
                    <a:pt x="340" y="90"/>
                  </a:lnTo>
                  <a:lnTo>
                    <a:pt x="342" y="86"/>
                  </a:lnTo>
                  <a:lnTo>
                    <a:pt x="344" y="84"/>
                  </a:lnTo>
                  <a:lnTo>
                    <a:pt x="344" y="82"/>
                  </a:lnTo>
                  <a:lnTo>
                    <a:pt x="346" y="82"/>
                  </a:lnTo>
                  <a:lnTo>
                    <a:pt x="348" y="80"/>
                  </a:lnTo>
                  <a:lnTo>
                    <a:pt x="350" y="78"/>
                  </a:lnTo>
                  <a:lnTo>
                    <a:pt x="354" y="78"/>
                  </a:lnTo>
                  <a:lnTo>
                    <a:pt x="356" y="76"/>
                  </a:lnTo>
                  <a:lnTo>
                    <a:pt x="358" y="74"/>
                  </a:lnTo>
                  <a:lnTo>
                    <a:pt x="360" y="74"/>
                  </a:lnTo>
                  <a:lnTo>
                    <a:pt x="362" y="72"/>
                  </a:lnTo>
                  <a:lnTo>
                    <a:pt x="364" y="72"/>
                  </a:lnTo>
                  <a:lnTo>
                    <a:pt x="368" y="72"/>
                  </a:lnTo>
                  <a:lnTo>
                    <a:pt x="370" y="72"/>
                  </a:lnTo>
                  <a:lnTo>
                    <a:pt x="374" y="72"/>
                  </a:lnTo>
                  <a:lnTo>
                    <a:pt x="378" y="72"/>
                  </a:lnTo>
                  <a:lnTo>
                    <a:pt x="380" y="72"/>
                  </a:lnTo>
                  <a:lnTo>
                    <a:pt x="382" y="72"/>
                  </a:lnTo>
                  <a:lnTo>
                    <a:pt x="386" y="72"/>
                  </a:lnTo>
                  <a:lnTo>
                    <a:pt x="388" y="74"/>
                  </a:lnTo>
                  <a:lnTo>
                    <a:pt x="390" y="74"/>
                  </a:lnTo>
                  <a:lnTo>
                    <a:pt x="392" y="76"/>
                  </a:lnTo>
                  <a:lnTo>
                    <a:pt x="394" y="76"/>
                  </a:lnTo>
                  <a:lnTo>
                    <a:pt x="396" y="78"/>
                  </a:lnTo>
                  <a:lnTo>
                    <a:pt x="398" y="80"/>
                  </a:lnTo>
                  <a:lnTo>
                    <a:pt x="400" y="80"/>
                  </a:lnTo>
                  <a:lnTo>
                    <a:pt x="402" y="82"/>
                  </a:lnTo>
                  <a:lnTo>
                    <a:pt x="404" y="84"/>
                  </a:lnTo>
                  <a:lnTo>
                    <a:pt x="404" y="86"/>
                  </a:lnTo>
                  <a:lnTo>
                    <a:pt x="406" y="88"/>
                  </a:lnTo>
                  <a:lnTo>
                    <a:pt x="408" y="90"/>
                  </a:lnTo>
                  <a:lnTo>
                    <a:pt x="410" y="94"/>
                  </a:lnTo>
                  <a:lnTo>
                    <a:pt x="412" y="96"/>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 name="Freeform 42">
              <a:extLst>
                <a:ext uri="{FF2B5EF4-FFF2-40B4-BE49-F238E27FC236}">
                  <a16:creationId xmlns:a16="http://schemas.microsoft.com/office/drawing/2014/main" id="{1F5E6B31-978E-45D6-B69F-1769DE77275C}"/>
                </a:ext>
              </a:extLst>
            </p:cNvPr>
            <p:cNvSpPr>
              <a:spLocks/>
            </p:cNvSpPr>
            <p:nvPr/>
          </p:nvSpPr>
          <p:spPr bwMode="auto">
            <a:xfrm>
              <a:off x="6441234" y="3877170"/>
              <a:ext cx="138566" cy="148958"/>
            </a:xfrm>
            <a:custGeom>
              <a:avLst/>
              <a:gdLst>
                <a:gd name="T0" fmla="*/ 70 w 80"/>
                <a:gd name="T1" fmla="*/ 86 h 86"/>
                <a:gd name="T2" fmla="*/ 64 w 80"/>
                <a:gd name="T3" fmla="*/ 84 h 86"/>
                <a:gd name="T4" fmla="*/ 60 w 80"/>
                <a:gd name="T5" fmla="*/ 78 h 86"/>
                <a:gd name="T6" fmla="*/ 56 w 80"/>
                <a:gd name="T7" fmla="*/ 72 h 86"/>
                <a:gd name="T8" fmla="*/ 54 w 80"/>
                <a:gd name="T9" fmla="*/ 66 h 86"/>
                <a:gd name="T10" fmla="*/ 54 w 80"/>
                <a:gd name="T11" fmla="*/ 62 h 86"/>
                <a:gd name="T12" fmla="*/ 56 w 80"/>
                <a:gd name="T13" fmla="*/ 58 h 86"/>
                <a:gd name="T14" fmla="*/ 56 w 80"/>
                <a:gd name="T15" fmla="*/ 54 h 86"/>
                <a:gd name="T16" fmla="*/ 54 w 80"/>
                <a:gd name="T17" fmla="*/ 48 h 86"/>
                <a:gd name="T18" fmla="*/ 50 w 80"/>
                <a:gd name="T19" fmla="*/ 44 h 86"/>
                <a:gd name="T20" fmla="*/ 48 w 80"/>
                <a:gd name="T21" fmla="*/ 42 h 86"/>
                <a:gd name="T22" fmla="*/ 46 w 80"/>
                <a:gd name="T23" fmla="*/ 42 h 86"/>
                <a:gd name="T24" fmla="*/ 46 w 80"/>
                <a:gd name="T25" fmla="*/ 44 h 86"/>
                <a:gd name="T26" fmla="*/ 44 w 80"/>
                <a:gd name="T27" fmla="*/ 50 h 86"/>
                <a:gd name="T28" fmla="*/ 44 w 80"/>
                <a:gd name="T29" fmla="*/ 52 h 86"/>
                <a:gd name="T30" fmla="*/ 40 w 80"/>
                <a:gd name="T31" fmla="*/ 54 h 86"/>
                <a:gd name="T32" fmla="*/ 34 w 80"/>
                <a:gd name="T33" fmla="*/ 56 h 86"/>
                <a:gd name="T34" fmla="*/ 30 w 80"/>
                <a:gd name="T35" fmla="*/ 58 h 86"/>
                <a:gd name="T36" fmla="*/ 30 w 80"/>
                <a:gd name="T37" fmla="*/ 60 h 86"/>
                <a:gd name="T38" fmla="*/ 30 w 80"/>
                <a:gd name="T39" fmla="*/ 64 h 86"/>
                <a:gd name="T40" fmla="*/ 30 w 80"/>
                <a:gd name="T41" fmla="*/ 72 h 86"/>
                <a:gd name="T42" fmla="*/ 30 w 80"/>
                <a:gd name="T43" fmla="*/ 74 h 86"/>
                <a:gd name="T44" fmla="*/ 28 w 80"/>
                <a:gd name="T45" fmla="*/ 76 h 86"/>
                <a:gd name="T46" fmla="*/ 22 w 80"/>
                <a:gd name="T47" fmla="*/ 76 h 86"/>
                <a:gd name="T48" fmla="*/ 14 w 80"/>
                <a:gd name="T49" fmla="*/ 74 h 86"/>
                <a:gd name="T50" fmla="*/ 14 w 80"/>
                <a:gd name="T51" fmla="*/ 62 h 86"/>
                <a:gd name="T52" fmla="*/ 14 w 80"/>
                <a:gd name="T53" fmla="*/ 50 h 86"/>
                <a:gd name="T54" fmla="*/ 14 w 80"/>
                <a:gd name="T55" fmla="*/ 40 h 86"/>
                <a:gd name="T56" fmla="*/ 12 w 80"/>
                <a:gd name="T57" fmla="*/ 34 h 86"/>
                <a:gd name="T58" fmla="*/ 10 w 80"/>
                <a:gd name="T59" fmla="*/ 34 h 86"/>
                <a:gd name="T60" fmla="*/ 6 w 80"/>
                <a:gd name="T61" fmla="*/ 32 h 86"/>
                <a:gd name="T62" fmla="*/ 2 w 80"/>
                <a:gd name="T63" fmla="*/ 32 h 86"/>
                <a:gd name="T64" fmla="*/ 0 w 80"/>
                <a:gd name="T65" fmla="*/ 30 h 86"/>
                <a:gd name="T66" fmla="*/ 0 w 80"/>
                <a:gd name="T67" fmla="*/ 24 h 86"/>
                <a:gd name="T68" fmla="*/ 2 w 80"/>
                <a:gd name="T69" fmla="*/ 16 h 86"/>
                <a:gd name="T70" fmla="*/ 4 w 80"/>
                <a:gd name="T71" fmla="*/ 10 h 86"/>
                <a:gd name="T72" fmla="*/ 8 w 80"/>
                <a:gd name="T73" fmla="*/ 4 h 86"/>
                <a:gd name="T74" fmla="*/ 10 w 80"/>
                <a:gd name="T75" fmla="*/ 0 h 86"/>
                <a:gd name="T76" fmla="*/ 14 w 80"/>
                <a:gd name="T77" fmla="*/ 0 h 86"/>
                <a:gd name="T78" fmla="*/ 16 w 80"/>
                <a:gd name="T79" fmla="*/ 2 h 86"/>
                <a:gd name="T80" fmla="*/ 24 w 80"/>
                <a:gd name="T81" fmla="*/ 10 h 86"/>
                <a:gd name="T82" fmla="*/ 30 w 80"/>
                <a:gd name="T83" fmla="*/ 12 h 86"/>
                <a:gd name="T84" fmla="*/ 36 w 80"/>
                <a:gd name="T85" fmla="*/ 14 h 86"/>
                <a:gd name="T86" fmla="*/ 44 w 80"/>
                <a:gd name="T87" fmla="*/ 16 h 86"/>
                <a:gd name="T88" fmla="*/ 54 w 80"/>
                <a:gd name="T89" fmla="*/ 20 h 86"/>
                <a:gd name="T90" fmla="*/ 60 w 80"/>
                <a:gd name="T91" fmla="*/ 24 h 86"/>
                <a:gd name="T92" fmla="*/ 62 w 80"/>
                <a:gd name="T93" fmla="*/ 26 h 86"/>
                <a:gd name="T94" fmla="*/ 64 w 80"/>
                <a:gd name="T95" fmla="*/ 32 h 86"/>
                <a:gd name="T96" fmla="*/ 64 w 80"/>
                <a:gd name="T97" fmla="*/ 40 h 86"/>
                <a:gd name="T98" fmla="*/ 66 w 80"/>
                <a:gd name="T99" fmla="*/ 54 h 86"/>
                <a:gd name="T100" fmla="*/ 70 w 80"/>
                <a:gd name="T101" fmla="*/ 64 h 86"/>
                <a:gd name="T102" fmla="*/ 72 w 80"/>
                <a:gd name="T103" fmla="*/ 68 h 86"/>
                <a:gd name="T104" fmla="*/ 78 w 80"/>
                <a:gd name="T105"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86">
                  <a:moveTo>
                    <a:pt x="80" y="74"/>
                  </a:moveTo>
                  <a:lnTo>
                    <a:pt x="74" y="86"/>
                  </a:lnTo>
                  <a:lnTo>
                    <a:pt x="70" y="86"/>
                  </a:lnTo>
                  <a:lnTo>
                    <a:pt x="66" y="84"/>
                  </a:lnTo>
                  <a:lnTo>
                    <a:pt x="66" y="84"/>
                  </a:lnTo>
                  <a:lnTo>
                    <a:pt x="64" y="84"/>
                  </a:lnTo>
                  <a:lnTo>
                    <a:pt x="64" y="82"/>
                  </a:lnTo>
                  <a:lnTo>
                    <a:pt x="62" y="80"/>
                  </a:lnTo>
                  <a:lnTo>
                    <a:pt x="60" y="78"/>
                  </a:lnTo>
                  <a:lnTo>
                    <a:pt x="58" y="76"/>
                  </a:lnTo>
                  <a:lnTo>
                    <a:pt x="56" y="74"/>
                  </a:lnTo>
                  <a:lnTo>
                    <a:pt x="56" y="72"/>
                  </a:lnTo>
                  <a:lnTo>
                    <a:pt x="54" y="70"/>
                  </a:lnTo>
                  <a:lnTo>
                    <a:pt x="54" y="68"/>
                  </a:lnTo>
                  <a:lnTo>
                    <a:pt x="54" y="66"/>
                  </a:lnTo>
                  <a:lnTo>
                    <a:pt x="54" y="66"/>
                  </a:lnTo>
                  <a:lnTo>
                    <a:pt x="54" y="64"/>
                  </a:lnTo>
                  <a:lnTo>
                    <a:pt x="54" y="62"/>
                  </a:lnTo>
                  <a:lnTo>
                    <a:pt x="54" y="60"/>
                  </a:lnTo>
                  <a:lnTo>
                    <a:pt x="56" y="58"/>
                  </a:lnTo>
                  <a:lnTo>
                    <a:pt x="56" y="58"/>
                  </a:lnTo>
                  <a:lnTo>
                    <a:pt x="56" y="56"/>
                  </a:lnTo>
                  <a:lnTo>
                    <a:pt x="56" y="54"/>
                  </a:lnTo>
                  <a:lnTo>
                    <a:pt x="56" y="54"/>
                  </a:lnTo>
                  <a:lnTo>
                    <a:pt x="56" y="52"/>
                  </a:lnTo>
                  <a:lnTo>
                    <a:pt x="54" y="50"/>
                  </a:lnTo>
                  <a:lnTo>
                    <a:pt x="54" y="48"/>
                  </a:lnTo>
                  <a:lnTo>
                    <a:pt x="52" y="46"/>
                  </a:lnTo>
                  <a:lnTo>
                    <a:pt x="52" y="44"/>
                  </a:lnTo>
                  <a:lnTo>
                    <a:pt x="50" y="44"/>
                  </a:lnTo>
                  <a:lnTo>
                    <a:pt x="50" y="42"/>
                  </a:lnTo>
                  <a:lnTo>
                    <a:pt x="50" y="42"/>
                  </a:lnTo>
                  <a:lnTo>
                    <a:pt x="48" y="42"/>
                  </a:lnTo>
                  <a:lnTo>
                    <a:pt x="48" y="42"/>
                  </a:lnTo>
                  <a:lnTo>
                    <a:pt x="46" y="42"/>
                  </a:lnTo>
                  <a:lnTo>
                    <a:pt x="46" y="42"/>
                  </a:lnTo>
                  <a:lnTo>
                    <a:pt x="46" y="42"/>
                  </a:lnTo>
                  <a:lnTo>
                    <a:pt x="46" y="42"/>
                  </a:lnTo>
                  <a:lnTo>
                    <a:pt x="46" y="44"/>
                  </a:lnTo>
                  <a:lnTo>
                    <a:pt x="44" y="44"/>
                  </a:lnTo>
                  <a:lnTo>
                    <a:pt x="44" y="46"/>
                  </a:lnTo>
                  <a:lnTo>
                    <a:pt x="44" y="50"/>
                  </a:lnTo>
                  <a:lnTo>
                    <a:pt x="44" y="52"/>
                  </a:lnTo>
                  <a:lnTo>
                    <a:pt x="44" y="52"/>
                  </a:lnTo>
                  <a:lnTo>
                    <a:pt x="44" y="52"/>
                  </a:lnTo>
                  <a:lnTo>
                    <a:pt x="42" y="54"/>
                  </a:lnTo>
                  <a:lnTo>
                    <a:pt x="42" y="54"/>
                  </a:lnTo>
                  <a:lnTo>
                    <a:pt x="40" y="54"/>
                  </a:lnTo>
                  <a:lnTo>
                    <a:pt x="38" y="54"/>
                  </a:lnTo>
                  <a:lnTo>
                    <a:pt x="36" y="56"/>
                  </a:lnTo>
                  <a:lnTo>
                    <a:pt x="34" y="56"/>
                  </a:lnTo>
                  <a:lnTo>
                    <a:pt x="32" y="58"/>
                  </a:lnTo>
                  <a:lnTo>
                    <a:pt x="32" y="58"/>
                  </a:lnTo>
                  <a:lnTo>
                    <a:pt x="30" y="58"/>
                  </a:lnTo>
                  <a:lnTo>
                    <a:pt x="30" y="58"/>
                  </a:lnTo>
                  <a:lnTo>
                    <a:pt x="30" y="60"/>
                  </a:lnTo>
                  <a:lnTo>
                    <a:pt x="30" y="60"/>
                  </a:lnTo>
                  <a:lnTo>
                    <a:pt x="30" y="62"/>
                  </a:lnTo>
                  <a:lnTo>
                    <a:pt x="30" y="62"/>
                  </a:lnTo>
                  <a:lnTo>
                    <a:pt x="30" y="64"/>
                  </a:lnTo>
                  <a:lnTo>
                    <a:pt x="30" y="68"/>
                  </a:lnTo>
                  <a:lnTo>
                    <a:pt x="30" y="70"/>
                  </a:lnTo>
                  <a:lnTo>
                    <a:pt x="30" y="72"/>
                  </a:lnTo>
                  <a:lnTo>
                    <a:pt x="30" y="72"/>
                  </a:lnTo>
                  <a:lnTo>
                    <a:pt x="30" y="74"/>
                  </a:lnTo>
                  <a:lnTo>
                    <a:pt x="30" y="74"/>
                  </a:lnTo>
                  <a:lnTo>
                    <a:pt x="30" y="76"/>
                  </a:lnTo>
                  <a:lnTo>
                    <a:pt x="28" y="76"/>
                  </a:lnTo>
                  <a:lnTo>
                    <a:pt x="28" y="76"/>
                  </a:lnTo>
                  <a:lnTo>
                    <a:pt x="26" y="76"/>
                  </a:lnTo>
                  <a:lnTo>
                    <a:pt x="26" y="76"/>
                  </a:lnTo>
                  <a:lnTo>
                    <a:pt x="22" y="76"/>
                  </a:lnTo>
                  <a:lnTo>
                    <a:pt x="20" y="74"/>
                  </a:lnTo>
                  <a:lnTo>
                    <a:pt x="18" y="74"/>
                  </a:lnTo>
                  <a:lnTo>
                    <a:pt x="14" y="74"/>
                  </a:lnTo>
                  <a:lnTo>
                    <a:pt x="12" y="72"/>
                  </a:lnTo>
                  <a:lnTo>
                    <a:pt x="14" y="68"/>
                  </a:lnTo>
                  <a:lnTo>
                    <a:pt x="14" y="62"/>
                  </a:lnTo>
                  <a:lnTo>
                    <a:pt x="14" y="56"/>
                  </a:lnTo>
                  <a:lnTo>
                    <a:pt x="14" y="52"/>
                  </a:lnTo>
                  <a:lnTo>
                    <a:pt x="14" y="50"/>
                  </a:lnTo>
                  <a:lnTo>
                    <a:pt x="14" y="46"/>
                  </a:lnTo>
                  <a:lnTo>
                    <a:pt x="14" y="44"/>
                  </a:lnTo>
                  <a:lnTo>
                    <a:pt x="14" y="40"/>
                  </a:lnTo>
                  <a:lnTo>
                    <a:pt x="14" y="38"/>
                  </a:lnTo>
                  <a:lnTo>
                    <a:pt x="12" y="36"/>
                  </a:lnTo>
                  <a:lnTo>
                    <a:pt x="12" y="34"/>
                  </a:lnTo>
                  <a:lnTo>
                    <a:pt x="12" y="34"/>
                  </a:lnTo>
                  <a:lnTo>
                    <a:pt x="12" y="34"/>
                  </a:lnTo>
                  <a:lnTo>
                    <a:pt x="10" y="34"/>
                  </a:lnTo>
                  <a:lnTo>
                    <a:pt x="10" y="34"/>
                  </a:lnTo>
                  <a:lnTo>
                    <a:pt x="8" y="32"/>
                  </a:lnTo>
                  <a:lnTo>
                    <a:pt x="6" y="32"/>
                  </a:lnTo>
                  <a:lnTo>
                    <a:pt x="4" y="32"/>
                  </a:lnTo>
                  <a:lnTo>
                    <a:pt x="4" y="32"/>
                  </a:lnTo>
                  <a:lnTo>
                    <a:pt x="2" y="32"/>
                  </a:lnTo>
                  <a:lnTo>
                    <a:pt x="2" y="32"/>
                  </a:lnTo>
                  <a:lnTo>
                    <a:pt x="2" y="32"/>
                  </a:lnTo>
                  <a:lnTo>
                    <a:pt x="0" y="30"/>
                  </a:lnTo>
                  <a:lnTo>
                    <a:pt x="0" y="28"/>
                  </a:lnTo>
                  <a:lnTo>
                    <a:pt x="0" y="26"/>
                  </a:lnTo>
                  <a:lnTo>
                    <a:pt x="0" y="24"/>
                  </a:lnTo>
                  <a:lnTo>
                    <a:pt x="0" y="22"/>
                  </a:lnTo>
                  <a:lnTo>
                    <a:pt x="0" y="20"/>
                  </a:lnTo>
                  <a:lnTo>
                    <a:pt x="2" y="16"/>
                  </a:lnTo>
                  <a:lnTo>
                    <a:pt x="2" y="14"/>
                  </a:lnTo>
                  <a:lnTo>
                    <a:pt x="2" y="12"/>
                  </a:lnTo>
                  <a:lnTo>
                    <a:pt x="4" y="10"/>
                  </a:lnTo>
                  <a:lnTo>
                    <a:pt x="4" y="8"/>
                  </a:lnTo>
                  <a:lnTo>
                    <a:pt x="6" y="6"/>
                  </a:lnTo>
                  <a:lnTo>
                    <a:pt x="8" y="4"/>
                  </a:lnTo>
                  <a:lnTo>
                    <a:pt x="8" y="2"/>
                  </a:lnTo>
                  <a:lnTo>
                    <a:pt x="10" y="2"/>
                  </a:lnTo>
                  <a:lnTo>
                    <a:pt x="10" y="0"/>
                  </a:lnTo>
                  <a:lnTo>
                    <a:pt x="12" y="0"/>
                  </a:lnTo>
                  <a:lnTo>
                    <a:pt x="12" y="0"/>
                  </a:lnTo>
                  <a:lnTo>
                    <a:pt x="14" y="0"/>
                  </a:lnTo>
                  <a:lnTo>
                    <a:pt x="14" y="0"/>
                  </a:lnTo>
                  <a:lnTo>
                    <a:pt x="16" y="2"/>
                  </a:lnTo>
                  <a:lnTo>
                    <a:pt x="16" y="2"/>
                  </a:lnTo>
                  <a:lnTo>
                    <a:pt x="18" y="2"/>
                  </a:lnTo>
                  <a:lnTo>
                    <a:pt x="20" y="6"/>
                  </a:lnTo>
                  <a:lnTo>
                    <a:pt x="24" y="10"/>
                  </a:lnTo>
                  <a:lnTo>
                    <a:pt x="28" y="12"/>
                  </a:lnTo>
                  <a:lnTo>
                    <a:pt x="28" y="12"/>
                  </a:lnTo>
                  <a:lnTo>
                    <a:pt x="30" y="12"/>
                  </a:lnTo>
                  <a:lnTo>
                    <a:pt x="30" y="14"/>
                  </a:lnTo>
                  <a:lnTo>
                    <a:pt x="32" y="14"/>
                  </a:lnTo>
                  <a:lnTo>
                    <a:pt x="36" y="14"/>
                  </a:lnTo>
                  <a:lnTo>
                    <a:pt x="40" y="14"/>
                  </a:lnTo>
                  <a:lnTo>
                    <a:pt x="42" y="14"/>
                  </a:lnTo>
                  <a:lnTo>
                    <a:pt x="44" y="16"/>
                  </a:lnTo>
                  <a:lnTo>
                    <a:pt x="48" y="16"/>
                  </a:lnTo>
                  <a:lnTo>
                    <a:pt x="52" y="18"/>
                  </a:lnTo>
                  <a:lnTo>
                    <a:pt x="54" y="20"/>
                  </a:lnTo>
                  <a:lnTo>
                    <a:pt x="56" y="20"/>
                  </a:lnTo>
                  <a:lnTo>
                    <a:pt x="58" y="22"/>
                  </a:lnTo>
                  <a:lnTo>
                    <a:pt x="60" y="24"/>
                  </a:lnTo>
                  <a:lnTo>
                    <a:pt x="62" y="24"/>
                  </a:lnTo>
                  <a:lnTo>
                    <a:pt x="62" y="26"/>
                  </a:lnTo>
                  <a:lnTo>
                    <a:pt x="62" y="26"/>
                  </a:lnTo>
                  <a:lnTo>
                    <a:pt x="62" y="26"/>
                  </a:lnTo>
                  <a:lnTo>
                    <a:pt x="64" y="28"/>
                  </a:lnTo>
                  <a:lnTo>
                    <a:pt x="64" y="32"/>
                  </a:lnTo>
                  <a:lnTo>
                    <a:pt x="64" y="34"/>
                  </a:lnTo>
                  <a:lnTo>
                    <a:pt x="64" y="38"/>
                  </a:lnTo>
                  <a:lnTo>
                    <a:pt x="64" y="40"/>
                  </a:lnTo>
                  <a:lnTo>
                    <a:pt x="64" y="42"/>
                  </a:lnTo>
                  <a:lnTo>
                    <a:pt x="66" y="48"/>
                  </a:lnTo>
                  <a:lnTo>
                    <a:pt x="66" y="54"/>
                  </a:lnTo>
                  <a:lnTo>
                    <a:pt x="68" y="58"/>
                  </a:lnTo>
                  <a:lnTo>
                    <a:pt x="68" y="62"/>
                  </a:lnTo>
                  <a:lnTo>
                    <a:pt x="70" y="64"/>
                  </a:lnTo>
                  <a:lnTo>
                    <a:pt x="70" y="66"/>
                  </a:lnTo>
                  <a:lnTo>
                    <a:pt x="70" y="66"/>
                  </a:lnTo>
                  <a:lnTo>
                    <a:pt x="72" y="68"/>
                  </a:lnTo>
                  <a:lnTo>
                    <a:pt x="72" y="68"/>
                  </a:lnTo>
                  <a:lnTo>
                    <a:pt x="76" y="72"/>
                  </a:lnTo>
                  <a:lnTo>
                    <a:pt x="78" y="74"/>
                  </a:lnTo>
                  <a:lnTo>
                    <a:pt x="80" y="7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 name="Freeform 43">
              <a:extLst>
                <a:ext uri="{FF2B5EF4-FFF2-40B4-BE49-F238E27FC236}">
                  <a16:creationId xmlns:a16="http://schemas.microsoft.com/office/drawing/2014/main" id="{D64C7089-1B57-4F0B-897F-2D2AD52CD7E6}"/>
                </a:ext>
              </a:extLst>
            </p:cNvPr>
            <p:cNvSpPr>
              <a:spLocks/>
            </p:cNvSpPr>
            <p:nvPr/>
          </p:nvSpPr>
          <p:spPr bwMode="auto">
            <a:xfrm>
              <a:off x="6441234" y="3877170"/>
              <a:ext cx="138566" cy="148958"/>
            </a:xfrm>
            <a:custGeom>
              <a:avLst/>
              <a:gdLst>
                <a:gd name="T0" fmla="*/ 70 w 80"/>
                <a:gd name="T1" fmla="*/ 86 h 86"/>
                <a:gd name="T2" fmla="*/ 64 w 80"/>
                <a:gd name="T3" fmla="*/ 84 h 86"/>
                <a:gd name="T4" fmla="*/ 60 w 80"/>
                <a:gd name="T5" fmla="*/ 78 h 86"/>
                <a:gd name="T6" fmla="*/ 56 w 80"/>
                <a:gd name="T7" fmla="*/ 72 h 86"/>
                <a:gd name="T8" fmla="*/ 54 w 80"/>
                <a:gd name="T9" fmla="*/ 66 h 86"/>
                <a:gd name="T10" fmla="*/ 54 w 80"/>
                <a:gd name="T11" fmla="*/ 62 h 86"/>
                <a:gd name="T12" fmla="*/ 56 w 80"/>
                <a:gd name="T13" fmla="*/ 58 h 86"/>
                <a:gd name="T14" fmla="*/ 56 w 80"/>
                <a:gd name="T15" fmla="*/ 54 h 86"/>
                <a:gd name="T16" fmla="*/ 54 w 80"/>
                <a:gd name="T17" fmla="*/ 48 h 86"/>
                <a:gd name="T18" fmla="*/ 50 w 80"/>
                <a:gd name="T19" fmla="*/ 44 h 86"/>
                <a:gd name="T20" fmla="*/ 48 w 80"/>
                <a:gd name="T21" fmla="*/ 42 h 86"/>
                <a:gd name="T22" fmla="*/ 46 w 80"/>
                <a:gd name="T23" fmla="*/ 42 h 86"/>
                <a:gd name="T24" fmla="*/ 46 w 80"/>
                <a:gd name="T25" fmla="*/ 44 h 86"/>
                <a:gd name="T26" fmla="*/ 44 w 80"/>
                <a:gd name="T27" fmla="*/ 50 h 86"/>
                <a:gd name="T28" fmla="*/ 44 w 80"/>
                <a:gd name="T29" fmla="*/ 52 h 86"/>
                <a:gd name="T30" fmla="*/ 40 w 80"/>
                <a:gd name="T31" fmla="*/ 54 h 86"/>
                <a:gd name="T32" fmla="*/ 34 w 80"/>
                <a:gd name="T33" fmla="*/ 56 h 86"/>
                <a:gd name="T34" fmla="*/ 30 w 80"/>
                <a:gd name="T35" fmla="*/ 58 h 86"/>
                <a:gd name="T36" fmla="*/ 30 w 80"/>
                <a:gd name="T37" fmla="*/ 60 h 86"/>
                <a:gd name="T38" fmla="*/ 30 w 80"/>
                <a:gd name="T39" fmla="*/ 64 h 86"/>
                <a:gd name="T40" fmla="*/ 30 w 80"/>
                <a:gd name="T41" fmla="*/ 72 h 86"/>
                <a:gd name="T42" fmla="*/ 30 w 80"/>
                <a:gd name="T43" fmla="*/ 74 h 86"/>
                <a:gd name="T44" fmla="*/ 28 w 80"/>
                <a:gd name="T45" fmla="*/ 76 h 86"/>
                <a:gd name="T46" fmla="*/ 22 w 80"/>
                <a:gd name="T47" fmla="*/ 76 h 86"/>
                <a:gd name="T48" fmla="*/ 14 w 80"/>
                <a:gd name="T49" fmla="*/ 74 h 86"/>
                <a:gd name="T50" fmla="*/ 14 w 80"/>
                <a:gd name="T51" fmla="*/ 62 h 86"/>
                <a:gd name="T52" fmla="*/ 14 w 80"/>
                <a:gd name="T53" fmla="*/ 50 h 86"/>
                <a:gd name="T54" fmla="*/ 14 w 80"/>
                <a:gd name="T55" fmla="*/ 40 h 86"/>
                <a:gd name="T56" fmla="*/ 12 w 80"/>
                <a:gd name="T57" fmla="*/ 34 h 86"/>
                <a:gd name="T58" fmla="*/ 10 w 80"/>
                <a:gd name="T59" fmla="*/ 34 h 86"/>
                <a:gd name="T60" fmla="*/ 6 w 80"/>
                <a:gd name="T61" fmla="*/ 32 h 86"/>
                <a:gd name="T62" fmla="*/ 2 w 80"/>
                <a:gd name="T63" fmla="*/ 32 h 86"/>
                <a:gd name="T64" fmla="*/ 0 w 80"/>
                <a:gd name="T65" fmla="*/ 30 h 86"/>
                <a:gd name="T66" fmla="*/ 0 w 80"/>
                <a:gd name="T67" fmla="*/ 24 h 86"/>
                <a:gd name="T68" fmla="*/ 2 w 80"/>
                <a:gd name="T69" fmla="*/ 16 h 86"/>
                <a:gd name="T70" fmla="*/ 4 w 80"/>
                <a:gd name="T71" fmla="*/ 10 h 86"/>
                <a:gd name="T72" fmla="*/ 8 w 80"/>
                <a:gd name="T73" fmla="*/ 4 h 86"/>
                <a:gd name="T74" fmla="*/ 10 w 80"/>
                <a:gd name="T75" fmla="*/ 0 h 86"/>
                <a:gd name="T76" fmla="*/ 14 w 80"/>
                <a:gd name="T77" fmla="*/ 0 h 86"/>
                <a:gd name="T78" fmla="*/ 16 w 80"/>
                <a:gd name="T79" fmla="*/ 2 h 86"/>
                <a:gd name="T80" fmla="*/ 24 w 80"/>
                <a:gd name="T81" fmla="*/ 10 h 86"/>
                <a:gd name="T82" fmla="*/ 30 w 80"/>
                <a:gd name="T83" fmla="*/ 12 h 86"/>
                <a:gd name="T84" fmla="*/ 36 w 80"/>
                <a:gd name="T85" fmla="*/ 14 h 86"/>
                <a:gd name="T86" fmla="*/ 44 w 80"/>
                <a:gd name="T87" fmla="*/ 16 h 86"/>
                <a:gd name="T88" fmla="*/ 54 w 80"/>
                <a:gd name="T89" fmla="*/ 20 h 86"/>
                <a:gd name="T90" fmla="*/ 60 w 80"/>
                <a:gd name="T91" fmla="*/ 24 h 86"/>
                <a:gd name="T92" fmla="*/ 62 w 80"/>
                <a:gd name="T93" fmla="*/ 26 h 86"/>
                <a:gd name="T94" fmla="*/ 64 w 80"/>
                <a:gd name="T95" fmla="*/ 32 h 86"/>
                <a:gd name="T96" fmla="*/ 64 w 80"/>
                <a:gd name="T97" fmla="*/ 40 h 86"/>
                <a:gd name="T98" fmla="*/ 66 w 80"/>
                <a:gd name="T99" fmla="*/ 54 h 86"/>
                <a:gd name="T100" fmla="*/ 70 w 80"/>
                <a:gd name="T101" fmla="*/ 64 h 86"/>
                <a:gd name="T102" fmla="*/ 72 w 80"/>
                <a:gd name="T103" fmla="*/ 68 h 86"/>
                <a:gd name="T104" fmla="*/ 78 w 80"/>
                <a:gd name="T105"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86">
                  <a:moveTo>
                    <a:pt x="80" y="74"/>
                  </a:moveTo>
                  <a:lnTo>
                    <a:pt x="74" y="86"/>
                  </a:lnTo>
                  <a:lnTo>
                    <a:pt x="70" y="86"/>
                  </a:lnTo>
                  <a:lnTo>
                    <a:pt x="66" y="84"/>
                  </a:lnTo>
                  <a:lnTo>
                    <a:pt x="66" y="84"/>
                  </a:lnTo>
                  <a:lnTo>
                    <a:pt x="64" y="84"/>
                  </a:lnTo>
                  <a:lnTo>
                    <a:pt x="64" y="82"/>
                  </a:lnTo>
                  <a:lnTo>
                    <a:pt x="62" y="80"/>
                  </a:lnTo>
                  <a:lnTo>
                    <a:pt x="60" y="78"/>
                  </a:lnTo>
                  <a:lnTo>
                    <a:pt x="58" y="76"/>
                  </a:lnTo>
                  <a:lnTo>
                    <a:pt x="56" y="74"/>
                  </a:lnTo>
                  <a:lnTo>
                    <a:pt x="56" y="72"/>
                  </a:lnTo>
                  <a:lnTo>
                    <a:pt x="54" y="70"/>
                  </a:lnTo>
                  <a:lnTo>
                    <a:pt x="54" y="68"/>
                  </a:lnTo>
                  <a:lnTo>
                    <a:pt x="54" y="66"/>
                  </a:lnTo>
                  <a:lnTo>
                    <a:pt x="54" y="66"/>
                  </a:lnTo>
                  <a:lnTo>
                    <a:pt x="54" y="64"/>
                  </a:lnTo>
                  <a:lnTo>
                    <a:pt x="54" y="62"/>
                  </a:lnTo>
                  <a:lnTo>
                    <a:pt x="54" y="60"/>
                  </a:lnTo>
                  <a:lnTo>
                    <a:pt x="56" y="58"/>
                  </a:lnTo>
                  <a:lnTo>
                    <a:pt x="56" y="58"/>
                  </a:lnTo>
                  <a:lnTo>
                    <a:pt x="56" y="56"/>
                  </a:lnTo>
                  <a:lnTo>
                    <a:pt x="56" y="54"/>
                  </a:lnTo>
                  <a:lnTo>
                    <a:pt x="56" y="54"/>
                  </a:lnTo>
                  <a:lnTo>
                    <a:pt x="56" y="52"/>
                  </a:lnTo>
                  <a:lnTo>
                    <a:pt x="54" y="50"/>
                  </a:lnTo>
                  <a:lnTo>
                    <a:pt x="54" y="48"/>
                  </a:lnTo>
                  <a:lnTo>
                    <a:pt x="52" y="46"/>
                  </a:lnTo>
                  <a:lnTo>
                    <a:pt x="52" y="44"/>
                  </a:lnTo>
                  <a:lnTo>
                    <a:pt x="50" y="44"/>
                  </a:lnTo>
                  <a:lnTo>
                    <a:pt x="50" y="42"/>
                  </a:lnTo>
                  <a:lnTo>
                    <a:pt x="50" y="42"/>
                  </a:lnTo>
                  <a:lnTo>
                    <a:pt x="48" y="42"/>
                  </a:lnTo>
                  <a:lnTo>
                    <a:pt x="48" y="42"/>
                  </a:lnTo>
                  <a:lnTo>
                    <a:pt x="46" y="42"/>
                  </a:lnTo>
                  <a:lnTo>
                    <a:pt x="46" y="42"/>
                  </a:lnTo>
                  <a:lnTo>
                    <a:pt x="46" y="42"/>
                  </a:lnTo>
                  <a:lnTo>
                    <a:pt x="46" y="42"/>
                  </a:lnTo>
                  <a:lnTo>
                    <a:pt x="46" y="44"/>
                  </a:lnTo>
                  <a:lnTo>
                    <a:pt x="44" y="44"/>
                  </a:lnTo>
                  <a:lnTo>
                    <a:pt x="44" y="46"/>
                  </a:lnTo>
                  <a:lnTo>
                    <a:pt x="44" y="50"/>
                  </a:lnTo>
                  <a:lnTo>
                    <a:pt x="44" y="52"/>
                  </a:lnTo>
                  <a:lnTo>
                    <a:pt x="44" y="52"/>
                  </a:lnTo>
                  <a:lnTo>
                    <a:pt x="44" y="52"/>
                  </a:lnTo>
                  <a:lnTo>
                    <a:pt x="42" y="54"/>
                  </a:lnTo>
                  <a:lnTo>
                    <a:pt x="42" y="54"/>
                  </a:lnTo>
                  <a:lnTo>
                    <a:pt x="40" y="54"/>
                  </a:lnTo>
                  <a:lnTo>
                    <a:pt x="38" y="54"/>
                  </a:lnTo>
                  <a:lnTo>
                    <a:pt x="36" y="56"/>
                  </a:lnTo>
                  <a:lnTo>
                    <a:pt x="34" y="56"/>
                  </a:lnTo>
                  <a:lnTo>
                    <a:pt x="32" y="58"/>
                  </a:lnTo>
                  <a:lnTo>
                    <a:pt x="32" y="58"/>
                  </a:lnTo>
                  <a:lnTo>
                    <a:pt x="30" y="58"/>
                  </a:lnTo>
                  <a:lnTo>
                    <a:pt x="30" y="58"/>
                  </a:lnTo>
                  <a:lnTo>
                    <a:pt x="30" y="60"/>
                  </a:lnTo>
                  <a:lnTo>
                    <a:pt x="30" y="60"/>
                  </a:lnTo>
                  <a:lnTo>
                    <a:pt x="30" y="62"/>
                  </a:lnTo>
                  <a:lnTo>
                    <a:pt x="30" y="62"/>
                  </a:lnTo>
                  <a:lnTo>
                    <a:pt x="30" y="64"/>
                  </a:lnTo>
                  <a:lnTo>
                    <a:pt x="30" y="68"/>
                  </a:lnTo>
                  <a:lnTo>
                    <a:pt x="30" y="70"/>
                  </a:lnTo>
                  <a:lnTo>
                    <a:pt x="30" y="72"/>
                  </a:lnTo>
                  <a:lnTo>
                    <a:pt x="30" y="72"/>
                  </a:lnTo>
                  <a:lnTo>
                    <a:pt x="30" y="74"/>
                  </a:lnTo>
                  <a:lnTo>
                    <a:pt x="30" y="74"/>
                  </a:lnTo>
                  <a:lnTo>
                    <a:pt x="30" y="76"/>
                  </a:lnTo>
                  <a:lnTo>
                    <a:pt x="28" y="76"/>
                  </a:lnTo>
                  <a:lnTo>
                    <a:pt x="28" y="76"/>
                  </a:lnTo>
                  <a:lnTo>
                    <a:pt x="26" y="76"/>
                  </a:lnTo>
                  <a:lnTo>
                    <a:pt x="26" y="76"/>
                  </a:lnTo>
                  <a:lnTo>
                    <a:pt x="22" y="76"/>
                  </a:lnTo>
                  <a:lnTo>
                    <a:pt x="20" y="74"/>
                  </a:lnTo>
                  <a:lnTo>
                    <a:pt x="18" y="74"/>
                  </a:lnTo>
                  <a:lnTo>
                    <a:pt x="14" y="74"/>
                  </a:lnTo>
                  <a:lnTo>
                    <a:pt x="12" y="72"/>
                  </a:lnTo>
                  <a:lnTo>
                    <a:pt x="14" y="68"/>
                  </a:lnTo>
                  <a:lnTo>
                    <a:pt x="14" y="62"/>
                  </a:lnTo>
                  <a:lnTo>
                    <a:pt x="14" y="56"/>
                  </a:lnTo>
                  <a:lnTo>
                    <a:pt x="14" y="52"/>
                  </a:lnTo>
                  <a:lnTo>
                    <a:pt x="14" y="50"/>
                  </a:lnTo>
                  <a:lnTo>
                    <a:pt x="14" y="46"/>
                  </a:lnTo>
                  <a:lnTo>
                    <a:pt x="14" y="44"/>
                  </a:lnTo>
                  <a:lnTo>
                    <a:pt x="14" y="40"/>
                  </a:lnTo>
                  <a:lnTo>
                    <a:pt x="14" y="38"/>
                  </a:lnTo>
                  <a:lnTo>
                    <a:pt x="12" y="36"/>
                  </a:lnTo>
                  <a:lnTo>
                    <a:pt x="12" y="34"/>
                  </a:lnTo>
                  <a:lnTo>
                    <a:pt x="12" y="34"/>
                  </a:lnTo>
                  <a:lnTo>
                    <a:pt x="12" y="34"/>
                  </a:lnTo>
                  <a:lnTo>
                    <a:pt x="10" y="34"/>
                  </a:lnTo>
                  <a:lnTo>
                    <a:pt x="10" y="34"/>
                  </a:lnTo>
                  <a:lnTo>
                    <a:pt x="8" y="32"/>
                  </a:lnTo>
                  <a:lnTo>
                    <a:pt x="6" y="32"/>
                  </a:lnTo>
                  <a:lnTo>
                    <a:pt x="4" y="32"/>
                  </a:lnTo>
                  <a:lnTo>
                    <a:pt x="4" y="32"/>
                  </a:lnTo>
                  <a:lnTo>
                    <a:pt x="2" y="32"/>
                  </a:lnTo>
                  <a:lnTo>
                    <a:pt x="2" y="32"/>
                  </a:lnTo>
                  <a:lnTo>
                    <a:pt x="2" y="32"/>
                  </a:lnTo>
                  <a:lnTo>
                    <a:pt x="0" y="30"/>
                  </a:lnTo>
                  <a:lnTo>
                    <a:pt x="0" y="28"/>
                  </a:lnTo>
                  <a:lnTo>
                    <a:pt x="0" y="26"/>
                  </a:lnTo>
                  <a:lnTo>
                    <a:pt x="0" y="24"/>
                  </a:lnTo>
                  <a:lnTo>
                    <a:pt x="0" y="22"/>
                  </a:lnTo>
                  <a:lnTo>
                    <a:pt x="0" y="20"/>
                  </a:lnTo>
                  <a:lnTo>
                    <a:pt x="2" y="16"/>
                  </a:lnTo>
                  <a:lnTo>
                    <a:pt x="2" y="14"/>
                  </a:lnTo>
                  <a:lnTo>
                    <a:pt x="2" y="12"/>
                  </a:lnTo>
                  <a:lnTo>
                    <a:pt x="4" y="10"/>
                  </a:lnTo>
                  <a:lnTo>
                    <a:pt x="4" y="8"/>
                  </a:lnTo>
                  <a:lnTo>
                    <a:pt x="6" y="6"/>
                  </a:lnTo>
                  <a:lnTo>
                    <a:pt x="8" y="4"/>
                  </a:lnTo>
                  <a:lnTo>
                    <a:pt x="8" y="2"/>
                  </a:lnTo>
                  <a:lnTo>
                    <a:pt x="10" y="2"/>
                  </a:lnTo>
                  <a:lnTo>
                    <a:pt x="10" y="0"/>
                  </a:lnTo>
                  <a:lnTo>
                    <a:pt x="12" y="0"/>
                  </a:lnTo>
                  <a:lnTo>
                    <a:pt x="12" y="0"/>
                  </a:lnTo>
                  <a:lnTo>
                    <a:pt x="14" y="0"/>
                  </a:lnTo>
                  <a:lnTo>
                    <a:pt x="14" y="0"/>
                  </a:lnTo>
                  <a:lnTo>
                    <a:pt x="16" y="2"/>
                  </a:lnTo>
                  <a:lnTo>
                    <a:pt x="16" y="2"/>
                  </a:lnTo>
                  <a:lnTo>
                    <a:pt x="18" y="2"/>
                  </a:lnTo>
                  <a:lnTo>
                    <a:pt x="20" y="6"/>
                  </a:lnTo>
                  <a:lnTo>
                    <a:pt x="24" y="10"/>
                  </a:lnTo>
                  <a:lnTo>
                    <a:pt x="28" y="12"/>
                  </a:lnTo>
                  <a:lnTo>
                    <a:pt x="28" y="12"/>
                  </a:lnTo>
                  <a:lnTo>
                    <a:pt x="30" y="12"/>
                  </a:lnTo>
                  <a:lnTo>
                    <a:pt x="30" y="14"/>
                  </a:lnTo>
                  <a:lnTo>
                    <a:pt x="32" y="14"/>
                  </a:lnTo>
                  <a:lnTo>
                    <a:pt x="36" y="14"/>
                  </a:lnTo>
                  <a:lnTo>
                    <a:pt x="40" y="14"/>
                  </a:lnTo>
                  <a:lnTo>
                    <a:pt x="42" y="14"/>
                  </a:lnTo>
                  <a:lnTo>
                    <a:pt x="44" y="16"/>
                  </a:lnTo>
                  <a:lnTo>
                    <a:pt x="48" y="16"/>
                  </a:lnTo>
                  <a:lnTo>
                    <a:pt x="52" y="18"/>
                  </a:lnTo>
                  <a:lnTo>
                    <a:pt x="54" y="20"/>
                  </a:lnTo>
                  <a:lnTo>
                    <a:pt x="56" y="20"/>
                  </a:lnTo>
                  <a:lnTo>
                    <a:pt x="58" y="22"/>
                  </a:lnTo>
                  <a:lnTo>
                    <a:pt x="60" y="24"/>
                  </a:lnTo>
                  <a:lnTo>
                    <a:pt x="62" y="24"/>
                  </a:lnTo>
                  <a:lnTo>
                    <a:pt x="62" y="26"/>
                  </a:lnTo>
                  <a:lnTo>
                    <a:pt x="62" y="26"/>
                  </a:lnTo>
                  <a:lnTo>
                    <a:pt x="62" y="26"/>
                  </a:lnTo>
                  <a:lnTo>
                    <a:pt x="64" y="28"/>
                  </a:lnTo>
                  <a:lnTo>
                    <a:pt x="64" y="32"/>
                  </a:lnTo>
                  <a:lnTo>
                    <a:pt x="64" y="34"/>
                  </a:lnTo>
                  <a:lnTo>
                    <a:pt x="64" y="38"/>
                  </a:lnTo>
                  <a:lnTo>
                    <a:pt x="64" y="40"/>
                  </a:lnTo>
                  <a:lnTo>
                    <a:pt x="64" y="42"/>
                  </a:lnTo>
                  <a:lnTo>
                    <a:pt x="66" y="48"/>
                  </a:lnTo>
                  <a:lnTo>
                    <a:pt x="66" y="54"/>
                  </a:lnTo>
                  <a:lnTo>
                    <a:pt x="68" y="58"/>
                  </a:lnTo>
                  <a:lnTo>
                    <a:pt x="68" y="62"/>
                  </a:lnTo>
                  <a:lnTo>
                    <a:pt x="70" y="64"/>
                  </a:lnTo>
                  <a:lnTo>
                    <a:pt x="70" y="66"/>
                  </a:lnTo>
                  <a:lnTo>
                    <a:pt x="70" y="66"/>
                  </a:lnTo>
                  <a:lnTo>
                    <a:pt x="72" y="68"/>
                  </a:lnTo>
                  <a:lnTo>
                    <a:pt x="72" y="68"/>
                  </a:lnTo>
                  <a:lnTo>
                    <a:pt x="76" y="72"/>
                  </a:lnTo>
                  <a:lnTo>
                    <a:pt x="78" y="74"/>
                  </a:lnTo>
                  <a:lnTo>
                    <a:pt x="80" y="7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 name="Freeform 44">
              <a:extLst>
                <a:ext uri="{FF2B5EF4-FFF2-40B4-BE49-F238E27FC236}">
                  <a16:creationId xmlns:a16="http://schemas.microsoft.com/office/drawing/2014/main" id="{0487BE6C-88BD-4C9F-94F9-7421C3C4687E}"/>
                </a:ext>
              </a:extLst>
            </p:cNvPr>
            <p:cNvSpPr>
              <a:spLocks/>
            </p:cNvSpPr>
            <p:nvPr/>
          </p:nvSpPr>
          <p:spPr bwMode="auto">
            <a:xfrm>
              <a:off x="6441234" y="3877170"/>
              <a:ext cx="138566" cy="148958"/>
            </a:xfrm>
            <a:custGeom>
              <a:avLst/>
              <a:gdLst>
                <a:gd name="T0" fmla="*/ 70 w 80"/>
                <a:gd name="T1" fmla="*/ 86 h 86"/>
                <a:gd name="T2" fmla="*/ 64 w 80"/>
                <a:gd name="T3" fmla="*/ 84 h 86"/>
                <a:gd name="T4" fmla="*/ 60 w 80"/>
                <a:gd name="T5" fmla="*/ 78 h 86"/>
                <a:gd name="T6" fmla="*/ 56 w 80"/>
                <a:gd name="T7" fmla="*/ 72 h 86"/>
                <a:gd name="T8" fmla="*/ 54 w 80"/>
                <a:gd name="T9" fmla="*/ 66 h 86"/>
                <a:gd name="T10" fmla="*/ 54 w 80"/>
                <a:gd name="T11" fmla="*/ 62 h 86"/>
                <a:gd name="T12" fmla="*/ 56 w 80"/>
                <a:gd name="T13" fmla="*/ 58 h 86"/>
                <a:gd name="T14" fmla="*/ 56 w 80"/>
                <a:gd name="T15" fmla="*/ 54 h 86"/>
                <a:gd name="T16" fmla="*/ 54 w 80"/>
                <a:gd name="T17" fmla="*/ 48 h 86"/>
                <a:gd name="T18" fmla="*/ 50 w 80"/>
                <a:gd name="T19" fmla="*/ 44 h 86"/>
                <a:gd name="T20" fmla="*/ 48 w 80"/>
                <a:gd name="T21" fmla="*/ 42 h 86"/>
                <a:gd name="T22" fmla="*/ 46 w 80"/>
                <a:gd name="T23" fmla="*/ 42 h 86"/>
                <a:gd name="T24" fmla="*/ 46 w 80"/>
                <a:gd name="T25" fmla="*/ 44 h 86"/>
                <a:gd name="T26" fmla="*/ 44 w 80"/>
                <a:gd name="T27" fmla="*/ 50 h 86"/>
                <a:gd name="T28" fmla="*/ 44 w 80"/>
                <a:gd name="T29" fmla="*/ 52 h 86"/>
                <a:gd name="T30" fmla="*/ 40 w 80"/>
                <a:gd name="T31" fmla="*/ 54 h 86"/>
                <a:gd name="T32" fmla="*/ 34 w 80"/>
                <a:gd name="T33" fmla="*/ 56 h 86"/>
                <a:gd name="T34" fmla="*/ 30 w 80"/>
                <a:gd name="T35" fmla="*/ 58 h 86"/>
                <a:gd name="T36" fmla="*/ 30 w 80"/>
                <a:gd name="T37" fmla="*/ 60 h 86"/>
                <a:gd name="T38" fmla="*/ 30 w 80"/>
                <a:gd name="T39" fmla="*/ 64 h 86"/>
                <a:gd name="T40" fmla="*/ 30 w 80"/>
                <a:gd name="T41" fmla="*/ 72 h 86"/>
                <a:gd name="T42" fmla="*/ 30 w 80"/>
                <a:gd name="T43" fmla="*/ 74 h 86"/>
                <a:gd name="T44" fmla="*/ 28 w 80"/>
                <a:gd name="T45" fmla="*/ 76 h 86"/>
                <a:gd name="T46" fmla="*/ 22 w 80"/>
                <a:gd name="T47" fmla="*/ 76 h 86"/>
                <a:gd name="T48" fmla="*/ 14 w 80"/>
                <a:gd name="T49" fmla="*/ 74 h 86"/>
                <a:gd name="T50" fmla="*/ 14 w 80"/>
                <a:gd name="T51" fmla="*/ 62 h 86"/>
                <a:gd name="T52" fmla="*/ 14 w 80"/>
                <a:gd name="T53" fmla="*/ 50 h 86"/>
                <a:gd name="T54" fmla="*/ 14 w 80"/>
                <a:gd name="T55" fmla="*/ 40 h 86"/>
                <a:gd name="T56" fmla="*/ 12 w 80"/>
                <a:gd name="T57" fmla="*/ 34 h 86"/>
                <a:gd name="T58" fmla="*/ 10 w 80"/>
                <a:gd name="T59" fmla="*/ 34 h 86"/>
                <a:gd name="T60" fmla="*/ 6 w 80"/>
                <a:gd name="T61" fmla="*/ 32 h 86"/>
                <a:gd name="T62" fmla="*/ 2 w 80"/>
                <a:gd name="T63" fmla="*/ 32 h 86"/>
                <a:gd name="T64" fmla="*/ 0 w 80"/>
                <a:gd name="T65" fmla="*/ 30 h 86"/>
                <a:gd name="T66" fmla="*/ 0 w 80"/>
                <a:gd name="T67" fmla="*/ 24 h 86"/>
                <a:gd name="T68" fmla="*/ 2 w 80"/>
                <a:gd name="T69" fmla="*/ 16 h 86"/>
                <a:gd name="T70" fmla="*/ 4 w 80"/>
                <a:gd name="T71" fmla="*/ 10 h 86"/>
                <a:gd name="T72" fmla="*/ 8 w 80"/>
                <a:gd name="T73" fmla="*/ 4 h 86"/>
                <a:gd name="T74" fmla="*/ 10 w 80"/>
                <a:gd name="T75" fmla="*/ 0 h 86"/>
                <a:gd name="T76" fmla="*/ 14 w 80"/>
                <a:gd name="T77" fmla="*/ 0 h 86"/>
                <a:gd name="T78" fmla="*/ 16 w 80"/>
                <a:gd name="T79" fmla="*/ 2 h 86"/>
                <a:gd name="T80" fmla="*/ 24 w 80"/>
                <a:gd name="T81" fmla="*/ 10 h 86"/>
                <a:gd name="T82" fmla="*/ 30 w 80"/>
                <a:gd name="T83" fmla="*/ 12 h 86"/>
                <a:gd name="T84" fmla="*/ 36 w 80"/>
                <a:gd name="T85" fmla="*/ 14 h 86"/>
                <a:gd name="T86" fmla="*/ 44 w 80"/>
                <a:gd name="T87" fmla="*/ 16 h 86"/>
                <a:gd name="T88" fmla="*/ 54 w 80"/>
                <a:gd name="T89" fmla="*/ 20 h 86"/>
                <a:gd name="T90" fmla="*/ 60 w 80"/>
                <a:gd name="T91" fmla="*/ 24 h 86"/>
                <a:gd name="T92" fmla="*/ 62 w 80"/>
                <a:gd name="T93" fmla="*/ 26 h 86"/>
                <a:gd name="T94" fmla="*/ 64 w 80"/>
                <a:gd name="T95" fmla="*/ 32 h 86"/>
                <a:gd name="T96" fmla="*/ 64 w 80"/>
                <a:gd name="T97" fmla="*/ 40 h 86"/>
                <a:gd name="T98" fmla="*/ 66 w 80"/>
                <a:gd name="T99" fmla="*/ 54 h 86"/>
                <a:gd name="T100" fmla="*/ 70 w 80"/>
                <a:gd name="T101" fmla="*/ 64 h 86"/>
                <a:gd name="T102" fmla="*/ 72 w 80"/>
                <a:gd name="T103" fmla="*/ 68 h 86"/>
                <a:gd name="T104" fmla="*/ 78 w 80"/>
                <a:gd name="T105"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86">
                  <a:moveTo>
                    <a:pt x="80" y="74"/>
                  </a:moveTo>
                  <a:lnTo>
                    <a:pt x="74" y="86"/>
                  </a:lnTo>
                  <a:lnTo>
                    <a:pt x="70" y="86"/>
                  </a:lnTo>
                  <a:lnTo>
                    <a:pt x="66" y="84"/>
                  </a:lnTo>
                  <a:lnTo>
                    <a:pt x="66" y="84"/>
                  </a:lnTo>
                  <a:lnTo>
                    <a:pt x="64" y="84"/>
                  </a:lnTo>
                  <a:lnTo>
                    <a:pt x="64" y="82"/>
                  </a:lnTo>
                  <a:lnTo>
                    <a:pt x="62" y="80"/>
                  </a:lnTo>
                  <a:lnTo>
                    <a:pt x="60" y="78"/>
                  </a:lnTo>
                  <a:lnTo>
                    <a:pt x="58" y="76"/>
                  </a:lnTo>
                  <a:lnTo>
                    <a:pt x="56" y="74"/>
                  </a:lnTo>
                  <a:lnTo>
                    <a:pt x="56" y="72"/>
                  </a:lnTo>
                  <a:lnTo>
                    <a:pt x="54" y="70"/>
                  </a:lnTo>
                  <a:lnTo>
                    <a:pt x="54" y="68"/>
                  </a:lnTo>
                  <a:lnTo>
                    <a:pt x="54" y="66"/>
                  </a:lnTo>
                  <a:lnTo>
                    <a:pt x="54" y="66"/>
                  </a:lnTo>
                  <a:lnTo>
                    <a:pt x="54" y="64"/>
                  </a:lnTo>
                  <a:lnTo>
                    <a:pt x="54" y="62"/>
                  </a:lnTo>
                  <a:lnTo>
                    <a:pt x="54" y="60"/>
                  </a:lnTo>
                  <a:lnTo>
                    <a:pt x="56" y="58"/>
                  </a:lnTo>
                  <a:lnTo>
                    <a:pt x="56" y="58"/>
                  </a:lnTo>
                  <a:lnTo>
                    <a:pt x="56" y="56"/>
                  </a:lnTo>
                  <a:lnTo>
                    <a:pt x="56" y="54"/>
                  </a:lnTo>
                  <a:lnTo>
                    <a:pt x="56" y="54"/>
                  </a:lnTo>
                  <a:lnTo>
                    <a:pt x="56" y="52"/>
                  </a:lnTo>
                  <a:lnTo>
                    <a:pt x="54" y="50"/>
                  </a:lnTo>
                  <a:lnTo>
                    <a:pt x="54" y="48"/>
                  </a:lnTo>
                  <a:lnTo>
                    <a:pt x="52" y="46"/>
                  </a:lnTo>
                  <a:lnTo>
                    <a:pt x="52" y="44"/>
                  </a:lnTo>
                  <a:lnTo>
                    <a:pt x="50" y="44"/>
                  </a:lnTo>
                  <a:lnTo>
                    <a:pt x="50" y="42"/>
                  </a:lnTo>
                  <a:lnTo>
                    <a:pt x="50" y="42"/>
                  </a:lnTo>
                  <a:lnTo>
                    <a:pt x="48" y="42"/>
                  </a:lnTo>
                  <a:lnTo>
                    <a:pt x="48" y="42"/>
                  </a:lnTo>
                  <a:lnTo>
                    <a:pt x="46" y="42"/>
                  </a:lnTo>
                  <a:lnTo>
                    <a:pt x="46" y="42"/>
                  </a:lnTo>
                  <a:lnTo>
                    <a:pt x="46" y="42"/>
                  </a:lnTo>
                  <a:lnTo>
                    <a:pt x="46" y="42"/>
                  </a:lnTo>
                  <a:lnTo>
                    <a:pt x="46" y="44"/>
                  </a:lnTo>
                  <a:lnTo>
                    <a:pt x="44" y="44"/>
                  </a:lnTo>
                  <a:lnTo>
                    <a:pt x="44" y="46"/>
                  </a:lnTo>
                  <a:lnTo>
                    <a:pt x="44" y="50"/>
                  </a:lnTo>
                  <a:lnTo>
                    <a:pt x="44" y="52"/>
                  </a:lnTo>
                  <a:lnTo>
                    <a:pt x="44" y="52"/>
                  </a:lnTo>
                  <a:lnTo>
                    <a:pt x="44" y="52"/>
                  </a:lnTo>
                  <a:lnTo>
                    <a:pt x="42" y="54"/>
                  </a:lnTo>
                  <a:lnTo>
                    <a:pt x="42" y="54"/>
                  </a:lnTo>
                  <a:lnTo>
                    <a:pt x="40" y="54"/>
                  </a:lnTo>
                  <a:lnTo>
                    <a:pt x="38" y="54"/>
                  </a:lnTo>
                  <a:lnTo>
                    <a:pt x="36" y="56"/>
                  </a:lnTo>
                  <a:lnTo>
                    <a:pt x="34" y="56"/>
                  </a:lnTo>
                  <a:lnTo>
                    <a:pt x="32" y="58"/>
                  </a:lnTo>
                  <a:lnTo>
                    <a:pt x="32" y="58"/>
                  </a:lnTo>
                  <a:lnTo>
                    <a:pt x="30" y="58"/>
                  </a:lnTo>
                  <a:lnTo>
                    <a:pt x="30" y="58"/>
                  </a:lnTo>
                  <a:lnTo>
                    <a:pt x="30" y="60"/>
                  </a:lnTo>
                  <a:lnTo>
                    <a:pt x="30" y="60"/>
                  </a:lnTo>
                  <a:lnTo>
                    <a:pt x="30" y="62"/>
                  </a:lnTo>
                  <a:lnTo>
                    <a:pt x="30" y="62"/>
                  </a:lnTo>
                  <a:lnTo>
                    <a:pt x="30" y="64"/>
                  </a:lnTo>
                  <a:lnTo>
                    <a:pt x="30" y="68"/>
                  </a:lnTo>
                  <a:lnTo>
                    <a:pt x="30" y="70"/>
                  </a:lnTo>
                  <a:lnTo>
                    <a:pt x="30" y="72"/>
                  </a:lnTo>
                  <a:lnTo>
                    <a:pt x="30" y="72"/>
                  </a:lnTo>
                  <a:lnTo>
                    <a:pt x="30" y="74"/>
                  </a:lnTo>
                  <a:lnTo>
                    <a:pt x="30" y="74"/>
                  </a:lnTo>
                  <a:lnTo>
                    <a:pt x="30" y="76"/>
                  </a:lnTo>
                  <a:lnTo>
                    <a:pt x="28" y="76"/>
                  </a:lnTo>
                  <a:lnTo>
                    <a:pt x="28" y="76"/>
                  </a:lnTo>
                  <a:lnTo>
                    <a:pt x="26" y="76"/>
                  </a:lnTo>
                  <a:lnTo>
                    <a:pt x="26" y="76"/>
                  </a:lnTo>
                  <a:lnTo>
                    <a:pt x="22" y="76"/>
                  </a:lnTo>
                  <a:lnTo>
                    <a:pt x="20" y="74"/>
                  </a:lnTo>
                  <a:lnTo>
                    <a:pt x="18" y="74"/>
                  </a:lnTo>
                  <a:lnTo>
                    <a:pt x="14" y="74"/>
                  </a:lnTo>
                  <a:lnTo>
                    <a:pt x="12" y="72"/>
                  </a:lnTo>
                  <a:lnTo>
                    <a:pt x="14" y="68"/>
                  </a:lnTo>
                  <a:lnTo>
                    <a:pt x="14" y="62"/>
                  </a:lnTo>
                  <a:lnTo>
                    <a:pt x="14" y="56"/>
                  </a:lnTo>
                  <a:lnTo>
                    <a:pt x="14" y="52"/>
                  </a:lnTo>
                  <a:lnTo>
                    <a:pt x="14" y="50"/>
                  </a:lnTo>
                  <a:lnTo>
                    <a:pt x="14" y="46"/>
                  </a:lnTo>
                  <a:lnTo>
                    <a:pt x="14" y="44"/>
                  </a:lnTo>
                  <a:lnTo>
                    <a:pt x="14" y="40"/>
                  </a:lnTo>
                  <a:lnTo>
                    <a:pt x="14" y="38"/>
                  </a:lnTo>
                  <a:lnTo>
                    <a:pt x="12" y="36"/>
                  </a:lnTo>
                  <a:lnTo>
                    <a:pt x="12" y="34"/>
                  </a:lnTo>
                  <a:lnTo>
                    <a:pt x="12" y="34"/>
                  </a:lnTo>
                  <a:lnTo>
                    <a:pt x="12" y="34"/>
                  </a:lnTo>
                  <a:lnTo>
                    <a:pt x="10" y="34"/>
                  </a:lnTo>
                  <a:lnTo>
                    <a:pt x="10" y="34"/>
                  </a:lnTo>
                  <a:lnTo>
                    <a:pt x="8" y="32"/>
                  </a:lnTo>
                  <a:lnTo>
                    <a:pt x="6" y="32"/>
                  </a:lnTo>
                  <a:lnTo>
                    <a:pt x="4" y="32"/>
                  </a:lnTo>
                  <a:lnTo>
                    <a:pt x="4" y="32"/>
                  </a:lnTo>
                  <a:lnTo>
                    <a:pt x="2" y="32"/>
                  </a:lnTo>
                  <a:lnTo>
                    <a:pt x="2" y="32"/>
                  </a:lnTo>
                  <a:lnTo>
                    <a:pt x="2" y="32"/>
                  </a:lnTo>
                  <a:lnTo>
                    <a:pt x="0" y="30"/>
                  </a:lnTo>
                  <a:lnTo>
                    <a:pt x="0" y="28"/>
                  </a:lnTo>
                  <a:lnTo>
                    <a:pt x="0" y="26"/>
                  </a:lnTo>
                  <a:lnTo>
                    <a:pt x="0" y="24"/>
                  </a:lnTo>
                  <a:lnTo>
                    <a:pt x="0" y="22"/>
                  </a:lnTo>
                  <a:lnTo>
                    <a:pt x="0" y="20"/>
                  </a:lnTo>
                  <a:lnTo>
                    <a:pt x="2" y="16"/>
                  </a:lnTo>
                  <a:lnTo>
                    <a:pt x="2" y="14"/>
                  </a:lnTo>
                  <a:lnTo>
                    <a:pt x="2" y="12"/>
                  </a:lnTo>
                  <a:lnTo>
                    <a:pt x="4" y="10"/>
                  </a:lnTo>
                  <a:lnTo>
                    <a:pt x="4" y="8"/>
                  </a:lnTo>
                  <a:lnTo>
                    <a:pt x="6" y="6"/>
                  </a:lnTo>
                  <a:lnTo>
                    <a:pt x="8" y="4"/>
                  </a:lnTo>
                  <a:lnTo>
                    <a:pt x="8" y="2"/>
                  </a:lnTo>
                  <a:lnTo>
                    <a:pt x="10" y="2"/>
                  </a:lnTo>
                  <a:lnTo>
                    <a:pt x="10" y="0"/>
                  </a:lnTo>
                  <a:lnTo>
                    <a:pt x="12" y="0"/>
                  </a:lnTo>
                  <a:lnTo>
                    <a:pt x="12" y="0"/>
                  </a:lnTo>
                  <a:lnTo>
                    <a:pt x="14" y="0"/>
                  </a:lnTo>
                  <a:lnTo>
                    <a:pt x="14" y="0"/>
                  </a:lnTo>
                  <a:lnTo>
                    <a:pt x="16" y="2"/>
                  </a:lnTo>
                  <a:lnTo>
                    <a:pt x="16" y="2"/>
                  </a:lnTo>
                  <a:lnTo>
                    <a:pt x="18" y="2"/>
                  </a:lnTo>
                  <a:lnTo>
                    <a:pt x="20" y="6"/>
                  </a:lnTo>
                  <a:lnTo>
                    <a:pt x="24" y="10"/>
                  </a:lnTo>
                  <a:lnTo>
                    <a:pt x="28" y="12"/>
                  </a:lnTo>
                  <a:lnTo>
                    <a:pt x="28" y="12"/>
                  </a:lnTo>
                  <a:lnTo>
                    <a:pt x="30" y="12"/>
                  </a:lnTo>
                  <a:lnTo>
                    <a:pt x="30" y="14"/>
                  </a:lnTo>
                  <a:lnTo>
                    <a:pt x="32" y="14"/>
                  </a:lnTo>
                  <a:lnTo>
                    <a:pt x="36" y="14"/>
                  </a:lnTo>
                  <a:lnTo>
                    <a:pt x="40" y="14"/>
                  </a:lnTo>
                  <a:lnTo>
                    <a:pt x="42" y="14"/>
                  </a:lnTo>
                  <a:lnTo>
                    <a:pt x="44" y="16"/>
                  </a:lnTo>
                  <a:lnTo>
                    <a:pt x="48" y="16"/>
                  </a:lnTo>
                  <a:lnTo>
                    <a:pt x="52" y="18"/>
                  </a:lnTo>
                  <a:lnTo>
                    <a:pt x="54" y="20"/>
                  </a:lnTo>
                  <a:lnTo>
                    <a:pt x="56" y="20"/>
                  </a:lnTo>
                  <a:lnTo>
                    <a:pt x="58" y="22"/>
                  </a:lnTo>
                  <a:lnTo>
                    <a:pt x="60" y="24"/>
                  </a:lnTo>
                  <a:lnTo>
                    <a:pt x="62" y="24"/>
                  </a:lnTo>
                  <a:lnTo>
                    <a:pt x="62" y="26"/>
                  </a:lnTo>
                  <a:lnTo>
                    <a:pt x="62" y="26"/>
                  </a:lnTo>
                  <a:lnTo>
                    <a:pt x="62" y="26"/>
                  </a:lnTo>
                  <a:lnTo>
                    <a:pt x="64" y="28"/>
                  </a:lnTo>
                  <a:lnTo>
                    <a:pt x="64" y="32"/>
                  </a:lnTo>
                  <a:lnTo>
                    <a:pt x="64" y="34"/>
                  </a:lnTo>
                  <a:lnTo>
                    <a:pt x="64" y="38"/>
                  </a:lnTo>
                  <a:lnTo>
                    <a:pt x="64" y="40"/>
                  </a:lnTo>
                  <a:lnTo>
                    <a:pt x="64" y="42"/>
                  </a:lnTo>
                  <a:lnTo>
                    <a:pt x="66" y="48"/>
                  </a:lnTo>
                  <a:lnTo>
                    <a:pt x="66" y="54"/>
                  </a:lnTo>
                  <a:lnTo>
                    <a:pt x="68" y="58"/>
                  </a:lnTo>
                  <a:lnTo>
                    <a:pt x="68" y="62"/>
                  </a:lnTo>
                  <a:lnTo>
                    <a:pt x="70" y="64"/>
                  </a:lnTo>
                  <a:lnTo>
                    <a:pt x="70" y="66"/>
                  </a:lnTo>
                  <a:lnTo>
                    <a:pt x="70" y="66"/>
                  </a:lnTo>
                  <a:lnTo>
                    <a:pt x="72" y="68"/>
                  </a:lnTo>
                  <a:lnTo>
                    <a:pt x="72" y="68"/>
                  </a:lnTo>
                  <a:lnTo>
                    <a:pt x="76" y="72"/>
                  </a:lnTo>
                  <a:lnTo>
                    <a:pt x="78" y="74"/>
                  </a:lnTo>
                  <a:lnTo>
                    <a:pt x="80" y="7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 name="Freeform 45">
              <a:extLst>
                <a:ext uri="{FF2B5EF4-FFF2-40B4-BE49-F238E27FC236}">
                  <a16:creationId xmlns:a16="http://schemas.microsoft.com/office/drawing/2014/main" id="{CA515F27-B3E2-4F27-8E75-196443B15C48}"/>
                </a:ext>
              </a:extLst>
            </p:cNvPr>
            <p:cNvSpPr>
              <a:spLocks/>
            </p:cNvSpPr>
            <p:nvPr/>
          </p:nvSpPr>
          <p:spPr bwMode="auto">
            <a:xfrm>
              <a:off x="6441234" y="3877170"/>
              <a:ext cx="138566" cy="148958"/>
            </a:xfrm>
            <a:custGeom>
              <a:avLst/>
              <a:gdLst>
                <a:gd name="T0" fmla="*/ 70 w 80"/>
                <a:gd name="T1" fmla="*/ 86 h 86"/>
                <a:gd name="T2" fmla="*/ 64 w 80"/>
                <a:gd name="T3" fmla="*/ 84 h 86"/>
                <a:gd name="T4" fmla="*/ 60 w 80"/>
                <a:gd name="T5" fmla="*/ 78 h 86"/>
                <a:gd name="T6" fmla="*/ 56 w 80"/>
                <a:gd name="T7" fmla="*/ 72 h 86"/>
                <a:gd name="T8" fmla="*/ 54 w 80"/>
                <a:gd name="T9" fmla="*/ 66 h 86"/>
                <a:gd name="T10" fmla="*/ 54 w 80"/>
                <a:gd name="T11" fmla="*/ 62 h 86"/>
                <a:gd name="T12" fmla="*/ 56 w 80"/>
                <a:gd name="T13" fmla="*/ 58 h 86"/>
                <a:gd name="T14" fmla="*/ 56 w 80"/>
                <a:gd name="T15" fmla="*/ 54 h 86"/>
                <a:gd name="T16" fmla="*/ 54 w 80"/>
                <a:gd name="T17" fmla="*/ 48 h 86"/>
                <a:gd name="T18" fmla="*/ 50 w 80"/>
                <a:gd name="T19" fmla="*/ 44 h 86"/>
                <a:gd name="T20" fmla="*/ 48 w 80"/>
                <a:gd name="T21" fmla="*/ 42 h 86"/>
                <a:gd name="T22" fmla="*/ 46 w 80"/>
                <a:gd name="T23" fmla="*/ 42 h 86"/>
                <a:gd name="T24" fmla="*/ 46 w 80"/>
                <a:gd name="T25" fmla="*/ 44 h 86"/>
                <a:gd name="T26" fmla="*/ 44 w 80"/>
                <a:gd name="T27" fmla="*/ 50 h 86"/>
                <a:gd name="T28" fmla="*/ 44 w 80"/>
                <a:gd name="T29" fmla="*/ 52 h 86"/>
                <a:gd name="T30" fmla="*/ 40 w 80"/>
                <a:gd name="T31" fmla="*/ 54 h 86"/>
                <a:gd name="T32" fmla="*/ 34 w 80"/>
                <a:gd name="T33" fmla="*/ 56 h 86"/>
                <a:gd name="T34" fmla="*/ 30 w 80"/>
                <a:gd name="T35" fmla="*/ 58 h 86"/>
                <a:gd name="T36" fmla="*/ 30 w 80"/>
                <a:gd name="T37" fmla="*/ 60 h 86"/>
                <a:gd name="T38" fmla="*/ 30 w 80"/>
                <a:gd name="T39" fmla="*/ 64 h 86"/>
                <a:gd name="T40" fmla="*/ 30 w 80"/>
                <a:gd name="T41" fmla="*/ 72 h 86"/>
                <a:gd name="T42" fmla="*/ 30 w 80"/>
                <a:gd name="T43" fmla="*/ 74 h 86"/>
                <a:gd name="T44" fmla="*/ 28 w 80"/>
                <a:gd name="T45" fmla="*/ 76 h 86"/>
                <a:gd name="T46" fmla="*/ 22 w 80"/>
                <a:gd name="T47" fmla="*/ 76 h 86"/>
                <a:gd name="T48" fmla="*/ 14 w 80"/>
                <a:gd name="T49" fmla="*/ 74 h 86"/>
                <a:gd name="T50" fmla="*/ 14 w 80"/>
                <a:gd name="T51" fmla="*/ 62 h 86"/>
                <a:gd name="T52" fmla="*/ 14 w 80"/>
                <a:gd name="T53" fmla="*/ 50 h 86"/>
                <a:gd name="T54" fmla="*/ 14 w 80"/>
                <a:gd name="T55" fmla="*/ 40 h 86"/>
                <a:gd name="T56" fmla="*/ 12 w 80"/>
                <a:gd name="T57" fmla="*/ 34 h 86"/>
                <a:gd name="T58" fmla="*/ 10 w 80"/>
                <a:gd name="T59" fmla="*/ 34 h 86"/>
                <a:gd name="T60" fmla="*/ 6 w 80"/>
                <a:gd name="T61" fmla="*/ 32 h 86"/>
                <a:gd name="T62" fmla="*/ 2 w 80"/>
                <a:gd name="T63" fmla="*/ 32 h 86"/>
                <a:gd name="T64" fmla="*/ 0 w 80"/>
                <a:gd name="T65" fmla="*/ 30 h 86"/>
                <a:gd name="T66" fmla="*/ 0 w 80"/>
                <a:gd name="T67" fmla="*/ 24 h 86"/>
                <a:gd name="T68" fmla="*/ 2 w 80"/>
                <a:gd name="T69" fmla="*/ 16 h 86"/>
                <a:gd name="T70" fmla="*/ 4 w 80"/>
                <a:gd name="T71" fmla="*/ 10 h 86"/>
                <a:gd name="T72" fmla="*/ 8 w 80"/>
                <a:gd name="T73" fmla="*/ 4 h 86"/>
                <a:gd name="T74" fmla="*/ 10 w 80"/>
                <a:gd name="T75" fmla="*/ 0 h 86"/>
                <a:gd name="T76" fmla="*/ 14 w 80"/>
                <a:gd name="T77" fmla="*/ 0 h 86"/>
                <a:gd name="T78" fmla="*/ 16 w 80"/>
                <a:gd name="T79" fmla="*/ 2 h 86"/>
                <a:gd name="T80" fmla="*/ 24 w 80"/>
                <a:gd name="T81" fmla="*/ 10 h 86"/>
                <a:gd name="T82" fmla="*/ 30 w 80"/>
                <a:gd name="T83" fmla="*/ 12 h 86"/>
                <a:gd name="T84" fmla="*/ 36 w 80"/>
                <a:gd name="T85" fmla="*/ 14 h 86"/>
                <a:gd name="T86" fmla="*/ 44 w 80"/>
                <a:gd name="T87" fmla="*/ 16 h 86"/>
                <a:gd name="T88" fmla="*/ 54 w 80"/>
                <a:gd name="T89" fmla="*/ 20 h 86"/>
                <a:gd name="T90" fmla="*/ 60 w 80"/>
                <a:gd name="T91" fmla="*/ 24 h 86"/>
                <a:gd name="T92" fmla="*/ 62 w 80"/>
                <a:gd name="T93" fmla="*/ 26 h 86"/>
                <a:gd name="T94" fmla="*/ 64 w 80"/>
                <a:gd name="T95" fmla="*/ 32 h 86"/>
                <a:gd name="T96" fmla="*/ 64 w 80"/>
                <a:gd name="T97" fmla="*/ 40 h 86"/>
                <a:gd name="T98" fmla="*/ 66 w 80"/>
                <a:gd name="T99" fmla="*/ 54 h 86"/>
                <a:gd name="T100" fmla="*/ 70 w 80"/>
                <a:gd name="T101" fmla="*/ 64 h 86"/>
                <a:gd name="T102" fmla="*/ 72 w 80"/>
                <a:gd name="T103" fmla="*/ 68 h 86"/>
                <a:gd name="T104" fmla="*/ 78 w 80"/>
                <a:gd name="T105"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86">
                  <a:moveTo>
                    <a:pt x="80" y="74"/>
                  </a:moveTo>
                  <a:lnTo>
                    <a:pt x="74" y="86"/>
                  </a:lnTo>
                  <a:lnTo>
                    <a:pt x="70" y="86"/>
                  </a:lnTo>
                  <a:lnTo>
                    <a:pt x="66" y="84"/>
                  </a:lnTo>
                  <a:lnTo>
                    <a:pt x="66" y="84"/>
                  </a:lnTo>
                  <a:lnTo>
                    <a:pt x="64" y="84"/>
                  </a:lnTo>
                  <a:lnTo>
                    <a:pt x="64" y="82"/>
                  </a:lnTo>
                  <a:lnTo>
                    <a:pt x="62" y="80"/>
                  </a:lnTo>
                  <a:lnTo>
                    <a:pt x="60" y="78"/>
                  </a:lnTo>
                  <a:lnTo>
                    <a:pt x="58" y="76"/>
                  </a:lnTo>
                  <a:lnTo>
                    <a:pt x="56" y="74"/>
                  </a:lnTo>
                  <a:lnTo>
                    <a:pt x="56" y="72"/>
                  </a:lnTo>
                  <a:lnTo>
                    <a:pt x="54" y="70"/>
                  </a:lnTo>
                  <a:lnTo>
                    <a:pt x="54" y="68"/>
                  </a:lnTo>
                  <a:lnTo>
                    <a:pt x="54" y="66"/>
                  </a:lnTo>
                  <a:lnTo>
                    <a:pt x="54" y="66"/>
                  </a:lnTo>
                  <a:lnTo>
                    <a:pt x="54" y="64"/>
                  </a:lnTo>
                  <a:lnTo>
                    <a:pt x="54" y="62"/>
                  </a:lnTo>
                  <a:lnTo>
                    <a:pt x="54" y="60"/>
                  </a:lnTo>
                  <a:lnTo>
                    <a:pt x="56" y="58"/>
                  </a:lnTo>
                  <a:lnTo>
                    <a:pt x="56" y="58"/>
                  </a:lnTo>
                  <a:lnTo>
                    <a:pt x="56" y="56"/>
                  </a:lnTo>
                  <a:lnTo>
                    <a:pt x="56" y="54"/>
                  </a:lnTo>
                  <a:lnTo>
                    <a:pt x="56" y="54"/>
                  </a:lnTo>
                  <a:lnTo>
                    <a:pt x="56" y="52"/>
                  </a:lnTo>
                  <a:lnTo>
                    <a:pt x="54" y="50"/>
                  </a:lnTo>
                  <a:lnTo>
                    <a:pt x="54" y="48"/>
                  </a:lnTo>
                  <a:lnTo>
                    <a:pt x="52" y="46"/>
                  </a:lnTo>
                  <a:lnTo>
                    <a:pt x="52" y="44"/>
                  </a:lnTo>
                  <a:lnTo>
                    <a:pt x="50" y="44"/>
                  </a:lnTo>
                  <a:lnTo>
                    <a:pt x="50" y="42"/>
                  </a:lnTo>
                  <a:lnTo>
                    <a:pt x="50" y="42"/>
                  </a:lnTo>
                  <a:lnTo>
                    <a:pt x="48" y="42"/>
                  </a:lnTo>
                  <a:lnTo>
                    <a:pt x="48" y="42"/>
                  </a:lnTo>
                  <a:lnTo>
                    <a:pt x="46" y="42"/>
                  </a:lnTo>
                  <a:lnTo>
                    <a:pt x="46" y="42"/>
                  </a:lnTo>
                  <a:lnTo>
                    <a:pt x="46" y="42"/>
                  </a:lnTo>
                  <a:lnTo>
                    <a:pt x="46" y="42"/>
                  </a:lnTo>
                  <a:lnTo>
                    <a:pt x="46" y="44"/>
                  </a:lnTo>
                  <a:lnTo>
                    <a:pt x="44" y="44"/>
                  </a:lnTo>
                  <a:lnTo>
                    <a:pt x="44" y="46"/>
                  </a:lnTo>
                  <a:lnTo>
                    <a:pt x="44" y="50"/>
                  </a:lnTo>
                  <a:lnTo>
                    <a:pt x="44" y="52"/>
                  </a:lnTo>
                  <a:lnTo>
                    <a:pt x="44" y="52"/>
                  </a:lnTo>
                  <a:lnTo>
                    <a:pt x="44" y="52"/>
                  </a:lnTo>
                  <a:lnTo>
                    <a:pt x="42" y="54"/>
                  </a:lnTo>
                  <a:lnTo>
                    <a:pt x="42" y="54"/>
                  </a:lnTo>
                  <a:lnTo>
                    <a:pt x="40" y="54"/>
                  </a:lnTo>
                  <a:lnTo>
                    <a:pt x="38" y="54"/>
                  </a:lnTo>
                  <a:lnTo>
                    <a:pt x="36" y="56"/>
                  </a:lnTo>
                  <a:lnTo>
                    <a:pt x="34" y="56"/>
                  </a:lnTo>
                  <a:lnTo>
                    <a:pt x="32" y="58"/>
                  </a:lnTo>
                  <a:lnTo>
                    <a:pt x="32" y="58"/>
                  </a:lnTo>
                  <a:lnTo>
                    <a:pt x="30" y="58"/>
                  </a:lnTo>
                  <a:lnTo>
                    <a:pt x="30" y="58"/>
                  </a:lnTo>
                  <a:lnTo>
                    <a:pt x="30" y="60"/>
                  </a:lnTo>
                  <a:lnTo>
                    <a:pt x="30" y="60"/>
                  </a:lnTo>
                  <a:lnTo>
                    <a:pt x="30" y="62"/>
                  </a:lnTo>
                  <a:lnTo>
                    <a:pt x="30" y="62"/>
                  </a:lnTo>
                  <a:lnTo>
                    <a:pt x="30" y="64"/>
                  </a:lnTo>
                  <a:lnTo>
                    <a:pt x="30" y="68"/>
                  </a:lnTo>
                  <a:lnTo>
                    <a:pt x="30" y="70"/>
                  </a:lnTo>
                  <a:lnTo>
                    <a:pt x="30" y="72"/>
                  </a:lnTo>
                  <a:lnTo>
                    <a:pt x="30" y="72"/>
                  </a:lnTo>
                  <a:lnTo>
                    <a:pt x="30" y="74"/>
                  </a:lnTo>
                  <a:lnTo>
                    <a:pt x="30" y="74"/>
                  </a:lnTo>
                  <a:lnTo>
                    <a:pt x="30" y="76"/>
                  </a:lnTo>
                  <a:lnTo>
                    <a:pt x="28" y="76"/>
                  </a:lnTo>
                  <a:lnTo>
                    <a:pt x="28" y="76"/>
                  </a:lnTo>
                  <a:lnTo>
                    <a:pt x="26" y="76"/>
                  </a:lnTo>
                  <a:lnTo>
                    <a:pt x="26" y="76"/>
                  </a:lnTo>
                  <a:lnTo>
                    <a:pt x="22" y="76"/>
                  </a:lnTo>
                  <a:lnTo>
                    <a:pt x="20" y="74"/>
                  </a:lnTo>
                  <a:lnTo>
                    <a:pt x="18" y="74"/>
                  </a:lnTo>
                  <a:lnTo>
                    <a:pt x="14" y="74"/>
                  </a:lnTo>
                  <a:lnTo>
                    <a:pt x="12" y="72"/>
                  </a:lnTo>
                  <a:lnTo>
                    <a:pt x="14" y="68"/>
                  </a:lnTo>
                  <a:lnTo>
                    <a:pt x="14" y="62"/>
                  </a:lnTo>
                  <a:lnTo>
                    <a:pt x="14" y="56"/>
                  </a:lnTo>
                  <a:lnTo>
                    <a:pt x="14" y="52"/>
                  </a:lnTo>
                  <a:lnTo>
                    <a:pt x="14" y="50"/>
                  </a:lnTo>
                  <a:lnTo>
                    <a:pt x="14" y="46"/>
                  </a:lnTo>
                  <a:lnTo>
                    <a:pt x="14" y="44"/>
                  </a:lnTo>
                  <a:lnTo>
                    <a:pt x="14" y="40"/>
                  </a:lnTo>
                  <a:lnTo>
                    <a:pt x="14" y="38"/>
                  </a:lnTo>
                  <a:lnTo>
                    <a:pt x="12" y="36"/>
                  </a:lnTo>
                  <a:lnTo>
                    <a:pt x="12" y="34"/>
                  </a:lnTo>
                  <a:lnTo>
                    <a:pt x="12" y="34"/>
                  </a:lnTo>
                  <a:lnTo>
                    <a:pt x="12" y="34"/>
                  </a:lnTo>
                  <a:lnTo>
                    <a:pt x="10" y="34"/>
                  </a:lnTo>
                  <a:lnTo>
                    <a:pt x="10" y="34"/>
                  </a:lnTo>
                  <a:lnTo>
                    <a:pt x="8" y="32"/>
                  </a:lnTo>
                  <a:lnTo>
                    <a:pt x="6" y="32"/>
                  </a:lnTo>
                  <a:lnTo>
                    <a:pt x="4" y="32"/>
                  </a:lnTo>
                  <a:lnTo>
                    <a:pt x="4" y="32"/>
                  </a:lnTo>
                  <a:lnTo>
                    <a:pt x="2" y="32"/>
                  </a:lnTo>
                  <a:lnTo>
                    <a:pt x="2" y="32"/>
                  </a:lnTo>
                  <a:lnTo>
                    <a:pt x="2" y="32"/>
                  </a:lnTo>
                  <a:lnTo>
                    <a:pt x="0" y="30"/>
                  </a:lnTo>
                  <a:lnTo>
                    <a:pt x="0" y="28"/>
                  </a:lnTo>
                  <a:lnTo>
                    <a:pt x="0" y="26"/>
                  </a:lnTo>
                  <a:lnTo>
                    <a:pt x="0" y="24"/>
                  </a:lnTo>
                  <a:lnTo>
                    <a:pt x="0" y="22"/>
                  </a:lnTo>
                  <a:lnTo>
                    <a:pt x="0" y="20"/>
                  </a:lnTo>
                  <a:lnTo>
                    <a:pt x="2" y="16"/>
                  </a:lnTo>
                  <a:lnTo>
                    <a:pt x="2" y="14"/>
                  </a:lnTo>
                  <a:lnTo>
                    <a:pt x="2" y="12"/>
                  </a:lnTo>
                  <a:lnTo>
                    <a:pt x="4" y="10"/>
                  </a:lnTo>
                  <a:lnTo>
                    <a:pt x="4" y="8"/>
                  </a:lnTo>
                  <a:lnTo>
                    <a:pt x="6" y="6"/>
                  </a:lnTo>
                  <a:lnTo>
                    <a:pt x="8" y="4"/>
                  </a:lnTo>
                  <a:lnTo>
                    <a:pt x="8" y="2"/>
                  </a:lnTo>
                  <a:lnTo>
                    <a:pt x="10" y="2"/>
                  </a:lnTo>
                  <a:lnTo>
                    <a:pt x="10" y="0"/>
                  </a:lnTo>
                  <a:lnTo>
                    <a:pt x="12" y="0"/>
                  </a:lnTo>
                  <a:lnTo>
                    <a:pt x="12" y="0"/>
                  </a:lnTo>
                  <a:lnTo>
                    <a:pt x="14" y="0"/>
                  </a:lnTo>
                  <a:lnTo>
                    <a:pt x="14" y="0"/>
                  </a:lnTo>
                  <a:lnTo>
                    <a:pt x="16" y="2"/>
                  </a:lnTo>
                  <a:lnTo>
                    <a:pt x="16" y="2"/>
                  </a:lnTo>
                  <a:lnTo>
                    <a:pt x="18" y="2"/>
                  </a:lnTo>
                  <a:lnTo>
                    <a:pt x="20" y="6"/>
                  </a:lnTo>
                  <a:lnTo>
                    <a:pt x="24" y="10"/>
                  </a:lnTo>
                  <a:lnTo>
                    <a:pt x="28" y="12"/>
                  </a:lnTo>
                  <a:lnTo>
                    <a:pt x="28" y="12"/>
                  </a:lnTo>
                  <a:lnTo>
                    <a:pt x="30" y="12"/>
                  </a:lnTo>
                  <a:lnTo>
                    <a:pt x="30" y="14"/>
                  </a:lnTo>
                  <a:lnTo>
                    <a:pt x="32" y="14"/>
                  </a:lnTo>
                  <a:lnTo>
                    <a:pt x="36" y="14"/>
                  </a:lnTo>
                  <a:lnTo>
                    <a:pt x="40" y="14"/>
                  </a:lnTo>
                  <a:lnTo>
                    <a:pt x="42" y="14"/>
                  </a:lnTo>
                  <a:lnTo>
                    <a:pt x="44" y="16"/>
                  </a:lnTo>
                  <a:lnTo>
                    <a:pt x="48" y="16"/>
                  </a:lnTo>
                  <a:lnTo>
                    <a:pt x="52" y="18"/>
                  </a:lnTo>
                  <a:lnTo>
                    <a:pt x="54" y="20"/>
                  </a:lnTo>
                  <a:lnTo>
                    <a:pt x="56" y="20"/>
                  </a:lnTo>
                  <a:lnTo>
                    <a:pt x="58" y="22"/>
                  </a:lnTo>
                  <a:lnTo>
                    <a:pt x="60" y="24"/>
                  </a:lnTo>
                  <a:lnTo>
                    <a:pt x="62" y="24"/>
                  </a:lnTo>
                  <a:lnTo>
                    <a:pt x="62" y="26"/>
                  </a:lnTo>
                  <a:lnTo>
                    <a:pt x="62" y="26"/>
                  </a:lnTo>
                  <a:lnTo>
                    <a:pt x="62" y="26"/>
                  </a:lnTo>
                  <a:lnTo>
                    <a:pt x="64" y="28"/>
                  </a:lnTo>
                  <a:lnTo>
                    <a:pt x="64" y="32"/>
                  </a:lnTo>
                  <a:lnTo>
                    <a:pt x="64" y="34"/>
                  </a:lnTo>
                  <a:lnTo>
                    <a:pt x="64" y="38"/>
                  </a:lnTo>
                  <a:lnTo>
                    <a:pt x="64" y="40"/>
                  </a:lnTo>
                  <a:lnTo>
                    <a:pt x="64" y="42"/>
                  </a:lnTo>
                  <a:lnTo>
                    <a:pt x="66" y="48"/>
                  </a:lnTo>
                  <a:lnTo>
                    <a:pt x="66" y="54"/>
                  </a:lnTo>
                  <a:lnTo>
                    <a:pt x="68" y="58"/>
                  </a:lnTo>
                  <a:lnTo>
                    <a:pt x="68" y="62"/>
                  </a:lnTo>
                  <a:lnTo>
                    <a:pt x="70" y="64"/>
                  </a:lnTo>
                  <a:lnTo>
                    <a:pt x="70" y="66"/>
                  </a:lnTo>
                  <a:lnTo>
                    <a:pt x="70" y="66"/>
                  </a:lnTo>
                  <a:lnTo>
                    <a:pt x="72" y="68"/>
                  </a:lnTo>
                  <a:lnTo>
                    <a:pt x="72" y="68"/>
                  </a:lnTo>
                  <a:lnTo>
                    <a:pt x="76" y="72"/>
                  </a:lnTo>
                  <a:lnTo>
                    <a:pt x="78" y="74"/>
                  </a:lnTo>
                  <a:lnTo>
                    <a:pt x="80" y="74"/>
                  </a:lnTo>
                </a:path>
              </a:pathLst>
            </a:custGeom>
            <a:grp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 name="Freeform 46">
              <a:extLst>
                <a:ext uri="{FF2B5EF4-FFF2-40B4-BE49-F238E27FC236}">
                  <a16:creationId xmlns:a16="http://schemas.microsoft.com/office/drawing/2014/main" id="{73AAD9FB-4C4E-402C-A888-97D406205A39}"/>
                </a:ext>
              </a:extLst>
            </p:cNvPr>
            <p:cNvSpPr>
              <a:spLocks/>
            </p:cNvSpPr>
            <p:nvPr/>
          </p:nvSpPr>
          <p:spPr bwMode="auto">
            <a:xfrm>
              <a:off x="6441234" y="3877170"/>
              <a:ext cx="138566" cy="148958"/>
            </a:xfrm>
            <a:custGeom>
              <a:avLst/>
              <a:gdLst>
                <a:gd name="T0" fmla="*/ 70 w 80"/>
                <a:gd name="T1" fmla="*/ 86 h 86"/>
                <a:gd name="T2" fmla="*/ 64 w 80"/>
                <a:gd name="T3" fmla="*/ 84 h 86"/>
                <a:gd name="T4" fmla="*/ 60 w 80"/>
                <a:gd name="T5" fmla="*/ 78 h 86"/>
                <a:gd name="T6" fmla="*/ 56 w 80"/>
                <a:gd name="T7" fmla="*/ 72 h 86"/>
                <a:gd name="T8" fmla="*/ 54 w 80"/>
                <a:gd name="T9" fmla="*/ 66 h 86"/>
                <a:gd name="T10" fmla="*/ 54 w 80"/>
                <a:gd name="T11" fmla="*/ 62 h 86"/>
                <a:gd name="T12" fmla="*/ 56 w 80"/>
                <a:gd name="T13" fmla="*/ 58 h 86"/>
                <a:gd name="T14" fmla="*/ 56 w 80"/>
                <a:gd name="T15" fmla="*/ 54 h 86"/>
                <a:gd name="T16" fmla="*/ 54 w 80"/>
                <a:gd name="T17" fmla="*/ 48 h 86"/>
                <a:gd name="T18" fmla="*/ 50 w 80"/>
                <a:gd name="T19" fmla="*/ 44 h 86"/>
                <a:gd name="T20" fmla="*/ 48 w 80"/>
                <a:gd name="T21" fmla="*/ 42 h 86"/>
                <a:gd name="T22" fmla="*/ 46 w 80"/>
                <a:gd name="T23" fmla="*/ 42 h 86"/>
                <a:gd name="T24" fmla="*/ 46 w 80"/>
                <a:gd name="T25" fmla="*/ 44 h 86"/>
                <a:gd name="T26" fmla="*/ 44 w 80"/>
                <a:gd name="T27" fmla="*/ 50 h 86"/>
                <a:gd name="T28" fmla="*/ 44 w 80"/>
                <a:gd name="T29" fmla="*/ 52 h 86"/>
                <a:gd name="T30" fmla="*/ 40 w 80"/>
                <a:gd name="T31" fmla="*/ 54 h 86"/>
                <a:gd name="T32" fmla="*/ 34 w 80"/>
                <a:gd name="T33" fmla="*/ 56 h 86"/>
                <a:gd name="T34" fmla="*/ 30 w 80"/>
                <a:gd name="T35" fmla="*/ 58 h 86"/>
                <a:gd name="T36" fmla="*/ 30 w 80"/>
                <a:gd name="T37" fmla="*/ 60 h 86"/>
                <a:gd name="T38" fmla="*/ 30 w 80"/>
                <a:gd name="T39" fmla="*/ 64 h 86"/>
                <a:gd name="T40" fmla="*/ 30 w 80"/>
                <a:gd name="T41" fmla="*/ 72 h 86"/>
                <a:gd name="T42" fmla="*/ 30 w 80"/>
                <a:gd name="T43" fmla="*/ 74 h 86"/>
                <a:gd name="T44" fmla="*/ 28 w 80"/>
                <a:gd name="T45" fmla="*/ 76 h 86"/>
                <a:gd name="T46" fmla="*/ 22 w 80"/>
                <a:gd name="T47" fmla="*/ 76 h 86"/>
                <a:gd name="T48" fmla="*/ 14 w 80"/>
                <a:gd name="T49" fmla="*/ 74 h 86"/>
                <a:gd name="T50" fmla="*/ 14 w 80"/>
                <a:gd name="T51" fmla="*/ 62 h 86"/>
                <a:gd name="T52" fmla="*/ 14 w 80"/>
                <a:gd name="T53" fmla="*/ 50 h 86"/>
                <a:gd name="T54" fmla="*/ 14 w 80"/>
                <a:gd name="T55" fmla="*/ 40 h 86"/>
                <a:gd name="T56" fmla="*/ 12 w 80"/>
                <a:gd name="T57" fmla="*/ 34 h 86"/>
                <a:gd name="T58" fmla="*/ 10 w 80"/>
                <a:gd name="T59" fmla="*/ 34 h 86"/>
                <a:gd name="T60" fmla="*/ 6 w 80"/>
                <a:gd name="T61" fmla="*/ 32 h 86"/>
                <a:gd name="T62" fmla="*/ 2 w 80"/>
                <a:gd name="T63" fmla="*/ 32 h 86"/>
                <a:gd name="T64" fmla="*/ 0 w 80"/>
                <a:gd name="T65" fmla="*/ 30 h 86"/>
                <a:gd name="T66" fmla="*/ 0 w 80"/>
                <a:gd name="T67" fmla="*/ 24 h 86"/>
                <a:gd name="T68" fmla="*/ 2 w 80"/>
                <a:gd name="T69" fmla="*/ 16 h 86"/>
                <a:gd name="T70" fmla="*/ 4 w 80"/>
                <a:gd name="T71" fmla="*/ 10 h 86"/>
                <a:gd name="T72" fmla="*/ 8 w 80"/>
                <a:gd name="T73" fmla="*/ 4 h 86"/>
                <a:gd name="T74" fmla="*/ 10 w 80"/>
                <a:gd name="T75" fmla="*/ 0 h 86"/>
                <a:gd name="T76" fmla="*/ 14 w 80"/>
                <a:gd name="T77" fmla="*/ 0 h 86"/>
                <a:gd name="T78" fmla="*/ 16 w 80"/>
                <a:gd name="T79" fmla="*/ 2 h 86"/>
                <a:gd name="T80" fmla="*/ 24 w 80"/>
                <a:gd name="T81" fmla="*/ 10 h 86"/>
                <a:gd name="T82" fmla="*/ 30 w 80"/>
                <a:gd name="T83" fmla="*/ 12 h 86"/>
                <a:gd name="T84" fmla="*/ 36 w 80"/>
                <a:gd name="T85" fmla="*/ 14 h 86"/>
                <a:gd name="T86" fmla="*/ 44 w 80"/>
                <a:gd name="T87" fmla="*/ 16 h 86"/>
                <a:gd name="T88" fmla="*/ 54 w 80"/>
                <a:gd name="T89" fmla="*/ 20 h 86"/>
                <a:gd name="T90" fmla="*/ 60 w 80"/>
                <a:gd name="T91" fmla="*/ 24 h 86"/>
                <a:gd name="T92" fmla="*/ 62 w 80"/>
                <a:gd name="T93" fmla="*/ 26 h 86"/>
                <a:gd name="T94" fmla="*/ 64 w 80"/>
                <a:gd name="T95" fmla="*/ 32 h 86"/>
                <a:gd name="T96" fmla="*/ 64 w 80"/>
                <a:gd name="T97" fmla="*/ 40 h 86"/>
                <a:gd name="T98" fmla="*/ 66 w 80"/>
                <a:gd name="T99" fmla="*/ 54 h 86"/>
                <a:gd name="T100" fmla="*/ 70 w 80"/>
                <a:gd name="T101" fmla="*/ 64 h 86"/>
                <a:gd name="T102" fmla="*/ 72 w 80"/>
                <a:gd name="T103" fmla="*/ 68 h 86"/>
                <a:gd name="T104" fmla="*/ 78 w 80"/>
                <a:gd name="T105"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86">
                  <a:moveTo>
                    <a:pt x="80" y="74"/>
                  </a:moveTo>
                  <a:lnTo>
                    <a:pt x="74" y="86"/>
                  </a:lnTo>
                  <a:lnTo>
                    <a:pt x="70" y="86"/>
                  </a:lnTo>
                  <a:lnTo>
                    <a:pt x="66" y="84"/>
                  </a:lnTo>
                  <a:lnTo>
                    <a:pt x="66" y="84"/>
                  </a:lnTo>
                  <a:lnTo>
                    <a:pt x="64" y="84"/>
                  </a:lnTo>
                  <a:lnTo>
                    <a:pt x="64" y="82"/>
                  </a:lnTo>
                  <a:lnTo>
                    <a:pt x="62" y="80"/>
                  </a:lnTo>
                  <a:lnTo>
                    <a:pt x="60" y="78"/>
                  </a:lnTo>
                  <a:lnTo>
                    <a:pt x="58" y="76"/>
                  </a:lnTo>
                  <a:lnTo>
                    <a:pt x="56" y="74"/>
                  </a:lnTo>
                  <a:lnTo>
                    <a:pt x="56" y="72"/>
                  </a:lnTo>
                  <a:lnTo>
                    <a:pt x="54" y="70"/>
                  </a:lnTo>
                  <a:lnTo>
                    <a:pt x="54" y="68"/>
                  </a:lnTo>
                  <a:lnTo>
                    <a:pt x="54" y="66"/>
                  </a:lnTo>
                  <a:lnTo>
                    <a:pt x="54" y="66"/>
                  </a:lnTo>
                  <a:lnTo>
                    <a:pt x="54" y="64"/>
                  </a:lnTo>
                  <a:lnTo>
                    <a:pt x="54" y="62"/>
                  </a:lnTo>
                  <a:lnTo>
                    <a:pt x="54" y="60"/>
                  </a:lnTo>
                  <a:lnTo>
                    <a:pt x="56" y="58"/>
                  </a:lnTo>
                  <a:lnTo>
                    <a:pt x="56" y="58"/>
                  </a:lnTo>
                  <a:lnTo>
                    <a:pt x="56" y="56"/>
                  </a:lnTo>
                  <a:lnTo>
                    <a:pt x="56" y="54"/>
                  </a:lnTo>
                  <a:lnTo>
                    <a:pt x="56" y="54"/>
                  </a:lnTo>
                  <a:lnTo>
                    <a:pt x="56" y="52"/>
                  </a:lnTo>
                  <a:lnTo>
                    <a:pt x="54" y="50"/>
                  </a:lnTo>
                  <a:lnTo>
                    <a:pt x="54" y="48"/>
                  </a:lnTo>
                  <a:lnTo>
                    <a:pt x="52" y="46"/>
                  </a:lnTo>
                  <a:lnTo>
                    <a:pt x="52" y="44"/>
                  </a:lnTo>
                  <a:lnTo>
                    <a:pt x="50" y="44"/>
                  </a:lnTo>
                  <a:lnTo>
                    <a:pt x="50" y="42"/>
                  </a:lnTo>
                  <a:lnTo>
                    <a:pt x="50" y="42"/>
                  </a:lnTo>
                  <a:lnTo>
                    <a:pt x="48" y="42"/>
                  </a:lnTo>
                  <a:lnTo>
                    <a:pt x="48" y="42"/>
                  </a:lnTo>
                  <a:lnTo>
                    <a:pt x="46" y="42"/>
                  </a:lnTo>
                  <a:lnTo>
                    <a:pt x="46" y="42"/>
                  </a:lnTo>
                  <a:lnTo>
                    <a:pt x="46" y="42"/>
                  </a:lnTo>
                  <a:lnTo>
                    <a:pt x="46" y="42"/>
                  </a:lnTo>
                  <a:lnTo>
                    <a:pt x="46" y="44"/>
                  </a:lnTo>
                  <a:lnTo>
                    <a:pt x="44" y="44"/>
                  </a:lnTo>
                  <a:lnTo>
                    <a:pt x="44" y="46"/>
                  </a:lnTo>
                  <a:lnTo>
                    <a:pt x="44" y="50"/>
                  </a:lnTo>
                  <a:lnTo>
                    <a:pt x="44" y="52"/>
                  </a:lnTo>
                  <a:lnTo>
                    <a:pt x="44" y="52"/>
                  </a:lnTo>
                  <a:lnTo>
                    <a:pt x="44" y="52"/>
                  </a:lnTo>
                  <a:lnTo>
                    <a:pt x="42" y="54"/>
                  </a:lnTo>
                  <a:lnTo>
                    <a:pt x="42" y="54"/>
                  </a:lnTo>
                  <a:lnTo>
                    <a:pt x="40" y="54"/>
                  </a:lnTo>
                  <a:lnTo>
                    <a:pt x="38" y="54"/>
                  </a:lnTo>
                  <a:lnTo>
                    <a:pt x="36" y="56"/>
                  </a:lnTo>
                  <a:lnTo>
                    <a:pt x="34" y="56"/>
                  </a:lnTo>
                  <a:lnTo>
                    <a:pt x="32" y="58"/>
                  </a:lnTo>
                  <a:lnTo>
                    <a:pt x="32" y="58"/>
                  </a:lnTo>
                  <a:lnTo>
                    <a:pt x="30" y="58"/>
                  </a:lnTo>
                  <a:lnTo>
                    <a:pt x="30" y="58"/>
                  </a:lnTo>
                  <a:lnTo>
                    <a:pt x="30" y="60"/>
                  </a:lnTo>
                  <a:lnTo>
                    <a:pt x="30" y="60"/>
                  </a:lnTo>
                  <a:lnTo>
                    <a:pt x="30" y="62"/>
                  </a:lnTo>
                  <a:lnTo>
                    <a:pt x="30" y="62"/>
                  </a:lnTo>
                  <a:lnTo>
                    <a:pt x="30" y="64"/>
                  </a:lnTo>
                  <a:lnTo>
                    <a:pt x="30" y="68"/>
                  </a:lnTo>
                  <a:lnTo>
                    <a:pt x="30" y="70"/>
                  </a:lnTo>
                  <a:lnTo>
                    <a:pt x="30" y="72"/>
                  </a:lnTo>
                  <a:lnTo>
                    <a:pt x="30" y="72"/>
                  </a:lnTo>
                  <a:lnTo>
                    <a:pt x="30" y="74"/>
                  </a:lnTo>
                  <a:lnTo>
                    <a:pt x="30" y="74"/>
                  </a:lnTo>
                  <a:lnTo>
                    <a:pt x="30" y="76"/>
                  </a:lnTo>
                  <a:lnTo>
                    <a:pt x="28" y="76"/>
                  </a:lnTo>
                  <a:lnTo>
                    <a:pt x="28" y="76"/>
                  </a:lnTo>
                  <a:lnTo>
                    <a:pt x="26" y="76"/>
                  </a:lnTo>
                  <a:lnTo>
                    <a:pt x="26" y="76"/>
                  </a:lnTo>
                  <a:lnTo>
                    <a:pt x="22" y="76"/>
                  </a:lnTo>
                  <a:lnTo>
                    <a:pt x="20" y="74"/>
                  </a:lnTo>
                  <a:lnTo>
                    <a:pt x="18" y="74"/>
                  </a:lnTo>
                  <a:lnTo>
                    <a:pt x="14" y="74"/>
                  </a:lnTo>
                  <a:lnTo>
                    <a:pt x="12" y="72"/>
                  </a:lnTo>
                  <a:lnTo>
                    <a:pt x="14" y="68"/>
                  </a:lnTo>
                  <a:lnTo>
                    <a:pt x="14" y="62"/>
                  </a:lnTo>
                  <a:lnTo>
                    <a:pt x="14" y="56"/>
                  </a:lnTo>
                  <a:lnTo>
                    <a:pt x="14" y="52"/>
                  </a:lnTo>
                  <a:lnTo>
                    <a:pt x="14" y="50"/>
                  </a:lnTo>
                  <a:lnTo>
                    <a:pt x="14" y="46"/>
                  </a:lnTo>
                  <a:lnTo>
                    <a:pt x="14" y="44"/>
                  </a:lnTo>
                  <a:lnTo>
                    <a:pt x="14" y="40"/>
                  </a:lnTo>
                  <a:lnTo>
                    <a:pt x="14" y="38"/>
                  </a:lnTo>
                  <a:lnTo>
                    <a:pt x="12" y="36"/>
                  </a:lnTo>
                  <a:lnTo>
                    <a:pt x="12" y="34"/>
                  </a:lnTo>
                  <a:lnTo>
                    <a:pt x="12" y="34"/>
                  </a:lnTo>
                  <a:lnTo>
                    <a:pt x="12" y="34"/>
                  </a:lnTo>
                  <a:lnTo>
                    <a:pt x="10" y="34"/>
                  </a:lnTo>
                  <a:lnTo>
                    <a:pt x="10" y="34"/>
                  </a:lnTo>
                  <a:lnTo>
                    <a:pt x="8" y="32"/>
                  </a:lnTo>
                  <a:lnTo>
                    <a:pt x="6" y="32"/>
                  </a:lnTo>
                  <a:lnTo>
                    <a:pt x="4" y="32"/>
                  </a:lnTo>
                  <a:lnTo>
                    <a:pt x="4" y="32"/>
                  </a:lnTo>
                  <a:lnTo>
                    <a:pt x="2" y="32"/>
                  </a:lnTo>
                  <a:lnTo>
                    <a:pt x="2" y="32"/>
                  </a:lnTo>
                  <a:lnTo>
                    <a:pt x="2" y="32"/>
                  </a:lnTo>
                  <a:lnTo>
                    <a:pt x="0" y="30"/>
                  </a:lnTo>
                  <a:lnTo>
                    <a:pt x="0" y="28"/>
                  </a:lnTo>
                  <a:lnTo>
                    <a:pt x="0" y="26"/>
                  </a:lnTo>
                  <a:lnTo>
                    <a:pt x="0" y="24"/>
                  </a:lnTo>
                  <a:lnTo>
                    <a:pt x="0" y="22"/>
                  </a:lnTo>
                  <a:lnTo>
                    <a:pt x="0" y="20"/>
                  </a:lnTo>
                  <a:lnTo>
                    <a:pt x="2" y="16"/>
                  </a:lnTo>
                  <a:lnTo>
                    <a:pt x="2" y="14"/>
                  </a:lnTo>
                  <a:lnTo>
                    <a:pt x="2" y="12"/>
                  </a:lnTo>
                  <a:lnTo>
                    <a:pt x="4" y="10"/>
                  </a:lnTo>
                  <a:lnTo>
                    <a:pt x="4" y="8"/>
                  </a:lnTo>
                  <a:lnTo>
                    <a:pt x="6" y="6"/>
                  </a:lnTo>
                  <a:lnTo>
                    <a:pt x="8" y="4"/>
                  </a:lnTo>
                  <a:lnTo>
                    <a:pt x="8" y="2"/>
                  </a:lnTo>
                  <a:lnTo>
                    <a:pt x="10" y="2"/>
                  </a:lnTo>
                  <a:lnTo>
                    <a:pt x="10" y="0"/>
                  </a:lnTo>
                  <a:lnTo>
                    <a:pt x="12" y="0"/>
                  </a:lnTo>
                  <a:lnTo>
                    <a:pt x="12" y="0"/>
                  </a:lnTo>
                  <a:lnTo>
                    <a:pt x="14" y="0"/>
                  </a:lnTo>
                  <a:lnTo>
                    <a:pt x="14" y="0"/>
                  </a:lnTo>
                  <a:lnTo>
                    <a:pt x="16" y="2"/>
                  </a:lnTo>
                  <a:lnTo>
                    <a:pt x="16" y="2"/>
                  </a:lnTo>
                  <a:lnTo>
                    <a:pt x="18" y="2"/>
                  </a:lnTo>
                  <a:lnTo>
                    <a:pt x="20" y="6"/>
                  </a:lnTo>
                  <a:lnTo>
                    <a:pt x="24" y="10"/>
                  </a:lnTo>
                  <a:lnTo>
                    <a:pt x="28" y="12"/>
                  </a:lnTo>
                  <a:lnTo>
                    <a:pt x="28" y="12"/>
                  </a:lnTo>
                  <a:lnTo>
                    <a:pt x="30" y="12"/>
                  </a:lnTo>
                  <a:lnTo>
                    <a:pt x="30" y="14"/>
                  </a:lnTo>
                  <a:lnTo>
                    <a:pt x="32" y="14"/>
                  </a:lnTo>
                  <a:lnTo>
                    <a:pt x="36" y="14"/>
                  </a:lnTo>
                  <a:lnTo>
                    <a:pt x="40" y="14"/>
                  </a:lnTo>
                  <a:lnTo>
                    <a:pt x="42" y="14"/>
                  </a:lnTo>
                  <a:lnTo>
                    <a:pt x="44" y="16"/>
                  </a:lnTo>
                  <a:lnTo>
                    <a:pt x="48" y="16"/>
                  </a:lnTo>
                  <a:lnTo>
                    <a:pt x="52" y="18"/>
                  </a:lnTo>
                  <a:lnTo>
                    <a:pt x="54" y="20"/>
                  </a:lnTo>
                  <a:lnTo>
                    <a:pt x="56" y="20"/>
                  </a:lnTo>
                  <a:lnTo>
                    <a:pt x="58" y="22"/>
                  </a:lnTo>
                  <a:lnTo>
                    <a:pt x="60" y="24"/>
                  </a:lnTo>
                  <a:lnTo>
                    <a:pt x="62" y="24"/>
                  </a:lnTo>
                  <a:lnTo>
                    <a:pt x="62" y="26"/>
                  </a:lnTo>
                  <a:lnTo>
                    <a:pt x="62" y="26"/>
                  </a:lnTo>
                  <a:lnTo>
                    <a:pt x="62" y="26"/>
                  </a:lnTo>
                  <a:lnTo>
                    <a:pt x="64" y="28"/>
                  </a:lnTo>
                  <a:lnTo>
                    <a:pt x="64" y="32"/>
                  </a:lnTo>
                  <a:lnTo>
                    <a:pt x="64" y="34"/>
                  </a:lnTo>
                  <a:lnTo>
                    <a:pt x="64" y="38"/>
                  </a:lnTo>
                  <a:lnTo>
                    <a:pt x="64" y="40"/>
                  </a:lnTo>
                  <a:lnTo>
                    <a:pt x="64" y="42"/>
                  </a:lnTo>
                  <a:lnTo>
                    <a:pt x="66" y="48"/>
                  </a:lnTo>
                  <a:lnTo>
                    <a:pt x="66" y="54"/>
                  </a:lnTo>
                  <a:lnTo>
                    <a:pt x="68" y="58"/>
                  </a:lnTo>
                  <a:lnTo>
                    <a:pt x="68" y="62"/>
                  </a:lnTo>
                  <a:lnTo>
                    <a:pt x="70" y="64"/>
                  </a:lnTo>
                  <a:lnTo>
                    <a:pt x="70" y="66"/>
                  </a:lnTo>
                  <a:lnTo>
                    <a:pt x="70" y="66"/>
                  </a:lnTo>
                  <a:lnTo>
                    <a:pt x="72" y="68"/>
                  </a:lnTo>
                  <a:lnTo>
                    <a:pt x="72" y="68"/>
                  </a:lnTo>
                  <a:lnTo>
                    <a:pt x="76" y="72"/>
                  </a:lnTo>
                  <a:lnTo>
                    <a:pt x="78" y="74"/>
                  </a:lnTo>
                  <a:lnTo>
                    <a:pt x="80" y="74"/>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 name="Freeform 47">
              <a:extLst>
                <a:ext uri="{FF2B5EF4-FFF2-40B4-BE49-F238E27FC236}">
                  <a16:creationId xmlns:a16="http://schemas.microsoft.com/office/drawing/2014/main" id="{E0068E65-1585-485A-9230-452AEEC1066E}"/>
                </a:ext>
              </a:extLst>
            </p:cNvPr>
            <p:cNvSpPr>
              <a:spLocks/>
            </p:cNvSpPr>
            <p:nvPr/>
          </p:nvSpPr>
          <p:spPr bwMode="auto">
            <a:xfrm>
              <a:off x="5436630" y="2973027"/>
              <a:ext cx="924928" cy="471124"/>
            </a:xfrm>
            <a:custGeom>
              <a:avLst/>
              <a:gdLst>
                <a:gd name="T0" fmla="*/ 518 w 534"/>
                <a:gd name="T1" fmla="*/ 76 h 272"/>
                <a:gd name="T2" fmla="*/ 490 w 534"/>
                <a:gd name="T3" fmla="*/ 60 h 272"/>
                <a:gd name="T4" fmla="*/ 472 w 534"/>
                <a:gd name="T5" fmla="*/ 54 h 272"/>
                <a:gd name="T6" fmla="*/ 452 w 534"/>
                <a:gd name="T7" fmla="*/ 16 h 272"/>
                <a:gd name="T8" fmla="*/ 412 w 534"/>
                <a:gd name="T9" fmla="*/ 26 h 272"/>
                <a:gd name="T10" fmla="*/ 396 w 534"/>
                <a:gd name="T11" fmla="*/ 14 h 272"/>
                <a:gd name="T12" fmla="*/ 376 w 534"/>
                <a:gd name="T13" fmla="*/ 0 h 272"/>
                <a:gd name="T14" fmla="*/ 306 w 534"/>
                <a:gd name="T15" fmla="*/ 8 h 272"/>
                <a:gd name="T16" fmla="*/ 268 w 534"/>
                <a:gd name="T17" fmla="*/ 4 h 272"/>
                <a:gd name="T18" fmla="*/ 270 w 534"/>
                <a:gd name="T19" fmla="*/ 28 h 272"/>
                <a:gd name="T20" fmla="*/ 238 w 534"/>
                <a:gd name="T21" fmla="*/ 38 h 272"/>
                <a:gd name="T22" fmla="*/ 246 w 534"/>
                <a:gd name="T23" fmla="*/ 60 h 272"/>
                <a:gd name="T24" fmla="*/ 226 w 534"/>
                <a:gd name="T25" fmla="*/ 64 h 272"/>
                <a:gd name="T26" fmla="*/ 184 w 534"/>
                <a:gd name="T27" fmla="*/ 50 h 272"/>
                <a:gd name="T28" fmla="*/ 166 w 534"/>
                <a:gd name="T29" fmla="*/ 42 h 272"/>
                <a:gd name="T30" fmla="*/ 146 w 534"/>
                <a:gd name="T31" fmla="*/ 20 h 272"/>
                <a:gd name="T32" fmla="*/ 94 w 534"/>
                <a:gd name="T33" fmla="*/ 10 h 272"/>
                <a:gd name="T34" fmla="*/ 66 w 534"/>
                <a:gd name="T35" fmla="*/ 16 h 272"/>
                <a:gd name="T36" fmla="*/ 56 w 534"/>
                <a:gd name="T37" fmla="*/ 20 h 272"/>
                <a:gd name="T38" fmla="*/ 34 w 534"/>
                <a:gd name="T39" fmla="*/ 10 h 272"/>
                <a:gd name="T40" fmla="*/ 2 w 534"/>
                <a:gd name="T41" fmla="*/ 52 h 272"/>
                <a:gd name="T42" fmla="*/ 10 w 534"/>
                <a:gd name="T43" fmla="*/ 78 h 272"/>
                <a:gd name="T44" fmla="*/ 28 w 534"/>
                <a:gd name="T45" fmla="*/ 98 h 272"/>
                <a:gd name="T46" fmla="*/ 12 w 534"/>
                <a:gd name="T47" fmla="*/ 124 h 272"/>
                <a:gd name="T48" fmla="*/ 30 w 534"/>
                <a:gd name="T49" fmla="*/ 142 h 272"/>
                <a:gd name="T50" fmla="*/ 48 w 534"/>
                <a:gd name="T51" fmla="*/ 142 h 272"/>
                <a:gd name="T52" fmla="*/ 60 w 534"/>
                <a:gd name="T53" fmla="*/ 150 h 272"/>
                <a:gd name="T54" fmla="*/ 60 w 534"/>
                <a:gd name="T55" fmla="*/ 174 h 272"/>
                <a:gd name="T56" fmla="*/ 38 w 534"/>
                <a:gd name="T57" fmla="*/ 174 h 272"/>
                <a:gd name="T58" fmla="*/ 30 w 534"/>
                <a:gd name="T59" fmla="*/ 192 h 272"/>
                <a:gd name="T60" fmla="*/ 22 w 534"/>
                <a:gd name="T61" fmla="*/ 202 h 272"/>
                <a:gd name="T62" fmla="*/ 42 w 534"/>
                <a:gd name="T63" fmla="*/ 216 h 272"/>
                <a:gd name="T64" fmla="*/ 52 w 534"/>
                <a:gd name="T65" fmla="*/ 238 h 272"/>
                <a:gd name="T66" fmla="*/ 58 w 534"/>
                <a:gd name="T67" fmla="*/ 232 h 272"/>
                <a:gd name="T68" fmla="*/ 78 w 534"/>
                <a:gd name="T69" fmla="*/ 230 h 272"/>
                <a:gd name="T70" fmla="*/ 94 w 534"/>
                <a:gd name="T71" fmla="*/ 246 h 272"/>
                <a:gd name="T72" fmla="*/ 106 w 534"/>
                <a:gd name="T73" fmla="*/ 256 h 272"/>
                <a:gd name="T74" fmla="*/ 122 w 534"/>
                <a:gd name="T75" fmla="*/ 228 h 272"/>
                <a:gd name="T76" fmla="*/ 144 w 534"/>
                <a:gd name="T77" fmla="*/ 180 h 272"/>
                <a:gd name="T78" fmla="*/ 178 w 534"/>
                <a:gd name="T79" fmla="*/ 160 h 272"/>
                <a:gd name="T80" fmla="*/ 188 w 534"/>
                <a:gd name="T81" fmla="*/ 144 h 272"/>
                <a:gd name="T82" fmla="*/ 206 w 534"/>
                <a:gd name="T83" fmla="*/ 154 h 272"/>
                <a:gd name="T84" fmla="*/ 212 w 534"/>
                <a:gd name="T85" fmla="*/ 178 h 272"/>
                <a:gd name="T86" fmla="*/ 218 w 534"/>
                <a:gd name="T87" fmla="*/ 210 h 272"/>
                <a:gd name="T88" fmla="*/ 240 w 534"/>
                <a:gd name="T89" fmla="*/ 212 h 272"/>
                <a:gd name="T90" fmla="*/ 272 w 534"/>
                <a:gd name="T91" fmla="*/ 224 h 272"/>
                <a:gd name="T92" fmla="*/ 278 w 534"/>
                <a:gd name="T93" fmla="*/ 256 h 272"/>
                <a:gd name="T94" fmla="*/ 326 w 534"/>
                <a:gd name="T95" fmla="*/ 258 h 272"/>
                <a:gd name="T96" fmla="*/ 362 w 534"/>
                <a:gd name="T97" fmla="*/ 242 h 272"/>
                <a:gd name="T98" fmla="*/ 346 w 534"/>
                <a:gd name="T99" fmla="*/ 228 h 272"/>
                <a:gd name="T100" fmla="*/ 326 w 534"/>
                <a:gd name="T101" fmla="*/ 220 h 272"/>
                <a:gd name="T102" fmla="*/ 332 w 534"/>
                <a:gd name="T103" fmla="*/ 204 h 272"/>
                <a:gd name="T104" fmla="*/ 342 w 534"/>
                <a:gd name="T105" fmla="*/ 188 h 272"/>
                <a:gd name="T106" fmla="*/ 356 w 534"/>
                <a:gd name="T107" fmla="*/ 200 h 272"/>
                <a:gd name="T108" fmla="*/ 378 w 534"/>
                <a:gd name="T109" fmla="*/ 186 h 272"/>
                <a:gd name="T110" fmla="*/ 398 w 534"/>
                <a:gd name="T111" fmla="*/ 196 h 272"/>
                <a:gd name="T112" fmla="*/ 446 w 534"/>
                <a:gd name="T113" fmla="*/ 196 h 272"/>
                <a:gd name="T114" fmla="*/ 462 w 534"/>
                <a:gd name="T115" fmla="*/ 182 h 272"/>
                <a:gd name="T116" fmla="*/ 480 w 534"/>
                <a:gd name="T117" fmla="*/ 170 h 272"/>
                <a:gd name="T118" fmla="*/ 500 w 534"/>
                <a:gd name="T119" fmla="*/ 170 h 272"/>
                <a:gd name="T120" fmla="*/ 510 w 534"/>
                <a:gd name="T121" fmla="*/ 134 h 272"/>
                <a:gd name="T122" fmla="*/ 524 w 534"/>
                <a:gd name="T123" fmla="*/ 12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4" h="272">
                  <a:moveTo>
                    <a:pt x="534" y="114"/>
                  </a:moveTo>
                  <a:lnTo>
                    <a:pt x="534" y="114"/>
                  </a:lnTo>
                  <a:lnTo>
                    <a:pt x="534" y="110"/>
                  </a:lnTo>
                  <a:lnTo>
                    <a:pt x="532" y="106"/>
                  </a:lnTo>
                  <a:lnTo>
                    <a:pt x="530" y="100"/>
                  </a:lnTo>
                  <a:lnTo>
                    <a:pt x="528" y="94"/>
                  </a:lnTo>
                  <a:lnTo>
                    <a:pt x="528" y="90"/>
                  </a:lnTo>
                  <a:lnTo>
                    <a:pt x="526" y="88"/>
                  </a:lnTo>
                  <a:lnTo>
                    <a:pt x="524" y="86"/>
                  </a:lnTo>
                  <a:lnTo>
                    <a:pt x="524" y="82"/>
                  </a:lnTo>
                  <a:lnTo>
                    <a:pt x="522" y="80"/>
                  </a:lnTo>
                  <a:lnTo>
                    <a:pt x="522" y="80"/>
                  </a:lnTo>
                  <a:lnTo>
                    <a:pt x="520" y="78"/>
                  </a:lnTo>
                  <a:lnTo>
                    <a:pt x="520" y="78"/>
                  </a:lnTo>
                  <a:lnTo>
                    <a:pt x="518" y="76"/>
                  </a:lnTo>
                  <a:lnTo>
                    <a:pt x="516" y="76"/>
                  </a:lnTo>
                  <a:lnTo>
                    <a:pt x="514" y="76"/>
                  </a:lnTo>
                  <a:lnTo>
                    <a:pt x="510" y="74"/>
                  </a:lnTo>
                  <a:lnTo>
                    <a:pt x="506" y="74"/>
                  </a:lnTo>
                  <a:lnTo>
                    <a:pt x="504" y="72"/>
                  </a:lnTo>
                  <a:lnTo>
                    <a:pt x="500" y="70"/>
                  </a:lnTo>
                  <a:lnTo>
                    <a:pt x="500" y="70"/>
                  </a:lnTo>
                  <a:lnTo>
                    <a:pt x="498" y="70"/>
                  </a:lnTo>
                  <a:lnTo>
                    <a:pt x="498" y="68"/>
                  </a:lnTo>
                  <a:lnTo>
                    <a:pt x="496" y="68"/>
                  </a:lnTo>
                  <a:lnTo>
                    <a:pt x="494" y="64"/>
                  </a:lnTo>
                  <a:lnTo>
                    <a:pt x="494" y="62"/>
                  </a:lnTo>
                  <a:lnTo>
                    <a:pt x="492" y="60"/>
                  </a:lnTo>
                  <a:lnTo>
                    <a:pt x="492" y="60"/>
                  </a:lnTo>
                  <a:lnTo>
                    <a:pt x="490" y="60"/>
                  </a:lnTo>
                  <a:lnTo>
                    <a:pt x="490" y="58"/>
                  </a:lnTo>
                  <a:lnTo>
                    <a:pt x="490" y="58"/>
                  </a:lnTo>
                  <a:lnTo>
                    <a:pt x="488" y="58"/>
                  </a:lnTo>
                  <a:lnTo>
                    <a:pt x="486" y="58"/>
                  </a:lnTo>
                  <a:lnTo>
                    <a:pt x="484" y="58"/>
                  </a:lnTo>
                  <a:lnTo>
                    <a:pt x="482" y="58"/>
                  </a:lnTo>
                  <a:lnTo>
                    <a:pt x="480" y="58"/>
                  </a:lnTo>
                  <a:lnTo>
                    <a:pt x="478" y="58"/>
                  </a:lnTo>
                  <a:lnTo>
                    <a:pt x="476" y="58"/>
                  </a:lnTo>
                  <a:lnTo>
                    <a:pt x="476" y="58"/>
                  </a:lnTo>
                  <a:lnTo>
                    <a:pt x="476" y="58"/>
                  </a:lnTo>
                  <a:lnTo>
                    <a:pt x="474" y="58"/>
                  </a:lnTo>
                  <a:lnTo>
                    <a:pt x="474" y="56"/>
                  </a:lnTo>
                  <a:lnTo>
                    <a:pt x="474" y="56"/>
                  </a:lnTo>
                  <a:lnTo>
                    <a:pt x="472" y="54"/>
                  </a:lnTo>
                  <a:lnTo>
                    <a:pt x="470" y="52"/>
                  </a:lnTo>
                  <a:lnTo>
                    <a:pt x="470" y="50"/>
                  </a:lnTo>
                  <a:lnTo>
                    <a:pt x="468" y="46"/>
                  </a:lnTo>
                  <a:lnTo>
                    <a:pt x="468" y="44"/>
                  </a:lnTo>
                  <a:lnTo>
                    <a:pt x="464" y="38"/>
                  </a:lnTo>
                  <a:lnTo>
                    <a:pt x="462" y="30"/>
                  </a:lnTo>
                  <a:lnTo>
                    <a:pt x="462" y="28"/>
                  </a:lnTo>
                  <a:lnTo>
                    <a:pt x="460" y="24"/>
                  </a:lnTo>
                  <a:lnTo>
                    <a:pt x="458" y="22"/>
                  </a:lnTo>
                  <a:lnTo>
                    <a:pt x="458" y="20"/>
                  </a:lnTo>
                  <a:lnTo>
                    <a:pt x="456" y="18"/>
                  </a:lnTo>
                  <a:lnTo>
                    <a:pt x="456" y="18"/>
                  </a:lnTo>
                  <a:lnTo>
                    <a:pt x="454" y="18"/>
                  </a:lnTo>
                  <a:lnTo>
                    <a:pt x="454" y="16"/>
                  </a:lnTo>
                  <a:lnTo>
                    <a:pt x="452" y="16"/>
                  </a:lnTo>
                  <a:lnTo>
                    <a:pt x="452" y="16"/>
                  </a:lnTo>
                  <a:lnTo>
                    <a:pt x="450" y="16"/>
                  </a:lnTo>
                  <a:lnTo>
                    <a:pt x="448" y="16"/>
                  </a:lnTo>
                  <a:lnTo>
                    <a:pt x="444" y="16"/>
                  </a:lnTo>
                  <a:lnTo>
                    <a:pt x="442" y="16"/>
                  </a:lnTo>
                  <a:lnTo>
                    <a:pt x="440" y="16"/>
                  </a:lnTo>
                  <a:lnTo>
                    <a:pt x="434" y="16"/>
                  </a:lnTo>
                  <a:lnTo>
                    <a:pt x="432" y="18"/>
                  </a:lnTo>
                  <a:lnTo>
                    <a:pt x="430" y="18"/>
                  </a:lnTo>
                  <a:lnTo>
                    <a:pt x="424" y="22"/>
                  </a:lnTo>
                  <a:lnTo>
                    <a:pt x="420" y="22"/>
                  </a:lnTo>
                  <a:lnTo>
                    <a:pt x="418" y="24"/>
                  </a:lnTo>
                  <a:lnTo>
                    <a:pt x="414" y="24"/>
                  </a:lnTo>
                  <a:lnTo>
                    <a:pt x="412" y="24"/>
                  </a:lnTo>
                  <a:lnTo>
                    <a:pt x="412" y="26"/>
                  </a:lnTo>
                  <a:lnTo>
                    <a:pt x="408" y="26"/>
                  </a:lnTo>
                  <a:lnTo>
                    <a:pt x="406" y="26"/>
                  </a:lnTo>
                  <a:lnTo>
                    <a:pt x="404" y="26"/>
                  </a:lnTo>
                  <a:lnTo>
                    <a:pt x="402" y="26"/>
                  </a:lnTo>
                  <a:lnTo>
                    <a:pt x="400" y="26"/>
                  </a:lnTo>
                  <a:lnTo>
                    <a:pt x="398" y="26"/>
                  </a:lnTo>
                  <a:lnTo>
                    <a:pt x="398" y="24"/>
                  </a:lnTo>
                  <a:lnTo>
                    <a:pt x="396" y="24"/>
                  </a:lnTo>
                  <a:lnTo>
                    <a:pt x="396" y="24"/>
                  </a:lnTo>
                  <a:lnTo>
                    <a:pt x="396" y="24"/>
                  </a:lnTo>
                  <a:lnTo>
                    <a:pt x="396" y="22"/>
                  </a:lnTo>
                  <a:lnTo>
                    <a:pt x="396" y="22"/>
                  </a:lnTo>
                  <a:lnTo>
                    <a:pt x="396" y="20"/>
                  </a:lnTo>
                  <a:lnTo>
                    <a:pt x="396" y="18"/>
                  </a:lnTo>
                  <a:lnTo>
                    <a:pt x="396" y="14"/>
                  </a:lnTo>
                  <a:lnTo>
                    <a:pt x="396" y="14"/>
                  </a:lnTo>
                  <a:lnTo>
                    <a:pt x="396" y="12"/>
                  </a:lnTo>
                  <a:lnTo>
                    <a:pt x="394" y="12"/>
                  </a:lnTo>
                  <a:lnTo>
                    <a:pt x="394" y="10"/>
                  </a:lnTo>
                  <a:lnTo>
                    <a:pt x="392" y="8"/>
                  </a:lnTo>
                  <a:lnTo>
                    <a:pt x="392" y="8"/>
                  </a:lnTo>
                  <a:lnTo>
                    <a:pt x="390" y="6"/>
                  </a:lnTo>
                  <a:lnTo>
                    <a:pt x="388" y="4"/>
                  </a:lnTo>
                  <a:lnTo>
                    <a:pt x="386" y="2"/>
                  </a:lnTo>
                  <a:lnTo>
                    <a:pt x="384" y="2"/>
                  </a:lnTo>
                  <a:lnTo>
                    <a:pt x="382" y="2"/>
                  </a:lnTo>
                  <a:lnTo>
                    <a:pt x="382" y="0"/>
                  </a:lnTo>
                  <a:lnTo>
                    <a:pt x="380" y="0"/>
                  </a:lnTo>
                  <a:lnTo>
                    <a:pt x="378" y="0"/>
                  </a:lnTo>
                  <a:lnTo>
                    <a:pt x="376" y="0"/>
                  </a:lnTo>
                  <a:lnTo>
                    <a:pt x="372" y="2"/>
                  </a:lnTo>
                  <a:lnTo>
                    <a:pt x="370" y="2"/>
                  </a:lnTo>
                  <a:lnTo>
                    <a:pt x="362" y="4"/>
                  </a:lnTo>
                  <a:lnTo>
                    <a:pt x="358" y="6"/>
                  </a:lnTo>
                  <a:lnTo>
                    <a:pt x="356" y="6"/>
                  </a:lnTo>
                  <a:lnTo>
                    <a:pt x="350" y="8"/>
                  </a:lnTo>
                  <a:lnTo>
                    <a:pt x="344" y="8"/>
                  </a:lnTo>
                  <a:lnTo>
                    <a:pt x="338" y="10"/>
                  </a:lnTo>
                  <a:lnTo>
                    <a:pt x="336" y="10"/>
                  </a:lnTo>
                  <a:lnTo>
                    <a:pt x="334" y="10"/>
                  </a:lnTo>
                  <a:lnTo>
                    <a:pt x="330" y="10"/>
                  </a:lnTo>
                  <a:lnTo>
                    <a:pt x="326" y="10"/>
                  </a:lnTo>
                  <a:lnTo>
                    <a:pt x="320" y="10"/>
                  </a:lnTo>
                  <a:lnTo>
                    <a:pt x="316" y="10"/>
                  </a:lnTo>
                  <a:lnTo>
                    <a:pt x="306" y="8"/>
                  </a:lnTo>
                  <a:lnTo>
                    <a:pt x="298" y="8"/>
                  </a:lnTo>
                  <a:lnTo>
                    <a:pt x="296" y="6"/>
                  </a:lnTo>
                  <a:lnTo>
                    <a:pt x="294" y="6"/>
                  </a:lnTo>
                  <a:lnTo>
                    <a:pt x="288" y="4"/>
                  </a:lnTo>
                  <a:lnTo>
                    <a:pt x="286" y="4"/>
                  </a:lnTo>
                  <a:lnTo>
                    <a:pt x="282" y="2"/>
                  </a:lnTo>
                  <a:lnTo>
                    <a:pt x="280" y="2"/>
                  </a:lnTo>
                  <a:lnTo>
                    <a:pt x="278" y="2"/>
                  </a:lnTo>
                  <a:lnTo>
                    <a:pt x="276" y="2"/>
                  </a:lnTo>
                  <a:lnTo>
                    <a:pt x="272" y="2"/>
                  </a:lnTo>
                  <a:lnTo>
                    <a:pt x="272" y="4"/>
                  </a:lnTo>
                  <a:lnTo>
                    <a:pt x="270" y="4"/>
                  </a:lnTo>
                  <a:lnTo>
                    <a:pt x="270" y="4"/>
                  </a:lnTo>
                  <a:lnTo>
                    <a:pt x="268" y="4"/>
                  </a:lnTo>
                  <a:lnTo>
                    <a:pt x="268" y="4"/>
                  </a:lnTo>
                  <a:lnTo>
                    <a:pt x="268" y="6"/>
                  </a:lnTo>
                  <a:lnTo>
                    <a:pt x="268" y="6"/>
                  </a:lnTo>
                  <a:lnTo>
                    <a:pt x="268" y="8"/>
                  </a:lnTo>
                  <a:lnTo>
                    <a:pt x="268" y="10"/>
                  </a:lnTo>
                  <a:lnTo>
                    <a:pt x="268" y="12"/>
                  </a:lnTo>
                  <a:lnTo>
                    <a:pt x="270" y="14"/>
                  </a:lnTo>
                  <a:lnTo>
                    <a:pt x="272" y="18"/>
                  </a:lnTo>
                  <a:lnTo>
                    <a:pt x="272" y="20"/>
                  </a:lnTo>
                  <a:lnTo>
                    <a:pt x="272" y="22"/>
                  </a:lnTo>
                  <a:lnTo>
                    <a:pt x="272" y="24"/>
                  </a:lnTo>
                  <a:lnTo>
                    <a:pt x="272" y="24"/>
                  </a:lnTo>
                  <a:lnTo>
                    <a:pt x="272" y="26"/>
                  </a:lnTo>
                  <a:lnTo>
                    <a:pt x="272" y="26"/>
                  </a:lnTo>
                  <a:lnTo>
                    <a:pt x="270" y="26"/>
                  </a:lnTo>
                  <a:lnTo>
                    <a:pt x="270" y="28"/>
                  </a:lnTo>
                  <a:lnTo>
                    <a:pt x="270" y="28"/>
                  </a:lnTo>
                  <a:lnTo>
                    <a:pt x="266" y="30"/>
                  </a:lnTo>
                  <a:lnTo>
                    <a:pt x="264" y="30"/>
                  </a:lnTo>
                  <a:lnTo>
                    <a:pt x="260" y="32"/>
                  </a:lnTo>
                  <a:lnTo>
                    <a:pt x="258" y="32"/>
                  </a:lnTo>
                  <a:lnTo>
                    <a:pt x="256" y="34"/>
                  </a:lnTo>
                  <a:lnTo>
                    <a:pt x="254" y="34"/>
                  </a:lnTo>
                  <a:lnTo>
                    <a:pt x="254" y="34"/>
                  </a:lnTo>
                  <a:lnTo>
                    <a:pt x="252" y="34"/>
                  </a:lnTo>
                  <a:lnTo>
                    <a:pt x="248" y="36"/>
                  </a:lnTo>
                  <a:lnTo>
                    <a:pt x="246" y="36"/>
                  </a:lnTo>
                  <a:lnTo>
                    <a:pt x="242" y="36"/>
                  </a:lnTo>
                  <a:lnTo>
                    <a:pt x="242" y="38"/>
                  </a:lnTo>
                  <a:lnTo>
                    <a:pt x="240" y="38"/>
                  </a:lnTo>
                  <a:lnTo>
                    <a:pt x="238" y="38"/>
                  </a:lnTo>
                  <a:lnTo>
                    <a:pt x="238" y="40"/>
                  </a:lnTo>
                  <a:lnTo>
                    <a:pt x="236" y="40"/>
                  </a:lnTo>
                  <a:lnTo>
                    <a:pt x="236" y="42"/>
                  </a:lnTo>
                  <a:lnTo>
                    <a:pt x="236" y="42"/>
                  </a:lnTo>
                  <a:lnTo>
                    <a:pt x="236" y="44"/>
                  </a:lnTo>
                  <a:lnTo>
                    <a:pt x="236" y="44"/>
                  </a:lnTo>
                  <a:lnTo>
                    <a:pt x="236" y="46"/>
                  </a:lnTo>
                  <a:lnTo>
                    <a:pt x="238" y="48"/>
                  </a:lnTo>
                  <a:lnTo>
                    <a:pt x="242" y="50"/>
                  </a:lnTo>
                  <a:lnTo>
                    <a:pt x="244" y="52"/>
                  </a:lnTo>
                  <a:lnTo>
                    <a:pt x="246" y="56"/>
                  </a:lnTo>
                  <a:lnTo>
                    <a:pt x="246" y="56"/>
                  </a:lnTo>
                  <a:lnTo>
                    <a:pt x="246" y="58"/>
                  </a:lnTo>
                  <a:lnTo>
                    <a:pt x="246" y="60"/>
                  </a:lnTo>
                  <a:lnTo>
                    <a:pt x="246" y="60"/>
                  </a:lnTo>
                  <a:lnTo>
                    <a:pt x="246" y="62"/>
                  </a:lnTo>
                  <a:lnTo>
                    <a:pt x="246" y="62"/>
                  </a:lnTo>
                  <a:lnTo>
                    <a:pt x="244" y="64"/>
                  </a:lnTo>
                  <a:lnTo>
                    <a:pt x="244" y="64"/>
                  </a:lnTo>
                  <a:lnTo>
                    <a:pt x="242" y="66"/>
                  </a:lnTo>
                  <a:lnTo>
                    <a:pt x="240" y="68"/>
                  </a:lnTo>
                  <a:lnTo>
                    <a:pt x="240" y="68"/>
                  </a:lnTo>
                  <a:lnTo>
                    <a:pt x="238" y="68"/>
                  </a:lnTo>
                  <a:lnTo>
                    <a:pt x="238" y="68"/>
                  </a:lnTo>
                  <a:lnTo>
                    <a:pt x="236" y="68"/>
                  </a:lnTo>
                  <a:lnTo>
                    <a:pt x="236" y="68"/>
                  </a:lnTo>
                  <a:lnTo>
                    <a:pt x="234" y="68"/>
                  </a:lnTo>
                  <a:lnTo>
                    <a:pt x="232" y="66"/>
                  </a:lnTo>
                  <a:lnTo>
                    <a:pt x="228" y="66"/>
                  </a:lnTo>
                  <a:lnTo>
                    <a:pt x="226" y="64"/>
                  </a:lnTo>
                  <a:lnTo>
                    <a:pt x="222" y="62"/>
                  </a:lnTo>
                  <a:lnTo>
                    <a:pt x="220" y="60"/>
                  </a:lnTo>
                  <a:lnTo>
                    <a:pt x="212" y="56"/>
                  </a:lnTo>
                  <a:lnTo>
                    <a:pt x="208" y="52"/>
                  </a:lnTo>
                  <a:lnTo>
                    <a:pt x="204" y="50"/>
                  </a:lnTo>
                  <a:lnTo>
                    <a:pt x="204" y="50"/>
                  </a:lnTo>
                  <a:lnTo>
                    <a:pt x="202" y="48"/>
                  </a:lnTo>
                  <a:lnTo>
                    <a:pt x="200" y="48"/>
                  </a:lnTo>
                  <a:lnTo>
                    <a:pt x="198" y="48"/>
                  </a:lnTo>
                  <a:lnTo>
                    <a:pt x="198" y="48"/>
                  </a:lnTo>
                  <a:lnTo>
                    <a:pt x="196" y="48"/>
                  </a:lnTo>
                  <a:lnTo>
                    <a:pt x="194" y="48"/>
                  </a:lnTo>
                  <a:lnTo>
                    <a:pt x="192" y="48"/>
                  </a:lnTo>
                  <a:lnTo>
                    <a:pt x="188" y="48"/>
                  </a:lnTo>
                  <a:lnTo>
                    <a:pt x="184" y="50"/>
                  </a:lnTo>
                  <a:lnTo>
                    <a:pt x="182" y="50"/>
                  </a:lnTo>
                  <a:lnTo>
                    <a:pt x="180" y="50"/>
                  </a:lnTo>
                  <a:lnTo>
                    <a:pt x="180" y="50"/>
                  </a:lnTo>
                  <a:lnTo>
                    <a:pt x="176" y="50"/>
                  </a:lnTo>
                  <a:lnTo>
                    <a:pt x="174" y="50"/>
                  </a:lnTo>
                  <a:lnTo>
                    <a:pt x="172" y="48"/>
                  </a:lnTo>
                  <a:lnTo>
                    <a:pt x="170" y="48"/>
                  </a:lnTo>
                  <a:lnTo>
                    <a:pt x="168" y="48"/>
                  </a:lnTo>
                  <a:lnTo>
                    <a:pt x="168" y="46"/>
                  </a:lnTo>
                  <a:lnTo>
                    <a:pt x="166" y="46"/>
                  </a:lnTo>
                  <a:lnTo>
                    <a:pt x="166" y="46"/>
                  </a:lnTo>
                  <a:lnTo>
                    <a:pt x="166" y="46"/>
                  </a:lnTo>
                  <a:lnTo>
                    <a:pt x="166" y="44"/>
                  </a:lnTo>
                  <a:lnTo>
                    <a:pt x="166" y="44"/>
                  </a:lnTo>
                  <a:lnTo>
                    <a:pt x="166" y="42"/>
                  </a:lnTo>
                  <a:lnTo>
                    <a:pt x="166" y="40"/>
                  </a:lnTo>
                  <a:lnTo>
                    <a:pt x="168" y="40"/>
                  </a:lnTo>
                  <a:lnTo>
                    <a:pt x="168" y="38"/>
                  </a:lnTo>
                  <a:lnTo>
                    <a:pt x="168" y="36"/>
                  </a:lnTo>
                  <a:lnTo>
                    <a:pt x="168" y="36"/>
                  </a:lnTo>
                  <a:lnTo>
                    <a:pt x="168" y="36"/>
                  </a:lnTo>
                  <a:lnTo>
                    <a:pt x="166" y="34"/>
                  </a:lnTo>
                  <a:lnTo>
                    <a:pt x="166" y="32"/>
                  </a:lnTo>
                  <a:lnTo>
                    <a:pt x="164" y="30"/>
                  </a:lnTo>
                  <a:lnTo>
                    <a:pt x="162" y="28"/>
                  </a:lnTo>
                  <a:lnTo>
                    <a:pt x="160" y="26"/>
                  </a:lnTo>
                  <a:lnTo>
                    <a:pt x="156" y="26"/>
                  </a:lnTo>
                  <a:lnTo>
                    <a:pt x="154" y="24"/>
                  </a:lnTo>
                  <a:lnTo>
                    <a:pt x="152" y="22"/>
                  </a:lnTo>
                  <a:lnTo>
                    <a:pt x="146" y="20"/>
                  </a:lnTo>
                  <a:lnTo>
                    <a:pt x="140" y="16"/>
                  </a:lnTo>
                  <a:lnTo>
                    <a:pt x="136" y="14"/>
                  </a:lnTo>
                  <a:lnTo>
                    <a:pt x="132" y="14"/>
                  </a:lnTo>
                  <a:lnTo>
                    <a:pt x="130" y="12"/>
                  </a:lnTo>
                  <a:lnTo>
                    <a:pt x="128" y="12"/>
                  </a:lnTo>
                  <a:lnTo>
                    <a:pt x="126" y="12"/>
                  </a:lnTo>
                  <a:lnTo>
                    <a:pt x="122" y="12"/>
                  </a:lnTo>
                  <a:lnTo>
                    <a:pt x="118" y="12"/>
                  </a:lnTo>
                  <a:lnTo>
                    <a:pt x="110" y="12"/>
                  </a:lnTo>
                  <a:lnTo>
                    <a:pt x="106" y="12"/>
                  </a:lnTo>
                  <a:lnTo>
                    <a:pt x="104" y="12"/>
                  </a:lnTo>
                  <a:lnTo>
                    <a:pt x="102" y="10"/>
                  </a:lnTo>
                  <a:lnTo>
                    <a:pt x="100" y="10"/>
                  </a:lnTo>
                  <a:lnTo>
                    <a:pt x="96" y="10"/>
                  </a:lnTo>
                  <a:lnTo>
                    <a:pt x="94" y="10"/>
                  </a:lnTo>
                  <a:lnTo>
                    <a:pt x="90" y="8"/>
                  </a:lnTo>
                  <a:lnTo>
                    <a:pt x="88" y="8"/>
                  </a:lnTo>
                  <a:lnTo>
                    <a:pt x="86" y="8"/>
                  </a:lnTo>
                  <a:lnTo>
                    <a:pt x="84" y="8"/>
                  </a:lnTo>
                  <a:lnTo>
                    <a:pt x="82" y="8"/>
                  </a:lnTo>
                  <a:lnTo>
                    <a:pt x="80" y="10"/>
                  </a:lnTo>
                  <a:lnTo>
                    <a:pt x="76" y="10"/>
                  </a:lnTo>
                  <a:lnTo>
                    <a:pt x="74" y="10"/>
                  </a:lnTo>
                  <a:lnTo>
                    <a:pt x="72" y="10"/>
                  </a:lnTo>
                  <a:lnTo>
                    <a:pt x="70" y="12"/>
                  </a:lnTo>
                  <a:lnTo>
                    <a:pt x="68" y="12"/>
                  </a:lnTo>
                  <a:lnTo>
                    <a:pt x="68" y="14"/>
                  </a:lnTo>
                  <a:lnTo>
                    <a:pt x="66" y="14"/>
                  </a:lnTo>
                  <a:lnTo>
                    <a:pt x="66" y="14"/>
                  </a:lnTo>
                  <a:lnTo>
                    <a:pt x="66" y="16"/>
                  </a:lnTo>
                  <a:lnTo>
                    <a:pt x="66" y="18"/>
                  </a:lnTo>
                  <a:lnTo>
                    <a:pt x="64" y="20"/>
                  </a:lnTo>
                  <a:lnTo>
                    <a:pt x="64" y="22"/>
                  </a:lnTo>
                  <a:lnTo>
                    <a:pt x="64" y="24"/>
                  </a:lnTo>
                  <a:lnTo>
                    <a:pt x="64" y="24"/>
                  </a:lnTo>
                  <a:lnTo>
                    <a:pt x="62" y="24"/>
                  </a:lnTo>
                  <a:lnTo>
                    <a:pt x="62" y="26"/>
                  </a:lnTo>
                  <a:lnTo>
                    <a:pt x="62" y="26"/>
                  </a:lnTo>
                  <a:lnTo>
                    <a:pt x="60" y="26"/>
                  </a:lnTo>
                  <a:lnTo>
                    <a:pt x="60" y="26"/>
                  </a:lnTo>
                  <a:lnTo>
                    <a:pt x="60" y="24"/>
                  </a:lnTo>
                  <a:lnTo>
                    <a:pt x="58" y="24"/>
                  </a:lnTo>
                  <a:lnTo>
                    <a:pt x="58" y="22"/>
                  </a:lnTo>
                  <a:lnTo>
                    <a:pt x="56" y="22"/>
                  </a:lnTo>
                  <a:lnTo>
                    <a:pt x="56" y="20"/>
                  </a:lnTo>
                  <a:lnTo>
                    <a:pt x="54" y="16"/>
                  </a:lnTo>
                  <a:lnTo>
                    <a:pt x="52" y="14"/>
                  </a:lnTo>
                  <a:lnTo>
                    <a:pt x="50" y="12"/>
                  </a:lnTo>
                  <a:lnTo>
                    <a:pt x="50" y="10"/>
                  </a:lnTo>
                  <a:lnTo>
                    <a:pt x="48" y="10"/>
                  </a:lnTo>
                  <a:lnTo>
                    <a:pt x="48" y="8"/>
                  </a:lnTo>
                  <a:lnTo>
                    <a:pt x="46" y="8"/>
                  </a:lnTo>
                  <a:lnTo>
                    <a:pt x="46" y="8"/>
                  </a:lnTo>
                  <a:lnTo>
                    <a:pt x="46" y="8"/>
                  </a:lnTo>
                  <a:lnTo>
                    <a:pt x="44" y="6"/>
                  </a:lnTo>
                  <a:lnTo>
                    <a:pt x="42" y="8"/>
                  </a:lnTo>
                  <a:lnTo>
                    <a:pt x="40" y="8"/>
                  </a:lnTo>
                  <a:lnTo>
                    <a:pt x="38" y="8"/>
                  </a:lnTo>
                  <a:lnTo>
                    <a:pt x="36" y="8"/>
                  </a:lnTo>
                  <a:lnTo>
                    <a:pt x="34" y="10"/>
                  </a:lnTo>
                  <a:lnTo>
                    <a:pt x="32" y="10"/>
                  </a:lnTo>
                  <a:lnTo>
                    <a:pt x="30" y="12"/>
                  </a:lnTo>
                  <a:lnTo>
                    <a:pt x="28" y="14"/>
                  </a:lnTo>
                  <a:lnTo>
                    <a:pt x="26" y="14"/>
                  </a:lnTo>
                  <a:lnTo>
                    <a:pt x="24" y="16"/>
                  </a:lnTo>
                  <a:lnTo>
                    <a:pt x="22" y="18"/>
                  </a:lnTo>
                  <a:lnTo>
                    <a:pt x="20" y="20"/>
                  </a:lnTo>
                  <a:lnTo>
                    <a:pt x="20" y="22"/>
                  </a:lnTo>
                  <a:lnTo>
                    <a:pt x="16" y="26"/>
                  </a:lnTo>
                  <a:lnTo>
                    <a:pt x="12" y="30"/>
                  </a:lnTo>
                  <a:lnTo>
                    <a:pt x="10" y="36"/>
                  </a:lnTo>
                  <a:lnTo>
                    <a:pt x="8" y="40"/>
                  </a:lnTo>
                  <a:lnTo>
                    <a:pt x="6" y="44"/>
                  </a:lnTo>
                  <a:lnTo>
                    <a:pt x="4" y="48"/>
                  </a:lnTo>
                  <a:lnTo>
                    <a:pt x="2" y="52"/>
                  </a:lnTo>
                  <a:lnTo>
                    <a:pt x="2" y="54"/>
                  </a:lnTo>
                  <a:lnTo>
                    <a:pt x="2" y="56"/>
                  </a:lnTo>
                  <a:lnTo>
                    <a:pt x="0" y="58"/>
                  </a:lnTo>
                  <a:lnTo>
                    <a:pt x="0" y="60"/>
                  </a:lnTo>
                  <a:lnTo>
                    <a:pt x="0" y="60"/>
                  </a:lnTo>
                  <a:lnTo>
                    <a:pt x="0" y="62"/>
                  </a:lnTo>
                  <a:lnTo>
                    <a:pt x="2" y="64"/>
                  </a:lnTo>
                  <a:lnTo>
                    <a:pt x="2" y="66"/>
                  </a:lnTo>
                  <a:lnTo>
                    <a:pt x="4" y="68"/>
                  </a:lnTo>
                  <a:lnTo>
                    <a:pt x="4" y="70"/>
                  </a:lnTo>
                  <a:lnTo>
                    <a:pt x="6" y="72"/>
                  </a:lnTo>
                  <a:lnTo>
                    <a:pt x="8" y="74"/>
                  </a:lnTo>
                  <a:lnTo>
                    <a:pt x="8" y="76"/>
                  </a:lnTo>
                  <a:lnTo>
                    <a:pt x="10" y="76"/>
                  </a:lnTo>
                  <a:lnTo>
                    <a:pt x="10" y="78"/>
                  </a:lnTo>
                  <a:lnTo>
                    <a:pt x="12" y="78"/>
                  </a:lnTo>
                  <a:lnTo>
                    <a:pt x="14" y="80"/>
                  </a:lnTo>
                  <a:lnTo>
                    <a:pt x="18" y="80"/>
                  </a:lnTo>
                  <a:lnTo>
                    <a:pt x="20" y="82"/>
                  </a:lnTo>
                  <a:lnTo>
                    <a:pt x="22" y="84"/>
                  </a:lnTo>
                  <a:lnTo>
                    <a:pt x="24" y="84"/>
                  </a:lnTo>
                  <a:lnTo>
                    <a:pt x="24" y="84"/>
                  </a:lnTo>
                  <a:lnTo>
                    <a:pt x="24" y="86"/>
                  </a:lnTo>
                  <a:lnTo>
                    <a:pt x="26" y="86"/>
                  </a:lnTo>
                  <a:lnTo>
                    <a:pt x="26" y="88"/>
                  </a:lnTo>
                  <a:lnTo>
                    <a:pt x="26" y="88"/>
                  </a:lnTo>
                  <a:lnTo>
                    <a:pt x="26" y="90"/>
                  </a:lnTo>
                  <a:lnTo>
                    <a:pt x="28" y="94"/>
                  </a:lnTo>
                  <a:lnTo>
                    <a:pt x="28" y="96"/>
                  </a:lnTo>
                  <a:lnTo>
                    <a:pt x="28" y="98"/>
                  </a:lnTo>
                  <a:lnTo>
                    <a:pt x="28" y="102"/>
                  </a:lnTo>
                  <a:lnTo>
                    <a:pt x="26" y="104"/>
                  </a:lnTo>
                  <a:lnTo>
                    <a:pt x="26" y="106"/>
                  </a:lnTo>
                  <a:lnTo>
                    <a:pt x="26" y="106"/>
                  </a:lnTo>
                  <a:lnTo>
                    <a:pt x="26" y="108"/>
                  </a:lnTo>
                  <a:lnTo>
                    <a:pt x="24" y="110"/>
                  </a:lnTo>
                  <a:lnTo>
                    <a:pt x="22" y="112"/>
                  </a:lnTo>
                  <a:lnTo>
                    <a:pt x="20" y="114"/>
                  </a:lnTo>
                  <a:lnTo>
                    <a:pt x="18" y="114"/>
                  </a:lnTo>
                  <a:lnTo>
                    <a:pt x="16" y="116"/>
                  </a:lnTo>
                  <a:lnTo>
                    <a:pt x="14" y="118"/>
                  </a:lnTo>
                  <a:lnTo>
                    <a:pt x="14" y="120"/>
                  </a:lnTo>
                  <a:lnTo>
                    <a:pt x="14" y="120"/>
                  </a:lnTo>
                  <a:lnTo>
                    <a:pt x="12" y="122"/>
                  </a:lnTo>
                  <a:lnTo>
                    <a:pt x="12" y="124"/>
                  </a:lnTo>
                  <a:lnTo>
                    <a:pt x="10" y="126"/>
                  </a:lnTo>
                  <a:lnTo>
                    <a:pt x="10" y="132"/>
                  </a:lnTo>
                  <a:lnTo>
                    <a:pt x="10" y="136"/>
                  </a:lnTo>
                  <a:lnTo>
                    <a:pt x="8" y="144"/>
                  </a:lnTo>
                  <a:lnTo>
                    <a:pt x="8" y="146"/>
                  </a:lnTo>
                  <a:lnTo>
                    <a:pt x="10" y="146"/>
                  </a:lnTo>
                  <a:lnTo>
                    <a:pt x="14" y="144"/>
                  </a:lnTo>
                  <a:lnTo>
                    <a:pt x="18" y="144"/>
                  </a:lnTo>
                  <a:lnTo>
                    <a:pt x="20" y="142"/>
                  </a:lnTo>
                  <a:lnTo>
                    <a:pt x="24" y="142"/>
                  </a:lnTo>
                  <a:lnTo>
                    <a:pt x="26" y="142"/>
                  </a:lnTo>
                  <a:lnTo>
                    <a:pt x="26" y="142"/>
                  </a:lnTo>
                  <a:lnTo>
                    <a:pt x="26" y="142"/>
                  </a:lnTo>
                  <a:lnTo>
                    <a:pt x="28" y="142"/>
                  </a:lnTo>
                  <a:lnTo>
                    <a:pt x="30" y="142"/>
                  </a:lnTo>
                  <a:lnTo>
                    <a:pt x="32" y="144"/>
                  </a:lnTo>
                  <a:lnTo>
                    <a:pt x="36" y="146"/>
                  </a:lnTo>
                  <a:lnTo>
                    <a:pt x="38" y="146"/>
                  </a:lnTo>
                  <a:lnTo>
                    <a:pt x="40" y="148"/>
                  </a:lnTo>
                  <a:lnTo>
                    <a:pt x="42" y="148"/>
                  </a:lnTo>
                  <a:lnTo>
                    <a:pt x="42" y="148"/>
                  </a:lnTo>
                  <a:lnTo>
                    <a:pt x="44" y="148"/>
                  </a:lnTo>
                  <a:lnTo>
                    <a:pt x="44" y="148"/>
                  </a:lnTo>
                  <a:lnTo>
                    <a:pt x="46" y="148"/>
                  </a:lnTo>
                  <a:lnTo>
                    <a:pt x="46" y="148"/>
                  </a:lnTo>
                  <a:lnTo>
                    <a:pt x="46" y="146"/>
                  </a:lnTo>
                  <a:lnTo>
                    <a:pt x="46" y="146"/>
                  </a:lnTo>
                  <a:lnTo>
                    <a:pt x="48" y="144"/>
                  </a:lnTo>
                  <a:lnTo>
                    <a:pt x="48" y="142"/>
                  </a:lnTo>
                  <a:lnTo>
                    <a:pt x="48" y="142"/>
                  </a:lnTo>
                  <a:lnTo>
                    <a:pt x="50" y="140"/>
                  </a:lnTo>
                  <a:lnTo>
                    <a:pt x="50" y="140"/>
                  </a:lnTo>
                  <a:lnTo>
                    <a:pt x="50" y="140"/>
                  </a:lnTo>
                  <a:lnTo>
                    <a:pt x="52" y="140"/>
                  </a:lnTo>
                  <a:lnTo>
                    <a:pt x="52" y="140"/>
                  </a:lnTo>
                  <a:lnTo>
                    <a:pt x="54" y="142"/>
                  </a:lnTo>
                  <a:lnTo>
                    <a:pt x="56" y="142"/>
                  </a:lnTo>
                  <a:lnTo>
                    <a:pt x="58" y="142"/>
                  </a:lnTo>
                  <a:lnTo>
                    <a:pt x="58" y="144"/>
                  </a:lnTo>
                  <a:lnTo>
                    <a:pt x="60" y="144"/>
                  </a:lnTo>
                  <a:lnTo>
                    <a:pt x="60" y="146"/>
                  </a:lnTo>
                  <a:lnTo>
                    <a:pt x="60" y="146"/>
                  </a:lnTo>
                  <a:lnTo>
                    <a:pt x="60" y="148"/>
                  </a:lnTo>
                  <a:lnTo>
                    <a:pt x="60" y="148"/>
                  </a:lnTo>
                  <a:lnTo>
                    <a:pt x="60" y="150"/>
                  </a:lnTo>
                  <a:lnTo>
                    <a:pt x="60" y="152"/>
                  </a:lnTo>
                  <a:lnTo>
                    <a:pt x="58" y="154"/>
                  </a:lnTo>
                  <a:lnTo>
                    <a:pt x="58" y="158"/>
                  </a:lnTo>
                  <a:lnTo>
                    <a:pt x="58" y="160"/>
                  </a:lnTo>
                  <a:lnTo>
                    <a:pt x="56" y="162"/>
                  </a:lnTo>
                  <a:lnTo>
                    <a:pt x="56" y="164"/>
                  </a:lnTo>
                  <a:lnTo>
                    <a:pt x="56" y="164"/>
                  </a:lnTo>
                  <a:lnTo>
                    <a:pt x="56" y="166"/>
                  </a:lnTo>
                  <a:lnTo>
                    <a:pt x="58" y="166"/>
                  </a:lnTo>
                  <a:lnTo>
                    <a:pt x="58" y="168"/>
                  </a:lnTo>
                  <a:lnTo>
                    <a:pt x="60" y="170"/>
                  </a:lnTo>
                  <a:lnTo>
                    <a:pt x="60" y="172"/>
                  </a:lnTo>
                  <a:lnTo>
                    <a:pt x="60" y="172"/>
                  </a:lnTo>
                  <a:lnTo>
                    <a:pt x="60" y="172"/>
                  </a:lnTo>
                  <a:lnTo>
                    <a:pt x="60" y="174"/>
                  </a:lnTo>
                  <a:lnTo>
                    <a:pt x="60" y="174"/>
                  </a:lnTo>
                  <a:lnTo>
                    <a:pt x="58" y="174"/>
                  </a:lnTo>
                  <a:lnTo>
                    <a:pt x="58" y="174"/>
                  </a:lnTo>
                  <a:lnTo>
                    <a:pt x="56" y="174"/>
                  </a:lnTo>
                  <a:lnTo>
                    <a:pt x="56" y="174"/>
                  </a:lnTo>
                  <a:lnTo>
                    <a:pt x="54" y="174"/>
                  </a:lnTo>
                  <a:lnTo>
                    <a:pt x="50" y="174"/>
                  </a:lnTo>
                  <a:lnTo>
                    <a:pt x="48" y="174"/>
                  </a:lnTo>
                  <a:lnTo>
                    <a:pt x="44" y="172"/>
                  </a:lnTo>
                  <a:lnTo>
                    <a:pt x="44" y="172"/>
                  </a:lnTo>
                  <a:lnTo>
                    <a:pt x="42" y="172"/>
                  </a:lnTo>
                  <a:lnTo>
                    <a:pt x="40" y="172"/>
                  </a:lnTo>
                  <a:lnTo>
                    <a:pt x="40" y="174"/>
                  </a:lnTo>
                  <a:lnTo>
                    <a:pt x="38" y="174"/>
                  </a:lnTo>
                  <a:lnTo>
                    <a:pt x="38" y="174"/>
                  </a:lnTo>
                  <a:lnTo>
                    <a:pt x="36" y="176"/>
                  </a:lnTo>
                  <a:lnTo>
                    <a:pt x="36" y="176"/>
                  </a:lnTo>
                  <a:lnTo>
                    <a:pt x="34" y="178"/>
                  </a:lnTo>
                  <a:lnTo>
                    <a:pt x="32" y="180"/>
                  </a:lnTo>
                  <a:lnTo>
                    <a:pt x="32" y="180"/>
                  </a:lnTo>
                  <a:lnTo>
                    <a:pt x="32" y="182"/>
                  </a:lnTo>
                  <a:lnTo>
                    <a:pt x="32" y="184"/>
                  </a:lnTo>
                  <a:lnTo>
                    <a:pt x="32" y="186"/>
                  </a:lnTo>
                  <a:lnTo>
                    <a:pt x="32" y="188"/>
                  </a:lnTo>
                  <a:lnTo>
                    <a:pt x="32" y="190"/>
                  </a:lnTo>
                  <a:lnTo>
                    <a:pt x="32" y="192"/>
                  </a:lnTo>
                  <a:lnTo>
                    <a:pt x="32" y="192"/>
                  </a:lnTo>
                  <a:lnTo>
                    <a:pt x="32" y="192"/>
                  </a:lnTo>
                  <a:lnTo>
                    <a:pt x="30" y="192"/>
                  </a:lnTo>
                  <a:lnTo>
                    <a:pt x="30" y="192"/>
                  </a:lnTo>
                  <a:lnTo>
                    <a:pt x="28" y="192"/>
                  </a:lnTo>
                  <a:lnTo>
                    <a:pt x="28" y="192"/>
                  </a:lnTo>
                  <a:lnTo>
                    <a:pt x="26" y="192"/>
                  </a:lnTo>
                  <a:lnTo>
                    <a:pt x="24" y="192"/>
                  </a:lnTo>
                  <a:lnTo>
                    <a:pt x="22" y="192"/>
                  </a:lnTo>
                  <a:lnTo>
                    <a:pt x="22" y="192"/>
                  </a:lnTo>
                  <a:lnTo>
                    <a:pt x="20" y="192"/>
                  </a:lnTo>
                  <a:lnTo>
                    <a:pt x="20" y="192"/>
                  </a:lnTo>
                  <a:lnTo>
                    <a:pt x="20" y="194"/>
                  </a:lnTo>
                  <a:lnTo>
                    <a:pt x="20" y="194"/>
                  </a:lnTo>
                  <a:lnTo>
                    <a:pt x="20" y="194"/>
                  </a:lnTo>
                  <a:lnTo>
                    <a:pt x="20" y="196"/>
                  </a:lnTo>
                  <a:lnTo>
                    <a:pt x="20" y="196"/>
                  </a:lnTo>
                  <a:lnTo>
                    <a:pt x="20" y="198"/>
                  </a:lnTo>
                  <a:lnTo>
                    <a:pt x="22" y="202"/>
                  </a:lnTo>
                  <a:lnTo>
                    <a:pt x="22" y="204"/>
                  </a:lnTo>
                  <a:lnTo>
                    <a:pt x="24" y="206"/>
                  </a:lnTo>
                  <a:lnTo>
                    <a:pt x="24" y="210"/>
                  </a:lnTo>
                  <a:lnTo>
                    <a:pt x="24" y="212"/>
                  </a:lnTo>
                  <a:lnTo>
                    <a:pt x="26" y="214"/>
                  </a:lnTo>
                  <a:lnTo>
                    <a:pt x="26" y="216"/>
                  </a:lnTo>
                  <a:lnTo>
                    <a:pt x="26" y="216"/>
                  </a:lnTo>
                  <a:lnTo>
                    <a:pt x="28" y="218"/>
                  </a:lnTo>
                  <a:lnTo>
                    <a:pt x="28" y="218"/>
                  </a:lnTo>
                  <a:lnTo>
                    <a:pt x="30" y="218"/>
                  </a:lnTo>
                  <a:lnTo>
                    <a:pt x="30" y="218"/>
                  </a:lnTo>
                  <a:lnTo>
                    <a:pt x="32" y="218"/>
                  </a:lnTo>
                  <a:lnTo>
                    <a:pt x="36" y="218"/>
                  </a:lnTo>
                  <a:lnTo>
                    <a:pt x="38" y="218"/>
                  </a:lnTo>
                  <a:lnTo>
                    <a:pt x="42" y="216"/>
                  </a:lnTo>
                  <a:lnTo>
                    <a:pt x="46" y="216"/>
                  </a:lnTo>
                  <a:lnTo>
                    <a:pt x="46" y="216"/>
                  </a:lnTo>
                  <a:lnTo>
                    <a:pt x="48" y="216"/>
                  </a:lnTo>
                  <a:lnTo>
                    <a:pt x="48" y="216"/>
                  </a:lnTo>
                  <a:lnTo>
                    <a:pt x="50" y="218"/>
                  </a:lnTo>
                  <a:lnTo>
                    <a:pt x="50" y="218"/>
                  </a:lnTo>
                  <a:lnTo>
                    <a:pt x="50" y="218"/>
                  </a:lnTo>
                  <a:lnTo>
                    <a:pt x="52" y="220"/>
                  </a:lnTo>
                  <a:lnTo>
                    <a:pt x="52" y="220"/>
                  </a:lnTo>
                  <a:lnTo>
                    <a:pt x="52" y="222"/>
                  </a:lnTo>
                  <a:lnTo>
                    <a:pt x="52" y="224"/>
                  </a:lnTo>
                  <a:lnTo>
                    <a:pt x="52" y="226"/>
                  </a:lnTo>
                  <a:lnTo>
                    <a:pt x="52" y="232"/>
                  </a:lnTo>
                  <a:lnTo>
                    <a:pt x="52" y="236"/>
                  </a:lnTo>
                  <a:lnTo>
                    <a:pt x="52" y="238"/>
                  </a:lnTo>
                  <a:lnTo>
                    <a:pt x="54" y="238"/>
                  </a:lnTo>
                  <a:lnTo>
                    <a:pt x="54" y="240"/>
                  </a:lnTo>
                  <a:lnTo>
                    <a:pt x="54" y="242"/>
                  </a:lnTo>
                  <a:lnTo>
                    <a:pt x="54" y="242"/>
                  </a:lnTo>
                  <a:lnTo>
                    <a:pt x="56" y="242"/>
                  </a:lnTo>
                  <a:lnTo>
                    <a:pt x="56" y="242"/>
                  </a:lnTo>
                  <a:lnTo>
                    <a:pt x="56" y="242"/>
                  </a:lnTo>
                  <a:lnTo>
                    <a:pt x="56" y="242"/>
                  </a:lnTo>
                  <a:lnTo>
                    <a:pt x="58" y="242"/>
                  </a:lnTo>
                  <a:lnTo>
                    <a:pt x="58" y="242"/>
                  </a:lnTo>
                  <a:lnTo>
                    <a:pt x="58" y="240"/>
                  </a:lnTo>
                  <a:lnTo>
                    <a:pt x="58" y="238"/>
                  </a:lnTo>
                  <a:lnTo>
                    <a:pt x="58" y="236"/>
                  </a:lnTo>
                  <a:lnTo>
                    <a:pt x="58" y="234"/>
                  </a:lnTo>
                  <a:lnTo>
                    <a:pt x="58" y="232"/>
                  </a:lnTo>
                  <a:lnTo>
                    <a:pt x="58" y="230"/>
                  </a:lnTo>
                  <a:lnTo>
                    <a:pt x="58" y="230"/>
                  </a:lnTo>
                  <a:lnTo>
                    <a:pt x="60" y="230"/>
                  </a:lnTo>
                  <a:lnTo>
                    <a:pt x="60" y="228"/>
                  </a:lnTo>
                  <a:lnTo>
                    <a:pt x="60" y="228"/>
                  </a:lnTo>
                  <a:lnTo>
                    <a:pt x="62" y="228"/>
                  </a:lnTo>
                  <a:lnTo>
                    <a:pt x="62" y="228"/>
                  </a:lnTo>
                  <a:lnTo>
                    <a:pt x="64" y="228"/>
                  </a:lnTo>
                  <a:lnTo>
                    <a:pt x="66" y="228"/>
                  </a:lnTo>
                  <a:lnTo>
                    <a:pt x="68" y="228"/>
                  </a:lnTo>
                  <a:lnTo>
                    <a:pt x="72" y="228"/>
                  </a:lnTo>
                  <a:lnTo>
                    <a:pt x="74" y="228"/>
                  </a:lnTo>
                  <a:lnTo>
                    <a:pt x="76" y="230"/>
                  </a:lnTo>
                  <a:lnTo>
                    <a:pt x="76" y="230"/>
                  </a:lnTo>
                  <a:lnTo>
                    <a:pt x="78" y="230"/>
                  </a:lnTo>
                  <a:lnTo>
                    <a:pt x="78" y="232"/>
                  </a:lnTo>
                  <a:lnTo>
                    <a:pt x="78" y="232"/>
                  </a:lnTo>
                  <a:lnTo>
                    <a:pt x="80" y="234"/>
                  </a:lnTo>
                  <a:lnTo>
                    <a:pt x="80" y="236"/>
                  </a:lnTo>
                  <a:lnTo>
                    <a:pt x="80" y="238"/>
                  </a:lnTo>
                  <a:lnTo>
                    <a:pt x="80" y="242"/>
                  </a:lnTo>
                  <a:lnTo>
                    <a:pt x="82" y="246"/>
                  </a:lnTo>
                  <a:lnTo>
                    <a:pt x="82" y="248"/>
                  </a:lnTo>
                  <a:lnTo>
                    <a:pt x="82" y="250"/>
                  </a:lnTo>
                  <a:lnTo>
                    <a:pt x="84" y="250"/>
                  </a:lnTo>
                  <a:lnTo>
                    <a:pt x="88" y="248"/>
                  </a:lnTo>
                  <a:lnTo>
                    <a:pt x="90" y="246"/>
                  </a:lnTo>
                  <a:lnTo>
                    <a:pt x="92" y="246"/>
                  </a:lnTo>
                  <a:lnTo>
                    <a:pt x="94" y="246"/>
                  </a:lnTo>
                  <a:lnTo>
                    <a:pt x="94" y="246"/>
                  </a:lnTo>
                  <a:lnTo>
                    <a:pt x="96" y="246"/>
                  </a:lnTo>
                  <a:lnTo>
                    <a:pt x="98" y="246"/>
                  </a:lnTo>
                  <a:lnTo>
                    <a:pt x="98" y="246"/>
                  </a:lnTo>
                  <a:lnTo>
                    <a:pt x="100" y="246"/>
                  </a:lnTo>
                  <a:lnTo>
                    <a:pt x="102" y="246"/>
                  </a:lnTo>
                  <a:lnTo>
                    <a:pt x="104" y="248"/>
                  </a:lnTo>
                  <a:lnTo>
                    <a:pt x="106" y="248"/>
                  </a:lnTo>
                  <a:lnTo>
                    <a:pt x="106" y="248"/>
                  </a:lnTo>
                  <a:lnTo>
                    <a:pt x="108" y="250"/>
                  </a:lnTo>
                  <a:lnTo>
                    <a:pt x="108" y="250"/>
                  </a:lnTo>
                  <a:lnTo>
                    <a:pt x="108" y="250"/>
                  </a:lnTo>
                  <a:lnTo>
                    <a:pt x="108" y="252"/>
                  </a:lnTo>
                  <a:lnTo>
                    <a:pt x="108" y="254"/>
                  </a:lnTo>
                  <a:lnTo>
                    <a:pt x="108" y="254"/>
                  </a:lnTo>
                  <a:lnTo>
                    <a:pt x="106" y="256"/>
                  </a:lnTo>
                  <a:lnTo>
                    <a:pt x="106" y="258"/>
                  </a:lnTo>
                  <a:lnTo>
                    <a:pt x="106" y="258"/>
                  </a:lnTo>
                  <a:lnTo>
                    <a:pt x="106" y="260"/>
                  </a:lnTo>
                  <a:lnTo>
                    <a:pt x="108" y="260"/>
                  </a:lnTo>
                  <a:lnTo>
                    <a:pt x="108" y="260"/>
                  </a:lnTo>
                  <a:lnTo>
                    <a:pt x="108" y="260"/>
                  </a:lnTo>
                  <a:lnTo>
                    <a:pt x="110" y="262"/>
                  </a:lnTo>
                  <a:lnTo>
                    <a:pt x="112" y="262"/>
                  </a:lnTo>
                  <a:lnTo>
                    <a:pt x="114" y="262"/>
                  </a:lnTo>
                  <a:lnTo>
                    <a:pt x="118" y="264"/>
                  </a:lnTo>
                  <a:lnTo>
                    <a:pt x="120" y="264"/>
                  </a:lnTo>
                  <a:lnTo>
                    <a:pt x="120" y="254"/>
                  </a:lnTo>
                  <a:lnTo>
                    <a:pt x="122" y="244"/>
                  </a:lnTo>
                  <a:lnTo>
                    <a:pt x="122" y="234"/>
                  </a:lnTo>
                  <a:lnTo>
                    <a:pt x="122" y="228"/>
                  </a:lnTo>
                  <a:lnTo>
                    <a:pt x="124" y="220"/>
                  </a:lnTo>
                  <a:lnTo>
                    <a:pt x="124" y="214"/>
                  </a:lnTo>
                  <a:lnTo>
                    <a:pt x="126" y="208"/>
                  </a:lnTo>
                  <a:lnTo>
                    <a:pt x="126" y="204"/>
                  </a:lnTo>
                  <a:lnTo>
                    <a:pt x="128" y="198"/>
                  </a:lnTo>
                  <a:lnTo>
                    <a:pt x="128" y="196"/>
                  </a:lnTo>
                  <a:lnTo>
                    <a:pt x="130" y="194"/>
                  </a:lnTo>
                  <a:lnTo>
                    <a:pt x="130" y="192"/>
                  </a:lnTo>
                  <a:lnTo>
                    <a:pt x="132" y="192"/>
                  </a:lnTo>
                  <a:lnTo>
                    <a:pt x="132" y="190"/>
                  </a:lnTo>
                  <a:lnTo>
                    <a:pt x="134" y="188"/>
                  </a:lnTo>
                  <a:lnTo>
                    <a:pt x="136" y="186"/>
                  </a:lnTo>
                  <a:lnTo>
                    <a:pt x="138" y="184"/>
                  </a:lnTo>
                  <a:lnTo>
                    <a:pt x="140" y="182"/>
                  </a:lnTo>
                  <a:lnTo>
                    <a:pt x="144" y="180"/>
                  </a:lnTo>
                  <a:lnTo>
                    <a:pt x="148" y="176"/>
                  </a:lnTo>
                  <a:lnTo>
                    <a:pt x="154" y="172"/>
                  </a:lnTo>
                  <a:lnTo>
                    <a:pt x="158" y="170"/>
                  </a:lnTo>
                  <a:lnTo>
                    <a:pt x="162" y="166"/>
                  </a:lnTo>
                  <a:lnTo>
                    <a:pt x="164" y="166"/>
                  </a:lnTo>
                  <a:lnTo>
                    <a:pt x="168" y="166"/>
                  </a:lnTo>
                  <a:lnTo>
                    <a:pt x="172" y="166"/>
                  </a:lnTo>
                  <a:lnTo>
                    <a:pt x="174" y="164"/>
                  </a:lnTo>
                  <a:lnTo>
                    <a:pt x="176" y="164"/>
                  </a:lnTo>
                  <a:lnTo>
                    <a:pt x="176" y="164"/>
                  </a:lnTo>
                  <a:lnTo>
                    <a:pt x="176" y="164"/>
                  </a:lnTo>
                  <a:lnTo>
                    <a:pt x="176" y="162"/>
                  </a:lnTo>
                  <a:lnTo>
                    <a:pt x="178" y="162"/>
                  </a:lnTo>
                  <a:lnTo>
                    <a:pt x="178" y="160"/>
                  </a:lnTo>
                  <a:lnTo>
                    <a:pt x="178" y="160"/>
                  </a:lnTo>
                  <a:lnTo>
                    <a:pt x="176" y="158"/>
                  </a:lnTo>
                  <a:lnTo>
                    <a:pt x="176" y="154"/>
                  </a:lnTo>
                  <a:lnTo>
                    <a:pt x="176" y="152"/>
                  </a:lnTo>
                  <a:lnTo>
                    <a:pt x="176" y="150"/>
                  </a:lnTo>
                  <a:lnTo>
                    <a:pt x="176" y="150"/>
                  </a:lnTo>
                  <a:lnTo>
                    <a:pt x="176" y="148"/>
                  </a:lnTo>
                  <a:lnTo>
                    <a:pt x="176" y="148"/>
                  </a:lnTo>
                  <a:lnTo>
                    <a:pt x="176" y="146"/>
                  </a:lnTo>
                  <a:lnTo>
                    <a:pt x="178" y="146"/>
                  </a:lnTo>
                  <a:lnTo>
                    <a:pt x="180" y="146"/>
                  </a:lnTo>
                  <a:lnTo>
                    <a:pt x="180" y="144"/>
                  </a:lnTo>
                  <a:lnTo>
                    <a:pt x="182" y="144"/>
                  </a:lnTo>
                  <a:lnTo>
                    <a:pt x="184" y="144"/>
                  </a:lnTo>
                  <a:lnTo>
                    <a:pt x="186" y="144"/>
                  </a:lnTo>
                  <a:lnTo>
                    <a:pt x="188" y="144"/>
                  </a:lnTo>
                  <a:lnTo>
                    <a:pt x="190" y="144"/>
                  </a:lnTo>
                  <a:lnTo>
                    <a:pt x="192" y="144"/>
                  </a:lnTo>
                  <a:lnTo>
                    <a:pt x="194" y="144"/>
                  </a:lnTo>
                  <a:lnTo>
                    <a:pt x="196" y="144"/>
                  </a:lnTo>
                  <a:lnTo>
                    <a:pt x="198" y="144"/>
                  </a:lnTo>
                  <a:lnTo>
                    <a:pt x="200" y="144"/>
                  </a:lnTo>
                  <a:lnTo>
                    <a:pt x="202" y="146"/>
                  </a:lnTo>
                  <a:lnTo>
                    <a:pt x="204" y="146"/>
                  </a:lnTo>
                  <a:lnTo>
                    <a:pt x="204" y="146"/>
                  </a:lnTo>
                  <a:lnTo>
                    <a:pt x="204" y="148"/>
                  </a:lnTo>
                  <a:lnTo>
                    <a:pt x="206" y="148"/>
                  </a:lnTo>
                  <a:lnTo>
                    <a:pt x="206" y="150"/>
                  </a:lnTo>
                  <a:lnTo>
                    <a:pt x="206" y="152"/>
                  </a:lnTo>
                  <a:lnTo>
                    <a:pt x="206" y="152"/>
                  </a:lnTo>
                  <a:lnTo>
                    <a:pt x="206" y="154"/>
                  </a:lnTo>
                  <a:lnTo>
                    <a:pt x="206" y="158"/>
                  </a:lnTo>
                  <a:lnTo>
                    <a:pt x="204" y="160"/>
                  </a:lnTo>
                  <a:lnTo>
                    <a:pt x="204" y="164"/>
                  </a:lnTo>
                  <a:lnTo>
                    <a:pt x="204" y="166"/>
                  </a:lnTo>
                  <a:lnTo>
                    <a:pt x="204" y="166"/>
                  </a:lnTo>
                  <a:lnTo>
                    <a:pt x="204" y="168"/>
                  </a:lnTo>
                  <a:lnTo>
                    <a:pt x="204" y="170"/>
                  </a:lnTo>
                  <a:lnTo>
                    <a:pt x="204" y="170"/>
                  </a:lnTo>
                  <a:lnTo>
                    <a:pt x="204" y="170"/>
                  </a:lnTo>
                  <a:lnTo>
                    <a:pt x="206" y="172"/>
                  </a:lnTo>
                  <a:lnTo>
                    <a:pt x="210" y="174"/>
                  </a:lnTo>
                  <a:lnTo>
                    <a:pt x="210" y="176"/>
                  </a:lnTo>
                  <a:lnTo>
                    <a:pt x="212" y="176"/>
                  </a:lnTo>
                  <a:lnTo>
                    <a:pt x="212" y="178"/>
                  </a:lnTo>
                  <a:lnTo>
                    <a:pt x="212" y="178"/>
                  </a:lnTo>
                  <a:lnTo>
                    <a:pt x="214" y="178"/>
                  </a:lnTo>
                  <a:lnTo>
                    <a:pt x="214" y="180"/>
                  </a:lnTo>
                  <a:lnTo>
                    <a:pt x="214" y="180"/>
                  </a:lnTo>
                  <a:lnTo>
                    <a:pt x="212" y="180"/>
                  </a:lnTo>
                  <a:lnTo>
                    <a:pt x="212" y="182"/>
                  </a:lnTo>
                  <a:lnTo>
                    <a:pt x="212" y="182"/>
                  </a:lnTo>
                  <a:lnTo>
                    <a:pt x="210" y="184"/>
                  </a:lnTo>
                  <a:lnTo>
                    <a:pt x="208" y="186"/>
                  </a:lnTo>
                  <a:lnTo>
                    <a:pt x="206" y="186"/>
                  </a:lnTo>
                  <a:lnTo>
                    <a:pt x="210" y="194"/>
                  </a:lnTo>
                  <a:lnTo>
                    <a:pt x="214" y="200"/>
                  </a:lnTo>
                  <a:lnTo>
                    <a:pt x="216" y="204"/>
                  </a:lnTo>
                  <a:lnTo>
                    <a:pt x="218" y="206"/>
                  </a:lnTo>
                  <a:lnTo>
                    <a:pt x="218" y="208"/>
                  </a:lnTo>
                  <a:lnTo>
                    <a:pt x="218" y="210"/>
                  </a:lnTo>
                  <a:lnTo>
                    <a:pt x="220" y="212"/>
                  </a:lnTo>
                  <a:lnTo>
                    <a:pt x="220" y="214"/>
                  </a:lnTo>
                  <a:lnTo>
                    <a:pt x="220" y="216"/>
                  </a:lnTo>
                  <a:lnTo>
                    <a:pt x="222" y="216"/>
                  </a:lnTo>
                  <a:lnTo>
                    <a:pt x="222" y="216"/>
                  </a:lnTo>
                  <a:lnTo>
                    <a:pt x="222" y="216"/>
                  </a:lnTo>
                  <a:lnTo>
                    <a:pt x="224" y="216"/>
                  </a:lnTo>
                  <a:lnTo>
                    <a:pt x="224" y="216"/>
                  </a:lnTo>
                  <a:lnTo>
                    <a:pt x="226" y="216"/>
                  </a:lnTo>
                  <a:lnTo>
                    <a:pt x="228" y="216"/>
                  </a:lnTo>
                  <a:lnTo>
                    <a:pt x="230" y="214"/>
                  </a:lnTo>
                  <a:lnTo>
                    <a:pt x="236" y="212"/>
                  </a:lnTo>
                  <a:lnTo>
                    <a:pt x="238" y="212"/>
                  </a:lnTo>
                  <a:lnTo>
                    <a:pt x="238" y="212"/>
                  </a:lnTo>
                  <a:lnTo>
                    <a:pt x="240" y="212"/>
                  </a:lnTo>
                  <a:lnTo>
                    <a:pt x="242" y="212"/>
                  </a:lnTo>
                  <a:lnTo>
                    <a:pt x="244" y="212"/>
                  </a:lnTo>
                  <a:lnTo>
                    <a:pt x="248" y="212"/>
                  </a:lnTo>
                  <a:lnTo>
                    <a:pt x="252" y="212"/>
                  </a:lnTo>
                  <a:lnTo>
                    <a:pt x="256" y="214"/>
                  </a:lnTo>
                  <a:lnTo>
                    <a:pt x="260" y="214"/>
                  </a:lnTo>
                  <a:lnTo>
                    <a:pt x="262" y="216"/>
                  </a:lnTo>
                  <a:lnTo>
                    <a:pt x="264" y="216"/>
                  </a:lnTo>
                  <a:lnTo>
                    <a:pt x="268" y="218"/>
                  </a:lnTo>
                  <a:lnTo>
                    <a:pt x="270" y="218"/>
                  </a:lnTo>
                  <a:lnTo>
                    <a:pt x="270" y="220"/>
                  </a:lnTo>
                  <a:lnTo>
                    <a:pt x="272" y="220"/>
                  </a:lnTo>
                  <a:lnTo>
                    <a:pt x="272" y="222"/>
                  </a:lnTo>
                  <a:lnTo>
                    <a:pt x="272" y="222"/>
                  </a:lnTo>
                  <a:lnTo>
                    <a:pt x="272" y="224"/>
                  </a:lnTo>
                  <a:lnTo>
                    <a:pt x="274" y="224"/>
                  </a:lnTo>
                  <a:lnTo>
                    <a:pt x="274" y="226"/>
                  </a:lnTo>
                  <a:lnTo>
                    <a:pt x="274" y="228"/>
                  </a:lnTo>
                  <a:lnTo>
                    <a:pt x="274" y="232"/>
                  </a:lnTo>
                  <a:lnTo>
                    <a:pt x="274" y="238"/>
                  </a:lnTo>
                  <a:lnTo>
                    <a:pt x="274" y="240"/>
                  </a:lnTo>
                  <a:lnTo>
                    <a:pt x="274" y="242"/>
                  </a:lnTo>
                  <a:lnTo>
                    <a:pt x="274" y="242"/>
                  </a:lnTo>
                  <a:lnTo>
                    <a:pt x="274" y="246"/>
                  </a:lnTo>
                  <a:lnTo>
                    <a:pt x="276" y="250"/>
                  </a:lnTo>
                  <a:lnTo>
                    <a:pt x="276" y="252"/>
                  </a:lnTo>
                  <a:lnTo>
                    <a:pt x="276" y="254"/>
                  </a:lnTo>
                  <a:lnTo>
                    <a:pt x="278" y="254"/>
                  </a:lnTo>
                  <a:lnTo>
                    <a:pt x="278" y="256"/>
                  </a:lnTo>
                  <a:lnTo>
                    <a:pt x="278" y="256"/>
                  </a:lnTo>
                  <a:lnTo>
                    <a:pt x="280" y="258"/>
                  </a:lnTo>
                  <a:lnTo>
                    <a:pt x="282" y="258"/>
                  </a:lnTo>
                  <a:lnTo>
                    <a:pt x="284" y="260"/>
                  </a:lnTo>
                  <a:lnTo>
                    <a:pt x="288" y="262"/>
                  </a:lnTo>
                  <a:lnTo>
                    <a:pt x="294" y="264"/>
                  </a:lnTo>
                  <a:lnTo>
                    <a:pt x="296" y="264"/>
                  </a:lnTo>
                  <a:lnTo>
                    <a:pt x="298" y="266"/>
                  </a:lnTo>
                  <a:lnTo>
                    <a:pt x="302" y="270"/>
                  </a:lnTo>
                  <a:lnTo>
                    <a:pt x="306" y="272"/>
                  </a:lnTo>
                  <a:lnTo>
                    <a:pt x="312" y="266"/>
                  </a:lnTo>
                  <a:lnTo>
                    <a:pt x="318" y="262"/>
                  </a:lnTo>
                  <a:lnTo>
                    <a:pt x="320" y="260"/>
                  </a:lnTo>
                  <a:lnTo>
                    <a:pt x="322" y="260"/>
                  </a:lnTo>
                  <a:lnTo>
                    <a:pt x="324" y="258"/>
                  </a:lnTo>
                  <a:lnTo>
                    <a:pt x="326" y="258"/>
                  </a:lnTo>
                  <a:lnTo>
                    <a:pt x="330" y="256"/>
                  </a:lnTo>
                  <a:lnTo>
                    <a:pt x="336" y="256"/>
                  </a:lnTo>
                  <a:lnTo>
                    <a:pt x="340" y="254"/>
                  </a:lnTo>
                  <a:lnTo>
                    <a:pt x="346" y="252"/>
                  </a:lnTo>
                  <a:lnTo>
                    <a:pt x="350" y="252"/>
                  </a:lnTo>
                  <a:lnTo>
                    <a:pt x="352" y="250"/>
                  </a:lnTo>
                  <a:lnTo>
                    <a:pt x="354" y="250"/>
                  </a:lnTo>
                  <a:lnTo>
                    <a:pt x="356" y="248"/>
                  </a:lnTo>
                  <a:lnTo>
                    <a:pt x="358" y="248"/>
                  </a:lnTo>
                  <a:lnTo>
                    <a:pt x="358" y="246"/>
                  </a:lnTo>
                  <a:lnTo>
                    <a:pt x="360" y="246"/>
                  </a:lnTo>
                  <a:lnTo>
                    <a:pt x="360" y="244"/>
                  </a:lnTo>
                  <a:lnTo>
                    <a:pt x="360" y="244"/>
                  </a:lnTo>
                  <a:lnTo>
                    <a:pt x="362" y="242"/>
                  </a:lnTo>
                  <a:lnTo>
                    <a:pt x="362" y="242"/>
                  </a:lnTo>
                  <a:lnTo>
                    <a:pt x="362" y="240"/>
                  </a:lnTo>
                  <a:lnTo>
                    <a:pt x="362" y="240"/>
                  </a:lnTo>
                  <a:lnTo>
                    <a:pt x="362" y="238"/>
                  </a:lnTo>
                  <a:lnTo>
                    <a:pt x="362" y="238"/>
                  </a:lnTo>
                  <a:lnTo>
                    <a:pt x="360" y="236"/>
                  </a:lnTo>
                  <a:lnTo>
                    <a:pt x="360" y="234"/>
                  </a:lnTo>
                  <a:lnTo>
                    <a:pt x="358" y="232"/>
                  </a:lnTo>
                  <a:lnTo>
                    <a:pt x="356" y="232"/>
                  </a:lnTo>
                  <a:lnTo>
                    <a:pt x="354" y="230"/>
                  </a:lnTo>
                  <a:lnTo>
                    <a:pt x="352" y="228"/>
                  </a:lnTo>
                  <a:lnTo>
                    <a:pt x="350" y="228"/>
                  </a:lnTo>
                  <a:lnTo>
                    <a:pt x="350" y="228"/>
                  </a:lnTo>
                  <a:lnTo>
                    <a:pt x="350" y="228"/>
                  </a:lnTo>
                  <a:lnTo>
                    <a:pt x="348" y="228"/>
                  </a:lnTo>
                  <a:lnTo>
                    <a:pt x="346" y="228"/>
                  </a:lnTo>
                  <a:lnTo>
                    <a:pt x="344" y="230"/>
                  </a:lnTo>
                  <a:lnTo>
                    <a:pt x="342" y="230"/>
                  </a:lnTo>
                  <a:lnTo>
                    <a:pt x="340" y="230"/>
                  </a:lnTo>
                  <a:lnTo>
                    <a:pt x="340" y="230"/>
                  </a:lnTo>
                  <a:lnTo>
                    <a:pt x="338" y="230"/>
                  </a:lnTo>
                  <a:lnTo>
                    <a:pt x="338" y="230"/>
                  </a:lnTo>
                  <a:lnTo>
                    <a:pt x="336" y="230"/>
                  </a:lnTo>
                  <a:lnTo>
                    <a:pt x="334" y="230"/>
                  </a:lnTo>
                  <a:lnTo>
                    <a:pt x="334" y="228"/>
                  </a:lnTo>
                  <a:lnTo>
                    <a:pt x="330" y="226"/>
                  </a:lnTo>
                  <a:lnTo>
                    <a:pt x="330" y="224"/>
                  </a:lnTo>
                  <a:lnTo>
                    <a:pt x="328" y="224"/>
                  </a:lnTo>
                  <a:lnTo>
                    <a:pt x="328" y="222"/>
                  </a:lnTo>
                  <a:lnTo>
                    <a:pt x="326" y="222"/>
                  </a:lnTo>
                  <a:lnTo>
                    <a:pt x="326" y="220"/>
                  </a:lnTo>
                  <a:lnTo>
                    <a:pt x="326" y="220"/>
                  </a:lnTo>
                  <a:lnTo>
                    <a:pt x="326" y="220"/>
                  </a:lnTo>
                  <a:lnTo>
                    <a:pt x="326" y="218"/>
                  </a:lnTo>
                  <a:lnTo>
                    <a:pt x="328" y="218"/>
                  </a:lnTo>
                  <a:lnTo>
                    <a:pt x="328" y="216"/>
                  </a:lnTo>
                  <a:lnTo>
                    <a:pt x="330" y="214"/>
                  </a:lnTo>
                  <a:lnTo>
                    <a:pt x="330" y="214"/>
                  </a:lnTo>
                  <a:lnTo>
                    <a:pt x="332" y="212"/>
                  </a:lnTo>
                  <a:lnTo>
                    <a:pt x="334" y="212"/>
                  </a:lnTo>
                  <a:lnTo>
                    <a:pt x="334" y="210"/>
                  </a:lnTo>
                  <a:lnTo>
                    <a:pt x="334" y="210"/>
                  </a:lnTo>
                  <a:lnTo>
                    <a:pt x="334" y="210"/>
                  </a:lnTo>
                  <a:lnTo>
                    <a:pt x="334" y="208"/>
                  </a:lnTo>
                  <a:lnTo>
                    <a:pt x="332" y="206"/>
                  </a:lnTo>
                  <a:lnTo>
                    <a:pt x="332" y="204"/>
                  </a:lnTo>
                  <a:lnTo>
                    <a:pt x="332" y="202"/>
                  </a:lnTo>
                  <a:lnTo>
                    <a:pt x="332" y="200"/>
                  </a:lnTo>
                  <a:lnTo>
                    <a:pt x="330" y="198"/>
                  </a:lnTo>
                  <a:lnTo>
                    <a:pt x="330" y="198"/>
                  </a:lnTo>
                  <a:lnTo>
                    <a:pt x="332" y="198"/>
                  </a:lnTo>
                  <a:lnTo>
                    <a:pt x="332" y="196"/>
                  </a:lnTo>
                  <a:lnTo>
                    <a:pt x="334" y="194"/>
                  </a:lnTo>
                  <a:lnTo>
                    <a:pt x="334" y="192"/>
                  </a:lnTo>
                  <a:lnTo>
                    <a:pt x="336" y="192"/>
                  </a:lnTo>
                  <a:lnTo>
                    <a:pt x="338" y="190"/>
                  </a:lnTo>
                  <a:lnTo>
                    <a:pt x="338" y="190"/>
                  </a:lnTo>
                  <a:lnTo>
                    <a:pt x="340" y="188"/>
                  </a:lnTo>
                  <a:lnTo>
                    <a:pt x="342" y="188"/>
                  </a:lnTo>
                  <a:lnTo>
                    <a:pt x="342" y="188"/>
                  </a:lnTo>
                  <a:lnTo>
                    <a:pt x="342" y="188"/>
                  </a:lnTo>
                  <a:lnTo>
                    <a:pt x="344" y="190"/>
                  </a:lnTo>
                  <a:lnTo>
                    <a:pt x="344" y="190"/>
                  </a:lnTo>
                  <a:lnTo>
                    <a:pt x="346" y="192"/>
                  </a:lnTo>
                  <a:lnTo>
                    <a:pt x="346" y="194"/>
                  </a:lnTo>
                  <a:lnTo>
                    <a:pt x="348" y="196"/>
                  </a:lnTo>
                  <a:lnTo>
                    <a:pt x="350" y="198"/>
                  </a:lnTo>
                  <a:lnTo>
                    <a:pt x="350" y="200"/>
                  </a:lnTo>
                  <a:lnTo>
                    <a:pt x="352" y="200"/>
                  </a:lnTo>
                  <a:lnTo>
                    <a:pt x="352" y="200"/>
                  </a:lnTo>
                  <a:lnTo>
                    <a:pt x="354" y="202"/>
                  </a:lnTo>
                  <a:lnTo>
                    <a:pt x="354" y="202"/>
                  </a:lnTo>
                  <a:lnTo>
                    <a:pt x="356" y="202"/>
                  </a:lnTo>
                  <a:lnTo>
                    <a:pt x="356" y="202"/>
                  </a:lnTo>
                  <a:lnTo>
                    <a:pt x="356" y="202"/>
                  </a:lnTo>
                  <a:lnTo>
                    <a:pt x="356" y="200"/>
                  </a:lnTo>
                  <a:lnTo>
                    <a:pt x="356" y="200"/>
                  </a:lnTo>
                  <a:lnTo>
                    <a:pt x="358" y="198"/>
                  </a:lnTo>
                  <a:lnTo>
                    <a:pt x="358" y="196"/>
                  </a:lnTo>
                  <a:lnTo>
                    <a:pt x="360" y="194"/>
                  </a:lnTo>
                  <a:lnTo>
                    <a:pt x="360" y="192"/>
                  </a:lnTo>
                  <a:lnTo>
                    <a:pt x="360" y="192"/>
                  </a:lnTo>
                  <a:lnTo>
                    <a:pt x="362" y="192"/>
                  </a:lnTo>
                  <a:lnTo>
                    <a:pt x="362" y="190"/>
                  </a:lnTo>
                  <a:lnTo>
                    <a:pt x="364" y="188"/>
                  </a:lnTo>
                  <a:lnTo>
                    <a:pt x="368" y="188"/>
                  </a:lnTo>
                  <a:lnTo>
                    <a:pt x="370" y="188"/>
                  </a:lnTo>
                  <a:lnTo>
                    <a:pt x="372" y="186"/>
                  </a:lnTo>
                  <a:lnTo>
                    <a:pt x="376" y="186"/>
                  </a:lnTo>
                  <a:lnTo>
                    <a:pt x="378" y="186"/>
                  </a:lnTo>
                  <a:lnTo>
                    <a:pt x="378" y="186"/>
                  </a:lnTo>
                  <a:lnTo>
                    <a:pt x="380" y="186"/>
                  </a:lnTo>
                  <a:lnTo>
                    <a:pt x="380" y="186"/>
                  </a:lnTo>
                  <a:lnTo>
                    <a:pt x="380" y="186"/>
                  </a:lnTo>
                  <a:lnTo>
                    <a:pt x="382" y="188"/>
                  </a:lnTo>
                  <a:lnTo>
                    <a:pt x="384" y="190"/>
                  </a:lnTo>
                  <a:lnTo>
                    <a:pt x="384" y="192"/>
                  </a:lnTo>
                  <a:lnTo>
                    <a:pt x="386" y="192"/>
                  </a:lnTo>
                  <a:lnTo>
                    <a:pt x="388" y="194"/>
                  </a:lnTo>
                  <a:lnTo>
                    <a:pt x="388" y="196"/>
                  </a:lnTo>
                  <a:lnTo>
                    <a:pt x="390" y="196"/>
                  </a:lnTo>
                  <a:lnTo>
                    <a:pt x="390" y="196"/>
                  </a:lnTo>
                  <a:lnTo>
                    <a:pt x="392" y="196"/>
                  </a:lnTo>
                  <a:lnTo>
                    <a:pt x="394" y="196"/>
                  </a:lnTo>
                  <a:lnTo>
                    <a:pt x="396" y="196"/>
                  </a:lnTo>
                  <a:lnTo>
                    <a:pt x="398" y="196"/>
                  </a:lnTo>
                  <a:lnTo>
                    <a:pt x="402" y="196"/>
                  </a:lnTo>
                  <a:lnTo>
                    <a:pt x="406" y="194"/>
                  </a:lnTo>
                  <a:lnTo>
                    <a:pt x="414" y="192"/>
                  </a:lnTo>
                  <a:lnTo>
                    <a:pt x="418" y="192"/>
                  </a:lnTo>
                  <a:lnTo>
                    <a:pt x="420" y="192"/>
                  </a:lnTo>
                  <a:lnTo>
                    <a:pt x="422" y="192"/>
                  </a:lnTo>
                  <a:lnTo>
                    <a:pt x="426" y="190"/>
                  </a:lnTo>
                  <a:lnTo>
                    <a:pt x="432" y="192"/>
                  </a:lnTo>
                  <a:lnTo>
                    <a:pt x="434" y="192"/>
                  </a:lnTo>
                  <a:lnTo>
                    <a:pt x="436" y="192"/>
                  </a:lnTo>
                  <a:lnTo>
                    <a:pt x="438" y="192"/>
                  </a:lnTo>
                  <a:lnTo>
                    <a:pt x="440" y="192"/>
                  </a:lnTo>
                  <a:lnTo>
                    <a:pt x="442" y="192"/>
                  </a:lnTo>
                  <a:lnTo>
                    <a:pt x="442" y="194"/>
                  </a:lnTo>
                  <a:lnTo>
                    <a:pt x="446" y="196"/>
                  </a:lnTo>
                  <a:lnTo>
                    <a:pt x="448" y="198"/>
                  </a:lnTo>
                  <a:lnTo>
                    <a:pt x="450" y="200"/>
                  </a:lnTo>
                  <a:lnTo>
                    <a:pt x="456" y="204"/>
                  </a:lnTo>
                  <a:lnTo>
                    <a:pt x="458" y="206"/>
                  </a:lnTo>
                  <a:lnTo>
                    <a:pt x="460" y="202"/>
                  </a:lnTo>
                  <a:lnTo>
                    <a:pt x="462" y="200"/>
                  </a:lnTo>
                  <a:lnTo>
                    <a:pt x="462" y="198"/>
                  </a:lnTo>
                  <a:lnTo>
                    <a:pt x="462" y="198"/>
                  </a:lnTo>
                  <a:lnTo>
                    <a:pt x="462" y="196"/>
                  </a:lnTo>
                  <a:lnTo>
                    <a:pt x="464" y="196"/>
                  </a:lnTo>
                  <a:lnTo>
                    <a:pt x="464" y="192"/>
                  </a:lnTo>
                  <a:lnTo>
                    <a:pt x="464" y="190"/>
                  </a:lnTo>
                  <a:lnTo>
                    <a:pt x="462" y="188"/>
                  </a:lnTo>
                  <a:lnTo>
                    <a:pt x="462" y="184"/>
                  </a:lnTo>
                  <a:lnTo>
                    <a:pt x="462" y="182"/>
                  </a:lnTo>
                  <a:lnTo>
                    <a:pt x="462" y="180"/>
                  </a:lnTo>
                  <a:lnTo>
                    <a:pt x="464" y="180"/>
                  </a:lnTo>
                  <a:lnTo>
                    <a:pt x="464" y="178"/>
                  </a:lnTo>
                  <a:lnTo>
                    <a:pt x="464" y="178"/>
                  </a:lnTo>
                  <a:lnTo>
                    <a:pt x="464" y="176"/>
                  </a:lnTo>
                  <a:lnTo>
                    <a:pt x="466" y="176"/>
                  </a:lnTo>
                  <a:lnTo>
                    <a:pt x="466" y="174"/>
                  </a:lnTo>
                  <a:lnTo>
                    <a:pt x="468" y="174"/>
                  </a:lnTo>
                  <a:lnTo>
                    <a:pt x="470" y="172"/>
                  </a:lnTo>
                  <a:lnTo>
                    <a:pt x="474" y="172"/>
                  </a:lnTo>
                  <a:lnTo>
                    <a:pt x="476" y="170"/>
                  </a:lnTo>
                  <a:lnTo>
                    <a:pt x="478" y="170"/>
                  </a:lnTo>
                  <a:lnTo>
                    <a:pt x="480" y="170"/>
                  </a:lnTo>
                  <a:lnTo>
                    <a:pt x="480" y="170"/>
                  </a:lnTo>
                  <a:lnTo>
                    <a:pt x="480" y="170"/>
                  </a:lnTo>
                  <a:lnTo>
                    <a:pt x="484" y="170"/>
                  </a:lnTo>
                  <a:lnTo>
                    <a:pt x="486" y="172"/>
                  </a:lnTo>
                  <a:lnTo>
                    <a:pt x="488" y="174"/>
                  </a:lnTo>
                  <a:lnTo>
                    <a:pt x="490" y="174"/>
                  </a:lnTo>
                  <a:lnTo>
                    <a:pt x="492" y="176"/>
                  </a:lnTo>
                  <a:lnTo>
                    <a:pt x="494" y="176"/>
                  </a:lnTo>
                  <a:lnTo>
                    <a:pt x="496" y="176"/>
                  </a:lnTo>
                  <a:lnTo>
                    <a:pt x="496" y="176"/>
                  </a:lnTo>
                  <a:lnTo>
                    <a:pt x="496" y="174"/>
                  </a:lnTo>
                  <a:lnTo>
                    <a:pt x="498" y="174"/>
                  </a:lnTo>
                  <a:lnTo>
                    <a:pt x="498" y="174"/>
                  </a:lnTo>
                  <a:lnTo>
                    <a:pt x="498" y="174"/>
                  </a:lnTo>
                  <a:lnTo>
                    <a:pt x="498" y="172"/>
                  </a:lnTo>
                  <a:lnTo>
                    <a:pt x="500" y="170"/>
                  </a:lnTo>
                  <a:lnTo>
                    <a:pt x="500" y="170"/>
                  </a:lnTo>
                  <a:lnTo>
                    <a:pt x="500" y="166"/>
                  </a:lnTo>
                  <a:lnTo>
                    <a:pt x="500" y="164"/>
                  </a:lnTo>
                  <a:lnTo>
                    <a:pt x="502" y="160"/>
                  </a:lnTo>
                  <a:lnTo>
                    <a:pt x="502" y="154"/>
                  </a:lnTo>
                  <a:lnTo>
                    <a:pt x="502" y="150"/>
                  </a:lnTo>
                  <a:lnTo>
                    <a:pt x="502" y="148"/>
                  </a:lnTo>
                  <a:lnTo>
                    <a:pt x="502" y="146"/>
                  </a:lnTo>
                  <a:lnTo>
                    <a:pt x="502" y="144"/>
                  </a:lnTo>
                  <a:lnTo>
                    <a:pt x="502" y="142"/>
                  </a:lnTo>
                  <a:lnTo>
                    <a:pt x="504" y="142"/>
                  </a:lnTo>
                  <a:lnTo>
                    <a:pt x="504" y="140"/>
                  </a:lnTo>
                  <a:lnTo>
                    <a:pt x="506" y="138"/>
                  </a:lnTo>
                  <a:lnTo>
                    <a:pt x="508" y="136"/>
                  </a:lnTo>
                  <a:lnTo>
                    <a:pt x="510" y="136"/>
                  </a:lnTo>
                  <a:lnTo>
                    <a:pt x="510" y="134"/>
                  </a:lnTo>
                  <a:lnTo>
                    <a:pt x="512" y="134"/>
                  </a:lnTo>
                  <a:lnTo>
                    <a:pt x="512" y="134"/>
                  </a:lnTo>
                  <a:lnTo>
                    <a:pt x="516" y="134"/>
                  </a:lnTo>
                  <a:lnTo>
                    <a:pt x="518" y="134"/>
                  </a:lnTo>
                  <a:lnTo>
                    <a:pt x="520" y="134"/>
                  </a:lnTo>
                  <a:lnTo>
                    <a:pt x="520" y="132"/>
                  </a:lnTo>
                  <a:lnTo>
                    <a:pt x="522" y="132"/>
                  </a:lnTo>
                  <a:lnTo>
                    <a:pt x="522" y="132"/>
                  </a:lnTo>
                  <a:lnTo>
                    <a:pt x="522" y="132"/>
                  </a:lnTo>
                  <a:lnTo>
                    <a:pt x="522" y="132"/>
                  </a:lnTo>
                  <a:lnTo>
                    <a:pt x="524" y="130"/>
                  </a:lnTo>
                  <a:lnTo>
                    <a:pt x="524" y="128"/>
                  </a:lnTo>
                  <a:lnTo>
                    <a:pt x="524" y="126"/>
                  </a:lnTo>
                  <a:lnTo>
                    <a:pt x="524" y="124"/>
                  </a:lnTo>
                  <a:lnTo>
                    <a:pt x="524" y="122"/>
                  </a:lnTo>
                  <a:lnTo>
                    <a:pt x="526" y="120"/>
                  </a:lnTo>
                  <a:lnTo>
                    <a:pt x="526" y="120"/>
                  </a:lnTo>
                  <a:lnTo>
                    <a:pt x="528" y="120"/>
                  </a:lnTo>
                  <a:lnTo>
                    <a:pt x="530" y="116"/>
                  </a:lnTo>
                  <a:lnTo>
                    <a:pt x="534" y="116"/>
                  </a:lnTo>
                  <a:lnTo>
                    <a:pt x="534" y="11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1" name="Freeform 48">
              <a:extLst>
                <a:ext uri="{FF2B5EF4-FFF2-40B4-BE49-F238E27FC236}">
                  <a16:creationId xmlns:a16="http://schemas.microsoft.com/office/drawing/2014/main" id="{2CD25FED-234A-4459-B4E8-DF0FFE2B0C20}"/>
                </a:ext>
              </a:extLst>
            </p:cNvPr>
            <p:cNvSpPr>
              <a:spLocks/>
            </p:cNvSpPr>
            <p:nvPr/>
          </p:nvSpPr>
          <p:spPr bwMode="auto">
            <a:xfrm>
              <a:off x="5436630" y="2973027"/>
              <a:ext cx="924928" cy="471124"/>
            </a:xfrm>
            <a:custGeom>
              <a:avLst/>
              <a:gdLst>
                <a:gd name="T0" fmla="*/ 518 w 534"/>
                <a:gd name="T1" fmla="*/ 76 h 272"/>
                <a:gd name="T2" fmla="*/ 490 w 534"/>
                <a:gd name="T3" fmla="*/ 60 h 272"/>
                <a:gd name="T4" fmla="*/ 472 w 534"/>
                <a:gd name="T5" fmla="*/ 54 h 272"/>
                <a:gd name="T6" fmla="*/ 452 w 534"/>
                <a:gd name="T7" fmla="*/ 16 h 272"/>
                <a:gd name="T8" fmla="*/ 412 w 534"/>
                <a:gd name="T9" fmla="*/ 26 h 272"/>
                <a:gd name="T10" fmla="*/ 396 w 534"/>
                <a:gd name="T11" fmla="*/ 14 h 272"/>
                <a:gd name="T12" fmla="*/ 376 w 534"/>
                <a:gd name="T13" fmla="*/ 0 h 272"/>
                <a:gd name="T14" fmla="*/ 306 w 534"/>
                <a:gd name="T15" fmla="*/ 8 h 272"/>
                <a:gd name="T16" fmla="*/ 268 w 534"/>
                <a:gd name="T17" fmla="*/ 4 h 272"/>
                <a:gd name="T18" fmla="*/ 270 w 534"/>
                <a:gd name="T19" fmla="*/ 28 h 272"/>
                <a:gd name="T20" fmla="*/ 238 w 534"/>
                <a:gd name="T21" fmla="*/ 38 h 272"/>
                <a:gd name="T22" fmla="*/ 246 w 534"/>
                <a:gd name="T23" fmla="*/ 60 h 272"/>
                <a:gd name="T24" fmla="*/ 226 w 534"/>
                <a:gd name="T25" fmla="*/ 64 h 272"/>
                <a:gd name="T26" fmla="*/ 184 w 534"/>
                <a:gd name="T27" fmla="*/ 50 h 272"/>
                <a:gd name="T28" fmla="*/ 166 w 534"/>
                <a:gd name="T29" fmla="*/ 42 h 272"/>
                <a:gd name="T30" fmla="*/ 146 w 534"/>
                <a:gd name="T31" fmla="*/ 20 h 272"/>
                <a:gd name="T32" fmla="*/ 94 w 534"/>
                <a:gd name="T33" fmla="*/ 10 h 272"/>
                <a:gd name="T34" fmla="*/ 66 w 534"/>
                <a:gd name="T35" fmla="*/ 16 h 272"/>
                <a:gd name="T36" fmla="*/ 56 w 534"/>
                <a:gd name="T37" fmla="*/ 20 h 272"/>
                <a:gd name="T38" fmla="*/ 34 w 534"/>
                <a:gd name="T39" fmla="*/ 10 h 272"/>
                <a:gd name="T40" fmla="*/ 2 w 534"/>
                <a:gd name="T41" fmla="*/ 52 h 272"/>
                <a:gd name="T42" fmla="*/ 10 w 534"/>
                <a:gd name="T43" fmla="*/ 78 h 272"/>
                <a:gd name="T44" fmla="*/ 28 w 534"/>
                <a:gd name="T45" fmla="*/ 98 h 272"/>
                <a:gd name="T46" fmla="*/ 12 w 534"/>
                <a:gd name="T47" fmla="*/ 124 h 272"/>
                <a:gd name="T48" fmla="*/ 30 w 534"/>
                <a:gd name="T49" fmla="*/ 142 h 272"/>
                <a:gd name="T50" fmla="*/ 48 w 534"/>
                <a:gd name="T51" fmla="*/ 142 h 272"/>
                <a:gd name="T52" fmla="*/ 60 w 534"/>
                <a:gd name="T53" fmla="*/ 150 h 272"/>
                <a:gd name="T54" fmla="*/ 60 w 534"/>
                <a:gd name="T55" fmla="*/ 174 h 272"/>
                <a:gd name="T56" fmla="*/ 38 w 534"/>
                <a:gd name="T57" fmla="*/ 174 h 272"/>
                <a:gd name="T58" fmla="*/ 30 w 534"/>
                <a:gd name="T59" fmla="*/ 192 h 272"/>
                <a:gd name="T60" fmla="*/ 22 w 534"/>
                <a:gd name="T61" fmla="*/ 202 h 272"/>
                <a:gd name="T62" fmla="*/ 42 w 534"/>
                <a:gd name="T63" fmla="*/ 216 h 272"/>
                <a:gd name="T64" fmla="*/ 52 w 534"/>
                <a:gd name="T65" fmla="*/ 238 h 272"/>
                <a:gd name="T66" fmla="*/ 58 w 534"/>
                <a:gd name="T67" fmla="*/ 232 h 272"/>
                <a:gd name="T68" fmla="*/ 78 w 534"/>
                <a:gd name="T69" fmla="*/ 230 h 272"/>
                <a:gd name="T70" fmla="*/ 94 w 534"/>
                <a:gd name="T71" fmla="*/ 246 h 272"/>
                <a:gd name="T72" fmla="*/ 106 w 534"/>
                <a:gd name="T73" fmla="*/ 256 h 272"/>
                <a:gd name="T74" fmla="*/ 122 w 534"/>
                <a:gd name="T75" fmla="*/ 228 h 272"/>
                <a:gd name="T76" fmla="*/ 144 w 534"/>
                <a:gd name="T77" fmla="*/ 180 h 272"/>
                <a:gd name="T78" fmla="*/ 178 w 534"/>
                <a:gd name="T79" fmla="*/ 160 h 272"/>
                <a:gd name="T80" fmla="*/ 188 w 534"/>
                <a:gd name="T81" fmla="*/ 144 h 272"/>
                <a:gd name="T82" fmla="*/ 206 w 534"/>
                <a:gd name="T83" fmla="*/ 154 h 272"/>
                <a:gd name="T84" fmla="*/ 212 w 534"/>
                <a:gd name="T85" fmla="*/ 178 h 272"/>
                <a:gd name="T86" fmla="*/ 218 w 534"/>
                <a:gd name="T87" fmla="*/ 210 h 272"/>
                <a:gd name="T88" fmla="*/ 240 w 534"/>
                <a:gd name="T89" fmla="*/ 212 h 272"/>
                <a:gd name="T90" fmla="*/ 272 w 534"/>
                <a:gd name="T91" fmla="*/ 224 h 272"/>
                <a:gd name="T92" fmla="*/ 278 w 534"/>
                <a:gd name="T93" fmla="*/ 256 h 272"/>
                <a:gd name="T94" fmla="*/ 326 w 534"/>
                <a:gd name="T95" fmla="*/ 258 h 272"/>
                <a:gd name="T96" fmla="*/ 362 w 534"/>
                <a:gd name="T97" fmla="*/ 242 h 272"/>
                <a:gd name="T98" fmla="*/ 346 w 534"/>
                <a:gd name="T99" fmla="*/ 228 h 272"/>
                <a:gd name="T100" fmla="*/ 326 w 534"/>
                <a:gd name="T101" fmla="*/ 220 h 272"/>
                <a:gd name="T102" fmla="*/ 332 w 534"/>
                <a:gd name="T103" fmla="*/ 204 h 272"/>
                <a:gd name="T104" fmla="*/ 342 w 534"/>
                <a:gd name="T105" fmla="*/ 188 h 272"/>
                <a:gd name="T106" fmla="*/ 356 w 534"/>
                <a:gd name="T107" fmla="*/ 200 h 272"/>
                <a:gd name="T108" fmla="*/ 378 w 534"/>
                <a:gd name="T109" fmla="*/ 186 h 272"/>
                <a:gd name="T110" fmla="*/ 398 w 534"/>
                <a:gd name="T111" fmla="*/ 196 h 272"/>
                <a:gd name="T112" fmla="*/ 446 w 534"/>
                <a:gd name="T113" fmla="*/ 196 h 272"/>
                <a:gd name="T114" fmla="*/ 462 w 534"/>
                <a:gd name="T115" fmla="*/ 182 h 272"/>
                <a:gd name="T116" fmla="*/ 480 w 534"/>
                <a:gd name="T117" fmla="*/ 170 h 272"/>
                <a:gd name="T118" fmla="*/ 500 w 534"/>
                <a:gd name="T119" fmla="*/ 170 h 272"/>
                <a:gd name="T120" fmla="*/ 510 w 534"/>
                <a:gd name="T121" fmla="*/ 134 h 272"/>
                <a:gd name="T122" fmla="*/ 524 w 534"/>
                <a:gd name="T123" fmla="*/ 12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4" h="272">
                  <a:moveTo>
                    <a:pt x="534" y="114"/>
                  </a:moveTo>
                  <a:lnTo>
                    <a:pt x="534" y="114"/>
                  </a:lnTo>
                  <a:lnTo>
                    <a:pt x="534" y="110"/>
                  </a:lnTo>
                  <a:lnTo>
                    <a:pt x="532" y="106"/>
                  </a:lnTo>
                  <a:lnTo>
                    <a:pt x="530" y="100"/>
                  </a:lnTo>
                  <a:lnTo>
                    <a:pt x="528" y="94"/>
                  </a:lnTo>
                  <a:lnTo>
                    <a:pt x="528" y="90"/>
                  </a:lnTo>
                  <a:lnTo>
                    <a:pt x="526" y="88"/>
                  </a:lnTo>
                  <a:lnTo>
                    <a:pt x="524" y="86"/>
                  </a:lnTo>
                  <a:lnTo>
                    <a:pt x="524" y="82"/>
                  </a:lnTo>
                  <a:lnTo>
                    <a:pt x="522" y="80"/>
                  </a:lnTo>
                  <a:lnTo>
                    <a:pt x="522" y="80"/>
                  </a:lnTo>
                  <a:lnTo>
                    <a:pt x="520" y="78"/>
                  </a:lnTo>
                  <a:lnTo>
                    <a:pt x="520" y="78"/>
                  </a:lnTo>
                  <a:lnTo>
                    <a:pt x="518" y="76"/>
                  </a:lnTo>
                  <a:lnTo>
                    <a:pt x="516" y="76"/>
                  </a:lnTo>
                  <a:lnTo>
                    <a:pt x="514" y="76"/>
                  </a:lnTo>
                  <a:lnTo>
                    <a:pt x="510" y="74"/>
                  </a:lnTo>
                  <a:lnTo>
                    <a:pt x="506" y="74"/>
                  </a:lnTo>
                  <a:lnTo>
                    <a:pt x="504" y="72"/>
                  </a:lnTo>
                  <a:lnTo>
                    <a:pt x="500" y="70"/>
                  </a:lnTo>
                  <a:lnTo>
                    <a:pt x="500" y="70"/>
                  </a:lnTo>
                  <a:lnTo>
                    <a:pt x="498" y="70"/>
                  </a:lnTo>
                  <a:lnTo>
                    <a:pt x="498" y="68"/>
                  </a:lnTo>
                  <a:lnTo>
                    <a:pt x="496" y="68"/>
                  </a:lnTo>
                  <a:lnTo>
                    <a:pt x="494" y="64"/>
                  </a:lnTo>
                  <a:lnTo>
                    <a:pt x="494" y="62"/>
                  </a:lnTo>
                  <a:lnTo>
                    <a:pt x="492" y="60"/>
                  </a:lnTo>
                  <a:lnTo>
                    <a:pt x="492" y="60"/>
                  </a:lnTo>
                  <a:lnTo>
                    <a:pt x="490" y="60"/>
                  </a:lnTo>
                  <a:lnTo>
                    <a:pt x="490" y="58"/>
                  </a:lnTo>
                  <a:lnTo>
                    <a:pt x="490" y="58"/>
                  </a:lnTo>
                  <a:lnTo>
                    <a:pt x="488" y="58"/>
                  </a:lnTo>
                  <a:lnTo>
                    <a:pt x="486" y="58"/>
                  </a:lnTo>
                  <a:lnTo>
                    <a:pt x="484" y="58"/>
                  </a:lnTo>
                  <a:lnTo>
                    <a:pt x="482" y="58"/>
                  </a:lnTo>
                  <a:lnTo>
                    <a:pt x="480" y="58"/>
                  </a:lnTo>
                  <a:lnTo>
                    <a:pt x="478" y="58"/>
                  </a:lnTo>
                  <a:lnTo>
                    <a:pt x="476" y="58"/>
                  </a:lnTo>
                  <a:lnTo>
                    <a:pt x="476" y="58"/>
                  </a:lnTo>
                  <a:lnTo>
                    <a:pt x="476" y="58"/>
                  </a:lnTo>
                  <a:lnTo>
                    <a:pt x="474" y="58"/>
                  </a:lnTo>
                  <a:lnTo>
                    <a:pt x="474" y="56"/>
                  </a:lnTo>
                  <a:lnTo>
                    <a:pt x="474" y="56"/>
                  </a:lnTo>
                  <a:lnTo>
                    <a:pt x="472" y="54"/>
                  </a:lnTo>
                  <a:lnTo>
                    <a:pt x="470" y="52"/>
                  </a:lnTo>
                  <a:lnTo>
                    <a:pt x="470" y="50"/>
                  </a:lnTo>
                  <a:lnTo>
                    <a:pt x="468" y="46"/>
                  </a:lnTo>
                  <a:lnTo>
                    <a:pt x="468" y="44"/>
                  </a:lnTo>
                  <a:lnTo>
                    <a:pt x="464" y="38"/>
                  </a:lnTo>
                  <a:lnTo>
                    <a:pt x="462" y="30"/>
                  </a:lnTo>
                  <a:lnTo>
                    <a:pt x="462" y="28"/>
                  </a:lnTo>
                  <a:lnTo>
                    <a:pt x="460" y="24"/>
                  </a:lnTo>
                  <a:lnTo>
                    <a:pt x="458" y="22"/>
                  </a:lnTo>
                  <a:lnTo>
                    <a:pt x="458" y="20"/>
                  </a:lnTo>
                  <a:lnTo>
                    <a:pt x="456" y="18"/>
                  </a:lnTo>
                  <a:lnTo>
                    <a:pt x="456" y="18"/>
                  </a:lnTo>
                  <a:lnTo>
                    <a:pt x="454" y="18"/>
                  </a:lnTo>
                  <a:lnTo>
                    <a:pt x="454" y="16"/>
                  </a:lnTo>
                  <a:lnTo>
                    <a:pt x="452" y="16"/>
                  </a:lnTo>
                  <a:lnTo>
                    <a:pt x="452" y="16"/>
                  </a:lnTo>
                  <a:lnTo>
                    <a:pt x="450" y="16"/>
                  </a:lnTo>
                  <a:lnTo>
                    <a:pt x="448" y="16"/>
                  </a:lnTo>
                  <a:lnTo>
                    <a:pt x="444" y="16"/>
                  </a:lnTo>
                  <a:lnTo>
                    <a:pt x="442" y="16"/>
                  </a:lnTo>
                  <a:lnTo>
                    <a:pt x="440" y="16"/>
                  </a:lnTo>
                  <a:lnTo>
                    <a:pt x="434" y="16"/>
                  </a:lnTo>
                  <a:lnTo>
                    <a:pt x="432" y="18"/>
                  </a:lnTo>
                  <a:lnTo>
                    <a:pt x="430" y="18"/>
                  </a:lnTo>
                  <a:lnTo>
                    <a:pt x="424" y="22"/>
                  </a:lnTo>
                  <a:lnTo>
                    <a:pt x="420" y="22"/>
                  </a:lnTo>
                  <a:lnTo>
                    <a:pt x="418" y="24"/>
                  </a:lnTo>
                  <a:lnTo>
                    <a:pt x="414" y="24"/>
                  </a:lnTo>
                  <a:lnTo>
                    <a:pt x="412" y="24"/>
                  </a:lnTo>
                  <a:lnTo>
                    <a:pt x="412" y="26"/>
                  </a:lnTo>
                  <a:lnTo>
                    <a:pt x="408" y="26"/>
                  </a:lnTo>
                  <a:lnTo>
                    <a:pt x="406" y="26"/>
                  </a:lnTo>
                  <a:lnTo>
                    <a:pt x="404" y="26"/>
                  </a:lnTo>
                  <a:lnTo>
                    <a:pt x="402" y="26"/>
                  </a:lnTo>
                  <a:lnTo>
                    <a:pt x="400" y="26"/>
                  </a:lnTo>
                  <a:lnTo>
                    <a:pt x="398" y="26"/>
                  </a:lnTo>
                  <a:lnTo>
                    <a:pt x="398" y="24"/>
                  </a:lnTo>
                  <a:lnTo>
                    <a:pt x="396" y="24"/>
                  </a:lnTo>
                  <a:lnTo>
                    <a:pt x="396" y="24"/>
                  </a:lnTo>
                  <a:lnTo>
                    <a:pt x="396" y="24"/>
                  </a:lnTo>
                  <a:lnTo>
                    <a:pt x="396" y="22"/>
                  </a:lnTo>
                  <a:lnTo>
                    <a:pt x="396" y="22"/>
                  </a:lnTo>
                  <a:lnTo>
                    <a:pt x="396" y="20"/>
                  </a:lnTo>
                  <a:lnTo>
                    <a:pt x="396" y="18"/>
                  </a:lnTo>
                  <a:lnTo>
                    <a:pt x="396" y="14"/>
                  </a:lnTo>
                  <a:lnTo>
                    <a:pt x="396" y="14"/>
                  </a:lnTo>
                  <a:lnTo>
                    <a:pt x="396" y="12"/>
                  </a:lnTo>
                  <a:lnTo>
                    <a:pt x="394" y="12"/>
                  </a:lnTo>
                  <a:lnTo>
                    <a:pt x="394" y="10"/>
                  </a:lnTo>
                  <a:lnTo>
                    <a:pt x="392" y="8"/>
                  </a:lnTo>
                  <a:lnTo>
                    <a:pt x="392" y="8"/>
                  </a:lnTo>
                  <a:lnTo>
                    <a:pt x="390" y="6"/>
                  </a:lnTo>
                  <a:lnTo>
                    <a:pt x="388" y="4"/>
                  </a:lnTo>
                  <a:lnTo>
                    <a:pt x="386" y="2"/>
                  </a:lnTo>
                  <a:lnTo>
                    <a:pt x="384" y="2"/>
                  </a:lnTo>
                  <a:lnTo>
                    <a:pt x="382" y="2"/>
                  </a:lnTo>
                  <a:lnTo>
                    <a:pt x="382" y="0"/>
                  </a:lnTo>
                  <a:lnTo>
                    <a:pt x="380" y="0"/>
                  </a:lnTo>
                  <a:lnTo>
                    <a:pt x="378" y="0"/>
                  </a:lnTo>
                  <a:lnTo>
                    <a:pt x="376" y="0"/>
                  </a:lnTo>
                  <a:lnTo>
                    <a:pt x="372" y="2"/>
                  </a:lnTo>
                  <a:lnTo>
                    <a:pt x="370" y="2"/>
                  </a:lnTo>
                  <a:lnTo>
                    <a:pt x="362" y="4"/>
                  </a:lnTo>
                  <a:lnTo>
                    <a:pt x="358" y="6"/>
                  </a:lnTo>
                  <a:lnTo>
                    <a:pt x="356" y="6"/>
                  </a:lnTo>
                  <a:lnTo>
                    <a:pt x="350" y="8"/>
                  </a:lnTo>
                  <a:lnTo>
                    <a:pt x="344" y="8"/>
                  </a:lnTo>
                  <a:lnTo>
                    <a:pt x="338" y="10"/>
                  </a:lnTo>
                  <a:lnTo>
                    <a:pt x="336" y="10"/>
                  </a:lnTo>
                  <a:lnTo>
                    <a:pt x="334" y="10"/>
                  </a:lnTo>
                  <a:lnTo>
                    <a:pt x="330" y="10"/>
                  </a:lnTo>
                  <a:lnTo>
                    <a:pt x="326" y="10"/>
                  </a:lnTo>
                  <a:lnTo>
                    <a:pt x="320" y="10"/>
                  </a:lnTo>
                  <a:lnTo>
                    <a:pt x="316" y="10"/>
                  </a:lnTo>
                  <a:lnTo>
                    <a:pt x="306" y="8"/>
                  </a:lnTo>
                  <a:lnTo>
                    <a:pt x="298" y="8"/>
                  </a:lnTo>
                  <a:lnTo>
                    <a:pt x="296" y="6"/>
                  </a:lnTo>
                  <a:lnTo>
                    <a:pt x="294" y="6"/>
                  </a:lnTo>
                  <a:lnTo>
                    <a:pt x="288" y="4"/>
                  </a:lnTo>
                  <a:lnTo>
                    <a:pt x="286" y="4"/>
                  </a:lnTo>
                  <a:lnTo>
                    <a:pt x="282" y="2"/>
                  </a:lnTo>
                  <a:lnTo>
                    <a:pt x="280" y="2"/>
                  </a:lnTo>
                  <a:lnTo>
                    <a:pt x="278" y="2"/>
                  </a:lnTo>
                  <a:lnTo>
                    <a:pt x="276" y="2"/>
                  </a:lnTo>
                  <a:lnTo>
                    <a:pt x="272" y="2"/>
                  </a:lnTo>
                  <a:lnTo>
                    <a:pt x="272" y="4"/>
                  </a:lnTo>
                  <a:lnTo>
                    <a:pt x="270" y="4"/>
                  </a:lnTo>
                  <a:lnTo>
                    <a:pt x="270" y="4"/>
                  </a:lnTo>
                  <a:lnTo>
                    <a:pt x="268" y="4"/>
                  </a:lnTo>
                  <a:lnTo>
                    <a:pt x="268" y="4"/>
                  </a:lnTo>
                  <a:lnTo>
                    <a:pt x="268" y="6"/>
                  </a:lnTo>
                  <a:lnTo>
                    <a:pt x="268" y="6"/>
                  </a:lnTo>
                  <a:lnTo>
                    <a:pt x="268" y="8"/>
                  </a:lnTo>
                  <a:lnTo>
                    <a:pt x="268" y="10"/>
                  </a:lnTo>
                  <a:lnTo>
                    <a:pt x="268" y="12"/>
                  </a:lnTo>
                  <a:lnTo>
                    <a:pt x="270" y="14"/>
                  </a:lnTo>
                  <a:lnTo>
                    <a:pt x="272" y="18"/>
                  </a:lnTo>
                  <a:lnTo>
                    <a:pt x="272" y="20"/>
                  </a:lnTo>
                  <a:lnTo>
                    <a:pt x="272" y="22"/>
                  </a:lnTo>
                  <a:lnTo>
                    <a:pt x="272" y="24"/>
                  </a:lnTo>
                  <a:lnTo>
                    <a:pt x="272" y="24"/>
                  </a:lnTo>
                  <a:lnTo>
                    <a:pt x="272" y="26"/>
                  </a:lnTo>
                  <a:lnTo>
                    <a:pt x="272" y="26"/>
                  </a:lnTo>
                  <a:lnTo>
                    <a:pt x="270" y="26"/>
                  </a:lnTo>
                  <a:lnTo>
                    <a:pt x="270" y="28"/>
                  </a:lnTo>
                  <a:lnTo>
                    <a:pt x="270" y="28"/>
                  </a:lnTo>
                  <a:lnTo>
                    <a:pt x="266" y="30"/>
                  </a:lnTo>
                  <a:lnTo>
                    <a:pt x="264" y="30"/>
                  </a:lnTo>
                  <a:lnTo>
                    <a:pt x="260" y="32"/>
                  </a:lnTo>
                  <a:lnTo>
                    <a:pt x="258" y="32"/>
                  </a:lnTo>
                  <a:lnTo>
                    <a:pt x="256" y="34"/>
                  </a:lnTo>
                  <a:lnTo>
                    <a:pt x="254" y="34"/>
                  </a:lnTo>
                  <a:lnTo>
                    <a:pt x="254" y="34"/>
                  </a:lnTo>
                  <a:lnTo>
                    <a:pt x="252" y="34"/>
                  </a:lnTo>
                  <a:lnTo>
                    <a:pt x="248" y="36"/>
                  </a:lnTo>
                  <a:lnTo>
                    <a:pt x="246" y="36"/>
                  </a:lnTo>
                  <a:lnTo>
                    <a:pt x="242" y="36"/>
                  </a:lnTo>
                  <a:lnTo>
                    <a:pt x="242" y="38"/>
                  </a:lnTo>
                  <a:lnTo>
                    <a:pt x="240" y="38"/>
                  </a:lnTo>
                  <a:lnTo>
                    <a:pt x="238" y="38"/>
                  </a:lnTo>
                  <a:lnTo>
                    <a:pt x="238" y="40"/>
                  </a:lnTo>
                  <a:lnTo>
                    <a:pt x="236" y="40"/>
                  </a:lnTo>
                  <a:lnTo>
                    <a:pt x="236" y="42"/>
                  </a:lnTo>
                  <a:lnTo>
                    <a:pt x="236" y="42"/>
                  </a:lnTo>
                  <a:lnTo>
                    <a:pt x="236" y="44"/>
                  </a:lnTo>
                  <a:lnTo>
                    <a:pt x="236" y="44"/>
                  </a:lnTo>
                  <a:lnTo>
                    <a:pt x="236" y="46"/>
                  </a:lnTo>
                  <a:lnTo>
                    <a:pt x="238" y="48"/>
                  </a:lnTo>
                  <a:lnTo>
                    <a:pt x="242" y="50"/>
                  </a:lnTo>
                  <a:lnTo>
                    <a:pt x="244" y="52"/>
                  </a:lnTo>
                  <a:lnTo>
                    <a:pt x="246" y="56"/>
                  </a:lnTo>
                  <a:lnTo>
                    <a:pt x="246" y="56"/>
                  </a:lnTo>
                  <a:lnTo>
                    <a:pt x="246" y="58"/>
                  </a:lnTo>
                  <a:lnTo>
                    <a:pt x="246" y="60"/>
                  </a:lnTo>
                  <a:lnTo>
                    <a:pt x="246" y="60"/>
                  </a:lnTo>
                  <a:lnTo>
                    <a:pt x="246" y="62"/>
                  </a:lnTo>
                  <a:lnTo>
                    <a:pt x="246" y="62"/>
                  </a:lnTo>
                  <a:lnTo>
                    <a:pt x="244" y="64"/>
                  </a:lnTo>
                  <a:lnTo>
                    <a:pt x="244" y="64"/>
                  </a:lnTo>
                  <a:lnTo>
                    <a:pt x="242" y="66"/>
                  </a:lnTo>
                  <a:lnTo>
                    <a:pt x="240" y="68"/>
                  </a:lnTo>
                  <a:lnTo>
                    <a:pt x="240" y="68"/>
                  </a:lnTo>
                  <a:lnTo>
                    <a:pt x="238" y="68"/>
                  </a:lnTo>
                  <a:lnTo>
                    <a:pt x="238" y="68"/>
                  </a:lnTo>
                  <a:lnTo>
                    <a:pt x="236" y="68"/>
                  </a:lnTo>
                  <a:lnTo>
                    <a:pt x="236" y="68"/>
                  </a:lnTo>
                  <a:lnTo>
                    <a:pt x="234" y="68"/>
                  </a:lnTo>
                  <a:lnTo>
                    <a:pt x="232" y="66"/>
                  </a:lnTo>
                  <a:lnTo>
                    <a:pt x="228" y="66"/>
                  </a:lnTo>
                  <a:lnTo>
                    <a:pt x="226" y="64"/>
                  </a:lnTo>
                  <a:lnTo>
                    <a:pt x="222" y="62"/>
                  </a:lnTo>
                  <a:lnTo>
                    <a:pt x="220" y="60"/>
                  </a:lnTo>
                  <a:lnTo>
                    <a:pt x="212" y="56"/>
                  </a:lnTo>
                  <a:lnTo>
                    <a:pt x="208" y="52"/>
                  </a:lnTo>
                  <a:lnTo>
                    <a:pt x="204" y="50"/>
                  </a:lnTo>
                  <a:lnTo>
                    <a:pt x="204" y="50"/>
                  </a:lnTo>
                  <a:lnTo>
                    <a:pt x="202" y="48"/>
                  </a:lnTo>
                  <a:lnTo>
                    <a:pt x="200" y="48"/>
                  </a:lnTo>
                  <a:lnTo>
                    <a:pt x="198" y="48"/>
                  </a:lnTo>
                  <a:lnTo>
                    <a:pt x="198" y="48"/>
                  </a:lnTo>
                  <a:lnTo>
                    <a:pt x="196" y="48"/>
                  </a:lnTo>
                  <a:lnTo>
                    <a:pt x="194" y="48"/>
                  </a:lnTo>
                  <a:lnTo>
                    <a:pt x="192" y="48"/>
                  </a:lnTo>
                  <a:lnTo>
                    <a:pt x="188" y="48"/>
                  </a:lnTo>
                  <a:lnTo>
                    <a:pt x="184" y="50"/>
                  </a:lnTo>
                  <a:lnTo>
                    <a:pt x="182" y="50"/>
                  </a:lnTo>
                  <a:lnTo>
                    <a:pt x="180" y="50"/>
                  </a:lnTo>
                  <a:lnTo>
                    <a:pt x="180" y="50"/>
                  </a:lnTo>
                  <a:lnTo>
                    <a:pt x="176" y="50"/>
                  </a:lnTo>
                  <a:lnTo>
                    <a:pt x="174" y="50"/>
                  </a:lnTo>
                  <a:lnTo>
                    <a:pt x="172" y="48"/>
                  </a:lnTo>
                  <a:lnTo>
                    <a:pt x="170" y="48"/>
                  </a:lnTo>
                  <a:lnTo>
                    <a:pt x="168" y="48"/>
                  </a:lnTo>
                  <a:lnTo>
                    <a:pt x="168" y="46"/>
                  </a:lnTo>
                  <a:lnTo>
                    <a:pt x="166" y="46"/>
                  </a:lnTo>
                  <a:lnTo>
                    <a:pt x="166" y="46"/>
                  </a:lnTo>
                  <a:lnTo>
                    <a:pt x="166" y="46"/>
                  </a:lnTo>
                  <a:lnTo>
                    <a:pt x="166" y="44"/>
                  </a:lnTo>
                  <a:lnTo>
                    <a:pt x="166" y="44"/>
                  </a:lnTo>
                  <a:lnTo>
                    <a:pt x="166" y="42"/>
                  </a:lnTo>
                  <a:lnTo>
                    <a:pt x="166" y="40"/>
                  </a:lnTo>
                  <a:lnTo>
                    <a:pt x="168" y="40"/>
                  </a:lnTo>
                  <a:lnTo>
                    <a:pt x="168" y="38"/>
                  </a:lnTo>
                  <a:lnTo>
                    <a:pt x="168" y="36"/>
                  </a:lnTo>
                  <a:lnTo>
                    <a:pt x="168" y="36"/>
                  </a:lnTo>
                  <a:lnTo>
                    <a:pt x="168" y="36"/>
                  </a:lnTo>
                  <a:lnTo>
                    <a:pt x="166" y="34"/>
                  </a:lnTo>
                  <a:lnTo>
                    <a:pt x="166" y="32"/>
                  </a:lnTo>
                  <a:lnTo>
                    <a:pt x="164" y="30"/>
                  </a:lnTo>
                  <a:lnTo>
                    <a:pt x="162" y="28"/>
                  </a:lnTo>
                  <a:lnTo>
                    <a:pt x="160" y="26"/>
                  </a:lnTo>
                  <a:lnTo>
                    <a:pt x="156" y="26"/>
                  </a:lnTo>
                  <a:lnTo>
                    <a:pt x="154" y="24"/>
                  </a:lnTo>
                  <a:lnTo>
                    <a:pt x="152" y="22"/>
                  </a:lnTo>
                  <a:lnTo>
                    <a:pt x="146" y="20"/>
                  </a:lnTo>
                  <a:lnTo>
                    <a:pt x="140" y="16"/>
                  </a:lnTo>
                  <a:lnTo>
                    <a:pt x="136" y="14"/>
                  </a:lnTo>
                  <a:lnTo>
                    <a:pt x="132" y="14"/>
                  </a:lnTo>
                  <a:lnTo>
                    <a:pt x="130" y="12"/>
                  </a:lnTo>
                  <a:lnTo>
                    <a:pt x="128" y="12"/>
                  </a:lnTo>
                  <a:lnTo>
                    <a:pt x="126" y="12"/>
                  </a:lnTo>
                  <a:lnTo>
                    <a:pt x="122" y="12"/>
                  </a:lnTo>
                  <a:lnTo>
                    <a:pt x="118" y="12"/>
                  </a:lnTo>
                  <a:lnTo>
                    <a:pt x="110" y="12"/>
                  </a:lnTo>
                  <a:lnTo>
                    <a:pt x="106" y="12"/>
                  </a:lnTo>
                  <a:lnTo>
                    <a:pt x="104" y="12"/>
                  </a:lnTo>
                  <a:lnTo>
                    <a:pt x="102" y="10"/>
                  </a:lnTo>
                  <a:lnTo>
                    <a:pt x="100" y="10"/>
                  </a:lnTo>
                  <a:lnTo>
                    <a:pt x="96" y="10"/>
                  </a:lnTo>
                  <a:lnTo>
                    <a:pt x="94" y="10"/>
                  </a:lnTo>
                  <a:lnTo>
                    <a:pt x="90" y="8"/>
                  </a:lnTo>
                  <a:lnTo>
                    <a:pt x="88" y="8"/>
                  </a:lnTo>
                  <a:lnTo>
                    <a:pt x="86" y="8"/>
                  </a:lnTo>
                  <a:lnTo>
                    <a:pt x="84" y="8"/>
                  </a:lnTo>
                  <a:lnTo>
                    <a:pt x="82" y="8"/>
                  </a:lnTo>
                  <a:lnTo>
                    <a:pt x="80" y="10"/>
                  </a:lnTo>
                  <a:lnTo>
                    <a:pt x="76" y="10"/>
                  </a:lnTo>
                  <a:lnTo>
                    <a:pt x="74" y="10"/>
                  </a:lnTo>
                  <a:lnTo>
                    <a:pt x="72" y="10"/>
                  </a:lnTo>
                  <a:lnTo>
                    <a:pt x="70" y="12"/>
                  </a:lnTo>
                  <a:lnTo>
                    <a:pt x="68" y="12"/>
                  </a:lnTo>
                  <a:lnTo>
                    <a:pt x="68" y="14"/>
                  </a:lnTo>
                  <a:lnTo>
                    <a:pt x="66" y="14"/>
                  </a:lnTo>
                  <a:lnTo>
                    <a:pt x="66" y="14"/>
                  </a:lnTo>
                  <a:lnTo>
                    <a:pt x="66" y="16"/>
                  </a:lnTo>
                  <a:lnTo>
                    <a:pt x="66" y="18"/>
                  </a:lnTo>
                  <a:lnTo>
                    <a:pt x="64" y="20"/>
                  </a:lnTo>
                  <a:lnTo>
                    <a:pt x="64" y="22"/>
                  </a:lnTo>
                  <a:lnTo>
                    <a:pt x="64" y="24"/>
                  </a:lnTo>
                  <a:lnTo>
                    <a:pt x="64" y="24"/>
                  </a:lnTo>
                  <a:lnTo>
                    <a:pt x="62" y="24"/>
                  </a:lnTo>
                  <a:lnTo>
                    <a:pt x="62" y="26"/>
                  </a:lnTo>
                  <a:lnTo>
                    <a:pt x="62" y="26"/>
                  </a:lnTo>
                  <a:lnTo>
                    <a:pt x="60" y="26"/>
                  </a:lnTo>
                  <a:lnTo>
                    <a:pt x="60" y="26"/>
                  </a:lnTo>
                  <a:lnTo>
                    <a:pt x="60" y="24"/>
                  </a:lnTo>
                  <a:lnTo>
                    <a:pt x="58" y="24"/>
                  </a:lnTo>
                  <a:lnTo>
                    <a:pt x="58" y="22"/>
                  </a:lnTo>
                  <a:lnTo>
                    <a:pt x="56" y="22"/>
                  </a:lnTo>
                  <a:lnTo>
                    <a:pt x="56" y="20"/>
                  </a:lnTo>
                  <a:lnTo>
                    <a:pt x="54" y="16"/>
                  </a:lnTo>
                  <a:lnTo>
                    <a:pt x="52" y="14"/>
                  </a:lnTo>
                  <a:lnTo>
                    <a:pt x="50" y="12"/>
                  </a:lnTo>
                  <a:lnTo>
                    <a:pt x="50" y="10"/>
                  </a:lnTo>
                  <a:lnTo>
                    <a:pt x="48" y="10"/>
                  </a:lnTo>
                  <a:lnTo>
                    <a:pt x="48" y="8"/>
                  </a:lnTo>
                  <a:lnTo>
                    <a:pt x="46" y="8"/>
                  </a:lnTo>
                  <a:lnTo>
                    <a:pt x="46" y="8"/>
                  </a:lnTo>
                  <a:lnTo>
                    <a:pt x="46" y="8"/>
                  </a:lnTo>
                  <a:lnTo>
                    <a:pt x="44" y="6"/>
                  </a:lnTo>
                  <a:lnTo>
                    <a:pt x="42" y="8"/>
                  </a:lnTo>
                  <a:lnTo>
                    <a:pt x="40" y="8"/>
                  </a:lnTo>
                  <a:lnTo>
                    <a:pt x="38" y="8"/>
                  </a:lnTo>
                  <a:lnTo>
                    <a:pt x="36" y="8"/>
                  </a:lnTo>
                  <a:lnTo>
                    <a:pt x="34" y="10"/>
                  </a:lnTo>
                  <a:lnTo>
                    <a:pt x="32" y="10"/>
                  </a:lnTo>
                  <a:lnTo>
                    <a:pt x="30" y="12"/>
                  </a:lnTo>
                  <a:lnTo>
                    <a:pt x="28" y="14"/>
                  </a:lnTo>
                  <a:lnTo>
                    <a:pt x="26" y="14"/>
                  </a:lnTo>
                  <a:lnTo>
                    <a:pt x="24" y="16"/>
                  </a:lnTo>
                  <a:lnTo>
                    <a:pt x="22" y="18"/>
                  </a:lnTo>
                  <a:lnTo>
                    <a:pt x="20" y="20"/>
                  </a:lnTo>
                  <a:lnTo>
                    <a:pt x="20" y="22"/>
                  </a:lnTo>
                  <a:lnTo>
                    <a:pt x="16" y="26"/>
                  </a:lnTo>
                  <a:lnTo>
                    <a:pt x="12" y="30"/>
                  </a:lnTo>
                  <a:lnTo>
                    <a:pt x="10" y="36"/>
                  </a:lnTo>
                  <a:lnTo>
                    <a:pt x="8" y="40"/>
                  </a:lnTo>
                  <a:lnTo>
                    <a:pt x="6" y="44"/>
                  </a:lnTo>
                  <a:lnTo>
                    <a:pt x="4" y="48"/>
                  </a:lnTo>
                  <a:lnTo>
                    <a:pt x="2" y="52"/>
                  </a:lnTo>
                  <a:lnTo>
                    <a:pt x="2" y="54"/>
                  </a:lnTo>
                  <a:lnTo>
                    <a:pt x="2" y="56"/>
                  </a:lnTo>
                  <a:lnTo>
                    <a:pt x="0" y="58"/>
                  </a:lnTo>
                  <a:lnTo>
                    <a:pt x="0" y="60"/>
                  </a:lnTo>
                  <a:lnTo>
                    <a:pt x="0" y="60"/>
                  </a:lnTo>
                  <a:lnTo>
                    <a:pt x="0" y="62"/>
                  </a:lnTo>
                  <a:lnTo>
                    <a:pt x="2" y="64"/>
                  </a:lnTo>
                  <a:lnTo>
                    <a:pt x="2" y="66"/>
                  </a:lnTo>
                  <a:lnTo>
                    <a:pt x="4" y="68"/>
                  </a:lnTo>
                  <a:lnTo>
                    <a:pt x="4" y="70"/>
                  </a:lnTo>
                  <a:lnTo>
                    <a:pt x="6" y="72"/>
                  </a:lnTo>
                  <a:lnTo>
                    <a:pt x="8" y="74"/>
                  </a:lnTo>
                  <a:lnTo>
                    <a:pt x="8" y="76"/>
                  </a:lnTo>
                  <a:lnTo>
                    <a:pt x="10" y="76"/>
                  </a:lnTo>
                  <a:lnTo>
                    <a:pt x="10" y="78"/>
                  </a:lnTo>
                  <a:lnTo>
                    <a:pt x="12" y="78"/>
                  </a:lnTo>
                  <a:lnTo>
                    <a:pt x="14" y="80"/>
                  </a:lnTo>
                  <a:lnTo>
                    <a:pt x="18" y="80"/>
                  </a:lnTo>
                  <a:lnTo>
                    <a:pt x="20" y="82"/>
                  </a:lnTo>
                  <a:lnTo>
                    <a:pt x="22" y="84"/>
                  </a:lnTo>
                  <a:lnTo>
                    <a:pt x="24" y="84"/>
                  </a:lnTo>
                  <a:lnTo>
                    <a:pt x="24" y="84"/>
                  </a:lnTo>
                  <a:lnTo>
                    <a:pt x="24" y="86"/>
                  </a:lnTo>
                  <a:lnTo>
                    <a:pt x="26" y="86"/>
                  </a:lnTo>
                  <a:lnTo>
                    <a:pt x="26" y="88"/>
                  </a:lnTo>
                  <a:lnTo>
                    <a:pt x="26" y="88"/>
                  </a:lnTo>
                  <a:lnTo>
                    <a:pt x="26" y="90"/>
                  </a:lnTo>
                  <a:lnTo>
                    <a:pt x="28" y="94"/>
                  </a:lnTo>
                  <a:lnTo>
                    <a:pt x="28" y="96"/>
                  </a:lnTo>
                  <a:lnTo>
                    <a:pt x="28" y="98"/>
                  </a:lnTo>
                  <a:lnTo>
                    <a:pt x="28" y="102"/>
                  </a:lnTo>
                  <a:lnTo>
                    <a:pt x="26" y="104"/>
                  </a:lnTo>
                  <a:lnTo>
                    <a:pt x="26" y="106"/>
                  </a:lnTo>
                  <a:lnTo>
                    <a:pt x="26" y="106"/>
                  </a:lnTo>
                  <a:lnTo>
                    <a:pt x="26" y="108"/>
                  </a:lnTo>
                  <a:lnTo>
                    <a:pt x="24" y="110"/>
                  </a:lnTo>
                  <a:lnTo>
                    <a:pt x="22" y="112"/>
                  </a:lnTo>
                  <a:lnTo>
                    <a:pt x="20" y="114"/>
                  </a:lnTo>
                  <a:lnTo>
                    <a:pt x="18" y="114"/>
                  </a:lnTo>
                  <a:lnTo>
                    <a:pt x="16" y="116"/>
                  </a:lnTo>
                  <a:lnTo>
                    <a:pt x="14" y="118"/>
                  </a:lnTo>
                  <a:lnTo>
                    <a:pt x="14" y="120"/>
                  </a:lnTo>
                  <a:lnTo>
                    <a:pt x="14" y="120"/>
                  </a:lnTo>
                  <a:lnTo>
                    <a:pt x="12" y="122"/>
                  </a:lnTo>
                  <a:lnTo>
                    <a:pt x="12" y="124"/>
                  </a:lnTo>
                  <a:lnTo>
                    <a:pt x="10" y="126"/>
                  </a:lnTo>
                  <a:lnTo>
                    <a:pt x="10" y="132"/>
                  </a:lnTo>
                  <a:lnTo>
                    <a:pt x="10" y="136"/>
                  </a:lnTo>
                  <a:lnTo>
                    <a:pt x="8" y="144"/>
                  </a:lnTo>
                  <a:lnTo>
                    <a:pt x="8" y="146"/>
                  </a:lnTo>
                  <a:lnTo>
                    <a:pt x="10" y="146"/>
                  </a:lnTo>
                  <a:lnTo>
                    <a:pt x="14" y="144"/>
                  </a:lnTo>
                  <a:lnTo>
                    <a:pt x="18" y="144"/>
                  </a:lnTo>
                  <a:lnTo>
                    <a:pt x="20" y="142"/>
                  </a:lnTo>
                  <a:lnTo>
                    <a:pt x="24" y="142"/>
                  </a:lnTo>
                  <a:lnTo>
                    <a:pt x="26" y="142"/>
                  </a:lnTo>
                  <a:lnTo>
                    <a:pt x="26" y="142"/>
                  </a:lnTo>
                  <a:lnTo>
                    <a:pt x="26" y="142"/>
                  </a:lnTo>
                  <a:lnTo>
                    <a:pt x="28" y="142"/>
                  </a:lnTo>
                  <a:lnTo>
                    <a:pt x="30" y="142"/>
                  </a:lnTo>
                  <a:lnTo>
                    <a:pt x="32" y="144"/>
                  </a:lnTo>
                  <a:lnTo>
                    <a:pt x="36" y="146"/>
                  </a:lnTo>
                  <a:lnTo>
                    <a:pt x="38" y="146"/>
                  </a:lnTo>
                  <a:lnTo>
                    <a:pt x="40" y="148"/>
                  </a:lnTo>
                  <a:lnTo>
                    <a:pt x="42" y="148"/>
                  </a:lnTo>
                  <a:lnTo>
                    <a:pt x="42" y="148"/>
                  </a:lnTo>
                  <a:lnTo>
                    <a:pt x="44" y="148"/>
                  </a:lnTo>
                  <a:lnTo>
                    <a:pt x="44" y="148"/>
                  </a:lnTo>
                  <a:lnTo>
                    <a:pt x="46" y="148"/>
                  </a:lnTo>
                  <a:lnTo>
                    <a:pt x="46" y="148"/>
                  </a:lnTo>
                  <a:lnTo>
                    <a:pt x="46" y="146"/>
                  </a:lnTo>
                  <a:lnTo>
                    <a:pt x="46" y="146"/>
                  </a:lnTo>
                  <a:lnTo>
                    <a:pt x="48" y="144"/>
                  </a:lnTo>
                  <a:lnTo>
                    <a:pt x="48" y="142"/>
                  </a:lnTo>
                  <a:lnTo>
                    <a:pt x="48" y="142"/>
                  </a:lnTo>
                  <a:lnTo>
                    <a:pt x="50" y="140"/>
                  </a:lnTo>
                  <a:lnTo>
                    <a:pt x="50" y="140"/>
                  </a:lnTo>
                  <a:lnTo>
                    <a:pt x="50" y="140"/>
                  </a:lnTo>
                  <a:lnTo>
                    <a:pt x="52" y="140"/>
                  </a:lnTo>
                  <a:lnTo>
                    <a:pt x="52" y="140"/>
                  </a:lnTo>
                  <a:lnTo>
                    <a:pt x="54" y="142"/>
                  </a:lnTo>
                  <a:lnTo>
                    <a:pt x="56" y="142"/>
                  </a:lnTo>
                  <a:lnTo>
                    <a:pt x="58" y="142"/>
                  </a:lnTo>
                  <a:lnTo>
                    <a:pt x="58" y="144"/>
                  </a:lnTo>
                  <a:lnTo>
                    <a:pt x="60" y="144"/>
                  </a:lnTo>
                  <a:lnTo>
                    <a:pt x="60" y="146"/>
                  </a:lnTo>
                  <a:lnTo>
                    <a:pt x="60" y="146"/>
                  </a:lnTo>
                  <a:lnTo>
                    <a:pt x="60" y="148"/>
                  </a:lnTo>
                  <a:lnTo>
                    <a:pt x="60" y="148"/>
                  </a:lnTo>
                  <a:lnTo>
                    <a:pt x="60" y="150"/>
                  </a:lnTo>
                  <a:lnTo>
                    <a:pt x="60" y="152"/>
                  </a:lnTo>
                  <a:lnTo>
                    <a:pt x="58" y="154"/>
                  </a:lnTo>
                  <a:lnTo>
                    <a:pt x="58" y="158"/>
                  </a:lnTo>
                  <a:lnTo>
                    <a:pt x="58" y="160"/>
                  </a:lnTo>
                  <a:lnTo>
                    <a:pt x="56" y="162"/>
                  </a:lnTo>
                  <a:lnTo>
                    <a:pt x="56" y="164"/>
                  </a:lnTo>
                  <a:lnTo>
                    <a:pt x="56" y="164"/>
                  </a:lnTo>
                  <a:lnTo>
                    <a:pt x="56" y="166"/>
                  </a:lnTo>
                  <a:lnTo>
                    <a:pt x="58" y="166"/>
                  </a:lnTo>
                  <a:lnTo>
                    <a:pt x="58" y="168"/>
                  </a:lnTo>
                  <a:lnTo>
                    <a:pt x="60" y="170"/>
                  </a:lnTo>
                  <a:lnTo>
                    <a:pt x="60" y="172"/>
                  </a:lnTo>
                  <a:lnTo>
                    <a:pt x="60" y="172"/>
                  </a:lnTo>
                  <a:lnTo>
                    <a:pt x="60" y="172"/>
                  </a:lnTo>
                  <a:lnTo>
                    <a:pt x="60" y="174"/>
                  </a:lnTo>
                  <a:lnTo>
                    <a:pt x="60" y="174"/>
                  </a:lnTo>
                  <a:lnTo>
                    <a:pt x="58" y="174"/>
                  </a:lnTo>
                  <a:lnTo>
                    <a:pt x="58" y="174"/>
                  </a:lnTo>
                  <a:lnTo>
                    <a:pt x="56" y="174"/>
                  </a:lnTo>
                  <a:lnTo>
                    <a:pt x="56" y="174"/>
                  </a:lnTo>
                  <a:lnTo>
                    <a:pt x="54" y="174"/>
                  </a:lnTo>
                  <a:lnTo>
                    <a:pt x="50" y="174"/>
                  </a:lnTo>
                  <a:lnTo>
                    <a:pt x="48" y="174"/>
                  </a:lnTo>
                  <a:lnTo>
                    <a:pt x="44" y="172"/>
                  </a:lnTo>
                  <a:lnTo>
                    <a:pt x="44" y="172"/>
                  </a:lnTo>
                  <a:lnTo>
                    <a:pt x="42" y="172"/>
                  </a:lnTo>
                  <a:lnTo>
                    <a:pt x="40" y="172"/>
                  </a:lnTo>
                  <a:lnTo>
                    <a:pt x="40" y="174"/>
                  </a:lnTo>
                  <a:lnTo>
                    <a:pt x="38" y="174"/>
                  </a:lnTo>
                  <a:lnTo>
                    <a:pt x="38" y="174"/>
                  </a:lnTo>
                  <a:lnTo>
                    <a:pt x="36" y="176"/>
                  </a:lnTo>
                  <a:lnTo>
                    <a:pt x="36" y="176"/>
                  </a:lnTo>
                  <a:lnTo>
                    <a:pt x="34" y="178"/>
                  </a:lnTo>
                  <a:lnTo>
                    <a:pt x="32" y="180"/>
                  </a:lnTo>
                  <a:lnTo>
                    <a:pt x="32" y="180"/>
                  </a:lnTo>
                  <a:lnTo>
                    <a:pt x="32" y="182"/>
                  </a:lnTo>
                  <a:lnTo>
                    <a:pt x="32" y="184"/>
                  </a:lnTo>
                  <a:lnTo>
                    <a:pt x="32" y="186"/>
                  </a:lnTo>
                  <a:lnTo>
                    <a:pt x="32" y="188"/>
                  </a:lnTo>
                  <a:lnTo>
                    <a:pt x="32" y="190"/>
                  </a:lnTo>
                  <a:lnTo>
                    <a:pt x="32" y="192"/>
                  </a:lnTo>
                  <a:lnTo>
                    <a:pt x="32" y="192"/>
                  </a:lnTo>
                  <a:lnTo>
                    <a:pt x="32" y="192"/>
                  </a:lnTo>
                  <a:lnTo>
                    <a:pt x="30" y="192"/>
                  </a:lnTo>
                  <a:lnTo>
                    <a:pt x="30" y="192"/>
                  </a:lnTo>
                  <a:lnTo>
                    <a:pt x="28" y="192"/>
                  </a:lnTo>
                  <a:lnTo>
                    <a:pt x="28" y="192"/>
                  </a:lnTo>
                  <a:lnTo>
                    <a:pt x="26" y="192"/>
                  </a:lnTo>
                  <a:lnTo>
                    <a:pt x="24" y="192"/>
                  </a:lnTo>
                  <a:lnTo>
                    <a:pt x="22" y="192"/>
                  </a:lnTo>
                  <a:lnTo>
                    <a:pt x="22" y="192"/>
                  </a:lnTo>
                  <a:lnTo>
                    <a:pt x="20" y="192"/>
                  </a:lnTo>
                  <a:lnTo>
                    <a:pt x="20" y="192"/>
                  </a:lnTo>
                  <a:lnTo>
                    <a:pt x="20" y="194"/>
                  </a:lnTo>
                  <a:lnTo>
                    <a:pt x="20" y="194"/>
                  </a:lnTo>
                  <a:lnTo>
                    <a:pt x="20" y="194"/>
                  </a:lnTo>
                  <a:lnTo>
                    <a:pt x="20" y="196"/>
                  </a:lnTo>
                  <a:lnTo>
                    <a:pt x="20" y="196"/>
                  </a:lnTo>
                  <a:lnTo>
                    <a:pt x="20" y="198"/>
                  </a:lnTo>
                  <a:lnTo>
                    <a:pt x="22" y="202"/>
                  </a:lnTo>
                  <a:lnTo>
                    <a:pt x="22" y="204"/>
                  </a:lnTo>
                  <a:lnTo>
                    <a:pt x="24" y="206"/>
                  </a:lnTo>
                  <a:lnTo>
                    <a:pt x="24" y="210"/>
                  </a:lnTo>
                  <a:lnTo>
                    <a:pt x="24" y="212"/>
                  </a:lnTo>
                  <a:lnTo>
                    <a:pt x="26" y="214"/>
                  </a:lnTo>
                  <a:lnTo>
                    <a:pt x="26" y="216"/>
                  </a:lnTo>
                  <a:lnTo>
                    <a:pt x="26" y="216"/>
                  </a:lnTo>
                  <a:lnTo>
                    <a:pt x="28" y="218"/>
                  </a:lnTo>
                  <a:lnTo>
                    <a:pt x="28" y="218"/>
                  </a:lnTo>
                  <a:lnTo>
                    <a:pt x="30" y="218"/>
                  </a:lnTo>
                  <a:lnTo>
                    <a:pt x="30" y="218"/>
                  </a:lnTo>
                  <a:lnTo>
                    <a:pt x="32" y="218"/>
                  </a:lnTo>
                  <a:lnTo>
                    <a:pt x="36" y="218"/>
                  </a:lnTo>
                  <a:lnTo>
                    <a:pt x="38" y="218"/>
                  </a:lnTo>
                  <a:lnTo>
                    <a:pt x="42" y="216"/>
                  </a:lnTo>
                  <a:lnTo>
                    <a:pt x="46" y="216"/>
                  </a:lnTo>
                  <a:lnTo>
                    <a:pt x="46" y="216"/>
                  </a:lnTo>
                  <a:lnTo>
                    <a:pt x="48" y="216"/>
                  </a:lnTo>
                  <a:lnTo>
                    <a:pt x="48" y="216"/>
                  </a:lnTo>
                  <a:lnTo>
                    <a:pt x="50" y="218"/>
                  </a:lnTo>
                  <a:lnTo>
                    <a:pt x="50" y="218"/>
                  </a:lnTo>
                  <a:lnTo>
                    <a:pt x="50" y="218"/>
                  </a:lnTo>
                  <a:lnTo>
                    <a:pt x="52" y="220"/>
                  </a:lnTo>
                  <a:lnTo>
                    <a:pt x="52" y="220"/>
                  </a:lnTo>
                  <a:lnTo>
                    <a:pt x="52" y="222"/>
                  </a:lnTo>
                  <a:lnTo>
                    <a:pt x="52" y="224"/>
                  </a:lnTo>
                  <a:lnTo>
                    <a:pt x="52" y="226"/>
                  </a:lnTo>
                  <a:lnTo>
                    <a:pt x="52" y="232"/>
                  </a:lnTo>
                  <a:lnTo>
                    <a:pt x="52" y="236"/>
                  </a:lnTo>
                  <a:lnTo>
                    <a:pt x="52" y="238"/>
                  </a:lnTo>
                  <a:lnTo>
                    <a:pt x="54" y="238"/>
                  </a:lnTo>
                  <a:lnTo>
                    <a:pt x="54" y="240"/>
                  </a:lnTo>
                  <a:lnTo>
                    <a:pt x="54" y="242"/>
                  </a:lnTo>
                  <a:lnTo>
                    <a:pt x="54" y="242"/>
                  </a:lnTo>
                  <a:lnTo>
                    <a:pt x="56" y="242"/>
                  </a:lnTo>
                  <a:lnTo>
                    <a:pt x="56" y="242"/>
                  </a:lnTo>
                  <a:lnTo>
                    <a:pt x="56" y="242"/>
                  </a:lnTo>
                  <a:lnTo>
                    <a:pt x="56" y="242"/>
                  </a:lnTo>
                  <a:lnTo>
                    <a:pt x="58" y="242"/>
                  </a:lnTo>
                  <a:lnTo>
                    <a:pt x="58" y="242"/>
                  </a:lnTo>
                  <a:lnTo>
                    <a:pt x="58" y="240"/>
                  </a:lnTo>
                  <a:lnTo>
                    <a:pt x="58" y="238"/>
                  </a:lnTo>
                  <a:lnTo>
                    <a:pt x="58" y="236"/>
                  </a:lnTo>
                  <a:lnTo>
                    <a:pt x="58" y="234"/>
                  </a:lnTo>
                  <a:lnTo>
                    <a:pt x="58" y="232"/>
                  </a:lnTo>
                  <a:lnTo>
                    <a:pt x="58" y="230"/>
                  </a:lnTo>
                  <a:lnTo>
                    <a:pt x="58" y="230"/>
                  </a:lnTo>
                  <a:lnTo>
                    <a:pt x="60" y="230"/>
                  </a:lnTo>
                  <a:lnTo>
                    <a:pt x="60" y="228"/>
                  </a:lnTo>
                  <a:lnTo>
                    <a:pt x="60" y="228"/>
                  </a:lnTo>
                  <a:lnTo>
                    <a:pt x="62" y="228"/>
                  </a:lnTo>
                  <a:lnTo>
                    <a:pt x="62" y="228"/>
                  </a:lnTo>
                  <a:lnTo>
                    <a:pt x="64" y="228"/>
                  </a:lnTo>
                  <a:lnTo>
                    <a:pt x="66" y="228"/>
                  </a:lnTo>
                  <a:lnTo>
                    <a:pt x="68" y="228"/>
                  </a:lnTo>
                  <a:lnTo>
                    <a:pt x="72" y="228"/>
                  </a:lnTo>
                  <a:lnTo>
                    <a:pt x="74" y="228"/>
                  </a:lnTo>
                  <a:lnTo>
                    <a:pt x="76" y="230"/>
                  </a:lnTo>
                  <a:lnTo>
                    <a:pt x="76" y="230"/>
                  </a:lnTo>
                  <a:lnTo>
                    <a:pt x="78" y="230"/>
                  </a:lnTo>
                  <a:lnTo>
                    <a:pt x="78" y="232"/>
                  </a:lnTo>
                  <a:lnTo>
                    <a:pt x="78" y="232"/>
                  </a:lnTo>
                  <a:lnTo>
                    <a:pt x="80" y="234"/>
                  </a:lnTo>
                  <a:lnTo>
                    <a:pt x="80" y="236"/>
                  </a:lnTo>
                  <a:lnTo>
                    <a:pt x="80" y="238"/>
                  </a:lnTo>
                  <a:lnTo>
                    <a:pt x="80" y="242"/>
                  </a:lnTo>
                  <a:lnTo>
                    <a:pt x="82" y="246"/>
                  </a:lnTo>
                  <a:lnTo>
                    <a:pt x="82" y="248"/>
                  </a:lnTo>
                  <a:lnTo>
                    <a:pt x="82" y="250"/>
                  </a:lnTo>
                  <a:lnTo>
                    <a:pt x="84" y="250"/>
                  </a:lnTo>
                  <a:lnTo>
                    <a:pt x="88" y="248"/>
                  </a:lnTo>
                  <a:lnTo>
                    <a:pt x="90" y="246"/>
                  </a:lnTo>
                  <a:lnTo>
                    <a:pt x="92" y="246"/>
                  </a:lnTo>
                  <a:lnTo>
                    <a:pt x="94" y="246"/>
                  </a:lnTo>
                  <a:lnTo>
                    <a:pt x="94" y="246"/>
                  </a:lnTo>
                  <a:lnTo>
                    <a:pt x="96" y="246"/>
                  </a:lnTo>
                  <a:lnTo>
                    <a:pt x="98" y="246"/>
                  </a:lnTo>
                  <a:lnTo>
                    <a:pt x="98" y="246"/>
                  </a:lnTo>
                  <a:lnTo>
                    <a:pt x="100" y="246"/>
                  </a:lnTo>
                  <a:lnTo>
                    <a:pt x="102" y="246"/>
                  </a:lnTo>
                  <a:lnTo>
                    <a:pt x="104" y="248"/>
                  </a:lnTo>
                  <a:lnTo>
                    <a:pt x="106" y="248"/>
                  </a:lnTo>
                  <a:lnTo>
                    <a:pt x="106" y="248"/>
                  </a:lnTo>
                  <a:lnTo>
                    <a:pt x="108" y="250"/>
                  </a:lnTo>
                  <a:lnTo>
                    <a:pt x="108" y="250"/>
                  </a:lnTo>
                  <a:lnTo>
                    <a:pt x="108" y="250"/>
                  </a:lnTo>
                  <a:lnTo>
                    <a:pt x="108" y="252"/>
                  </a:lnTo>
                  <a:lnTo>
                    <a:pt x="108" y="254"/>
                  </a:lnTo>
                  <a:lnTo>
                    <a:pt x="108" y="254"/>
                  </a:lnTo>
                  <a:lnTo>
                    <a:pt x="106" y="256"/>
                  </a:lnTo>
                  <a:lnTo>
                    <a:pt x="106" y="258"/>
                  </a:lnTo>
                  <a:lnTo>
                    <a:pt x="106" y="258"/>
                  </a:lnTo>
                  <a:lnTo>
                    <a:pt x="106" y="260"/>
                  </a:lnTo>
                  <a:lnTo>
                    <a:pt x="108" y="260"/>
                  </a:lnTo>
                  <a:lnTo>
                    <a:pt x="108" y="260"/>
                  </a:lnTo>
                  <a:lnTo>
                    <a:pt x="108" y="260"/>
                  </a:lnTo>
                  <a:lnTo>
                    <a:pt x="110" y="262"/>
                  </a:lnTo>
                  <a:lnTo>
                    <a:pt x="112" y="262"/>
                  </a:lnTo>
                  <a:lnTo>
                    <a:pt x="114" y="262"/>
                  </a:lnTo>
                  <a:lnTo>
                    <a:pt x="118" y="264"/>
                  </a:lnTo>
                  <a:lnTo>
                    <a:pt x="120" y="264"/>
                  </a:lnTo>
                  <a:lnTo>
                    <a:pt x="120" y="254"/>
                  </a:lnTo>
                  <a:lnTo>
                    <a:pt x="122" y="244"/>
                  </a:lnTo>
                  <a:lnTo>
                    <a:pt x="122" y="234"/>
                  </a:lnTo>
                  <a:lnTo>
                    <a:pt x="122" y="228"/>
                  </a:lnTo>
                  <a:lnTo>
                    <a:pt x="124" y="220"/>
                  </a:lnTo>
                  <a:lnTo>
                    <a:pt x="124" y="214"/>
                  </a:lnTo>
                  <a:lnTo>
                    <a:pt x="126" y="208"/>
                  </a:lnTo>
                  <a:lnTo>
                    <a:pt x="126" y="204"/>
                  </a:lnTo>
                  <a:lnTo>
                    <a:pt x="128" y="198"/>
                  </a:lnTo>
                  <a:lnTo>
                    <a:pt x="128" y="196"/>
                  </a:lnTo>
                  <a:lnTo>
                    <a:pt x="130" y="194"/>
                  </a:lnTo>
                  <a:lnTo>
                    <a:pt x="130" y="192"/>
                  </a:lnTo>
                  <a:lnTo>
                    <a:pt x="132" y="192"/>
                  </a:lnTo>
                  <a:lnTo>
                    <a:pt x="132" y="190"/>
                  </a:lnTo>
                  <a:lnTo>
                    <a:pt x="134" y="188"/>
                  </a:lnTo>
                  <a:lnTo>
                    <a:pt x="136" y="186"/>
                  </a:lnTo>
                  <a:lnTo>
                    <a:pt x="138" y="184"/>
                  </a:lnTo>
                  <a:lnTo>
                    <a:pt x="140" y="182"/>
                  </a:lnTo>
                  <a:lnTo>
                    <a:pt x="144" y="180"/>
                  </a:lnTo>
                  <a:lnTo>
                    <a:pt x="148" y="176"/>
                  </a:lnTo>
                  <a:lnTo>
                    <a:pt x="154" y="172"/>
                  </a:lnTo>
                  <a:lnTo>
                    <a:pt x="158" y="170"/>
                  </a:lnTo>
                  <a:lnTo>
                    <a:pt x="162" y="166"/>
                  </a:lnTo>
                  <a:lnTo>
                    <a:pt x="164" y="166"/>
                  </a:lnTo>
                  <a:lnTo>
                    <a:pt x="168" y="166"/>
                  </a:lnTo>
                  <a:lnTo>
                    <a:pt x="172" y="166"/>
                  </a:lnTo>
                  <a:lnTo>
                    <a:pt x="174" y="164"/>
                  </a:lnTo>
                  <a:lnTo>
                    <a:pt x="176" y="164"/>
                  </a:lnTo>
                  <a:lnTo>
                    <a:pt x="176" y="164"/>
                  </a:lnTo>
                  <a:lnTo>
                    <a:pt x="176" y="164"/>
                  </a:lnTo>
                  <a:lnTo>
                    <a:pt x="176" y="162"/>
                  </a:lnTo>
                  <a:lnTo>
                    <a:pt x="178" y="162"/>
                  </a:lnTo>
                  <a:lnTo>
                    <a:pt x="178" y="160"/>
                  </a:lnTo>
                  <a:lnTo>
                    <a:pt x="178" y="160"/>
                  </a:lnTo>
                  <a:lnTo>
                    <a:pt x="176" y="158"/>
                  </a:lnTo>
                  <a:lnTo>
                    <a:pt x="176" y="154"/>
                  </a:lnTo>
                  <a:lnTo>
                    <a:pt x="176" y="152"/>
                  </a:lnTo>
                  <a:lnTo>
                    <a:pt x="176" y="150"/>
                  </a:lnTo>
                  <a:lnTo>
                    <a:pt x="176" y="150"/>
                  </a:lnTo>
                  <a:lnTo>
                    <a:pt x="176" y="148"/>
                  </a:lnTo>
                  <a:lnTo>
                    <a:pt x="176" y="148"/>
                  </a:lnTo>
                  <a:lnTo>
                    <a:pt x="176" y="146"/>
                  </a:lnTo>
                  <a:lnTo>
                    <a:pt x="178" y="146"/>
                  </a:lnTo>
                  <a:lnTo>
                    <a:pt x="180" y="146"/>
                  </a:lnTo>
                  <a:lnTo>
                    <a:pt x="180" y="144"/>
                  </a:lnTo>
                  <a:lnTo>
                    <a:pt x="182" y="144"/>
                  </a:lnTo>
                  <a:lnTo>
                    <a:pt x="184" y="144"/>
                  </a:lnTo>
                  <a:lnTo>
                    <a:pt x="186" y="144"/>
                  </a:lnTo>
                  <a:lnTo>
                    <a:pt x="188" y="144"/>
                  </a:lnTo>
                  <a:lnTo>
                    <a:pt x="190" y="144"/>
                  </a:lnTo>
                  <a:lnTo>
                    <a:pt x="192" y="144"/>
                  </a:lnTo>
                  <a:lnTo>
                    <a:pt x="194" y="144"/>
                  </a:lnTo>
                  <a:lnTo>
                    <a:pt x="196" y="144"/>
                  </a:lnTo>
                  <a:lnTo>
                    <a:pt x="198" y="144"/>
                  </a:lnTo>
                  <a:lnTo>
                    <a:pt x="200" y="144"/>
                  </a:lnTo>
                  <a:lnTo>
                    <a:pt x="202" y="146"/>
                  </a:lnTo>
                  <a:lnTo>
                    <a:pt x="204" y="146"/>
                  </a:lnTo>
                  <a:lnTo>
                    <a:pt x="204" y="146"/>
                  </a:lnTo>
                  <a:lnTo>
                    <a:pt x="204" y="148"/>
                  </a:lnTo>
                  <a:lnTo>
                    <a:pt x="206" y="148"/>
                  </a:lnTo>
                  <a:lnTo>
                    <a:pt x="206" y="150"/>
                  </a:lnTo>
                  <a:lnTo>
                    <a:pt x="206" y="152"/>
                  </a:lnTo>
                  <a:lnTo>
                    <a:pt x="206" y="152"/>
                  </a:lnTo>
                  <a:lnTo>
                    <a:pt x="206" y="154"/>
                  </a:lnTo>
                  <a:lnTo>
                    <a:pt x="206" y="158"/>
                  </a:lnTo>
                  <a:lnTo>
                    <a:pt x="204" y="160"/>
                  </a:lnTo>
                  <a:lnTo>
                    <a:pt x="204" y="164"/>
                  </a:lnTo>
                  <a:lnTo>
                    <a:pt x="204" y="166"/>
                  </a:lnTo>
                  <a:lnTo>
                    <a:pt x="204" y="166"/>
                  </a:lnTo>
                  <a:lnTo>
                    <a:pt x="204" y="168"/>
                  </a:lnTo>
                  <a:lnTo>
                    <a:pt x="204" y="170"/>
                  </a:lnTo>
                  <a:lnTo>
                    <a:pt x="204" y="170"/>
                  </a:lnTo>
                  <a:lnTo>
                    <a:pt x="204" y="170"/>
                  </a:lnTo>
                  <a:lnTo>
                    <a:pt x="206" y="172"/>
                  </a:lnTo>
                  <a:lnTo>
                    <a:pt x="210" y="174"/>
                  </a:lnTo>
                  <a:lnTo>
                    <a:pt x="210" y="176"/>
                  </a:lnTo>
                  <a:lnTo>
                    <a:pt x="212" y="176"/>
                  </a:lnTo>
                  <a:lnTo>
                    <a:pt x="212" y="178"/>
                  </a:lnTo>
                  <a:lnTo>
                    <a:pt x="212" y="178"/>
                  </a:lnTo>
                  <a:lnTo>
                    <a:pt x="214" y="178"/>
                  </a:lnTo>
                  <a:lnTo>
                    <a:pt x="214" y="180"/>
                  </a:lnTo>
                  <a:lnTo>
                    <a:pt x="214" y="180"/>
                  </a:lnTo>
                  <a:lnTo>
                    <a:pt x="212" y="180"/>
                  </a:lnTo>
                  <a:lnTo>
                    <a:pt x="212" y="182"/>
                  </a:lnTo>
                  <a:lnTo>
                    <a:pt x="212" y="182"/>
                  </a:lnTo>
                  <a:lnTo>
                    <a:pt x="210" y="184"/>
                  </a:lnTo>
                  <a:lnTo>
                    <a:pt x="208" y="186"/>
                  </a:lnTo>
                  <a:lnTo>
                    <a:pt x="206" y="186"/>
                  </a:lnTo>
                  <a:lnTo>
                    <a:pt x="210" y="194"/>
                  </a:lnTo>
                  <a:lnTo>
                    <a:pt x="214" y="200"/>
                  </a:lnTo>
                  <a:lnTo>
                    <a:pt x="216" y="204"/>
                  </a:lnTo>
                  <a:lnTo>
                    <a:pt x="218" y="206"/>
                  </a:lnTo>
                  <a:lnTo>
                    <a:pt x="218" y="208"/>
                  </a:lnTo>
                  <a:lnTo>
                    <a:pt x="218" y="210"/>
                  </a:lnTo>
                  <a:lnTo>
                    <a:pt x="220" y="212"/>
                  </a:lnTo>
                  <a:lnTo>
                    <a:pt x="220" y="214"/>
                  </a:lnTo>
                  <a:lnTo>
                    <a:pt x="220" y="216"/>
                  </a:lnTo>
                  <a:lnTo>
                    <a:pt x="222" y="216"/>
                  </a:lnTo>
                  <a:lnTo>
                    <a:pt x="222" y="216"/>
                  </a:lnTo>
                  <a:lnTo>
                    <a:pt x="222" y="216"/>
                  </a:lnTo>
                  <a:lnTo>
                    <a:pt x="224" y="216"/>
                  </a:lnTo>
                  <a:lnTo>
                    <a:pt x="224" y="216"/>
                  </a:lnTo>
                  <a:lnTo>
                    <a:pt x="226" y="216"/>
                  </a:lnTo>
                  <a:lnTo>
                    <a:pt x="228" y="216"/>
                  </a:lnTo>
                  <a:lnTo>
                    <a:pt x="230" y="214"/>
                  </a:lnTo>
                  <a:lnTo>
                    <a:pt x="236" y="212"/>
                  </a:lnTo>
                  <a:lnTo>
                    <a:pt x="238" y="212"/>
                  </a:lnTo>
                  <a:lnTo>
                    <a:pt x="238" y="212"/>
                  </a:lnTo>
                  <a:lnTo>
                    <a:pt x="240" y="212"/>
                  </a:lnTo>
                  <a:lnTo>
                    <a:pt x="242" y="212"/>
                  </a:lnTo>
                  <a:lnTo>
                    <a:pt x="244" y="212"/>
                  </a:lnTo>
                  <a:lnTo>
                    <a:pt x="248" y="212"/>
                  </a:lnTo>
                  <a:lnTo>
                    <a:pt x="252" y="212"/>
                  </a:lnTo>
                  <a:lnTo>
                    <a:pt x="256" y="214"/>
                  </a:lnTo>
                  <a:lnTo>
                    <a:pt x="260" y="214"/>
                  </a:lnTo>
                  <a:lnTo>
                    <a:pt x="262" y="216"/>
                  </a:lnTo>
                  <a:lnTo>
                    <a:pt x="264" y="216"/>
                  </a:lnTo>
                  <a:lnTo>
                    <a:pt x="268" y="218"/>
                  </a:lnTo>
                  <a:lnTo>
                    <a:pt x="270" y="218"/>
                  </a:lnTo>
                  <a:lnTo>
                    <a:pt x="270" y="220"/>
                  </a:lnTo>
                  <a:lnTo>
                    <a:pt x="272" y="220"/>
                  </a:lnTo>
                  <a:lnTo>
                    <a:pt x="272" y="222"/>
                  </a:lnTo>
                  <a:lnTo>
                    <a:pt x="272" y="222"/>
                  </a:lnTo>
                  <a:lnTo>
                    <a:pt x="272" y="224"/>
                  </a:lnTo>
                  <a:lnTo>
                    <a:pt x="274" y="224"/>
                  </a:lnTo>
                  <a:lnTo>
                    <a:pt x="274" y="226"/>
                  </a:lnTo>
                  <a:lnTo>
                    <a:pt x="274" y="228"/>
                  </a:lnTo>
                  <a:lnTo>
                    <a:pt x="274" y="232"/>
                  </a:lnTo>
                  <a:lnTo>
                    <a:pt x="274" y="238"/>
                  </a:lnTo>
                  <a:lnTo>
                    <a:pt x="274" y="240"/>
                  </a:lnTo>
                  <a:lnTo>
                    <a:pt x="274" y="242"/>
                  </a:lnTo>
                  <a:lnTo>
                    <a:pt x="274" y="242"/>
                  </a:lnTo>
                  <a:lnTo>
                    <a:pt x="274" y="246"/>
                  </a:lnTo>
                  <a:lnTo>
                    <a:pt x="276" y="250"/>
                  </a:lnTo>
                  <a:lnTo>
                    <a:pt x="276" y="252"/>
                  </a:lnTo>
                  <a:lnTo>
                    <a:pt x="276" y="254"/>
                  </a:lnTo>
                  <a:lnTo>
                    <a:pt x="278" y="254"/>
                  </a:lnTo>
                  <a:lnTo>
                    <a:pt x="278" y="256"/>
                  </a:lnTo>
                  <a:lnTo>
                    <a:pt x="278" y="256"/>
                  </a:lnTo>
                  <a:lnTo>
                    <a:pt x="280" y="258"/>
                  </a:lnTo>
                  <a:lnTo>
                    <a:pt x="282" y="258"/>
                  </a:lnTo>
                  <a:lnTo>
                    <a:pt x="284" y="260"/>
                  </a:lnTo>
                  <a:lnTo>
                    <a:pt x="288" y="262"/>
                  </a:lnTo>
                  <a:lnTo>
                    <a:pt x="294" y="264"/>
                  </a:lnTo>
                  <a:lnTo>
                    <a:pt x="296" y="264"/>
                  </a:lnTo>
                  <a:lnTo>
                    <a:pt x="298" y="266"/>
                  </a:lnTo>
                  <a:lnTo>
                    <a:pt x="302" y="270"/>
                  </a:lnTo>
                  <a:lnTo>
                    <a:pt x="306" y="272"/>
                  </a:lnTo>
                  <a:lnTo>
                    <a:pt x="312" y="266"/>
                  </a:lnTo>
                  <a:lnTo>
                    <a:pt x="318" y="262"/>
                  </a:lnTo>
                  <a:lnTo>
                    <a:pt x="320" y="260"/>
                  </a:lnTo>
                  <a:lnTo>
                    <a:pt x="322" y="260"/>
                  </a:lnTo>
                  <a:lnTo>
                    <a:pt x="324" y="258"/>
                  </a:lnTo>
                  <a:lnTo>
                    <a:pt x="326" y="258"/>
                  </a:lnTo>
                  <a:lnTo>
                    <a:pt x="330" y="256"/>
                  </a:lnTo>
                  <a:lnTo>
                    <a:pt x="336" y="256"/>
                  </a:lnTo>
                  <a:lnTo>
                    <a:pt x="340" y="254"/>
                  </a:lnTo>
                  <a:lnTo>
                    <a:pt x="346" y="252"/>
                  </a:lnTo>
                  <a:lnTo>
                    <a:pt x="350" y="252"/>
                  </a:lnTo>
                  <a:lnTo>
                    <a:pt x="352" y="250"/>
                  </a:lnTo>
                  <a:lnTo>
                    <a:pt x="354" y="250"/>
                  </a:lnTo>
                  <a:lnTo>
                    <a:pt x="356" y="248"/>
                  </a:lnTo>
                  <a:lnTo>
                    <a:pt x="358" y="248"/>
                  </a:lnTo>
                  <a:lnTo>
                    <a:pt x="358" y="246"/>
                  </a:lnTo>
                  <a:lnTo>
                    <a:pt x="360" y="246"/>
                  </a:lnTo>
                  <a:lnTo>
                    <a:pt x="360" y="244"/>
                  </a:lnTo>
                  <a:lnTo>
                    <a:pt x="360" y="244"/>
                  </a:lnTo>
                  <a:lnTo>
                    <a:pt x="362" y="242"/>
                  </a:lnTo>
                  <a:lnTo>
                    <a:pt x="362" y="242"/>
                  </a:lnTo>
                  <a:lnTo>
                    <a:pt x="362" y="240"/>
                  </a:lnTo>
                  <a:lnTo>
                    <a:pt x="362" y="240"/>
                  </a:lnTo>
                  <a:lnTo>
                    <a:pt x="362" y="238"/>
                  </a:lnTo>
                  <a:lnTo>
                    <a:pt x="362" y="238"/>
                  </a:lnTo>
                  <a:lnTo>
                    <a:pt x="360" y="236"/>
                  </a:lnTo>
                  <a:lnTo>
                    <a:pt x="360" y="234"/>
                  </a:lnTo>
                  <a:lnTo>
                    <a:pt x="358" y="232"/>
                  </a:lnTo>
                  <a:lnTo>
                    <a:pt x="356" y="232"/>
                  </a:lnTo>
                  <a:lnTo>
                    <a:pt x="354" y="230"/>
                  </a:lnTo>
                  <a:lnTo>
                    <a:pt x="352" y="228"/>
                  </a:lnTo>
                  <a:lnTo>
                    <a:pt x="350" y="228"/>
                  </a:lnTo>
                  <a:lnTo>
                    <a:pt x="350" y="228"/>
                  </a:lnTo>
                  <a:lnTo>
                    <a:pt x="350" y="228"/>
                  </a:lnTo>
                  <a:lnTo>
                    <a:pt x="348" y="228"/>
                  </a:lnTo>
                  <a:lnTo>
                    <a:pt x="346" y="228"/>
                  </a:lnTo>
                  <a:lnTo>
                    <a:pt x="344" y="230"/>
                  </a:lnTo>
                  <a:lnTo>
                    <a:pt x="342" y="230"/>
                  </a:lnTo>
                  <a:lnTo>
                    <a:pt x="340" y="230"/>
                  </a:lnTo>
                  <a:lnTo>
                    <a:pt x="340" y="230"/>
                  </a:lnTo>
                  <a:lnTo>
                    <a:pt x="338" y="230"/>
                  </a:lnTo>
                  <a:lnTo>
                    <a:pt x="338" y="230"/>
                  </a:lnTo>
                  <a:lnTo>
                    <a:pt x="336" y="230"/>
                  </a:lnTo>
                  <a:lnTo>
                    <a:pt x="334" y="230"/>
                  </a:lnTo>
                  <a:lnTo>
                    <a:pt x="334" y="228"/>
                  </a:lnTo>
                  <a:lnTo>
                    <a:pt x="330" y="226"/>
                  </a:lnTo>
                  <a:lnTo>
                    <a:pt x="330" y="224"/>
                  </a:lnTo>
                  <a:lnTo>
                    <a:pt x="328" y="224"/>
                  </a:lnTo>
                  <a:lnTo>
                    <a:pt x="328" y="222"/>
                  </a:lnTo>
                  <a:lnTo>
                    <a:pt x="326" y="222"/>
                  </a:lnTo>
                  <a:lnTo>
                    <a:pt x="326" y="220"/>
                  </a:lnTo>
                  <a:lnTo>
                    <a:pt x="326" y="220"/>
                  </a:lnTo>
                  <a:lnTo>
                    <a:pt x="326" y="220"/>
                  </a:lnTo>
                  <a:lnTo>
                    <a:pt x="326" y="218"/>
                  </a:lnTo>
                  <a:lnTo>
                    <a:pt x="328" y="218"/>
                  </a:lnTo>
                  <a:lnTo>
                    <a:pt x="328" y="216"/>
                  </a:lnTo>
                  <a:lnTo>
                    <a:pt x="330" y="214"/>
                  </a:lnTo>
                  <a:lnTo>
                    <a:pt x="330" y="214"/>
                  </a:lnTo>
                  <a:lnTo>
                    <a:pt x="332" y="212"/>
                  </a:lnTo>
                  <a:lnTo>
                    <a:pt x="334" y="212"/>
                  </a:lnTo>
                  <a:lnTo>
                    <a:pt x="334" y="210"/>
                  </a:lnTo>
                  <a:lnTo>
                    <a:pt x="334" y="210"/>
                  </a:lnTo>
                  <a:lnTo>
                    <a:pt x="334" y="210"/>
                  </a:lnTo>
                  <a:lnTo>
                    <a:pt x="334" y="208"/>
                  </a:lnTo>
                  <a:lnTo>
                    <a:pt x="332" y="206"/>
                  </a:lnTo>
                  <a:lnTo>
                    <a:pt x="332" y="204"/>
                  </a:lnTo>
                  <a:lnTo>
                    <a:pt x="332" y="202"/>
                  </a:lnTo>
                  <a:lnTo>
                    <a:pt x="332" y="200"/>
                  </a:lnTo>
                  <a:lnTo>
                    <a:pt x="330" y="198"/>
                  </a:lnTo>
                  <a:lnTo>
                    <a:pt x="330" y="198"/>
                  </a:lnTo>
                  <a:lnTo>
                    <a:pt x="332" y="198"/>
                  </a:lnTo>
                  <a:lnTo>
                    <a:pt x="332" y="196"/>
                  </a:lnTo>
                  <a:lnTo>
                    <a:pt x="334" y="194"/>
                  </a:lnTo>
                  <a:lnTo>
                    <a:pt x="334" y="192"/>
                  </a:lnTo>
                  <a:lnTo>
                    <a:pt x="336" y="192"/>
                  </a:lnTo>
                  <a:lnTo>
                    <a:pt x="338" y="190"/>
                  </a:lnTo>
                  <a:lnTo>
                    <a:pt x="338" y="190"/>
                  </a:lnTo>
                  <a:lnTo>
                    <a:pt x="340" y="188"/>
                  </a:lnTo>
                  <a:lnTo>
                    <a:pt x="342" y="188"/>
                  </a:lnTo>
                  <a:lnTo>
                    <a:pt x="342" y="188"/>
                  </a:lnTo>
                  <a:lnTo>
                    <a:pt x="342" y="188"/>
                  </a:lnTo>
                  <a:lnTo>
                    <a:pt x="344" y="190"/>
                  </a:lnTo>
                  <a:lnTo>
                    <a:pt x="344" y="190"/>
                  </a:lnTo>
                  <a:lnTo>
                    <a:pt x="346" y="192"/>
                  </a:lnTo>
                  <a:lnTo>
                    <a:pt x="346" y="194"/>
                  </a:lnTo>
                  <a:lnTo>
                    <a:pt x="348" y="196"/>
                  </a:lnTo>
                  <a:lnTo>
                    <a:pt x="350" y="198"/>
                  </a:lnTo>
                  <a:lnTo>
                    <a:pt x="350" y="200"/>
                  </a:lnTo>
                  <a:lnTo>
                    <a:pt x="352" y="200"/>
                  </a:lnTo>
                  <a:lnTo>
                    <a:pt x="352" y="200"/>
                  </a:lnTo>
                  <a:lnTo>
                    <a:pt x="354" y="202"/>
                  </a:lnTo>
                  <a:lnTo>
                    <a:pt x="354" y="202"/>
                  </a:lnTo>
                  <a:lnTo>
                    <a:pt x="356" y="202"/>
                  </a:lnTo>
                  <a:lnTo>
                    <a:pt x="356" y="202"/>
                  </a:lnTo>
                  <a:lnTo>
                    <a:pt x="356" y="202"/>
                  </a:lnTo>
                  <a:lnTo>
                    <a:pt x="356" y="200"/>
                  </a:lnTo>
                  <a:lnTo>
                    <a:pt x="356" y="200"/>
                  </a:lnTo>
                  <a:lnTo>
                    <a:pt x="358" y="198"/>
                  </a:lnTo>
                  <a:lnTo>
                    <a:pt x="358" y="196"/>
                  </a:lnTo>
                  <a:lnTo>
                    <a:pt x="360" y="194"/>
                  </a:lnTo>
                  <a:lnTo>
                    <a:pt x="360" y="192"/>
                  </a:lnTo>
                  <a:lnTo>
                    <a:pt x="360" y="192"/>
                  </a:lnTo>
                  <a:lnTo>
                    <a:pt x="362" y="192"/>
                  </a:lnTo>
                  <a:lnTo>
                    <a:pt x="362" y="190"/>
                  </a:lnTo>
                  <a:lnTo>
                    <a:pt x="364" y="188"/>
                  </a:lnTo>
                  <a:lnTo>
                    <a:pt x="368" y="188"/>
                  </a:lnTo>
                  <a:lnTo>
                    <a:pt x="370" y="188"/>
                  </a:lnTo>
                  <a:lnTo>
                    <a:pt x="372" y="186"/>
                  </a:lnTo>
                  <a:lnTo>
                    <a:pt x="376" y="186"/>
                  </a:lnTo>
                  <a:lnTo>
                    <a:pt x="378" y="186"/>
                  </a:lnTo>
                  <a:lnTo>
                    <a:pt x="378" y="186"/>
                  </a:lnTo>
                  <a:lnTo>
                    <a:pt x="380" y="186"/>
                  </a:lnTo>
                  <a:lnTo>
                    <a:pt x="380" y="186"/>
                  </a:lnTo>
                  <a:lnTo>
                    <a:pt x="380" y="186"/>
                  </a:lnTo>
                  <a:lnTo>
                    <a:pt x="382" y="188"/>
                  </a:lnTo>
                  <a:lnTo>
                    <a:pt x="384" y="190"/>
                  </a:lnTo>
                  <a:lnTo>
                    <a:pt x="384" y="192"/>
                  </a:lnTo>
                  <a:lnTo>
                    <a:pt x="386" y="192"/>
                  </a:lnTo>
                  <a:lnTo>
                    <a:pt x="388" y="194"/>
                  </a:lnTo>
                  <a:lnTo>
                    <a:pt x="388" y="196"/>
                  </a:lnTo>
                  <a:lnTo>
                    <a:pt x="390" y="196"/>
                  </a:lnTo>
                  <a:lnTo>
                    <a:pt x="390" y="196"/>
                  </a:lnTo>
                  <a:lnTo>
                    <a:pt x="392" y="196"/>
                  </a:lnTo>
                  <a:lnTo>
                    <a:pt x="394" y="196"/>
                  </a:lnTo>
                  <a:lnTo>
                    <a:pt x="396" y="196"/>
                  </a:lnTo>
                  <a:lnTo>
                    <a:pt x="398" y="196"/>
                  </a:lnTo>
                  <a:lnTo>
                    <a:pt x="402" y="196"/>
                  </a:lnTo>
                  <a:lnTo>
                    <a:pt x="406" y="194"/>
                  </a:lnTo>
                  <a:lnTo>
                    <a:pt x="414" y="192"/>
                  </a:lnTo>
                  <a:lnTo>
                    <a:pt x="418" y="192"/>
                  </a:lnTo>
                  <a:lnTo>
                    <a:pt x="420" y="192"/>
                  </a:lnTo>
                  <a:lnTo>
                    <a:pt x="422" y="192"/>
                  </a:lnTo>
                  <a:lnTo>
                    <a:pt x="426" y="190"/>
                  </a:lnTo>
                  <a:lnTo>
                    <a:pt x="432" y="192"/>
                  </a:lnTo>
                  <a:lnTo>
                    <a:pt x="434" y="192"/>
                  </a:lnTo>
                  <a:lnTo>
                    <a:pt x="436" y="192"/>
                  </a:lnTo>
                  <a:lnTo>
                    <a:pt x="438" y="192"/>
                  </a:lnTo>
                  <a:lnTo>
                    <a:pt x="440" y="192"/>
                  </a:lnTo>
                  <a:lnTo>
                    <a:pt x="442" y="192"/>
                  </a:lnTo>
                  <a:lnTo>
                    <a:pt x="442" y="194"/>
                  </a:lnTo>
                  <a:lnTo>
                    <a:pt x="446" y="196"/>
                  </a:lnTo>
                  <a:lnTo>
                    <a:pt x="448" y="198"/>
                  </a:lnTo>
                  <a:lnTo>
                    <a:pt x="450" y="200"/>
                  </a:lnTo>
                  <a:lnTo>
                    <a:pt x="456" y="204"/>
                  </a:lnTo>
                  <a:lnTo>
                    <a:pt x="458" y="206"/>
                  </a:lnTo>
                  <a:lnTo>
                    <a:pt x="460" y="202"/>
                  </a:lnTo>
                  <a:lnTo>
                    <a:pt x="462" y="200"/>
                  </a:lnTo>
                  <a:lnTo>
                    <a:pt x="462" y="198"/>
                  </a:lnTo>
                  <a:lnTo>
                    <a:pt x="462" y="198"/>
                  </a:lnTo>
                  <a:lnTo>
                    <a:pt x="462" y="196"/>
                  </a:lnTo>
                  <a:lnTo>
                    <a:pt x="464" y="196"/>
                  </a:lnTo>
                  <a:lnTo>
                    <a:pt x="464" y="192"/>
                  </a:lnTo>
                  <a:lnTo>
                    <a:pt x="464" y="190"/>
                  </a:lnTo>
                  <a:lnTo>
                    <a:pt x="462" y="188"/>
                  </a:lnTo>
                  <a:lnTo>
                    <a:pt x="462" y="184"/>
                  </a:lnTo>
                  <a:lnTo>
                    <a:pt x="462" y="182"/>
                  </a:lnTo>
                  <a:lnTo>
                    <a:pt x="462" y="180"/>
                  </a:lnTo>
                  <a:lnTo>
                    <a:pt x="464" y="180"/>
                  </a:lnTo>
                  <a:lnTo>
                    <a:pt x="464" y="178"/>
                  </a:lnTo>
                  <a:lnTo>
                    <a:pt x="464" y="178"/>
                  </a:lnTo>
                  <a:lnTo>
                    <a:pt x="464" y="176"/>
                  </a:lnTo>
                  <a:lnTo>
                    <a:pt x="466" y="176"/>
                  </a:lnTo>
                  <a:lnTo>
                    <a:pt x="466" y="174"/>
                  </a:lnTo>
                  <a:lnTo>
                    <a:pt x="468" y="174"/>
                  </a:lnTo>
                  <a:lnTo>
                    <a:pt x="470" y="172"/>
                  </a:lnTo>
                  <a:lnTo>
                    <a:pt x="474" y="172"/>
                  </a:lnTo>
                  <a:lnTo>
                    <a:pt x="476" y="170"/>
                  </a:lnTo>
                  <a:lnTo>
                    <a:pt x="478" y="170"/>
                  </a:lnTo>
                  <a:lnTo>
                    <a:pt x="480" y="170"/>
                  </a:lnTo>
                  <a:lnTo>
                    <a:pt x="480" y="170"/>
                  </a:lnTo>
                  <a:lnTo>
                    <a:pt x="480" y="170"/>
                  </a:lnTo>
                  <a:lnTo>
                    <a:pt x="484" y="170"/>
                  </a:lnTo>
                  <a:lnTo>
                    <a:pt x="486" y="172"/>
                  </a:lnTo>
                  <a:lnTo>
                    <a:pt x="488" y="174"/>
                  </a:lnTo>
                  <a:lnTo>
                    <a:pt x="490" y="174"/>
                  </a:lnTo>
                  <a:lnTo>
                    <a:pt x="492" y="176"/>
                  </a:lnTo>
                  <a:lnTo>
                    <a:pt x="494" y="176"/>
                  </a:lnTo>
                  <a:lnTo>
                    <a:pt x="496" y="176"/>
                  </a:lnTo>
                  <a:lnTo>
                    <a:pt x="496" y="176"/>
                  </a:lnTo>
                  <a:lnTo>
                    <a:pt x="496" y="174"/>
                  </a:lnTo>
                  <a:lnTo>
                    <a:pt x="498" y="174"/>
                  </a:lnTo>
                  <a:lnTo>
                    <a:pt x="498" y="174"/>
                  </a:lnTo>
                  <a:lnTo>
                    <a:pt x="498" y="174"/>
                  </a:lnTo>
                  <a:lnTo>
                    <a:pt x="498" y="172"/>
                  </a:lnTo>
                  <a:lnTo>
                    <a:pt x="500" y="170"/>
                  </a:lnTo>
                  <a:lnTo>
                    <a:pt x="500" y="170"/>
                  </a:lnTo>
                  <a:lnTo>
                    <a:pt x="500" y="166"/>
                  </a:lnTo>
                  <a:lnTo>
                    <a:pt x="500" y="164"/>
                  </a:lnTo>
                  <a:lnTo>
                    <a:pt x="502" y="160"/>
                  </a:lnTo>
                  <a:lnTo>
                    <a:pt x="502" y="154"/>
                  </a:lnTo>
                  <a:lnTo>
                    <a:pt x="502" y="150"/>
                  </a:lnTo>
                  <a:lnTo>
                    <a:pt x="502" y="148"/>
                  </a:lnTo>
                  <a:lnTo>
                    <a:pt x="502" y="146"/>
                  </a:lnTo>
                  <a:lnTo>
                    <a:pt x="502" y="144"/>
                  </a:lnTo>
                  <a:lnTo>
                    <a:pt x="502" y="142"/>
                  </a:lnTo>
                  <a:lnTo>
                    <a:pt x="504" y="142"/>
                  </a:lnTo>
                  <a:lnTo>
                    <a:pt x="504" y="140"/>
                  </a:lnTo>
                  <a:lnTo>
                    <a:pt x="506" y="138"/>
                  </a:lnTo>
                  <a:lnTo>
                    <a:pt x="508" y="136"/>
                  </a:lnTo>
                  <a:lnTo>
                    <a:pt x="510" y="136"/>
                  </a:lnTo>
                  <a:lnTo>
                    <a:pt x="510" y="134"/>
                  </a:lnTo>
                  <a:lnTo>
                    <a:pt x="512" y="134"/>
                  </a:lnTo>
                  <a:lnTo>
                    <a:pt x="512" y="134"/>
                  </a:lnTo>
                  <a:lnTo>
                    <a:pt x="516" y="134"/>
                  </a:lnTo>
                  <a:lnTo>
                    <a:pt x="518" y="134"/>
                  </a:lnTo>
                  <a:lnTo>
                    <a:pt x="520" y="134"/>
                  </a:lnTo>
                  <a:lnTo>
                    <a:pt x="520" y="132"/>
                  </a:lnTo>
                  <a:lnTo>
                    <a:pt x="522" y="132"/>
                  </a:lnTo>
                  <a:lnTo>
                    <a:pt x="522" y="132"/>
                  </a:lnTo>
                  <a:lnTo>
                    <a:pt x="522" y="132"/>
                  </a:lnTo>
                  <a:lnTo>
                    <a:pt x="522" y="132"/>
                  </a:lnTo>
                  <a:lnTo>
                    <a:pt x="524" y="130"/>
                  </a:lnTo>
                  <a:lnTo>
                    <a:pt x="524" y="128"/>
                  </a:lnTo>
                  <a:lnTo>
                    <a:pt x="524" y="126"/>
                  </a:lnTo>
                  <a:lnTo>
                    <a:pt x="524" y="124"/>
                  </a:lnTo>
                  <a:lnTo>
                    <a:pt x="524" y="122"/>
                  </a:lnTo>
                  <a:lnTo>
                    <a:pt x="526" y="120"/>
                  </a:lnTo>
                  <a:lnTo>
                    <a:pt x="526" y="120"/>
                  </a:lnTo>
                  <a:lnTo>
                    <a:pt x="528" y="120"/>
                  </a:lnTo>
                  <a:lnTo>
                    <a:pt x="530" y="116"/>
                  </a:lnTo>
                  <a:lnTo>
                    <a:pt x="534" y="116"/>
                  </a:lnTo>
                  <a:lnTo>
                    <a:pt x="534" y="11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2" name="Freeform 49">
              <a:extLst>
                <a:ext uri="{FF2B5EF4-FFF2-40B4-BE49-F238E27FC236}">
                  <a16:creationId xmlns:a16="http://schemas.microsoft.com/office/drawing/2014/main" id="{16A685BC-B744-4BD9-9D18-D589EAD49FF9}"/>
                </a:ext>
              </a:extLst>
            </p:cNvPr>
            <p:cNvSpPr>
              <a:spLocks/>
            </p:cNvSpPr>
            <p:nvPr/>
          </p:nvSpPr>
          <p:spPr bwMode="auto">
            <a:xfrm>
              <a:off x="5966645" y="3295192"/>
              <a:ext cx="263275" cy="197457"/>
            </a:xfrm>
            <a:custGeom>
              <a:avLst/>
              <a:gdLst>
                <a:gd name="T0" fmla="*/ 120 w 152"/>
                <a:gd name="T1" fmla="*/ 34 h 114"/>
                <a:gd name="T2" fmla="*/ 124 w 152"/>
                <a:gd name="T3" fmla="*/ 36 h 114"/>
                <a:gd name="T4" fmla="*/ 130 w 152"/>
                <a:gd name="T5" fmla="*/ 38 h 114"/>
                <a:gd name="T6" fmla="*/ 132 w 152"/>
                <a:gd name="T7" fmla="*/ 44 h 114"/>
                <a:gd name="T8" fmla="*/ 134 w 152"/>
                <a:gd name="T9" fmla="*/ 56 h 114"/>
                <a:gd name="T10" fmla="*/ 132 w 152"/>
                <a:gd name="T11" fmla="*/ 66 h 114"/>
                <a:gd name="T12" fmla="*/ 130 w 152"/>
                <a:gd name="T13" fmla="*/ 76 h 114"/>
                <a:gd name="T14" fmla="*/ 126 w 152"/>
                <a:gd name="T15" fmla="*/ 80 h 114"/>
                <a:gd name="T16" fmla="*/ 118 w 152"/>
                <a:gd name="T17" fmla="*/ 82 h 114"/>
                <a:gd name="T18" fmla="*/ 116 w 152"/>
                <a:gd name="T19" fmla="*/ 88 h 114"/>
                <a:gd name="T20" fmla="*/ 112 w 152"/>
                <a:gd name="T21" fmla="*/ 92 h 114"/>
                <a:gd name="T22" fmla="*/ 104 w 152"/>
                <a:gd name="T23" fmla="*/ 94 h 114"/>
                <a:gd name="T24" fmla="*/ 92 w 152"/>
                <a:gd name="T25" fmla="*/ 94 h 114"/>
                <a:gd name="T26" fmla="*/ 88 w 152"/>
                <a:gd name="T27" fmla="*/ 98 h 114"/>
                <a:gd name="T28" fmla="*/ 88 w 152"/>
                <a:gd name="T29" fmla="*/ 100 h 114"/>
                <a:gd name="T30" fmla="*/ 88 w 152"/>
                <a:gd name="T31" fmla="*/ 106 h 114"/>
                <a:gd name="T32" fmla="*/ 84 w 152"/>
                <a:gd name="T33" fmla="*/ 114 h 114"/>
                <a:gd name="T34" fmla="*/ 78 w 152"/>
                <a:gd name="T35" fmla="*/ 96 h 114"/>
                <a:gd name="T36" fmla="*/ 74 w 152"/>
                <a:gd name="T37" fmla="*/ 84 h 114"/>
                <a:gd name="T38" fmla="*/ 70 w 152"/>
                <a:gd name="T39" fmla="*/ 78 h 114"/>
                <a:gd name="T40" fmla="*/ 68 w 152"/>
                <a:gd name="T41" fmla="*/ 78 h 114"/>
                <a:gd name="T42" fmla="*/ 64 w 152"/>
                <a:gd name="T43" fmla="*/ 80 h 114"/>
                <a:gd name="T44" fmla="*/ 54 w 152"/>
                <a:gd name="T45" fmla="*/ 88 h 114"/>
                <a:gd name="T46" fmla="*/ 48 w 152"/>
                <a:gd name="T47" fmla="*/ 90 h 114"/>
                <a:gd name="T48" fmla="*/ 34 w 152"/>
                <a:gd name="T49" fmla="*/ 92 h 114"/>
                <a:gd name="T50" fmla="*/ 16 w 152"/>
                <a:gd name="T51" fmla="*/ 88 h 114"/>
                <a:gd name="T52" fmla="*/ 12 w 152"/>
                <a:gd name="T53" fmla="*/ 76 h 114"/>
                <a:gd name="T54" fmla="*/ 22 w 152"/>
                <a:gd name="T55" fmla="*/ 72 h 114"/>
                <a:gd name="T56" fmla="*/ 40 w 152"/>
                <a:gd name="T57" fmla="*/ 66 h 114"/>
                <a:gd name="T58" fmla="*/ 52 w 152"/>
                <a:gd name="T59" fmla="*/ 62 h 114"/>
                <a:gd name="T60" fmla="*/ 54 w 152"/>
                <a:gd name="T61" fmla="*/ 58 h 114"/>
                <a:gd name="T62" fmla="*/ 58 w 152"/>
                <a:gd name="T63" fmla="*/ 54 h 114"/>
                <a:gd name="T64" fmla="*/ 56 w 152"/>
                <a:gd name="T65" fmla="*/ 50 h 114"/>
                <a:gd name="T66" fmla="*/ 48 w 152"/>
                <a:gd name="T67" fmla="*/ 44 h 114"/>
                <a:gd name="T68" fmla="*/ 44 w 152"/>
                <a:gd name="T69" fmla="*/ 42 h 114"/>
                <a:gd name="T70" fmla="*/ 38 w 152"/>
                <a:gd name="T71" fmla="*/ 44 h 114"/>
                <a:gd name="T72" fmla="*/ 34 w 152"/>
                <a:gd name="T73" fmla="*/ 44 h 114"/>
                <a:gd name="T74" fmla="*/ 26 w 152"/>
                <a:gd name="T75" fmla="*/ 40 h 114"/>
                <a:gd name="T76" fmla="*/ 22 w 152"/>
                <a:gd name="T77" fmla="*/ 36 h 114"/>
                <a:gd name="T78" fmla="*/ 22 w 152"/>
                <a:gd name="T79" fmla="*/ 32 h 114"/>
                <a:gd name="T80" fmla="*/ 26 w 152"/>
                <a:gd name="T81" fmla="*/ 26 h 114"/>
                <a:gd name="T82" fmla="*/ 28 w 152"/>
                <a:gd name="T83" fmla="*/ 24 h 114"/>
                <a:gd name="T84" fmla="*/ 28 w 152"/>
                <a:gd name="T85" fmla="*/ 18 h 114"/>
                <a:gd name="T86" fmla="*/ 26 w 152"/>
                <a:gd name="T87" fmla="*/ 12 h 114"/>
                <a:gd name="T88" fmla="*/ 30 w 152"/>
                <a:gd name="T89" fmla="*/ 6 h 114"/>
                <a:gd name="T90" fmla="*/ 36 w 152"/>
                <a:gd name="T91" fmla="*/ 2 h 114"/>
                <a:gd name="T92" fmla="*/ 38 w 152"/>
                <a:gd name="T93" fmla="*/ 2 h 114"/>
                <a:gd name="T94" fmla="*/ 44 w 152"/>
                <a:gd name="T95" fmla="*/ 8 h 114"/>
                <a:gd name="T96" fmla="*/ 48 w 152"/>
                <a:gd name="T97" fmla="*/ 14 h 114"/>
                <a:gd name="T98" fmla="*/ 50 w 152"/>
                <a:gd name="T99" fmla="*/ 16 h 114"/>
                <a:gd name="T100" fmla="*/ 52 w 152"/>
                <a:gd name="T101" fmla="*/ 12 h 114"/>
                <a:gd name="T102" fmla="*/ 56 w 152"/>
                <a:gd name="T103" fmla="*/ 4 h 114"/>
                <a:gd name="T104" fmla="*/ 62 w 152"/>
                <a:gd name="T105" fmla="*/ 2 h 114"/>
                <a:gd name="T106" fmla="*/ 72 w 152"/>
                <a:gd name="T107" fmla="*/ 0 h 114"/>
                <a:gd name="T108" fmla="*/ 76 w 152"/>
                <a:gd name="T109" fmla="*/ 0 h 114"/>
                <a:gd name="T110" fmla="*/ 82 w 152"/>
                <a:gd name="T111" fmla="*/ 6 h 114"/>
                <a:gd name="T112" fmla="*/ 86 w 152"/>
                <a:gd name="T113" fmla="*/ 10 h 114"/>
                <a:gd name="T114" fmla="*/ 92 w 152"/>
                <a:gd name="T115" fmla="*/ 10 h 114"/>
                <a:gd name="T116" fmla="*/ 114 w 152"/>
                <a:gd name="T117" fmla="*/ 4 h 114"/>
                <a:gd name="T118" fmla="*/ 126 w 152"/>
                <a:gd name="T119" fmla="*/ 4 h 114"/>
                <a:gd name="T120" fmla="*/ 136 w 152"/>
                <a:gd name="T121" fmla="*/ 6 h 114"/>
                <a:gd name="T122" fmla="*/ 144 w 152"/>
                <a:gd name="T123" fmla="*/ 10 h 114"/>
                <a:gd name="T124" fmla="*/ 118 w 152"/>
                <a:gd name="T125" fmla="*/ 3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 h="114">
                  <a:moveTo>
                    <a:pt x="118" y="32"/>
                  </a:moveTo>
                  <a:lnTo>
                    <a:pt x="118" y="32"/>
                  </a:lnTo>
                  <a:lnTo>
                    <a:pt x="118" y="34"/>
                  </a:lnTo>
                  <a:lnTo>
                    <a:pt x="120" y="34"/>
                  </a:lnTo>
                  <a:lnTo>
                    <a:pt x="120" y="34"/>
                  </a:lnTo>
                  <a:lnTo>
                    <a:pt x="120" y="34"/>
                  </a:lnTo>
                  <a:lnTo>
                    <a:pt x="122" y="34"/>
                  </a:lnTo>
                  <a:lnTo>
                    <a:pt x="124" y="36"/>
                  </a:lnTo>
                  <a:lnTo>
                    <a:pt x="126" y="36"/>
                  </a:lnTo>
                  <a:lnTo>
                    <a:pt x="128" y="36"/>
                  </a:lnTo>
                  <a:lnTo>
                    <a:pt x="130" y="36"/>
                  </a:lnTo>
                  <a:lnTo>
                    <a:pt x="130" y="38"/>
                  </a:lnTo>
                  <a:lnTo>
                    <a:pt x="130" y="38"/>
                  </a:lnTo>
                  <a:lnTo>
                    <a:pt x="132" y="40"/>
                  </a:lnTo>
                  <a:lnTo>
                    <a:pt x="132" y="42"/>
                  </a:lnTo>
                  <a:lnTo>
                    <a:pt x="132" y="44"/>
                  </a:lnTo>
                  <a:lnTo>
                    <a:pt x="132" y="46"/>
                  </a:lnTo>
                  <a:lnTo>
                    <a:pt x="134" y="50"/>
                  </a:lnTo>
                  <a:lnTo>
                    <a:pt x="134" y="52"/>
                  </a:lnTo>
                  <a:lnTo>
                    <a:pt x="134" y="56"/>
                  </a:lnTo>
                  <a:lnTo>
                    <a:pt x="134" y="58"/>
                  </a:lnTo>
                  <a:lnTo>
                    <a:pt x="134" y="60"/>
                  </a:lnTo>
                  <a:lnTo>
                    <a:pt x="134" y="64"/>
                  </a:lnTo>
                  <a:lnTo>
                    <a:pt x="132" y="66"/>
                  </a:lnTo>
                  <a:lnTo>
                    <a:pt x="132" y="70"/>
                  </a:lnTo>
                  <a:lnTo>
                    <a:pt x="132" y="72"/>
                  </a:lnTo>
                  <a:lnTo>
                    <a:pt x="130" y="74"/>
                  </a:lnTo>
                  <a:lnTo>
                    <a:pt x="130" y="76"/>
                  </a:lnTo>
                  <a:lnTo>
                    <a:pt x="128" y="78"/>
                  </a:lnTo>
                  <a:lnTo>
                    <a:pt x="128" y="78"/>
                  </a:lnTo>
                  <a:lnTo>
                    <a:pt x="128" y="80"/>
                  </a:lnTo>
                  <a:lnTo>
                    <a:pt x="126" y="80"/>
                  </a:lnTo>
                  <a:lnTo>
                    <a:pt x="126" y="80"/>
                  </a:lnTo>
                  <a:lnTo>
                    <a:pt x="124" y="82"/>
                  </a:lnTo>
                  <a:lnTo>
                    <a:pt x="120" y="82"/>
                  </a:lnTo>
                  <a:lnTo>
                    <a:pt x="118" y="82"/>
                  </a:lnTo>
                  <a:lnTo>
                    <a:pt x="118" y="84"/>
                  </a:lnTo>
                  <a:lnTo>
                    <a:pt x="116" y="84"/>
                  </a:lnTo>
                  <a:lnTo>
                    <a:pt x="116" y="86"/>
                  </a:lnTo>
                  <a:lnTo>
                    <a:pt x="116" y="88"/>
                  </a:lnTo>
                  <a:lnTo>
                    <a:pt x="114" y="90"/>
                  </a:lnTo>
                  <a:lnTo>
                    <a:pt x="114" y="92"/>
                  </a:lnTo>
                  <a:lnTo>
                    <a:pt x="112" y="92"/>
                  </a:lnTo>
                  <a:lnTo>
                    <a:pt x="112" y="92"/>
                  </a:lnTo>
                  <a:lnTo>
                    <a:pt x="110" y="94"/>
                  </a:lnTo>
                  <a:lnTo>
                    <a:pt x="108" y="94"/>
                  </a:lnTo>
                  <a:lnTo>
                    <a:pt x="106" y="94"/>
                  </a:lnTo>
                  <a:lnTo>
                    <a:pt x="104" y="94"/>
                  </a:lnTo>
                  <a:lnTo>
                    <a:pt x="100" y="94"/>
                  </a:lnTo>
                  <a:lnTo>
                    <a:pt x="96" y="94"/>
                  </a:lnTo>
                  <a:lnTo>
                    <a:pt x="94" y="94"/>
                  </a:lnTo>
                  <a:lnTo>
                    <a:pt x="92" y="94"/>
                  </a:lnTo>
                  <a:lnTo>
                    <a:pt x="90" y="96"/>
                  </a:lnTo>
                  <a:lnTo>
                    <a:pt x="90" y="96"/>
                  </a:lnTo>
                  <a:lnTo>
                    <a:pt x="88" y="96"/>
                  </a:lnTo>
                  <a:lnTo>
                    <a:pt x="88" y="98"/>
                  </a:lnTo>
                  <a:lnTo>
                    <a:pt x="88" y="98"/>
                  </a:lnTo>
                  <a:lnTo>
                    <a:pt x="86" y="98"/>
                  </a:lnTo>
                  <a:lnTo>
                    <a:pt x="88" y="100"/>
                  </a:lnTo>
                  <a:lnTo>
                    <a:pt x="88" y="100"/>
                  </a:lnTo>
                  <a:lnTo>
                    <a:pt x="88" y="102"/>
                  </a:lnTo>
                  <a:lnTo>
                    <a:pt x="88" y="104"/>
                  </a:lnTo>
                  <a:lnTo>
                    <a:pt x="88" y="106"/>
                  </a:lnTo>
                  <a:lnTo>
                    <a:pt x="88" y="106"/>
                  </a:lnTo>
                  <a:lnTo>
                    <a:pt x="88" y="108"/>
                  </a:lnTo>
                  <a:lnTo>
                    <a:pt x="88" y="108"/>
                  </a:lnTo>
                  <a:lnTo>
                    <a:pt x="86" y="110"/>
                  </a:lnTo>
                  <a:lnTo>
                    <a:pt x="84" y="114"/>
                  </a:lnTo>
                  <a:lnTo>
                    <a:pt x="82" y="114"/>
                  </a:lnTo>
                  <a:lnTo>
                    <a:pt x="82" y="108"/>
                  </a:lnTo>
                  <a:lnTo>
                    <a:pt x="80" y="104"/>
                  </a:lnTo>
                  <a:lnTo>
                    <a:pt x="78" y="96"/>
                  </a:lnTo>
                  <a:lnTo>
                    <a:pt x="78" y="94"/>
                  </a:lnTo>
                  <a:lnTo>
                    <a:pt x="76" y="90"/>
                  </a:lnTo>
                  <a:lnTo>
                    <a:pt x="76" y="88"/>
                  </a:lnTo>
                  <a:lnTo>
                    <a:pt x="74" y="84"/>
                  </a:lnTo>
                  <a:lnTo>
                    <a:pt x="72" y="82"/>
                  </a:lnTo>
                  <a:lnTo>
                    <a:pt x="72" y="80"/>
                  </a:lnTo>
                  <a:lnTo>
                    <a:pt x="72" y="80"/>
                  </a:lnTo>
                  <a:lnTo>
                    <a:pt x="70" y="78"/>
                  </a:lnTo>
                  <a:lnTo>
                    <a:pt x="70" y="78"/>
                  </a:lnTo>
                  <a:lnTo>
                    <a:pt x="70" y="78"/>
                  </a:lnTo>
                  <a:lnTo>
                    <a:pt x="68" y="78"/>
                  </a:lnTo>
                  <a:lnTo>
                    <a:pt x="68" y="78"/>
                  </a:lnTo>
                  <a:lnTo>
                    <a:pt x="66" y="78"/>
                  </a:lnTo>
                  <a:lnTo>
                    <a:pt x="66" y="78"/>
                  </a:lnTo>
                  <a:lnTo>
                    <a:pt x="64" y="78"/>
                  </a:lnTo>
                  <a:lnTo>
                    <a:pt x="64" y="80"/>
                  </a:lnTo>
                  <a:lnTo>
                    <a:pt x="62" y="80"/>
                  </a:lnTo>
                  <a:lnTo>
                    <a:pt x="60" y="82"/>
                  </a:lnTo>
                  <a:lnTo>
                    <a:pt x="56" y="86"/>
                  </a:lnTo>
                  <a:lnTo>
                    <a:pt x="54" y="88"/>
                  </a:lnTo>
                  <a:lnTo>
                    <a:pt x="52" y="90"/>
                  </a:lnTo>
                  <a:lnTo>
                    <a:pt x="52" y="90"/>
                  </a:lnTo>
                  <a:lnTo>
                    <a:pt x="50" y="90"/>
                  </a:lnTo>
                  <a:lnTo>
                    <a:pt x="48" y="90"/>
                  </a:lnTo>
                  <a:lnTo>
                    <a:pt x="44" y="92"/>
                  </a:lnTo>
                  <a:lnTo>
                    <a:pt x="40" y="92"/>
                  </a:lnTo>
                  <a:lnTo>
                    <a:pt x="36" y="92"/>
                  </a:lnTo>
                  <a:lnTo>
                    <a:pt x="34" y="92"/>
                  </a:lnTo>
                  <a:lnTo>
                    <a:pt x="32" y="92"/>
                  </a:lnTo>
                  <a:lnTo>
                    <a:pt x="28" y="92"/>
                  </a:lnTo>
                  <a:lnTo>
                    <a:pt x="22" y="90"/>
                  </a:lnTo>
                  <a:lnTo>
                    <a:pt x="16" y="88"/>
                  </a:lnTo>
                  <a:lnTo>
                    <a:pt x="4" y="86"/>
                  </a:lnTo>
                  <a:lnTo>
                    <a:pt x="0" y="86"/>
                  </a:lnTo>
                  <a:lnTo>
                    <a:pt x="8" y="80"/>
                  </a:lnTo>
                  <a:lnTo>
                    <a:pt x="12" y="76"/>
                  </a:lnTo>
                  <a:lnTo>
                    <a:pt x="16" y="74"/>
                  </a:lnTo>
                  <a:lnTo>
                    <a:pt x="18" y="74"/>
                  </a:lnTo>
                  <a:lnTo>
                    <a:pt x="20" y="72"/>
                  </a:lnTo>
                  <a:lnTo>
                    <a:pt x="22" y="72"/>
                  </a:lnTo>
                  <a:lnTo>
                    <a:pt x="26" y="70"/>
                  </a:lnTo>
                  <a:lnTo>
                    <a:pt x="30" y="70"/>
                  </a:lnTo>
                  <a:lnTo>
                    <a:pt x="36" y="68"/>
                  </a:lnTo>
                  <a:lnTo>
                    <a:pt x="40" y="66"/>
                  </a:lnTo>
                  <a:lnTo>
                    <a:pt x="46" y="66"/>
                  </a:lnTo>
                  <a:lnTo>
                    <a:pt x="48" y="64"/>
                  </a:lnTo>
                  <a:lnTo>
                    <a:pt x="50" y="64"/>
                  </a:lnTo>
                  <a:lnTo>
                    <a:pt x="52" y="62"/>
                  </a:lnTo>
                  <a:lnTo>
                    <a:pt x="52" y="62"/>
                  </a:lnTo>
                  <a:lnTo>
                    <a:pt x="54" y="60"/>
                  </a:lnTo>
                  <a:lnTo>
                    <a:pt x="54" y="60"/>
                  </a:lnTo>
                  <a:lnTo>
                    <a:pt x="54" y="58"/>
                  </a:lnTo>
                  <a:lnTo>
                    <a:pt x="56" y="58"/>
                  </a:lnTo>
                  <a:lnTo>
                    <a:pt x="56" y="56"/>
                  </a:lnTo>
                  <a:lnTo>
                    <a:pt x="58" y="56"/>
                  </a:lnTo>
                  <a:lnTo>
                    <a:pt x="58" y="54"/>
                  </a:lnTo>
                  <a:lnTo>
                    <a:pt x="58" y="54"/>
                  </a:lnTo>
                  <a:lnTo>
                    <a:pt x="58" y="52"/>
                  </a:lnTo>
                  <a:lnTo>
                    <a:pt x="56" y="52"/>
                  </a:lnTo>
                  <a:lnTo>
                    <a:pt x="56" y="50"/>
                  </a:lnTo>
                  <a:lnTo>
                    <a:pt x="54" y="48"/>
                  </a:lnTo>
                  <a:lnTo>
                    <a:pt x="52" y="46"/>
                  </a:lnTo>
                  <a:lnTo>
                    <a:pt x="50" y="44"/>
                  </a:lnTo>
                  <a:lnTo>
                    <a:pt x="48" y="44"/>
                  </a:lnTo>
                  <a:lnTo>
                    <a:pt x="46" y="42"/>
                  </a:lnTo>
                  <a:lnTo>
                    <a:pt x="46" y="42"/>
                  </a:lnTo>
                  <a:lnTo>
                    <a:pt x="44" y="42"/>
                  </a:lnTo>
                  <a:lnTo>
                    <a:pt x="44" y="42"/>
                  </a:lnTo>
                  <a:lnTo>
                    <a:pt x="42" y="42"/>
                  </a:lnTo>
                  <a:lnTo>
                    <a:pt x="40" y="42"/>
                  </a:lnTo>
                  <a:lnTo>
                    <a:pt x="40" y="44"/>
                  </a:lnTo>
                  <a:lnTo>
                    <a:pt x="38" y="44"/>
                  </a:lnTo>
                  <a:lnTo>
                    <a:pt x="36" y="44"/>
                  </a:lnTo>
                  <a:lnTo>
                    <a:pt x="34" y="44"/>
                  </a:lnTo>
                  <a:lnTo>
                    <a:pt x="34" y="44"/>
                  </a:lnTo>
                  <a:lnTo>
                    <a:pt x="34" y="44"/>
                  </a:lnTo>
                  <a:lnTo>
                    <a:pt x="32" y="44"/>
                  </a:lnTo>
                  <a:lnTo>
                    <a:pt x="30" y="42"/>
                  </a:lnTo>
                  <a:lnTo>
                    <a:pt x="28" y="42"/>
                  </a:lnTo>
                  <a:lnTo>
                    <a:pt x="26" y="40"/>
                  </a:lnTo>
                  <a:lnTo>
                    <a:pt x="24" y="38"/>
                  </a:lnTo>
                  <a:lnTo>
                    <a:pt x="22" y="36"/>
                  </a:lnTo>
                  <a:lnTo>
                    <a:pt x="22" y="36"/>
                  </a:lnTo>
                  <a:lnTo>
                    <a:pt x="22" y="36"/>
                  </a:lnTo>
                  <a:lnTo>
                    <a:pt x="22" y="34"/>
                  </a:lnTo>
                  <a:lnTo>
                    <a:pt x="22" y="34"/>
                  </a:lnTo>
                  <a:lnTo>
                    <a:pt x="22" y="34"/>
                  </a:lnTo>
                  <a:lnTo>
                    <a:pt x="22" y="32"/>
                  </a:lnTo>
                  <a:lnTo>
                    <a:pt x="22" y="32"/>
                  </a:lnTo>
                  <a:lnTo>
                    <a:pt x="24" y="30"/>
                  </a:lnTo>
                  <a:lnTo>
                    <a:pt x="24" y="28"/>
                  </a:lnTo>
                  <a:lnTo>
                    <a:pt x="26" y="26"/>
                  </a:lnTo>
                  <a:lnTo>
                    <a:pt x="28" y="24"/>
                  </a:lnTo>
                  <a:lnTo>
                    <a:pt x="28" y="24"/>
                  </a:lnTo>
                  <a:lnTo>
                    <a:pt x="28" y="24"/>
                  </a:lnTo>
                  <a:lnTo>
                    <a:pt x="28" y="24"/>
                  </a:lnTo>
                  <a:lnTo>
                    <a:pt x="28" y="22"/>
                  </a:lnTo>
                  <a:lnTo>
                    <a:pt x="28" y="20"/>
                  </a:lnTo>
                  <a:lnTo>
                    <a:pt x="28" y="18"/>
                  </a:lnTo>
                  <a:lnTo>
                    <a:pt x="28" y="18"/>
                  </a:lnTo>
                  <a:lnTo>
                    <a:pt x="26" y="16"/>
                  </a:lnTo>
                  <a:lnTo>
                    <a:pt x="26" y="14"/>
                  </a:lnTo>
                  <a:lnTo>
                    <a:pt x="26" y="12"/>
                  </a:lnTo>
                  <a:lnTo>
                    <a:pt x="26" y="12"/>
                  </a:lnTo>
                  <a:lnTo>
                    <a:pt x="26" y="10"/>
                  </a:lnTo>
                  <a:lnTo>
                    <a:pt x="26" y="10"/>
                  </a:lnTo>
                  <a:lnTo>
                    <a:pt x="28" y="8"/>
                  </a:lnTo>
                  <a:lnTo>
                    <a:pt x="30" y="6"/>
                  </a:lnTo>
                  <a:lnTo>
                    <a:pt x="30" y="6"/>
                  </a:lnTo>
                  <a:lnTo>
                    <a:pt x="32" y="4"/>
                  </a:lnTo>
                  <a:lnTo>
                    <a:pt x="34" y="2"/>
                  </a:lnTo>
                  <a:lnTo>
                    <a:pt x="36" y="2"/>
                  </a:lnTo>
                  <a:lnTo>
                    <a:pt x="36" y="2"/>
                  </a:lnTo>
                  <a:lnTo>
                    <a:pt x="36" y="2"/>
                  </a:lnTo>
                  <a:lnTo>
                    <a:pt x="38" y="2"/>
                  </a:lnTo>
                  <a:lnTo>
                    <a:pt x="38" y="2"/>
                  </a:lnTo>
                  <a:lnTo>
                    <a:pt x="40" y="4"/>
                  </a:lnTo>
                  <a:lnTo>
                    <a:pt x="40" y="4"/>
                  </a:lnTo>
                  <a:lnTo>
                    <a:pt x="42" y="6"/>
                  </a:lnTo>
                  <a:lnTo>
                    <a:pt x="44" y="8"/>
                  </a:lnTo>
                  <a:lnTo>
                    <a:pt x="46" y="12"/>
                  </a:lnTo>
                  <a:lnTo>
                    <a:pt x="46" y="12"/>
                  </a:lnTo>
                  <a:lnTo>
                    <a:pt x="46" y="14"/>
                  </a:lnTo>
                  <a:lnTo>
                    <a:pt x="48" y="14"/>
                  </a:lnTo>
                  <a:lnTo>
                    <a:pt x="48" y="16"/>
                  </a:lnTo>
                  <a:lnTo>
                    <a:pt x="50" y="16"/>
                  </a:lnTo>
                  <a:lnTo>
                    <a:pt x="50" y="16"/>
                  </a:lnTo>
                  <a:lnTo>
                    <a:pt x="50" y="16"/>
                  </a:lnTo>
                  <a:lnTo>
                    <a:pt x="52" y="14"/>
                  </a:lnTo>
                  <a:lnTo>
                    <a:pt x="52" y="14"/>
                  </a:lnTo>
                  <a:lnTo>
                    <a:pt x="52" y="14"/>
                  </a:lnTo>
                  <a:lnTo>
                    <a:pt x="52" y="12"/>
                  </a:lnTo>
                  <a:lnTo>
                    <a:pt x="54" y="10"/>
                  </a:lnTo>
                  <a:lnTo>
                    <a:pt x="54" y="6"/>
                  </a:lnTo>
                  <a:lnTo>
                    <a:pt x="56" y="6"/>
                  </a:lnTo>
                  <a:lnTo>
                    <a:pt x="56" y="4"/>
                  </a:lnTo>
                  <a:lnTo>
                    <a:pt x="56" y="4"/>
                  </a:lnTo>
                  <a:lnTo>
                    <a:pt x="58" y="4"/>
                  </a:lnTo>
                  <a:lnTo>
                    <a:pt x="60" y="2"/>
                  </a:lnTo>
                  <a:lnTo>
                    <a:pt x="62" y="2"/>
                  </a:lnTo>
                  <a:lnTo>
                    <a:pt x="64" y="0"/>
                  </a:lnTo>
                  <a:lnTo>
                    <a:pt x="68" y="0"/>
                  </a:lnTo>
                  <a:lnTo>
                    <a:pt x="70" y="0"/>
                  </a:lnTo>
                  <a:lnTo>
                    <a:pt x="72" y="0"/>
                  </a:lnTo>
                  <a:lnTo>
                    <a:pt x="74" y="0"/>
                  </a:lnTo>
                  <a:lnTo>
                    <a:pt x="74" y="0"/>
                  </a:lnTo>
                  <a:lnTo>
                    <a:pt x="74" y="0"/>
                  </a:lnTo>
                  <a:lnTo>
                    <a:pt x="76" y="0"/>
                  </a:lnTo>
                  <a:lnTo>
                    <a:pt x="76" y="2"/>
                  </a:lnTo>
                  <a:lnTo>
                    <a:pt x="78" y="2"/>
                  </a:lnTo>
                  <a:lnTo>
                    <a:pt x="80" y="4"/>
                  </a:lnTo>
                  <a:lnTo>
                    <a:pt x="82" y="6"/>
                  </a:lnTo>
                  <a:lnTo>
                    <a:pt x="82" y="8"/>
                  </a:lnTo>
                  <a:lnTo>
                    <a:pt x="84" y="8"/>
                  </a:lnTo>
                  <a:lnTo>
                    <a:pt x="84" y="8"/>
                  </a:lnTo>
                  <a:lnTo>
                    <a:pt x="86" y="10"/>
                  </a:lnTo>
                  <a:lnTo>
                    <a:pt x="86" y="10"/>
                  </a:lnTo>
                  <a:lnTo>
                    <a:pt x="88" y="10"/>
                  </a:lnTo>
                  <a:lnTo>
                    <a:pt x="90" y="10"/>
                  </a:lnTo>
                  <a:lnTo>
                    <a:pt x="92" y="10"/>
                  </a:lnTo>
                  <a:lnTo>
                    <a:pt x="96" y="8"/>
                  </a:lnTo>
                  <a:lnTo>
                    <a:pt x="100" y="8"/>
                  </a:lnTo>
                  <a:lnTo>
                    <a:pt x="110" y="6"/>
                  </a:lnTo>
                  <a:lnTo>
                    <a:pt x="114" y="4"/>
                  </a:lnTo>
                  <a:lnTo>
                    <a:pt x="114" y="4"/>
                  </a:lnTo>
                  <a:lnTo>
                    <a:pt x="116" y="4"/>
                  </a:lnTo>
                  <a:lnTo>
                    <a:pt x="120" y="4"/>
                  </a:lnTo>
                  <a:lnTo>
                    <a:pt x="126" y="4"/>
                  </a:lnTo>
                  <a:lnTo>
                    <a:pt x="128" y="4"/>
                  </a:lnTo>
                  <a:lnTo>
                    <a:pt x="132" y="4"/>
                  </a:lnTo>
                  <a:lnTo>
                    <a:pt x="134" y="6"/>
                  </a:lnTo>
                  <a:lnTo>
                    <a:pt x="136" y="6"/>
                  </a:lnTo>
                  <a:lnTo>
                    <a:pt x="136" y="6"/>
                  </a:lnTo>
                  <a:lnTo>
                    <a:pt x="138" y="6"/>
                  </a:lnTo>
                  <a:lnTo>
                    <a:pt x="140" y="8"/>
                  </a:lnTo>
                  <a:lnTo>
                    <a:pt x="144" y="10"/>
                  </a:lnTo>
                  <a:lnTo>
                    <a:pt x="146" y="12"/>
                  </a:lnTo>
                  <a:lnTo>
                    <a:pt x="150" y="16"/>
                  </a:lnTo>
                  <a:lnTo>
                    <a:pt x="152" y="18"/>
                  </a:lnTo>
                  <a:lnTo>
                    <a:pt x="118" y="3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3" name="Freeform 50">
              <a:extLst>
                <a:ext uri="{FF2B5EF4-FFF2-40B4-BE49-F238E27FC236}">
                  <a16:creationId xmlns:a16="http://schemas.microsoft.com/office/drawing/2014/main" id="{E9E9EE2C-6204-49AD-BA6D-EB4B4189DAD0}"/>
                </a:ext>
              </a:extLst>
            </p:cNvPr>
            <p:cNvSpPr>
              <a:spLocks/>
            </p:cNvSpPr>
            <p:nvPr/>
          </p:nvSpPr>
          <p:spPr bwMode="auto">
            <a:xfrm>
              <a:off x="5966645" y="3295192"/>
              <a:ext cx="263275" cy="197457"/>
            </a:xfrm>
            <a:custGeom>
              <a:avLst/>
              <a:gdLst>
                <a:gd name="T0" fmla="*/ 120 w 152"/>
                <a:gd name="T1" fmla="*/ 34 h 114"/>
                <a:gd name="T2" fmla="*/ 124 w 152"/>
                <a:gd name="T3" fmla="*/ 36 h 114"/>
                <a:gd name="T4" fmla="*/ 130 w 152"/>
                <a:gd name="T5" fmla="*/ 38 h 114"/>
                <a:gd name="T6" fmla="*/ 132 w 152"/>
                <a:gd name="T7" fmla="*/ 44 h 114"/>
                <a:gd name="T8" fmla="*/ 134 w 152"/>
                <a:gd name="T9" fmla="*/ 56 h 114"/>
                <a:gd name="T10" fmla="*/ 132 w 152"/>
                <a:gd name="T11" fmla="*/ 66 h 114"/>
                <a:gd name="T12" fmla="*/ 130 w 152"/>
                <a:gd name="T13" fmla="*/ 76 h 114"/>
                <a:gd name="T14" fmla="*/ 126 w 152"/>
                <a:gd name="T15" fmla="*/ 80 h 114"/>
                <a:gd name="T16" fmla="*/ 118 w 152"/>
                <a:gd name="T17" fmla="*/ 82 h 114"/>
                <a:gd name="T18" fmla="*/ 116 w 152"/>
                <a:gd name="T19" fmla="*/ 88 h 114"/>
                <a:gd name="T20" fmla="*/ 112 w 152"/>
                <a:gd name="T21" fmla="*/ 92 h 114"/>
                <a:gd name="T22" fmla="*/ 104 w 152"/>
                <a:gd name="T23" fmla="*/ 94 h 114"/>
                <a:gd name="T24" fmla="*/ 92 w 152"/>
                <a:gd name="T25" fmla="*/ 94 h 114"/>
                <a:gd name="T26" fmla="*/ 88 w 152"/>
                <a:gd name="T27" fmla="*/ 98 h 114"/>
                <a:gd name="T28" fmla="*/ 88 w 152"/>
                <a:gd name="T29" fmla="*/ 100 h 114"/>
                <a:gd name="T30" fmla="*/ 88 w 152"/>
                <a:gd name="T31" fmla="*/ 106 h 114"/>
                <a:gd name="T32" fmla="*/ 84 w 152"/>
                <a:gd name="T33" fmla="*/ 114 h 114"/>
                <a:gd name="T34" fmla="*/ 78 w 152"/>
                <a:gd name="T35" fmla="*/ 96 h 114"/>
                <a:gd name="T36" fmla="*/ 74 w 152"/>
                <a:gd name="T37" fmla="*/ 84 h 114"/>
                <a:gd name="T38" fmla="*/ 70 w 152"/>
                <a:gd name="T39" fmla="*/ 78 h 114"/>
                <a:gd name="T40" fmla="*/ 68 w 152"/>
                <a:gd name="T41" fmla="*/ 78 h 114"/>
                <a:gd name="T42" fmla="*/ 64 w 152"/>
                <a:gd name="T43" fmla="*/ 80 h 114"/>
                <a:gd name="T44" fmla="*/ 54 w 152"/>
                <a:gd name="T45" fmla="*/ 88 h 114"/>
                <a:gd name="T46" fmla="*/ 48 w 152"/>
                <a:gd name="T47" fmla="*/ 90 h 114"/>
                <a:gd name="T48" fmla="*/ 34 w 152"/>
                <a:gd name="T49" fmla="*/ 92 h 114"/>
                <a:gd name="T50" fmla="*/ 16 w 152"/>
                <a:gd name="T51" fmla="*/ 88 h 114"/>
                <a:gd name="T52" fmla="*/ 12 w 152"/>
                <a:gd name="T53" fmla="*/ 76 h 114"/>
                <a:gd name="T54" fmla="*/ 22 w 152"/>
                <a:gd name="T55" fmla="*/ 72 h 114"/>
                <a:gd name="T56" fmla="*/ 40 w 152"/>
                <a:gd name="T57" fmla="*/ 66 h 114"/>
                <a:gd name="T58" fmla="*/ 52 w 152"/>
                <a:gd name="T59" fmla="*/ 62 h 114"/>
                <a:gd name="T60" fmla="*/ 54 w 152"/>
                <a:gd name="T61" fmla="*/ 58 h 114"/>
                <a:gd name="T62" fmla="*/ 58 w 152"/>
                <a:gd name="T63" fmla="*/ 54 h 114"/>
                <a:gd name="T64" fmla="*/ 56 w 152"/>
                <a:gd name="T65" fmla="*/ 50 h 114"/>
                <a:gd name="T66" fmla="*/ 48 w 152"/>
                <a:gd name="T67" fmla="*/ 44 h 114"/>
                <a:gd name="T68" fmla="*/ 44 w 152"/>
                <a:gd name="T69" fmla="*/ 42 h 114"/>
                <a:gd name="T70" fmla="*/ 38 w 152"/>
                <a:gd name="T71" fmla="*/ 44 h 114"/>
                <a:gd name="T72" fmla="*/ 34 w 152"/>
                <a:gd name="T73" fmla="*/ 44 h 114"/>
                <a:gd name="T74" fmla="*/ 26 w 152"/>
                <a:gd name="T75" fmla="*/ 40 h 114"/>
                <a:gd name="T76" fmla="*/ 22 w 152"/>
                <a:gd name="T77" fmla="*/ 36 h 114"/>
                <a:gd name="T78" fmla="*/ 22 w 152"/>
                <a:gd name="T79" fmla="*/ 32 h 114"/>
                <a:gd name="T80" fmla="*/ 26 w 152"/>
                <a:gd name="T81" fmla="*/ 26 h 114"/>
                <a:gd name="T82" fmla="*/ 28 w 152"/>
                <a:gd name="T83" fmla="*/ 24 h 114"/>
                <a:gd name="T84" fmla="*/ 28 w 152"/>
                <a:gd name="T85" fmla="*/ 18 h 114"/>
                <a:gd name="T86" fmla="*/ 26 w 152"/>
                <a:gd name="T87" fmla="*/ 12 h 114"/>
                <a:gd name="T88" fmla="*/ 30 w 152"/>
                <a:gd name="T89" fmla="*/ 6 h 114"/>
                <a:gd name="T90" fmla="*/ 36 w 152"/>
                <a:gd name="T91" fmla="*/ 2 h 114"/>
                <a:gd name="T92" fmla="*/ 38 w 152"/>
                <a:gd name="T93" fmla="*/ 2 h 114"/>
                <a:gd name="T94" fmla="*/ 44 w 152"/>
                <a:gd name="T95" fmla="*/ 8 h 114"/>
                <a:gd name="T96" fmla="*/ 48 w 152"/>
                <a:gd name="T97" fmla="*/ 14 h 114"/>
                <a:gd name="T98" fmla="*/ 50 w 152"/>
                <a:gd name="T99" fmla="*/ 16 h 114"/>
                <a:gd name="T100" fmla="*/ 52 w 152"/>
                <a:gd name="T101" fmla="*/ 12 h 114"/>
                <a:gd name="T102" fmla="*/ 56 w 152"/>
                <a:gd name="T103" fmla="*/ 4 h 114"/>
                <a:gd name="T104" fmla="*/ 62 w 152"/>
                <a:gd name="T105" fmla="*/ 2 h 114"/>
                <a:gd name="T106" fmla="*/ 72 w 152"/>
                <a:gd name="T107" fmla="*/ 0 h 114"/>
                <a:gd name="T108" fmla="*/ 76 w 152"/>
                <a:gd name="T109" fmla="*/ 0 h 114"/>
                <a:gd name="T110" fmla="*/ 82 w 152"/>
                <a:gd name="T111" fmla="*/ 6 h 114"/>
                <a:gd name="T112" fmla="*/ 86 w 152"/>
                <a:gd name="T113" fmla="*/ 10 h 114"/>
                <a:gd name="T114" fmla="*/ 92 w 152"/>
                <a:gd name="T115" fmla="*/ 10 h 114"/>
                <a:gd name="T116" fmla="*/ 114 w 152"/>
                <a:gd name="T117" fmla="*/ 4 h 114"/>
                <a:gd name="T118" fmla="*/ 126 w 152"/>
                <a:gd name="T119" fmla="*/ 4 h 114"/>
                <a:gd name="T120" fmla="*/ 136 w 152"/>
                <a:gd name="T121" fmla="*/ 6 h 114"/>
                <a:gd name="T122" fmla="*/ 144 w 152"/>
                <a:gd name="T123" fmla="*/ 10 h 114"/>
                <a:gd name="T124" fmla="*/ 118 w 152"/>
                <a:gd name="T125" fmla="*/ 3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 h="114">
                  <a:moveTo>
                    <a:pt x="118" y="32"/>
                  </a:moveTo>
                  <a:lnTo>
                    <a:pt x="118" y="32"/>
                  </a:lnTo>
                  <a:lnTo>
                    <a:pt x="118" y="34"/>
                  </a:lnTo>
                  <a:lnTo>
                    <a:pt x="120" y="34"/>
                  </a:lnTo>
                  <a:lnTo>
                    <a:pt x="120" y="34"/>
                  </a:lnTo>
                  <a:lnTo>
                    <a:pt x="120" y="34"/>
                  </a:lnTo>
                  <a:lnTo>
                    <a:pt x="122" y="34"/>
                  </a:lnTo>
                  <a:lnTo>
                    <a:pt x="124" y="36"/>
                  </a:lnTo>
                  <a:lnTo>
                    <a:pt x="126" y="36"/>
                  </a:lnTo>
                  <a:lnTo>
                    <a:pt x="128" y="36"/>
                  </a:lnTo>
                  <a:lnTo>
                    <a:pt x="130" y="36"/>
                  </a:lnTo>
                  <a:lnTo>
                    <a:pt x="130" y="38"/>
                  </a:lnTo>
                  <a:lnTo>
                    <a:pt x="130" y="38"/>
                  </a:lnTo>
                  <a:lnTo>
                    <a:pt x="132" y="40"/>
                  </a:lnTo>
                  <a:lnTo>
                    <a:pt x="132" y="42"/>
                  </a:lnTo>
                  <a:lnTo>
                    <a:pt x="132" y="44"/>
                  </a:lnTo>
                  <a:lnTo>
                    <a:pt x="132" y="46"/>
                  </a:lnTo>
                  <a:lnTo>
                    <a:pt x="134" y="50"/>
                  </a:lnTo>
                  <a:lnTo>
                    <a:pt x="134" y="52"/>
                  </a:lnTo>
                  <a:lnTo>
                    <a:pt x="134" y="56"/>
                  </a:lnTo>
                  <a:lnTo>
                    <a:pt x="134" y="58"/>
                  </a:lnTo>
                  <a:lnTo>
                    <a:pt x="134" y="60"/>
                  </a:lnTo>
                  <a:lnTo>
                    <a:pt x="134" y="64"/>
                  </a:lnTo>
                  <a:lnTo>
                    <a:pt x="132" y="66"/>
                  </a:lnTo>
                  <a:lnTo>
                    <a:pt x="132" y="70"/>
                  </a:lnTo>
                  <a:lnTo>
                    <a:pt x="132" y="72"/>
                  </a:lnTo>
                  <a:lnTo>
                    <a:pt x="130" y="74"/>
                  </a:lnTo>
                  <a:lnTo>
                    <a:pt x="130" y="76"/>
                  </a:lnTo>
                  <a:lnTo>
                    <a:pt x="128" y="78"/>
                  </a:lnTo>
                  <a:lnTo>
                    <a:pt x="128" y="78"/>
                  </a:lnTo>
                  <a:lnTo>
                    <a:pt x="128" y="80"/>
                  </a:lnTo>
                  <a:lnTo>
                    <a:pt x="126" y="80"/>
                  </a:lnTo>
                  <a:lnTo>
                    <a:pt x="126" y="80"/>
                  </a:lnTo>
                  <a:lnTo>
                    <a:pt x="124" y="82"/>
                  </a:lnTo>
                  <a:lnTo>
                    <a:pt x="120" y="82"/>
                  </a:lnTo>
                  <a:lnTo>
                    <a:pt x="118" y="82"/>
                  </a:lnTo>
                  <a:lnTo>
                    <a:pt x="118" y="84"/>
                  </a:lnTo>
                  <a:lnTo>
                    <a:pt x="116" y="84"/>
                  </a:lnTo>
                  <a:lnTo>
                    <a:pt x="116" y="86"/>
                  </a:lnTo>
                  <a:lnTo>
                    <a:pt x="116" y="88"/>
                  </a:lnTo>
                  <a:lnTo>
                    <a:pt x="114" y="90"/>
                  </a:lnTo>
                  <a:lnTo>
                    <a:pt x="114" y="92"/>
                  </a:lnTo>
                  <a:lnTo>
                    <a:pt x="112" y="92"/>
                  </a:lnTo>
                  <a:lnTo>
                    <a:pt x="112" y="92"/>
                  </a:lnTo>
                  <a:lnTo>
                    <a:pt x="110" y="94"/>
                  </a:lnTo>
                  <a:lnTo>
                    <a:pt x="108" y="94"/>
                  </a:lnTo>
                  <a:lnTo>
                    <a:pt x="106" y="94"/>
                  </a:lnTo>
                  <a:lnTo>
                    <a:pt x="104" y="94"/>
                  </a:lnTo>
                  <a:lnTo>
                    <a:pt x="100" y="94"/>
                  </a:lnTo>
                  <a:lnTo>
                    <a:pt x="96" y="94"/>
                  </a:lnTo>
                  <a:lnTo>
                    <a:pt x="94" y="94"/>
                  </a:lnTo>
                  <a:lnTo>
                    <a:pt x="92" y="94"/>
                  </a:lnTo>
                  <a:lnTo>
                    <a:pt x="90" y="96"/>
                  </a:lnTo>
                  <a:lnTo>
                    <a:pt x="90" y="96"/>
                  </a:lnTo>
                  <a:lnTo>
                    <a:pt x="88" y="96"/>
                  </a:lnTo>
                  <a:lnTo>
                    <a:pt x="88" y="98"/>
                  </a:lnTo>
                  <a:lnTo>
                    <a:pt x="88" y="98"/>
                  </a:lnTo>
                  <a:lnTo>
                    <a:pt x="86" y="98"/>
                  </a:lnTo>
                  <a:lnTo>
                    <a:pt x="88" y="100"/>
                  </a:lnTo>
                  <a:lnTo>
                    <a:pt x="88" y="100"/>
                  </a:lnTo>
                  <a:lnTo>
                    <a:pt x="88" y="102"/>
                  </a:lnTo>
                  <a:lnTo>
                    <a:pt x="88" y="104"/>
                  </a:lnTo>
                  <a:lnTo>
                    <a:pt x="88" y="106"/>
                  </a:lnTo>
                  <a:lnTo>
                    <a:pt x="88" y="106"/>
                  </a:lnTo>
                  <a:lnTo>
                    <a:pt x="88" y="108"/>
                  </a:lnTo>
                  <a:lnTo>
                    <a:pt x="88" y="108"/>
                  </a:lnTo>
                  <a:lnTo>
                    <a:pt x="86" y="110"/>
                  </a:lnTo>
                  <a:lnTo>
                    <a:pt x="84" y="114"/>
                  </a:lnTo>
                  <a:lnTo>
                    <a:pt x="82" y="114"/>
                  </a:lnTo>
                  <a:lnTo>
                    <a:pt x="82" y="108"/>
                  </a:lnTo>
                  <a:lnTo>
                    <a:pt x="80" y="104"/>
                  </a:lnTo>
                  <a:lnTo>
                    <a:pt x="78" y="96"/>
                  </a:lnTo>
                  <a:lnTo>
                    <a:pt x="78" y="94"/>
                  </a:lnTo>
                  <a:lnTo>
                    <a:pt x="76" y="90"/>
                  </a:lnTo>
                  <a:lnTo>
                    <a:pt x="76" y="88"/>
                  </a:lnTo>
                  <a:lnTo>
                    <a:pt x="74" y="84"/>
                  </a:lnTo>
                  <a:lnTo>
                    <a:pt x="72" y="82"/>
                  </a:lnTo>
                  <a:lnTo>
                    <a:pt x="72" y="80"/>
                  </a:lnTo>
                  <a:lnTo>
                    <a:pt x="72" y="80"/>
                  </a:lnTo>
                  <a:lnTo>
                    <a:pt x="70" y="78"/>
                  </a:lnTo>
                  <a:lnTo>
                    <a:pt x="70" y="78"/>
                  </a:lnTo>
                  <a:lnTo>
                    <a:pt x="70" y="78"/>
                  </a:lnTo>
                  <a:lnTo>
                    <a:pt x="68" y="78"/>
                  </a:lnTo>
                  <a:lnTo>
                    <a:pt x="68" y="78"/>
                  </a:lnTo>
                  <a:lnTo>
                    <a:pt x="66" y="78"/>
                  </a:lnTo>
                  <a:lnTo>
                    <a:pt x="66" y="78"/>
                  </a:lnTo>
                  <a:lnTo>
                    <a:pt x="64" y="78"/>
                  </a:lnTo>
                  <a:lnTo>
                    <a:pt x="64" y="80"/>
                  </a:lnTo>
                  <a:lnTo>
                    <a:pt x="62" y="80"/>
                  </a:lnTo>
                  <a:lnTo>
                    <a:pt x="60" y="82"/>
                  </a:lnTo>
                  <a:lnTo>
                    <a:pt x="56" y="86"/>
                  </a:lnTo>
                  <a:lnTo>
                    <a:pt x="54" y="88"/>
                  </a:lnTo>
                  <a:lnTo>
                    <a:pt x="52" y="90"/>
                  </a:lnTo>
                  <a:lnTo>
                    <a:pt x="52" y="90"/>
                  </a:lnTo>
                  <a:lnTo>
                    <a:pt x="50" y="90"/>
                  </a:lnTo>
                  <a:lnTo>
                    <a:pt x="48" y="90"/>
                  </a:lnTo>
                  <a:lnTo>
                    <a:pt x="44" y="92"/>
                  </a:lnTo>
                  <a:lnTo>
                    <a:pt x="40" y="92"/>
                  </a:lnTo>
                  <a:lnTo>
                    <a:pt x="36" y="92"/>
                  </a:lnTo>
                  <a:lnTo>
                    <a:pt x="34" y="92"/>
                  </a:lnTo>
                  <a:lnTo>
                    <a:pt x="32" y="92"/>
                  </a:lnTo>
                  <a:lnTo>
                    <a:pt x="28" y="92"/>
                  </a:lnTo>
                  <a:lnTo>
                    <a:pt x="22" y="90"/>
                  </a:lnTo>
                  <a:lnTo>
                    <a:pt x="16" y="88"/>
                  </a:lnTo>
                  <a:lnTo>
                    <a:pt x="4" y="86"/>
                  </a:lnTo>
                  <a:lnTo>
                    <a:pt x="0" y="86"/>
                  </a:lnTo>
                  <a:lnTo>
                    <a:pt x="8" y="80"/>
                  </a:lnTo>
                  <a:lnTo>
                    <a:pt x="12" y="76"/>
                  </a:lnTo>
                  <a:lnTo>
                    <a:pt x="16" y="74"/>
                  </a:lnTo>
                  <a:lnTo>
                    <a:pt x="18" y="74"/>
                  </a:lnTo>
                  <a:lnTo>
                    <a:pt x="20" y="72"/>
                  </a:lnTo>
                  <a:lnTo>
                    <a:pt x="22" y="72"/>
                  </a:lnTo>
                  <a:lnTo>
                    <a:pt x="26" y="70"/>
                  </a:lnTo>
                  <a:lnTo>
                    <a:pt x="30" y="70"/>
                  </a:lnTo>
                  <a:lnTo>
                    <a:pt x="36" y="68"/>
                  </a:lnTo>
                  <a:lnTo>
                    <a:pt x="40" y="66"/>
                  </a:lnTo>
                  <a:lnTo>
                    <a:pt x="46" y="66"/>
                  </a:lnTo>
                  <a:lnTo>
                    <a:pt x="48" y="64"/>
                  </a:lnTo>
                  <a:lnTo>
                    <a:pt x="50" y="64"/>
                  </a:lnTo>
                  <a:lnTo>
                    <a:pt x="52" y="62"/>
                  </a:lnTo>
                  <a:lnTo>
                    <a:pt x="52" y="62"/>
                  </a:lnTo>
                  <a:lnTo>
                    <a:pt x="54" y="60"/>
                  </a:lnTo>
                  <a:lnTo>
                    <a:pt x="54" y="60"/>
                  </a:lnTo>
                  <a:lnTo>
                    <a:pt x="54" y="58"/>
                  </a:lnTo>
                  <a:lnTo>
                    <a:pt x="56" y="58"/>
                  </a:lnTo>
                  <a:lnTo>
                    <a:pt x="56" y="56"/>
                  </a:lnTo>
                  <a:lnTo>
                    <a:pt x="58" y="56"/>
                  </a:lnTo>
                  <a:lnTo>
                    <a:pt x="58" y="54"/>
                  </a:lnTo>
                  <a:lnTo>
                    <a:pt x="58" y="54"/>
                  </a:lnTo>
                  <a:lnTo>
                    <a:pt x="58" y="52"/>
                  </a:lnTo>
                  <a:lnTo>
                    <a:pt x="56" y="52"/>
                  </a:lnTo>
                  <a:lnTo>
                    <a:pt x="56" y="50"/>
                  </a:lnTo>
                  <a:lnTo>
                    <a:pt x="54" y="48"/>
                  </a:lnTo>
                  <a:lnTo>
                    <a:pt x="52" y="46"/>
                  </a:lnTo>
                  <a:lnTo>
                    <a:pt x="50" y="44"/>
                  </a:lnTo>
                  <a:lnTo>
                    <a:pt x="48" y="44"/>
                  </a:lnTo>
                  <a:lnTo>
                    <a:pt x="46" y="42"/>
                  </a:lnTo>
                  <a:lnTo>
                    <a:pt x="46" y="42"/>
                  </a:lnTo>
                  <a:lnTo>
                    <a:pt x="44" y="42"/>
                  </a:lnTo>
                  <a:lnTo>
                    <a:pt x="44" y="42"/>
                  </a:lnTo>
                  <a:lnTo>
                    <a:pt x="42" y="42"/>
                  </a:lnTo>
                  <a:lnTo>
                    <a:pt x="40" y="42"/>
                  </a:lnTo>
                  <a:lnTo>
                    <a:pt x="40" y="44"/>
                  </a:lnTo>
                  <a:lnTo>
                    <a:pt x="38" y="44"/>
                  </a:lnTo>
                  <a:lnTo>
                    <a:pt x="36" y="44"/>
                  </a:lnTo>
                  <a:lnTo>
                    <a:pt x="34" y="44"/>
                  </a:lnTo>
                  <a:lnTo>
                    <a:pt x="34" y="44"/>
                  </a:lnTo>
                  <a:lnTo>
                    <a:pt x="34" y="44"/>
                  </a:lnTo>
                  <a:lnTo>
                    <a:pt x="32" y="44"/>
                  </a:lnTo>
                  <a:lnTo>
                    <a:pt x="30" y="42"/>
                  </a:lnTo>
                  <a:lnTo>
                    <a:pt x="28" y="42"/>
                  </a:lnTo>
                  <a:lnTo>
                    <a:pt x="26" y="40"/>
                  </a:lnTo>
                  <a:lnTo>
                    <a:pt x="24" y="38"/>
                  </a:lnTo>
                  <a:lnTo>
                    <a:pt x="22" y="36"/>
                  </a:lnTo>
                  <a:lnTo>
                    <a:pt x="22" y="36"/>
                  </a:lnTo>
                  <a:lnTo>
                    <a:pt x="22" y="36"/>
                  </a:lnTo>
                  <a:lnTo>
                    <a:pt x="22" y="34"/>
                  </a:lnTo>
                  <a:lnTo>
                    <a:pt x="22" y="34"/>
                  </a:lnTo>
                  <a:lnTo>
                    <a:pt x="22" y="34"/>
                  </a:lnTo>
                  <a:lnTo>
                    <a:pt x="22" y="32"/>
                  </a:lnTo>
                  <a:lnTo>
                    <a:pt x="22" y="32"/>
                  </a:lnTo>
                  <a:lnTo>
                    <a:pt x="24" y="30"/>
                  </a:lnTo>
                  <a:lnTo>
                    <a:pt x="24" y="28"/>
                  </a:lnTo>
                  <a:lnTo>
                    <a:pt x="26" y="26"/>
                  </a:lnTo>
                  <a:lnTo>
                    <a:pt x="28" y="24"/>
                  </a:lnTo>
                  <a:lnTo>
                    <a:pt x="28" y="24"/>
                  </a:lnTo>
                  <a:lnTo>
                    <a:pt x="28" y="24"/>
                  </a:lnTo>
                  <a:lnTo>
                    <a:pt x="28" y="24"/>
                  </a:lnTo>
                  <a:lnTo>
                    <a:pt x="28" y="22"/>
                  </a:lnTo>
                  <a:lnTo>
                    <a:pt x="28" y="20"/>
                  </a:lnTo>
                  <a:lnTo>
                    <a:pt x="28" y="18"/>
                  </a:lnTo>
                  <a:lnTo>
                    <a:pt x="28" y="18"/>
                  </a:lnTo>
                  <a:lnTo>
                    <a:pt x="26" y="16"/>
                  </a:lnTo>
                  <a:lnTo>
                    <a:pt x="26" y="14"/>
                  </a:lnTo>
                  <a:lnTo>
                    <a:pt x="26" y="12"/>
                  </a:lnTo>
                  <a:lnTo>
                    <a:pt x="26" y="12"/>
                  </a:lnTo>
                  <a:lnTo>
                    <a:pt x="26" y="10"/>
                  </a:lnTo>
                  <a:lnTo>
                    <a:pt x="26" y="10"/>
                  </a:lnTo>
                  <a:lnTo>
                    <a:pt x="28" y="8"/>
                  </a:lnTo>
                  <a:lnTo>
                    <a:pt x="30" y="6"/>
                  </a:lnTo>
                  <a:lnTo>
                    <a:pt x="30" y="6"/>
                  </a:lnTo>
                  <a:lnTo>
                    <a:pt x="32" y="4"/>
                  </a:lnTo>
                  <a:lnTo>
                    <a:pt x="34" y="2"/>
                  </a:lnTo>
                  <a:lnTo>
                    <a:pt x="36" y="2"/>
                  </a:lnTo>
                  <a:lnTo>
                    <a:pt x="36" y="2"/>
                  </a:lnTo>
                  <a:lnTo>
                    <a:pt x="36" y="2"/>
                  </a:lnTo>
                  <a:lnTo>
                    <a:pt x="38" y="2"/>
                  </a:lnTo>
                  <a:lnTo>
                    <a:pt x="38" y="2"/>
                  </a:lnTo>
                  <a:lnTo>
                    <a:pt x="40" y="4"/>
                  </a:lnTo>
                  <a:lnTo>
                    <a:pt x="40" y="4"/>
                  </a:lnTo>
                  <a:lnTo>
                    <a:pt x="42" y="6"/>
                  </a:lnTo>
                  <a:lnTo>
                    <a:pt x="44" y="8"/>
                  </a:lnTo>
                  <a:lnTo>
                    <a:pt x="46" y="12"/>
                  </a:lnTo>
                  <a:lnTo>
                    <a:pt x="46" y="12"/>
                  </a:lnTo>
                  <a:lnTo>
                    <a:pt x="46" y="14"/>
                  </a:lnTo>
                  <a:lnTo>
                    <a:pt x="48" y="14"/>
                  </a:lnTo>
                  <a:lnTo>
                    <a:pt x="48" y="16"/>
                  </a:lnTo>
                  <a:lnTo>
                    <a:pt x="50" y="16"/>
                  </a:lnTo>
                  <a:lnTo>
                    <a:pt x="50" y="16"/>
                  </a:lnTo>
                  <a:lnTo>
                    <a:pt x="50" y="16"/>
                  </a:lnTo>
                  <a:lnTo>
                    <a:pt x="52" y="14"/>
                  </a:lnTo>
                  <a:lnTo>
                    <a:pt x="52" y="14"/>
                  </a:lnTo>
                  <a:lnTo>
                    <a:pt x="52" y="14"/>
                  </a:lnTo>
                  <a:lnTo>
                    <a:pt x="52" y="12"/>
                  </a:lnTo>
                  <a:lnTo>
                    <a:pt x="54" y="10"/>
                  </a:lnTo>
                  <a:lnTo>
                    <a:pt x="54" y="6"/>
                  </a:lnTo>
                  <a:lnTo>
                    <a:pt x="56" y="6"/>
                  </a:lnTo>
                  <a:lnTo>
                    <a:pt x="56" y="4"/>
                  </a:lnTo>
                  <a:lnTo>
                    <a:pt x="56" y="4"/>
                  </a:lnTo>
                  <a:lnTo>
                    <a:pt x="58" y="4"/>
                  </a:lnTo>
                  <a:lnTo>
                    <a:pt x="60" y="2"/>
                  </a:lnTo>
                  <a:lnTo>
                    <a:pt x="62" y="2"/>
                  </a:lnTo>
                  <a:lnTo>
                    <a:pt x="64" y="0"/>
                  </a:lnTo>
                  <a:lnTo>
                    <a:pt x="68" y="0"/>
                  </a:lnTo>
                  <a:lnTo>
                    <a:pt x="70" y="0"/>
                  </a:lnTo>
                  <a:lnTo>
                    <a:pt x="72" y="0"/>
                  </a:lnTo>
                  <a:lnTo>
                    <a:pt x="74" y="0"/>
                  </a:lnTo>
                  <a:lnTo>
                    <a:pt x="74" y="0"/>
                  </a:lnTo>
                  <a:lnTo>
                    <a:pt x="74" y="0"/>
                  </a:lnTo>
                  <a:lnTo>
                    <a:pt x="76" y="0"/>
                  </a:lnTo>
                  <a:lnTo>
                    <a:pt x="76" y="2"/>
                  </a:lnTo>
                  <a:lnTo>
                    <a:pt x="78" y="2"/>
                  </a:lnTo>
                  <a:lnTo>
                    <a:pt x="80" y="4"/>
                  </a:lnTo>
                  <a:lnTo>
                    <a:pt x="82" y="6"/>
                  </a:lnTo>
                  <a:lnTo>
                    <a:pt x="82" y="8"/>
                  </a:lnTo>
                  <a:lnTo>
                    <a:pt x="84" y="8"/>
                  </a:lnTo>
                  <a:lnTo>
                    <a:pt x="84" y="8"/>
                  </a:lnTo>
                  <a:lnTo>
                    <a:pt x="86" y="10"/>
                  </a:lnTo>
                  <a:lnTo>
                    <a:pt x="86" y="10"/>
                  </a:lnTo>
                  <a:lnTo>
                    <a:pt x="88" y="10"/>
                  </a:lnTo>
                  <a:lnTo>
                    <a:pt x="90" y="10"/>
                  </a:lnTo>
                  <a:lnTo>
                    <a:pt x="92" y="10"/>
                  </a:lnTo>
                  <a:lnTo>
                    <a:pt x="96" y="8"/>
                  </a:lnTo>
                  <a:lnTo>
                    <a:pt x="100" y="8"/>
                  </a:lnTo>
                  <a:lnTo>
                    <a:pt x="110" y="6"/>
                  </a:lnTo>
                  <a:lnTo>
                    <a:pt x="114" y="4"/>
                  </a:lnTo>
                  <a:lnTo>
                    <a:pt x="114" y="4"/>
                  </a:lnTo>
                  <a:lnTo>
                    <a:pt x="116" y="4"/>
                  </a:lnTo>
                  <a:lnTo>
                    <a:pt x="120" y="4"/>
                  </a:lnTo>
                  <a:lnTo>
                    <a:pt x="126" y="4"/>
                  </a:lnTo>
                  <a:lnTo>
                    <a:pt x="128" y="4"/>
                  </a:lnTo>
                  <a:lnTo>
                    <a:pt x="132" y="4"/>
                  </a:lnTo>
                  <a:lnTo>
                    <a:pt x="134" y="6"/>
                  </a:lnTo>
                  <a:lnTo>
                    <a:pt x="136" y="6"/>
                  </a:lnTo>
                  <a:lnTo>
                    <a:pt x="136" y="6"/>
                  </a:lnTo>
                  <a:lnTo>
                    <a:pt x="138" y="6"/>
                  </a:lnTo>
                  <a:lnTo>
                    <a:pt x="140" y="8"/>
                  </a:lnTo>
                  <a:lnTo>
                    <a:pt x="144" y="10"/>
                  </a:lnTo>
                  <a:lnTo>
                    <a:pt x="146" y="12"/>
                  </a:lnTo>
                  <a:lnTo>
                    <a:pt x="150" y="16"/>
                  </a:lnTo>
                  <a:lnTo>
                    <a:pt x="152" y="18"/>
                  </a:lnTo>
                  <a:lnTo>
                    <a:pt x="118" y="3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4" name="Freeform 51">
              <a:extLst>
                <a:ext uri="{FF2B5EF4-FFF2-40B4-BE49-F238E27FC236}">
                  <a16:creationId xmlns:a16="http://schemas.microsoft.com/office/drawing/2014/main" id="{A6D1B883-8349-4382-9178-EE2D99275FBE}"/>
                </a:ext>
              </a:extLst>
            </p:cNvPr>
            <p:cNvSpPr>
              <a:spLocks/>
            </p:cNvSpPr>
            <p:nvPr/>
          </p:nvSpPr>
          <p:spPr bwMode="auto">
            <a:xfrm>
              <a:off x="5966645" y="3295192"/>
              <a:ext cx="263275" cy="197457"/>
            </a:xfrm>
            <a:custGeom>
              <a:avLst/>
              <a:gdLst>
                <a:gd name="T0" fmla="*/ 120 w 152"/>
                <a:gd name="T1" fmla="*/ 34 h 114"/>
                <a:gd name="T2" fmla="*/ 124 w 152"/>
                <a:gd name="T3" fmla="*/ 36 h 114"/>
                <a:gd name="T4" fmla="*/ 130 w 152"/>
                <a:gd name="T5" fmla="*/ 38 h 114"/>
                <a:gd name="T6" fmla="*/ 132 w 152"/>
                <a:gd name="T7" fmla="*/ 44 h 114"/>
                <a:gd name="T8" fmla="*/ 134 w 152"/>
                <a:gd name="T9" fmla="*/ 56 h 114"/>
                <a:gd name="T10" fmla="*/ 132 w 152"/>
                <a:gd name="T11" fmla="*/ 66 h 114"/>
                <a:gd name="T12" fmla="*/ 130 w 152"/>
                <a:gd name="T13" fmla="*/ 76 h 114"/>
                <a:gd name="T14" fmla="*/ 126 w 152"/>
                <a:gd name="T15" fmla="*/ 80 h 114"/>
                <a:gd name="T16" fmla="*/ 118 w 152"/>
                <a:gd name="T17" fmla="*/ 82 h 114"/>
                <a:gd name="T18" fmla="*/ 116 w 152"/>
                <a:gd name="T19" fmla="*/ 88 h 114"/>
                <a:gd name="T20" fmla="*/ 112 w 152"/>
                <a:gd name="T21" fmla="*/ 92 h 114"/>
                <a:gd name="T22" fmla="*/ 104 w 152"/>
                <a:gd name="T23" fmla="*/ 94 h 114"/>
                <a:gd name="T24" fmla="*/ 92 w 152"/>
                <a:gd name="T25" fmla="*/ 94 h 114"/>
                <a:gd name="T26" fmla="*/ 88 w 152"/>
                <a:gd name="T27" fmla="*/ 98 h 114"/>
                <a:gd name="T28" fmla="*/ 88 w 152"/>
                <a:gd name="T29" fmla="*/ 100 h 114"/>
                <a:gd name="T30" fmla="*/ 88 w 152"/>
                <a:gd name="T31" fmla="*/ 106 h 114"/>
                <a:gd name="T32" fmla="*/ 84 w 152"/>
                <a:gd name="T33" fmla="*/ 114 h 114"/>
                <a:gd name="T34" fmla="*/ 78 w 152"/>
                <a:gd name="T35" fmla="*/ 96 h 114"/>
                <a:gd name="T36" fmla="*/ 74 w 152"/>
                <a:gd name="T37" fmla="*/ 84 h 114"/>
                <a:gd name="T38" fmla="*/ 70 w 152"/>
                <a:gd name="T39" fmla="*/ 78 h 114"/>
                <a:gd name="T40" fmla="*/ 68 w 152"/>
                <a:gd name="T41" fmla="*/ 78 h 114"/>
                <a:gd name="T42" fmla="*/ 64 w 152"/>
                <a:gd name="T43" fmla="*/ 80 h 114"/>
                <a:gd name="T44" fmla="*/ 54 w 152"/>
                <a:gd name="T45" fmla="*/ 88 h 114"/>
                <a:gd name="T46" fmla="*/ 48 w 152"/>
                <a:gd name="T47" fmla="*/ 90 h 114"/>
                <a:gd name="T48" fmla="*/ 34 w 152"/>
                <a:gd name="T49" fmla="*/ 92 h 114"/>
                <a:gd name="T50" fmla="*/ 16 w 152"/>
                <a:gd name="T51" fmla="*/ 88 h 114"/>
                <a:gd name="T52" fmla="*/ 12 w 152"/>
                <a:gd name="T53" fmla="*/ 76 h 114"/>
                <a:gd name="T54" fmla="*/ 22 w 152"/>
                <a:gd name="T55" fmla="*/ 72 h 114"/>
                <a:gd name="T56" fmla="*/ 40 w 152"/>
                <a:gd name="T57" fmla="*/ 66 h 114"/>
                <a:gd name="T58" fmla="*/ 52 w 152"/>
                <a:gd name="T59" fmla="*/ 62 h 114"/>
                <a:gd name="T60" fmla="*/ 54 w 152"/>
                <a:gd name="T61" fmla="*/ 58 h 114"/>
                <a:gd name="T62" fmla="*/ 58 w 152"/>
                <a:gd name="T63" fmla="*/ 54 h 114"/>
                <a:gd name="T64" fmla="*/ 56 w 152"/>
                <a:gd name="T65" fmla="*/ 50 h 114"/>
                <a:gd name="T66" fmla="*/ 48 w 152"/>
                <a:gd name="T67" fmla="*/ 44 h 114"/>
                <a:gd name="T68" fmla="*/ 44 w 152"/>
                <a:gd name="T69" fmla="*/ 42 h 114"/>
                <a:gd name="T70" fmla="*/ 38 w 152"/>
                <a:gd name="T71" fmla="*/ 44 h 114"/>
                <a:gd name="T72" fmla="*/ 34 w 152"/>
                <a:gd name="T73" fmla="*/ 44 h 114"/>
                <a:gd name="T74" fmla="*/ 26 w 152"/>
                <a:gd name="T75" fmla="*/ 40 h 114"/>
                <a:gd name="T76" fmla="*/ 22 w 152"/>
                <a:gd name="T77" fmla="*/ 36 h 114"/>
                <a:gd name="T78" fmla="*/ 22 w 152"/>
                <a:gd name="T79" fmla="*/ 32 h 114"/>
                <a:gd name="T80" fmla="*/ 26 w 152"/>
                <a:gd name="T81" fmla="*/ 26 h 114"/>
                <a:gd name="T82" fmla="*/ 28 w 152"/>
                <a:gd name="T83" fmla="*/ 24 h 114"/>
                <a:gd name="T84" fmla="*/ 28 w 152"/>
                <a:gd name="T85" fmla="*/ 18 h 114"/>
                <a:gd name="T86" fmla="*/ 26 w 152"/>
                <a:gd name="T87" fmla="*/ 12 h 114"/>
                <a:gd name="T88" fmla="*/ 30 w 152"/>
                <a:gd name="T89" fmla="*/ 6 h 114"/>
                <a:gd name="T90" fmla="*/ 36 w 152"/>
                <a:gd name="T91" fmla="*/ 2 h 114"/>
                <a:gd name="T92" fmla="*/ 38 w 152"/>
                <a:gd name="T93" fmla="*/ 2 h 114"/>
                <a:gd name="T94" fmla="*/ 44 w 152"/>
                <a:gd name="T95" fmla="*/ 8 h 114"/>
                <a:gd name="T96" fmla="*/ 48 w 152"/>
                <a:gd name="T97" fmla="*/ 14 h 114"/>
                <a:gd name="T98" fmla="*/ 50 w 152"/>
                <a:gd name="T99" fmla="*/ 16 h 114"/>
                <a:gd name="T100" fmla="*/ 52 w 152"/>
                <a:gd name="T101" fmla="*/ 12 h 114"/>
                <a:gd name="T102" fmla="*/ 56 w 152"/>
                <a:gd name="T103" fmla="*/ 4 h 114"/>
                <a:gd name="T104" fmla="*/ 62 w 152"/>
                <a:gd name="T105" fmla="*/ 2 h 114"/>
                <a:gd name="T106" fmla="*/ 72 w 152"/>
                <a:gd name="T107" fmla="*/ 0 h 114"/>
                <a:gd name="T108" fmla="*/ 76 w 152"/>
                <a:gd name="T109" fmla="*/ 0 h 114"/>
                <a:gd name="T110" fmla="*/ 82 w 152"/>
                <a:gd name="T111" fmla="*/ 6 h 114"/>
                <a:gd name="T112" fmla="*/ 86 w 152"/>
                <a:gd name="T113" fmla="*/ 10 h 114"/>
                <a:gd name="T114" fmla="*/ 92 w 152"/>
                <a:gd name="T115" fmla="*/ 10 h 114"/>
                <a:gd name="T116" fmla="*/ 114 w 152"/>
                <a:gd name="T117" fmla="*/ 4 h 114"/>
                <a:gd name="T118" fmla="*/ 126 w 152"/>
                <a:gd name="T119" fmla="*/ 4 h 114"/>
                <a:gd name="T120" fmla="*/ 136 w 152"/>
                <a:gd name="T121" fmla="*/ 6 h 114"/>
                <a:gd name="T122" fmla="*/ 144 w 152"/>
                <a:gd name="T123" fmla="*/ 10 h 114"/>
                <a:gd name="T124" fmla="*/ 118 w 152"/>
                <a:gd name="T125" fmla="*/ 3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 h="114">
                  <a:moveTo>
                    <a:pt x="118" y="32"/>
                  </a:moveTo>
                  <a:lnTo>
                    <a:pt x="118" y="32"/>
                  </a:lnTo>
                  <a:lnTo>
                    <a:pt x="118" y="34"/>
                  </a:lnTo>
                  <a:lnTo>
                    <a:pt x="120" y="34"/>
                  </a:lnTo>
                  <a:lnTo>
                    <a:pt x="120" y="34"/>
                  </a:lnTo>
                  <a:lnTo>
                    <a:pt x="120" y="34"/>
                  </a:lnTo>
                  <a:lnTo>
                    <a:pt x="122" y="34"/>
                  </a:lnTo>
                  <a:lnTo>
                    <a:pt x="124" y="36"/>
                  </a:lnTo>
                  <a:lnTo>
                    <a:pt x="126" y="36"/>
                  </a:lnTo>
                  <a:lnTo>
                    <a:pt x="128" y="36"/>
                  </a:lnTo>
                  <a:lnTo>
                    <a:pt x="130" y="36"/>
                  </a:lnTo>
                  <a:lnTo>
                    <a:pt x="130" y="38"/>
                  </a:lnTo>
                  <a:lnTo>
                    <a:pt x="130" y="38"/>
                  </a:lnTo>
                  <a:lnTo>
                    <a:pt x="132" y="40"/>
                  </a:lnTo>
                  <a:lnTo>
                    <a:pt x="132" y="42"/>
                  </a:lnTo>
                  <a:lnTo>
                    <a:pt x="132" y="44"/>
                  </a:lnTo>
                  <a:lnTo>
                    <a:pt x="132" y="46"/>
                  </a:lnTo>
                  <a:lnTo>
                    <a:pt x="134" y="50"/>
                  </a:lnTo>
                  <a:lnTo>
                    <a:pt x="134" y="52"/>
                  </a:lnTo>
                  <a:lnTo>
                    <a:pt x="134" y="56"/>
                  </a:lnTo>
                  <a:lnTo>
                    <a:pt x="134" y="58"/>
                  </a:lnTo>
                  <a:lnTo>
                    <a:pt x="134" y="60"/>
                  </a:lnTo>
                  <a:lnTo>
                    <a:pt x="134" y="64"/>
                  </a:lnTo>
                  <a:lnTo>
                    <a:pt x="132" y="66"/>
                  </a:lnTo>
                  <a:lnTo>
                    <a:pt x="132" y="70"/>
                  </a:lnTo>
                  <a:lnTo>
                    <a:pt x="132" y="72"/>
                  </a:lnTo>
                  <a:lnTo>
                    <a:pt x="130" y="74"/>
                  </a:lnTo>
                  <a:lnTo>
                    <a:pt x="130" y="76"/>
                  </a:lnTo>
                  <a:lnTo>
                    <a:pt x="128" y="78"/>
                  </a:lnTo>
                  <a:lnTo>
                    <a:pt x="128" y="78"/>
                  </a:lnTo>
                  <a:lnTo>
                    <a:pt x="128" y="80"/>
                  </a:lnTo>
                  <a:lnTo>
                    <a:pt x="126" y="80"/>
                  </a:lnTo>
                  <a:lnTo>
                    <a:pt x="126" y="80"/>
                  </a:lnTo>
                  <a:lnTo>
                    <a:pt x="124" y="82"/>
                  </a:lnTo>
                  <a:lnTo>
                    <a:pt x="120" y="82"/>
                  </a:lnTo>
                  <a:lnTo>
                    <a:pt x="118" y="82"/>
                  </a:lnTo>
                  <a:lnTo>
                    <a:pt x="118" y="84"/>
                  </a:lnTo>
                  <a:lnTo>
                    <a:pt x="116" y="84"/>
                  </a:lnTo>
                  <a:lnTo>
                    <a:pt x="116" y="86"/>
                  </a:lnTo>
                  <a:lnTo>
                    <a:pt x="116" y="88"/>
                  </a:lnTo>
                  <a:lnTo>
                    <a:pt x="114" y="90"/>
                  </a:lnTo>
                  <a:lnTo>
                    <a:pt x="114" y="92"/>
                  </a:lnTo>
                  <a:lnTo>
                    <a:pt x="112" y="92"/>
                  </a:lnTo>
                  <a:lnTo>
                    <a:pt x="112" y="92"/>
                  </a:lnTo>
                  <a:lnTo>
                    <a:pt x="110" y="94"/>
                  </a:lnTo>
                  <a:lnTo>
                    <a:pt x="108" y="94"/>
                  </a:lnTo>
                  <a:lnTo>
                    <a:pt x="106" y="94"/>
                  </a:lnTo>
                  <a:lnTo>
                    <a:pt x="104" y="94"/>
                  </a:lnTo>
                  <a:lnTo>
                    <a:pt x="100" y="94"/>
                  </a:lnTo>
                  <a:lnTo>
                    <a:pt x="96" y="94"/>
                  </a:lnTo>
                  <a:lnTo>
                    <a:pt x="94" y="94"/>
                  </a:lnTo>
                  <a:lnTo>
                    <a:pt x="92" y="94"/>
                  </a:lnTo>
                  <a:lnTo>
                    <a:pt x="90" y="96"/>
                  </a:lnTo>
                  <a:lnTo>
                    <a:pt x="90" y="96"/>
                  </a:lnTo>
                  <a:lnTo>
                    <a:pt x="88" y="96"/>
                  </a:lnTo>
                  <a:lnTo>
                    <a:pt x="88" y="98"/>
                  </a:lnTo>
                  <a:lnTo>
                    <a:pt x="88" y="98"/>
                  </a:lnTo>
                  <a:lnTo>
                    <a:pt x="86" y="98"/>
                  </a:lnTo>
                  <a:lnTo>
                    <a:pt x="88" y="100"/>
                  </a:lnTo>
                  <a:lnTo>
                    <a:pt x="88" y="100"/>
                  </a:lnTo>
                  <a:lnTo>
                    <a:pt x="88" y="102"/>
                  </a:lnTo>
                  <a:lnTo>
                    <a:pt x="88" y="104"/>
                  </a:lnTo>
                  <a:lnTo>
                    <a:pt x="88" y="106"/>
                  </a:lnTo>
                  <a:lnTo>
                    <a:pt x="88" y="106"/>
                  </a:lnTo>
                  <a:lnTo>
                    <a:pt x="88" y="108"/>
                  </a:lnTo>
                  <a:lnTo>
                    <a:pt x="88" y="108"/>
                  </a:lnTo>
                  <a:lnTo>
                    <a:pt x="86" y="110"/>
                  </a:lnTo>
                  <a:lnTo>
                    <a:pt x="84" y="114"/>
                  </a:lnTo>
                  <a:lnTo>
                    <a:pt x="82" y="114"/>
                  </a:lnTo>
                  <a:lnTo>
                    <a:pt x="82" y="108"/>
                  </a:lnTo>
                  <a:lnTo>
                    <a:pt x="80" y="104"/>
                  </a:lnTo>
                  <a:lnTo>
                    <a:pt x="78" y="96"/>
                  </a:lnTo>
                  <a:lnTo>
                    <a:pt x="78" y="94"/>
                  </a:lnTo>
                  <a:lnTo>
                    <a:pt x="76" y="90"/>
                  </a:lnTo>
                  <a:lnTo>
                    <a:pt x="76" y="88"/>
                  </a:lnTo>
                  <a:lnTo>
                    <a:pt x="74" y="84"/>
                  </a:lnTo>
                  <a:lnTo>
                    <a:pt x="72" y="82"/>
                  </a:lnTo>
                  <a:lnTo>
                    <a:pt x="72" y="80"/>
                  </a:lnTo>
                  <a:lnTo>
                    <a:pt x="72" y="80"/>
                  </a:lnTo>
                  <a:lnTo>
                    <a:pt x="70" y="78"/>
                  </a:lnTo>
                  <a:lnTo>
                    <a:pt x="70" y="78"/>
                  </a:lnTo>
                  <a:lnTo>
                    <a:pt x="70" y="78"/>
                  </a:lnTo>
                  <a:lnTo>
                    <a:pt x="68" y="78"/>
                  </a:lnTo>
                  <a:lnTo>
                    <a:pt x="68" y="78"/>
                  </a:lnTo>
                  <a:lnTo>
                    <a:pt x="66" y="78"/>
                  </a:lnTo>
                  <a:lnTo>
                    <a:pt x="66" y="78"/>
                  </a:lnTo>
                  <a:lnTo>
                    <a:pt x="64" y="78"/>
                  </a:lnTo>
                  <a:lnTo>
                    <a:pt x="64" y="80"/>
                  </a:lnTo>
                  <a:lnTo>
                    <a:pt x="62" y="80"/>
                  </a:lnTo>
                  <a:lnTo>
                    <a:pt x="60" y="82"/>
                  </a:lnTo>
                  <a:lnTo>
                    <a:pt x="56" y="86"/>
                  </a:lnTo>
                  <a:lnTo>
                    <a:pt x="54" y="88"/>
                  </a:lnTo>
                  <a:lnTo>
                    <a:pt x="52" y="90"/>
                  </a:lnTo>
                  <a:lnTo>
                    <a:pt x="52" y="90"/>
                  </a:lnTo>
                  <a:lnTo>
                    <a:pt x="50" y="90"/>
                  </a:lnTo>
                  <a:lnTo>
                    <a:pt x="48" y="90"/>
                  </a:lnTo>
                  <a:lnTo>
                    <a:pt x="44" y="92"/>
                  </a:lnTo>
                  <a:lnTo>
                    <a:pt x="40" y="92"/>
                  </a:lnTo>
                  <a:lnTo>
                    <a:pt x="36" y="92"/>
                  </a:lnTo>
                  <a:lnTo>
                    <a:pt x="34" y="92"/>
                  </a:lnTo>
                  <a:lnTo>
                    <a:pt x="32" y="92"/>
                  </a:lnTo>
                  <a:lnTo>
                    <a:pt x="28" y="92"/>
                  </a:lnTo>
                  <a:lnTo>
                    <a:pt x="22" y="90"/>
                  </a:lnTo>
                  <a:lnTo>
                    <a:pt x="16" y="88"/>
                  </a:lnTo>
                  <a:lnTo>
                    <a:pt x="4" y="86"/>
                  </a:lnTo>
                  <a:lnTo>
                    <a:pt x="0" y="86"/>
                  </a:lnTo>
                  <a:lnTo>
                    <a:pt x="8" y="80"/>
                  </a:lnTo>
                  <a:lnTo>
                    <a:pt x="12" y="76"/>
                  </a:lnTo>
                  <a:lnTo>
                    <a:pt x="16" y="74"/>
                  </a:lnTo>
                  <a:lnTo>
                    <a:pt x="18" y="74"/>
                  </a:lnTo>
                  <a:lnTo>
                    <a:pt x="20" y="72"/>
                  </a:lnTo>
                  <a:lnTo>
                    <a:pt x="22" y="72"/>
                  </a:lnTo>
                  <a:lnTo>
                    <a:pt x="26" y="70"/>
                  </a:lnTo>
                  <a:lnTo>
                    <a:pt x="30" y="70"/>
                  </a:lnTo>
                  <a:lnTo>
                    <a:pt x="36" y="68"/>
                  </a:lnTo>
                  <a:lnTo>
                    <a:pt x="40" y="66"/>
                  </a:lnTo>
                  <a:lnTo>
                    <a:pt x="46" y="66"/>
                  </a:lnTo>
                  <a:lnTo>
                    <a:pt x="48" y="64"/>
                  </a:lnTo>
                  <a:lnTo>
                    <a:pt x="50" y="64"/>
                  </a:lnTo>
                  <a:lnTo>
                    <a:pt x="52" y="62"/>
                  </a:lnTo>
                  <a:lnTo>
                    <a:pt x="52" y="62"/>
                  </a:lnTo>
                  <a:lnTo>
                    <a:pt x="54" y="60"/>
                  </a:lnTo>
                  <a:lnTo>
                    <a:pt x="54" y="60"/>
                  </a:lnTo>
                  <a:lnTo>
                    <a:pt x="54" y="58"/>
                  </a:lnTo>
                  <a:lnTo>
                    <a:pt x="56" y="58"/>
                  </a:lnTo>
                  <a:lnTo>
                    <a:pt x="56" y="56"/>
                  </a:lnTo>
                  <a:lnTo>
                    <a:pt x="58" y="56"/>
                  </a:lnTo>
                  <a:lnTo>
                    <a:pt x="58" y="54"/>
                  </a:lnTo>
                  <a:lnTo>
                    <a:pt x="58" y="54"/>
                  </a:lnTo>
                  <a:lnTo>
                    <a:pt x="58" y="52"/>
                  </a:lnTo>
                  <a:lnTo>
                    <a:pt x="56" y="52"/>
                  </a:lnTo>
                  <a:lnTo>
                    <a:pt x="56" y="50"/>
                  </a:lnTo>
                  <a:lnTo>
                    <a:pt x="54" y="48"/>
                  </a:lnTo>
                  <a:lnTo>
                    <a:pt x="52" y="46"/>
                  </a:lnTo>
                  <a:lnTo>
                    <a:pt x="50" y="44"/>
                  </a:lnTo>
                  <a:lnTo>
                    <a:pt x="48" y="44"/>
                  </a:lnTo>
                  <a:lnTo>
                    <a:pt x="46" y="42"/>
                  </a:lnTo>
                  <a:lnTo>
                    <a:pt x="46" y="42"/>
                  </a:lnTo>
                  <a:lnTo>
                    <a:pt x="44" y="42"/>
                  </a:lnTo>
                  <a:lnTo>
                    <a:pt x="44" y="42"/>
                  </a:lnTo>
                  <a:lnTo>
                    <a:pt x="42" y="42"/>
                  </a:lnTo>
                  <a:lnTo>
                    <a:pt x="40" y="42"/>
                  </a:lnTo>
                  <a:lnTo>
                    <a:pt x="40" y="44"/>
                  </a:lnTo>
                  <a:lnTo>
                    <a:pt x="38" y="44"/>
                  </a:lnTo>
                  <a:lnTo>
                    <a:pt x="36" y="44"/>
                  </a:lnTo>
                  <a:lnTo>
                    <a:pt x="34" y="44"/>
                  </a:lnTo>
                  <a:lnTo>
                    <a:pt x="34" y="44"/>
                  </a:lnTo>
                  <a:lnTo>
                    <a:pt x="34" y="44"/>
                  </a:lnTo>
                  <a:lnTo>
                    <a:pt x="32" y="44"/>
                  </a:lnTo>
                  <a:lnTo>
                    <a:pt x="30" y="42"/>
                  </a:lnTo>
                  <a:lnTo>
                    <a:pt x="28" y="42"/>
                  </a:lnTo>
                  <a:lnTo>
                    <a:pt x="26" y="40"/>
                  </a:lnTo>
                  <a:lnTo>
                    <a:pt x="24" y="38"/>
                  </a:lnTo>
                  <a:lnTo>
                    <a:pt x="22" y="36"/>
                  </a:lnTo>
                  <a:lnTo>
                    <a:pt x="22" y="36"/>
                  </a:lnTo>
                  <a:lnTo>
                    <a:pt x="22" y="36"/>
                  </a:lnTo>
                  <a:lnTo>
                    <a:pt x="22" y="34"/>
                  </a:lnTo>
                  <a:lnTo>
                    <a:pt x="22" y="34"/>
                  </a:lnTo>
                  <a:lnTo>
                    <a:pt x="22" y="34"/>
                  </a:lnTo>
                  <a:lnTo>
                    <a:pt x="22" y="32"/>
                  </a:lnTo>
                  <a:lnTo>
                    <a:pt x="22" y="32"/>
                  </a:lnTo>
                  <a:lnTo>
                    <a:pt x="24" y="30"/>
                  </a:lnTo>
                  <a:lnTo>
                    <a:pt x="24" y="28"/>
                  </a:lnTo>
                  <a:lnTo>
                    <a:pt x="26" y="26"/>
                  </a:lnTo>
                  <a:lnTo>
                    <a:pt x="28" y="24"/>
                  </a:lnTo>
                  <a:lnTo>
                    <a:pt x="28" y="24"/>
                  </a:lnTo>
                  <a:lnTo>
                    <a:pt x="28" y="24"/>
                  </a:lnTo>
                  <a:lnTo>
                    <a:pt x="28" y="24"/>
                  </a:lnTo>
                  <a:lnTo>
                    <a:pt x="28" y="22"/>
                  </a:lnTo>
                  <a:lnTo>
                    <a:pt x="28" y="20"/>
                  </a:lnTo>
                  <a:lnTo>
                    <a:pt x="28" y="18"/>
                  </a:lnTo>
                  <a:lnTo>
                    <a:pt x="28" y="18"/>
                  </a:lnTo>
                  <a:lnTo>
                    <a:pt x="26" y="16"/>
                  </a:lnTo>
                  <a:lnTo>
                    <a:pt x="26" y="14"/>
                  </a:lnTo>
                  <a:lnTo>
                    <a:pt x="26" y="12"/>
                  </a:lnTo>
                  <a:lnTo>
                    <a:pt x="26" y="12"/>
                  </a:lnTo>
                  <a:lnTo>
                    <a:pt x="26" y="10"/>
                  </a:lnTo>
                  <a:lnTo>
                    <a:pt x="26" y="10"/>
                  </a:lnTo>
                  <a:lnTo>
                    <a:pt x="28" y="8"/>
                  </a:lnTo>
                  <a:lnTo>
                    <a:pt x="30" y="6"/>
                  </a:lnTo>
                  <a:lnTo>
                    <a:pt x="30" y="6"/>
                  </a:lnTo>
                  <a:lnTo>
                    <a:pt x="32" y="4"/>
                  </a:lnTo>
                  <a:lnTo>
                    <a:pt x="34" y="2"/>
                  </a:lnTo>
                  <a:lnTo>
                    <a:pt x="36" y="2"/>
                  </a:lnTo>
                  <a:lnTo>
                    <a:pt x="36" y="2"/>
                  </a:lnTo>
                  <a:lnTo>
                    <a:pt x="36" y="2"/>
                  </a:lnTo>
                  <a:lnTo>
                    <a:pt x="38" y="2"/>
                  </a:lnTo>
                  <a:lnTo>
                    <a:pt x="38" y="2"/>
                  </a:lnTo>
                  <a:lnTo>
                    <a:pt x="40" y="4"/>
                  </a:lnTo>
                  <a:lnTo>
                    <a:pt x="40" y="4"/>
                  </a:lnTo>
                  <a:lnTo>
                    <a:pt x="42" y="6"/>
                  </a:lnTo>
                  <a:lnTo>
                    <a:pt x="44" y="8"/>
                  </a:lnTo>
                  <a:lnTo>
                    <a:pt x="46" y="12"/>
                  </a:lnTo>
                  <a:lnTo>
                    <a:pt x="46" y="12"/>
                  </a:lnTo>
                  <a:lnTo>
                    <a:pt x="46" y="14"/>
                  </a:lnTo>
                  <a:lnTo>
                    <a:pt x="48" y="14"/>
                  </a:lnTo>
                  <a:lnTo>
                    <a:pt x="48" y="16"/>
                  </a:lnTo>
                  <a:lnTo>
                    <a:pt x="50" y="16"/>
                  </a:lnTo>
                  <a:lnTo>
                    <a:pt x="50" y="16"/>
                  </a:lnTo>
                  <a:lnTo>
                    <a:pt x="50" y="16"/>
                  </a:lnTo>
                  <a:lnTo>
                    <a:pt x="52" y="14"/>
                  </a:lnTo>
                  <a:lnTo>
                    <a:pt x="52" y="14"/>
                  </a:lnTo>
                  <a:lnTo>
                    <a:pt x="52" y="14"/>
                  </a:lnTo>
                  <a:lnTo>
                    <a:pt x="52" y="12"/>
                  </a:lnTo>
                  <a:lnTo>
                    <a:pt x="54" y="10"/>
                  </a:lnTo>
                  <a:lnTo>
                    <a:pt x="54" y="6"/>
                  </a:lnTo>
                  <a:lnTo>
                    <a:pt x="56" y="6"/>
                  </a:lnTo>
                  <a:lnTo>
                    <a:pt x="56" y="4"/>
                  </a:lnTo>
                  <a:lnTo>
                    <a:pt x="56" y="4"/>
                  </a:lnTo>
                  <a:lnTo>
                    <a:pt x="58" y="4"/>
                  </a:lnTo>
                  <a:lnTo>
                    <a:pt x="60" y="2"/>
                  </a:lnTo>
                  <a:lnTo>
                    <a:pt x="62" y="2"/>
                  </a:lnTo>
                  <a:lnTo>
                    <a:pt x="64" y="0"/>
                  </a:lnTo>
                  <a:lnTo>
                    <a:pt x="68" y="0"/>
                  </a:lnTo>
                  <a:lnTo>
                    <a:pt x="70" y="0"/>
                  </a:lnTo>
                  <a:lnTo>
                    <a:pt x="72" y="0"/>
                  </a:lnTo>
                  <a:lnTo>
                    <a:pt x="74" y="0"/>
                  </a:lnTo>
                  <a:lnTo>
                    <a:pt x="74" y="0"/>
                  </a:lnTo>
                  <a:lnTo>
                    <a:pt x="74" y="0"/>
                  </a:lnTo>
                  <a:lnTo>
                    <a:pt x="76" y="0"/>
                  </a:lnTo>
                  <a:lnTo>
                    <a:pt x="76" y="2"/>
                  </a:lnTo>
                  <a:lnTo>
                    <a:pt x="78" y="2"/>
                  </a:lnTo>
                  <a:lnTo>
                    <a:pt x="80" y="4"/>
                  </a:lnTo>
                  <a:lnTo>
                    <a:pt x="82" y="6"/>
                  </a:lnTo>
                  <a:lnTo>
                    <a:pt x="82" y="8"/>
                  </a:lnTo>
                  <a:lnTo>
                    <a:pt x="84" y="8"/>
                  </a:lnTo>
                  <a:lnTo>
                    <a:pt x="84" y="8"/>
                  </a:lnTo>
                  <a:lnTo>
                    <a:pt x="86" y="10"/>
                  </a:lnTo>
                  <a:lnTo>
                    <a:pt x="86" y="10"/>
                  </a:lnTo>
                  <a:lnTo>
                    <a:pt x="88" y="10"/>
                  </a:lnTo>
                  <a:lnTo>
                    <a:pt x="90" y="10"/>
                  </a:lnTo>
                  <a:lnTo>
                    <a:pt x="92" y="10"/>
                  </a:lnTo>
                  <a:lnTo>
                    <a:pt x="96" y="8"/>
                  </a:lnTo>
                  <a:lnTo>
                    <a:pt x="100" y="8"/>
                  </a:lnTo>
                  <a:lnTo>
                    <a:pt x="110" y="6"/>
                  </a:lnTo>
                  <a:lnTo>
                    <a:pt x="114" y="4"/>
                  </a:lnTo>
                  <a:lnTo>
                    <a:pt x="114" y="4"/>
                  </a:lnTo>
                  <a:lnTo>
                    <a:pt x="116" y="4"/>
                  </a:lnTo>
                  <a:lnTo>
                    <a:pt x="120" y="4"/>
                  </a:lnTo>
                  <a:lnTo>
                    <a:pt x="126" y="4"/>
                  </a:lnTo>
                  <a:lnTo>
                    <a:pt x="128" y="4"/>
                  </a:lnTo>
                  <a:lnTo>
                    <a:pt x="132" y="4"/>
                  </a:lnTo>
                  <a:lnTo>
                    <a:pt x="134" y="6"/>
                  </a:lnTo>
                  <a:lnTo>
                    <a:pt x="136" y="6"/>
                  </a:lnTo>
                  <a:lnTo>
                    <a:pt x="136" y="6"/>
                  </a:lnTo>
                  <a:lnTo>
                    <a:pt x="138" y="6"/>
                  </a:lnTo>
                  <a:lnTo>
                    <a:pt x="140" y="8"/>
                  </a:lnTo>
                  <a:lnTo>
                    <a:pt x="144" y="10"/>
                  </a:lnTo>
                  <a:lnTo>
                    <a:pt x="146" y="12"/>
                  </a:lnTo>
                  <a:lnTo>
                    <a:pt x="150" y="16"/>
                  </a:lnTo>
                  <a:lnTo>
                    <a:pt x="152" y="18"/>
                  </a:lnTo>
                  <a:lnTo>
                    <a:pt x="118" y="3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5" name="Freeform 52">
              <a:extLst>
                <a:ext uri="{FF2B5EF4-FFF2-40B4-BE49-F238E27FC236}">
                  <a16:creationId xmlns:a16="http://schemas.microsoft.com/office/drawing/2014/main" id="{8A8B852C-5431-4457-8C9F-5BD672C967EF}"/>
                </a:ext>
              </a:extLst>
            </p:cNvPr>
            <p:cNvSpPr>
              <a:spLocks/>
            </p:cNvSpPr>
            <p:nvPr/>
          </p:nvSpPr>
          <p:spPr bwMode="auto">
            <a:xfrm>
              <a:off x="5966645" y="3295192"/>
              <a:ext cx="263275" cy="197457"/>
            </a:xfrm>
            <a:custGeom>
              <a:avLst/>
              <a:gdLst>
                <a:gd name="T0" fmla="*/ 120 w 152"/>
                <a:gd name="T1" fmla="*/ 34 h 114"/>
                <a:gd name="T2" fmla="*/ 124 w 152"/>
                <a:gd name="T3" fmla="*/ 36 h 114"/>
                <a:gd name="T4" fmla="*/ 130 w 152"/>
                <a:gd name="T5" fmla="*/ 38 h 114"/>
                <a:gd name="T6" fmla="*/ 132 w 152"/>
                <a:gd name="T7" fmla="*/ 44 h 114"/>
                <a:gd name="T8" fmla="*/ 134 w 152"/>
                <a:gd name="T9" fmla="*/ 56 h 114"/>
                <a:gd name="T10" fmla="*/ 132 w 152"/>
                <a:gd name="T11" fmla="*/ 66 h 114"/>
                <a:gd name="T12" fmla="*/ 130 w 152"/>
                <a:gd name="T13" fmla="*/ 76 h 114"/>
                <a:gd name="T14" fmla="*/ 126 w 152"/>
                <a:gd name="T15" fmla="*/ 80 h 114"/>
                <a:gd name="T16" fmla="*/ 118 w 152"/>
                <a:gd name="T17" fmla="*/ 82 h 114"/>
                <a:gd name="T18" fmla="*/ 116 w 152"/>
                <a:gd name="T19" fmla="*/ 88 h 114"/>
                <a:gd name="T20" fmla="*/ 112 w 152"/>
                <a:gd name="T21" fmla="*/ 92 h 114"/>
                <a:gd name="T22" fmla="*/ 104 w 152"/>
                <a:gd name="T23" fmla="*/ 94 h 114"/>
                <a:gd name="T24" fmla="*/ 92 w 152"/>
                <a:gd name="T25" fmla="*/ 94 h 114"/>
                <a:gd name="T26" fmla="*/ 88 w 152"/>
                <a:gd name="T27" fmla="*/ 98 h 114"/>
                <a:gd name="T28" fmla="*/ 88 w 152"/>
                <a:gd name="T29" fmla="*/ 100 h 114"/>
                <a:gd name="T30" fmla="*/ 88 w 152"/>
                <a:gd name="T31" fmla="*/ 106 h 114"/>
                <a:gd name="T32" fmla="*/ 84 w 152"/>
                <a:gd name="T33" fmla="*/ 114 h 114"/>
                <a:gd name="T34" fmla="*/ 78 w 152"/>
                <a:gd name="T35" fmla="*/ 96 h 114"/>
                <a:gd name="T36" fmla="*/ 74 w 152"/>
                <a:gd name="T37" fmla="*/ 84 h 114"/>
                <a:gd name="T38" fmla="*/ 70 w 152"/>
                <a:gd name="T39" fmla="*/ 78 h 114"/>
                <a:gd name="T40" fmla="*/ 68 w 152"/>
                <a:gd name="T41" fmla="*/ 78 h 114"/>
                <a:gd name="T42" fmla="*/ 64 w 152"/>
                <a:gd name="T43" fmla="*/ 80 h 114"/>
                <a:gd name="T44" fmla="*/ 54 w 152"/>
                <a:gd name="T45" fmla="*/ 88 h 114"/>
                <a:gd name="T46" fmla="*/ 48 w 152"/>
                <a:gd name="T47" fmla="*/ 90 h 114"/>
                <a:gd name="T48" fmla="*/ 34 w 152"/>
                <a:gd name="T49" fmla="*/ 92 h 114"/>
                <a:gd name="T50" fmla="*/ 16 w 152"/>
                <a:gd name="T51" fmla="*/ 88 h 114"/>
                <a:gd name="T52" fmla="*/ 12 w 152"/>
                <a:gd name="T53" fmla="*/ 76 h 114"/>
                <a:gd name="T54" fmla="*/ 22 w 152"/>
                <a:gd name="T55" fmla="*/ 72 h 114"/>
                <a:gd name="T56" fmla="*/ 40 w 152"/>
                <a:gd name="T57" fmla="*/ 66 h 114"/>
                <a:gd name="T58" fmla="*/ 52 w 152"/>
                <a:gd name="T59" fmla="*/ 62 h 114"/>
                <a:gd name="T60" fmla="*/ 54 w 152"/>
                <a:gd name="T61" fmla="*/ 58 h 114"/>
                <a:gd name="T62" fmla="*/ 58 w 152"/>
                <a:gd name="T63" fmla="*/ 54 h 114"/>
                <a:gd name="T64" fmla="*/ 56 w 152"/>
                <a:gd name="T65" fmla="*/ 50 h 114"/>
                <a:gd name="T66" fmla="*/ 48 w 152"/>
                <a:gd name="T67" fmla="*/ 44 h 114"/>
                <a:gd name="T68" fmla="*/ 44 w 152"/>
                <a:gd name="T69" fmla="*/ 42 h 114"/>
                <a:gd name="T70" fmla="*/ 38 w 152"/>
                <a:gd name="T71" fmla="*/ 44 h 114"/>
                <a:gd name="T72" fmla="*/ 34 w 152"/>
                <a:gd name="T73" fmla="*/ 44 h 114"/>
                <a:gd name="T74" fmla="*/ 26 w 152"/>
                <a:gd name="T75" fmla="*/ 40 h 114"/>
                <a:gd name="T76" fmla="*/ 22 w 152"/>
                <a:gd name="T77" fmla="*/ 36 h 114"/>
                <a:gd name="T78" fmla="*/ 22 w 152"/>
                <a:gd name="T79" fmla="*/ 32 h 114"/>
                <a:gd name="T80" fmla="*/ 26 w 152"/>
                <a:gd name="T81" fmla="*/ 26 h 114"/>
                <a:gd name="T82" fmla="*/ 28 w 152"/>
                <a:gd name="T83" fmla="*/ 24 h 114"/>
                <a:gd name="T84" fmla="*/ 28 w 152"/>
                <a:gd name="T85" fmla="*/ 18 h 114"/>
                <a:gd name="T86" fmla="*/ 26 w 152"/>
                <a:gd name="T87" fmla="*/ 12 h 114"/>
                <a:gd name="T88" fmla="*/ 30 w 152"/>
                <a:gd name="T89" fmla="*/ 6 h 114"/>
                <a:gd name="T90" fmla="*/ 36 w 152"/>
                <a:gd name="T91" fmla="*/ 2 h 114"/>
                <a:gd name="T92" fmla="*/ 38 w 152"/>
                <a:gd name="T93" fmla="*/ 2 h 114"/>
                <a:gd name="T94" fmla="*/ 44 w 152"/>
                <a:gd name="T95" fmla="*/ 8 h 114"/>
                <a:gd name="T96" fmla="*/ 48 w 152"/>
                <a:gd name="T97" fmla="*/ 14 h 114"/>
                <a:gd name="T98" fmla="*/ 50 w 152"/>
                <a:gd name="T99" fmla="*/ 16 h 114"/>
                <a:gd name="T100" fmla="*/ 52 w 152"/>
                <a:gd name="T101" fmla="*/ 12 h 114"/>
                <a:gd name="T102" fmla="*/ 56 w 152"/>
                <a:gd name="T103" fmla="*/ 4 h 114"/>
                <a:gd name="T104" fmla="*/ 62 w 152"/>
                <a:gd name="T105" fmla="*/ 2 h 114"/>
                <a:gd name="T106" fmla="*/ 72 w 152"/>
                <a:gd name="T107" fmla="*/ 0 h 114"/>
                <a:gd name="T108" fmla="*/ 76 w 152"/>
                <a:gd name="T109" fmla="*/ 0 h 114"/>
                <a:gd name="T110" fmla="*/ 82 w 152"/>
                <a:gd name="T111" fmla="*/ 6 h 114"/>
                <a:gd name="T112" fmla="*/ 86 w 152"/>
                <a:gd name="T113" fmla="*/ 10 h 114"/>
                <a:gd name="T114" fmla="*/ 92 w 152"/>
                <a:gd name="T115" fmla="*/ 10 h 114"/>
                <a:gd name="T116" fmla="*/ 114 w 152"/>
                <a:gd name="T117" fmla="*/ 4 h 114"/>
                <a:gd name="T118" fmla="*/ 126 w 152"/>
                <a:gd name="T119" fmla="*/ 4 h 114"/>
                <a:gd name="T120" fmla="*/ 136 w 152"/>
                <a:gd name="T121" fmla="*/ 6 h 114"/>
                <a:gd name="T122" fmla="*/ 144 w 152"/>
                <a:gd name="T123" fmla="*/ 1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2" h="114">
                  <a:moveTo>
                    <a:pt x="118" y="32"/>
                  </a:moveTo>
                  <a:lnTo>
                    <a:pt x="118" y="32"/>
                  </a:lnTo>
                  <a:lnTo>
                    <a:pt x="118" y="34"/>
                  </a:lnTo>
                  <a:lnTo>
                    <a:pt x="120" y="34"/>
                  </a:lnTo>
                  <a:lnTo>
                    <a:pt x="120" y="34"/>
                  </a:lnTo>
                  <a:lnTo>
                    <a:pt x="120" y="34"/>
                  </a:lnTo>
                  <a:lnTo>
                    <a:pt x="122" y="34"/>
                  </a:lnTo>
                  <a:lnTo>
                    <a:pt x="124" y="36"/>
                  </a:lnTo>
                  <a:lnTo>
                    <a:pt x="126" y="36"/>
                  </a:lnTo>
                  <a:lnTo>
                    <a:pt x="128" y="36"/>
                  </a:lnTo>
                  <a:lnTo>
                    <a:pt x="130" y="36"/>
                  </a:lnTo>
                  <a:lnTo>
                    <a:pt x="130" y="38"/>
                  </a:lnTo>
                  <a:lnTo>
                    <a:pt x="130" y="38"/>
                  </a:lnTo>
                  <a:lnTo>
                    <a:pt x="132" y="40"/>
                  </a:lnTo>
                  <a:lnTo>
                    <a:pt x="132" y="42"/>
                  </a:lnTo>
                  <a:lnTo>
                    <a:pt x="132" y="44"/>
                  </a:lnTo>
                  <a:lnTo>
                    <a:pt x="132" y="46"/>
                  </a:lnTo>
                  <a:lnTo>
                    <a:pt x="134" y="50"/>
                  </a:lnTo>
                  <a:lnTo>
                    <a:pt x="134" y="52"/>
                  </a:lnTo>
                  <a:lnTo>
                    <a:pt x="134" y="56"/>
                  </a:lnTo>
                  <a:lnTo>
                    <a:pt x="134" y="58"/>
                  </a:lnTo>
                  <a:lnTo>
                    <a:pt x="134" y="60"/>
                  </a:lnTo>
                  <a:lnTo>
                    <a:pt x="134" y="64"/>
                  </a:lnTo>
                  <a:lnTo>
                    <a:pt x="132" y="66"/>
                  </a:lnTo>
                  <a:lnTo>
                    <a:pt x="132" y="70"/>
                  </a:lnTo>
                  <a:lnTo>
                    <a:pt x="132" y="72"/>
                  </a:lnTo>
                  <a:lnTo>
                    <a:pt x="130" y="74"/>
                  </a:lnTo>
                  <a:lnTo>
                    <a:pt x="130" y="76"/>
                  </a:lnTo>
                  <a:lnTo>
                    <a:pt x="128" y="78"/>
                  </a:lnTo>
                  <a:lnTo>
                    <a:pt x="128" y="78"/>
                  </a:lnTo>
                  <a:lnTo>
                    <a:pt x="128" y="80"/>
                  </a:lnTo>
                  <a:lnTo>
                    <a:pt x="126" y="80"/>
                  </a:lnTo>
                  <a:lnTo>
                    <a:pt x="126" y="80"/>
                  </a:lnTo>
                  <a:lnTo>
                    <a:pt x="124" y="82"/>
                  </a:lnTo>
                  <a:lnTo>
                    <a:pt x="120" y="82"/>
                  </a:lnTo>
                  <a:lnTo>
                    <a:pt x="118" y="82"/>
                  </a:lnTo>
                  <a:lnTo>
                    <a:pt x="118" y="84"/>
                  </a:lnTo>
                  <a:lnTo>
                    <a:pt x="116" y="84"/>
                  </a:lnTo>
                  <a:lnTo>
                    <a:pt x="116" y="86"/>
                  </a:lnTo>
                  <a:lnTo>
                    <a:pt x="116" y="88"/>
                  </a:lnTo>
                  <a:lnTo>
                    <a:pt x="114" y="90"/>
                  </a:lnTo>
                  <a:lnTo>
                    <a:pt x="114" y="92"/>
                  </a:lnTo>
                  <a:lnTo>
                    <a:pt x="112" y="92"/>
                  </a:lnTo>
                  <a:lnTo>
                    <a:pt x="112" y="92"/>
                  </a:lnTo>
                  <a:lnTo>
                    <a:pt x="110" y="94"/>
                  </a:lnTo>
                  <a:lnTo>
                    <a:pt x="108" y="94"/>
                  </a:lnTo>
                  <a:lnTo>
                    <a:pt x="106" y="94"/>
                  </a:lnTo>
                  <a:lnTo>
                    <a:pt x="104" y="94"/>
                  </a:lnTo>
                  <a:lnTo>
                    <a:pt x="100" y="94"/>
                  </a:lnTo>
                  <a:lnTo>
                    <a:pt x="96" y="94"/>
                  </a:lnTo>
                  <a:lnTo>
                    <a:pt x="94" y="94"/>
                  </a:lnTo>
                  <a:lnTo>
                    <a:pt x="92" y="94"/>
                  </a:lnTo>
                  <a:lnTo>
                    <a:pt x="90" y="96"/>
                  </a:lnTo>
                  <a:lnTo>
                    <a:pt x="90" y="96"/>
                  </a:lnTo>
                  <a:lnTo>
                    <a:pt x="88" y="96"/>
                  </a:lnTo>
                  <a:lnTo>
                    <a:pt x="88" y="98"/>
                  </a:lnTo>
                  <a:lnTo>
                    <a:pt x="88" y="98"/>
                  </a:lnTo>
                  <a:lnTo>
                    <a:pt x="86" y="98"/>
                  </a:lnTo>
                  <a:lnTo>
                    <a:pt x="88" y="100"/>
                  </a:lnTo>
                  <a:lnTo>
                    <a:pt x="88" y="100"/>
                  </a:lnTo>
                  <a:lnTo>
                    <a:pt x="88" y="102"/>
                  </a:lnTo>
                  <a:lnTo>
                    <a:pt x="88" y="104"/>
                  </a:lnTo>
                  <a:lnTo>
                    <a:pt x="88" y="106"/>
                  </a:lnTo>
                  <a:lnTo>
                    <a:pt x="88" y="106"/>
                  </a:lnTo>
                  <a:lnTo>
                    <a:pt x="88" y="108"/>
                  </a:lnTo>
                  <a:lnTo>
                    <a:pt x="88" y="108"/>
                  </a:lnTo>
                  <a:lnTo>
                    <a:pt x="86" y="110"/>
                  </a:lnTo>
                  <a:lnTo>
                    <a:pt x="84" y="114"/>
                  </a:lnTo>
                  <a:lnTo>
                    <a:pt x="82" y="114"/>
                  </a:lnTo>
                  <a:lnTo>
                    <a:pt x="82" y="108"/>
                  </a:lnTo>
                  <a:lnTo>
                    <a:pt x="80" y="104"/>
                  </a:lnTo>
                  <a:lnTo>
                    <a:pt x="78" y="96"/>
                  </a:lnTo>
                  <a:lnTo>
                    <a:pt x="78" y="94"/>
                  </a:lnTo>
                  <a:lnTo>
                    <a:pt x="76" y="90"/>
                  </a:lnTo>
                  <a:lnTo>
                    <a:pt x="76" y="88"/>
                  </a:lnTo>
                  <a:lnTo>
                    <a:pt x="74" y="84"/>
                  </a:lnTo>
                  <a:lnTo>
                    <a:pt x="72" y="82"/>
                  </a:lnTo>
                  <a:lnTo>
                    <a:pt x="72" y="80"/>
                  </a:lnTo>
                  <a:lnTo>
                    <a:pt x="72" y="80"/>
                  </a:lnTo>
                  <a:lnTo>
                    <a:pt x="70" y="78"/>
                  </a:lnTo>
                  <a:lnTo>
                    <a:pt x="70" y="78"/>
                  </a:lnTo>
                  <a:lnTo>
                    <a:pt x="70" y="78"/>
                  </a:lnTo>
                  <a:lnTo>
                    <a:pt x="68" y="78"/>
                  </a:lnTo>
                  <a:lnTo>
                    <a:pt x="68" y="78"/>
                  </a:lnTo>
                  <a:lnTo>
                    <a:pt x="66" y="78"/>
                  </a:lnTo>
                  <a:lnTo>
                    <a:pt x="66" y="78"/>
                  </a:lnTo>
                  <a:lnTo>
                    <a:pt x="64" y="78"/>
                  </a:lnTo>
                  <a:lnTo>
                    <a:pt x="64" y="80"/>
                  </a:lnTo>
                  <a:lnTo>
                    <a:pt x="62" y="80"/>
                  </a:lnTo>
                  <a:lnTo>
                    <a:pt x="60" y="82"/>
                  </a:lnTo>
                  <a:lnTo>
                    <a:pt x="56" y="86"/>
                  </a:lnTo>
                  <a:lnTo>
                    <a:pt x="54" y="88"/>
                  </a:lnTo>
                  <a:lnTo>
                    <a:pt x="52" y="90"/>
                  </a:lnTo>
                  <a:lnTo>
                    <a:pt x="52" y="90"/>
                  </a:lnTo>
                  <a:lnTo>
                    <a:pt x="50" y="90"/>
                  </a:lnTo>
                  <a:lnTo>
                    <a:pt x="48" y="90"/>
                  </a:lnTo>
                  <a:lnTo>
                    <a:pt x="44" y="92"/>
                  </a:lnTo>
                  <a:lnTo>
                    <a:pt x="40" y="92"/>
                  </a:lnTo>
                  <a:lnTo>
                    <a:pt x="36" y="92"/>
                  </a:lnTo>
                  <a:lnTo>
                    <a:pt x="34" y="92"/>
                  </a:lnTo>
                  <a:lnTo>
                    <a:pt x="32" y="92"/>
                  </a:lnTo>
                  <a:lnTo>
                    <a:pt x="28" y="92"/>
                  </a:lnTo>
                  <a:lnTo>
                    <a:pt x="22" y="90"/>
                  </a:lnTo>
                  <a:lnTo>
                    <a:pt x="16" y="88"/>
                  </a:lnTo>
                  <a:lnTo>
                    <a:pt x="4" y="86"/>
                  </a:lnTo>
                  <a:lnTo>
                    <a:pt x="0" y="86"/>
                  </a:lnTo>
                  <a:lnTo>
                    <a:pt x="8" y="80"/>
                  </a:lnTo>
                  <a:lnTo>
                    <a:pt x="12" y="76"/>
                  </a:lnTo>
                  <a:lnTo>
                    <a:pt x="16" y="74"/>
                  </a:lnTo>
                  <a:lnTo>
                    <a:pt x="18" y="74"/>
                  </a:lnTo>
                  <a:lnTo>
                    <a:pt x="20" y="72"/>
                  </a:lnTo>
                  <a:lnTo>
                    <a:pt x="22" y="72"/>
                  </a:lnTo>
                  <a:lnTo>
                    <a:pt x="26" y="70"/>
                  </a:lnTo>
                  <a:lnTo>
                    <a:pt x="30" y="70"/>
                  </a:lnTo>
                  <a:lnTo>
                    <a:pt x="36" y="68"/>
                  </a:lnTo>
                  <a:lnTo>
                    <a:pt x="40" y="66"/>
                  </a:lnTo>
                  <a:lnTo>
                    <a:pt x="46" y="66"/>
                  </a:lnTo>
                  <a:lnTo>
                    <a:pt x="48" y="64"/>
                  </a:lnTo>
                  <a:lnTo>
                    <a:pt x="50" y="64"/>
                  </a:lnTo>
                  <a:lnTo>
                    <a:pt x="52" y="62"/>
                  </a:lnTo>
                  <a:lnTo>
                    <a:pt x="52" y="62"/>
                  </a:lnTo>
                  <a:lnTo>
                    <a:pt x="54" y="60"/>
                  </a:lnTo>
                  <a:lnTo>
                    <a:pt x="54" y="60"/>
                  </a:lnTo>
                  <a:lnTo>
                    <a:pt x="54" y="58"/>
                  </a:lnTo>
                  <a:lnTo>
                    <a:pt x="56" y="58"/>
                  </a:lnTo>
                  <a:lnTo>
                    <a:pt x="56" y="56"/>
                  </a:lnTo>
                  <a:lnTo>
                    <a:pt x="58" y="56"/>
                  </a:lnTo>
                  <a:lnTo>
                    <a:pt x="58" y="54"/>
                  </a:lnTo>
                  <a:lnTo>
                    <a:pt x="58" y="54"/>
                  </a:lnTo>
                  <a:lnTo>
                    <a:pt x="58" y="52"/>
                  </a:lnTo>
                  <a:lnTo>
                    <a:pt x="56" y="52"/>
                  </a:lnTo>
                  <a:lnTo>
                    <a:pt x="56" y="50"/>
                  </a:lnTo>
                  <a:lnTo>
                    <a:pt x="54" y="48"/>
                  </a:lnTo>
                  <a:lnTo>
                    <a:pt x="52" y="46"/>
                  </a:lnTo>
                  <a:lnTo>
                    <a:pt x="50" y="44"/>
                  </a:lnTo>
                  <a:lnTo>
                    <a:pt x="48" y="44"/>
                  </a:lnTo>
                  <a:lnTo>
                    <a:pt x="46" y="42"/>
                  </a:lnTo>
                  <a:lnTo>
                    <a:pt x="46" y="42"/>
                  </a:lnTo>
                  <a:lnTo>
                    <a:pt x="44" y="42"/>
                  </a:lnTo>
                  <a:lnTo>
                    <a:pt x="44" y="42"/>
                  </a:lnTo>
                  <a:lnTo>
                    <a:pt x="42" y="42"/>
                  </a:lnTo>
                  <a:lnTo>
                    <a:pt x="40" y="42"/>
                  </a:lnTo>
                  <a:lnTo>
                    <a:pt x="40" y="44"/>
                  </a:lnTo>
                  <a:lnTo>
                    <a:pt x="38" y="44"/>
                  </a:lnTo>
                  <a:lnTo>
                    <a:pt x="36" y="44"/>
                  </a:lnTo>
                  <a:lnTo>
                    <a:pt x="34" y="44"/>
                  </a:lnTo>
                  <a:lnTo>
                    <a:pt x="34" y="44"/>
                  </a:lnTo>
                  <a:lnTo>
                    <a:pt x="34" y="44"/>
                  </a:lnTo>
                  <a:lnTo>
                    <a:pt x="32" y="44"/>
                  </a:lnTo>
                  <a:lnTo>
                    <a:pt x="30" y="42"/>
                  </a:lnTo>
                  <a:lnTo>
                    <a:pt x="28" y="42"/>
                  </a:lnTo>
                  <a:lnTo>
                    <a:pt x="26" y="40"/>
                  </a:lnTo>
                  <a:lnTo>
                    <a:pt x="24" y="38"/>
                  </a:lnTo>
                  <a:lnTo>
                    <a:pt x="22" y="36"/>
                  </a:lnTo>
                  <a:lnTo>
                    <a:pt x="22" y="36"/>
                  </a:lnTo>
                  <a:lnTo>
                    <a:pt x="22" y="36"/>
                  </a:lnTo>
                  <a:lnTo>
                    <a:pt x="22" y="34"/>
                  </a:lnTo>
                  <a:lnTo>
                    <a:pt x="22" y="34"/>
                  </a:lnTo>
                  <a:lnTo>
                    <a:pt x="22" y="34"/>
                  </a:lnTo>
                  <a:lnTo>
                    <a:pt x="22" y="32"/>
                  </a:lnTo>
                  <a:lnTo>
                    <a:pt x="22" y="32"/>
                  </a:lnTo>
                  <a:lnTo>
                    <a:pt x="24" y="30"/>
                  </a:lnTo>
                  <a:lnTo>
                    <a:pt x="24" y="28"/>
                  </a:lnTo>
                  <a:lnTo>
                    <a:pt x="26" y="26"/>
                  </a:lnTo>
                  <a:lnTo>
                    <a:pt x="28" y="24"/>
                  </a:lnTo>
                  <a:lnTo>
                    <a:pt x="28" y="24"/>
                  </a:lnTo>
                  <a:lnTo>
                    <a:pt x="28" y="24"/>
                  </a:lnTo>
                  <a:lnTo>
                    <a:pt x="28" y="24"/>
                  </a:lnTo>
                  <a:lnTo>
                    <a:pt x="28" y="22"/>
                  </a:lnTo>
                  <a:lnTo>
                    <a:pt x="28" y="20"/>
                  </a:lnTo>
                  <a:lnTo>
                    <a:pt x="28" y="18"/>
                  </a:lnTo>
                  <a:lnTo>
                    <a:pt x="28" y="18"/>
                  </a:lnTo>
                  <a:lnTo>
                    <a:pt x="26" y="16"/>
                  </a:lnTo>
                  <a:lnTo>
                    <a:pt x="26" y="14"/>
                  </a:lnTo>
                  <a:lnTo>
                    <a:pt x="26" y="12"/>
                  </a:lnTo>
                  <a:lnTo>
                    <a:pt x="26" y="12"/>
                  </a:lnTo>
                  <a:lnTo>
                    <a:pt x="26" y="10"/>
                  </a:lnTo>
                  <a:lnTo>
                    <a:pt x="26" y="10"/>
                  </a:lnTo>
                  <a:lnTo>
                    <a:pt x="28" y="8"/>
                  </a:lnTo>
                  <a:lnTo>
                    <a:pt x="30" y="6"/>
                  </a:lnTo>
                  <a:lnTo>
                    <a:pt x="30" y="6"/>
                  </a:lnTo>
                  <a:lnTo>
                    <a:pt x="32" y="4"/>
                  </a:lnTo>
                  <a:lnTo>
                    <a:pt x="34" y="2"/>
                  </a:lnTo>
                  <a:lnTo>
                    <a:pt x="36" y="2"/>
                  </a:lnTo>
                  <a:lnTo>
                    <a:pt x="36" y="2"/>
                  </a:lnTo>
                  <a:lnTo>
                    <a:pt x="36" y="2"/>
                  </a:lnTo>
                  <a:lnTo>
                    <a:pt x="38" y="2"/>
                  </a:lnTo>
                  <a:lnTo>
                    <a:pt x="38" y="2"/>
                  </a:lnTo>
                  <a:lnTo>
                    <a:pt x="40" y="4"/>
                  </a:lnTo>
                  <a:lnTo>
                    <a:pt x="40" y="4"/>
                  </a:lnTo>
                  <a:lnTo>
                    <a:pt x="42" y="6"/>
                  </a:lnTo>
                  <a:lnTo>
                    <a:pt x="44" y="8"/>
                  </a:lnTo>
                  <a:lnTo>
                    <a:pt x="46" y="12"/>
                  </a:lnTo>
                  <a:lnTo>
                    <a:pt x="46" y="12"/>
                  </a:lnTo>
                  <a:lnTo>
                    <a:pt x="46" y="14"/>
                  </a:lnTo>
                  <a:lnTo>
                    <a:pt x="48" y="14"/>
                  </a:lnTo>
                  <a:lnTo>
                    <a:pt x="48" y="16"/>
                  </a:lnTo>
                  <a:lnTo>
                    <a:pt x="50" y="16"/>
                  </a:lnTo>
                  <a:lnTo>
                    <a:pt x="50" y="16"/>
                  </a:lnTo>
                  <a:lnTo>
                    <a:pt x="50" y="16"/>
                  </a:lnTo>
                  <a:lnTo>
                    <a:pt x="52" y="14"/>
                  </a:lnTo>
                  <a:lnTo>
                    <a:pt x="52" y="14"/>
                  </a:lnTo>
                  <a:lnTo>
                    <a:pt x="52" y="14"/>
                  </a:lnTo>
                  <a:lnTo>
                    <a:pt x="52" y="12"/>
                  </a:lnTo>
                  <a:lnTo>
                    <a:pt x="54" y="10"/>
                  </a:lnTo>
                  <a:lnTo>
                    <a:pt x="54" y="6"/>
                  </a:lnTo>
                  <a:lnTo>
                    <a:pt x="56" y="6"/>
                  </a:lnTo>
                  <a:lnTo>
                    <a:pt x="56" y="4"/>
                  </a:lnTo>
                  <a:lnTo>
                    <a:pt x="56" y="4"/>
                  </a:lnTo>
                  <a:lnTo>
                    <a:pt x="58" y="4"/>
                  </a:lnTo>
                  <a:lnTo>
                    <a:pt x="60" y="2"/>
                  </a:lnTo>
                  <a:lnTo>
                    <a:pt x="62" y="2"/>
                  </a:lnTo>
                  <a:lnTo>
                    <a:pt x="64" y="0"/>
                  </a:lnTo>
                  <a:lnTo>
                    <a:pt x="68" y="0"/>
                  </a:lnTo>
                  <a:lnTo>
                    <a:pt x="70" y="0"/>
                  </a:lnTo>
                  <a:lnTo>
                    <a:pt x="72" y="0"/>
                  </a:lnTo>
                  <a:lnTo>
                    <a:pt x="74" y="0"/>
                  </a:lnTo>
                  <a:lnTo>
                    <a:pt x="74" y="0"/>
                  </a:lnTo>
                  <a:lnTo>
                    <a:pt x="74" y="0"/>
                  </a:lnTo>
                  <a:lnTo>
                    <a:pt x="76" y="0"/>
                  </a:lnTo>
                  <a:lnTo>
                    <a:pt x="76" y="2"/>
                  </a:lnTo>
                  <a:lnTo>
                    <a:pt x="78" y="2"/>
                  </a:lnTo>
                  <a:lnTo>
                    <a:pt x="80" y="4"/>
                  </a:lnTo>
                  <a:lnTo>
                    <a:pt x="82" y="6"/>
                  </a:lnTo>
                  <a:lnTo>
                    <a:pt x="82" y="8"/>
                  </a:lnTo>
                  <a:lnTo>
                    <a:pt x="84" y="8"/>
                  </a:lnTo>
                  <a:lnTo>
                    <a:pt x="84" y="8"/>
                  </a:lnTo>
                  <a:lnTo>
                    <a:pt x="86" y="10"/>
                  </a:lnTo>
                  <a:lnTo>
                    <a:pt x="86" y="10"/>
                  </a:lnTo>
                  <a:lnTo>
                    <a:pt x="88" y="10"/>
                  </a:lnTo>
                  <a:lnTo>
                    <a:pt x="90" y="10"/>
                  </a:lnTo>
                  <a:lnTo>
                    <a:pt x="92" y="10"/>
                  </a:lnTo>
                  <a:lnTo>
                    <a:pt x="96" y="8"/>
                  </a:lnTo>
                  <a:lnTo>
                    <a:pt x="100" y="8"/>
                  </a:lnTo>
                  <a:lnTo>
                    <a:pt x="110" y="6"/>
                  </a:lnTo>
                  <a:lnTo>
                    <a:pt x="114" y="4"/>
                  </a:lnTo>
                  <a:lnTo>
                    <a:pt x="114" y="4"/>
                  </a:lnTo>
                  <a:lnTo>
                    <a:pt x="116" y="4"/>
                  </a:lnTo>
                  <a:lnTo>
                    <a:pt x="120" y="4"/>
                  </a:lnTo>
                  <a:lnTo>
                    <a:pt x="126" y="4"/>
                  </a:lnTo>
                  <a:lnTo>
                    <a:pt x="128" y="4"/>
                  </a:lnTo>
                  <a:lnTo>
                    <a:pt x="132" y="4"/>
                  </a:lnTo>
                  <a:lnTo>
                    <a:pt x="134" y="6"/>
                  </a:lnTo>
                  <a:lnTo>
                    <a:pt x="136" y="6"/>
                  </a:lnTo>
                  <a:lnTo>
                    <a:pt x="136" y="6"/>
                  </a:lnTo>
                  <a:lnTo>
                    <a:pt x="138" y="6"/>
                  </a:lnTo>
                  <a:lnTo>
                    <a:pt x="140" y="8"/>
                  </a:lnTo>
                  <a:lnTo>
                    <a:pt x="144" y="10"/>
                  </a:lnTo>
                  <a:lnTo>
                    <a:pt x="146" y="12"/>
                  </a:lnTo>
                  <a:lnTo>
                    <a:pt x="150" y="16"/>
                  </a:lnTo>
                  <a:lnTo>
                    <a:pt x="152" y="18"/>
                  </a:lnTo>
                </a:path>
              </a:pathLst>
            </a:custGeom>
            <a:grp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6" name="Freeform 53">
              <a:extLst>
                <a:ext uri="{FF2B5EF4-FFF2-40B4-BE49-F238E27FC236}">
                  <a16:creationId xmlns:a16="http://schemas.microsoft.com/office/drawing/2014/main" id="{4DCE0000-CC92-46EC-AD84-051AFCCDF753}"/>
                </a:ext>
              </a:extLst>
            </p:cNvPr>
            <p:cNvSpPr>
              <a:spLocks/>
            </p:cNvSpPr>
            <p:nvPr/>
          </p:nvSpPr>
          <p:spPr bwMode="auto">
            <a:xfrm>
              <a:off x="5966645" y="3295192"/>
              <a:ext cx="263275" cy="197457"/>
            </a:xfrm>
            <a:custGeom>
              <a:avLst/>
              <a:gdLst>
                <a:gd name="T0" fmla="*/ 120 w 152"/>
                <a:gd name="T1" fmla="*/ 34 h 114"/>
                <a:gd name="T2" fmla="*/ 124 w 152"/>
                <a:gd name="T3" fmla="*/ 36 h 114"/>
                <a:gd name="T4" fmla="*/ 130 w 152"/>
                <a:gd name="T5" fmla="*/ 38 h 114"/>
                <a:gd name="T6" fmla="*/ 132 w 152"/>
                <a:gd name="T7" fmla="*/ 44 h 114"/>
                <a:gd name="T8" fmla="*/ 134 w 152"/>
                <a:gd name="T9" fmla="*/ 56 h 114"/>
                <a:gd name="T10" fmla="*/ 132 w 152"/>
                <a:gd name="T11" fmla="*/ 66 h 114"/>
                <a:gd name="T12" fmla="*/ 130 w 152"/>
                <a:gd name="T13" fmla="*/ 76 h 114"/>
                <a:gd name="T14" fmla="*/ 126 w 152"/>
                <a:gd name="T15" fmla="*/ 80 h 114"/>
                <a:gd name="T16" fmla="*/ 118 w 152"/>
                <a:gd name="T17" fmla="*/ 82 h 114"/>
                <a:gd name="T18" fmla="*/ 116 w 152"/>
                <a:gd name="T19" fmla="*/ 88 h 114"/>
                <a:gd name="T20" fmla="*/ 112 w 152"/>
                <a:gd name="T21" fmla="*/ 92 h 114"/>
                <a:gd name="T22" fmla="*/ 104 w 152"/>
                <a:gd name="T23" fmla="*/ 94 h 114"/>
                <a:gd name="T24" fmla="*/ 92 w 152"/>
                <a:gd name="T25" fmla="*/ 94 h 114"/>
                <a:gd name="T26" fmla="*/ 88 w 152"/>
                <a:gd name="T27" fmla="*/ 98 h 114"/>
                <a:gd name="T28" fmla="*/ 88 w 152"/>
                <a:gd name="T29" fmla="*/ 100 h 114"/>
                <a:gd name="T30" fmla="*/ 88 w 152"/>
                <a:gd name="T31" fmla="*/ 106 h 114"/>
                <a:gd name="T32" fmla="*/ 84 w 152"/>
                <a:gd name="T33" fmla="*/ 114 h 114"/>
                <a:gd name="T34" fmla="*/ 78 w 152"/>
                <a:gd name="T35" fmla="*/ 96 h 114"/>
                <a:gd name="T36" fmla="*/ 74 w 152"/>
                <a:gd name="T37" fmla="*/ 84 h 114"/>
                <a:gd name="T38" fmla="*/ 70 w 152"/>
                <a:gd name="T39" fmla="*/ 78 h 114"/>
                <a:gd name="T40" fmla="*/ 68 w 152"/>
                <a:gd name="T41" fmla="*/ 78 h 114"/>
                <a:gd name="T42" fmla="*/ 64 w 152"/>
                <a:gd name="T43" fmla="*/ 80 h 114"/>
                <a:gd name="T44" fmla="*/ 54 w 152"/>
                <a:gd name="T45" fmla="*/ 88 h 114"/>
                <a:gd name="T46" fmla="*/ 48 w 152"/>
                <a:gd name="T47" fmla="*/ 90 h 114"/>
                <a:gd name="T48" fmla="*/ 34 w 152"/>
                <a:gd name="T49" fmla="*/ 92 h 114"/>
                <a:gd name="T50" fmla="*/ 16 w 152"/>
                <a:gd name="T51" fmla="*/ 88 h 114"/>
                <a:gd name="T52" fmla="*/ 12 w 152"/>
                <a:gd name="T53" fmla="*/ 76 h 114"/>
                <a:gd name="T54" fmla="*/ 22 w 152"/>
                <a:gd name="T55" fmla="*/ 72 h 114"/>
                <a:gd name="T56" fmla="*/ 40 w 152"/>
                <a:gd name="T57" fmla="*/ 66 h 114"/>
                <a:gd name="T58" fmla="*/ 52 w 152"/>
                <a:gd name="T59" fmla="*/ 62 h 114"/>
                <a:gd name="T60" fmla="*/ 54 w 152"/>
                <a:gd name="T61" fmla="*/ 58 h 114"/>
                <a:gd name="T62" fmla="*/ 58 w 152"/>
                <a:gd name="T63" fmla="*/ 54 h 114"/>
                <a:gd name="T64" fmla="*/ 56 w 152"/>
                <a:gd name="T65" fmla="*/ 50 h 114"/>
                <a:gd name="T66" fmla="*/ 48 w 152"/>
                <a:gd name="T67" fmla="*/ 44 h 114"/>
                <a:gd name="T68" fmla="*/ 44 w 152"/>
                <a:gd name="T69" fmla="*/ 42 h 114"/>
                <a:gd name="T70" fmla="*/ 38 w 152"/>
                <a:gd name="T71" fmla="*/ 44 h 114"/>
                <a:gd name="T72" fmla="*/ 34 w 152"/>
                <a:gd name="T73" fmla="*/ 44 h 114"/>
                <a:gd name="T74" fmla="*/ 26 w 152"/>
                <a:gd name="T75" fmla="*/ 40 h 114"/>
                <a:gd name="T76" fmla="*/ 22 w 152"/>
                <a:gd name="T77" fmla="*/ 36 h 114"/>
                <a:gd name="T78" fmla="*/ 22 w 152"/>
                <a:gd name="T79" fmla="*/ 32 h 114"/>
                <a:gd name="T80" fmla="*/ 26 w 152"/>
                <a:gd name="T81" fmla="*/ 26 h 114"/>
                <a:gd name="T82" fmla="*/ 28 w 152"/>
                <a:gd name="T83" fmla="*/ 24 h 114"/>
                <a:gd name="T84" fmla="*/ 28 w 152"/>
                <a:gd name="T85" fmla="*/ 18 h 114"/>
                <a:gd name="T86" fmla="*/ 26 w 152"/>
                <a:gd name="T87" fmla="*/ 12 h 114"/>
                <a:gd name="T88" fmla="*/ 30 w 152"/>
                <a:gd name="T89" fmla="*/ 6 h 114"/>
                <a:gd name="T90" fmla="*/ 36 w 152"/>
                <a:gd name="T91" fmla="*/ 2 h 114"/>
                <a:gd name="T92" fmla="*/ 38 w 152"/>
                <a:gd name="T93" fmla="*/ 2 h 114"/>
                <a:gd name="T94" fmla="*/ 44 w 152"/>
                <a:gd name="T95" fmla="*/ 8 h 114"/>
                <a:gd name="T96" fmla="*/ 48 w 152"/>
                <a:gd name="T97" fmla="*/ 14 h 114"/>
                <a:gd name="T98" fmla="*/ 50 w 152"/>
                <a:gd name="T99" fmla="*/ 16 h 114"/>
                <a:gd name="T100" fmla="*/ 52 w 152"/>
                <a:gd name="T101" fmla="*/ 12 h 114"/>
                <a:gd name="T102" fmla="*/ 56 w 152"/>
                <a:gd name="T103" fmla="*/ 4 h 114"/>
                <a:gd name="T104" fmla="*/ 62 w 152"/>
                <a:gd name="T105" fmla="*/ 2 h 114"/>
                <a:gd name="T106" fmla="*/ 72 w 152"/>
                <a:gd name="T107" fmla="*/ 0 h 114"/>
                <a:gd name="T108" fmla="*/ 76 w 152"/>
                <a:gd name="T109" fmla="*/ 0 h 114"/>
                <a:gd name="T110" fmla="*/ 82 w 152"/>
                <a:gd name="T111" fmla="*/ 6 h 114"/>
                <a:gd name="T112" fmla="*/ 86 w 152"/>
                <a:gd name="T113" fmla="*/ 10 h 114"/>
                <a:gd name="T114" fmla="*/ 92 w 152"/>
                <a:gd name="T115" fmla="*/ 10 h 114"/>
                <a:gd name="T116" fmla="*/ 114 w 152"/>
                <a:gd name="T117" fmla="*/ 4 h 114"/>
                <a:gd name="T118" fmla="*/ 126 w 152"/>
                <a:gd name="T119" fmla="*/ 4 h 114"/>
                <a:gd name="T120" fmla="*/ 136 w 152"/>
                <a:gd name="T121" fmla="*/ 6 h 114"/>
                <a:gd name="T122" fmla="*/ 144 w 152"/>
                <a:gd name="T123" fmla="*/ 1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2" h="114">
                  <a:moveTo>
                    <a:pt x="118" y="32"/>
                  </a:moveTo>
                  <a:lnTo>
                    <a:pt x="118" y="32"/>
                  </a:lnTo>
                  <a:lnTo>
                    <a:pt x="118" y="34"/>
                  </a:lnTo>
                  <a:lnTo>
                    <a:pt x="120" y="34"/>
                  </a:lnTo>
                  <a:lnTo>
                    <a:pt x="120" y="34"/>
                  </a:lnTo>
                  <a:lnTo>
                    <a:pt x="120" y="34"/>
                  </a:lnTo>
                  <a:lnTo>
                    <a:pt x="122" y="34"/>
                  </a:lnTo>
                  <a:lnTo>
                    <a:pt x="124" y="36"/>
                  </a:lnTo>
                  <a:lnTo>
                    <a:pt x="126" y="36"/>
                  </a:lnTo>
                  <a:lnTo>
                    <a:pt x="128" y="36"/>
                  </a:lnTo>
                  <a:lnTo>
                    <a:pt x="130" y="36"/>
                  </a:lnTo>
                  <a:lnTo>
                    <a:pt x="130" y="38"/>
                  </a:lnTo>
                  <a:lnTo>
                    <a:pt x="130" y="38"/>
                  </a:lnTo>
                  <a:lnTo>
                    <a:pt x="132" y="40"/>
                  </a:lnTo>
                  <a:lnTo>
                    <a:pt x="132" y="42"/>
                  </a:lnTo>
                  <a:lnTo>
                    <a:pt x="132" y="44"/>
                  </a:lnTo>
                  <a:lnTo>
                    <a:pt x="132" y="46"/>
                  </a:lnTo>
                  <a:lnTo>
                    <a:pt x="134" y="50"/>
                  </a:lnTo>
                  <a:lnTo>
                    <a:pt x="134" y="52"/>
                  </a:lnTo>
                  <a:lnTo>
                    <a:pt x="134" y="56"/>
                  </a:lnTo>
                  <a:lnTo>
                    <a:pt x="134" y="58"/>
                  </a:lnTo>
                  <a:lnTo>
                    <a:pt x="134" y="60"/>
                  </a:lnTo>
                  <a:lnTo>
                    <a:pt x="134" y="64"/>
                  </a:lnTo>
                  <a:lnTo>
                    <a:pt x="132" y="66"/>
                  </a:lnTo>
                  <a:lnTo>
                    <a:pt x="132" y="70"/>
                  </a:lnTo>
                  <a:lnTo>
                    <a:pt x="132" y="72"/>
                  </a:lnTo>
                  <a:lnTo>
                    <a:pt x="130" y="74"/>
                  </a:lnTo>
                  <a:lnTo>
                    <a:pt x="130" y="76"/>
                  </a:lnTo>
                  <a:lnTo>
                    <a:pt x="128" y="78"/>
                  </a:lnTo>
                  <a:lnTo>
                    <a:pt x="128" y="78"/>
                  </a:lnTo>
                  <a:lnTo>
                    <a:pt x="128" y="80"/>
                  </a:lnTo>
                  <a:lnTo>
                    <a:pt x="126" y="80"/>
                  </a:lnTo>
                  <a:lnTo>
                    <a:pt x="126" y="80"/>
                  </a:lnTo>
                  <a:lnTo>
                    <a:pt x="124" y="82"/>
                  </a:lnTo>
                  <a:lnTo>
                    <a:pt x="120" y="82"/>
                  </a:lnTo>
                  <a:lnTo>
                    <a:pt x="118" y="82"/>
                  </a:lnTo>
                  <a:lnTo>
                    <a:pt x="118" y="84"/>
                  </a:lnTo>
                  <a:lnTo>
                    <a:pt x="116" y="84"/>
                  </a:lnTo>
                  <a:lnTo>
                    <a:pt x="116" y="86"/>
                  </a:lnTo>
                  <a:lnTo>
                    <a:pt x="116" y="88"/>
                  </a:lnTo>
                  <a:lnTo>
                    <a:pt x="114" y="90"/>
                  </a:lnTo>
                  <a:lnTo>
                    <a:pt x="114" y="92"/>
                  </a:lnTo>
                  <a:lnTo>
                    <a:pt x="112" y="92"/>
                  </a:lnTo>
                  <a:lnTo>
                    <a:pt x="112" y="92"/>
                  </a:lnTo>
                  <a:lnTo>
                    <a:pt x="110" y="94"/>
                  </a:lnTo>
                  <a:lnTo>
                    <a:pt x="108" y="94"/>
                  </a:lnTo>
                  <a:lnTo>
                    <a:pt x="106" y="94"/>
                  </a:lnTo>
                  <a:lnTo>
                    <a:pt x="104" y="94"/>
                  </a:lnTo>
                  <a:lnTo>
                    <a:pt x="100" y="94"/>
                  </a:lnTo>
                  <a:lnTo>
                    <a:pt x="96" y="94"/>
                  </a:lnTo>
                  <a:lnTo>
                    <a:pt x="94" y="94"/>
                  </a:lnTo>
                  <a:lnTo>
                    <a:pt x="92" y="94"/>
                  </a:lnTo>
                  <a:lnTo>
                    <a:pt x="90" y="96"/>
                  </a:lnTo>
                  <a:lnTo>
                    <a:pt x="90" y="96"/>
                  </a:lnTo>
                  <a:lnTo>
                    <a:pt x="88" y="96"/>
                  </a:lnTo>
                  <a:lnTo>
                    <a:pt x="88" y="98"/>
                  </a:lnTo>
                  <a:lnTo>
                    <a:pt x="88" y="98"/>
                  </a:lnTo>
                  <a:lnTo>
                    <a:pt x="86" y="98"/>
                  </a:lnTo>
                  <a:lnTo>
                    <a:pt x="88" y="100"/>
                  </a:lnTo>
                  <a:lnTo>
                    <a:pt x="88" y="100"/>
                  </a:lnTo>
                  <a:lnTo>
                    <a:pt x="88" y="102"/>
                  </a:lnTo>
                  <a:lnTo>
                    <a:pt x="88" y="104"/>
                  </a:lnTo>
                  <a:lnTo>
                    <a:pt x="88" y="106"/>
                  </a:lnTo>
                  <a:lnTo>
                    <a:pt x="88" y="106"/>
                  </a:lnTo>
                  <a:lnTo>
                    <a:pt x="88" y="108"/>
                  </a:lnTo>
                  <a:lnTo>
                    <a:pt x="88" y="108"/>
                  </a:lnTo>
                  <a:lnTo>
                    <a:pt x="86" y="110"/>
                  </a:lnTo>
                  <a:lnTo>
                    <a:pt x="84" y="114"/>
                  </a:lnTo>
                  <a:lnTo>
                    <a:pt x="82" y="114"/>
                  </a:lnTo>
                  <a:lnTo>
                    <a:pt x="82" y="108"/>
                  </a:lnTo>
                  <a:lnTo>
                    <a:pt x="80" y="104"/>
                  </a:lnTo>
                  <a:lnTo>
                    <a:pt x="78" y="96"/>
                  </a:lnTo>
                  <a:lnTo>
                    <a:pt x="78" y="94"/>
                  </a:lnTo>
                  <a:lnTo>
                    <a:pt x="76" y="90"/>
                  </a:lnTo>
                  <a:lnTo>
                    <a:pt x="76" y="88"/>
                  </a:lnTo>
                  <a:lnTo>
                    <a:pt x="74" y="84"/>
                  </a:lnTo>
                  <a:lnTo>
                    <a:pt x="72" y="82"/>
                  </a:lnTo>
                  <a:lnTo>
                    <a:pt x="72" y="80"/>
                  </a:lnTo>
                  <a:lnTo>
                    <a:pt x="72" y="80"/>
                  </a:lnTo>
                  <a:lnTo>
                    <a:pt x="70" y="78"/>
                  </a:lnTo>
                  <a:lnTo>
                    <a:pt x="70" y="78"/>
                  </a:lnTo>
                  <a:lnTo>
                    <a:pt x="70" y="78"/>
                  </a:lnTo>
                  <a:lnTo>
                    <a:pt x="68" y="78"/>
                  </a:lnTo>
                  <a:lnTo>
                    <a:pt x="68" y="78"/>
                  </a:lnTo>
                  <a:lnTo>
                    <a:pt x="66" y="78"/>
                  </a:lnTo>
                  <a:lnTo>
                    <a:pt x="66" y="78"/>
                  </a:lnTo>
                  <a:lnTo>
                    <a:pt x="64" y="78"/>
                  </a:lnTo>
                  <a:lnTo>
                    <a:pt x="64" y="80"/>
                  </a:lnTo>
                  <a:lnTo>
                    <a:pt x="62" y="80"/>
                  </a:lnTo>
                  <a:lnTo>
                    <a:pt x="60" y="82"/>
                  </a:lnTo>
                  <a:lnTo>
                    <a:pt x="56" y="86"/>
                  </a:lnTo>
                  <a:lnTo>
                    <a:pt x="54" y="88"/>
                  </a:lnTo>
                  <a:lnTo>
                    <a:pt x="52" y="90"/>
                  </a:lnTo>
                  <a:lnTo>
                    <a:pt x="52" y="90"/>
                  </a:lnTo>
                  <a:lnTo>
                    <a:pt x="50" y="90"/>
                  </a:lnTo>
                  <a:lnTo>
                    <a:pt x="48" y="90"/>
                  </a:lnTo>
                  <a:lnTo>
                    <a:pt x="44" y="92"/>
                  </a:lnTo>
                  <a:lnTo>
                    <a:pt x="40" y="92"/>
                  </a:lnTo>
                  <a:lnTo>
                    <a:pt x="36" y="92"/>
                  </a:lnTo>
                  <a:lnTo>
                    <a:pt x="34" y="92"/>
                  </a:lnTo>
                  <a:lnTo>
                    <a:pt x="32" y="92"/>
                  </a:lnTo>
                  <a:lnTo>
                    <a:pt x="28" y="92"/>
                  </a:lnTo>
                  <a:lnTo>
                    <a:pt x="22" y="90"/>
                  </a:lnTo>
                  <a:lnTo>
                    <a:pt x="16" y="88"/>
                  </a:lnTo>
                  <a:lnTo>
                    <a:pt x="4" y="86"/>
                  </a:lnTo>
                  <a:lnTo>
                    <a:pt x="0" y="86"/>
                  </a:lnTo>
                  <a:lnTo>
                    <a:pt x="8" y="80"/>
                  </a:lnTo>
                  <a:lnTo>
                    <a:pt x="12" y="76"/>
                  </a:lnTo>
                  <a:lnTo>
                    <a:pt x="16" y="74"/>
                  </a:lnTo>
                  <a:lnTo>
                    <a:pt x="18" y="74"/>
                  </a:lnTo>
                  <a:lnTo>
                    <a:pt x="20" y="72"/>
                  </a:lnTo>
                  <a:lnTo>
                    <a:pt x="22" y="72"/>
                  </a:lnTo>
                  <a:lnTo>
                    <a:pt x="26" y="70"/>
                  </a:lnTo>
                  <a:lnTo>
                    <a:pt x="30" y="70"/>
                  </a:lnTo>
                  <a:lnTo>
                    <a:pt x="36" y="68"/>
                  </a:lnTo>
                  <a:lnTo>
                    <a:pt x="40" y="66"/>
                  </a:lnTo>
                  <a:lnTo>
                    <a:pt x="46" y="66"/>
                  </a:lnTo>
                  <a:lnTo>
                    <a:pt x="48" y="64"/>
                  </a:lnTo>
                  <a:lnTo>
                    <a:pt x="50" y="64"/>
                  </a:lnTo>
                  <a:lnTo>
                    <a:pt x="52" y="62"/>
                  </a:lnTo>
                  <a:lnTo>
                    <a:pt x="52" y="62"/>
                  </a:lnTo>
                  <a:lnTo>
                    <a:pt x="54" y="60"/>
                  </a:lnTo>
                  <a:lnTo>
                    <a:pt x="54" y="60"/>
                  </a:lnTo>
                  <a:lnTo>
                    <a:pt x="54" y="58"/>
                  </a:lnTo>
                  <a:lnTo>
                    <a:pt x="56" y="58"/>
                  </a:lnTo>
                  <a:lnTo>
                    <a:pt x="56" y="56"/>
                  </a:lnTo>
                  <a:lnTo>
                    <a:pt x="58" y="56"/>
                  </a:lnTo>
                  <a:lnTo>
                    <a:pt x="58" y="54"/>
                  </a:lnTo>
                  <a:lnTo>
                    <a:pt x="58" y="54"/>
                  </a:lnTo>
                  <a:lnTo>
                    <a:pt x="58" y="52"/>
                  </a:lnTo>
                  <a:lnTo>
                    <a:pt x="56" y="52"/>
                  </a:lnTo>
                  <a:lnTo>
                    <a:pt x="56" y="50"/>
                  </a:lnTo>
                  <a:lnTo>
                    <a:pt x="54" y="48"/>
                  </a:lnTo>
                  <a:lnTo>
                    <a:pt x="52" y="46"/>
                  </a:lnTo>
                  <a:lnTo>
                    <a:pt x="50" y="44"/>
                  </a:lnTo>
                  <a:lnTo>
                    <a:pt x="48" y="44"/>
                  </a:lnTo>
                  <a:lnTo>
                    <a:pt x="46" y="42"/>
                  </a:lnTo>
                  <a:lnTo>
                    <a:pt x="46" y="42"/>
                  </a:lnTo>
                  <a:lnTo>
                    <a:pt x="44" y="42"/>
                  </a:lnTo>
                  <a:lnTo>
                    <a:pt x="44" y="42"/>
                  </a:lnTo>
                  <a:lnTo>
                    <a:pt x="42" y="42"/>
                  </a:lnTo>
                  <a:lnTo>
                    <a:pt x="40" y="42"/>
                  </a:lnTo>
                  <a:lnTo>
                    <a:pt x="40" y="44"/>
                  </a:lnTo>
                  <a:lnTo>
                    <a:pt x="38" y="44"/>
                  </a:lnTo>
                  <a:lnTo>
                    <a:pt x="36" y="44"/>
                  </a:lnTo>
                  <a:lnTo>
                    <a:pt x="34" y="44"/>
                  </a:lnTo>
                  <a:lnTo>
                    <a:pt x="34" y="44"/>
                  </a:lnTo>
                  <a:lnTo>
                    <a:pt x="34" y="44"/>
                  </a:lnTo>
                  <a:lnTo>
                    <a:pt x="32" y="44"/>
                  </a:lnTo>
                  <a:lnTo>
                    <a:pt x="30" y="42"/>
                  </a:lnTo>
                  <a:lnTo>
                    <a:pt x="28" y="42"/>
                  </a:lnTo>
                  <a:lnTo>
                    <a:pt x="26" y="40"/>
                  </a:lnTo>
                  <a:lnTo>
                    <a:pt x="24" y="38"/>
                  </a:lnTo>
                  <a:lnTo>
                    <a:pt x="22" y="36"/>
                  </a:lnTo>
                  <a:lnTo>
                    <a:pt x="22" y="36"/>
                  </a:lnTo>
                  <a:lnTo>
                    <a:pt x="22" y="36"/>
                  </a:lnTo>
                  <a:lnTo>
                    <a:pt x="22" y="34"/>
                  </a:lnTo>
                  <a:lnTo>
                    <a:pt x="22" y="34"/>
                  </a:lnTo>
                  <a:lnTo>
                    <a:pt x="22" y="34"/>
                  </a:lnTo>
                  <a:lnTo>
                    <a:pt x="22" y="32"/>
                  </a:lnTo>
                  <a:lnTo>
                    <a:pt x="22" y="32"/>
                  </a:lnTo>
                  <a:lnTo>
                    <a:pt x="24" y="30"/>
                  </a:lnTo>
                  <a:lnTo>
                    <a:pt x="24" y="28"/>
                  </a:lnTo>
                  <a:lnTo>
                    <a:pt x="26" y="26"/>
                  </a:lnTo>
                  <a:lnTo>
                    <a:pt x="28" y="24"/>
                  </a:lnTo>
                  <a:lnTo>
                    <a:pt x="28" y="24"/>
                  </a:lnTo>
                  <a:lnTo>
                    <a:pt x="28" y="24"/>
                  </a:lnTo>
                  <a:lnTo>
                    <a:pt x="28" y="24"/>
                  </a:lnTo>
                  <a:lnTo>
                    <a:pt x="28" y="22"/>
                  </a:lnTo>
                  <a:lnTo>
                    <a:pt x="28" y="20"/>
                  </a:lnTo>
                  <a:lnTo>
                    <a:pt x="28" y="18"/>
                  </a:lnTo>
                  <a:lnTo>
                    <a:pt x="28" y="18"/>
                  </a:lnTo>
                  <a:lnTo>
                    <a:pt x="26" y="16"/>
                  </a:lnTo>
                  <a:lnTo>
                    <a:pt x="26" y="14"/>
                  </a:lnTo>
                  <a:lnTo>
                    <a:pt x="26" y="12"/>
                  </a:lnTo>
                  <a:lnTo>
                    <a:pt x="26" y="12"/>
                  </a:lnTo>
                  <a:lnTo>
                    <a:pt x="26" y="10"/>
                  </a:lnTo>
                  <a:lnTo>
                    <a:pt x="26" y="10"/>
                  </a:lnTo>
                  <a:lnTo>
                    <a:pt x="28" y="8"/>
                  </a:lnTo>
                  <a:lnTo>
                    <a:pt x="30" y="6"/>
                  </a:lnTo>
                  <a:lnTo>
                    <a:pt x="30" y="6"/>
                  </a:lnTo>
                  <a:lnTo>
                    <a:pt x="32" y="4"/>
                  </a:lnTo>
                  <a:lnTo>
                    <a:pt x="34" y="2"/>
                  </a:lnTo>
                  <a:lnTo>
                    <a:pt x="36" y="2"/>
                  </a:lnTo>
                  <a:lnTo>
                    <a:pt x="36" y="2"/>
                  </a:lnTo>
                  <a:lnTo>
                    <a:pt x="36" y="2"/>
                  </a:lnTo>
                  <a:lnTo>
                    <a:pt x="38" y="2"/>
                  </a:lnTo>
                  <a:lnTo>
                    <a:pt x="38" y="2"/>
                  </a:lnTo>
                  <a:lnTo>
                    <a:pt x="40" y="4"/>
                  </a:lnTo>
                  <a:lnTo>
                    <a:pt x="40" y="4"/>
                  </a:lnTo>
                  <a:lnTo>
                    <a:pt x="42" y="6"/>
                  </a:lnTo>
                  <a:lnTo>
                    <a:pt x="44" y="8"/>
                  </a:lnTo>
                  <a:lnTo>
                    <a:pt x="46" y="12"/>
                  </a:lnTo>
                  <a:lnTo>
                    <a:pt x="46" y="12"/>
                  </a:lnTo>
                  <a:lnTo>
                    <a:pt x="46" y="14"/>
                  </a:lnTo>
                  <a:lnTo>
                    <a:pt x="48" y="14"/>
                  </a:lnTo>
                  <a:lnTo>
                    <a:pt x="48" y="16"/>
                  </a:lnTo>
                  <a:lnTo>
                    <a:pt x="50" y="16"/>
                  </a:lnTo>
                  <a:lnTo>
                    <a:pt x="50" y="16"/>
                  </a:lnTo>
                  <a:lnTo>
                    <a:pt x="50" y="16"/>
                  </a:lnTo>
                  <a:lnTo>
                    <a:pt x="52" y="14"/>
                  </a:lnTo>
                  <a:lnTo>
                    <a:pt x="52" y="14"/>
                  </a:lnTo>
                  <a:lnTo>
                    <a:pt x="52" y="14"/>
                  </a:lnTo>
                  <a:lnTo>
                    <a:pt x="52" y="12"/>
                  </a:lnTo>
                  <a:lnTo>
                    <a:pt x="54" y="10"/>
                  </a:lnTo>
                  <a:lnTo>
                    <a:pt x="54" y="6"/>
                  </a:lnTo>
                  <a:lnTo>
                    <a:pt x="56" y="6"/>
                  </a:lnTo>
                  <a:lnTo>
                    <a:pt x="56" y="4"/>
                  </a:lnTo>
                  <a:lnTo>
                    <a:pt x="56" y="4"/>
                  </a:lnTo>
                  <a:lnTo>
                    <a:pt x="58" y="4"/>
                  </a:lnTo>
                  <a:lnTo>
                    <a:pt x="60" y="2"/>
                  </a:lnTo>
                  <a:lnTo>
                    <a:pt x="62" y="2"/>
                  </a:lnTo>
                  <a:lnTo>
                    <a:pt x="64" y="0"/>
                  </a:lnTo>
                  <a:lnTo>
                    <a:pt x="68" y="0"/>
                  </a:lnTo>
                  <a:lnTo>
                    <a:pt x="70" y="0"/>
                  </a:lnTo>
                  <a:lnTo>
                    <a:pt x="72" y="0"/>
                  </a:lnTo>
                  <a:lnTo>
                    <a:pt x="74" y="0"/>
                  </a:lnTo>
                  <a:lnTo>
                    <a:pt x="74" y="0"/>
                  </a:lnTo>
                  <a:lnTo>
                    <a:pt x="74" y="0"/>
                  </a:lnTo>
                  <a:lnTo>
                    <a:pt x="76" y="0"/>
                  </a:lnTo>
                  <a:lnTo>
                    <a:pt x="76" y="2"/>
                  </a:lnTo>
                  <a:lnTo>
                    <a:pt x="78" y="2"/>
                  </a:lnTo>
                  <a:lnTo>
                    <a:pt x="80" y="4"/>
                  </a:lnTo>
                  <a:lnTo>
                    <a:pt x="82" y="6"/>
                  </a:lnTo>
                  <a:lnTo>
                    <a:pt x="82" y="8"/>
                  </a:lnTo>
                  <a:lnTo>
                    <a:pt x="84" y="8"/>
                  </a:lnTo>
                  <a:lnTo>
                    <a:pt x="84" y="8"/>
                  </a:lnTo>
                  <a:lnTo>
                    <a:pt x="86" y="10"/>
                  </a:lnTo>
                  <a:lnTo>
                    <a:pt x="86" y="10"/>
                  </a:lnTo>
                  <a:lnTo>
                    <a:pt x="88" y="10"/>
                  </a:lnTo>
                  <a:lnTo>
                    <a:pt x="90" y="10"/>
                  </a:lnTo>
                  <a:lnTo>
                    <a:pt x="92" y="10"/>
                  </a:lnTo>
                  <a:lnTo>
                    <a:pt x="96" y="8"/>
                  </a:lnTo>
                  <a:lnTo>
                    <a:pt x="100" y="8"/>
                  </a:lnTo>
                  <a:lnTo>
                    <a:pt x="110" y="6"/>
                  </a:lnTo>
                  <a:lnTo>
                    <a:pt x="114" y="4"/>
                  </a:lnTo>
                  <a:lnTo>
                    <a:pt x="114" y="4"/>
                  </a:lnTo>
                  <a:lnTo>
                    <a:pt x="116" y="4"/>
                  </a:lnTo>
                  <a:lnTo>
                    <a:pt x="120" y="4"/>
                  </a:lnTo>
                  <a:lnTo>
                    <a:pt x="126" y="4"/>
                  </a:lnTo>
                  <a:lnTo>
                    <a:pt x="128" y="4"/>
                  </a:lnTo>
                  <a:lnTo>
                    <a:pt x="132" y="4"/>
                  </a:lnTo>
                  <a:lnTo>
                    <a:pt x="134" y="6"/>
                  </a:lnTo>
                  <a:lnTo>
                    <a:pt x="136" y="6"/>
                  </a:lnTo>
                  <a:lnTo>
                    <a:pt x="136" y="6"/>
                  </a:lnTo>
                  <a:lnTo>
                    <a:pt x="138" y="6"/>
                  </a:lnTo>
                  <a:lnTo>
                    <a:pt x="140" y="8"/>
                  </a:lnTo>
                  <a:lnTo>
                    <a:pt x="144" y="10"/>
                  </a:lnTo>
                  <a:lnTo>
                    <a:pt x="146" y="12"/>
                  </a:lnTo>
                  <a:lnTo>
                    <a:pt x="150" y="16"/>
                  </a:lnTo>
                  <a:lnTo>
                    <a:pt x="152" y="18"/>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7" name="Freeform 65">
              <a:extLst>
                <a:ext uri="{FF2B5EF4-FFF2-40B4-BE49-F238E27FC236}">
                  <a16:creationId xmlns:a16="http://schemas.microsoft.com/office/drawing/2014/main" id="{AFD283D6-5B1F-4CC6-83A3-D41C3CC70683}"/>
                </a:ext>
              </a:extLst>
            </p:cNvPr>
            <p:cNvSpPr>
              <a:spLocks/>
            </p:cNvSpPr>
            <p:nvPr/>
          </p:nvSpPr>
          <p:spPr bwMode="auto">
            <a:xfrm>
              <a:off x="7283022" y="3367940"/>
              <a:ext cx="121245" cy="155887"/>
            </a:xfrm>
            <a:custGeom>
              <a:avLst/>
              <a:gdLst>
                <a:gd name="T0" fmla="*/ 68 w 70"/>
                <a:gd name="T1" fmla="*/ 2 h 90"/>
                <a:gd name="T2" fmla="*/ 70 w 70"/>
                <a:gd name="T3" fmla="*/ 16 h 90"/>
                <a:gd name="T4" fmla="*/ 70 w 70"/>
                <a:gd name="T5" fmla="*/ 24 h 90"/>
                <a:gd name="T6" fmla="*/ 68 w 70"/>
                <a:gd name="T7" fmla="*/ 28 h 90"/>
                <a:gd name="T8" fmla="*/ 64 w 70"/>
                <a:gd name="T9" fmla="*/ 30 h 90"/>
                <a:gd name="T10" fmla="*/ 60 w 70"/>
                <a:gd name="T11" fmla="*/ 32 h 90"/>
                <a:gd name="T12" fmla="*/ 56 w 70"/>
                <a:gd name="T13" fmla="*/ 38 h 90"/>
                <a:gd name="T14" fmla="*/ 54 w 70"/>
                <a:gd name="T15" fmla="*/ 44 h 90"/>
                <a:gd name="T16" fmla="*/ 50 w 70"/>
                <a:gd name="T17" fmla="*/ 46 h 90"/>
                <a:gd name="T18" fmla="*/ 42 w 70"/>
                <a:gd name="T19" fmla="*/ 48 h 90"/>
                <a:gd name="T20" fmla="*/ 38 w 70"/>
                <a:gd name="T21" fmla="*/ 50 h 90"/>
                <a:gd name="T22" fmla="*/ 38 w 70"/>
                <a:gd name="T23" fmla="*/ 52 h 90"/>
                <a:gd name="T24" fmla="*/ 40 w 70"/>
                <a:gd name="T25" fmla="*/ 56 h 90"/>
                <a:gd name="T26" fmla="*/ 42 w 70"/>
                <a:gd name="T27" fmla="*/ 60 h 90"/>
                <a:gd name="T28" fmla="*/ 52 w 70"/>
                <a:gd name="T29" fmla="*/ 66 h 90"/>
                <a:gd name="T30" fmla="*/ 30 w 70"/>
                <a:gd name="T31" fmla="*/ 90 h 90"/>
                <a:gd name="T32" fmla="*/ 22 w 70"/>
                <a:gd name="T33" fmla="*/ 82 h 90"/>
                <a:gd name="T34" fmla="*/ 18 w 70"/>
                <a:gd name="T35" fmla="*/ 80 h 90"/>
                <a:gd name="T36" fmla="*/ 8 w 70"/>
                <a:gd name="T37" fmla="*/ 78 h 90"/>
                <a:gd name="T38" fmla="*/ 4 w 70"/>
                <a:gd name="T39" fmla="*/ 76 h 90"/>
                <a:gd name="T40" fmla="*/ 4 w 70"/>
                <a:gd name="T41" fmla="*/ 74 h 90"/>
                <a:gd name="T42" fmla="*/ 4 w 70"/>
                <a:gd name="T43" fmla="*/ 72 h 90"/>
                <a:gd name="T44" fmla="*/ 8 w 70"/>
                <a:gd name="T45" fmla="*/ 70 h 90"/>
                <a:gd name="T46" fmla="*/ 14 w 70"/>
                <a:gd name="T47" fmla="*/ 66 h 90"/>
                <a:gd name="T48" fmla="*/ 14 w 70"/>
                <a:gd name="T49" fmla="*/ 64 h 90"/>
                <a:gd name="T50" fmla="*/ 16 w 70"/>
                <a:gd name="T51" fmla="*/ 58 h 90"/>
                <a:gd name="T52" fmla="*/ 16 w 70"/>
                <a:gd name="T53" fmla="*/ 52 h 90"/>
                <a:gd name="T54" fmla="*/ 16 w 70"/>
                <a:gd name="T55" fmla="*/ 50 h 90"/>
                <a:gd name="T56" fmla="*/ 14 w 70"/>
                <a:gd name="T57" fmla="*/ 48 h 90"/>
                <a:gd name="T58" fmla="*/ 6 w 70"/>
                <a:gd name="T59" fmla="*/ 46 h 90"/>
                <a:gd name="T60" fmla="*/ 0 w 70"/>
                <a:gd name="T61" fmla="*/ 46 h 90"/>
                <a:gd name="T62" fmla="*/ 8 w 70"/>
                <a:gd name="T63" fmla="*/ 40 h 90"/>
                <a:gd name="T64" fmla="*/ 12 w 70"/>
                <a:gd name="T65" fmla="*/ 38 h 90"/>
                <a:gd name="T66" fmla="*/ 14 w 70"/>
                <a:gd name="T67" fmla="*/ 34 h 90"/>
                <a:gd name="T68" fmla="*/ 16 w 70"/>
                <a:gd name="T69" fmla="*/ 28 h 90"/>
                <a:gd name="T70" fmla="*/ 18 w 70"/>
                <a:gd name="T71" fmla="*/ 18 h 90"/>
                <a:gd name="T72" fmla="*/ 18 w 70"/>
                <a:gd name="T73" fmla="*/ 14 h 90"/>
                <a:gd name="T74" fmla="*/ 22 w 70"/>
                <a:gd name="T75" fmla="*/ 12 h 90"/>
                <a:gd name="T76" fmla="*/ 24 w 70"/>
                <a:gd name="T77" fmla="*/ 12 h 90"/>
                <a:gd name="T78" fmla="*/ 30 w 70"/>
                <a:gd name="T79" fmla="*/ 16 h 90"/>
                <a:gd name="T80" fmla="*/ 36 w 70"/>
                <a:gd name="T81" fmla="*/ 18 h 90"/>
                <a:gd name="T82" fmla="*/ 44 w 70"/>
                <a:gd name="T83" fmla="*/ 18 h 90"/>
                <a:gd name="T84" fmla="*/ 48 w 70"/>
                <a:gd name="T85" fmla="*/ 16 h 90"/>
                <a:gd name="T86" fmla="*/ 50 w 70"/>
                <a:gd name="T87" fmla="*/ 14 h 90"/>
                <a:gd name="T88" fmla="*/ 56 w 70"/>
                <a:gd name="T89" fmla="*/ 8 h 90"/>
                <a:gd name="T90" fmla="*/ 60 w 70"/>
                <a:gd name="T91" fmla="*/ 2 h 90"/>
                <a:gd name="T92" fmla="*/ 64 w 70"/>
                <a:gd name="T9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 h="90">
                  <a:moveTo>
                    <a:pt x="66" y="0"/>
                  </a:moveTo>
                  <a:lnTo>
                    <a:pt x="66" y="0"/>
                  </a:lnTo>
                  <a:lnTo>
                    <a:pt x="68" y="2"/>
                  </a:lnTo>
                  <a:lnTo>
                    <a:pt x="68" y="6"/>
                  </a:lnTo>
                  <a:lnTo>
                    <a:pt x="68" y="10"/>
                  </a:lnTo>
                  <a:lnTo>
                    <a:pt x="70" y="16"/>
                  </a:lnTo>
                  <a:lnTo>
                    <a:pt x="70" y="20"/>
                  </a:lnTo>
                  <a:lnTo>
                    <a:pt x="70" y="22"/>
                  </a:lnTo>
                  <a:lnTo>
                    <a:pt x="70" y="24"/>
                  </a:lnTo>
                  <a:lnTo>
                    <a:pt x="68" y="26"/>
                  </a:lnTo>
                  <a:lnTo>
                    <a:pt x="68" y="26"/>
                  </a:lnTo>
                  <a:lnTo>
                    <a:pt x="68" y="28"/>
                  </a:lnTo>
                  <a:lnTo>
                    <a:pt x="66" y="28"/>
                  </a:lnTo>
                  <a:lnTo>
                    <a:pt x="66" y="28"/>
                  </a:lnTo>
                  <a:lnTo>
                    <a:pt x="64" y="30"/>
                  </a:lnTo>
                  <a:lnTo>
                    <a:pt x="62" y="30"/>
                  </a:lnTo>
                  <a:lnTo>
                    <a:pt x="60" y="30"/>
                  </a:lnTo>
                  <a:lnTo>
                    <a:pt x="60" y="32"/>
                  </a:lnTo>
                  <a:lnTo>
                    <a:pt x="58" y="32"/>
                  </a:lnTo>
                  <a:lnTo>
                    <a:pt x="58" y="34"/>
                  </a:lnTo>
                  <a:lnTo>
                    <a:pt x="56" y="38"/>
                  </a:lnTo>
                  <a:lnTo>
                    <a:pt x="54" y="40"/>
                  </a:lnTo>
                  <a:lnTo>
                    <a:pt x="54" y="42"/>
                  </a:lnTo>
                  <a:lnTo>
                    <a:pt x="54" y="44"/>
                  </a:lnTo>
                  <a:lnTo>
                    <a:pt x="52" y="46"/>
                  </a:lnTo>
                  <a:lnTo>
                    <a:pt x="52" y="46"/>
                  </a:lnTo>
                  <a:lnTo>
                    <a:pt x="50" y="46"/>
                  </a:lnTo>
                  <a:lnTo>
                    <a:pt x="48" y="46"/>
                  </a:lnTo>
                  <a:lnTo>
                    <a:pt x="44" y="48"/>
                  </a:lnTo>
                  <a:lnTo>
                    <a:pt x="42" y="48"/>
                  </a:lnTo>
                  <a:lnTo>
                    <a:pt x="40" y="50"/>
                  </a:lnTo>
                  <a:lnTo>
                    <a:pt x="40" y="50"/>
                  </a:lnTo>
                  <a:lnTo>
                    <a:pt x="38" y="50"/>
                  </a:lnTo>
                  <a:lnTo>
                    <a:pt x="38" y="52"/>
                  </a:lnTo>
                  <a:lnTo>
                    <a:pt x="38" y="52"/>
                  </a:lnTo>
                  <a:lnTo>
                    <a:pt x="38" y="52"/>
                  </a:lnTo>
                  <a:lnTo>
                    <a:pt x="38" y="52"/>
                  </a:lnTo>
                  <a:lnTo>
                    <a:pt x="38" y="54"/>
                  </a:lnTo>
                  <a:lnTo>
                    <a:pt x="40" y="56"/>
                  </a:lnTo>
                  <a:lnTo>
                    <a:pt x="40" y="56"/>
                  </a:lnTo>
                  <a:lnTo>
                    <a:pt x="42" y="58"/>
                  </a:lnTo>
                  <a:lnTo>
                    <a:pt x="42" y="60"/>
                  </a:lnTo>
                  <a:lnTo>
                    <a:pt x="46" y="62"/>
                  </a:lnTo>
                  <a:lnTo>
                    <a:pt x="50" y="64"/>
                  </a:lnTo>
                  <a:lnTo>
                    <a:pt x="52" y="66"/>
                  </a:lnTo>
                  <a:lnTo>
                    <a:pt x="54" y="68"/>
                  </a:lnTo>
                  <a:lnTo>
                    <a:pt x="50" y="84"/>
                  </a:lnTo>
                  <a:lnTo>
                    <a:pt x="30" y="90"/>
                  </a:lnTo>
                  <a:lnTo>
                    <a:pt x="26" y="86"/>
                  </a:lnTo>
                  <a:lnTo>
                    <a:pt x="24" y="84"/>
                  </a:lnTo>
                  <a:lnTo>
                    <a:pt x="22" y="82"/>
                  </a:lnTo>
                  <a:lnTo>
                    <a:pt x="20" y="82"/>
                  </a:lnTo>
                  <a:lnTo>
                    <a:pt x="20" y="82"/>
                  </a:lnTo>
                  <a:lnTo>
                    <a:pt x="18" y="80"/>
                  </a:lnTo>
                  <a:lnTo>
                    <a:pt x="16" y="80"/>
                  </a:lnTo>
                  <a:lnTo>
                    <a:pt x="10" y="78"/>
                  </a:lnTo>
                  <a:lnTo>
                    <a:pt x="8" y="78"/>
                  </a:lnTo>
                  <a:lnTo>
                    <a:pt x="6" y="78"/>
                  </a:lnTo>
                  <a:lnTo>
                    <a:pt x="6" y="78"/>
                  </a:lnTo>
                  <a:lnTo>
                    <a:pt x="4" y="76"/>
                  </a:lnTo>
                  <a:lnTo>
                    <a:pt x="4" y="76"/>
                  </a:lnTo>
                  <a:lnTo>
                    <a:pt x="4" y="76"/>
                  </a:lnTo>
                  <a:lnTo>
                    <a:pt x="4" y="74"/>
                  </a:lnTo>
                  <a:lnTo>
                    <a:pt x="4" y="74"/>
                  </a:lnTo>
                  <a:lnTo>
                    <a:pt x="4" y="74"/>
                  </a:lnTo>
                  <a:lnTo>
                    <a:pt x="4" y="72"/>
                  </a:lnTo>
                  <a:lnTo>
                    <a:pt x="4" y="72"/>
                  </a:lnTo>
                  <a:lnTo>
                    <a:pt x="6" y="70"/>
                  </a:lnTo>
                  <a:lnTo>
                    <a:pt x="8" y="70"/>
                  </a:lnTo>
                  <a:lnTo>
                    <a:pt x="10" y="68"/>
                  </a:lnTo>
                  <a:lnTo>
                    <a:pt x="12" y="68"/>
                  </a:lnTo>
                  <a:lnTo>
                    <a:pt x="14" y="66"/>
                  </a:lnTo>
                  <a:lnTo>
                    <a:pt x="14" y="66"/>
                  </a:lnTo>
                  <a:lnTo>
                    <a:pt x="14" y="66"/>
                  </a:lnTo>
                  <a:lnTo>
                    <a:pt x="14" y="64"/>
                  </a:lnTo>
                  <a:lnTo>
                    <a:pt x="16" y="62"/>
                  </a:lnTo>
                  <a:lnTo>
                    <a:pt x="16" y="60"/>
                  </a:lnTo>
                  <a:lnTo>
                    <a:pt x="16" y="58"/>
                  </a:lnTo>
                  <a:lnTo>
                    <a:pt x="16" y="54"/>
                  </a:lnTo>
                  <a:lnTo>
                    <a:pt x="16" y="52"/>
                  </a:lnTo>
                  <a:lnTo>
                    <a:pt x="16" y="52"/>
                  </a:lnTo>
                  <a:lnTo>
                    <a:pt x="16" y="50"/>
                  </a:lnTo>
                  <a:lnTo>
                    <a:pt x="16" y="50"/>
                  </a:lnTo>
                  <a:lnTo>
                    <a:pt x="16" y="50"/>
                  </a:lnTo>
                  <a:lnTo>
                    <a:pt x="16" y="48"/>
                  </a:lnTo>
                  <a:lnTo>
                    <a:pt x="14" y="48"/>
                  </a:lnTo>
                  <a:lnTo>
                    <a:pt x="14" y="48"/>
                  </a:lnTo>
                  <a:lnTo>
                    <a:pt x="12" y="46"/>
                  </a:lnTo>
                  <a:lnTo>
                    <a:pt x="10" y="46"/>
                  </a:lnTo>
                  <a:lnTo>
                    <a:pt x="6" y="46"/>
                  </a:lnTo>
                  <a:lnTo>
                    <a:pt x="4" y="46"/>
                  </a:lnTo>
                  <a:lnTo>
                    <a:pt x="0" y="46"/>
                  </a:lnTo>
                  <a:lnTo>
                    <a:pt x="0" y="46"/>
                  </a:lnTo>
                  <a:lnTo>
                    <a:pt x="0" y="44"/>
                  </a:lnTo>
                  <a:lnTo>
                    <a:pt x="6" y="42"/>
                  </a:lnTo>
                  <a:lnTo>
                    <a:pt x="8" y="40"/>
                  </a:lnTo>
                  <a:lnTo>
                    <a:pt x="10" y="40"/>
                  </a:lnTo>
                  <a:lnTo>
                    <a:pt x="12" y="38"/>
                  </a:lnTo>
                  <a:lnTo>
                    <a:pt x="12" y="38"/>
                  </a:lnTo>
                  <a:lnTo>
                    <a:pt x="14" y="36"/>
                  </a:lnTo>
                  <a:lnTo>
                    <a:pt x="14" y="36"/>
                  </a:lnTo>
                  <a:lnTo>
                    <a:pt x="14" y="34"/>
                  </a:lnTo>
                  <a:lnTo>
                    <a:pt x="14" y="32"/>
                  </a:lnTo>
                  <a:lnTo>
                    <a:pt x="16" y="30"/>
                  </a:lnTo>
                  <a:lnTo>
                    <a:pt x="16" y="28"/>
                  </a:lnTo>
                  <a:lnTo>
                    <a:pt x="16" y="24"/>
                  </a:lnTo>
                  <a:lnTo>
                    <a:pt x="16" y="20"/>
                  </a:lnTo>
                  <a:lnTo>
                    <a:pt x="18" y="18"/>
                  </a:lnTo>
                  <a:lnTo>
                    <a:pt x="18" y="16"/>
                  </a:lnTo>
                  <a:lnTo>
                    <a:pt x="18" y="16"/>
                  </a:lnTo>
                  <a:lnTo>
                    <a:pt x="18" y="14"/>
                  </a:lnTo>
                  <a:lnTo>
                    <a:pt x="20" y="14"/>
                  </a:lnTo>
                  <a:lnTo>
                    <a:pt x="20" y="12"/>
                  </a:lnTo>
                  <a:lnTo>
                    <a:pt x="22" y="12"/>
                  </a:lnTo>
                  <a:lnTo>
                    <a:pt x="22" y="12"/>
                  </a:lnTo>
                  <a:lnTo>
                    <a:pt x="22" y="12"/>
                  </a:lnTo>
                  <a:lnTo>
                    <a:pt x="24" y="12"/>
                  </a:lnTo>
                  <a:lnTo>
                    <a:pt x="24" y="14"/>
                  </a:lnTo>
                  <a:lnTo>
                    <a:pt x="26" y="14"/>
                  </a:lnTo>
                  <a:lnTo>
                    <a:pt x="30" y="16"/>
                  </a:lnTo>
                  <a:lnTo>
                    <a:pt x="32" y="18"/>
                  </a:lnTo>
                  <a:lnTo>
                    <a:pt x="34" y="18"/>
                  </a:lnTo>
                  <a:lnTo>
                    <a:pt x="36" y="18"/>
                  </a:lnTo>
                  <a:lnTo>
                    <a:pt x="40" y="18"/>
                  </a:lnTo>
                  <a:lnTo>
                    <a:pt x="42" y="18"/>
                  </a:lnTo>
                  <a:lnTo>
                    <a:pt x="44" y="18"/>
                  </a:lnTo>
                  <a:lnTo>
                    <a:pt x="46" y="18"/>
                  </a:lnTo>
                  <a:lnTo>
                    <a:pt x="46" y="18"/>
                  </a:lnTo>
                  <a:lnTo>
                    <a:pt x="48" y="16"/>
                  </a:lnTo>
                  <a:lnTo>
                    <a:pt x="48" y="16"/>
                  </a:lnTo>
                  <a:lnTo>
                    <a:pt x="50" y="16"/>
                  </a:lnTo>
                  <a:lnTo>
                    <a:pt x="50" y="14"/>
                  </a:lnTo>
                  <a:lnTo>
                    <a:pt x="52" y="12"/>
                  </a:lnTo>
                  <a:lnTo>
                    <a:pt x="54" y="10"/>
                  </a:lnTo>
                  <a:lnTo>
                    <a:pt x="56" y="8"/>
                  </a:lnTo>
                  <a:lnTo>
                    <a:pt x="58" y="4"/>
                  </a:lnTo>
                  <a:lnTo>
                    <a:pt x="60" y="2"/>
                  </a:lnTo>
                  <a:lnTo>
                    <a:pt x="60" y="2"/>
                  </a:lnTo>
                  <a:lnTo>
                    <a:pt x="62" y="2"/>
                  </a:lnTo>
                  <a:lnTo>
                    <a:pt x="64" y="0"/>
                  </a:lnTo>
                  <a:lnTo>
                    <a:pt x="64" y="0"/>
                  </a:lnTo>
                  <a:lnTo>
                    <a:pt x="66"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 name="Freeform 66">
              <a:extLst>
                <a:ext uri="{FF2B5EF4-FFF2-40B4-BE49-F238E27FC236}">
                  <a16:creationId xmlns:a16="http://schemas.microsoft.com/office/drawing/2014/main" id="{F355109C-0C59-4A2D-8D61-C62C72E43D1F}"/>
                </a:ext>
              </a:extLst>
            </p:cNvPr>
            <p:cNvSpPr>
              <a:spLocks/>
            </p:cNvSpPr>
            <p:nvPr/>
          </p:nvSpPr>
          <p:spPr bwMode="auto">
            <a:xfrm>
              <a:off x="7283022" y="3367940"/>
              <a:ext cx="121245" cy="155887"/>
            </a:xfrm>
            <a:custGeom>
              <a:avLst/>
              <a:gdLst>
                <a:gd name="T0" fmla="*/ 68 w 70"/>
                <a:gd name="T1" fmla="*/ 2 h 90"/>
                <a:gd name="T2" fmla="*/ 70 w 70"/>
                <a:gd name="T3" fmla="*/ 16 h 90"/>
                <a:gd name="T4" fmla="*/ 70 w 70"/>
                <a:gd name="T5" fmla="*/ 24 h 90"/>
                <a:gd name="T6" fmla="*/ 68 w 70"/>
                <a:gd name="T7" fmla="*/ 28 h 90"/>
                <a:gd name="T8" fmla="*/ 64 w 70"/>
                <a:gd name="T9" fmla="*/ 30 h 90"/>
                <a:gd name="T10" fmla="*/ 60 w 70"/>
                <a:gd name="T11" fmla="*/ 32 h 90"/>
                <a:gd name="T12" fmla="*/ 56 w 70"/>
                <a:gd name="T13" fmla="*/ 38 h 90"/>
                <a:gd name="T14" fmla="*/ 54 w 70"/>
                <a:gd name="T15" fmla="*/ 44 h 90"/>
                <a:gd name="T16" fmla="*/ 50 w 70"/>
                <a:gd name="T17" fmla="*/ 46 h 90"/>
                <a:gd name="T18" fmla="*/ 42 w 70"/>
                <a:gd name="T19" fmla="*/ 48 h 90"/>
                <a:gd name="T20" fmla="*/ 38 w 70"/>
                <a:gd name="T21" fmla="*/ 50 h 90"/>
                <a:gd name="T22" fmla="*/ 38 w 70"/>
                <a:gd name="T23" fmla="*/ 52 h 90"/>
                <a:gd name="T24" fmla="*/ 40 w 70"/>
                <a:gd name="T25" fmla="*/ 56 h 90"/>
                <a:gd name="T26" fmla="*/ 42 w 70"/>
                <a:gd name="T27" fmla="*/ 60 h 90"/>
                <a:gd name="T28" fmla="*/ 52 w 70"/>
                <a:gd name="T29" fmla="*/ 66 h 90"/>
                <a:gd name="T30" fmla="*/ 30 w 70"/>
                <a:gd name="T31" fmla="*/ 90 h 90"/>
                <a:gd name="T32" fmla="*/ 22 w 70"/>
                <a:gd name="T33" fmla="*/ 82 h 90"/>
                <a:gd name="T34" fmla="*/ 18 w 70"/>
                <a:gd name="T35" fmla="*/ 80 h 90"/>
                <a:gd name="T36" fmla="*/ 8 w 70"/>
                <a:gd name="T37" fmla="*/ 78 h 90"/>
                <a:gd name="T38" fmla="*/ 4 w 70"/>
                <a:gd name="T39" fmla="*/ 76 h 90"/>
                <a:gd name="T40" fmla="*/ 4 w 70"/>
                <a:gd name="T41" fmla="*/ 74 h 90"/>
                <a:gd name="T42" fmla="*/ 4 w 70"/>
                <a:gd name="T43" fmla="*/ 72 h 90"/>
                <a:gd name="T44" fmla="*/ 8 w 70"/>
                <a:gd name="T45" fmla="*/ 70 h 90"/>
                <a:gd name="T46" fmla="*/ 14 w 70"/>
                <a:gd name="T47" fmla="*/ 66 h 90"/>
                <a:gd name="T48" fmla="*/ 14 w 70"/>
                <a:gd name="T49" fmla="*/ 64 h 90"/>
                <a:gd name="T50" fmla="*/ 16 w 70"/>
                <a:gd name="T51" fmla="*/ 58 h 90"/>
                <a:gd name="T52" fmla="*/ 16 w 70"/>
                <a:gd name="T53" fmla="*/ 52 h 90"/>
                <a:gd name="T54" fmla="*/ 16 w 70"/>
                <a:gd name="T55" fmla="*/ 50 h 90"/>
                <a:gd name="T56" fmla="*/ 14 w 70"/>
                <a:gd name="T57" fmla="*/ 48 h 90"/>
                <a:gd name="T58" fmla="*/ 6 w 70"/>
                <a:gd name="T59" fmla="*/ 46 h 90"/>
                <a:gd name="T60" fmla="*/ 0 w 70"/>
                <a:gd name="T61" fmla="*/ 46 h 90"/>
                <a:gd name="T62" fmla="*/ 8 w 70"/>
                <a:gd name="T63" fmla="*/ 40 h 90"/>
                <a:gd name="T64" fmla="*/ 12 w 70"/>
                <a:gd name="T65" fmla="*/ 38 h 90"/>
                <a:gd name="T66" fmla="*/ 14 w 70"/>
                <a:gd name="T67" fmla="*/ 34 h 90"/>
                <a:gd name="T68" fmla="*/ 16 w 70"/>
                <a:gd name="T69" fmla="*/ 28 h 90"/>
                <a:gd name="T70" fmla="*/ 18 w 70"/>
                <a:gd name="T71" fmla="*/ 18 h 90"/>
                <a:gd name="T72" fmla="*/ 18 w 70"/>
                <a:gd name="T73" fmla="*/ 14 h 90"/>
                <a:gd name="T74" fmla="*/ 22 w 70"/>
                <a:gd name="T75" fmla="*/ 12 h 90"/>
                <a:gd name="T76" fmla="*/ 24 w 70"/>
                <a:gd name="T77" fmla="*/ 12 h 90"/>
                <a:gd name="T78" fmla="*/ 30 w 70"/>
                <a:gd name="T79" fmla="*/ 16 h 90"/>
                <a:gd name="T80" fmla="*/ 36 w 70"/>
                <a:gd name="T81" fmla="*/ 18 h 90"/>
                <a:gd name="T82" fmla="*/ 44 w 70"/>
                <a:gd name="T83" fmla="*/ 18 h 90"/>
                <a:gd name="T84" fmla="*/ 48 w 70"/>
                <a:gd name="T85" fmla="*/ 16 h 90"/>
                <a:gd name="T86" fmla="*/ 50 w 70"/>
                <a:gd name="T87" fmla="*/ 14 h 90"/>
                <a:gd name="T88" fmla="*/ 56 w 70"/>
                <a:gd name="T89" fmla="*/ 8 h 90"/>
                <a:gd name="T90" fmla="*/ 60 w 70"/>
                <a:gd name="T91" fmla="*/ 2 h 90"/>
                <a:gd name="T92" fmla="*/ 64 w 70"/>
                <a:gd name="T9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 h="90">
                  <a:moveTo>
                    <a:pt x="66" y="0"/>
                  </a:moveTo>
                  <a:lnTo>
                    <a:pt x="66" y="0"/>
                  </a:lnTo>
                  <a:lnTo>
                    <a:pt x="68" y="2"/>
                  </a:lnTo>
                  <a:lnTo>
                    <a:pt x="68" y="6"/>
                  </a:lnTo>
                  <a:lnTo>
                    <a:pt x="68" y="10"/>
                  </a:lnTo>
                  <a:lnTo>
                    <a:pt x="70" y="16"/>
                  </a:lnTo>
                  <a:lnTo>
                    <a:pt x="70" y="20"/>
                  </a:lnTo>
                  <a:lnTo>
                    <a:pt x="70" y="22"/>
                  </a:lnTo>
                  <a:lnTo>
                    <a:pt x="70" y="24"/>
                  </a:lnTo>
                  <a:lnTo>
                    <a:pt x="68" y="26"/>
                  </a:lnTo>
                  <a:lnTo>
                    <a:pt x="68" y="26"/>
                  </a:lnTo>
                  <a:lnTo>
                    <a:pt x="68" y="28"/>
                  </a:lnTo>
                  <a:lnTo>
                    <a:pt x="66" y="28"/>
                  </a:lnTo>
                  <a:lnTo>
                    <a:pt x="66" y="28"/>
                  </a:lnTo>
                  <a:lnTo>
                    <a:pt x="64" y="30"/>
                  </a:lnTo>
                  <a:lnTo>
                    <a:pt x="62" y="30"/>
                  </a:lnTo>
                  <a:lnTo>
                    <a:pt x="60" y="30"/>
                  </a:lnTo>
                  <a:lnTo>
                    <a:pt x="60" y="32"/>
                  </a:lnTo>
                  <a:lnTo>
                    <a:pt x="58" y="32"/>
                  </a:lnTo>
                  <a:lnTo>
                    <a:pt x="58" y="34"/>
                  </a:lnTo>
                  <a:lnTo>
                    <a:pt x="56" y="38"/>
                  </a:lnTo>
                  <a:lnTo>
                    <a:pt x="54" y="40"/>
                  </a:lnTo>
                  <a:lnTo>
                    <a:pt x="54" y="42"/>
                  </a:lnTo>
                  <a:lnTo>
                    <a:pt x="54" y="44"/>
                  </a:lnTo>
                  <a:lnTo>
                    <a:pt x="52" y="46"/>
                  </a:lnTo>
                  <a:lnTo>
                    <a:pt x="52" y="46"/>
                  </a:lnTo>
                  <a:lnTo>
                    <a:pt x="50" y="46"/>
                  </a:lnTo>
                  <a:lnTo>
                    <a:pt x="48" y="46"/>
                  </a:lnTo>
                  <a:lnTo>
                    <a:pt x="44" y="48"/>
                  </a:lnTo>
                  <a:lnTo>
                    <a:pt x="42" y="48"/>
                  </a:lnTo>
                  <a:lnTo>
                    <a:pt x="40" y="50"/>
                  </a:lnTo>
                  <a:lnTo>
                    <a:pt x="40" y="50"/>
                  </a:lnTo>
                  <a:lnTo>
                    <a:pt x="38" y="50"/>
                  </a:lnTo>
                  <a:lnTo>
                    <a:pt x="38" y="52"/>
                  </a:lnTo>
                  <a:lnTo>
                    <a:pt x="38" y="52"/>
                  </a:lnTo>
                  <a:lnTo>
                    <a:pt x="38" y="52"/>
                  </a:lnTo>
                  <a:lnTo>
                    <a:pt x="38" y="52"/>
                  </a:lnTo>
                  <a:lnTo>
                    <a:pt x="38" y="54"/>
                  </a:lnTo>
                  <a:lnTo>
                    <a:pt x="40" y="56"/>
                  </a:lnTo>
                  <a:lnTo>
                    <a:pt x="40" y="56"/>
                  </a:lnTo>
                  <a:lnTo>
                    <a:pt x="42" y="58"/>
                  </a:lnTo>
                  <a:lnTo>
                    <a:pt x="42" y="60"/>
                  </a:lnTo>
                  <a:lnTo>
                    <a:pt x="46" y="62"/>
                  </a:lnTo>
                  <a:lnTo>
                    <a:pt x="50" y="64"/>
                  </a:lnTo>
                  <a:lnTo>
                    <a:pt x="52" y="66"/>
                  </a:lnTo>
                  <a:lnTo>
                    <a:pt x="54" y="68"/>
                  </a:lnTo>
                  <a:lnTo>
                    <a:pt x="50" y="84"/>
                  </a:lnTo>
                  <a:lnTo>
                    <a:pt x="30" y="90"/>
                  </a:lnTo>
                  <a:lnTo>
                    <a:pt x="26" y="86"/>
                  </a:lnTo>
                  <a:lnTo>
                    <a:pt x="24" y="84"/>
                  </a:lnTo>
                  <a:lnTo>
                    <a:pt x="22" y="82"/>
                  </a:lnTo>
                  <a:lnTo>
                    <a:pt x="20" y="82"/>
                  </a:lnTo>
                  <a:lnTo>
                    <a:pt x="20" y="82"/>
                  </a:lnTo>
                  <a:lnTo>
                    <a:pt x="18" y="80"/>
                  </a:lnTo>
                  <a:lnTo>
                    <a:pt x="16" y="80"/>
                  </a:lnTo>
                  <a:lnTo>
                    <a:pt x="10" y="78"/>
                  </a:lnTo>
                  <a:lnTo>
                    <a:pt x="8" y="78"/>
                  </a:lnTo>
                  <a:lnTo>
                    <a:pt x="6" y="78"/>
                  </a:lnTo>
                  <a:lnTo>
                    <a:pt x="6" y="78"/>
                  </a:lnTo>
                  <a:lnTo>
                    <a:pt x="4" y="76"/>
                  </a:lnTo>
                  <a:lnTo>
                    <a:pt x="4" y="76"/>
                  </a:lnTo>
                  <a:lnTo>
                    <a:pt x="4" y="76"/>
                  </a:lnTo>
                  <a:lnTo>
                    <a:pt x="4" y="74"/>
                  </a:lnTo>
                  <a:lnTo>
                    <a:pt x="4" y="74"/>
                  </a:lnTo>
                  <a:lnTo>
                    <a:pt x="4" y="74"/>
                  </a:lnTo>
                  <a:lnTo>
                    <a:pt x="4" y="72"/>
                  </a:lnTo>
                  <a:lnTo>
                    <a:pt x="4" y="72"/>
                  </a:lnTo>
                  <a:lnTo>
                    <a:pt x="6" y="70"/>
                  </a:lnTo>
                  <a:lnTo>
                    <a:pt x="8" y="70"/>
                  </a:lnTo>
                  <a:lnTo>
                    <a:pt x="10" y="68"/>
                  </a:lnTo>
                  <a:lnTo>
                    <a:pt x="12" y="68"/>
                  </a:lnTo>
                  <a:lnTo>
                    <a:pt x="14" y="66"/>
                  </a:lnTo>
                  <a:lnTo>
                    <a:pt x="14" y="66"/>
                  </a:lnTo>
                  <a:lnTo>
                    <a:pt x="14" y="66"/>
                  </a:lnTo>
                  <a:lnTo>
                    <a:pt x="14" y="64"/>
                  </a:lnTo>
                  <a:lnTo>
                    <a:pt x="16" y="62"/>
                  </a:lnTo>
                  <a:lnTo>
                    <a:pt x="16" y="60"/>
                  </a:lnTo>
                  <a:lnTo>
                    <a:pt x="16" y="58"/>
                  </a:lnTo>
                  <a:lnTo>
                    <a:pt x="16" y="54"/>
                  </a:lnTo>
                  <a:lnTo>
                    <a:pt x="16" y="52"/>
                  </a:lnTo>
                  <a:lnTo>
                    <a:pt x="16" y="52"/>
                  </a:lnTo>
                  <a:lnTo>
                    <a:pt x="16" y="50"/>
                  </a:lnTo>
                  <a:lnTo>
                    <a:pt x="16" y="50"/>
                  </a:lnTo>
                  <a:lnTo>
                    <a:pt x="16" y="50"/>
                  </a:lnTo>
                  <a:lnTo>
                    <a:pt x="16" y="48"/>
                  </a:lnTo>
                  <a:lnTo>
                    <a:pt x="14" y="48"/>
                  </a:lnTo>
                  <a:lnTo>
                    <a:pt x="14" y="48"/>
                  </a:lnTo>
                  <a:lnTo>
                    <a:pt x="12" y="46"/>
                  </a:lnTo>
                  <a:lnTo>
                    <a:pt x="10" y="46"/>
                  </a:lnTo>
                  <a:lnTo>
                    <a:pt x="6" y="46"/>
                  </a:lnTo>
                  <a:lnTo>
                    <a:pt x="4" y="46"/>
                  </a:lnTo>
                  <a:lnTo>
                    <a:pt x="0" y="46"/>
                  </a:lnTo>
                  <a:lnTo>
                    <a:pt x="0" y="46"/>
                  </a:lnTo>
                  <a:lnTo>
                    <a:pt x="0" y="44"/>
                  </a:lnTo>
                  <a:lnTo>
                    <a:pt x="6" y="42"/>
                  </a:lnTo>
                  <a:lnTo>
                    <a:pt x="8" y="40"/>
                  </a:lnTo>
                  <a:lnTo>
                    <a:pt x="10" y="40"/>
                  </a:lnTo>
                  <a:lnTo>
                    <a:pt x="12" y="38"/>
                  </a:lnTo>
                  <a:lnTo>
                    <a:pt x="12" y="38"/>
                  </a:lnTo>
                  <a:lnTo>
                    <a:pt x="14" y="36"/>
                  </a:lnTo>
                  <a:lnTo>
                    <a:pt x="14" y="36"/>
                  </a:lnTo>
                  <a:lnTo>
                    <a:pt x="14" y="34"/>
                  </a:lnTo>
                  <a:lnTo>
                    <a:pt x="14" y="32"/>
                  </a:lnTo>
                  <a:lnTo>
                    <a:pt x="16" y="30"/>
                  </a:lnTo>
                  <a:lnTo>
                    <a:pt x="16" y="28"/>
                  </a:lnTo>
                  <a:lnTo>
                    <a:pt x="16" y="24"/>
                  </a:lnTo>
                  <a:lnTo>
                    <a:pt x="16" y="20"/>
                  </a:lnTo>
                  <a:lnTo>
                    <a:pt x="18" y="18"/>
                  </a:lnTo>
                  <a:lnTo>
                    <a:pt x="18" y="16"/>
                  </a:lnTo>
                  <a:lnTo>
                    <a:pt x="18" y="16"/>
                  </a:lnTo>
                  <a:lnTo>
                    <a:pt x="18" y="14"/>
                  </a:lnTo>
                  <a:lnTo>
                    <a:pt x="20" y="14"/>
                  </a:lnTo>
                  <a:lnTo>
                    <a:pt x="20" y="12"/>
                  </a:lnTo>
                  <a:lnTo>
                    <a:pt x="22" y="12"/>
                  </a:lnTo>
                  <a:lnTo>
                    <a:pt x="22" y="12"/>
                  </a:lnTo>
                  <a:lnTo>
                    <a:pt x="22" y="12"/>
                  </a:lnTo>
                  <a:lnTo>
                    <a:pt x="24" y="12"/>
                  </a:lnTo>
                  <a:lnTo>
                    <a:pt x="24" y="14"/>
                  </a:lnTo>
                  <a:lnTo>
                    <a:pt x="26" y="14"/>
                  </a:lnTo>
                  <a:lnTo>
                    <a:pt x="30" y="16"/>
                  </a:lnTo>
                  <a:lnTo>
                    <a:pt x="32" y="18"/>
                  </a:lnTo>
                  <a:lnTo>
                    <a:pt x="34" y="18"/>
                  </a:lnTo>
                  <a:lnTo>
                    <a:pt x="36" y="18"/>
                  </a:lnTo>
                  <a:lnTo>
                    <a:pt x="40" y="18"/>
                  </a:lnTo>
                  <a:lnTo>
                    <a:pt x="42" y="18"/>
                  </a:lnTo>
                  <a:lnTo>
                    <a:pt x="44" y="18"/>
                  </a:lnTo>
                  <a:lnTo>
                    <a:pt x="46" y="18"/>
                  </a:lnTo>
                  <a:lnTo>
                    <a:pt x="46" y="18"/>
                  </a:lnTo>
                  <a:lnTo>
                    <a:pt x="48" y="16"/>
                  </a:lnTo>
                  <a:lnTo>
                    <a:pt x="48" y="16"/>
                  </a:lnTo>
                  <a:lnTo>
                    <a:pt x="50" y="16"/>
                  </a:lnTo>
                  <a:lnTo>
                    <a:pt x="50" y="14"/>
                  </a:lnTo>
                  <a:lnTo>
                    <a:pt x="52" y="12"/>
                  </a:lnTo>
                  <a:lnTo>
                    <a:pt x="54" y="10"/>
                  </a:lnTo>
                  <a:lnTo>
                    <a:pt x="56" y="8"/>
                  </a:lnTo>
                  <a:lnTo>
                    <a:pt x="58" y="4"/>
                  </a:lnTo>
                  <a:lnTo>
                    <a:pt x="60" y="2"/>
                  </a:lnTo>
                  <a:lnTo>
                    <a:pt x="60" y="2"/>
                  </a:lnTo>
                  <a:lnTo>
                    <a:pt x="62" y="2"/>
                  </a:lnTo>
                  <a:lnTo>
                    <a:pt x="64" y="0"/>
                  </a:lnTo>
                  <a:lnTo>
                    <a:pt x="64" y="0"/>
                  </a:lnTo>
                  <a:lnTo>
                    <a:pt x="66"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9" name="Freeform 67">
              <a:extLst>
                <a:ext uri="{FF2B5EF4-FFF2-40B4-BE49-F238E27FC236}">
                  <a16:creationId xmlns:a16="http://schemas.microsoft.com/office/drawing/2014/main" id="{73EF6CFF-DD3D-42D1-B7E8-150E40D4836F}"/>
                </a:ext>
              </a:extLst>
            </p:cNvPr>
            <p:cNvSpPr>
              <a:spLocks/>
            </p:cNvSpPr>
            <p:nvPr/>
          </p:nvSpPr>
          <p:spPr bwMode="auto">
            <a:xfrm>
              <a:off x="6565943" y="3835600"/>
              <a:ext cx="193992" cy="502302"/>
            </a:xfrm>
            <a:custGeom>
              <a:avLst/>
              <a:gdLst>
                <a:gd name="T0" fmla="*/ 6 w 112"/>
                <a:gd name="T1" fmla="*/ 82 h 290"/>
                <a:gd name="T2" fmla="*/ 8 w 112"/>
                <a:gd name="T3" fmla="*/ 68 h 290"/>
                <a:gd name="T4" fmla="*/ 18 w 112"/>
                <a:gd name="T5" fmla="*/ 58 h 290"/>
                <a:gd name="T6" fmla="*/ 24 w 112"/>
                <a:gd name="T7" fmla="*/ 40 h 290"/>
                <a:gd name="T8" fmla="*/ 34 w 112"/>
                <a:gd name="T9" fmla="*/ 26 h 290"/>
                <a:gd name="T10" fmla="*/ 42 w 112"/>
                <a:gd name="T11" fmla="*/ 18 h 290"/>
                <a:gd name="T12" fmla="*/ 56 w 112"/>
                <a:gd name="T13" fmla="*/ 14 h 290"/>
                <a:gd name="T14" fmla="*/ 58 w 112"/>
                <a:gd name="T15" fmla="*/ 6 h 290"/>
                <a:gd name="T16" fmla="*/ 68 w 112"/>
                <a:gd name="T17" fmla="*/ 0 h 290"/>
                <a:gd name="T18" fmla="*/ 76 w 112"/>
                <a:gd name="T19" fmla="*/ 0 h 290"/>
                <a:gd name="T20" fmla="*/ 80 w 112"/>
                <a:gd name="T21" fmla="*/ 12 h 290"/>
                <a:gd name="T22" fmla="*/ 84 w 112"/>
                <a:gd name="T23" fmla="*/ 26 h 290"/>
                <a:gd name="T24" fmla="*/ 78 w 112"/>
                <a:gd name="T25" fmla="*/ 38 h 290"/>
                <a:gd name="T26" fmla="*/ 70 w 112"/>
                <a:gd name="T27" fmla="*/ 44 h 290"/>
                <a:gd name="T28" fmla="*/ 66 w 112"/>
                <a:gd name="T29" fmla="*/ 54 h 290"/>
                <a:gd name="T30" fmla="*/ 68 w 112"/>
                <a:gd name="T31" fmla="*/ 60 h 290"/>
                <a:gd name="T32" fmla="*/ 80 w 112"/>
                <a:gd name="T33" fmla="*/ 60 h 290"/>
                <a:gd name="T34" fmla="*/ 84 w 112"/>
                <a:gd name="T35" fmla="*/ 62 h 290"/>
                <a:gd name="T36" fmla="*/ 92 w 112"/>
                <a:gd name="T37" fmla="*/ 76 h 290"/>
                <a:gd name="T38" fmla="*/ 92 w 112"/>
                <a:gd name="T39" fmla="*/ 96 h 290"/>
                <a:gd name="T40" fmla="*/ 96 w 112"/>
                <a:gd name="T41" fmla="*/ 100 h 290"/>
                <a:gd name="T42" fmla="*/ 106 w 112"/>
                <a:gd name="T43" fmla="*/ 102 h 290"/>
                <a:gd name="T44" fmla="*/ 110 w 112"/>
                <a:gd name="T45" fmla="*/ 104 h 290"/>
                <a:gd name="T46" fmla="*/ 108 w 112"/>
                <a:gd name="T47" fmla="*/ 122 h 290"/>
                <a:gd name="T48" fmla="*/ 100 w 112"/>
                <a:gd name="T49" fmla="*/ 132 h 290"/>
                <a:gd name="T50" fmla="*/ 86 w 112"/>
                <a:gd name="T51" fmla="*/ 138 h 290"/>
                <a:gd name="T52" fmla="*/ 80 w 112"/>
                <a:gd name="T53" fmla="*/ 144 h 290"/>
                <a:gd name="T54" fmla="*/ 80 w 112"/>
                <a:gd name="T55" fmla="*/ 160 h 290"/>
                <a:gd name="T56" fmla="*/ 84 w 112"/>
                <a:gd name="T57" fmla="*/ 176 h 290"/>
                <a:gd name="T58" fmla="*/ 96 w 112"/>
                <a:gd name="T59" fmla="*/ 190 h 290"/>
                <a:gd name="T60" fmla="*/ 96 w 112"/>
                <a:gd name="T61" fmla="*/ 198 h 290"/>
                <a:gd name="T62" fmla="*/ 92 w 112"/>
                <a:gd name="T63" fmla="*/ 220 h 290"/>
                <a:gd name="T64" fmla="*/ 96 w 112"/>
                <a:gd name="T65" fmla="*/ 242 h 290"/>
                <a:gd name="T66" fmla="*/ 102 w 112"/>
                <a:gd name="T67" fmla="*/ 250 h 290"/>
                <a:gd name="T68" fmla="*/ 112 w 112"/>
                <a:gd name="T69" fmla="*/ 258 h 290"/>
                <a:gd name="T70" fmla="*/ 110 w 112"/>
                <a:gd name="T71" fmla="*/ 266 h 290"/>
                <a:gd name="T72" fmla="*/ 102 w 112"/>
                <a:gd name="T73" fmla="*/ 280 h 290"/>
                <a:gd name="T74" fmla="*/ 88 w 112"/>
                <a:gd name="T75" fmla="*/ 262 h 290"/>
                <a:gd name="T76" fmla="*/ 86 w 112"/>
                <a:gd name="T77" fmla="*/ 246 h 290"/>
                <a:gd name="T78" fmla="*/ 78 w 112"/>
                <a:gd name="T79" fmla="*/ 240 h 290"/>
                <a:gd name="T80" fmla="*/ 72 w 112"/>
                <a:gd name="T81" fmla="*/ 234 h 290"/>
                <a:gd name="T82" fmla="*/ 76 w 112"/>
                <a:gd name="T83" fmla="*/ 218 h 290"/>
                <a:gd name="T84" fmla="*/ 78 w 112"/>
                <a:gd name="T85" fmla="*/ 200 h 290"/>
                <a:gd name="T86" fmla="*/ 72 w 112"/>
                <a:gd name="T87" fmla="*/ 182 h 290"/>
                <a:gd name="T88" fmla="*/ 64 w 112"/>
                <a:gd name="T89" fmla="*/ 178 h 290"/>
                <a:gd name="T90" fmla="*/ 60 w 112"/>
                <a:gd name="T91" fmla="*/ 182 h 290"/>
                <a:gd name="T92" fmla="*/ 50 w 112"/>
                <a:gd name="T93" fmla="*/ 196 h 290"/>
                <a:gd name="T94" fmla="*/ 44 w 112"/>
                <a:gd name="T95" fmla="*/ 200 h 290"/>
                <a:gd name="T96" fmla="*/ 32 w 112"/>
                <a:gd name="T97" fmla="*/ 194 h 290"/>
                <a:gd name="T98" fmla="*/ 28 w 112"/>
                <a:gd name="T99" fmla="*/ 186 h 290"/>
                <a:gd name="T100" fmla="*/ 28 w 112"/>
                <a:gd name="T101" fmla="*/ 162 h 290"/>
                <a:gd name="T102" fmla="*/ 24 w 112"/>
                <a:gd name="T103" fmla="*/ 144 h 290"/>
                <a:gd name="T104" fmla="*/ 12 w 112"/>
                <a:gd name="T105" fmla="*/ 128 h 290"/>
                <a:gd name="T106" fmla="*/ 0 w 112"/>
                <a:gd name="T107" fmla="*/ 120 h 290"/>
                <a:gd name="T108" fmla="*/ 0 w 112"/>
                <a:gd name="T109" fmla="*/ 112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290">
                  <a:moveTo>
                    <a:pt x="0" y="112"/>
                  </a:moveTo>
                  <a:lnTo>
                    <a:pt x="8" y="98"/>
                  </a:lnTo>
                  <a:lnTo>
                    <a:pt x="6" y="94"/>
                  </a:lnTo>
                  <a:lnTo>
                    <a:pt x="6" y="92"/>
                  </a:lnTo>
                  <a:lnTo>
                    <a:pt x="6" y="86"/>
                  </a:lnTo>
                  <a:lnTo>
                    <a:pt x="6" y="82"/>
                  </a:lnTo>
                  <a:lnTo>
                    <a:pt x="6" y="78"/>
                  </a:lnTo>
                  <a:lnTo>
                    <a:pt x="6" y="74"/>
                  </a:lnTo>
                  <a:lnTo>
                    <a:pt x="6" y="72"/>
                  </a:lnTo>
                  <a:lnTo>
                    <a:pt x="6" y="72"/>
                  </a:lnTo>
                  <a:lnTo>
                    <a:pt x="8" y="70"/>
                  </a:lnTo>
                  <a:lnTo>
                    <a:pt x="8" y="68"/>
                  </a:lnTo>
                  <a:lnTo>
                    <a:pt x="8" y="68"/>
                  </a:lnTo>
                  <a:lnTo>
                    <a:pt x="10" y="66"/>
                  </a:lnTo>
                  <a:lnTo>
                    <a:pt x="12" y="64"/>
                  </a:lnTo>
                  <a:lnTo>
                    <a:pt x="14" y="62"/>
                  </a:lnTo>
                  <a:lnTo>
                    <a:pt x="18" y="58"/>
                  </a:lnTo>
                  <a:lnTo>
                    <a:pt x="18" y="58"/>
                  </a:lnTo>
                  <a:lnTo>
                    <a:pt x="20" y="56"/>
                  </a:lnTo>
                  <a:lnTo>
                    <a:pt x="22" y="54"/>
                  </a:lnTo>
                  <a:lnTo>
                    <a:pt x="22" y="52"/>
                  </a:lnTo>
                  <a:lnTo>
                    <a:pt x="22" y="48"/>
                  </a:lnTo>
                  <a:lnTo>
                    <a:pt x="24" y="46"/>
                  </a:lnTo>
                  <a:lnTo>
                    <a:pt x="24" y="40"/>
                  </a:lnTo>
                  <a:lnTo>
                    <a:pt x="26" y="38"/>
                  </a:lnTo>
                  <a:lnTo>
                    <a:pt x="26" y="36"/>
                  </a:lnTo>
                  <a:lnTo>
                    <a:pt x="28" y="34"/>
                  </a:lnTo>
                  <a:lnTo>
                    <a:pt x="28" y="32"/>
                  </a:lnTo>
                  <a:lnTo>
                    <a:pt x="32" y="28"/>
                  </a:lnTo>
                  <a:lnTo>
                    <a:pt x="34" y="26"/>
                  </a:lnTo>
                  <a:lnTo>
                    <a:pt x="34" y="24"/>
                  </a:lnTo>
                  <a:lnTo>
                    <a:pt x="36" y="22"/>
                  </a:lnTo>
                  <a:lnTo>
                    <a:pt x="38" y="20"/>
                  </a:lnTo>
                  <a:lnTo>
                    <a:pt x="38" y="20"/>
                  </a:lnTo>
                  <a:lnTo>
                    <a:pt x="40" y="20"/>
                  </a:lnTo>
                  <a:lnTo>
                    <a:pt x="42" y="18"/>
                  </a:lnTo>
                  <a:lnTo>
                    <a:pt x="44" y="18"/>
                  </a:lnTo>
                  <a:lnTo>
                    <a:pt x="48" y="16"/>
                  </a:lnTo>
                  <a:lnTo>
                    <a:pt x="50" y="16"/>
                  </a:lnTo>
                  <a:lnTo>
                    <a:pt x="54" y="14"/>
                  </a:lnTo>
                  <a:lnTo>
                    <a:pt x="54" y="14"/>
                  </a:lnTo>
                  <a:lnTo>
                    <a:pt x="56" y="14"/>
                  </a:lnTo>
                  <a:lnTo>
                    <a:pt x="56" y="12"/>
                  </a:lnTo>
                  <a:lnTo>
                    <a:pt x="56" y="12"/>
                  </a:lnTo>
                  <a:lnTo>
                    <a:pt x="58" y="10"/>
                  </a:lnTo>
                  <a:lnTo>
                    <a:pt x="58" y="10"/>
                  </a:lnTo>
                  <a:lnTo>
                    <a:pt x="58" y="8"/>
                  </a:lnTo>
                  <a:lnTo>
                    <a:pt x="58" y="6"/>
                  </a:lnTo>
                  <a:lnTo>
                    <a:pt x="58" y="4"/>
                  </a:lnTo>
                  <a:lnTo>
                    <a:pt x="58" y="4"/>
                  </a:lnTo>
                  <a:lnTo>
                    <a:pt x="60" y="2"/>
                  </a:lnTo>
                  <a:lnTo>
                    <a:pt x="62" y="2"/>
                  </a:lnTo>
                  <a:lnTo>
                    <a:pt x="66" y="0"/>
                  </a:lnTo>
                  <a:lnTo>
                    <a:pt x="68" y="0"/>
                  </a:lnTo>
                  <a:lnTo>
                    <a:pt x="70" y="0"/>
                  </a:lnTo>
                  <a:lnTo>
                    <a:pt x="72" y="0"/>
                  </a:lnTo>
                  <a:lnTo>
                    <a:pt x="72" y="0"/>
                  </a:lnTo>
                  <a:lnTo>
                    <a:pt x="74" y="0"/>
                  </a:lnTo>
                  <a:lnTo>
                    <a:pt x="74" y="0"/>
                  </a:lnTo>
                  <a:lnTo>
                    <a:pt x="76" y="0"/>
                  </a:lnTo>
                  <a:lnTo>
                    <a:pt x="76" y="2"/>
                  </a:lnTo>
                  <a:lnTo>
                    <a:pt x="76" y="4"/>
                  </a:lnTo>
                  <a:lnTo>
                    <a:pt x="78" y="4"/>
                  </a:lnTo>
                  <a:lnTo>
                    <a:pt x="78" y="8"/>
                  </a:lnTo>
                  <a:lnTo>
                    <a:pt x="78" y="10"/>
                  </a:lnTo>
                  <a:lnTo>
                    <a:pt x="80" y="12"/>
                  </a:lnTo>
                  <a:lnTo>
                    <a:pt x="82" y="18"/>
                  </a:lnTo>
                  <a:lnTo>
                    <a:pt x="84" y="20"/>
                  </a:lnTo>
                  <a:lnTo>
                    <a:pt x="84" y="22"/>
                  </a:lnTo>
                  <a:lnTo>
                    <a:pt x="84" y="24"/>
                  </a:lnTo>
                  <a:lnTo>
                    <a:pt x="84" y="24"/>
                  </a:lnTo>
                  <a:lnTo>
                    <a:pt x="84" y="26"/>
                  </a:lnTo>
                  <a:lnTo>
                    <a:pt x="84" y="28"/>
                  </a:lnTo>
                  <a:lnTo>
                    <a:pt x="84" y="28"/>
                  </a:lnTo>
                  <a:lnTo>
                    <a:pt x="84" y="30"/>
                  </a:lnTo>
                  <a:lnTo>
                    <a:pt x="82" y="32"/>
                  </a:lnTo>
                  <a:lnTo>
                    <a:pt x="80" y="36"/>
                  </a:lnTo>
                  <a:lnTo>
                    <a:pt x="78" y="38"/>
                  </a:lnTo>
                  <a:lnTo>
                    <a:pt x="78" y="40"/>
                  </a:lnTo>
                  <a:lnTo>
                    <a:pt x="76" y="40"/>
                  </a:lnTo>
                  <a:lnTo>
                    <a:pt x="74" y="42"/>
                  </a:lnTo>
                  <a:lnTo>
                    <a:pt x="72" y="42"/>
                  </a:lnTo>
                  <a:lnTo>
                    <a:pt x="70" y="44"/>
                  </a:lnTo>
                  <a:lnTo>
                    <a:pt x="70" y="44"/>
                  </a:lnTo>
                  <a:lnTo>
                    <a:pt x="68" y="46"/>
                  </a:lnTo>
                  <a:lnTo>
                    <a:pt x="68" y="46"/>
                  </a:lnTo>
                  <a:lnTo>
                    <a:pt x="68" y="48"/>
                  </a:lnTo>
                  <a:lnTo>
                    <a:pt x="66" y="50"/>
                  </a:lnTo>
                  <a:lnTo>
                    <a:pt x="66" y="52"/>
                  </a:lnTo>
                  <a:lnTo>
                    <a:pt x="66" y="54"/>
                  </a:lnTo>
                  <a:lnTo>
                    <a:pt x="66" y="56"/>
                  </a:lnTo>
                  <a:lnTo>
                    <a:pt x="66" y="58"/>
                  </a:lnTo>
                  <a:lnTo>
                    <a:pt x="66" y="58"/>
                  </a:lnTo>
                  <a:lnTo>
                    <a:pt x="68" y="58"/>
                  </a:lnTo>
                  <a:lnTo>
                    <a:pt x="68" y="58"/>
                  </a:lnTo>
                  <a:lnTo>
                    <a:pt x="68" y="60"/>
                  </a:lnTo>
                  <a:lnTo>
                    <a:pt x="70" y="60"/>
                  </a:lnTo>
                  <a:lnTo>
                    <a:pt x="70" y="60"/>
                  </a:lnTo>
                  <a:lnTo>
                    <a:pt x="72" y="60"/>
                  </a:lnTo>
                  <a:lnTo>
                    <a:pt x="76" y="60"/>
                  </a:lnTo>
                  <a:lnTo>
                    <a:pt x="78" y="60"/>
                  </a:lnTo>
                  <a:lnTo>
                    <a:pt x="80" y="60"/>
                  </a:lnTo>
                  <a:lnTo>
                    <a:pt x="82" y="60"/>
                  </a:lnTo>
                  <a:lnTo>
                    <a:pt x="82" y="60"/>
                  </a:lnTo>
                  <a:lnTo>
                    <a:pt x="82" y="60"/>
                  </a:lnTo>
                  <a:lnTo>
                    <a:pt x="84" y="60"/>
                  </a:lnTo>
                  <a:lnTo>
                    <a:pt x="84" y="62"/>
                  </a:lnTo>
                  <a:lnTo>
                    <a:pt x="84" y="62"/>
                  </a:lnTo>
                  <a:lnTo>
                    <a:pt x="86" y="64"/>
                  </a:lnTo>
                  <a:lnTo>
                    <a:pt x="88" y="66"/>
                  </a:lnTo>
                  <a:lnTo>
                    <a:pt x="88" y="68"/>
                  </a:lnTo>
                  <a:lnTo>
                    <a:pt x="90" y="70"/>
                  </a:lnTo>
                  <a:lnTo>
                    <a:pt x="90" y="72"/>
                  </a:lnTo>
                  <a:lnTo>
                    <a:pt x="92" y="76"/>
                  </a:lnTo>
                  <a:lnTo>
                    <a:pt x="92" y="78"/>
                  </a:lnTo>
                  <a:lnTo>
                    <a:pt x="92" y="78"/>
                  </a:lnTo>
                  <a:lnTo>
                    <a:pt x="92" y="82"/>
                  </a:lnTo>
                  <a:lnTo>
                    <a:pt x="92" y="88"/>
                  </a:lnTo>
                  <a:lnTo>
                    <a:pt x="92" y="92"/>
                  </a:lnTo>
                  <a:lnTo>
                    <a:pt x="92" y="96"/>
                  </a:lnTo>
                  <a:lnTo>
                    <a:pt x="94" y="96"/>
                  </a:lnTo>
                  <a:lnTo>
                    <a:pt x="94" y="98"/>
                  </a:lnTo>
                  <a:lnTo>
                    <a:pt x="94" y="98"/>
                  </a:lnTo>
                  <a:lnTo>
                    <a:pt x="94" y="100"/>
                  </a:lnTo>
                  <a:lnTo>
                    <a:pt x="96" y="100"/>
                  </a:lnTo>
                  <a:lnTo>
                    <a:pt x="96" y="100"/>
                  </a:lnTo>
                  <a:lnTo>
                    <a:pt x="98" y="100"/>
                  </a:lnTo>
                  <a:lnTo>
                    <a:pt x="98" y="100"/>
                  </a:lnTo>
                  <a:lnTo>
                    <a:pt x="100" y="102"/>
                  </a:lnTo>
                  <a:lnTo>
                    <a:pt x="102" y="102"/>
                  </a:lnTo>
                  <a:lnTo>
                    <a:pt x="104" y="102"/>
                  </a:lnTo>
                  <a:lnTo>
                    <a:pt x="106" y="102"/>
                  </a:lnTo>
                  <a:lnTo>
                    <a:pt x="108" y="102"/>
                  </a:lnTo>
                  <a:lnTo>
                    <a:pt x="108" y="102"/>
                  </a:lnTo>
                  <a:lnTo>
                    <a:pt x="110" y="102"/>
                  </a:lnTo>
                  <a:lnTo>
                    <a:pt x="110" y="102"/>
                  </a:lnTo>
                  <a:lnTo>
                    <a:pt x="110" y="104"/>
                  </a:lnTo>
                  <a:lnTo>
                    <a:pt x="110" y="104"/>
                  </a:lnTo>
                  <a:lnTo>
                    <a:pt x="112" y="106"/>
                  </a:lnTo>
                  <a:lnTo>
                    <a:pt x="112" y="108"/>
                  </a:lnTo>
                  <a:lnTo>
                    <a:pt x="112" y="112"/>
                  </a:lnTo>
                  <a:lnTo>
                    <a:pt x="112" y="112"/>
                  </a:lnTo>
                  <a:lnTo>
                    <a:pt x="110" y="118"/>
                  </a:lnTo>
                  <a:lnTo>
                    <a:pt x="108" y="122"/>
                  </a:lnTo>
                  <a:lnTo>
                    <a:pt x="108" y="124"/>
                  </a:lnTo>
                  <a:lnTo>
                    <a:pt x="106" y="126"/>
                  </a:lnTo>
                  <a:lnTo>
                    <a:pt x="106" y="128"/>
                  </a:lnTo>
                  <a:lnTo>
                    <a:pt x="104" y="128"/>
                  </a:lnTo>
                  <a:lnTo>
                    <a:pt x="102" y="130"/>
                  </a:lnTo>
                  <a:lnTo>
                    <a:pt x="100" y="132"/>
                  </a:lnTo>
                  <a:lnTo>
                    <a:pt x="98" y="134"/>
                  </a:lnTo>
                  <a:lnTo>
                    <a:pt x="96" y="134"/>
                  </a:lnTo>
                  <a:lnTo>
                    <a:pt x="94" y="136"/>
                  </a:lnTo>
                  <a:lnTo>
                    <a:pt x="90" y="136"/>
                  </a:lnTo>
                  <a:lnTo>
                    <a:pt x="88" y="138"/>
                  </a:lnTo>
                  <a:lnTo>
                    <a:pt x="86" y="138"/>
                  </a:lnTo>
                  <a:lnTo>
                    <a:pt x="84" y="138"/>
                  </a:lnTo>
                  <a:lnTo>
                    <a:pt x="82" y="140"/>
                  </a:lnTo>
                  <a:lnTo>
                    <a:pt x="82" y="140"/>
                  </a:lnTo>
                  <a:lnTo>
                    <a:pt x="82" y="142"/>
                  </a:lnTo>
                  <a:lnTo>
                    <a:pt x="82" y="142"/>
                  </a:lnTo>
                  <a:lnTo>
                    <a:pt x="80" y="144"/>
                  </a:lnTo>
                  <a:lnTo>
                    <a:pt x="80" y="146"/>
                  </a:lnTo>
                  <a:lnTo>
                    <a:pt x="80" y="148"/>
                  </a:lnTo>
                  <a:lnTo>
                    <a:pt x="80" y="150"/>
                  </a:lnTo>
                  <a:lnTo>
                    <a:pt x="80" y="152"/>
                  </a:lnTo>
                  <a:lnTo>
                    <a:pt x="80" y="156"/>
                  </a:lnTo>
                  <a:lnTo>
                    <a:pt x="80" y="160"/>
                  </a:lnTo>
                  <a:lnTo>
                    <a:pt x="80" y="164"/>
                  </a:lnTo>
                  <a:lnTo>
                    <a:pt x="82" y="166"/>
                  </a:lnTo>
                  <a:lnTo>
                    <a:pt x="82" y="168"/>
                  </a:lnTo>
                  <a:lnTo>
                    <a:pt x="82" y="172"/>
                  </a:lnTo>
                  <a:lnTo>
                    <a:pt x="84" y="174"/>
                  </a:lnTo>
                  <a:lnTo>
                    <a:pt x="84" y="176"/>
                  </a:lnTo>
                  <a:lnTo>
                    <a:pt x="86" y="178"/>
                  </a:lnTo>
                  <a:lnTo>
                    <a:pt x="88" y="180"/>
                  </a:lnTo>
                  <a:lnTo>
                    <a:pt x="92" y="184"/>
                  </a:lnTo>
                  <a:lnTo>
                    <a:pt x="92" y="186"/>
                  </a:lnTo>
                  <a:lnTo>
                    <a:pt x="94" y="188"/>
                  </a:lnTo>
                  <a:lnTo>
                    <a:pt x="96" y="190"/>
                  </a:lnTo>
                  <a:lnTo>
                    <a:pt x="96" y="190"/>
                  </a:lnTo>
                  <a:lnTo>
                    <a:pt x="96" y="192"/>
                  </a:lnTo>
                  <a:lnTo>
                    <a:pt x="96" y="192"/>
                  </a:lnTo>
                  <a:lnTo>
                    <a:pt x="96" y="194"/>
                  </a:lnTo>
                  <a:lnTo>
                    <a:pt x="96" y="196"/>
                  </a:lnTo>
                  <a:lnTo>
                    <a:pt x="96" y="198"/>
                  </a:lnTo>
                  <a:lnTo>
                    <a:pt x="96" y="200"/>
                  </a:lnTo>
                  <a:lnTo>
                    <a:pt x="94" y="204"/>
                  </a:lnTo>
                  <a:lnTo>
                    <a:pt x="94" y="210"/>
                  </a:lnTo>
                  <a:lnTo>
                    <a:pt x="92" y="214"/>
                  </a:lnTo>
                  <a:lnTo>
                    <a:pt x="92" y="216"/>
                  </a:lnTo>
                  <a:lnTo>
                    <a:pt x="92" y="220"/>
                  </a:lnTo>
                  <a:lnTo>
                    <a:pt x="92" y="224"/>
                  </a:lnTo>
                  <a:lnTo>
                    <a:pt x="94" y="226"/>
                  </a:lnTo>
                  <a:lnTo>
                    <a:pt x="94" y="230"/>
                  </a:lnTo>
                  <a:lnTo>
                    <a:pt x="94" y="234"/>
                  </a:lnTo>
                  <a:lnTo>
                    <a:pt x="96" y="238"/>
                  </a:lnTo>
                  <a:lnTo>
                    <a:pt x="96" y="242"/>
                  </a:lnTo>
                  <a:lnTo>
                    <a:pt x="98" y="244"/>
                  </a:lnTo>
                  <a:lnTo>
                    <a:pt x="98" y="246"/>
                  </a:lnTo>
                  <a:lnTo>
                    <a:pt x="98" y="248"/>
                  </a:lnTo>
                  <a:lnTo>
                    <a:pt x="100" y="248"/>
                  </a:lnTo>
                  <a:lnTo>
                    <a:pt x="100" y="250"/>
                  </a:lnTo>
                  <a:lnTo>
                    <a:pt x="102" y="250"/>
                  </a:lnTo>
                  <a:lnTo>
                    <a:pt x="106" y="254"/>
                  </a:lnTo>
                  <a:lnTo>
                    <a:pt x="108" y="256"/>
                  </a:lnTo>
                  <a:lnTo>
                    <a:pt x="110" y="256"/>
                  </a:lnTo>
                  <a:lnTo>
                    <a:pt x="110" y="258"/>
                  </a:lnTo>
                  <a:lnTo>
                    <a:pt x="110" y="258"/>
                  </a:lnTo>
                  <a:lnTo>
                    <a:pt x="112" y="258"/>
                  </a:lnTo>
                  <a:lnTo>
                    <a:pt x="112" y="260"/>
                  </a:lnTo>
                  <a:lnTo>
                    <a:pt x="112" y="260"/>
                  </a:lnTo>
                  <a:lnTo>
                    <a:pt x="112" y="262"/>
                  </a:lnTo>
                  <a:lnTo>
                    <a:pt x="112" y="264"/>
                  </a:lnTo>
                  <a:lnTo>
                    <a:pt x="110" y="264"/>
                  </a:lnTo>
                  <a:lnTo>
                    <a:pt x="110" y="266"/>
                  </a:lnTo>
                  <a:lnTo>
                    <a:pt x="110" y="268"/>
                  </a:lnTo>
                  <a:lnTo>
                    <a:pt x="108" y="270"/>
                  </a:lnTo>
                  <a:lnTo>
                    <a:pt x="106" y="274"/>
                  </a:lnTo>
                  <a:lnTo>
                    <a:pt x="104" y="276"/>
                  </a:lnTo>
                  <a:lnTo>
                    <a:pt x="102" y="278"/>
                  </a:lnTo>
                  <a:lnTo>
                    <a:pt x="102" y="280"/>
                  </a:lnTo>
                  <a:lnTo>
                    <a:pt x="100" y="284"/>
                  </a:lnTo>
                  <a:lnTo>
                    <a:pt x="98" y="286"/>
                  </a:lnTo>
                  <a:lnTo>
                    <a:pt x="94" y="290"/>
                  </a:lnTo>
                  <a:lnTo>
                    <a:pt x="92" y="280"/>
                  </a:lnTo>
                  <a:lnTo>
                    <a:pt x="88" y="264"/>
                  </a:lnTo>
                  <a:lnTo>
                    <a:pt x="88" y="262"/>
                  </a:lnTo>
                  <a:lnTo>
                    <a:pt x="88" y="258"/>
                  </a:lnTo>
                  <a:lnTo>
                    <a:pt x="88" y="254"/>
                  </a:lnTo>
                  <a:lnTo>
                    <a:pt x="86" y="252"/>
                  </a:lnTo>
                  <a:lnTo>
                    <a:pt x="86" y="248"/>
                  </a:lnTo>
                  <a:lnTo>
                    <a:pt x="86" y="246"/>
                  </a:lnTo>
                  <a:lnTo>
                    <a:pt x="86" y="246"/>
                  </a:lnTo>
                  <a:lnTo>
                    <a:pt x="84" y="244"/>
                  </a:lnTo>
                  <a:lnTo>
                    <a:pt x="84" y="244"/>
                  </a:lnTo>
                  <a:lnTo>
                    <a:pt x="84" y="244"/>
                  </a:lnTo>
                  <a:lnTo>
                    <a:pt x="82" y="242"/>
                  </a:lnTo>
                  <a:lnTo>
                    <a:pt x="80" y="242"/>
                  </a:lnTo>
                  <a:lnTo>
                    <a:pt x="78" y="240"/>
                  </a:lnTo>
                  <a:lnTo>
                    <a:pt x="78" y="240"/>
                  </a:lnTo>
                  <a:lnTo>
                    <a:pt x="76" y="238"/>
                  </a:lnTo>
                  <a:lnTo>
                    <a:pt x="74" y="236"/>
                  </a:lnTo>
                  <a:lnTo>
                    <a:pt x="74" y="236"/>
                  </a:lnTo>
                  <a:lnTo>
                    <a:pt x="74" y="236"/>
                  </a:lnTo>
                  <a:lnTo>
                    <a:pt x="72" y="234"/>
                  </a:lnTo>
                  <a:lnTo>
                    <a:pt x="72" y="232"/>
                  </a:lnTo>
                  <a:lnTo>
                    <a:pt x="72" y="230"/>
                  </a:lnTo>
                  <a:lnTo>
                    <a:pt x="72" y="228"/>
                  </a:lnTo>
                  <a:lnTo>
                    <a:pt x="74" y="226"/>
                  </a:lnTo>
                  <a:lnTo>
                    <a:pt x="74" y="222"/>
                  </a:lnTo>
                  <a:lnTo>
                    <a:pt x="76" y="218"/>
                  </a:lnTo>
                  <a:lnTo>
                    <a:pt x="76" y="212"/>
                  </a:lnTo>
                  <a:lnTo>
                    <a:pt x="78" y="208"/>
                  </a:lnTo>
                  <a:lnTo>
                    <a:pt x="78" y="206"/>
                  </a:lnTo>
                  <a:lnTo>
                    <a:pt x="78" y="204"/>
                  </a:lnTo>
                  <a:lnTo>
                    <a:pt x="78" y="200"/>
                  </a:lnTo>
                  <a:lnTo>
                    <a:pt x="78" y="200"/>
                  </a:lnTo>
                  <a:lnTo>
                    <a:pt x="78" y="196"/>
                  </a:lnTo>
                  <a:lnTo>
                    <a:pt x="76" y="194"/>
                  </a:lnTo>
                  <a:lnTo>
                    <a:pt x="76" y="190"/>
                  </a:lnTo>
                  <a:lnTo>
                    <a:pt x="74" y="186"/>
                  </a:lnTo>
                  <a:lnTo>
                    <a:pt x="72" y="184"/>
                  </a:lnTo>
                  <a:lnTo>
                    <a:pt x="72" y="182"/>
                  </a:lnTo>
                  <a:lnTo>
                    <a:pt x="70" y="182"/>
                  </a:lnTo>
                  <a:lnTo>
                    <a:pt x="70" y="180"/>
                  </a:lnTo>
                  <a:lnTo>
                    <a:pt x="68" y="180"/>
                  </a:lnTo>
                  <a:lnTo>
                    <a:pt x="66" y="178"/>
                  </a:lnTo>
                  <a:lnTo>
                    <a:pt x="66" y="178"/>
                  </a:lnTo>
                  <a:lnTo>
                    <a:pt x="64" y="178"/>
                  </a:lnTo>
                  <a:lnTo>
                    <a:pt x="64" y="178"/>
                  </a:lnTo>
                  <a:lnTo>
                    <a:pt x="64" y="178"/>
                  </a:lnTo>
                  <a:lnTo>
                    <a:pt x="62" y="178"/>
                  </a:lnTo>
                  <a:lnTo>
                    <a:pt x="62" y="180"/>
                  </a:lnTo>
                  <a:lnTo>
                    <a:pt x="62" y="180"/>
                  </a:lnTo>
                  <a:lnTo>
                    <a:pt x="60" y="182"/>
                  </a:lnTo>
                  <a:lnTo>
                    <a:pt x="58" y="186"/>
                  </a:lnTo>
                  <a:lnTo>
                    <a:pt x="58" y="188"/>
                  </a:lnTo>
                  <a:lnTo>
                    <a:pt x="56" y="190"/>
                  </a:lnTo>
                  <a:lnTo>
                    <a:pt x="54" y="192"/>
                  </a:lnTo>
                  <a:lnTo>
                    <a:pt x="52" y="194"/>
                  </a:lnTo>
                  <a:lnTo>
                    <a:pt x="50" y="196"/>
                  </a:lnTo>
                  <a:lnTo>
                    <a:pt x="50" y="198"/>
                  </a:lnTo>
                  <a:lnTo>
                    <a:pt x="48" y="198"/>
                  </a:lnTo>
                  <a:lnTo>
                    <a:pt x="48" y="198"/>
                  </a:lnTo>
                  <a:lnTo>
                    <a:pt x="46" y="200"/>
                  </a:lnTo>
                  <a:lnTo>
                    <a:pt x="44" y="200"/>
                  </a:lnTo>
                  <a:lnTo>
                    <a:pt x="44" y="200"/>
                  </a:lnTo>
                  <a:lnTo>
                    <a:pt x="40" y="198"/>
                  </a:lnTo>
                  <a:lnTo>
                    <a:pt x="38" y="198"/>
                  </a:lnTo>
                  <a:lnTo>
                    <a:pt x="36" y="198"/>
                  </a:lnTo>
                  <a:lnTo>
                    <a:pt x="34" y="196"/>
                  </a:lnTo>
                  <a:lnTo>
                    <a:pt x="32" y="196"/>
                  </a:lnTo>
                  <a:lnTo>
                    <a:pt x="32" y="194"/>
                  </a:lnTo>
                  <a:lnTo>
                    <a:pt x="32" y="194"/>
                  </a:lnTo>
                  <a:lnTo>
                    <a:pt x="30" y="192"/>
                  </a:lnTo>
                  <a:lnTo>
                    <a:pt x="30" y="192"/>
                  </a:lnTo>
                  <a:lnTo>
                    <a:pt x="30" y="190"/>
                  </a:lnTo>
                  <a:lnTo>
                    <a:pt x="30" y="188"/>
                  </a:lnTo>
                  <a:lnTo>
                    <a:pt x="28" y="186"/>
                  </a:lnTo>
                  <a:lnTo>
                    <a:pt x="28" y="182"/>
                  </a:lnTo>
                  <a:lnTo>
                    <a:pt x="28" y="178"/>
                  </a:lnTo>
                  <a:lnTo>
                    <a:pt x="30" y="170"/>
                  </a:lnTo>
                  <a:lnTo>
                    <a:pt x="30" y="164"/>
                  </a:lnTo>
                  <a:lnTo>
                    <a:pt x="30" y="164"/>
                  </a:lnTo>
                  <a:lnTo>
                    <a:pt x="28" y="162"/>
                  </a:lnTo>
                  <a:lnTo>
                    <a:pt x="28" y="158"/>
                  </a:lnTo>
                  <a:lnTo>
                    <a:pt x="28" y="154"/>
                  </a:lnTo>
                  <a:lnTo>
                    <a:pt x="26" y="150"/>
                  </a:lnTo>
                  <a:lnTo>
                    <a:pt x="26" y="148"/>
                  </a:lnTo>
                  <a:lnTo>
                    <a:pt x="26" y="146"/>
                  </a:lnTo>
                  <a:lnTo>
                    <a:pt x="24" y="144"/>
                  </a:lnTo>
                  <a:lnTo>
                    <a:pt x="22" y="142"/>
                  </a:lnTo>
                  <a:lnTo>
                    <a:pt x="22" y="140"/>
                  </a:lnTo>
                  <a:lnTo>
                    <a:pt x="20" y="138"/>
                  </a:lnTo>
                  <a:lnTo>
                    <a:pt x="16" y="134"/>
                  </a:lnTo>
                  <a:lnTo>
                    <a:pt x="12" y="130"/>
                  </a:lnTo>
                  <a:lnTo>
                    <a:pt x="12" y="128"/>
                  </a:lnTo>
                  <a:lnTo>
                    <a:pt x="10" y="128"/>
                  </a:lnTo>
                  <a:lnTo>
                    <a:pt x="6" y="124"/>
                  </a:lnTo>
                  <a:lnTo>
                    <a:pt x="4" y="124"/>
                  </a:lnTo>
                  <a:lnTo>
                    <a:pt x="2" y="122"/>
                  </a:lnTo>
                  <a:lnTo>
                    <a:pt x="0" y="120"/>
                  </a:lnTo>
                  <a:lnTo>
                    <a:pt x="0" y="120"/>
                  </a:lnTo>
                  <a:lnTo>
                    <a:pt x="0" y="118"/>
                  </a:lnTo>
                  <a:lnTo>
                    <a:pt x="0" y="118"/>
                  </a:lnTo>
                  <a:lnTo>
                    <a:pt x="0" y="116"/>
                  </a:lnTo>
                  <a:lnTo>
                    <a:pt x="0" y="114"/>
                  </a:lnTo>
                  <a:lnTo>
                    <a:pt x="0" y="112"/>
                  </a:lnTo>
                  <a:lnTo>
                    <a:pt x="0" y="11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0" name="Freeform 68">
              <a:extLst>
                <a:ext uri="{FF2B5EF4-FFF2-40B4-BE49-F238E27FC236}">
                  <a16:creationId xmlns:a16="http://schemas.microsoft.com/office/drawing/2014/main" id="{046568E8-FBD5-4EA2-9702-BD23B3C140D4}"/>
                </a:ext>
              </a:extLst>
            </p:cNvPr>
            <p:cNvSpPr>
              <a:spLocks/>
            </p:cNvSpPr>
            <p:nvPr/>
          </p:nvSpPr>
          <p:spPr bwMode="auto">
            <a:xfrm>
              <a:off x="6565943" y="3835600"/>
              <a:ext cx="193992" cy="502302"/>
            </a:xfrm>
            <a:custGeom>
              <a:avLst/>
              <a:gdLst>
                <a:gd name="T0" fmla="*/ 6 w 112"/>
                <a:gd name="T1" fmla="*/ 82 h 290"/>
                <a:gd name="T2" fmla="*/ 8 w 112"/>
                <a:gd name="T3" fmla="*/ 68 h 290"/>
                <a:gd name="T4" fmla="*/ 18 w 112"/>
                <a:gd name="T5" fmla="*/ 58 h 290"/>
                <a:gd name="T6" fmla="*/ 24 w 112"/>
                <a:gd name="T7" fmla="*/ 40 h 290"/>
                <a:gd name="T8" fmla="*/ 34 w 112"/>
                <a:gd name="T9" fmla="*/ 26 h 290"/>
                <a:gd name="T10" fmla="*/ 42 w 112"/>
                <a:gd name="T11" fmla="*/ 18 h 290"/>
                <a:gd name="T12" fmla="*/ 56 w 112"/>
                <a:gd name="T13" fmla="*/ 14 h 290"/>
                <a:gd name="T14" fmla="*/ 58 w 112"/>
                <a:gd name="T15" fmla="*/ 6 h 290"/>
                <a:gd name="T16" fmla="*/ 68 w 112"/>
                <a:gd name="T17" fmla="*/ 0 h 290"/>
                <a:gd name="T18" fmla="*/ 76 w 112"/>
                <a:gd name="T19" fmla="*/ 0 h 290"/>
                <a:gd name="T20" fmla="*/ 80 w 112"/>
                <a:gd name="T21" fmla="*/ 12 h 290"/>
                <a:gd name="T22" fmla="*/ 84 w 112"/>
                <a:gd name="T23" fmla="*/ 26 h 290"/>
                <a:gd name="T24" fmla="*/ 78 w 112"/>
                <a:gd name="T25" fmla="*/ 38 h 290"/>
                <a:gd name="T26" fmla="*/ 70 w 112"/>
                <a:gd name="T27" fmla="*/ 44 h 290"/>
                <a:gd name="T28" fmla="*/ 66 w 112"/>
                <a:gd name="T29" fmla="*/ 54 h 290"/>
                <a:gd name="T30" fmla="*/ 68 w 112"/>
                <a:gd name="T31" fmla="*/ 60 h 290"/>
                <a:gd name="T32" fmla="*/ 80 w 112"/>
                <a:gd name="T33" fmla="*/ 60 h 290"/>
                <a:gd name="T34" fmla="*/ 84 w 112"/>
                <a:gd name="T35" fmla="*/ 62 h 290"/>
                <a:gd name="T36" fmla="*/ 92 w 112"/>
                <a:gd name="T37" fmla="*/ 76 h 290"/>
                <a:gd name="T38" fmla="*/ 92 w 112"/>
                <a:gd name="T39" fmla="*/ 96 h 290"/>
                <a:gd name="T40" fmla="*/ 96 w 112"/>
                <a:gd name="T41" fmla="*/ 100 h 290"/>
                <a:gd name="T42" fmla="*/ 106 w 112"/>
                <a:gd name="T43" fmla="*/ 102 h 290"/>
                <a:gd name="T44" fmla="*/ 110 w 112"/>
                <a:gd name="T45" fmla="*/ 104 h 290"/>
                <a:gd name="T46" fmla="*/ 108 w 112"/>
                <a:gd name="T47" fmla="*/ 122 h 290"/>
                <a:gd name="T48" fmla="*/ 100 w 112"/>
                <a:gd name="T49" fmla="*/ 132 h 290"/>
                <a:gd name="T50" fmla="*/ 86 w 112"/>
                <a:gd name="T51" fmla="*/ 138 h 290"/>
                <a:gd name="T52" fmla="*/ 80 w 112"/>
                <a:gd name="T53" fmla="*/ 144 h 290"/>
                <a:gd name="T54" fmla="*/ 80 w 112"/>
                <a:gd name="T55" fmla="*/ 160 h 290"/>
                <a:gd name="T56" fmla="*/ 84 w 112"/>
                <a:gd name="T57" fmla="*/ 176 h 290"/>
                <a:gd name="T58" fmla="*/ 96 w 112"/>
                <a:gd name="T59" fmla="*/ 190 h 290"/>
                <a:gd name="T60" fmla="*/ 96 w 112"/>
                <a:gd name="T61" fmla="*/ 198 h 290"/>
                <a:gd name="T62" fmla="*/ 92 w 112"/>
                <a:gd name="T63" fmla="*/ 220 h 290"/>
                <a:gd name="T64" fmla="*/ 96 w 112"/>
                <a:gd name="T65" fmla="*/ 242 h 290"/>
                <a:gd name="T66" fmla="*/ 102 w 112"/>
                <a:gd name="T67" fmla="*/ 250 h 290"/>
                <a:gd name="T68" fmla="*/ 112 w 112"/>
                <a:gd name="T69" fmla="*/ 258 h 290"/>
                <a:gd name="T70" fmla="*/ 110 w 112"/>
                <a:gd name="T71" fmla="*/ 266 h 290"/>
                <a:gd name="T72" fmla="*/ 102 w 112"/>
                <a:gd name="T73" fmla="*/ 280 h 290"/>
                <a:gd name="T74" fmla="*/ 88 w 112"/>
                <a:gd name="T75" fmla="*/ 262 h 290"/>
                <a:gd name="T76" fmla="*/ 86 w 112"/>
                <a:gd name="T77" fmla="*/ 246 h 290"/>
                <a:gd name="T78" fmla="*/ 78 w 112"/>
                <a:gd name="T79" fmla="*/ 240 h 290"/>
                <a:gd name="T80" fmla="*/ 72 w 112"/>
                <a:gd name="T81" fmla="*/ 234 h 290"/>
                <a:gd name="T82" fmla="*/ 76 w 112"/>
                <a:gd name="T83" fmla="*/ 218 h 290"/>
                <a:gd name="T84" fmla="*/ 78 w 112"/>
                <a:gd name="T85" fmla="*/ 200 h 290"/>
                <a:gd name="T86" fmla="*/ 72 w 112"/>
                <a:gd name="T87" fmla="*/ 182 h 290"/>
                <a:gd name="T88" fmla="*/ 64 w 112"/>
                <a:gd name="T89" fmla="*/ 178 h 290"/>
                <a:gd name="T90" fmla="*/ 60 w 112"/>
                <a:gd name="T91" fmla="*/ 182 h 290"/>
                <a:gd name="T92" fmla="*/ 50 w 112"/>
                <a:gd name="T93" fmla="*/ 196 h 290"/>
                <a:gd name="T94" fmla="*/ 44 w 112"/>
                <a:gd name="T95" fmla="*/ 200 h 290"/>
                <a:gd name="T96" fmla="*/ 32 w 112"/>
                <a:gd name="T97" fmla="*/ 194 h 290"/>
                <a:gd name="T98" fmla="*/ 28 w 112"/>
                <a:gd name="T99" fmla="*/ 186 h 290"/>
                <a:gd name="T100" fmla="*/ 28 w 112"/>
                <a:gd name="T101" fmla="*/ 162 h 290"/>
                <a:gd name="T102" fmla="*/ 24 w 112"/>
                <a:gd name="T103" fmla="*/ 144 h 290"/>
                <a:gd name="T104" fmla="*/ 12 w 112"/>
                <a:gd name="T105" fmla="*/ 128 h 290"/>
                <a:gd name="T106" fmla="*/ 0 w 112"/>
                <a:gd name="T107" fmla="*/ 120 h 290"/>
                <a:gd name="T108" fmla="*/ 0 w 112"/>
                <a:gd name="T109" fmla="*/ 112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290">
                  <a:moveTo>
                    <a:pt x="0" y="112"/>
                  </a:moveTo>
                  <a:lnTo>
                    <a:pt x="8" y="98"/>
                  </a:lnTo>
                  <a:lnTo>
                    <a:pt x="6" y="94"/>
                  </a:lnTo>
                  <a:lnTo>
                    <a:pt x="6" y="92"/>
                  </a:lnTo>
                  <a:lnTo>
                    <a:pt x="6" y="86"/>
                  </a:lnTo>
                  <a:lnTo>
                    <a:pt x="6" y="82"/>
                  </a:lnTo>
                  <a:lnTo>
                    <a:pt x="6" y="78"/>
                  </a:lnTo>
                  <a:lnTo>
                    <a:pt x="6" y="74"/>
                  </a:lnTo>
                  <a:lnTo>
                    <a:pt x="6" y="72"/>
                  </a:lnTo>
                  <a:lnTo>
                    <a:pt x="6" y="72"/>
                  </a:lnTo>
                  <a:lnTo>
                    <a:pt x="8" y="70"/>
                  </a:lnTo>
                  <a:lnTo>
                    <a:pt x="8" y="68"/>
                  </a:lnTo>
                  <a:lnTo>
                    <a:pt x="8" y="68"/>
                  </a:lnTo>
                  <a:lnTo>
                    <a:pt x="10" y="66"/>
                  </a:lnTo>
                  <a:lnTo>
                    <a:pt x="12" y="64"/>
                  </a:lnTo>
                  <a:lnTo>
                    <a:pt x="14" y="62"/>
                  </a:lnTo>
                  <a:lnTo>
                    <a:pt x="18" y="58"/>
                  </a:lnTo>
                  <a:lnTo>
                    <a:pt x="18" y="58"/>
                  </a:lnTo>
                  <a:lnTo>
                    <a:pt x="20" y="56"/>
                  </a:lnTo>
                  <a:lnTo>
                    <a:pt x="22" y="54"/>
                  </a:lnTo>
                  <a:lnTo>
                    <a:pt x="22" y="52"/>
                  </a:lnTo>
                  <a:lnTo>
                    <a:pt x="22" y="48"/>
                  </a:lnTo>
                  <a:lnTo>
                    <a:pt x="24" y="46"/>
                  </a:lnTo>
                  <a:lnTo>
                    <a:pt x="24" y="40"/>
                  </a:lnTo>
                  <a:lnTo>
                    <a:pt x="26" y="38"/>
                  </a:lnTo>
                  <a:lnTo>
                    <a:pt x="26" y="36"/>
                  </a:lnTo>
                  <a:lnTo>
                    <a:pt x="28" y="34"/>
                  </a:lnTo>
                  <a:lnTo>
                    <a:pt x="28" y="32"/>
                  </a:lnTo>
                  <a:lnTo>
                    <a:pt x="32" y="28"/>
                  </a:lnTo>
                  <a:lnTo>
                    <a:pt x="34" y="26"/>
                  </a:lnTo>
                  <a:lnTo>
                    <a:pt x="34" y="24"/>
                  </a:lnTo>
                  <a:lnTo>
                    <a:pt x="36" y="22"/>
                  </a:lnTo>
                  <a:lnTo>
                    <a:pt x="38" y="20"/>
                  </a:lnTo>
                  <a:lnTo>
                    <a:pt x="38" y="20"/>
                  </a:lnTo>
                  <a:lnTo>
                    <a:pt x="40" y="20"/>
                  </a:lnTo>
                  <a:lnTo>
                    <a:pt x="42" y="18"/>
                  </a:lnTo>
                  <a:lnTo>
                    <a:pt x="44" y="18"/>
                  </a:lnTo>
                  <a:lnTo>
                    <a:pt x="48" y="16"/>
                  </a:lnTo>
                  <a:lnTo>
                    <a:pt x="50" y="16"/>
                  </a:lnTo>
                  <a:lnTo>
                    <a:pt x="54" y="14"/>
                  </a:lnTo>
                  <a:lnTo>
                    <a:pt x="54" y="14"/>
                  </a:lnTo>
                  <a:lnTo>
                    <a:pt x="56" y="14"/>
                  </a:lnTo>
                  <a:lnTo>
                    <a:pt x="56" y="12"/>
                  </a:lnTo>
                  <a:lnTo>
                    <a:pt x="56" y="12"/>
                  </a:lnTo>
                  <a:lnTo>
                    <a:pt x="58" y="10"/>
                  </a:lnTo>
                  <a:lnTo>
                    <a:pt x="58" y="10"/>
                  </a:lnTo>
                  <a:lnTo>
                    <a:pt x="58" y="8"/>
                  </a:lnTo>
                  <a:lnTo>
                    <a:pt x="58" y="6"/>
                  </a:lnTo>
                  <a:lnTo>
                    <a:pt x="58" y="4"/>
                  </a:lnTo>
                  <a:lnTo>
                    <a:pt x="58" y="4"/>
                  </a:lnTo>
                  <a:lnTo>
                    <a:pt x="60" y="2"/>
                  </a:lnTo>
                  <a:lnTo>
                    <a:pt x="62" y="2"/>
                  </a:lnTo>
                  <a:lnTo>
                    <a:pt x="66" y="0"/>
                  </a:lnTo>
                  <a:lnTo>
                    <a:pt x="68" y="0"/>
                  </a:lnTo>
                  <a:lnTo>
                    <a:pt x="70" y="0"/>
                  </a:lnTo>
                  <a:lnTo>
                    <a:pt x="72" y="0"/>
                  </a:lnTo>
                  <a:lnTo>
                    <a:pt x="72" y="0"/>
                  </a:lnTo>
                  <a:lnTo>
                    <a:pt x="74" y="0"/>
                  </a:lnTo>
                  <a:lnTo>
                    <a:pt x="74" y="0"/>
                  </a:lnTo>
                  <a:lnTo>
                    <a:pt x="76" y="0"/>
                  </a:lnTo>
                  <a:lnTo>
                    <a:pt x="76" y="2"/>
                  </a:lnTo>
                  <a:lnTo>
                    <a:pt x="76" y="4"/>
                  </a:lnTo>
                  <a:lnTo>
                    <a:pt x="78" y="4"/>
                  </a:lnTo>
                  <a:lnTo>
                    <a:pt x="78" y="8"/>
                  </a:lnTo>
                  <a:lnTo>
                    <a:pt x="78" y="10"/>
                  </a:lnTo>
                  <a:lnTo>
                    <a:pt x="80" y="12"/>
                  </a:lnTo>
                  <a:lnTo>
                    <a:pt x="82" y="18"/>
                  </a:lnTo>
                  <a:lnTo>
                    <a:pt x="84" y="20"/>
                  </a:lnTo>
                  <a:lnTo>
                    <a:pt x="84" y="22"/>
                  </a:lnTo>
                  <a:lnTo>
                    <a:pt x="84" y="24"/>
                  </a:lnTo>
                  <a:lnTo>
                    <a:pt x="84" y="24"/>
                  </a:lnTo>
                  <a:lnTo>
                    <a:pt x="84" y="26"/>
                  </a:lnTo>
                  <a:lnTo>
                    <a:pt x="84" y="28"/>
                  </a:lnTo>
                  <a:lnTo>
                    <a:pt x="84" y="28"/>
                  </a:lnTo>
                  <a:lnTo>
                    <a:pt x="84" y="30"/>
                  </a:lnTo>
                  <a:lnTo>
                    <a:pt x="82" y="32"/>
                  </a:lnTo>
                  <a:lnTo>
                    <a:pt x="80" y="36"/>
                  </a:lnTo>
                  <a:lnTo>
                    <a:pt x="78" y="38"/>
                  </a:lnTo>
                  <a:lnTo>
                    <a:pt x="78" y="40"/>
                  </a:lnTo>
                  <a:lnTo>
                    <a:pt x="76" y="40"/>
                  </a:lnTo>
                  <a:lnTo>
                    <a:pt x="74" y="42"/>
                  </a:lnTo>
                  <a:lnTo>
                    <a:pt x="72" y="42"/>
                  </a:lnTo>
                  <a:lnTo>
                    <a:pt x="70" y="44"/>
                  </a:lnTo>
                  <a:lnTo>
                    <a:pt x="70" y="44"/>
                  </a:lnTo>
                  <a:lnTo>
                    <a:pt x="68" y="46"/>
                  </a:lnTo>
                  <a:lnTo>
                    <a:pt x="68" y="46"/>
                  </a:lnTo>
                  <a:lnTo>
                    <a:pt x="68" y="48"/>
                  </a:lnTo>
                  <a:lnTo>
                    <a:pt x="66" y="50"/>
                  </a:lnTo>
                  <a:lnTo>
                    <a:pt x="66" y="52"/>
                  </a:lnTo>
                  <a:lnTo>
                    <a:pt x="66" y="54"/>
                  </a:lnTo>
                  <a:lnTo>
                    <a:pt x="66" y="56"/>
                  </a:lnTo>
                  <a:lnTo>
                    <a:pt x="66" y="58"/>
                  </a:lnTo>
                  <a:lnTo>
                    <a:pt x="66" y="58"/>
                  </a:lnTo>
                  <a:lnTo>
                    <a:pt x="68" y="58"/>
                  </a:lnTo>
                  <a:lnTo>
                    <a:pt x="68" y="58"/>
                  </a:lnTo>
                  <a:lnTo>
                    <a:pt x="68" y="60"/>
                  </a:lnTo>
                  <a:lnTo>
                    <a:pt x="70" y="60"/>
                  </a:lnTo>
                  <a:lnTo>
                    <a:pt x="70" y="60"/>
                  </a:lnTo>
                  <a:lnTo>
                    <a:pt x="72" y="60"/>
                  </a:lnTo>
                  <a:lnTo>
                    <a:pt x="76" y="60"/>
                  </a:lnTo>
                  <a:lnTo>
                    <a:pt x="78" y="60"/>
                  </a:lnTo>
                  <a:lnTo>
                    <a:pt x="80" y="60"/>
                  </a:lnTo>
                  <a:lnTo>
                    <a:pt x="82" y="60"/>
                  </a:lnTo>
                  <a:lnTo>
                    <a:pt x="82" y="60"/>
                  </a:lnTo>
                  <a:lnTo>
                    <a:pt x="82" y="60"/>
                  </a:lnTo>
                  <a:lnTo>
                    <a:pt x="84" y="60"/>
                  </a:lnTo>
                  <a:lnTo>
                    <a:pt x="84" y="62"/>
                  </a:lnTo>
                  <a:lnTo>
                    <a:pt x="84" y="62"/>
                  </a:lnTo>
                  <a:lnTo>
                    <a:pt x="86" y="64"/>
                  </a:lnTo>
                  <a:lnTo>
                    <a:pt x="88" y="66"/>
                  </a:lnTo>
                  <a:lnTo>
                    <a:pt x="88" y="68"/>
                  </a:lnTo>
                  <a:lnTo>
                    <a:pt x="90" y="70"/>
                  </a:lnTo>
                  <a:lnTo>
                    <a:pt x="90" y="72"/>
                  </a:lnTo>
                  <a:lnTo>
                    <a:pt x="92" y="76"/>
                  </a:lnTo>
                  <a:lnTo>
                    <a:pt x="92" y="78"/>
                  </a:lnTo>
                  <a:lnTo>
                    <a:pt x="92" y="78"/>
                  </a:lnTo>
                  <a:lnTo>
                    <a:pt x="92" y="82"/>
                  </a:lnTo>
                  <a:lnTo>
                    <a:pt x="92" y="88"/>
                  </a:lnTo>
                  <a:lnTo>
                    <a:pt x="92" y="92"/>
                  </a:lnTo>
                  <a:lnTo>
                    <a:pt x="92" y="96"/>
                  </a:lnTo>
                  <a:lnTo>
                    <a:pt x="94" y="96"/>
                  </a:lnTo>
                  <a:lnTo>
                    <a:pt x="94" y="98"/>
                  </a:lnTo>
                  <a:lnTo>
                    <a:pt x="94" y="98"/>
                  </a:lnTo>
                  <a:lnTo>
                    <a:pt x="94" y="100"/>
                  </a:lnTo>
                  <a:lnTo>
                    <a:pt x="96" y="100"/>
                  </a:lnTo>
                  <a:lnTo>
                    <a:pt x="96" y="100"/>
                  </a:lnTo>
                  <a:lnTo>
                    <a:pt x="98" y="100"/>
                  </a:lnTo>
                  <a:lnTo>
                    <a:pt x="98" y="100"/>
                  </a:lnTo>
                  <a:lnTo>
                    <a:pt x="100" y="102"/>
                  </a:lnTo>
                  <a:lnTo>
                    <a:pt x="102" y="102"/>
                  </a:lnTo>
                  <a:lnTo>
                    <a:pt x="104" y="102"/>
                  </a:lnTo>
                  <a:lnTo>
                    <a:pt x="106" y="102"/>
                  </a:lnTo>
                  <a:lnTo>
                    <a:pt x="108" y="102"/>
                  </a:lnTo>
                  <a:lnTo>
                    <a:pt x="108" y="102"/>
                  </a:lnTo>
                  <a:lnTo>
                    <a:pt x="110" y="102"/>
                  </a:lnTo>
                  <a:lnTo>
                    <a:pt x="110" y="102"/>
                  </a:lnTo>
                  <a:lnTo>
                    <a:pt x="110" y="104"/>
                  </a:lnTo>
                  <a:lnTo>
                    <a:pt x="110" y="104"/>
                  </a:lnTo>
                  <a:lnTo>
                    <a:pt x="112" y="106"/>
                  </a:lnTo>
                  <a:lnTo>
                    <a:pt x="112" y="108"/>
                  </a:lnTo>
                  <a:lnTo>
                    <a:pt x="112" y="112"/>
                  </a:lnTo>
                  <a:lnTo>
                    <a:pt x="112" y="112"/>
                  </a:lnTo>
                  <a:lnTo>
                    <a:pt x="110" y="118"/>
                  </a:lnTo>
                  <a:lnTo>
                    <a:pt x="108" y="122"/>
                  </a:lnTo>
                  <a:lnTo>
                    <a:pt x="108" y="124"/>
                  </a:lnTo>
                  <a:lnTo>
                    <a:pt x="106" y="126"/>
                  </a:lnTo>
                  <a:lnTo>
                    <a:pt x="106" y="128"/>
                  </a:lnTo>
                  <a:lnTo>
                    <a:pt x="104" y="128"/>
                  </a:lnTo>
                  <a:lnTo>
                    <a:pt x="102" y="130"/>
                  </a:lnTo>
                  <a:lnTo>
                    <a:pt x="100" y="132"/>
                  </a:lnTo>
                  <a:lnTo>
                    <a:pt x="98" y="134"/>
                  </a:lnTo>
                  <a:lnTo>
                    <a:pt x="96" y="134"/>
                  </a:lnTo>
                  <a:lnTo>
                    <a:pt x="94" y="136"/>
                  </a:lnTo>
                  <a:lnTo>
                    <a:pt x="90" y="136"/>
                  </a:lnTo>
                  <a:lnTo>
                    <a:pt x="88" y="138"/>
                  </a:lnTo>
                  <a:lnTo>
                    <a:pt x="86" y="138"/>
                  </a:lnTo>
                  <a:lnTo>
                    <a:pt x="84" y="138"/>
                  </a:lnTo>
                  <a:lnTo>
                    <a:pt x="82" y="140"/>
                  </a:lnTo>
                  <a:lnTo>
                    <a:pt x="82" y="140"/>
                  </a:lnTo>
                  <a:lnTo>
                    <a:pt x="82" y="142"/>
                  </a:lnTo>
                  <a:lnTo>
                    <a:pt x="82" y="142"/>
                  </a:lnTo>
                  <a:lnTo>
                    <a:pt x="80" y="144"/>
                  </a:lnTo>
                  <a:lnTo>
                    <a:pt x="80" y="146"/>
                  </a:lnTo>
                  <a:lnTo>
                    <a:pt x="80" y="148"/>
                  </a:lnTo>
                  <a:lnTo>
                    <a:pt x="80" y="150"/>
                  </a:lnTo>
                  <a:lnTo>
                    <a:pt x="80" y="152"/>
                  </a:lnTo>
                  <a:lnTo>
                    <a:pt x="80" y="156"/>
                  </a:lnTo>
                  <a:lnTo>
                    <a:pt x="80" y="160"/>
                  </a:lnTo>
                  <a:lnTo>
                    <a:pt x="80" y="164"/>
                  </a:lnTo>
                  <a:lnTo>
                    <a:pt x="82" y="166"/>
                  </a:lnTo>
                  <a:lnTo>
                    <a:pt x="82" y="168"/>
                  </a:lnTo>
                  <a:lnTo>
                    <a:pt x="82" y="172"/>
                  </a:lnTo>
                  <a:lnTo>
                    <a:pt x="84" y="174"/>
                  </a:lnTo>
                  <a:lnTo>
                    <a:pt x="84" y="176"/>
                  </a:lnTo>
                  <a:lnTo>
                    <a:pt x="86" y="178"/>
                  </a:lnTo>
                  <a:lnTo>
                    <a:pt x="88" y="180"/>
                  </a:lnTo>
                  <a:lnTo>
                    <a:pt x="92" y="184"/>
                  </a:lnTo>
                  <a:lnTo>
                    <a:pt x="92" y="186"/>
                  </a:lnTo>
                  <a:lnTo>
                    <a:pt x="94" y="188"/>
                  </a:lnTo>
                  <a:lnTo>
                    <a:pt x="96" y="190"/>
                  </a:lnTo>
                  <a:lnTo>
                    <a:pt x="96" y="190"/>
                  </a:lnTo>
                  <a:lnTo>
                    <a:pt x="96" y="192"/>
                  </a:lnTo>
                  <a:lnTo>
                    <a:pt x="96" y="192"/>
                  </a:lnTo>
                  <a:lnTo>
                    <a:pt x="96" y="194"/>
                  </a:lnTo>
                  <a:lnTo>
                    <a:pt x="96" y="196"/>
                  </a:lnTo>
                  <a:lnTo>
                    <a:pt x="96" y="198"/>
                  </a:lnTo>
                  <a:lnTo>
                    <a:pt x="96" y="200"/>
                  </a:lnTo>
                  <a:lnTo>
                    <a:pt x="94" y="204"/>
                  </a:lnTo>
                  <a:lnTo>
                    <a:pt x="94" y="210"/>
                  </a:lnTo>
                  <a:lnTo>
                    <a:pt x="92" y="214"/>
                  </a:lnTo>
                  <a:lnTo>
                    <a:pt x="92" y="216"/>
                  </a:lnTo>
                  <a:lnTo>
                    <a:pt x="92" y="220"/>
                  </a:lnTo>
                  <a:lnTo>
                    <a:pt x="92" y="224"/>
                  </a:lnTo>
                  <a:lnTo>
                    <a:pt x="94" y="226"/>
                  </a:lnTo>
                  <a:lnTo>
                    <a:pt x="94" y="230"/>
                  </a:lnTo>
                  <a:lnTo>
                    <a:pt x="94" y="234"/>
                  </a:lnTo>
                  <a:lnTo>
                    <a:pt x="96" y="238"/>
                  </a:lnTo>
                  <a:lnTo>
                    <a:pt x="96" y="242"/>
                  </a:lnTo>
                  <a:lnTo>
                    <a:pt x="98" y="244"/>
                  </a:lnTo>
                  <a:lnTo>
                    <a:pt x="98" y="246"/>
                  </a:lnTo>
                  <a:lnTo>
                    <a:pt x="98" y="248"/>
                  </a:lnTo>
                  <a:lnTo>
                    <a:pt x="100" y="248"/>
                  </a:lnTo>
                  <a:lnTo>
                    <a:pt x="100" y="250"/>
                  </a:lnTo>
                  <a:lnTo>
                    <a:pt x="102" y="250"/>
                  </a:lnTo>
                  <a:lnTo>
                    <a:pt x="106" y="254"/>
                  </a:lnTo>
                  <a:lnTo>
                    <a:pt x="108" y="256"/>
                  </a:lnTo>
                  <a:lnTo>
                    <a:pt x="110" y="256"/>
                  </a:lnTo>
                  <a:lnTo>
                    <a:pt x="110" y="258"/>
                  </a:lnTo>
                  <a:lnTo>
                    <a:pt x="110" y="258"/>
                  </a:lnTo>
                  <a:lnTo>
                    <a:pt x="112" y="258"/>
                  </a:lnTo>
                  <a:lnTo>
                    <a:pt x="112" y="260"/>
                  </a:lnTo>
                  <a:lnTo>
                    <a:pt x="112" y="260"/>
                  </a:lnTo>
                  <a:lnTo>
                    <a:pt x="112" y="262"/>
                  </a:lnTo>
                  <a:lnTo>
                    <a:pt x="112" y="264"/>
                  </a:lnTo>
                  <a:lnTo>
                    <a:pt x="110" y="264"/>
                  </a:lnTo>
                  <a:lnTo>
                    <a:pt x="110" y="266"/>
                  </a:lnTo>
                  <a:lnTo>
                    <a:pt x="110" y="268"/>
                  </a:lnTo>
                  <a:lnTo>
                    <a:pt x="108" y="270"/>
                  </a:lnTo>
                  <a:lnTo>
                    <a:pt x="106" y="274"/>
                  </a:lnTo>
                  <a:lnTo>
                    <a:pt x="104" y="276"/>
                  </a:lnTo>
                  <a:lnTo>
                    <a:pt x="102" y="278"/>
                  </a:lnTo>
                  <a:lnTo>
                    <a:pt x="102" y="280"/>
                  </a:lnTo>
                  <a:lnTo>
                    <a:pt x="100" y="284"/>
                  </a:lnTo>
                  <a:lnTo>
                    <a:pt x="98" y="286"/>
                  </a:lnTo>
                  <a:lnTo>
                    <a:pt x="94" y="290"/>
                  </a:lnTo>
                  <a:lnTo>
                    <a:pt x="92" y="280"/>
                  </a:lnTo>
                  <a:lnTo>
                    <a:pt x="88" y="264"/>
                  </a:lnTo>
                  <a:lnTo>
                    <a:pt x="88" y="262"/>
                  </a:lnTo>
                  <a:lnTo>
                    <a:pt x="88" y="258"/>
                  </a:lnTo>
                  <a:lnTo>
                    <a:pt x="88" y="254"/>
                  </a:lnTo>
                  <a:lnTo>
                    <a:pt x="86" y="252"/>
                  </a:lnTo>
                  <a:lnTo>
                    <a:pt x="86" y="248"/>
                  </a:lnTo>
                  <a:lnTo>
                    <a:pt x="86" y="246"/>
                  </a:lnTo>
                  <a:lnTo>
                    <a:pt x="86" y="246"/>
                  </a:lnTo>
                  <a:lnTo>
                    <a:pt x="84" y="244"/>
                  </a:lnTo>
                  <a:lnTo>
                    <a:pt x="84" y="244"/>
                  </a:lnTo>
                  <a:lnTo>
                    <a:pt x="84" y="244"/>
                  </a:lnTo>
                  <a:lnTo>
                    <a:pt x="82" y="242"/>
                  </a:lnTo>
                  <a:lnTo>
                    <a:pt x="80" y="242"/>
                  </a:lnTo>
                  <a:lnTo>
                    <a:pt x="78" y="240"/>
                  </a:lnTo>
                  <a:lnTo>
                    <a:pt x="78" y="240"/>
                  </a:lnTo>
                  <a:lnTo>
                    <a:pt x="76" y="238"/>
                  </a:lnTo>
                  <a:lnTo>
                    <a:pt x="74" y="236"/>
                  </a:lnTo>
                  <a:lnTo>
                    <a:pt x="74" y="236"/>
                  </a:lnTo>
                  <a:lnTo>
                    <a:pt x="74" y="236"/>
                  </a:lnTo>
                  <a:lnTo>
                    <a:pt x="72" y="234"/>
                  </a:lnTo>
                  <a:lnTo>
                    <a:pt x="72" y="232"/>
                  </a:lnTo>
                  <a:lnTo>
                    <a:pt x="72" y="230"/>
                  </a:lnTo>
                  <a:lnTo>
                    <a:pt x="72" y="228"/>
                  </a:lnTo>
                  <a:lnTo>
                    <a:pt x="74" y="226"/>
                  </a:lnTo>
                  <a:lnTo>
                    <a:pt x="74" y="222"/>
                  </a:lnTo>
                  <a:lnTo>
                    <a:pt x="76" y="218"/>
                  </a:lnTo>
                  <a:lnTo>
                    <a:pt x="76" y="212"/>
                  </a:lnTo>
                  <a:lnTo>
                    <a:pt x="78" y="208"/>
                  </a:lnTo>
                  <a:lnTo>
                    <a:pt x="78" y="206"/>
                  </a:lnTo>
                  <a:lnTo>
                    <a:pt x="78" y="204"/>
                  </a:lnTo>
                  <a:lnTo>
                    <a:pt x="78" y="200"/>
                  </a:lnTo>
                  <a:lnTo>
                    <a:pt x="78" y="200"/>
                  </a:lnTo>
                  <a:lnTo>
                    <a:pt x="78" y="196"/>
                  </a:lnTo>
                  <a:lnTo>
                    <a:pt x="76" y="194"/>
                  </a:lnTo>
                  <a:lnTo>
                    <a:pt x="76" y="190"/>
                  </a:lnTo>
                  <a:lnTo>
                    <a:pt x="74" y="186"/>
                  </a:lnTo>
                  <a:lnTo>
                    <a:pt x="72" y="184"/>
                  </a:lnTo>
                  <a:lnTo>
                    <a:pt x="72" y="182"/>
                  </a:lnTo>
                  <a:lnTo>
                    <a:pt x="70" y="182"/>
                  </a:lnTo>
                  <a:lnTo>
                    <a:pt x="70" y="180"/>
                  </a:lnTo>
                  <a:lnTo>
                    <a:pt x="68" y="180"/>
                  </a:lnTo>
                  <a:lnTo>
                    <a:pt x="66" y="178"/>
                  </a:lnTo>
                  <a:lnTo>
                    <a:pt x="66" y="178"/>
                  </a:lnTo>
                  <a:lnTo>
                    <a:pt x="64" y="178"/>
                  </a:lnTo>
                  <a:lnTo>
                    <a:pt x="64" y="178"/>
                  </a:lnTo>
                  <a:lnTo>
                    <a:pt x="64" y="178"/>
                  </a:lnTo>
                  <a:lnTo>
                    <a:pt x="62" y="178"/>
                  </a:lnTo>
                  <a:lnTo>
                    <a:pt x="62" y="180"/>
                  </a:lnTo>
                  <a:lnTo>
                    <a:pt x="62" y="180"/>
                  </a:lnTo>
                  <a:lnTo>
                    <a:pt x="60" y="182"/>
                  </a:lnTo>
                  <a:lnTo>
                    <a:pt x="58" y="186"/>
                  </a:lnTo>
                  <a:lnTo>
                    <a:pt x="58" y="188"/>
                  </a:lnTo>
                  <a:lnTo>
                    <a:pt x="56" y="190"/>
                  </a:lnTo>
                  <a:lnTo>
                    <a:pt x="54" y="192"/>
                  </a:lnTo>
                  <a:lnTo>
                    <a:pt x="52" y="194"/>
                  </a:lnTo>
                  <a:lnTo>
                    <a:pt x="50" y="196"/>
                  </a:lnTo>
                  <a:lnTo>
                    <a:pt x="50" y="198"/>
                  </a:lnTo>
                  <a:lnTo>
                    <a:pt x="48" y="198"/>
                  </a:lnTo>
                  <a:lnTo>
                    <a:pt x="48" y="198"/>
                  </a:lnTo>
                  <a:lnTo>
                    <a:pt x="46" y="200"/>
                  </a:lnTo>
                  <a:lnTo>
                    <a:pt x="44" y="200"/>
                  </a:lnTo>
                  <a:lnTo>
                    <a:pt x="44" y="200"/>
                  </a:lnTo>
                  <a:lnTo>
                    <a:pt x="40" y="198"/>
                  </a:lnTo>
                  <a:lnTo>
                    <a:pt x="38" y="198"/>
                  </a:lnTo>
                  <a:lnTo>
                    <a:pt x="36" y="198"/>
                  </a:lnTo>
                  <a:lnTo>
                    <a:pt x="34" y="196"/>
                  </a:lnTo>
                  <a:lnTo>
                    <a:pt x="32" y="196"/>
                  </a:lnTo>
                  <a:lnTo>
                    <a:pt x="32" y="194"/>
                  </a:lnTo>
                  <a:lnTo>
                    <a:pt x="32" y="194"/>
                  </a:lnTo>
                  <a:lnTo>
                    <a:pt x="30" y="192"/>
                  </a:lnTo>
                  <a:lnTo>
                    <a:pt x="30" y="192"/>
                  </a:lnTo>
                  <a:lnTo>
                    <a:pt x="30" y="190"/>
                  </a:lnTo>
                  <a:lnTo>
                    <a:pt x="30" y="188"/>
                  </a:lnTo>
                  <a:lnTo>
                    <a:pt x="28" y="186"/>
                  </a:lnTo>
                  <a:lnTo>
                    <a:pt x="28" y="182"/>
                  </a:lnTo>
                  <a:lnTo>
                    <a:pt x="28" y="178"/>
                  </a:lnTo>
                  <a:lnTo>
                    <a:pt x="30" y="170"/>
                  </a:lnTo>
                  <a:lnTo>
                    <a:pt x="30" y="164"/>
                  </a:lnTo>
                  <a:lnTo>
                    <a:pt x="30" y="164"/>
                  </a:lnTo>
                  <a:lnTo>
                    <a:pt x="28" y="162"/>
                  </a:lnTo>
                  <a:lnTo>
                    <a:pt x="28" y="158"/>
                  </a:lnTo>
                  <a:lnTo>
                    <a:pt x="28" y="154"/>
                  </a:lnTo>
                  <a:lnTo>
                    <a:pt x="26" y="150"/>
                  </a:lnTo>
                  <a:lnTo>
                    <a:pt x="26" y="148"/>
                  </a:lnTo>
                  <a:lnTo>
                    <a:pt x="26" y="146"/>
                  </a:lnTo>
                  <a:lnTo>
                    <a:pt x="24" y="144"/>
                  </a:lnTo>
                  <a:lnTo>
                    <a:pt x="22" y="142"/>
                  </a:lnTo>
                  <a:lnTo>
                    <a:pt x="22" y="140"/>
                  </a:lnTo>
                  <a:lnTo>
                    <a:pt x="20" y="138"/>
                  </a:lnTo>
                  <a:lnTo>
                    <a:pt x="16" y="134"/>
                  </a:lnTo>
                  <a:lnTo>
                    <a:pt x="12" y="130"/>
                  </a:lnTo>
                  <a:lnTo>
                    <a:pt x="12" y="128"/>
                  </a:lnTo>
                  <a:lnTo>
                    <a:pt x="10" y="128"/>
                  </a:lnTo>
                  <a:lnTo>
                    <a:pt x="6" y="124"/>
                  </a:lnTo>
                  <a:lnTo>
                    <a:pt x="4" y="124"/>
                  </a:lnTo>
                  <a:lnTo>
                    <a:pt x="2" y="122"/>
                  </a:lnTo>
                  <a:lnTo>
                    <a:pt x="0" y="120"/>
                  </a:lnTo>
                  <a:lnTo>
                    <a:pt x="0" y="120"/>
                  </a:lnTo>
                  <a:lnTo>
                    <a:pt x="0" y="118"/>
                  </a:lnTo>
                  <a:lnTo>
                    <a:pt x="0" y="118"/>
                  </a:lnTo>
                  <a:lnTo>
                    <a:pt x="0" y="116"/>
                  </a:lnTo>
                  <a:lnTo>
                    <a:pt x="0" y="114"/>
                  </a:lnTo>
                  <a:lnTo>
                    <a:pt x="0" y="112"/>
                  </a:lnTo>
                  <a:lnTo>
                    <a:pt x="0" y="11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1" name="Freeform 69">
              <a:extLst>
                <a:ext uri="{FF2B5EF4-FFF2-40B4-BE49-F238E27FC236}">
                  <a16:creationId xmlns:a16="http://schemas.microsoft.com/office/drawing/2014/main" id="{8D2F9569-83A7-4E3B-9508-1B14A4883F4E}"/>
                </a:ext>
              </a:extLst>
            </p:cNvPr>
            <p:cNvSpPr>
              <a:spLocks/>
            </p:cNvSpPr>
            <p:nvPr/>
          </p:nvSpPr>
          <p:spPr bwMode="auto">
            <a:xfrm>
              <a:off x="6818826" y="4220120"/>
              <a:ext cx="142030" cy="128174"/>
            </a:xfrm>
            <a:custGeom>
              <a:avLst/>
              <a:gdLst>
                <a:gd name="T0" fmla="*/ 34 w 82"/>
                <a:gd name="T1" fmla="*/ 62 h 74"/>
                <a:gd name="T2" fmla="*/ 32 w 82"/>
                <a:gd name="T3" fmla="*/ 62 h 74"/>
                <a:gd name="T4" fmla="*/ 28 w 82"/>
                <a:gd name="T5" fmla="*/ 62 h 74"/>
                <a:gd name="T6" fmla="*/ 24 w 82"/>
                <a:gd name="T7" fmla="*/ 64 h 74"/>
                <a:gd name="T8" fmla="*/ 20 w 82"/>
                <a:gd name="T9" fmla="*/ 66 h 74"/>
                <a:gd name="T10" fmla="*/ 18 w 82"/>
                <a:gd name="T11" fmla="*/ 68 h 74"/>
                <a:gd name="T12" fmla="*/ 16 w 82"/>
                <a:gd name="T13" fmla="*/ 68 h 74"/>
                <a:gd name="T14" fmla="*/ 14 w 82"/>
                <a:gd name="T15" fmla="*/ 66 h 74"/>
                <a:gd name="T16" fmla="*/ 12 w 82"/>
                <a:gd name="T17" fmla="*/ 64 h 74"/>
                <a:gd name="T18" fmla="*/ 12 w 82"/>
                <a:gd name="T19" fmla="*/ 60 h 74"/>
                <a:gd name="T20" fmla="*/ 12 w 82"/>
                <a:gd name="T21" fmla="*/ 56 h 74"/>
                <a:gd name="T22" fmla="*/ 12 w 82"/>
                <a:gd name="T23" fmla="*/ 48 h 74"/>
                <a:gd name="T24" fmla="*/ 12 w 82"/>
                <a:gd name="T25" fmla="*/ 44 h 74"/>
                <a:gd name="T26" fmla="*/ 12 w 82"/>
                <a:gd name="T27" fmla="*/ 42 h 74"/>
                <a:gd name="T28" fmla="*/ 10 w 82"/>
                <a:gd name="T29" fmla="*/ 40 h 74"/>
                <a:gd name="T30" fmla="*/ 8 w 82"/>
                <a:gd name="T31" fmla="*/ 38 h 74"/>
                <a:gd name="T32" fmla="*/ 0 w 82"/>
                <a:gd name="T33" fmla="*/ 34 h 74"/>
                <a:gd name="T34" fmla="*/ 0 w 82"/>
                <a:gd name="T35" fmla="*/ 30 h 74"/>
                <a:gd name="T36" fmla="*/ 2 w 82"/>
                <a:gd name="T37" fmla="*/ 22 h 74"/>
                <a:gd name="T38" fmla="*/ 4 w 82"/>
                <a:gd name="T39" fmla="*/ 16 h 74"/>
                <a:gd name="T40" fmla="*/ 8 w 82"/>
                <a:gd name="T41" fmla="*/ 10 h 74"/>
                <a:gd name="T42" fmla="*/ 12 w 82"/>
                <a:gd name="T43" fmla="*/ 6 h 74"/>
                <a:gd name="T44" fmla="*/ 16 w 82"/>
                <a:gd name="T45" fmla="*/ 2 h 74"/>
                <a:gd name="T46" fmla="*/ 18 w 82"/>
                <a:gd name="T47" fmla="*/ 0 h 74"/>
                <a:gd name="T48" fmla="*/ 20 w 82"/>
                <a:gd name="T49" fmla="*/ 0 h 74"/>
                <a:gd name="T50" fmla="*/ 20 w 82"/>
                <a:gd name="T51" fmla="*/ 0 h 74"/>
                <a:gd name="T52" fmla="*/ 22 w 82"/>
                <a:gd name="T53" fmla="*/ 2 h 74"/>
                <a:gd name="T54" fmla="*/ 26 w 82"/>
                <a:gd name="T55" fmla="*/ 4 h 74"/>
                <a:gd name="T56" fmla="*/ 30 w 82"/>
                <a:gd name="T57" fmla="*/ 8 h 74"/>
                <a:gd name="T58" fmla="*/ 32 w 82"/>
                <a:gd name="T59" fmla="*/ 8 h 74"/>
                <a:gd name="T60" fmla="*/ 34 w 82"/>
                <a:gd name="T61" fmla="*/ 10 h 74"/>
                <a:gd name="T62" fmla="*/ 38 w 82"/>
                <a:gd name="T63" fmla="*/ 10 h 74"/>
                <a:gd name="T64" fmla="*/ 42 w 82"/>
                <a:gd name="T65" fmla="*/ 8 h 74"/>
                <a:gd name="T66" fmla="*/ 48 w 82"/>
                <a:gd name="T67" fmla="*/ 6 h 74"/>
                <a:gd name="T68" fmla="*/ 50 w 82"/>
                <a:gd name="T69" fmla="*/ 10 h 74"/>
                <a:gd name="T70" fmla="*/ 54 w 82"/>
                <a:gd name="T71" fmla="*/ 14 h 74"/>
                <a:gd name="T72" fmla="*/ 56 w 82"/>
                <a:gd name="T73" fmla="*/ 16 h 74"/>
                <a:gd name="T74" fmla="*/ 58 w 82"/>
                <a:gd name="T75" fmla="*/ 18 h 74"/>
                <a:gd name="T76" fmla="*/ 60 w 82"/>
                <a:gd name="T77" fmla="*/ 18 h 74"/>
                <a:gd name="T78" fmla="*/ 62 w 82"/>
                <a:gd name="T79" fmla="*/ 18 h 74"/>
                <a:gd name="T80" fmla="*/ 66 w 82"/>
                <a:gd name="T81" fmla="*/ 14 h 74"/>
                <a:gd name="T82" fmla="*/ 70 w 82"/>
                <a:gd name="T83" fmla="*/ 10 h 74"/>
                <a:gd name="T84" fmla="*/ 74 w 82"/>
                <a:gd name="T85" fmla="*/ 6 h 74"/>
                <a:gd name="T86" fmla="*/ 78 w 82"/>
                <a:gd name="T87" fmla="*/ 10 h 74"/>
                <a:gd name="T88" fmla="*/ 80 w 82"/>
                <a:gd name="T89" fmla="*/ 12 h 74"/>
                <a:gd name="T90" fmla="*/ 80 w 82"/>
                <a:gd name="T91" fmla="*/ 14 h 74"/>
                <a:gd name="T92" fmla="*/ 82 w 82"/>
                <a:gd name="T93" fmla="*/ 22 h 74"/>
                <a:gd name="T94" fmla="*/ 82 w 82"/>
                <a:gd name="T95" fmla="*/ 30 h 74"/>
                <a:gd name="T96" fmla="*/ 82 w 82"/>
                <a:gd name="T97" fmla="*/ 36 h 74"/>
                <a:gd name="T98" fmla="*/ 82 w 82"/>
                <a:gd name="T99" fmla="*/ 38 h 74"/>
                <a:gd name="T100" fmla="*/ 80 w 82"/>
                <a:gd name="T101" fmla="*/ 40 h 74"/>
                <a:gd name="T102" fmla="*/ 78 w 82"/>
                <a:gd name="T103" fmla="*/ 44 h 74"/>
                <a:gd name="T104" fmla="*/ 74 w 82"/>
                <a:gd name="T105" fmla="*/ 46 h 74"/>
                <a:gd name="T106" fmla="*/ 70 w 82"/>
                <a:gd name="T107" fmla="*/ 48 h 74"/>
                <a:gd name="T108" fmla="*/ 64 w 82"/>
                <a:gd name="T109" fmla="*/ 54 h 74"/>
                <a:gd name="T110" fmla="*/ 58 w 82"/>
                <a:gd name="T111" fmla="*/ 62 h 74"/>
                <a:gd name="T112" fmla="*/ 48 w 82"/>
                <a:gd name="T113" fmla="*/ 68 h 74"/>
                <a:gd name="T114" fmla="*/ 42 w 82"/>
                <a:gd name="T115" fmla="*/ 72 h 74"/>
                <a:gd name="T116" fmla="*/ 38 w 82"/>
                <a:gd name="T117" fmla="*/ 66 h 74"/>
                <a:gd name="T118" fmla="*/ 34 w 82"/>
                <a:gd name="T119" fmla="*/ 62 h 74"/>
                <a:gd name="T120" fmla="*/ 34 w 82"/>
                <a:gd name="T121"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74">
                  <a:moveTo>
                    <a:pt x="34" y="62"/>
                  </a:moveTo>
                  <a:lnTo>
                    <a:pt x="34" y="62"/>
                  </a:lnTo>
                  <a:lnTo>
                    <a:pt x="32" y="62"/>
                  </a:lnTo>
                  <a:lnTo>
                    <a:pt x="32" y="62"/>
                  </a:lnTo>
                  <a:lnTo>
                    <a:pt x="30" y="62"/>
                  </a:lnTo>
                  <a:lnTo>
                    <a:pt x="28" y="62"/>
                  </a:lnTo>
                  <a:lnTo>
                    <a:pt x="26" y="64"/>
                  </a:lnTo>
                  <a:lnTo>
                    <a:pt x="24" y="64"/>
                  </a:lnTo>
                  <a:lnTo>
                    <a:pt x="20" y="66"/>
                  </a:lnTo>
                  <a:lnTo>
                    <a:pt x="20" y="66"/>
                  </a:lnTo>
                  <a:lnTo>
                    <a:pt x="18" y="66"/>
                  </a:lnTo>
                  <a:lnTo>
                    <a:pt x="18" y="68"/>
                  </a:lnTo>
                  <a:lnTo>
                    <a:pt x="16" y="68"/>
                  </a:lnTo>
                  <a:lnTo>
                    <a:pt x="16" y="68"/>
                  </a:lnTo>
                  <a:lnTo>
                    <a:pt x="14" y="66"/>
                  </a:lnTo>
                  <a:lnTo>
                    <a:pt x="14" y="66"/>
                  </a:lnTo>
                  <a:lnTo>
                    <a:pt x="12" y="64"/>
                  </a:lnTo>
                  <a:lnTo>
                    <a:pt x="12" y="64"/>
                  </a:lnTo>
                  <a:lnTo>
                    <a:pt x="12" y="62"/>
                  </a:lnTo>
                  <a:lnTo>
                    <a:pt x="12" y="60"/>
                  </a:lnTo>
                  <a:lnTo>
                    <a:pt x="12" y="58"/>
                  </a:lnTo>
                  <a:lnTo>
                    <a:pt x="12" y="56"/>
                  </a:lnTo>
                  <a:lnTo>
                    <a:pt x="12" y="52"/>
                  </a:lnTo>
                  <a:lnTo>
                    <a:pt x="12" y="48"/>
                  </a:lnTo>
                  <a:lnTo>
                    <a:pt x="12" y="46"/>
                  </a:lnTo>
                  <a:lnTo>
                    <a:pt x="12" y="44"/>
                  </a:lnTo>
                  <a:lnTo>
                    <a:pt x="12" y="44"/>
                  </a:lnTo>
                  <a:lnTo>
                    <a:pt x="12" y="42"/>
                  </a:lnTo>
                  <a:lnTo>
                    <a:pt x="12" y="42"/>
                  </a:lnTo>
                  <a:lnTo>
                    <a:pt x="10" y="40"/>
                  </a:lnTo>
                  <a:lnTo>
                    <a:pt x="10" y="40"/>
                  </a:lnTo>
                  <a:lnTo>
                    <a:pt x="8" y="38"/>
                  </a:lnTo>
                  <a:lnTo>
                    <a:pt x="4" y="36"/>
                  </a:lnTo>
                  <a:lnTo>
                    <a:pt x="0" y="34"/>
                  </a:lnTo>
                  <a:lnTo>
                    <a:pt x="0" y="32"/>
                  </a:lnTo>
                  <a:lnTo>
                    <a:pt x="0" y="30"/>
                  </a:lnTo>
                  <a:lnTo>
                    <a:pt x="2" y="24"/>
                  </a:lnTo>
                  <a:lnTo>
                    <a:pt x="2" y="22"/>
                  </a:lnTo>
                  <a:lnTo>
                    <a:pt x="4" y="18"/>
                  </a:lnTo>
                  <a:lnTo>
                    <a:pt x="4" y="16"/>
                  </a:lnTo>
                  <a:lnTo>
                    <a:pt x="6" y="14"/>
                  </a:lnTo>
                  <a:lnTo>
                    <a:pt x="8" y="10"/>
                  </a:lnTo>
                  <a:lnTo>
                    <a:pt x="10" y="8"/>
                  </a:lnTo>
                  <a:lnTo>
                    <a:pt x="12" y="6"/>
                  </a:lnTo>
                  <a:lnTo>
                    <a:pt x="14" y="4"/>
                  </a:lnTo>
                  <a:lnTo>
                    <a:pt x="16" y="2"/>
                  </a:lnTo>
                  <a:lnTo>
                    <a:pt x="16" y="2"/>
                  </a:lnTo>
                  <a:lnTo>
                    <a:pt x="18" y="0"/>
                  </a:lnTo>
                  <a:lnTo>
                    <a:pt x="18" y="0"/>
                  </a:lnTo>
                  <a:lnTo>
                    <a:pt x="20" y="0"/>
                  </a:lnTo>
                  <a:lnTo>
                    <a:pt x="20" y="0"/>
                  </a:lnTo>
                  <a:lnTo>
                    <a:pt x="20" y="0"/>
                  </a:lnTo>
                  <a:lnTo>
                    <a:pt x="22" y="0"/>
                  </a:lnTo>
                  <a:lnTo>
                    <a:pt x="22" y="2"/>
                  </a:lnTo>
                  <a:lnTo>
                    <a:pt x="24" y="2"/>
                  </a:lnTo>
                  <a:lnTo>
                    <a:pt x="26" y="4"/>
                  </a:lnTo>
                  <a:lnTo>
                    <a:pt x="28" y="6"/>
                  </a:lnTo>
                  <a:lnTo>
                    <a:pt x="30" y="8"/>
                  </a:lnTo>
                  <a:lnTo>
                    <a:pt x="32" y="8"/>
                  </a:lnTo>
                  <a:lnTo>
                    <a:pt x="32" y="8"/>
                  </a:lnTo>
                  <a:lnTo>
                    <a:pt x="34" y="10"/>
                  </a:lnTo>
                  <a:lnTo>
                    <a:pt x="34" y="10"/>
                  </a:lnTo>
                  <a:lnTo>
                    <a:pt x="34" y="10"/>
                  </a:lnTo>
                  <a:lnTo>
                    <a:pt x="38" y="10"/>
                  </a:lnTo>
                  <a:lnTo>
                    <a:pt x="40" y="8"/>
                  </a:lnTo>
                  <a:lnTo>
                    <a:pt x="42" y="8"/>
                  </a:lnTo>
                  <a:lnTo>
                    <a:pt x="46" y="8"/>
                  </a:lnTo>
                  <a:lnTo>
                    <a:pt x="48" y="6"/>
                  </a:lnTo>
                  <a:lnTo>
                    <a:pt x="50" y="8"/>
                  </a:lnTo>
                  <a:lnTo>
                    <a:pt x="50" y="10"/>
                  </a:lnTo>
                  <a:lnTo>
                    <a:pt x="52" y="12"/>
                  </a:lnTo>
                  <a:lnTo>
                    <a:pt x="54" y="14"/>
                  </a:lnTo>
                  <a:lnTo>
                    <a:pt x="56" y="16"/>
                  </a:lnTo>
                  <a:lnTo>
                    <a:pt x="56" y="16"/>
                  </a:lnTo>
                  <a:lnTo>
                    <a:pt x="56" y="18"/>
                  </a:lnTo>
                  <a:lnTo>
                    <a:pt x="58" y="18"/>
                  </a:lnTo>
                  <a:lnTo>
                    <a:pt x="58" y="18"/>
                  </a:lnTo>
                  <a:lnTo>
                    <a:pt x="60" y="18"/>
                  </a:lnTo>
                  <a:lnTo>
                    <a:pt x="60" y="18"/>
                  </a:lnTo>
                  <a:lnTo>
                    <a:pt x="62" y="18"/>
                  </a:lnTo>
                  <a:lnTo>
                    <a:pt x="62" y="16"/>
                  </a:lnTo>
                  <a:lnTo>
                    <a:pt x="66" y="14"/>
                  </a:lnTo>
                  <a:lnTo>
                    <a:pt x="68" y="12"/>
                  </a:lnTo>
                  <a:lnTo>
                    <a:pt x="70" y="10"/>
                  </a:lnTo>
                  <a:lnTo>
                    <a:pt x="72" y="8"/>
                  </a:lnTo>
                  <a:lnTo>
                    <a:pt x="74" y="6"/>
                  </a:lnTo>
                  <a:lnTo>
                    <a:pt x="76" y="8"/>
                  </a:lnTo>
                  <a:lnTo>
                    <a:pt x="78" y="10"/>
                  </a:lnTo>
                  <a:lnTo>
                    <a:pt x="80" y="12"/>
                  </a:lnTo>
                  <a:lnTo>
                    <a:pt x="80" y="12"/>
                  </a:lnTo>
                  <a:lnTo>
                    <a:pt x="80" y="12"/>
                  </a:lnTo>
                  <a:lnTo>
                    <a:pt x="80" y="14"/>
                  </a:lnTo>
                  <a:lnTo>
                    <a:pt x="82" y="18"/>
                  </a:lnTo>
                  <a:lnTo>
                    <a:pt x="82" y="22"/>
                  </a:lnTo>
                  <a:lnTo>
                    <a:pt x="82" y="26"/>
                  </a:lnTo>
                  <a:lnTo>
                    <a:pt x="82" y="30"/>
                  </a:lnTo>
                  <a:lnTo>
                    <a:pt x="82" y="34"/>
                  </a:lnTo>
                  <a:lnTo>
                    <a:pt x="82" y="36"/>
                  </a:lnTo>
                  <a:lnTo>
                    <a:pt x="82" y="38"/>
                  </a:lnTo>
                  <a:lnTo>
                    <a:pt x="82" y="38"/>
                  </a:lnTo>
                  <a:lnTo>
                    <a:pt x="82" y="40"/>
                  </a:lnTo>
                  <a:lnTo>
                    <a:pt x="80" y="40"/>
                  </a:lnTo>
                  <a:lnTo>
                    <a:pt x="80" y="42"/>
                  </a:lnTo>
                  <a:lnTo>
                    <a:pt x="78" y="44"/>
                  </a:lnTo>
                  <a:lnTo>
                    <a:pt x="76" y="44"/>
                  </a:lnTo>
                  <a:lnTo>
                    <a:pt x="74" y="46"/>
                  </a:lnTo>
                  <a:lnTo>
                    <a:pt x="72" y="46"/>
                  </a:lnTo>
                  <a:lnTo>
                    <a:pt x="70" y="48"/>
                  </a:lnTo>
                  <a:lnTo>
                    <a:pt x="68" y="50"/>
                  </a:lnTo>
                  <a:lnTo>
                    <a:pt x="64" y="54"/>
                  </a:lnTo>
                  <a:lnTo>
                    <a:pt x="60" y="58"/>
                  </a:lnTo>
                  <a:lnTo>
                    <a:pt x="58" y="62"/>
                  </a:lnTo>
                  <a:lnTo>
                    <a:pt x="54" y="64"/>
                  </a:lnTo>
                  <a:lnTo>
                    <a:pt x="48" y="68"/>
                  </a:lnTo>
                  <a:lnTo>
                    <a:pt x="44" y="74"/>
                  </a:lnTo>
                  <a:lnTo>
                    <a:pt x="42" y="72"/>
                  </a:lnTo>
                  <a:lnTo>
                    <a:pt x="40" y="68"/>
                  </a:lnTo>
                  <a:lnTo>
                    <a:pt x="38" y="66"/>
                  </a:lnTo>
                  <a:lnTo>
                    <a:pt x="36" y="64"/>
                  </a:lnTo>
                  <a:lnTo>
                    <a:pt x="34" y="62"/>
                  </a:lnTo>
                  <a:lnTo>
                    <a:pt x="34" y="62"/>
                  </a:lnTo>
                  <a:lnTo>
                    <a:pt x="34" y="6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 name="Freeform 70">
              <a:extLst>
                <a:ext uri="{FF2B5EF4-FFF2-40B4-BE49-F238E27FC236}">
                  <a16:creationId xmlns:a16="http://schemas.microsoft.com/office/drawing/2014/main" id="{3691D1A3-7E59-4BC6-A5A5-D295FE67BBE8}"/>
                </a:ext>
              </a:extLst>
            </p:cNvPr>
            <p:cNvSpPr>
              <a:spLocks/>
            </p:cNvSpPr>
            <p:nvPr/>
          </p:nvSpPr>
          <p:spPr bwMode="auto">
            <a:xfrm>
              <a:off x="6818826" y="4220120"/>
              <a:ext cx="142030" cy="128174"/>
            </a:xfrm>
            <a:custGeom>
              <a:avLst/>
              <a:gdLst>
                <a:gd name="T0" fmla="*/ 34 w 82"/>
                <a:gd name="T1" fmla="*/ 62 h 74"/>
                <a:gd name="T2" fmla="*/ 32 w 82"/>
                <a:gd name="T3" fmla="*/ 62 h 74"/>
                <a:gd name="T4" fmla="*/ 28 w 82"/>
                <a:gd name="T5" fmla="*/ 62 h 74"/>
                <a:gd name="T6" fmla="*/ 24 w 82"/>
                <a:gd name="T7" fmla="*/ 64 h 74"/>
                <a:gd name="T8" fmla="*/ 20 w 82"/>
                <a:gd name="T9" fmla="*/ 66 h 74"/>
                <a:gd name="T10" fmla="*/ 18 w 82"/>
                <a:gd name="T11" fmla="*/ 68 h 74"/>
                <a:gd name="T12" fmla="*/ 16 w 82"/>
                <a:gd name="T13" fmla="*/ 68 h 74"/>
                <a:gd name="T14" fmla="*/ 14 w 82"/>
                <a:gd name="T15" fmla="*/ 66 h 74"/>
                <a:gd name="T16" fmla="*/ 12 w 82"/>
                <a:gd name="T17" fmla="*/ 64 h 74"/>
                <a:gd name="T18" fmla="*/ 12 w 82"/>
                <a:gd name="T19" fmla="*/ 60 h 74"/>
                <a:gd name="T20" fmla="*/ 12 w 82"/>
                <a:gd name="T21" fmla="*/ 56 h 74"/>
                <a:gd name="T22" fmla="*/ 12 w 82"/>
                <a:gd name="T23" fmla="*/ 48 h 74"/>
                <a:gd name="T24" fmla="*/ 12 w 82"/>
                <a:gd name="T25" fmla="*/ 44 h 74"/>
                <a:gd name="T26" fmla="*/ 12 w 82"/>
                <a:gd name="T27" fmla="*/ 42 h 74"/>
                <a:gd name="T28" fmla="*/ 10 w 82"/>
                <a:gd name="T29" fmla="*/ 40 h 74"/>
                <a:gd name="T30" fmla="*/ 8 w 82"/>
                <a:gd name="T31" fmla="*/ 38 h 74"/>
                <a:gd name="T32" fmla="*/ 0 w 82"/>
                <a:gd name="T33" fmla="*/ 34 h 74"/>
                <a:gd name="T34" fmla="*/ 0 w 82"/>
                <a:gd name="T35" fmla="*/ 30 h 74"/>
                <a:gd name="T36" fmla="*/ 2 w 82"/>
                <a:gd name="T37" fmla="*/ 22 h 74"/>
                <a:gd name="T38" fmla="*/ 4 w 82"/>
                <a:gd name="T39" fmla="*/ 16 h 74"/>
                <a:gd name="T40" fmla="*/ 8 w 82"/>
                <a:gd name="T41" fmla="*/ 10 h 74"/>
                <a:gd name="T42" fmla="*/ 12 w 82"/>
                <a:gd name="T43" fmla="*/ 6 h 74"/>
                <a:gd name="T44" fmla="*/ 16 w 82"/>
                <a:gd name="T45" fmla="*/ 2 h 74"/>
                <a:gd name="T46" fmla="*/ 18 w 82"/>
                <a:gd name="T47" fmla="*/ 0 h 74"/>
                <a:gd name="T48" fmla="*/ 20 w 82"/>
                <a:gd name="T49" fmla="*/ 0 h 74"/>
                <a:gd name="T50" fmla="*/ 20 w 82"/>
                <a:gd name="T51" fmla="*/ 0 h 74"/>
                <a:gd name="T52" fmla="*/ 22 w 82"/>
                <a:gd name="T53" fmla="*/ 2 h 74"/>
                <a:gd name="T54" fmla="*/ 26 w 82"/>
                <a:gd name="T55" fmla="*/ 4 h 74"/>
                <a:gd name="T56" fmla="*/ 30 w 82"/>
                <a:gd name="T57" fmla="*/ 8 h 74"/>
                <a:gd name="T58" fmla="*/ 32 w 82"/>
                <a:gd name="T59" fmla="*/ 8 h 74"/>
                <a:gd name="T60" fmla="*/ 34 w 82"/>
                <a:gd name="T61" fmla="*/ 10 h 74"/>
                <a:gd name="T62" fmla="*/ 38 w 82"/>
                <a:gd name="T63" fmla="*/ 10 h 74"/>
                <a:gd name="T64" fmla="*/ 42 w 82"/>
                <a:gd name="T65" fmla="*/ 8 h 74"/>
                <a:gd name="T66" fmla="*/ 48 w 82"/>
                <a:gd name="T67" fmla="*/ 6 h 74"/>
                <a:gd name="T68" fmla="*/ 50 w 82"/>
                <a:gd name="T69" fmla="*/ 10 h 74"/>
                <a:gd name="T70" fmla="*/ 54 w 82"/>
                <a:gd name="T71" fmla="*/ 14 h 74"/>
                <a:gd name="T72" fmla="*/ 56 w 82"/>
                <a:gd name="T73" fmla="*/ 16 h 74"/>
                <a:gd name="T74" fmla="*/ 58 w 82"/>
                <a:gd name="T75" fmla="*/ 18 h 74"/>
                <a:gd name="T76" fmla="*/ 60 w 82"/>
                <a:gd name="T77" fmla="*/ 18 h 74"/>
                <a:gd name="T78" fmla="*/ 62 w 82"/>
                <a:gd name="T79" fmla="*/ 18 h 74"/>
                <a:gd name="T80" fmla="*/ 66 w 82"/>
                <a:gd name="T81" fmla="*/ 14 h 74"/>
                <a:gd name="T82" fmla="*/ 70 w 82"/>
                <a:gd name="T83" fmla="*/ 10 h 74"/>
                <a:gd name="T84" fmla="*/ 74 w 82"/>
                <a:gd name="T85" fmla="*/ 6 h 74"/>
                <a:gd name="T86" fmla="*/ 78 w 82"/>
                <a:gd name="T87" fmla="*/ 10 h 74"/>
                <a:gd name="T88" fmla="*/ 80 w 82"/>
                <a:gd name="T89" fmla="*/ 12 h 74"/>
                <a:gd name="T90" fmla="*/ 80 w 82"/>
                <a:gd name="T91" fmla="*/ 14 h 74"/>
                <a:gd name="T92" fmla="*/ 82 w 82"/>
                <a:gd name="T93" fmla="*/ 22 h 74"/>
                <a:gd name="T94" fmla="*/ 82 w 82"/>
                <a:gd name="T95" fmla="*/ 30 h 74"/>
                <a:gd name="T96" fmla="*/ 82 w 82"/>
                <a:gd name="T97" fmla="*/ 36 h 74"/>
                <a:gd name="T98" fmla="*/ 82 w 82"/>
                <a:gd name="T99" fmla="*/ 38 h 74"/>
                <a:gd name="T100" fmla="*/ 80 w 82"/>
                <a:gd name="T101" fmla="*/ 40 h 74"/>
                <a:gd name="T102" fmla="*/ 78 w 82"/>
                <a:gd name="T103" fmla="*/ 44 h 74"/>
                <a:gd name="T104" fmla="*/ 74 w 82"/>
                <a:gd name="T105" fmla="*/ 46 h 74"/>
                <a:gd name="T106" fmla="*/ 70 w 82"/>
                <a:gd name="T107" fmla="*/ 48 h 74"/>
                <a:gd name="T108" fmla="*/ 64 w 82"/>
                <a:gd name="T109" fmla="*/ 54 h 74"/>
                <a:gd name="T110" fmla="*/ 58 w 82"/>
                <a:gd name="T111" fmla="*/ 62 h 74"/>
                <a:gd name="T112" fmla="*/ 48 w 82"/>
                <a:gd name="T113" fmla="*/ 68 h 74"/>
                <a:gd name="T114" fmla="*/ 42 w 82"/>
                <a:gd name="T115" fmla="*/ 72 h 74"/>
                <a:gd name="T116" fmla="*/ 38 w 82"/>
                <a:gd name="T117" fmla="*/ 66 h 74"/>
                <a:gd name="T118" fmla="*/ 34 w 82"/>
                <a:gd name="T119" fmla="*/ 62 h 74"/>
                <a:gd name="T120" fmla="*/ 34 w 82"/>
                <a:gd name="T121"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74">
                  <a:moveTo>
                    <a:pt x="34" y="62"/>
                  </a:moveTo>
                  <a:lnTo>
                    <a:pt x="34" y="62"/>
                  </a:lnTo>
                  <a:lnTo>
                    <a:pt x="32" y="62"/>
                  </a:lnTo>
                  <a:lnTo>
                    <a:pt x="32" y="62"/>
                  </a:lnTo>
                  <a:lnTo>
                    <a:pt x="30" y="62"/>
                  </a:lnTo>
                  <a:lnTo>
                    <a:pt x="28" y="62"/>
                  </a:lnTo>
                  <a:lnTo>
                    <a:pt x="26" y="64"/>
                  </a:lnTo>
                  <a:lnTo>
                    <a:pt x="24" y="64"/>
                  </a:lnTo>
                  <a:lnTo>
                    <a:pt x="20" y="66"/>
                  </a:lnTo>
                  <a:lnTo>
                    <a:pt x="20" y="66"/>
                  </a:lnTo>
                  <a:lnTo>
                    <a:pt x="18" y="66"/>
                  </a:lnTo>
                  <a:lnTo>
                    <a:pt x="18" y="68"/>
                  </a:lnTo>
                  <a:lnTo>
                    <a:pt x="16" y="68"/>
                  </a:lnTo>
                  <a:lnTo>
                    <a:pt x="16" y="68"/>
                  </a:lnTo>
                  <a:lnTo>
                    <a:pt x="14" y="66"/>
                  </a:lnTo>
                  <a:lnTo>
                    <a:pt x="14" y="66"/>
                  </a:lnTo>
                  <a:lnTo>
                    <a:pt x="12" y="64"/>
                  </a:lnTo>
                  <a:lnTo>
                    <a:pt x="12" y="64"/>
                  </a:lnTo>
                  <a:lnTo>
                    <a:pt x="12" y="62"/>
                  </a:lnTo>
                  <a:lnTo>
                    <a:pt x="12" y="60"/>
                  </a:lnTo>
                  <a:lnTo>
                    <a:pt x="12" y="58"/>
                  </a:lnTo>
                  <a:lnTo>
                    <a:pt x="12" y="56"/>
                  </a:lnTo>
                  <a:lnTo>
                    <a:pt x="12" y="52"/>
                  </a:lnTo>
                  <a:lnTo>
                    <a:pt x="12" y="48"/>
                  </a:lnTo>
                  <a:lnTo>
                    <a:pt x="12" y="46"/>
                  </a:lnTo>
                  <a:lnTo>
                    <a:pt x="12" y="44"/>
                  </a:lnTo>
                  <a:lnTo>
                    <a:pt x="12" y="44"/>
                  </a:lnTo>
                  <a:lnTo>
                    <a:pt x="12" y="42"/>
                  </a:lnTo>
                  <a:lnTo>
                    <a:pt x="12" y="42"/>
                  </a:lnTo>
                  <a:lnTo>
                    <a:pt x="10" y="40"/>
                  </a:lnTo>
                  <a:lnTo>
                    <a:pt x="10" y="40"/>
                  </a:lnTo>
                  <a:lnTo>
                    <a:pt x="8" y="38"/>
                  </a:lnTo>
                  <a:lnTo>
                    <a:pt x="4" y="36"/>
                  </a:lnTo>
                  <a:lnTo>
                    <a:pt x="0" y="34"/>
                  </a:lnTo>
                  <a:lnTo>
                    <a:pt x="0" y="32"/>
                  </a:lnTo>
                  <a:lnTo>
                    <a:pt x="0" y="30"/>
                  </a:lnTo>
                  <a:lnTo>
                    <a:pt x="2" y="24"/>
                  </a:lnTo>
                  <a:lnTo>
                    <a:pt x="2" y="22"/>
                  </a:lnTo>
                  <a:lnTo>
                    <a:pt x="4" y="18"/>
                  </a:lnTo>
                  <a:lnTo>
                    <a:pt x="4" y="16"/>
                  </a:lnTo>
                  <a:lnTo>
                    <a:pt x="6" y="14"/>
                  </a:lnTo>
                  <a:lnTo>
                    <a:pt x="8" y="10"/>
                  </a:lnTo>
                  <a:lnTo>
                    <a:pt x="10" y="8"/>
                  </a:lnTo>
                  <a:lnTo>
                    <a:pt x="12" y="6"/>
                  </a:lnTo>
                  <a:lnTo>
                    <a:pt x="14" y="4"/>
                  </a:lnTo>
                  <a:lnTo>
                    <a:pt x="16" y="2"/>
                  </a:lnTo>
                  <a:lnTo>
                    <a:pt x="16" y="2"/>
                  </a:lnTo>
                  <a:lnTo>
                    <a:pt x="18" y="0"/>
                  </a:lnTo>
                  <a:lnTo>
                    <a:pt x="18" y="0"/>
                  </a:lnTo>
                  <a:lnTo>
                    <a:pt x="20" y="0"/>
                  </a:lnTo>
                  <a:lnTo>
                    <a:pt x="20" y="0"/>
                  </a:lnTo>
                  <a:lnTo>
                    <a:pt x="20" y="0"/>
                  </a:lnTo>
                  <a:lnTo>
                    <a:pt x="22" y="0"/>
                  </a:lnTo>
                  <a:lnTo>
                    <a:pt x="22" y="2"/>
                  </a:lnTo>
                  <a:lnTo>
                    <a:pt x="24" y="2"/>
                  </a:lnTo>
                  <a:lnTo>
                    <a:pt x="26" y="4"/>
                  </a:lnTo>
                  <a:lnTo>
                    <a:pt x="28" y="6"/>
                  </a:lnTo>
                  <a:lnTo>
                    <a:pt x="30" y="8"/>
                  </a:lnTo>
                  <a:lnTo>
                    <a:pt x="32" y="8"/>
                  </a:lnTo>
                  <a:lnTo>
                    <a:pt x="32" y="8"/>
                  </a:lnTo>
                  <a:lnTo>
                    <a:pt x="34" y="10"/>
                  </a:lnTo>
                  <a:lnTo>
                    <a:pt x="34" y="10"/>
                  </a:lnTo>
                  <a:lnTo>
                    <a:pt x="34" y="10"/>
                  </a:lnTo>
                  <a:lnTo>
                    <a:pt x="38" y="10"/>
                  </a:lnTo>
                  <a:lnTo>
                    <a:pt x="40" y="8"/>
                  </a:lnTo>
                  <a:lnTo>
                    <a:pt x="42" y="8"/>
                  </a:lnTo>
                  <a:lnTo>
                    <a:pt x="46" y="8"/>
                  </a:lnTo>
                  <a:lnTo>
                    <a:pt x="48" y="6"/>
                  </a:lnTo>
                  <a:lnTo>
                    <a:pt x="50" y="8"/>
                  </a:lnTo>
                  <a:lnTo>
                    <a:pt x="50" y="10"/>
                  </a:lnTo>
                  <a:lnTo>
                    <a:pt x="52" y="12"/>
                  </a:lnTo>
                  <a:lnTo>
                    <a:pt x="54" y="14"/>
                  </a:lnTo>
                  <a:lnTo>
                    <a:pt x="56" y="16"/>
                  </a:lnTo>
                  <a:lnTo>
                    <a:pt x="56" y="16"/>
                  </a:lnTo>
                  <a:lnTo>
                    <a:pt x="56" y="18"/>
                  </a:lnTo>
                  <a:lnTo>
                    <a:pt x="58" y="18"/>
                  </a:lnTo>
                  <a:lnTo>
                    <a:pt x="58" y="18"/>
                  </a:lnTo>
                  <a:lnTo>
                    <a:pt x="60" y="18"/>
                  </a:lnTo>
                  <a:lnTo>
                    <a:pt x="60" y="18"/>
                  </a:lnTo>
                  <a:lnTo>
                    <a:pt x="62" y="18"/>
                  </a:lnTo>
                  <a:lnTo>
                    <a:pt x="62" y="16"/>
                  </a:lnTo>
                  <a:lnTo>
                    <a:pt x="66" y="14"/>
                  </a:lnTo>
                  <a:lnTo>
                    <a:pt x="68" y="12"/>
                  </a:lnTo>
                  <a:lnTo>
                    <a:pt x="70" y="10"/>
                  </a:lnTo>
                  <a:lnTo>
                    <a:pt x="72" y="8"/>
                  </a:lnTo>
                  <a:lnTo>
                    <a:pt x="74" y="6"/>
                  </a:lnTo>
                  <a:lnTo>
                    <a:pt x="76" y="8"/>
                  </a:lnTo>
                  <a:lnTo>
                    <a:pt x="78" y="10"/>
                  </a:lnTo>
                  <a:lnTo>
                    <a:pt x="80" y="12"/>
                  </a:lnTo>
                  <a:lnTo>
                    <a:pt x="80" y="12"/>
                  </a:lnTo>
                  <a:lnTo>
                    <a:pt x="80" y="12"/>
                  </a:lnTo>
                  <a:lnTo>
                    <a:pt x="80" y="14"/>
                  </a:lnTo>
                  <a:lnTo>
                    <a:pt x="82" y="18"/>
                  </a:lnTo>
                  <a:lnTo>
                    <a:pt x="82" y="22"/>
                  </a:lnTo>
                  <a:lnTo>
                    <a:pt x="82" y="26"/>
                  </a:lnTo>
                  <a:lnTo>
                    <a:pt x="82" y="30"/>
                  </a:lnTo>
                  <a:lnTo>
                    <a:pt x="82" y="34"/>
                  </a:lnTo>
                  <a:lnTo>
                    <a:pt x="82" y="36"/>
                  </a:lnTo>
                  <a:lnTo>
                    <a:pt x="82" y="38"/>
                  </a:lnTo>
                  <a:lnTo>
                    <a:pt x="82" y="38"/>
                  </a:lnTo>
                  <a:lnTo>
                    <a:pt x="82" y="40"/>
                  </a:lnTo>
                  <a:lnTo>
                    <a:pt x="80" y="40"/>
                  </a:lnTo>
                  <a:lnTo>
                    <a:pt x="80" y="42"/>
                  </a:lnTo>
                  <a:lnTo>
                    <a:pt x="78" y="44"/>
                  </a:lnTo>
                  <a:lnTo>
                    <a:pt x="76" y="44"/>
                  </a:lnTo>
                  <a:lnTo>
                    <a:pt x="74" y="46"/>
                  </a:lnTo>
                  <a:lnTo>
                    <a:pt x="72" y="46"/>
                  </a:lnTo>
                  <a:lnTo>
                    <a:pt x="70" y="48"/>
                  </a:lnTo>
                  <a:lnTo>
                    <a:pt x="68" y="50"/>
                  </a:lnTo>
                  <a:lnTo>
                    <a:pt x="64" y="54"/>
                  </a:lnTo>
                  <a:lnTo>
                    <a:pt x="60" y="58"/>
                  </a:lnTo>
                  <a:lnTo>
                    <a:pt x="58" y="62"/>
                  </a:lnTo>
                  <a:lnTo>
                    <a:pt x="54" y="64"/>
                  </a:lnTo>
                  <a:lnTo>
                    <a:pt x="48" y="68"/>
                  </a:lnTo>
                  <a:lnTo>
                    <a:pt x="44" y="74"/>
                  </a:lnTo>
                  <a:lnTo>
                    <a:pt x="42" y="72"/>
                  </a:lnTo>
                  <a:lnTo>
                    <a:pt x="40" y="68"/>
                  </a:lnTo>
                  <a:lnTo>
                    <a:pt x="38" y="66"/>
                  </a:lnTo>
                  <a:lnTo>
                    <a:pt x="36" y="64"/>
                  </a:lnTo>
                  <a:lnTo>
                    <a:pt x="34" y="62"/>
                  </a:lnTo>
                  <a:lnTo>
                    <a:pt x="34" y="62"/>
                  </a:lnTo>
                  <a:lnTo>
                    <a:pt x="34" y="6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 name="Freeform 71">
              <a:extLst>
                <a:ext uri="{FF2B5EF4-FFF2-40B4-BE49-F238E27FC236}">
                  <a16:creationId xmlns:a16="http://schemas.microsoft.com/office/drawing/2014/main" id="{4C625F28-08A9-4AAD-8EAC-19C7EF6A8038}"/>
                </a:ext>
              </a:extLst>
            </p:cNvPr>
            <p:cNvSpPr>
              <a:spLocks/>
            </p:cNvSpPr>
            <p:nvPr/>
          </p:nvSpPr>
          <p:spPr bwMode="auto">
            <a:xfrm>
              <a:off x="6759936" y="3988022"/>
              <a:ext cx="187064" cy="263275"/>
            </a:xfrm>
            <a:custGeom>
              <a:avLst/>
              <a:gdLst>
                <a:gd name="T0" fmla="*/ 4 w 108"/>
                <a:gd name="T1" fmla="*/ 36 h 152"/>
                <a:gd name="T2" fmla="*/ 6 w 108"/>
                <a:gd name="T3" fmla="*/ 48 h 152"/>
                <a:gd name="T4" fmla="*/ 8 w 108"/>
                <a:gd name="T5" fmla="*/ 52 h 152"/>
                <a:gd name="T6" fmla="*/ 16 w 108"/>
                <a:gd name="T7" fmla="*/ 58 h 152"/>
                <a:gd name="T8" fmla="*/ 24 w 108"/>
                <a:gd name="T9" fmla="*/ 62 h 152"/>
                <a:gd name="T10" fmla="*/ 28 w 108"/>
                <a:gd name="T11" fmla="*/ 66 h 152"/>
                <a:gd name="T12" fmla="*/ 36 w 108"/>
                <a:gd name="T13" fmla="*/ 78 h 152"/>
                <a:gd name="T14" fmla="*/ 40 w 108"/>
                <a:gd name="T15" fmla="*/ 82 h 152"/>
                <a:gd name="T16" fmla="*/ 42 w 108"/>
                <a:gd name="T17" fmla="*/ 80 h 152"/>
                <a:gd name="T18" fmla="*/ 48 w 108"/>
                <a:gd name="T19" fmla="*/ 72 h 152"/>
                <a:gd name="T20" fmla="*/ 50 w 108"/>
                <a:gd name="T21" fmla="*/ 72 h 152"/>
                <a:gd name="T22" fmla="*/ 54 w 108"/>
                <a:gd name="T23" fmla="*/ 72 h 152"/>
                <a:gd name="T24" fmla="*/ 60 w 108"/>
                <a:gd name="T25" fmla="*/ 80 h 152"/>
                <a:gd name="T26" fmla="*/ 66 w 108"/>
                <a:gd name="T27" fmla="*/ 94 h 152"/>
                <a:gd name="T28" fmla="*/ 72 w 108"/>
                <a:gd name="T29" fmla="*/ 110 h 152"/>
                <a:gd name="T30" fmla="*/ 74 w 108"/>
                <a:gd name="T31" fmla="*/ 116 h 152"/>
                <a:gd name="T32" fmla="*/ 80 w 108"/>
                <a:gd name="T33" fmla="*/ 116 h 152"/>
                <a:gd name="T34" fmla="*/ 82 w 108"/>
                <a:gd name="T35" fmla="*/ 118 h 152"/>
                <a:gd name="T36" fmla="*/ 84 w 108"/>
                <a:gd name="T37" fmla="*/ 124 h 152"/>
                <a:gd name="T38" fmla="*/ 82 w 108"/>
                <a:gd name="T39" fmla="*/ 138 h 152"/>
                <a:gd name="T40" fmla="*/ 86 w 108"/>
                <a:gd name="T41" fmla="*/ 146 h 152"/>
                <a:gd name="T42" fmla="*/ 90 w 108"/>
                <a:gd name="T43" fmla="*/ 152 h 152"/>
                <a:gd name="T44" fmla="*/ 94 w 108"/>
                <a:gd name="T45" fmla="*/ 152 h 152"/>
                <a:gd name="T46" fmla="*/ 102 w 108"/>
                <a:gd name="T47" fmla="*/ 146 h 152"/>
                <a:gd name="T48" fmla="*/ 108 w 108"/>
                <a:gd name="T49" fmla="*/ 136 h 152"/>
                <a:gd name="T50" fmla="*/ 108 w 108"/>
                <a:gd name="T51" fmla="*/ 118 h 152"/>
                <a:gd name="T52" fmla="*/ 108 w 108"/>
                <a:gd name="T53" fmla="*/ 112 h 152"/>
                <a:gd name="T54" fmla="*/ 104 w 108"/>
                <a:gd name="T55" fmla="*/ 108 h 152"/>
                <a:gd name="T56" fmla="*/ 94 w 108"/>
                <a:gd name="T57" fmla="*/ 102 h 152"/>
                <a:gd name="T58" fmla="*/ 86 w 108"/>
                <a:gd name="T59" fmla="*/ 92 h 152"/>
                <a:gd name="T60" fmla="*/ 72 w 108"/>
                <a:gd name="T61" fmla="*/ 70 h 152"/>
                <a:gd name="T62" fmla="*/ 66 w 108"/>
                <a:gd name="T63" fmla="*/ 64 h 152"/>
                <a:gd name="T64" fmla="*/ 62 w 108"/>
                <a:gd name="T65" fmla="*/ 58 h 152"/>
                <a:gd name="T66" fmla="*/ 62 w 108"/>
                <a:gd name="T67" fmla="*/ 52 h 152"/>
                <a:gd name="T68" fmla="*/ 66 w 108"/>
                <a:gd name="T69" fmla="*/ 42 h 152"/>
                <a:gd name="T70" fmla="*/ 64 w 108"/>
                <a:gd name="T71" fmla="*/ 34 h 152"/>
                <a:gd name="T72" fmla="*/ 62 w 108"/>
                <a:gd name="T73" fmla="*/ 30 h 152"/>
                <a:gd name="T74" fmla="*/ 50 w 108"/>
                <a:gd name="T75" fmla="*/ 28 h 152"/>
                <a:gd name="T76" fmla="*/ 40 w 108"/>
                <a:gd name="T77" fmla="*/ 24 h 152"/>
                <a:gd name="T78" fmla="*/ 36 w 108"/>
                <a:gd name="T79" fmla="*/ 22 h 152"/>
                <a:gd name="T80" fmla="*/ 32 w 108"/>
                <a:gd name="T81" fmla="*/ 10 h 152"/>
                <a:gd name="T82" fmla="*/ 28 w 108"/>
                <a:gd name="T83" fmla="*/ 2 h 152"/>
                <a:gd name="T84" fmla="*/ 20 w 108"/>
                <a:gd name="T85" fmla="*/ 4 h 152"/>
                <a:gd name="T86" fmla="*/ 18 w 108"/>
                <a:gd name="T87" fmla="*/ 8 h 152"/>
                <a:gd name="T88" fmla="*/ 20 w 108"/>
                <a:gd name="T89" fmla="*/ 14 h 152"/>
                <a:gd name="T90" fmla="*/ 22 w 108"/>
                <a:gd name="T91" fmla="*/ 20 h 152"/>
                <a:gd name="T92" fmla="*/ 20 w 108"/>
                <a:gd name="T93" fmla="*/ 22 h 152"/>
                <a:gd name="T94" fmla="*/ 14 w 108"/>
                <a:gd name="T95" fmla="*/ 24 h 152"/>
                <a:gd name="T96" fmla="*/ 0 w 108"/>
                <a:gd name="T97" fmla="*/ 2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152">
                  <a:moveTo>
                    <a:pt x="0" y="24"/>
                  </a:moveTo>
                  <a:lnTo>
                    <a:pt x="0" y="24"/>
                  </a:lnTo>
                  <a:lnTo>
                    <a:pt x="2" y="28"/>
                  </a:lnTo>
                  <a:lnTo>
                    <a:pt x="4" y="36"/>
                  </a:lnTo>
                  <a:lnTo>
                    <a:pt x="4" y="40"/>
                  </a:lnTo>
                  <a:lnTo>
                    <a:pt x="4" y="44"/>
                  </a:lnTo>
                  <a:lnTo>
                    <a:pt x="6" y="46"/>
                  </a:lnTo>
                  <a:lnTo>
                    <a:pt x="6" y="48"/>
                  </a:lnTo>
                  <a:lnTo>
                    <a:pt x="6" y="50"/>
                  </a:lnTo>
                  <a:lnTo>
                    <a:pt x="8" y="52"/>
                  </a:lnTo>
                  <a:lnTo>
                    <a:pt x="8" y="52"/>
                  </a:lnTo>
                  <a:lnTo>
                    <a:pt x="8" y="52"/>
                  </a:lnTo>
                  <a:lnTo>
                    <a:pt x="10" y="54"/>
                  </a:lnTo>
                  <a:lnTo>
                    <a:pt x="12" y="56"/>
                  </a:lnTo>
                  <a:lnTo>
                    <a:pt x="14" y="58"/>
                  </a:lnTo>
                  <a:lnTo>
                    <a:pt x="16" y="58"/>
                  </a:lnTo>
                  <a:lnTo>
                    <a:pt x="16" y="58"/>
                  </a:lnTo>
                  <a:lnTo>
                    <a:pt x="20" y="60"/>
                  </a:lnTo>
                  <a:lnTo>
                    <a:pt x="22" y="62"/>
                  </a:lnTo>
                  <a:lnTo>
                    <a:pt x="24" y="62"/>
                  </a:lnTo>
                  <a:lnTo>
                    <a:pt x="24" y="62"/>
                  </a:lnTo>
                  <a:lnTo>
                    <a:pt x="26" y="64"/>
                  </a:lnTo>
                  <a:lnTo>
                    <a:pt x="26" y="64"/>
                  </a:lnTo>
                  <a:lnTo>
                    <a:pt x="28" y="66"/>
                  </a:lnTo>
                  <a:lnTo>
                    <a:pt x="32" y="74"/>
                  </a:lnTo>
                  <a:lnTo>
                    <a:pt x="34" y="76"/>
                  </a:lnTo>
                  <a:lnTo>
                    <a:pt x="34" y="78"/>
                  </a:lnTo>
                  <a:lnTo>
                    <a:pt x="36" y="78"/>
                  </a:lnTo>
                  <a:lnTo>
                    <a:pt x="36" y="80"/>
                  </a:lnTo>
                  <a:lnTo>
                    <a:pt x="38" y="80"/>
                  </a:lnTo>
                  <a:lnTo>
                    <a:pt x="38" y="82"/>
                  </a:lnTo>
                  <a:lnTo>
                    <a:pt x="40" y="82"/>
                  </a:lnTo>
                  <a:lnTo>
                    <a:pt x="40" y="82"/>
                  </a:lnTo>
                  <a:lnTo>
                    <a:pt x="40" y="80"/>
                  </a:lnTo>
                  <a:lnTo>
                    <a:pt x="42" y="80"/>
                  </a:lnTo>
                  <a:lnTo>
                    <a:pt x="42" y="80"/>
                  </a:lnTo>
                  <a:lnTo>
                    <a:pt x="44" y="78"/>
                  </a:lnTo>
                  <a:lnTo>
                    <a:pt x="46" y="76"/>
                  </a:lnTo>
                  <a:lnTo>
                    <a:pt x="46" y="74"/>
                  </a:lnTo>
                  <a:lnTo>
                    <a:pt x="48" y="72"/>
                  </a:lnTo>
                  <a:lnTo>
                    <a:pt x="48" y="72"/>
                  </a:lnTo>
                  <a:lnTo>
                    <a:pt x="50" y="72"/>
                  </a:lnTo>
                  <a:lnTo>
                    <a:pt x="50" y="72"/>
                  </a:lnTo>
                  <a:lnTo>
                    <a:pt x="50" y="72"/>
                  </a:lnTo>
                  <a:lnTo>
                    <a:pt x="52" y="72"/>
                  </a:lnTo>
                  <a:lnTo>
                    <a:pt x="52" y="72"/>
                  </a:lnTo>
                  <a:lnTo>
                    <a:pt x="54" y="72"/>
                  </a:lnTo>
                  <a:lnTo>
                    <a:pt x="54" y="72"/>
                  </a:lnTo>
                  <a:lnTo>
                    <a:pt x="56" y="74"/>
                  </a:lnTo>
                  <a:lnTo>
                    <a:pt x="58" y="76"/>
                  </a:lnTo>
                  <a:lnTo>
                    <a:pt x="58" y="78"/>
                  </a:lnTo>
                  <a:lnTo>
                    <a:pt x="60" y="80"/>
                  </a:lnTo>
                  <a:lnTo>
                    <a:pt x="62" y="84"/>
                  </a:lnTo>
                  <a:lnTo>
                    <a:pt x="64" y="86"/>
                  </a:lnTo>
                  <a:lnTo>
                    <a:pt x="64" y="88"/>
                  </a:lnTo>
                  <a:lnTo>
                    <a:pt x="66" y="94"/>
                  </a:lnTo>
                  <a:lnTo>
                    <a:pt x="68" y="100"/>
                  </a:lnTo>
                  <a:lnTo>
                    <a:pt x="70" y="104"/>
                  </a:lnTo>
                  <a:lnTo>
                    <a:pt x="70" y="106"/>
                  </a:lnTo>
                  <a:lnTo>
                    <a:pt x="72" y="110"/>
                  </a:lnTo>
                  <a:lnTo>
                    <a:pt x="72" y="112"/>
                  </a:lnTo>
                  <a:lnTo>
                    <a:pt x="72" y="114"/>
                  </a:lnTo>
                  <a:lnTo>
                    <a:pt x="74" y="114"/>
                  </a:lnTo>
                  <a:lnTo>
                    <a:pt x="74" y="116"/>
                  </a:lnTo>
                  <a:lnTo>
                    <a:pt x="76" y="116"/>
                  </a:lnTo>
                  <a:lnTo>
                    <a:pt x="76" y="116"/>
                  </a:lnTo>
                  <a:lnTo>
                    <a:pt x="78" y="116"/>
                  </a:lnTo>
                  <a:lnTo>
                    <a:pt x="80" y="116"/>
                  </a:lnTo>
                  <a:lnTo>
                    <a:pt x="80" y="116"/>
                  </a:lnTo>
                  <a:lnTo>
                    <a:pt x="82" y="116"/>
                  </a:lnTo>
                  <a:lnTo>
                    <a:pt x="82" y="116"/>
                  </a:lnTo>
                  <a:lnTo>
                    <a:pt x="82" y="118"/>
                  </a:lnTo>
                  <a:lnTo>
                    <a:pt x="84" y="118"/>
                  </a:lnTo>
                  <a:lnTo>
                    <a:pt x="84" y="120"/>
                  </a:lnTo>
                  <a:lnTo>
                    <a:pt x="84" y="122"/>
                  </a:lnTo>
                  <a:lnTo>
                    <a:pt x="84" y="124"/>
                  </a:lnTo>
                  <a:lnTo>
                    <a:pt x="84" y="126"/>
                  </a:lnTo>
                  <a:lnTo>
                    <a:pt x="84" y="130"/>
                  </a:lnTo>
                  <a:lnTo>
                    <a:pt x="84" y="134"/>
                  </a:lnTo>
                  <a:lnTo>
                    <a:pt x="82" y="138"/>
                  </a:lnTo>
                  <a:lnTo>
                    <a:pt x="82" y="140"/>
                  </a:lnTo>
                  <a:lnTo>
                    <a:pt x="84" y="142"/>
                  </a:lnTo>
                  <a:lnTo>
                    <a:pt x="84" y="144"/>
                  </a:lnTo>
                  <a:lnTo>
                    <a:pt x="86" y="146"/>
                  </a:lnTo>
                  <a:lnTo>
                    <a:pt x="88" y="148"/>
                  </a:lnTo>
                  <a:lnTo>
                    <a:pt x="88" y="150"/>
                  </a:lnTo>
                  <a:lnTo>
                    <a:pt x="90" y="150"/>
                  </a:lnTo>
                  <a:lnTo>
                    <a:pt x="90" y="152"/>
                  </a:lnTo>
                  <a:lnTo>
                    <a:pt x="92" y="152"/>
                  </a:lnTo>
                  <a:lnTo>
                    <a:pt x="92" y="152"/>
                  </a:lnTo>
                  <a:lnTo>
                    <a:pt x="94" y="152"/>
                  </a:lnTo>
                  <a:lnTo>
                    <a:pt x="94" y="152"/>
                  </a:lnTo>
                  <a:lnTo>
                    <a:pt x="96" y="150"/>
                  </a:lnTo>
                  <a:lnTo>
                    <a:pt x="96" y="150"/>
                  </a:lnTo>
                  <a:lnTo>
                    <a:pt x="98" y="148"/>
                  </a:lnTo>
                  <a:lnTo>
                    <a:pt x="102" y="146"/>
                  </a:lnTo>
                  <a:lnTo>
                    <a:pt x="104" y="144"/>
                  </a:lnTo>
                  <a:lnTo>
                    <a:pt x="106" y="142"/>
                  </a:lnTo>
                  <a:lnTo>
                    <a:pt x="108" y="140"/>
                  </a:lnTo>
                  <a:lnTo>
                    <a:pt x="108" y="136"/>
                  </a:lnTo>
                  <a:lnTo>
                    <a:pt x="108" y="132"/>
                  </a:lnTo>
                  <a:lnTo>
                    <a:pt x="108" y="128"/>
                  </a:lnTo>
                  <a:lnTo>
                    <a:pt x="108" y="124"/>
                  </a:lnTo>
                  <a:lnTo>
                    <a:pt x="108" y="118"/>
                  </a:lnTo>
                  <a:lnTo>
                    <a:pt x="108" y="116"/>
                  </a:lnTo>
                  <a:lnTo>
                    <a:pt x="108" y="114"/>
                  </a:lnTo>
                  <a:lnTo>
                    <a:pt x="108" y="112"/>
                  </a:lnTo>
                  <a:lnTo>
                    <a:pt x="108" y="112"/>
                  </a:lnTo>
                  <a:lnTo>
                    <a:pt x="106" y="110"/>
                  </a:lnTo>
                  <a:lnTo>
                    <a:pt x="106" y="110"/>
                  </a:lnTo>
                  <a:lnTo>
                    <a:pt x="104" y="108"/>
                  </a:lnTo>
                  <a:lnTo>
                    <a:pt x="104" y="108"/>
                  </a:lnTo>
                  <a:lnTo>
                    <a:pt x="102" y="106"/>
                  </a:lnTo>
                  <a:lnTo>
                    <a:pt x="98" y="104"/>
                  </a:lnTo>
                  <a:lnTo>
                    <a:pt x="96" y="104"/>
                  </a:lnTo>
                  <a:lnTo>
                    <a:pt x="94" y="102"/>
                  </a:lnTo>
                  <a:lnTo>
                    <a:pt x="94" y="102"/>
                  </a:lnTo>
                  <a:lnTo>
                    <a:pt x="92" y="100"/>
                  </a:lnTo>
                  <a:lnTo>
                    <a:pt x="88" y="96"/>
                  </a:lnTo>
                  <a:lnTo>
                    <a:pt x="86" y="92"/>
                  </a:lnTo>
                  <a:lnTo>
                    <a:pt x="84" y="86"/>
                  </a:lnTo>
                  <a:lnTo>
                    <a:pt x="78" y="78"/>
                  </a:lnTo>
                  <a:lnTo>
                    <a:pt x="74" y="74"/>
                  </a:lnTo>
                  <a:lnTo>
                    <a:pt x="72" y="70"/>
                  </a:lnTo>
                  <a:lnTo>
                    <a:pt x="72" y="68"/>
                  </a:lnTo>
                  <a:lnTo>
                    <a:pt x="70" y="68"/>
                  </a:lnTo>
                  <a:lnTo>
                    <a:pt x="66" y="64"/>
                  </a:lnTo>
                  <a:lnTo>
                    <a:pt x="66" y="64"/>
                  </a:lnTo>
                  <a:lnTo>
                    <a:pt x="64" y="62"/>
                  </a:lnTo>
                  <a:lnTo>
                    <a:pt x="62" y="60"/>
                  </a:lnTo>
                  <a:lnTo>
                    <a:pt x="62" y="60"/>
                  </a:lnTo>
                  <a:lnTo>
                    <a:pt x="62" y="58"/>
                  </a:lnTo>
                  <a:lnTo>
                    <a:pt x="62" y="58"/>
                  </a:lnTo>
                  <a:lnTo>
                    <a:pt x="62" y="56"/>
                  </a:lnTo>
                  <a:lnTo>
                    <a:pt x="62" y="54"/>
                  </a:lnTo>
                  <a:lnTo>
                    <a:pt x="62" y="52"/>
                  </a:lnTo>
                  <a:lnTo>
                    <a:pt x="64" y="50"/>
                  </a:lnTo>
                  <a:lnTo>
                    <a:pt x="66" y="46"/>
                  </a:lnTo>
                  <a:lnTo>
                    <a:pt x="66" y="44"/>
                  </a:lnTo>
                  <a:lnTo>
                    <a:pt x="66" y="42"/>
                  </a:lnTo>
                  <a:lnTo>
                    <a:pt x="66" y="40"/>
                  </a:lnTo>
                  <a:lnTo>
                    <a:pt x="66" y="38"/>
                  </a:lnTo>
                  <a:lnTo>
                    <a:pt x="64" y="36"/>
                  </a:lnTo>
                  <a:lnTo>
                    <a:pt x="64" y="34"/>
                  </a:lnTo>
                  <a:lnTo>
                    <a:pt x="64" y="34"/>
                  </a:lnTo>
                  <a:lnTo>
                    <a:pt x="64" y="32"/>
                  </a:lnTo>
                  <a:lnTo>
                    <a:pt x="62" y="32"/>
                  </a:lnTo>
                  <a:lnTo>
                    <a:pt x="62" y="30"/>
                  </a:lnTo>
                  <a:lnTo>
                    <a:pt x="60" y="30"/>
                  </a:lnTo>
                  <a:lnTo>
                    <a:pt x="58" y="30"/>
                  </a:lnTo>
                  <a:lnTo>
                    <a:pt x="54" y="28"/>
                  </a:lnTo>
                  <a:lnTo>
                    <a:pt x="50" y="28"/>
                  </a:lnTo>
                  <a:lnTo>
                    <a:pt x="48" y="28"/>
                  </a:lnTo>
                  <a:lnTo>
                    <a:pt x="44" y="26"/>
                  </a:lnTo>
                  <a:lnTo>
                    <a:pt x="42" y="26"/>
                  </a:lnTo>
                  <a:lnTo>
                    <a:pt x="40" y="24"/>
                  </a:lnTo>
                  <a:lnTo>
                    <a:pt x="40" y="24"/>
                  </a:lnTo>
                  <a:lnTo>
                    <a:pt x="38" y="24"/>
                  </a:lnTo>
                  <a:lnTo>
                    <a:pt x="38" y="22"/>
                  </a:lnTo>
                  <a:lnTo>
                    <a:pt x="36" y="22"/>
                  </a:lnTo>
                  <a:lnTo>
                    <a:pt x="36" y="20"/>
                  </a:lnTo>
                  <a:lnTo>
                    <a:pt x="36" y="18"/>
                  </a:lnTo>
                  <a:lnTo>
                    <a:pt x="34" y="14"/>
                  </a:lnTo>
                  <a:lnTo>
                    <a:pt x="32" y="10"/>
                  </a:lnTo>
                  <a:lnTo>
                    <a:pt x="32" y="6"/>
                  </a:lnTo>
                  <a:lnTo>
                    <a:pt x="30" y="4"/>
                  </a:lnTo>
                  <a:lnTo>
                    <a:pt x="30" y="0"/>
                  </a:lnTo>
                  <a:lnTo>
                    <a:pt x="28" y="2"/>
                  </a:lnTo>
                  <a:lnTo>
                    <a:pt x="24" y="2"/>
                  </a:lnTo>
                  <a:lnTo>
                    <a:pt x="22" y="2"/>
                  </a:lnTo>
                  <a:lnTo>
                    <a:pt x="20" y="4"/>
                  </a:lnTo>
                  <a:lnTo>
                    <a:pt x="20" y="4"/>
                  </a:lnTo>
                  <a:lnTo>
                    <a:pt x="18" y="6"/>
                  </a:lnTo>
                  <a:lnTo>
                    <a:pt x="18" y="6"/>
                  </a:lnTo>
                  <a:lnTo>
                    <a:pt x="18" y="6"/>
                  </a:lnTo>
                  <a:lnTo>
                    <a:pt x="18" y="8"/>
                  </a:lnTo>
                  <a:lnTo>
                    <a:pt x="18" y="8"/>
                  </a:lnTo>
                  <a:lnTo>
                    <a:pt x="18" y="10"/>
                  </a:lnTo>
                  <a:lnTo>
                    <a:pt x="18" y="12"/>
                  </a:lnTo>
                  <a:lnTo>
                    <a:pt x="20" y="14"/>
                  </a:lnTo>
                  <a:lnTo>
                    <a:pt x="20" y="16"/>
                  </a:lnTo>
                  <a:lnTo>
                    <a:pt x="22" y="18"/>
                  </a:lnTo>
                  <a:lnTo>
                    <a:pt x="22" y="18"/>
                  </a:lnTo>
                  <a:lnTo>
                    <a:pt x="22" y="20"/>
                  </a:lnTo>
                  <a:lnTo>
                    <a:pt x="22" y="20"/>
                  </a:lnTo>
                  <a:lnTo>
                    <a:pt x="20" y="20"/>
                  </a:lnTo>
                  <a:lnTo>
                    <a:pt x="20" y="22"/>
                  </a:lnTo>
                  <a:lnTo>
                    <a:pt x="20" y="22"/>
                  </a:lnTo>
                  <a:lnTo>
                    <a:pt x="18" y="22"/>
                  </a:lnTo>
                  <a:lnTo>
                    <a:pt x="16" y="22"/>
                  </a:lnTo>
                  <a:lnTo>
                    <a:pt x="14" y="24"/>
                  </a:lnTo>
                  <a:lnTo>
                    <a:pt x="14" y="24"/>
                  </a:lnTo>
                  <a:lnTo>
                    <a:pt x="10" y="24"/>
                  </a:lnTo>
                  <a:lnTo>
                    <a:pt x="6" y="24"/>
                  </a:lnTo>
                  <a:lnTo>
                    <a:pt x="4" y="24"/>
                  </a:lnTo>
                  <a:lnTo>
                    <a:pt x="0" y="2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 name="Freeform 72">
              <a:extLst>
                <a:ext uri="{FF2B5EF4-FFF2-40B4-BE49-F238E27FC236}">
                  <a16:creationId xmlns:a16="http://schemas.microsoft.com/office/drawing/2014/main" id="{694DE233-D41C-487B-AD69-0869085C6193}"/>
                </a:ext>
              </a:extLst>
            </p:cNvPr>
            <p:cNvSpPr>
              <a:spLocks/>
            </p:cNvSpPr>
            <p:nvPr/>
          </p:nvSpPr>
          <p:spPr bwMode="auto">
            <a:xfrm>
              <a:off x="6759936" y="3988022"/>
              <a:ext cx="187064" cy="263275"/>
            </a:xfrm>
            <a:custGeom>
              <a:avLst/>
              <a:gdLst>
                <a:gd name="T0" fmla="*/ 4 w 108"/>
                <a:gd name="T1" fmla="*/ 36 h 152"/>
                <a:gd name="T2" fmla="*/ 6 w 108"/>
                <a:gd name="T3" fmla="*/ 48 h 152"/>
                <a:gd name="T4" fmla="*/ 8 w 108"/>
                <a:gd name="T5" fmla="*/ 52 h 152"/>
                <a:gd name="T6" fmla="*/ 16 w 108"/>
                <a:gd name="T7" fmla="*/ 58 h 152"/>
                <a:gd name="T8" fmla="*/ 24 w 108"/>
                <a:gd name="T9" fmla="*/ 62 h 152"/>
                <a:gd name="T10" fmla="*/ 28 w 108"/>
                <a:gd name="T11" fmla="*/ 66 h 152"/>
                <a:gd name="T12" fmla="*/ 36 w 108"/>
                <a:gd name="T13" fmla="*/ 78 h 152"/>
                <a:gd name="T14" fmla="*/ 40 w 108"/>
                <a:gd name="T15" fmla="*/ 82 h 152"/>
                <a:gd name="T16" fmla="*/ 42 w 108"/>
                <a:gd name="T17" fmla="*/ 80 h 152"/>
                <a:gd name="T18" fmla="*/ 48 w 108"/>
                <a:gd name="T19" fmla="*/ 72 h 152"/>
                <a:gd name="T20" fmla="*/ 50 w 108"/>
                <a:gd name="T21" fmla="*/ 72 h 152"/>
                <a:gd name="T22" fmla="*/ 54 w 108"/>
                <a:gd name="T23" fmla="*/ 72 h 152"/>
                <a:gd name="T24" fmla="*/ 60 w 108"/>
                <a:gd name="T25" fmla="*/ 80 h 152"/>
                <a:gd name="T26" fmla="*/ 66 w 108"/>
                <a:gd name="T27" fmla="*/ 94 h 152"/>
                <a:gd name="T28" fmla="*/ 72 w 108"/>
                <a:gd name="T29" fmla="*/ 110 h 152"/>
                <a:gd name="T30" fmla="*/ 74 w 108"/>
                <a:gd name="T31" fmla="*/ 116 h 152"/>
                <a:gd name="T32" fmla="*/ 80 w 108"/>
                <a:gd name="T33" fmla="*/ 116 h 152"/>
                <a:gd name="T34" fmla="*/ 82 w 108"/>
                <a:gd name="T35" fmla="*/ 118 h 152"/>
                <a:gd name="T36" fmla="*/ 84 w 108"/>
                <a:gd name="T37" fmla="*/ 124 h 152"/>
                <a:gd name="T38" fmla="*/ 82 w 108"/>
                <a:gd name="T39" fmla="*/ 138 h 152"/>
                <a:gd name="T40" fmla="*/ 86 w 108"/>
                <a:gd name="T41" fmla="*/ 146 h 152"/>
                <a:gd name="T42" fmla="*/ 90 w 108"/>
                <a:gd name="T43" fmla="*/ 152 h 152"/>
                <a:gd name="T44" fmla="*/ 94 w 108"/>
                <a:gd name="T45" fmla="*/ 152 h 152"/>
                <a:gd name="T46" fmla="*/ 102 w 108"/>
                <a:gd name="T47" fmla="*/ 146 h 152"/>
                <a:gd name="T48" fmla="*/ 108 w 108"/>
                <a:gd name="T49" fmla="*/ 136 h 152"/>
                <a:gd name="T50" fmla="*/ 108 w 108"/>
                <a:gd name="T51" fmla="*/ 118 h 152"/>
                <a:gd name="T52" fmla="*/ 108 w 108"/>
                <a:gd name="T53" fmla="*/ 112 h 152"/>
                <a:gd name="T54" fmla="*/ 104 w 108"/>
                <a:gd name="T55" fmla="*/ 108 h 152"/>
                <a:gd name="T56" fmla="*/ 94 w 108"/>
                <a:gd name="T57" fmla="*/ 102 h 152"/>
                <a:gd name="T58" fmla="*/ 86 w 108"/>
                <a:gd name="T59" fmla="*/ 92 h 152"/>
                <a:gd name="T60" fmla="*/ 72 w 108"/>
                <a:gd name="T61" fmla="*/ 70 h 152"/>
                <a:gd name="T62" fmla="*/ 66 w 108"/>
                <a:gd name="T63" fmla="*/ 64 h 152"/>
                <a:gd name="T64" fmla="*/ 62 w 108"/>
                <a:gd name="T65" fmla="*/ 58 h 152"/>
                <a:gd name="T66" fmla="*/ 62 w 108"/>
                <a:gd name="T67" fmla="*/ 52 h 152"/>
                <a:gd name="T68" fmla="*/ 66 w 108"/>
                <a:gd name="T69" fmla="*/ 42 h 152"/>
                <a:gd name="T70" fmla="*/ 64 w 108"/>
                <a:gd name="T71" fmla="*/ 34 h 152"/>
                <a:gd name="T72" fmla="*/ 62 w 108"/>
                <a:gd name="T73" fmla="*/ 30 h 152"/>
                <a:gd name="T74" fmla="*/ 50 w 108"/>
                <a:gd name="T75" fmla="*/ 28 h 152"/>
                <a:gd name="T76" fmla="*/ 40 w 108"/>
                <a:gd name="T77" fmla="*/ 24 h 152"/>
                <a:gd name="T78" fmla="*/ 36 w 108"/>
                <a:gd name="T79" fmla="*/ 22 h 152"/>
                <a:gd name="T80" fmla="*/ 32 w 108"/>
                <a:gd name="T81" fmla="*/ 10 h 152"/>
                <a:gd name="T82" fmla="*/ 28 w 108"/>
                <a:gd name="T83" fmla="*/ 2 h 152"/>
                <a:gd name="T84" fmla="*/ 20 w 108"/>
                <a:gd name="T85" fmla="*/ 4 h 152"/>
                <a:gd name="T86" fmla="*/ 18 w 108"/>
                <a:gd name="T87" fmla="*/ 8 h 152"/>
                <a:gd name="T88" fmla="*/ 20 w 108"/>
                <a:gd name="T89" fmla="*/ 14 h 152"/>
                <a:gd name="T90" fmla="*/ 22 w 108"/>
                <a:gd name="T91" fmla="*/ 20 h 152"/>
                <a:gd name="T92" fmla="*/ 20 w 108"/>
                <a:gd name="T93" fmla="*/ 22 h 152"/>
                <a:gd name="T94" fmla="*/ 14 w 108"/>
                <a:gd name="T95" fmla="*/ 24 h 152"/>
                <a:gd name="T96" fmla="*/ 0 w 108"/>
                <a:gd name="T97" fmla="*/ 2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152">
                  <a:moveTo>
                    <a:pt x="0" y="24"/>
                  </a:moveTo>
                  <a:lnTo>
                    <a:pt x="0" y="24"/>
                  </a:lnTo>
                  <a:lnTo>
                    <a:pt x="2" y="28"/>
                  </a:lnTo>
                  <a:lnTo>
                    <a:pt x="4" y="36"/>
                  </a:lnTo>
                  <a:lnTo>
                    <a:pt x="4" y="40"/>
                  </a:lnTo>
                  <a:lnTo>
                    <a:pt x="4" y="44"/>
                  </a:lnTo>
                  <a:lnTo>
                    <a:pt x="6" y="46"/>
                  </a:lnTo>
                  <a:lnTo>
                    <a:pt x="6" y="48"/>
                  </a:lnTo>
                  <a:lnTo>
                    <a:pt x="6" y="50"/>
                  </a:lnTo>
                  <a:lnTo>
                    <a:pt x="8" y="52"/>
                  </a:lnTo>
                  <a:lnTo>
                    <a:pt x="8" y="52"/>
                  </a:lnTo>
                  <a:lnTo>
                    <a:pt x="8" y="52"/>
                  </a:lnTo>
                  <a:lnTo>
                    <a:pt x="10" y="54"/>
                  </a:lnTo>
                  <a:lnTo>
                    <a:pt x="12" y="56"/>
                  </a:lnTo>
                  <a:lnTo>
                    <a:pt x="14" y="58"/>
                  </a:lnTo>
                  <a:lnTo>
                    <a:pt x="16" y="58"/>
                  </a:lnTo>
                  <a:lnTo>
                    <a:pt x="16" y="58"/>
                  </a:lnTo>
                  <a:lnTo>
                    <a:pt x="20" y="60"/>
                  </a:lnTo>
                  <a:lnTo>
                    <a:pt x="22" y="62"/>
                  </a:lnTo>
                  <a:lnTo>
                    <a:pt x="24" y="62"/>
                  </a:lnTo>
                  <a:lnTo>
                    <a:pt x="24" y="62"/>
                  </a:lnTo>
                  <a:lnTo>
                    <a:pt x="26" y="64"/>
                  </a:lnTo>
                  <a:lnTo>
                    <a:pt x="26" y="64"/>
                  </a:lnTo>
                  <a:lnTo>
                    <a:pt x="28" y="66"/>
                  </a:lnTo>
                  <a:lnTo>
                    <a:pt x="32" y="74"/>
                  </a:lnTo>
                  <a:lnTo>
                    <a:pt x="34" y="76"/>
                  </a:lnTo>
                  <a:lnTo>
                    <a:pt x="34" y="78"/>
                  </a:lnTo>
                  <a:lnTo>
                    <a:pt x="36" y="78"/>
                  </a:lnTo>
                  <a:lnTo>
                    <a:pt x="36" y="80"/>
                  </a:lnTo>
                  <a:lnTo>
                    <a:pt x="38" y="80"/>
                  </a:lnTo>
                  <a:lnTo>
                    <a:pt x="38" y="82"/>
                  </a:lnTo>
                  <a:lnTo>
                    <a:pt x="40" y="82"/>
                  </a:lnTo>
                  <a:lnTo>
                    <a:pt x="40" y="82"/>
                  </a:lnTo>
                  <a:lnTo>
                    <a:pt x="40" y="80"/>
                  </a:lnTo>
                  <a:lnTo>
                    <a:pt x="42" y="80"/>
                  </a:lnTo>
                  <a:lnTo>
                    <a:pt x="42" y="80"/>
                  </a:lnTo>
                  <a:lnTo>
                    <a:pt x="44" y="78"/>
                  </a:lnTo>
                  <a:lnTo>
                    <a:pt x="46" y="76"/>
                  </a:lnTo>
                  <a:lnTo>
                    <a:pt x="46" y="74"/>
                  </a:lnTo>
                  <a:lnTo>
                    <a:pt x="48" y="72"/>
                  </a:lnTo>
                  <a:lnTo>
                    <a:pt x="48" y="72"/>
                  </a:lnTo>
                  <a:lnTo>
                    <a:pt x="50" y="72"/>
                  </a:lnTo>
                  <a:lnTo>
                    <a:pt x="50" y="72"/>
                  </a:lnTo>
                  <a:lnTo>
                    <a:pt x="50" y="72"/>
                  </a:lnTo>
                  <a:lnTo>
                    <a:pt x="52" y="72"/>
                  </a:lnTo>
                  <a:lnTo>
                    <a:pt x="52" y="72"/>
                  </a:lnTo>
                  <a:lnTo>
                    <a:pt x="54" y="72"/>
                  </a:lnTo>
                  <a:lnTo>
                    <a:pt x="54" y="72"/>
                  </a:lnTo>
                  <a:lnTo>
                    <a:pt x="56" y="74"/>
                  </a:lnTo>
                  <a:lnTo>
                    <a:pt x="58" y="76"/>
                  </a:lnTo>
                  <a:lnTo>
                    <a:pt x="58" y="78"/>
                  </a:lnTo>
                  <a:lnTo>
                    <a:pt x="60" y="80"/>
                  </a:lnTo>
                  <a:lnTo>
                    <a:pt x="62" y="84"/>
                  </a:lnTo>
                  <a:lnTo>
                    <a:pt x="64" y="86"/>
                  </a:lnTo>
                  <a:lnTo>
                    <a:pt x="64" y="88"/>
                  </a:lnTo>
                  <a:lnTo>
                    <a:pt x="66" y="94"/>
                  </a:lnTo>
                  <a:lnTo>
                    <a:pt x="68" y="100"/>
                  </a:lnTo>
                  <a:lnTo>
                    <a:pt x="70" y="104"/>
                  </a:lnTo>
                  <a:lnTo>
                    <a:pt x="70" y="106"/>
                  </a:lnTo>
                  <a:lnTo>
                    <a:pt x="72" y="110"/>
                  </a:lnTo>
                  <a:lnTo>
                    <a:pt x="72" y="112"/>
                  </a:lnTo>
                  <a:lnTo>
                    <a:pt x="72" y="114"/>
                  </a:lnTo>
                  <a:lnTo>
                    <a:pt x="74" y="114"/>
                  </a:lnTo>
                  <a:lnTo>
                    <a:pt x="74" y="116"/>
                  </a:lnTo>
                  <a:lnTo>
                    <a:pt x="76" y="116"/>
                  </a:lnTo>
                  <a:lnTo>
                    <a:pt x="76" y="116"/>
                  </a:lnTo>
                  <a:lnTo>
                    <a:pt x="78" y="116"/>
                  </a:lnTo>
                  <a:lnTo>
                    <a:pt x="80" y="116"/>
                  </a:lnTo>
                  <a:lnTo>
                    <a:pt x="80" y="116"/>
                  </a:lnTo>
                  <a:lnTo>
                    <a:pt x="82" y="116"/>
                  </a:lnTo>
                  <a:lnTo>
                    <a:pt x="82" y="116"/>
                  </a:lnTo>
                  <a:lnTo>
                    <a:pt x="82" y="118"/>
                  </a:lnTo>
                  <a:lnTo>
                    <a:pt x="84" y="118"/>
                  </a:lnTo>
                  <a:lnTo>
                    <a:pt x="84" y="120"/>
                  </a:lnTo>
                  <a:lnTo>
                    <a:pt x="84" y="122"/>
                  </a:lnTo>
                  <a:lnTo>
                    <a:pt x="84" y="124"/>
                  </a:lnTo>
                  <a:lnTo>
                    <a:pt x="84" y="126"/>
                  </a:lnTo>
                  <a:lnTo>
                    <a:pt x="84" y="130"/>
                  </a:lnTo>
                  <a:lnTo>
                    <a:pt x="84" y="134"/>
                  </a:lnTo>
                  <a:lnTo>
                    <a:pt x="82" y="138"/>
                  </a:lnTo>
                  <a:lnTo>
                    <a:pt x="82" y="140"/>
                  </a:lnTo>
                  <a:lnTo>
                    <a:pt x="84" y="142"/>
                  </a:lnTo>
                  <a:lnTo>
                    <a:pt x="84" y="144"/>
                  </a:lnTo>
                  <a:lnTo>
                    <a:pt x="86" y="146"/>
                  </a:lnTo>
                  <a:lnTo>
                    <a:pt x="88" y="148"/>
                  </a:lnTo>
                  <a:lnTo>
                    <a:pt x="88" y="150"/>
                  </a:lnTo>
                  <a:lnTo>
                    <a:pt x="90" y="150"/>
                  </a:lnTo>
                  <a:lnTo>
                    <a:pt x="90" y="152"/>
                  </a:lnTo>
                  <a:lnTo>
                    <a:pt x="92" y="152"/>
                  </a:lnTo>
                  <a:lnTo>
                    <a:pt x="92" y="152"/>
                  </a:lnTo>
                  <a:lnTo>
                    <a:pt x="94" y="152"/>
                  </a:lnTo>
                  <a:lnTo>
                    <a:pt x="94" y="152"/>
                  </a:lnTo>
                  <a:lnTo>
                    <a:pt x="96" y="150"/>
                  </a:lnTo>
                  <a:lnTo>
                    <a:pt x="96" y="150"/>
                  </a:lnTo>
                  <a:lnTo>
                    <a:pt x="98" y="148"/>
                  </a:lnTo>
                  <a:lnTo>
                    <a:pt x="102" y="146"/>
                  </a:lnTo>
                  <a:lnTo>
                    <a:pt x="104" y="144"/>
                  </a:lnTo>
                  <a:lnTo>
                    <a:pt x="106" y="142"/>
                  </a:lnTo>
                  <a:lnTo>
                    <a:pt x="108" y="140"/>
                  </a:lnTo>
                  <a:lnTo>
                    <a:pt x="108" y="136"/>
                  </a:lnTo>
                  <a:lnTo>
                    <a:pt x="108" y="132"/>
                  </a:lnTo>
                  <a:lnTo>
                    <a:pt x="108" y="128"/>
                  </a:lnTo>
                  <a:lnTo>
                    <a:pt x="108" y="124"/>
                  </a:lnTo>
                  <a:lnTo>
                    <a:pt x="108" y="118"/>
                  </a:lnTo>
                  <a:lnTo>
                    <a:pt x="108" y="116"/>
                  </a:lnTo>
                  <a:lnTo>
                    <a:pt x="108" y="114"/>
                  </a:lnTo>
                  <a:lnTo>
                    <a:pt x="108" y="112"/>
                  </a:lnTo>
                  <a:lnTo>
                    <a:pt x="108" y="112"/>
                  </a:lnTo>
                  <a:lnTo>
                    <a:pt x="106" y="110"/>
                  </a:lnTo>
                  <a:lnTo>
                    <a:pt x="106" y="110"/>
                  </a:lnTo>
                  <a:lnTo>
                    <a:pt x="104" y="108"/>
                  </a:lnTo>
                  <a:lnTo>
                    <a:pt x="104" y="108"/>
                  </a:lnTo>
                  <a:lnTo>
                    <a:pt x="102" y="106"/>
                  </a:lnTo>
                  <a:lnTo>
                    <a:pt x="98" y="104"/>
                  </a:lnTo>
                  <a:lnTo>
                    <a:pt x="96" y="104"/>
                  </a:lnTo>
                  <a:lnTo>
                    <a:pt x="94" y="102"/>
                  </a:lnTo>
                  <a:lnTo>
                    <a:pt x="94" y="102"/>
                  </a:lnTo>
                  <a:lnTo>
                    <a:pt x="92" y="100"/>
                  </a:lnTo>
                  <a:lnTo>
                    <a:pt x="88" y="96"/>
                  </a:lnTo>
                  <a:lnTo>
                    <a:pt x="86" y="92"/>
                  </a:lnTo>
                  <a:lnTo>
                    <a:pt x="84" y="86"/>
                  </a:lnTo>
                  <a:lnTo>
                    <a:pt x="78" y="78"/>
                  </a:lnTo>
                  <a:lnTo>
                    <a:pt x="74" y="74"/>
                  </a:lnTo>
                  <a:lnTo>
                    <a:pt x="72" y="70"/>
                  </a:lnTo>
                  <a:lnTo>
                    <a:pt x="72" y="68"/>
                  </a:lnTo>
                  <a:lnTo>
                    <a:pt x="70" y="68"/>
                  </a:lnTo>
                  <a:lnTo>
                    <a:pt x="66" y="64"/>
                  </a:lnTo>
                  <a:lnTo>
                    <a:pt x="66" y="64"/>
                  </a:lnTo>
                  <a:lnTo>
                    <a:pt x="64" y="62"/>
                  </a:lnTo>
                  <a:lnTo>
                    <a:pt x="62" y="60"/>
                  </a:lnTo>
                  <a:lnTo>
                    <a:pt x="62" y="60"/>
                  </a:lnTo>
                  <a:lnTo>
                    <a:pt x="62" y="58"/>
                  </a:lnTo>
                  <a:lnTo>
                    <a:pt x="62" y="58"/>
                  </a:lnTo>
                  <a:lnTo>
                    <a:pt x="62" y="56"/>
                  </a:lnTo>
                  <a:lnTo>
                    <a:pt x="62" y="54"/>
                  </a:lnTo>
                  <a:lnTo>
                    <a:pt x="62" y="52"/>
                  </a:lnTo>
                  <a:lnTo>
                    <a:pt x="64" y="50"/>
                  </a:lnTo>
                  <a:lnTo>
                    <a:pt x="66" y="46"/>
                  </a:lnTo>
                  <a:lnTo>
                    <a:pt x="66" y="44"/>
                  </a:lnTo>
                  <a:lnTo>
                    <a:pt x="66" y="42"/>
                  </a:lnTo>
                  <a:lnTo>
                    <a:pt x="66" y="40"/>
                  </a:lnTo>
                  <a:lnTo>
                    <a:pt x="66" y="38"/>
                  </a:lnTo>
                  <a:lnTo>
                    <a:pt x="64" y="36"/>
                  </a:lnTo>
                  <a:lnTo>
                    <a:pt x="64" y="34"/>
                  </a:lnTo>
                  <a:lnTo>
                    <a:pt x="64" y="34"/>
                  </a:lnTo>
                  <a:lnTo>
                    <a:pt x="64" y="32"/>
                  </a:lnTo>
                  <a:lnTo>
                    <a:pt x="62" y="32"/>
                  </a:lnTo>
                  <a:lnTo>
                    <a:pt x="62" y="30"/>
                  </a:lnTo>
                  <a:lnTo>
                    <a:pt x="60" y="30"/>
                  </a:lnTo>
                  <a:lnTo>
                    <a:pt x="58" y="30"/>
                  </a:lnTo>
                  <a:lnTo>
                    <a:pt x="54" y="28"/>
                  </a:lnTo>
                  <a:lnTo>
                    <a:pt x="50" y="28"/>
                  </a:lnTo>
                  <a:lnTo>
                    <a:pt x="48" y="28"/>
                  </a:lnTo>
                  <a:lnTo>
                    <a:pt x="44" y="26"/>
                  </a:lnTo>
                  <a:lnTo>
                    <a:pt x="42" y="26"/>
                  </a:lnTo>
                  <a:lnTo>
                    <a:pt x="40" y="24"/>
                  </a:lnTo>
                  <a:lnTo>
                    <a:pt x="40" y="24"/>
                  </a:lnTo>
                  <a:lnTo>
                    <a:pt x="38" y="24"/>
                  </a:lnTo>
                  <a:lnTo>
                    <a:pt x="38" y="22"/>
                  </a:lnTo>
                  <a:lnTo>
                    <a:pt x="36" y="22"/>
                  </a:lnTo>
                  <a:lnTo>
                    <a:pt x="36" y="20"/>
                  </a:lnTo>
                  <a:lnTo>
                    <a:pt x="36" y="18"/>
                  </a:lnTo>
                  <a:lnTo>
                    <a:pt x="34" y="14"/>
                  </a:lnTo>
                  <a:lnTo>
                    <a:pt x="32" y="10"/>
                  </a:lnTo>
                  <a:lnTo>
                    <a:pt x="32" y="6"/>
                  </a:lnTo>
                  <a:lnTo>
                    <a:pt x="30" y="4"/>
                  </a:lnTo>
                  <a:lnTo>
                    <a:pt x="30" y="0"/>
                  </a:lnTo>
                  <a:lnTo>
                    <a:pt x="28" y="2"/>
                  </a:lnTo>
                  <a:lnTo>
                    <a:pt x="24" y="2"/>
                  </a:lnTo>
                  <a:lnTo>
                    <a:pt x="22" y="2"/>
                  </a:lnTo>
                  <a:lnTo>
                    <a:pt x="20" y="4"/>
                  </a:lnTo>
                  <a:lnTo>
                    <a:pt x="20" y="4"/>
                  </a:lnTo>
                  <a:lnTo>
                    <a:pt x="18" y="6"/>
                  </a:lnTo>
                  <a:lnTo>
                    <a:pt x="18" y="6"/>
                  </a:lnTo>
                  <a:lnTo>
                    <a:pt x="18" y="6"/>
                  </a:lnTo>
                  <a:lnTo>
                    <a:pt x="18" y="8"/>
                  </a:lnTo>
                  <a:lnTo>
                    <a:pt x="18" y="8"/>
                  </a:lnTo>
                  <a:lnTo>
                    <a:pt x="18" y="10"/>
                  </a:lnTo>
                  <a:lnTo>
                    <a:pt x="18" y="12"/>
                  </a:lnTo>
                  <a:lnTo>
                    <a:pt x="20" y="14"/>
                  </a:lnTo>
                  <a:lnTo>
                    <a:pt x="20" y="16"/>
                  </a:lnTo>
                  <a:lnTo>
                    <a:pt x="22" y="18"/>
                  </a:lnTo>
                  <a:lnTo>
                    <a:pt x="22" y="18"/>
                  </a:lnTo>
                  <a:lnTo>
                    <a:pt x="22" y="20"/>
                  </a:lnTo>
                  <a:lnTo>
                    <a:pt x="22" y="20"/>
                  </a:lnTo>
                  <a:lnTo>
                    <a:pt x="20" y="20"/>
                  </a:lnTo>
                  <a:lnTo>
                    <a:pt x="20" y="22"/>
                  </a:lnTo>
                  <a:lnTo>
                    <a:pt x="20" y="22"/>
                  </a:lnTo>
                  <a:lnTo>
                    <a:pt x="18" y="22"/>
                  </a:lnTo>
                  <a:lnTo>
                    <a:pt x="16" y="22"/>
                  </a:lnTo>
                  <a:lnTo>
                    <a:pt x="14" y="24"/>
                  </a:lnTo>
                  <a:lnTo>
                    <a:pt x="14" y="24"/>
                  </a:lnTo>
                  <a:lnTo>
                    <a:pt x="10" y="24"/>
                  </a:lnTo>
                  <a:lnTo>
                    <a:pt x="6" y="24"/>
                  </a:lnTo>
                  <a:lnTo>
                    <a:pt x="4" y="24"/>
                  </a:lnTo>
                  <a:lnTo>
                    <a:pt x="0" y="2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 name="Freeform 73">
              <a:extLst>
                <a:ext uri="{FF2B5EF4-FFF2-40B4-BE49-F238E27FC236}">
                  <a16:creationId xmlns:a16="http://schemas.microsoft.com/office/drawing/2014/main" id="{FEA05181-7901-4E47-BD11-A21FF763FC20}"/>
                </a:ext>
              </a:extLst>
            </p:cNvPr>
            <p:cNvSpPr>
              <a:spLocks/>
            </p:cNvSpPr>
            <p:nvPr/>
          </p:nvSpPr>
          <p:spPr bwMode="auto">
            <a:xfrm>
              <a:off x="6811898" y="3967238"/>
              <a:ext cx="190528" cy="436483"/>
            </a:xfrm>
            <a:custGeom>
              <a:avLst/>
              <a:gdLst>
                <a:gd name="T0" fmla="*/ 0 w 110"/>
                <a:gd name="T1" fmla="*/ 18 h 252"/>
                <a:gd name="T2" fmla="*/ 6 w 110"/>
                <a:gd name="T3" fmla="*/ 32 h 252"/>
                <a:gd name="T4" fmla="*/ 8 w 110"/>
                <a:gd name="T5" fmla="*/ 36 h 252"/>
                <a:gd name="T6" fmla="*/ 16 w 110"/>
                <a:gd name="T7" fmla="*/ 38 h 252"/>
                <a:gd name="T8" fmla="*/ 30 w 110"/>
                <a:gd name="T9" fmla="*/ 42 h 252"/>
                <a:gd name="T10" fmla="*/ 34 w 110"/>
                <a:gd name="T11" fmla="*/ 46 h 252"/>
                <a:gd name="T12" fmla="*/ 36 w 110"/>
                <a:gd name="T13" fmla="*/ 52 h 252"/>
                <a:gd name="T14" fmla="*/ 34 w 110"/>
                <a:gd name="T15" fmla="*/ 62 h 252"/>
                <a:gd name="T16" fmla="*/ 32 w 110"/>
                <a:gd name="T17" fmla="*/ 70 h 252"/>
                <a:gd name="T18" fmla="*/ 34 w 110"/>
                <a:gd name="T19" fmla="*/ 74 h 252"/>
                <a:gd name="T20" fmla="*/ 40 w 110"/>
                <a:gd name="T21" fmla="*/ 80 h 252"/>
                <a:gd name="T22" fmla="*/ 52 w 110"/>
                <a:gd name="T23" fmla="*/ 98 h 252"/>
                <a:gd name="T24" fmla="*/ 62 w 110"/>
                <a:gd name="T25" fmla="*/ 114 h 252"/>
                <a:gd name="T26" fmla="*/ 70 w 110"/>
                <a:gd name="T27" fmla="*/ 118 h 252"/>
                <a:gd name="T28" fmla="*/ 76 w 110"/>
                <a:gd name="T29" fmla="*/ 124 h 252"/>
                <a:gd name="T30" fmla="*/ 78 w 110"/>
                <a:gd name="T31" fmla="*/ 128 h 252"/>
                <a:gd name="T32" fmla="*/ 78 w 110"/>
                <a:gd name="T33" fmla="*/ 146 h 252"/>
                <a:gd name="T34" fmla="*/ 82 w 110"/>
                <a:gd name="T35" fmla="*/ 156 h 252"/>
                <a:gd name="T36" fmla="*/ 84 w 110"/>
                <a:gd name="T37" fmla="*/ 160 h 252"/>
                <a:gd name="T38" fmla="*/ 86 w 110"/>
                <a:gd name="T39" fmla="*/ 176 h 252"/>
                <a:gd name="T40" fmla="*/ 84 w 110"/>
                <a:gd name="T41" fmla="*/ 184 h 252"/>
                <a:gd name="T42" fmla="*/ 82 w 110"/>
                <a:gd name="T43" fmla="*/ 188 h 252"/>
                <a:gd name="T44" fmla="*/ 74 w 110"/>
                <a:gd name="T45" fmla="*/ 194 h 252"/>
                <a:gd name="T46" fmla="*/ 60 w 110"/>
                <a:gd name="T47" fmla="*/ 206 h 252"/>
                <a:gd name="T48" fmla="*/ 48 w 110"/>
                <a:gd name="T49" fmla="*/ 220 h 252"/>
                <a:gd name="T50" fmla="*/ 52 w 110"/>
                <a:gd name="T51" fmla="*/ 226 h 252"/>
                <a:gd name="T52" fmla="*/ 52 w 110"/>
                <a:gd name="T53" fmla="*/ 228 h 252"/>
                <a:gd name="T54" fmla="*/ 48 w 110"/>
                <a:gd name="T55" fmla="*/ 234 h 252"/>
                <a:gd name="T56" fmla="*/ 46 w 110"/>
                <a:gd name="T57" fmla="*/ 238 h 252"/>
                <a:gd name="T58" fmla="*/ 46 w 110"/>
                <a:gd name="T59" fmla="*/ 246 h 252"/>
                <a:gd name="T60" fmla="*/ 50 w 110"/>
                <a:gd name="T61" fmla="*/ 252 h 252"/>
                <a:gd name="T62" fmla="*/ 52 w 110"/>
                <a:gd name="T63" fmla="*/ 252 h 252"/>
                <a:gd name="T64" fmla="*/ 58 w 110"/>
                <a:gd name="T65" fmla="*/ 252 h 252"/>
                <a:gd name="T66" fmla="*/ 64 w 110"/>
                <a:gd name="T67" fmla="*/ 246 h 252"/>
                <a:gd name="T68" fmla="*/ 76 w 110"/>
                <a:gd name="T69" fmla="*/ 234 h 252"/>
                <a:gd name="T70" fmla="*/ 94 w 110"/>
                <a:gd name="T71" fmla="*/ 216 h 252"/>
                <a:gd name="T72" fmla="*/ 102 w 110"/>
                <a:gd name="T73" fmla="*/ 208 h 252"/>
                <a:gd name="T74" fmla="*/ 106 w 110"/>
                <a:gd name="T75" fmla="*/ 202 h 252"/>
                <a:gd name="T76" fmla="*/ 108 w 110"/>
                <a:gd name="T77" fmla="*/ 184 h 252"/>
                <a:gd name="T78" fmla="*/ 110 w 110"/>
                <a:gd name="T79" fmla="*/ 166 h 252"/>
                <a:gd name="T80" fmla="*/ 106 w 110"/>
                <a:gd name="T81" fmla="*/ 148 h 252"/>
                <a:gd name="T82" fmla="*/ 102 w 110"/>
                <a:gd name="T83" fmla="*/ 134 h 252"/>
                <a:gd name="T84" fmla="*/ 98 w 110"/>
                <a:gd name="T85" fmla="*/ 126 h 252"/>
                <a:gd name="T86" fmla="*/ 82 w 110"/>
                <a:gd name="T87" fmla="*/ 112 h 252"/>
                <a:gd name="T88" fmla="*/ 70 w 110"/>
                <a:gd name="T89" fmla="*/ 100 h 252"/>
                <a:gd name="T90" fmla="*/ 58 w 110"/>
                <a:gd name="T91" fmla="*/ 86 h 252"/>
                <a:gd name="T92" fmla="*/ 54 w 110"/>
                <a:gd name="T93" fmla="*/ 78 h 252"/>
                <a:gd name="T94" fmla="*/ 54 w 110"/>
                <a:gd name="T95" fmla="*/ 68 h 252"/>
                <a:gd name="T96" fmla="*/ 56 w 110"/>
                <a:gd name="T97" fmla="*/ 60 h 252"/>
                <a:gd name="T98" fmla="*/ 62 w 110"/>
                <a:gd name="T99" fmla="*/ 54 h 252"/>
                <a:gd name="T100" fmla="*/ 74 w 110"/>
                <a:gd name="T101" fmla="*/ 44 h 252"/>
                <a:gd name="T102" fmla="*/ 72 w 110"/>
                <a:gd name="T103" fmla="*/ 26 h 252"/>
                <a:gd name="T104" fmla="*/ 62 w 110"/>
                <a:gd name="T105" fmla="*/ 10 h 252"/>
                <a:gd name="T106" fmla="*/ 58 w 110"/>
                <a:gd name="T107" fmla="*/ 6 h 252"/>
                <a:gd name="T108" fmla="*/ 46 w 110"/>
                <a:gd name="T109" fmla="*/ 2 h 252"/>
                <a:gd name="T110" fmla="*/ 30 w 110"/>
                <a:gd name="T111" fmla="*/ 0 h 252"/>
                <a:gd name="T112" fmla="*/ 20 w 110"/>
                <a:gd name="T113" fmla="*/ 0 h 252"/>
                <a:gd name="T114" fmla="*/ 8 w 110"/>
                <a:gd name="T115" fmla="*/ 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0" h="252">
                  <a:moveTo>
                    <a:pt x="0" y="12"/>
                  </a:moveTo>
                  <a:lnTo>
                    <a:pt x="0" y="12"/>
                  </a:lnTo>
                  <a:lnTo>
                    <a:pt x="0" y="16"/>
                  </a:lnTo>
                  <a:lnTo>
                    <a:pt x="0" y="18"/>
                  </a:lnTo>
                  <a:lnTo>
                    <a:pt x="2" y="22"/>
                  </a:lnTo>
                  <a:lnTo>
                    <a:pt x="4" y="26"/>
                  </a:lnTo>
                  <a:lnTo>
                    <a:pt x="4" y="30"/>
                  </a:lnTo>
                  <a:lnTo>
                    <a:pt x="6" y="32"/>
                  </a:lnTo>
                  <a:lnTo>
                    <a:pt x="6" y="34"/>
                  </a:lnTo>
                  <a:lnTo>
                    <a:pt x="8" y="34"/>
                  </a:lnTo>
                  <a:lnTo>
                    <a:pt x="8" y="36"/>
                  </a:lnTo>
                  <a:lnTo>
                    <a:pt x="8" y="36"/>
                  </a:lnTo>
                  <a:lnTo>
                    <a:pt x="10" y="36"/>
                  </a:lnTo>
                  <a:lnTo>
                    <a:pt x="12" y="38"/>
                  </a:lnTo>
                  <a:lnTo>
                    <a:pt x="14" y="38"/>
                  </a:lnTo>
                  <a:lnTo>
                    <a:pt x="16" y="38"/>
                  </a:lnTo>
                  <a:lnTo>
                    <a:pt x="20" y="40"/>
                  </a:lnTo>
                  <a:lnTo>
                    <a:pt x="24" y="40"/>
                  </a:lnTo>
                  <a:lnTo>
                    <a:pt x="28" y="42"/>
                  </a:lnTo>
                  <a:lnTo>
                    <a:pt x="30" y="42"/>
                  </a:lnTo>
                  <a:lnTo>
                    <a:pt x="30" y="42"/>
                  </a:lnTo>
                  <a:lnTo>
                    <a:pt x="32" y="44"/>
                  </a:lnTo>
                  <a:lnTo>
                    <a:pt x="32" y="44"/>
                  </a:lnTo>
                  <a:lnTo>
                    <a:pt x="34" y="46"/>
                  </a:lnTo>
                  <a:lnTo>
                    <a:pt x="34" y="46"/>
                  </a:lnTo>
                  <a:lnTo>
                    <a:pt x="34" y="48"/>
                  </a:lnTo>
                  <a:lnTo>
                    <a:pt x="34" y="50"/>
                  </a:lnTo>
                  <a:lnTo>
                    <a:pt x="36" y="52"/>
                  </a:lnTo>
                  <a:lnTo>
                    <a:pt x="36" y="54"/>
                  </a:lnTo>
                  <a:lnTo>
                    <a:pt x="36" y="56"/>
                  </a:lnTo>
                  <a:lnTo>
                    <a:pt x="34" y="58"/>
                  </a:lnTo>
                  <a:lnTo>
                    <a:pt x="34" y="62"/>
                  </a:lnTo>
                  <a:lnTo>
                    <a:pt x="32" y="64"/>
                  </a:lnTo>
                  <a:lnTo>
                    <a:pt x="32" y="68"/>
                  </a:lnTo>
                  <a:lnTo>
                    <a:pt x="32" y="70"/>
                  </a:lnTo>
                  <a:lnTo>
                    <a:pt x="32" y="70"/>
                  </a:lnTo>
                  <a:lnTo>
                    <a:pt x="32" y="70"/>
                  </a:lnTo>
                  <a:lnTo>
                    <a:pt x="32" y="72"/>
                  </a:lnTo>
                  <a:lnTo>
                    <a:pt x="32" y="72"/>
                  </a:lnTo>
                  <a:lnTo>
                    <a:pt x="34" y="74"/>
                  </a:lnTo>
                  <a:lnTo>
                    <a:pt x="34" y="76"/>
                  </a:lnTo>
                  <a:lnTo>
                    <a:pt x="36" y="76"/>
                  </a:lnTo>
                  <a:lnTo>
                    <a:pt x="40" y="80"/>
                  </a:lnTo>
                  <a:lnTo>
                    <a:pt x="40" y="80"/>
                  </a:lnTo>
                  <a:lnTo>
                    <a:pt x="42" y="82"/>
                  </a:lnTo>
                  <a:lnTo>
                    <a:pt x="44" y="86"/>
                  </a:lnTo>
                  <a:lnTo>
                    <a:pt x="46" y="90"/>
                  </a:lnTo>
                  <a:lnTo>
                    <a:pt x="52" y="98"/>
                  </a:lnTo>
                  <a:lnTo>
                    <a:pt x="56" y="104"/>
                  </a:lnTo>
                  <a:lnTo>
                    <a:pt x="58" y="108"/>
                  </a:lnTo>
                  <a:lnTo>
                    <a:pt x="62" y="112"/>
                  </a:lnTo>
                  <a:lnTo>
                    <a:pt x="62" y="114"/>
                  </a:lnTo>
                  <a:lnTo>
                    <a:pt x="64" y="114"/>
                  </a:lnTo>
                  <a:lnTo>
                    <a:pt x="66" y="116"/>
                  </a:lnTo>
                  <a:lnTo>
                    <a:pt x="68" y="118"/>
                  </a:lnTo>
                  <a:lnTo>
                    <a:pt x="70" y="118"/>
                  </a:lnTo>
                  <a:lnTo>
                    <a:pt x="72" y="120"/>
                  </a:lnTo>
                  <a:lnTo>
                    <a:pt x="74" y="122"/>
                  </a:lnTo>
                  <a:lnTo>
                    <a:pt x="76" y="122"/>
                  </a:lnTo>
                  <a:lnTo>
                    <a:pt x="76" y="124"/>
                  </a:lnTo>
                  <a:lnTo>
                    <a:pt x="76" y="124"/>
                  </a:lnTo>
                  <a:lnTo>
                    <a:pt x="78" y="124"/>
                  </a:lnTo>
                  <a:lnTo>
                    <a:pt x="78" y="126"/>
                  </a:lnTo>
                  <a:lnTo>
                    <a:pt x="78" y="128"/>
                  </a:lnTo>
                  <a:lnTo>
                    <a:pt x="78" y="130"/>
                  </a:lnTo>
                  <a:lnTo>
                    <a:pt x="78" y="136"/>
                  </a:lnTo>
                  <a:lnTo>
                    <a:pt x="78" y="140"/>
                  </a:lnTo>
                  <a:lnTo>
                    <a:pt x="78" y="146"/>
                  </a:lnTo>
                  <a:lnTo>
                    <a:pt x="78" y="150"/>
                  </a:lnTo>
                  <a:lnTo>
                    <a:pt x="76" y="152"/>
                  </a:lnTo>
                  <a:lnTo>
                    <a:pt x="80" y="154"/>
                  </a:lnTo>
                  <a:lnTo>
                    <a:pt x="82" y="156"/>
                  </a:lnTo>
                  <a:lnTo>
                    <a:pt x="82" y="158"/>
                  </a:lnTo>
                  <a:lnTo>
                    <a:pt x="84" y="158"/>
                  </a:lnTo>
                  <a:lnTo>
                    <a:pt x="84" y="160"/>
                  </a:lnTo>
                  <a:lnTo>
                    <a:pt x="84" y="160"/>
                  </a:lnTo>
                  <a:lnTo>
                    <a:pt x="86" y="164"/>
                  </a:lnTo>
                  <a:lnTo>
                    <a:pt x="86" y="168"/>
                  </a:lnTo>
                  <a:lnTo>
                    <a:pt x="86" y="172"/>
                  </a:lnTo>
                  <a:lnTo>
                    <a:pt x="86" y="176"/>
                  </a:lnTo>
                  <a:lnTo>
                    <a:pt x="86" y="180"/>
                  </a:lnTo>
                  <a:lnTo>
                    <a:pt x="86" y="182"/>
                  </a:lnTo>
                  <a:lnTo>
                    <a:pt x="86" y="182"/>
                  </a:lnTo>
                  <a:lnTo>
                    <a:pt x="84" y="184"/>
                  </a:lnTo>
                  <a:lnTo>
                    <a:pt x="84" y="186"/>
                  </a:lnTo>
                  <a:lnTo>
                    <a:pt x="84" y="186"/>
                  </a:lnTo>
                  <a:lnTo>
                    <a:pt x="82" y="188"/>
                  </a:lnTo>
                  <a:lnTo>
                    <a:pt x="82" y="188"/>
                  </a:lnTo>
                  <a:lnTo>
                    <a:pt x="80" y="190"/>
                  </a:lnTo>
                  <a:lnTo>
                    <a:pt x="76" y="192"/>
                  </a:lnTo>
                  <a:lnTo>
                    <a:pt x="76" y="192"/>
                  </a:lnTo>
                  <a:lnTo>
                    <a:pt x="74" y="194"/>
                  </a:lnTo>
                  <a:lnTo>
                    <a:pt x="72" y="196"/>
                  </a:lnTo>
                  <a:lnTo>
                    <a:pt x="68" y="200"/>
                  </a:lnTo>
                  <a:lnTo>
                    <a:pt x="64" y="204"/>
                  </a:lnTo>
                  <a:lnTo>
                    <a:pt x="60" y="206"/>
                  </a:lnTo>
                  <a:lnTo>
                    <a:pt x="58" y="210"/>
                  </a:lnTo>
                  <a:lnTo>
                    <a:pt x="52" y="214"/>
                  </a:lnTo>
                  <a:lnTo>
                    <a:pt x="46" y="218"/>
                  </a:lnTo>
                  <a:lnTo>
                    <a:pt x="48" y="220"/>
                  </a:lnTo>
                  <a:lnTo>
                    <a:pt x="50" y="222"/>
                  </a:lnTo>
                  <a:lnTo>
                    <a:pt x="52" y="224"/>
                  </a:lnTo>
                  <a:lnTo>
                    <a:pt x="52" y="224"/>
                  </a:lnTo>
                  <a:lnTo>
                    <a:pt x="52" y="226"/>
                  </a:lnTo>
                  <a:lnTo>
                    <a:pt x="52" y="226"/>
                  </a:lnTo>
                  <a:lnTo>
                    <a:pt x="54" y="228"/>
                  </a:lnTo>
                  <a:lnTo>
                    <a:pt x="52" y="228"/>
                  </a:lnTo>
                  <a:lnTo>
                    <a:pt x="52" y="228"/>
                  </a:lnTo>
                  <a:lnTo>
                    <a:pt x="52" y="230"/>
                  </a:lnTo>
                  <a:lnTo>
                    <a:pt x="50" y="230"/>
                  </a:lnTo>
                  <a:lnTo>
                    <a:pt x="50" y="232"/>
                  </a:lnTo>
                  <a:lnTo>
                    <a:pt x="48" y="234"/>
                  </a:lnTo>
                  <a:lnTo>
                    <a:pt x="46" y="234"/>
                  </a:lnTo>
                  <a:lnTo>
                    <a:pt x="46" y="236"/>
                  </a:lnTo>
                  <a:lnTo>
                    <a:pt x="46" y="236"/>
                  </a:lnTo>
                  <a:lnTo>
                    <a:pt x="46" y="238"/>
                  </a:lnTo>
                  <a:lnTo>
                    <a:pt x="46" y="240"/>
                  </a:lnTo>
                  <a:lnTo>
                    <a:pt x="46" y="242"/>
                  </a:lnTo>
                  <a:lnTo>
                    <a:pt x="46" y="244"/>
                  </a:lnTo>
                  <a:lnTo>
                    <a:pt x="46" y="246"/>
                  </a:lnTo>
                  <a:lnTo>
                    <a:pt x="48" y="248"/>
                  </a:lnTo>
                  <a:lnTo>
                    <a:pt x="48" y="250"/>
                  </a:lnTo>
                  <a:lnTo>
                    <a:pt x="48" y="250"/>
                  </a:lnTo>
                  <a:lnTo>
                    <a:pt x="50" y="252"/>
                  </a:lnTo>
                  <a:lnTo>
                    <a:pt x="50" y="252"/>
                  </a:lnTo>
                  <a:lnTo>
                    <a:pt x="50" y="252"/>
                  </a:lnTo>
                  <a:lnTo>
                    <a:pt x="52" y="252"/>
                  </a:lnTo>
                  <a:lnTo>
                    <a:pt x="52" y="252"/>
                  </a:lnTo>
                  <a:lnTo>
                    <a:pt x="52" y="252"/>
                  </a:lnTo>
                  <a:lnTo>
                    <a:pt x="54" y="252"/>
                  </a:lnTo>
                  <a:lnTo>
                    <a:pt x="56" y="252"/>
                  </a:lnTo>
                  <a:lnTo>
                    <a:pt x="58" y="252"/>
                  </a:lnTo>
                  <a:lnTo>
                    <a:pt x="58" y="250"/>
                  </a:lnTo>
                  <a:lnTo>
                    <a:pt x="60" y="248"/>
                  </a:lnTo>
                  <a:lnTo>
                    <a:pt x="62" y="246"/>
                  </a:lnTo>
                  <a:lnTo>
                    <a:pt x="64" y="246"/>
                  </a:lnTo>
                  <a:lnTo>
                    <a:pt x="68" y="242"/>
                  </a:lnTo>
                  <a:lnTo>
                    <a:pt x="72" y="238"/>
                  </a:lnTo>
                  <a:lnTo>
                    <a:pt x="74" y="234"/>
                  </a:lnTo>
                  <a:lnTo>
                    <a:pt x="76" y="234"/>
                  </a:lnTo>
                  <a:lnTo>
                    <a:pt x="76" y="232"/>
                  </a:lnTo>
                  <a:lnTo>
                    <a:pt x="82" y="228"/>
                  </a:lnTo>
                  <a:lnTo>
                    <a:pt x="88" y="222"/>
                  </a:lnTo>
                  <a:lnTo>
                    <a:pt x="94" y="216"/>
                  </a:lnTo>
                  <a:lnTo>
                    <a:pt x="98" y="214"/>
                  </a:lnTo>
                  <a:lnTo>
                    <a:pt x="100" y="212"/>
                  </a:lnTo>
                  <a:lnTo>
                    <a:pt x="100" y="210"/>
                  </a:lnTo>
                  <a:lnTo>
                    <a:pt x="102" y="208"/>
                  </a:lnTo>
                  <a:lnTo>
                    <a:pt x="104" y="206"/>
                  </a:lnTo>
                  <a:lnTo>
                    <a:pt x="106" y="204"/>
                  </a:lnTo>
                  <a:lnTo>
                    <a:pt x="106" y="204"/>
                  </a:lnTo>
                  <a:lnTo>
                    <a:pt x="106" y="202"/>
                  </a:lnTo>
                  <a:lnTo>
                    <a:pt x="106" y="200"/>
                  </a:lnTo>
                  <a:lnTo>
                    <a:pt x="108" y="194"/>
                  </a:lnTo>
                  <a:lnTo>
                    <a:pt x="108" y="190"/>
                  </a:lnTo>
                  <a:lnTo>
                    <a:pt x="108" y="184"/>
                  </a:lnTo>
                  <a:lnTo>
                    <a:pt x="110" y="180"/>
                  </a:lnTo>
                  <a:lnTo>
                    <a:pt x="110" y="174"/>
                  </a:lnTo>
                  <a:lnTo>
                    <a:pt x="110" y="170"/>
                  </a:lnTo>
                  <a:lnTo>
                    <a:pt x="110" y="166"/>
                  </a:lnTo>
                  <a:lnTo>
                    <a:pt x="110" y="162"/>
                  </a:lnTo>
                  <a:lnTo>
                    <a:pt x="108" y="158"/>
                  </a:lnTo>
                  <a:lnTo>
                    <a:pt x="108" y="154"/>
                  </a:lnTo>
                  <a:lnTo>
                    <a:pt x="106" y="148"/>
                  </a:lnTo>
                  <a:lnTo>
                    <a:pt x="106" y="144"/>
                  </a:lnTo>
                  <a:lnTo>
                    <a:pt x="104" y="140"/>
                  </a:lnTo>
                  <a:lnTo>
                    <a:pt x="104" y="136"/>
                  </a:lnTo>
                  <a:lnTo>
                    <a:pt x="102" y="134"/>
                  </a:lnTo>
                  <a:lnTo>
                    <a:pt x="102" y="132"/>
                  </a:lnTo>
                  <a:lnTo>
                    <a:pt x="102" y="132"/>
                  </a:lnTo>
                  <a:lnTo>
                    <a:pt x="100" y="130"/>
                  </a:lnTo>
                  <a:lnTo>
                    <a:pt x="98" y="126"/>
                  </a:lnTo>
                  <a:lnTo>
                    <a:pt x="94" y="124"/>
                  </a:lnTo>
                  <a:lnTo>
                    <a:pt x="92" y="120"/>
                  </a:lnTo>
                  <a:lnTo>
                    <a:pt x="86" y="114"/>
                  </a:lnTo>
                  <a:lnTo>
                    <a:pt x="82" y="112"/>
                  </a:lnTo>
                  <a:lnTo>
                    <a:pt x="80" y="110"/>
                  </a:lnTo>
                  <a:lnTo>
                    <a:pt x="78" y="106"/>
                  </a:lnTo>
                  <a:lnTo>
                    <a:pt x="74" y="104"/>
                  </a:lnTo>
                  <a:lnTo>
                    <a:pt x="70" y="100"/>
                  </a:lnTo>
                  <a:lnTo>
                    <a:pt x="66" y="96"/>
                  </a:lnTo>
                  <a:lnTo>
                    <a:pt x="64" y="92"/>
                  </a:lnTo>
                  <a:lnTo>
                    <a:pt x="60" y="88"/>
                  </a:lnTo>
                  <a:lnTo>
                    <a:pt x="58" y="86"/>
                  </a:lnTo>
                  <a:lnTo>
                    <a:pt x="58" y="84"/>
                  </a:lnTo>
                  <a:lnTo>
                    <a:pt x="56" y="82"/>
                  </a:lnTo>
                  <a:lnTo>
                    <a:pt x="56" y="80"/>
                  </a:lnTo>
                  <a:lnTo>
                    <a:pt x="54" y="78"/>
                  </a:lnTo>
                  <a:lnTo>
                    <a:pt x="54" y="76"/>
                  </a:lnTo>
                  <a:lnTo>
                    <a:pt x="54" y="74"/>
                  </a:lnTo>
                  <a:lnTo>
                    <a:pt x="54" y="70"/>
                  </a:lnTo>
                  <a:lnTo>
                    <a:pt x="54" y="68"/>
                  </a:lnTo>
                  <a:lnTo>
                    <a:pt x="54" y="66"/>
                  </a:lnTo>
                  <a:lnTo>
                    <a:pt x="54" y="62"/>
                  </a:lnTo>
                  <a:lnTo>
                    <a:pt x="56" y="60"/>
                  </a:lnTo>
                  <a:lnTo>
                    <a:pt x="56" y="60"/>
                  </a:lnTo>
                  <a:lnTo>
                    <a:pt x="56" y="58"/>
                  </a:lnTo>
                  <a:lnTo>
                    <a:pt x="58" y="58"/>
                  </a:lnTo>
                  <a:lnTo>
                    <a:pt x="58" y="56"/>
                  </a:lnTo>
                  <a:lnTo>
                    <a:pt x="62" y="54"/>
                  </a:lnTo>
                  <a:lnTo>
                    <a:pt x="64" y="52"/>
                  </a:lnTo>
                  <a:lnTo>
                    <a:pt x="64" y="50"/>
                  </a:lnTo>
                  <a:lnTo>
                    <a:pt x="68" y="48"/>
                  </a:lnTo>
                  <a:lnTo>
                    <a:pt x="74" y="44"/>
                  </a:lnTo>
                  <a:lnTo>
                    <a:pt x="80" y="40"/>
                  </a:lnTo>
                  <a:lnTo>
                    <a:pt x="78" y="36"/>
                  </a:lnTo>
                  <a:lnTo>
                    <a:pt x="76" y="30"/>
                  </a:lnTo>
                  <a:lnTo>
                    <a:pt x="72" y="26"/>
                  </a:lnTo>
                  <a:lnTo>
                    <a:pt x="70" y="20"/>
                  </a:lnTo>
                  <a:lnTo>
                    <a:pt x="66" y="14"/>
                  </a:lnTo>
                  <a:lnTo>
                    <a:pt x="64" y="12"/>
                  </a:lnTo>
                  <a:lnTo>
                    <a:pt x="62" y="10"/>
                  </a:lnTo>
                  <a:lnTo>
                    <a:pt x="60" y="8"/>
                  </a:lnTo>
                  <a:lnTo>
                    <a:pt x="60" y="8"/>
                  </a:lnTo>
                  <a:lnTo>
                    <a:pt x="58" y="8"/>
                  </a:lnTo>
                  <a:lnTo>
                    <a:pt x="58" y="6"/>
                  </a:lnTo>
                  <a:lnTo>
                    <a:pt x="54" y="6"/>
                  </a:lnTo>
                  <a:lnTo>
                    <a:pt x="52" y="4"/>
                  </a:lnTo>
                  <a:lnTo>
                    <a:pt x="48" y="2"/>
                  </a:lnTo>
                  <a:lnTo>
                    <a:pt x="46" y="2"/>
                  </a:lnTo>
                  <a:lnTo>
                    <a:pt x="42" y="2"/>
                  </a:lnTo>
                  <a:lnTo>
                    <a:pt x="36" y="0"/>
                  </a:lnTo>
                  <a:lnTo>
                    <a:pt x="34" y="0"/>
                  </a:lnTo>
                  <a:lnTo>
                    <a:pt x="30" y="0"/>
                  </a:lnTo>
                  <a:lnTo>
                    <a:pt x="26" y="0"/>
                  </a:lnTo>
                  <a:lnTo>
                    <a:pt x="24" y="0"/>
                  </a:lnTo>
                  <a:lnTo>
                    <a:pt x="22" y="0"/>
                  </a:lnTo>
                  <a:lnTo>
                    <a:pt x="20" y="0"/>
                  </a:lnTo>
                  <a:lnTo>
                    <a:pt x="20" y="2"/>
                  </a:lnTo>
                  <a:lnTo>
                    <a:pt x="16" y="2"/>
                  </a:lnTo>
                  <a:lnTo>
                    <a:pt x="12" y="4"/>
                  </a:lnTo>
                  <a:lnTo>
                    <a:pt x="8" y="8"/>
                  </a:lnTo>
                  <a:lnTo>
                    <a:pt x="2" y="10"/>
                  </a:lnTo>
                  <a:lnTo>
                    <a:pt x="0" y="1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 name="Freeform 74">
              <a:extLst>
                <a:ext uri="{FF2B5EF4-FFF2-40B4-BE49-F238E27FC236}">
                  <a16:creationId xmlns:a16="http://schemas.microsoft.com/office/drawing/2014/main" id="{102848B5-E64F-4FF9-9174-0683A7437C9B}"/>
                </a:ext>
              </a:extLst>
            </p:cNvPr>
            <p:cNvSpPr>
              <a:spLocks/>
            </p:cNvSpPr>
            <p:nvPr/>
          </p:nvSpPr>
          <p:spPr bwMode="auto">
            <a:xfrm>
              <a:off x="6811898" y="3967238"/>
              <a:ext cx="190528" cy="436483"/>
            </a:xfrm>
            <a:custGeom>
              <a:avLst/>
              <a:gdLst>
                <a:gd name="T0" fmla="*/ 0 w 110"/>
                <a:gd name="T1" fmla="*/ 18 h 252"/>
                <a:gd name="T2" fmla="*/ 6 w 110"/>
                <a:gd name="T3" fmla="*/ 32 h 252"/>
                <a:gd name="T4" fmla="*/ 8 w 110"/>
                <a:gd name="T5" fmla="*/ 36 h 252"/>
                <a:gd name="T6" fmla="*/ 16 w 110"/>
                <a:gd name="T7" fmla="*/ 38 h 252"/>
                <a:gd name="T8" fmla="*/ 30 w 110"/>
                <a:gd name="T9" fmla="*/ 42 h 252"/>
                <a:gd name="T10" fmla="*/ 34 w 110"/>
                <a:gd name="T11" fmla="*/ 46 h 252"/>
                <a:gd name="T12" fmla="*/ 36 w 110"/>
                <a:gd name="T13" fmla="*/ 52 h 252"/>
                <a:gd name="T14" fmla="*/ 34 w 110"/>
                <a:gd name="T15" fmla="*/ 62 h 252"/>
                <a:gd name="T16" fmla="*/ 32 w 110"/>
                <a:gd name="T17" fmla="*/ 70 h 252"/>
                <a:gd name="T18" fmla="*/ 34 w 110"/>
                <a:gd name="T19" fmla="*/ 74 h 252"/>
                <a:gd name="T20" fmla="*/ 40 w 110"/>
                <a:gd name="T21" fmla="*/ 80 h 252"/>
                <a:gd name="T22" fmla="*/ 52 w 110"/>
                <a:gd name="T23" fmla="*/ 98 h 252"/>
                <a:gd name="T24" fmla="*/ 62 w 110"/>
                <a:gd name="T25" fmla="*/ 114 h 252"/>
                <a:gd name="T26" fmla="*/ 70 w 110"/>
                <a:gd name="T27" fmla="*/ 118 h 252"/>
                <a:gd name="T28" fmla="*/ 76 w 110"/>
                <a:gd name="T29" fmla="*/ 124 h 252"/>
                <a:gd name="T30" fmla="*/ 78 w 110"/>
                <a:gd name="T31" fmla="*/ 128 h 252"/>
                <a:gd name="T32" fmla="*/ 78 w 110"/>
                <a:gd name="T33" fmla="*/ 146 h 252"/>
                <a:gd name="T34" fmla="*/ 82 w 110"/>
                <a:gd name="T35" fmla="*/ 156 h 252"/>
                <a:gd name="T36" fmla="*/ 84 w 110"/>
                <a:gd name="T37" fmla="*/ 160 h 252"/>
                <a:gd name="T38" fmla="*/ 86 w 110"/>
                <a:gd name="T39" fmla="*/ 176 h 252"/>
                <a:gd name="T40" fmla="*/ 84 w 110"/>
                <a:gd name="T41" fmla="*/ 184 h 252"/>
                <a:gd name="T42" fmla="*/ 82 w 110"/>
                <a:gd name="T43" fmla="*/ 188 h 252"/>
                <a:gd name="T44" fmla="*/ 74 w 110"/>
                <a:gd name="T45" fmla="*/ 194 h 252"/>
                <a:gd name="T46" fmla="*/ 60 w 110"/>
                <a:gd name="T47" fmla="*/ 206 h 252"/>
                <a:gd name="T48" fmla="*/ 48 w 110"/>
                <a:gd name="T49" fmla="*/ 220 h 252"/>
                <a:gd name="T50" fmla="*/ 52 w 110"/>
                <a:gd name="T51" fmla="*/ 226 h 252"/>
                <a:gd name="T52" fmla="*/ 52 w 110"/>
                <a:gd name="T53" fmla="*/ 228 h 252"/>
                <a:gd name="T54" fmla="*/ 48 w 110"/>
                <a:gd name="T55" fmla="*/ 234 h 252"/>
                <a:gd name="T56" fmla="*/ 46 w 110"/>
                <a:gd name="T57" fmla="*/ 238 h 252"/>
                <a:gd name="T58" fmla="*/ 46 w 110"/>
                <a:gd name="T59" fmla="*/ 246 h 252"/>
                <a:gd name="T60" fmla="*/ 50 w 110"/>
                <a:gd name="T61" fmla="*/ 252 h 252"/>
                <a:gd name="T62" fmla="*/ 52 w 110"/>
                <a:gd name="T63" fmla="*/ 252 h 252"/>
                <a:gd name="T64" fmla="*/ 58 w 110"/>
                <a:gd name="T65" fmla="*/ 252 h 252"/>
                <a:gd name="T66" fmla="*/ 64 w 110"/>
                <a:gd name="T67" fmla="*/ 246 h 252"/>
                <a:gd name="T68" fmla="*/ 76 w 110"/>
                <a:gd name="T69" fmla="*/ 234 h 252"/>
                <a:gd name="T70" fmla="*/ 94 w 110"/>
                <a:gd name="T71" fmla="*/ 216 h 252"/>
                <a:gd name="T72" fmla="*/ 102 w 110"/>
                <a:gd name="T73" fmla="*/ 208 h 252"/>
                <a:gd name="T74" fmla="*/ 106 w 110"/>
                <a:gd name="T75" fmla="*/ 202 h 252"/>
                <a:gd name="T76" fmla="*/ 108 w 110"/>
                <a:gd name="T77" fmla="*/ 184 h 252"/>
                <a:gd name="T78" fmla="*/ 110 w 110"/>
                <a:gd name="T79" fmla="*/ 166 h 252"/>
                <a:gd name="T80" fmla="*/ 106 w 110"/>
                <a:gd name="T81" fmla="*/ 148 h 252"/>
                <a:gd name="T82" fmla="*/ 102 w 110"/>
                <a:gd name="T83" fmla="*/ 134 h 252"/>
                <a:gd name="T84" fmla="*/ 98 w 110"/>
                <a:gd name="T85" fmla="*/ 126 h 252"/>
                <a:gd name="T86" fmla="*/ 82 w 110"/>
                <a:gd name="T87" fmla="*/ 112 h 252"/>
                <a:gd name="T88" fmla="*/ 70 w 110"/>
                <a:gd name="T89" fmla="*/ 100 h 252"/>
                <a:gd name="T90" fmla="*/ 58 w 110"/>
                <a:gd name="T91" fmla="*/ 86 h 252"/>
                <a:gd name="T92" fmla="*/ 54 w 110"/>
                <a:gd name="T93" fmla="*/ 78 h 252"/>
                <a:gd name="T94" fmla="*/ 54 w 110"/>
                <a:gd name="T95" fmla="*/ 68 h 252"/>
                <a:gd name="T96" fmla="*/ 56 w 110"/>
                <a:gd name="T97" fmla="*/ 60 h 252"/>
                <a:gd name="T98" fmla="*/ 62 w 110"/>
                <a:gd name="T99" fmla="*/ 54 h 252"/>
                <a:gd name="T100" fmla="*/ 74 w 110"/>
                <a:gd name="T101" fmla="*/ 44 h 252"/>
                <a:gd name="T102" fmla="*/ 72 w 110"/>
                <a:gd name="T103" fmla="*/ 26 h 252"/>
                <a:gd name="T104" fmla="*/ 62 w 110"/>
                <a:gd name="T105" fmla="*/ 10 h 252"/>
                <a:gd name="T106" fmla="*/ 58 w 110"/>
                <a:gd name="T107" fmla="*/ 6 h 252"/>
                <a:gd name="T108" fmla="*/ 46 w 110"/>
                <a:gd name="T109" fmla="*/ 2 h 252"/>
                <a:gd name="T110" fmla="*/ 30 w 110"/>
                <a:gd name="T111" fmla="*/ 0 h 252"/>
                <a:gd name="T112" fmla="*/ 20 w 110"/>
                <a:gd name="T113" fmla="*/ 0 h 252"/>
                <a:gd name="T114" fmla="*/ 8 w 110"/>
                <a:gd name="T115" fmla="*/ 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0" h="252">
                  <a:moveTo>
                    <a:pt x="0" y="12"/>
                  </a:moveTo>
                  <a:lnTo>
                    <a:pt x="0" y="12"/>
                  </a:lnTo>
                  <a:lnTo>
                    <a:pt x="0" y="16"/>
                  </a:lnTo>
                  <a:lnTo>
                    <a:pt x="0" y="18"/>
                  </a:lnTo>
                  <a:lnTo>
                    <a:pt x="2" y="22"/>
                  </a:lnTo>
                  <a:lnTo>
                    <a:pt x="4" y="26"/>
                  </a:lnTo>
                  <a:lnTo>
                    <a:pt x="4" y="30"/>
                  </a:lnTo>
                  <a:lnTo>
                    <a:pt x="6" y="32"/>
                  </a:lnTo>
                  <a:lnTo>
                    <a:pt x="6" y="34"/>
                  </a:lnTo>
                  <a:lnTo>
                    <a:pt x="8" y="34"/>
                  </a:lnTo>
                  <a:lnTo>
                    <a:pt x="8" y="36"/>
                  </a:lnTo>
                  <a:lnTo>
                    <a:pt x="8" y="36"/>
                  </a:lnTo>
                  <a:lnTo>
                    <a:pt x="10" y="36"/>
                  </a:lnTo>
                  <a:lnTo>
                    <a:pt x="12" y="38"/>
                  </a:lnTo>
                  <a:lnTo>
                    <a:pt x="14" y="38"/>
                  </a:lnTo>
                  <a:lnTo>
                    <a:pt x="16" y="38"/>
                  </a:lnTo>
                  <a:lnTo>
                    <a:pt x="20" y="40"/>
                  </a:lnTo>
                  <a:lnTo>
                    <a:pt x="24" y="40"/>
                  </a:lnTo>
                  <a:lnTo>
                    <a:pt x="28" y="42"/>
                  </a:lnTo>
                  <a:lnTo>
                    <a:pt x="30" y="42"/>
                  </a:lnTo>
                  <a:lnTo>
                    <a:pt x="30" y="42"/>
                  </a:lnTo>
                  <a:lnTo>
                    <a:pt x="32" y="44"/>
                  </a:lnTo>
                  <a:lnTo>
                    <a:pt x="32" y="44"/>
                  </a:lnTo>
                  <a:lnTo>
                    <a:pt x="34" y="46"/>
                  </a:lnTo>
                  <a:lnTo>
                    <a:pt x="34" y="46"/>
                  </a:lnTo>
                  <a:lnTo>
                    <a:pt x="34" y="48"/>
                  </a:lnTo>
                  <a:lnTo>
                    <a:pt x="34" y="50"/>
                  </a:lnTo>
                  <a:lnTo>
                    <a:pt x="36" y="52"/>
                  </a:lnTo>
                  <a:lnTo>
                    <a:pt x="36" y="54"/>
                  </a:lnTo>
                  <a:lnTo>
                    <a:pt x="36" y="56"/>
                  </a:lnTo>
                  <a:lnTo>
                    <a:pt x="34" y="58"/>
                  </a:lnTo>
                  <a:lnTo>
                    <a:pt x="34" y="62"/>
                  </a:lnTo>
                  <a:lnTo>
                    <a:pt x="32" y="64"/>
                  </a:lnTo>
                  <a:lnTo>
                    <a:pt x="32" y="68"/>
                  </a:lnTo>
                  <a:lnTo>
                    <a:pt x="32" y="70"/>
                  </a:lnTo>
                  <a:lnTo>
                    <a:pt x="32" y="70"/>
                  </a:lnTo>
                  <a:lnTo>
                    <a:pt x="32" y="70"/>
                  </a:lnTo>
                  <a:lnTo>
                    <a:pt x="32" y="72"/>
                  </a:lnTo>
                  <a:lnTo>
                    <a:pt x="32" y="72"/>
                  </a:lnTo>
                  <a:lnTo>
                    <a:pt x="34" y="74"/>
                  </a:lnTo>
                  <a:lnTo>
                    <a:pt x="34" y="76"/>
                  </a:lnTo>
                  <a:lnTo>
                    <a:pt x="36" y="76"/>
                  </a:lnTo>
                  <a:lnTo>
                    <a:pt x="40" y="80"/>
                  </a:lnTo>
                  <a:lnTo>
                    <a:pt x="40" y="80"/>
                  </a:lnTo>
                  <a:lnTo>
                    <a:pt x="42" y="82"/>
                  </a:lnTo>
                  <a:lnTo>
                    <a:pt x="44" y="86"/>
                  </a:lnTo>
                  <a:lnTo>
                    <a:pt x="46" y="90"/>
                  </a:lnTo>
                  <a:lnTo>
                    <a:pt x="52" y="98"/>
                  </a:lnTo>
                  <a:lnTo>
                    <a:pt x="56" y="104"/>
                  </a:lnTo>
                  <a:lnTo>
                    <a:pt x="58" y="108"/>
                  </a:lnTo>
                  <a:lnTo>
                    <a:pt x="62" y="112"/>
                  </a:lnTo>
                  <a:lnTo>
                    <a:pt x="62" y="114"/>
                  </a:lnTo>
                  <a:lnTo>
                    <a:pt x="64" y="114"/>
                  </a:lnTo>
                  <a:lnTo>
                    <a:pt x="66" y="116"/>
                  </a:lnTo>
                  <a:lnTo>
                    <a:pt x="68" y="118"/>
                  </a:lnTo>
                  <a:lnTo>
                    <a:pt x="70" y="118"/>
                  </a:lnTo>
                  <a:lnTo>
                    <a:pt x="72" y="120"/>
                  </a:lnTo>
                  <a:lnTo>
                    <a:pt x="74" y="122"/>
                  </a:lnTo>
                  <a:lnTo>
                    <a:pt x="76" y="122"/>
                  </a:lnTo>
                  <a:lnTo>
                    <a:pt x="76" y="124"/>
                  </a:lnTo>
                  <a:lnTo>
                    <a:pt x="76" y="124"/>
                  </a:lnTo>
                  <a:lnTo>
                    <a:pt x="78" y="124"/>
                  </a:lnTo>
                  <a:lnTo>
                    <a:pt x="78" y="126"/>
                  </a:lnTo>
                  <a:lnTo>
                    <a:pt x="78" y="128"/>
                  </a:lnTo>
                  <a:lnTo>
                    <a:pt x="78" y="130"/>
                  </a:lnTo>
                  <a:lnTo>
                    <a:pt x="78" y="136"/>
                  </a:lnTo>
                  <a:lnTo>
                    <a:pt x="78" y="140"/>
                  </a:lnTo>
                  <a:lnTo>
                    <a:pt x="78" y="146"/>
                  </a:lnTo>
                  <a:lnTo>
                    <a:pt x="78" y="150"/>
                  </a:lnTo>
                  <a:lnTo>
                    <a:pt x="76" y="152"/>
                  </a:lnTo>
                  <a:lnTo>
                    <a:pt x="80" y="154"/>
                  </a:lnTo>
                  <a:lnTo>
                    <a:pt x="82" y="156"/>
                  </a:lnTo>
                  <a:lnTo>
                    <a:pt x="82" y="158"/>
                  </a:lnTo>
                  <a:lnTo>
                    <a:pt x="84" y="158"/>
                  </a:lnTo>
                  <a:lnTo>
                    <a:pt x="84" y="160"/>
                  </a:lnTo>
                  <a:lnTo>
                    <a:pt x="84" y="160"/>
                  </a:lnTo>
                  <a:lnTo>
                    <a:pt x="86" y="164"/>
                  </a:lnTo>
                  <a:lnTo>
                    <a:pt x="86" y="168"/>
                  </a:lnTo>
                  <a:lnTo>
                    <a:pt x="86" y="172"/>
                  </a:lnTo>
                  <a:lnTo>
                    <a:pt x="86" y="176"/>
                  </a:lnTo>
                  <a:lnTo>
                    <a:pt x="86" y="180"/>
                  </a:lnTo>
                  <a:lnTo>
                    <a:pt x="86" y="182"/>
                  </a:lnTo>
                  <a:lnTo>
                    <a:pt x="86" y="182"/>
                  </a:lnTo>
                  <a:lnTo>
                    <a:pt x="84" y="184"/>
                  </a:lnTo>
                  <a:lnTo>
                    <a:pt x="84" y="186"/>
                  </a:lnTo>
                  <a:lnTo>
                    <a:pt x="84" y="186"/>
                  </a:lnTo>
                  <a:lnTo>
                    <a:pt x="82" y="188"/>
                  </a:lnTo>
                  <a:lnTo>
                    <a:pt x="82" y="188"/>
                  </a:lnTo>
                  <a:lnTo>
                    <a:pt x="80" y="190"/>
                  </a:lnTo>
                  <a:lnTo>
                    <a:pt x="76" y="192"/>
                  </a:lnTo>
                  <a:lnTo>
                    <a:pt x="76" y="192"/>
                  </a:lnTo>
                  <a:lnTo>
                    <a:pt x="74" y="194"/>
                  </a:lnTo>
                  <a:lnTo>
                    <a:pt x="72" y="196"/>
                  </a:lnTo>
                  <a:lnTo>
                    <a:pt x="68" y="200"/>
                  </a:lnTo>
                  <a:lnTo>
                    <a:pt x="64" y="204"/>
                  </a:lnTo>
                  <a:lnTo>
                    <a:pt x="60" y="206"/>
                  </a:lnTo>
                  <a:lnTo>
                    <a:pt x="58" y="210"/>
                  </a:lnTo>
                  <a:lnTo>
                    <a:pt x="52" y="214"/>
                  </a:lnTo>
                  <a:lnTo>
                    <a:pt x="46" y="218"/>
                  </a:lnTo>
                  <a:lnTo>
                    <a:pt x="48" y="220"/>
                  </a:lnTo>
                  <a:lnTo>
                    <a:pt x="50" y="222"/>
                  </a:lnTo>
                  <a:lnTo>
                    <a:pt x="52" y="224"/>
                  </a:lnTo>
                  <a:lnTo>
                    <a:pt x="52" y="224"/>
                  </a:lnTo>
                  <a:lnTo>
                    <a:pt x="52" y="226"/>
                  </a:lnTo>
                  <a:lnTo>
                    <a:pt x="52" y="226"/>
                  </a:lnTo>
                  <a:lnTo>
                    <a:pt x="54" y="228"/>
                  </a:lnTo>
                  <a:lnTo>
                    <a:pt x="52" y="228"/>
                  </a:lnTo>
                  <a:lnTo>
                    <a:pt x="52" y="228"/>
                  </a:lnTo>
                  <a:lnTo>
                    <a:pt x="52" y="230"/>
                  </a:lnTo>
                  <a:lnTo>
                    <a:pt x="50" y="230"/>
                  </a:lnTo>
                  <a:lnTo>
                    <a:pt x="50" y="232"/>
                  </a:lnTo>
                  <a:lnTo>
                    <a:pt x="48" y="234"/>
                  </a:lnTo>
                  <a:lnTo>
                    <a:pt x="46" y="234"/>
                  </a:lnTo>
                  <a:lnTo>
                    <a:pt x="46" y="236"/>
                  </a:lnTo>
                  <a:lnTo>
                    <a:pt x="46" y="236"/>
                  </a:lnTo>
                  <a:lnTo>
                    <a:pt x="46" y="238"/>
                  </a:lnTo>
                  <a:lnTo>
                    <a:pt x="46" y="240"/>
                  </a:lnTo>
                  <a:lnTo>
                    <a:pt x="46" y="242"/>
                  </a:lnTo>
                  <a:lnTo>
                    <a:pt x="46" y="244"/>
                  </a:lnTo>
                  <a:lnTo>
                    <a:pt x="46" y="246"/>
                  </a:lnTo>
                  <a:lnTo>
                    <a:pt x="48" y="248"/>
                  </a:lnTo>
                  <a:lnTo>
                    <a:pt x="48" y="250"/>
                  </a:lnTo>
                  <a:lnTo>
                    <a:pt x="48" y="250"/>
                  </a:lnTo>
                  <a:lnTo>
                    <a:pt x="50" y="252"/>
                  </a:lnTo>
                  <a:lnTo>
                    <a:pt x="50" y="252"/>
                  </a:lnTo>
                  <a:lnTo>
                    <a:pt x="50" y="252"/>
                  </a:lnTo>
                  <a:lnTo>
                    <a:pt x="52" y="252"/>
                  </a:lnTo>
                  <a:lnTo>
                    <a:pt x="52" y="252"/>
                  </a:lnTo>
                  <a:lnTo>
                    <a:pt x="52" y="252"/>
                  </a:lnTo>
                  <a:lnTo>
                    <a:pt x="54" y="252"/>
                  </a:lnTo>
                  <a:lnTo>
                    <a:pt x="56" y="252"/>
                  </a:lnTo>
                  <a:lnTo>
                    <a:pt x="58" y="252"/>
                  </a:lnTo>
                  <a:lnTo>
                    <a:pt x="58" y="250"/>
                  </a:lnTo>
                  <a:lnTo>
                    <a:pt x="60" y="248"/>
                  </a:lnTo>
                  <a:lnTo>
                    <a:pt x="62" y="246"/>
                  </a:lnTo>
                  <a:lnTo>
                    <a:pt x="64" y="246"/>
                  </a:lnTo>
                  <a:lnTo>
                    <a:pt x="68" y="242"/>
                  </a:lnTo>
                  <a:lnTo>
                    <a:pt x="72" y="238"/>
                  </a:lnTo>
                  <a:lnTo>
                    <a:pt x="74" y="234"/>
                  </a:lnTo>
                  <a:lnTo>
                    <a:pt x="76" y="234"/>
                  </a:lnTo>
                  <a:lnTo>
                    <a:pt x="76" y="232"/>
                  </a:lnTo>
                  <a:lnTo>
                    <a:pt x="82" y="228"/>
                  </a:lnTo>
                  <a:lnTo>
                    <a:pt x="88" y="222"/>
                  </a:lnTo>
                  <a:lnTo>
                    <a:pt x="94" y="216"/>
                  </a:lnTo>
                  <a:lnTo>
                    <a:pt x="98" y="214"/>
                  </a:lnTo>
                  <a:lnTo>
                    <a:pt x="100" y="212"/>
                  </a:lnTo>
                  <a:lnTo>
                    <a:pt x="100" y="210"/>
                  </a:lnTo>
                  <a:lnTo>
                    <a:pt x="102" y="208"/>
                  </a:lnTo>
                  <a:lnTo>
                    <a:pt x="104" y="206"/>
                  </a:lnTo>
                  <a:lnTo>
                    <a:pt x="106" y="204"/>
                  </a:lnTo>
                  <a:lnTo>
                    <a:pt x="106" y="204"/>
                  </a:lnTo>
                  <a:lnTo>
                    <a:pt x="106" y="202"/>
                  </a:lnTo>
                  <a:lnTo>
                    <a:pt x="106" y="200"/>
                  </a:lnTo>
                  <a:lnTo>
                    <a:pt x="108" y="194"/>
                  </a:lnTo>
                  <a:lnTo>
                    <a:pt x="108" y="190"/>
                  </a:lnTo>
                  <a:lnTo>
                    <a:pt x="108" y="184"/>
                  </a:lnTo>
                  <a:lnTo>
                    <a:pt x="110" y="180"/>
                  </a:lnTo>
                  <a:lnTo>
                    <a:pt x="110" y="174"/>
                  </a:lnTo>
                  <a:lnTo>
                    <a:pt x="110" y="170"/>
                  </a:lnTo>
                  <a:lnTo>
                    <a:pt x="110" y="166"/>
                  </a:lnTo>
                  <a:lnTo>
                    <a:pt x="110" y="162"/>
                  </a:lnTo>
                  <a:lnTo>
                    <a:pt x="108" y="158"/>
                  </a:lnTo>
                  <a:lnTo>
                    <a:pt x="108" y="154"/>
                  </a:lnTo>
                  <a:lnTo>
                    <a:pt x="106" y="148"/>
                  </a:lnTo>
                  <a:lnTo>
                    <a:pt x="106" y="144"/>
                  </a:lnTo>
                  <a:lnTo>
                    <a:pt x="104" y="140"/>
                  </a:lnTo>
                  <a:lnTo>
                    <a:pt x="104" y="136"/>
                  </a:lnTo>
                  <a:lnTo>
                    <a:pt x="102" y="134"/>
                  </a:lnTo>
                  <a:lnTo>
                    <a:pt x="102" y="132"/>
                  </a:lnTo>
                  <a:lnTo>
                    <a:pt x="102" y="132"/>
                  </a:lnTo>
                  <a:lnTo>
                    <a:pt x="100" y="130"/>
                  </a:lnTo>
                  <a:lnTo>
                    <a:pt x="98" y="126"/>
                  </a:lnTo>
                  <a:lnTo>
                    <a:pt x="94" y="124"/>
                  </a:lnTo>
                  <a:lnTo>
                    <a:pt x="92" y="120"/>
                  </a:lnTo>
                  <a:lnTo>
                    <a:pt x="86" y="114"/>
                  </a:lnTo>
                  <a:lnTo>
                    <a:pt x="82" y="112"/>
                  </a:lnTo>
                  <a:lnTo>
                    <a:pt x="80" y="110"/>
                  </a:lnTo>
                  <a:lnTo>
                    <a:pt x="78" y="106"/>
                  </a:lnTo>
                  <a:lnTo>
                    <a:pt x="74" y="104"/>
                  </a:lnTo>
                  <a:lnTo>
                    <a:pt x="70" y="100"/>
                  </a:lnTo>
                  <a:lnTo>
                    <a:pt x="66" y="96"/>
                  </a:lnTo>
                  <a:lnTo>
                    <a:pt x="64" y="92"/>
                  </a:lnTo>
                  <a:lnTo>
                    <a:pt x="60" y="88"/>
                  </a:lnTo>
                  <a:lnTo>
                    <a:pt x="58" y="86"/>
                  </a:lnTo>
                  <a:lnTo>
                    <a:pt x="58" y="84"/>
                  </a:lnTo>
                  <a:lnTo>
                    <a:pt x="56" y="82"/>
                  </a:lnTo>
                  <a:lnTo>
                    <a:pt x="56" y="80"/>
                  </a:lnTo>
                  <a:lnTo>
                    <a:pt x="54" y="78"/>
                  </a:lnTo>
                  <a:lnTo>
                    <a:pt x="54" y="76"/>
                  </a:lnTo>
                  <a:lnTo>
                    <a:pt x="54" y="74"/>
                  </a:lnTo>
                  <a:lnTo>
                    <a:pt x="54" y="70"/>
                  </a:lnTo>
                  <a:lnTo>
                    <a:pt x="54" y="68"/>
                  </a:lnTo>
                  <a:lnTo>
                    <a:pt x="54" y="66"/>
                  </a:lnTo>
                  <a:lnTo>
                    <a:pt x="54" y="62"/>
                  </a:lnTo>
                  <a:lnTo>
                    <a:pt x="56" y="60"/>
                  </a:lnTo>
                  <a:lnTo>
                    <a:pt x="56" y="60"/>
                  </a:lnTo>
                  <a:lnTo>
                    <a:pt x="56" y="58"/>
                  </a:lnTo>
                  <a:lnTo>
                    <a:pt x="58" y="58"/>
                  </a:lnTo>
                  <a:lnTo>
                    <a:pt x="58" y="56"/>
                  </a:lnTo>
                  <a:lnTo>
                    <a:pt x="62" y="54"/>
                  </a:lnTo>
                  <a:lnTo>
                    <a:pt x="64" y="52"/>
                  </a:lnTo>
                  <a:lnTo>
                    <a:pt x="64" y="50"/>
                  </a:lnTo>
                  <a:lnTo>
                    <a:pt x="68" y="48"/>
                  </a:lnTo>
                  <a:lnTo>
                    <a:pt x="74" y="44"/>
                  </a:lnTo>
                  <a:lnTo>
                    <a:pt x="80" y="40"/>
                  </a:lnTo>
                  <a:lnTo>
                    <a:pt x="78" y="36"/>
                  </a:lnTo>
                  <a:lnTo>
                    <a:pt x="76" y="30"/>
                  </a:lnTo>
                  <a:lnTo>
                    <a:pt x="72" y="26"/>
                  </a:lnTo>
                  <a:lnTo>
                    <a:pt x="70" y="20"/>
                  </a:lnTo>
                  <a:lnTo>
                    <a:pt x="66" y="14"/>
                  </a:lnTo>
                  <a:lnTo>
                    <a:pt x="64" y="12"/>
                  </a:lnTo>
                  <a:lnTo>
                    <a:pt x="62" y="10"/>
                  </a:lnTo>
                  <a:lnTo>
                    <a:pt x="60" y="8"/>
                  </a:lnTo>
                  <a:lnTo>
                    <a:pt x="60" y="8"/>
                  </a:lnTo>
                  <a:lnTo>
                    <a:pt x="58" y="8"/>
                  </a:lnTo>
                  <a:lnTo>
                    <a:pt x="58" y="6"/>
                  </a:lnTo>
                  <a:lnTo>
                    <a:pt x="54" y="6"/>
                  </a:lnTo>
                  <a:lnTo>
                    <a:pt x="52" y="4"/>
                  </a:lnTo>
                  <a:lnTo>
                    <a:pt x="48" y="2"/>
                  </a:lnTo>
                  <a:lnTo>
                    <a:pt x="46" y="2"/>
                  </a:lnTo>
                  <a:lnTo>
                    <a:pt x="42" y="2"/>
                  </a:lnTo>
                  <a:lnTo>
                    <a:pt x="36" y="0"/>
                  </a:lnTo>
                  <a:lnTo>
                    <a:pt x="34" y="0"/>
                  </a:lnTo>
                  <a:lnTo>
                    <a:pt x="30" y="0"/>
                  </a:lnTo>
                  <a:lnTo>
                    <a:pt x="26" y="0"/>
                  </a:lnTo>
                  <a:lnTo>
                    <a:pt x="24" y="0"/>
                  </a:lnTo>
                  <a:lnTo>
                    <a:pt x="22" y="0"/>
                  </a:lnTo>
                  <a:lnTo>
                    <a:pt x="20" y="0"/>
                  </a:lnTo>
                  <a:lnTo>
                    <a:pt x="20" y="2"/>
                  </a:lnTo>
                  <a:lnTo>
                    <a:pt x="16" y="2"/>
                  </a:lnTo>
                  <a:lnTo>
                    <a:pt x="12" y="4"/>
                  </a:lnTo>
                  <a:lnTo>
                    <a:pt x="8" y="8"/>
                  </a:lnTo>
                  <a:lnTo>
                    <a:pt x="2" y="10"/>
                  </a:lnTo>
                  <a:lnTo>
                    <a:pt x="0" y="1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 name="Freeform 75">
              <a:extLst>
                <a:ext uri="{FF2B5EF4-FFF2-40B4-BE49-F238E27FC236}">
                  <a16:creationId xmlns:a16="http://schemas.microsoft.com/office/drawing/2014/main" id="{9BA5499C-2AE2-441D-8899-3E4B15EAE871}"/>
                </a:ext>
              </a:extLst>
            </p:cNvPr>
            <p:cNvSpPr>
              <a:spLocks/>
            </p:cNvSpPr>
            <p:nvPr/>
          </p:nvSpPr>
          <p:spPr bwMode="auto">
            <a:xfrm>
              <a:off x="5336170" y="3451079"/>
              <a:ext cx="495373" cy="453804"/>
            </a:xfrm>
            <a:custGeom>
              <a:avLst/>
              <a:gdLst>
                <a:gd name="T0" fmla="*/ 0 w 286"/>
                <a:gd name="T1" fmla="*/ 8 h 262"/>
                <a:gd name="T2" fmla="*/ 10 w 286"/>
                <a:gd name="T3" fmla="*/ 34 h 262"/>
                <a:gd name="T4" fmla="*/ 18 w 286"/>
                <a:gd name="T5" fmla="*/ 68 h 262"/>
                <a:gd name="T6" fmla="*/ 22 w 286"/>
                <a:gd name="T7" fmla="*/ 76 h 262"/>
                <a:gd name="T8" fmla="*/ 34 w 286"/>
                <a:gd name="T9" fmla="*/ 78 h 262"/>
                <a:gd name="T10" fmla="*/ 32 w 286"/>
                <a:gd name="T11" fmla="*/ 92 h 262"/>
                <a:gd name="T12" fmla="*/ 22 w 286"/>
                <a:gd name="T13" fmla="*/ 98 h 262"/>
                <a:gd name="T14" fmla="*/ 22 w 286"/>
                <a:gd name="T15" fmla="*/ 114 h 262"/>
                <a:gd name="T16" fmla="*/ 32 w 286"/>
                <a:gd name="T17" fmla="*/ 118 h 262"/>
                <a:gd name="T18" fmla="*/ 36 w 286"/>
                <a:gd name="T19" fmla="*/ 128 h 262"/>
                <a:gd name="T20" fmla="*/ 46 w 286"/>
                <a:gd name="T21" fmla="*/ 136 h 262"/>
                <a:gd name="T22" fmla="*/ 58 w 286"/>
                <a:gd name="T23" fmla="*/ 134 h 262"/>
                <a:gd name="T24" fmla="*/ 60 w 286"/>
                <a:gd name="T25" fmla="*/ 146 h 262"/>
                <a:gd name="T26" fmla="*/ 56 w 286"/>
                <a:gd name="T27" fmla="*/ 160 h 262"/>
                <a:gd name="T28" fmla="*/ 64 w 286"/>
                <a:gd name="T29" fmla="*/ 164 h 262"/>
                <a:gd name="T30" fmla="*/ 66 w 286"/>
                <a:gd name="T31" fmla="*/ 178 h 262"/>
                <a:gd name="T32" fmla="*/ 78 w 286"/>
                <a:gd name="T33" fmla="*/ 184 h 262"/>
                <a:gd name="T34" fmla="*/ 86 w 286"/>
                <a:gd name="T35" fmla="*/ 176 h 262"/>
                <a:gd name="T36" fmla="*/ 90 w 286"/>
                <a:gd name="T37" fmla="*/ 176 h 262"/>
                <a:gd name="T38" fmla="*/ 96 w 286"/>
                <a:gd name="T39" fmla="*/ 200 h 262"/>
                <a:gd name="T40" fmla="*/ 100 w 286"/>
                <a:gd name="T41" fmla="*/ 210 h 262"/>
                <a:gd name="T42" fmla="*/ 110 w 286"/>
                <a:gd name="T43" fmla="*/ 214 h 262"/>
                <a:gd name="T44" fmla="*/ 110 w 286"/>
                <a:gd name="T45" fmla="*/ 222 h 262"/>
                <a:gd name="T46" fmla="*/ 120 w 286"/>
                <a:gd name="T47" fmla="*/ 222 h 262"/>
                <a:gd name="T48" fmla="*/ 128 w 286"/>
                <a:gd name="T49" fmla="*/ 232 h 262"/>
                <a:gd name="T50" fmla="*/ 146 w 286"/>
                <a:gd name="T51" fmla="*/ 238 h 262"/>
                <a:gd name="T52" fmla="*/ 172 w 286"/>
                <a:gd name="T53" fmla="*/ 238 h 262"/>
                <a:gd name="T54" fmla="*/ 178 w 286"/>
                <a:gd name="T55" fmla="*/ 226 h 262"/>
                <a:gd name="T56" fmla="*/ 186 w 286"/>
                <a:gd name="T57" fmla="*/ 228 h 262"/>
                <a:gd name="T58" fmla="*/ 192 w 286"/>
                <a:gd name="T59" fmla="*/ 244 h 262"/>
                <a:gd name="T60" fmla="*/ 200 w 286"/>
                <a:gd name="T61" fmla="*/ 258 h 262"/>
                <a:gd name="T62" fmla="*/ 224 w 286"/>
                <a:gd name="T63" fmla="*/ 262 h 262"/>
                <a:gd name="T64" fmla="*/ 254 w 286"/>
                <a:gd name="T65" fmla="*/ 260 h 262"/>
                <a:gd name="T66" fmla="*/ 262 w 286"/>
                <a:gd name="T67" fmla="*/ 260 h 262"/>
                <a:gd name="T68" fmla="*/ 274 w 286"/>
                <a:gd name="T69" fmla="*/ 246 h 262"/>
                <a:gd name="T70" fmla="*/ 284 w 286"/>
                <a:gd name="T71" fmla="*/ 234 h 262"/>
                <a:gd name="T72" fmla="*/ 280 w 286"/>
                <a:gd name="T73" fmla="*/ 224 h 262"/>
                <a:gd name="T74" fmla="*/ 270 w 286"/>
                <a:gd name="T75" fmla="*/ 224 h 262"/>
                <a:gd name="T76" fmla="*/ 266 w 286"/>
                <a:gd name="T77" fmla="*/ 210 h 262"/>
                <a:gd name="T78" fmla="*/ 250 w 286"/>
                <a:gd name="T79" fmla="*/ 200 h 262"/>
                <a:gd name="T80" fmla="*/ 250 w 286"/>
                <a:gd name="T81" fmla="*/ 188 h 262"/>
                <a:gd name="T82" fmla="*/ 258 w 286"/>
                <a:gd name="T83" fmla="*/ 174 h 262"/>
                <a:gd name="T84" fmla="*/ 254 w 286"/>
                <a:gd name="T85" fmla="*/ 158 h 262"/>
                <a:gd name="T86" fmla="*/ 238 w 286"/>
                <a:gd name="T87" fmla="*/ 158 h 262"/>
                <a:gd name="T88" fmla="*/ 234 w 286"/>
                <a:gd name="T89" fmla="*/ 152 h 262"/>
                <a:gd name="T90" fmla="*/ 238 w 286"/>
                <a:gd name="T91" fmla="*/ 124 h 262"/>
                <a:gd name="T92" fmla="*/ 240 w 286"/>
                <a:gd name="T93" fmla="*/ 80 h 262"/>
                <a:gd name="T94" fmla="*/ 238 w 286"/>
                <a:gd name="T95" fmla="*/ 64 h 262"/>
                <a:gd name="T96" fmla="*/ 214 w 286"/>
                <a:gd name="T97" fmla="*/ 52 h 262"/>
                <a:gd name="T98" fmla="*/ 192 w 286"/>
                <a:gd name="T99" fmla="*/ 40 h 262"/>
                <a:gd name="T100" fmla="*/ 162 w 286"/>
                <a:gd name="T101" fmla="*/ 34 h 262"/>
                <a:gd name="T102" fmla="*/ 154 w 286"/>
                <a:gd name="T103" fmla="*/ 36 h 262"/>
                <a:gd name="T104" fmla="*/ 146 w 286"/>
                <a:gd name="T105" fmla="*/ 48 h 262"/>
                <a:gd name="T106" fmla="*/ 120 w 286"/>
                <a:gd name="T107" fmla="*/ 58 h 262"/>
                <a:gd name="T108" fmla="*/ 110 w 286"/>
                <a:gd name="T109" fmla="*/ 66 h 262"/>
                <a:gd name="T110" fmla="*/ 90 w 286"/>
                <a:gd name="T111" fmla="*/ 60 h 262"/>
                <a:gd name="T112" fmla="*/ 66 w 286"/>
                <a:gd name="T113" fmla="*/ 42 h 262"/>
                <a:gd name="T114" fmla="*/ 60 w 286"/>
                <a:gd name="T115" fmla="*/ 18 h 262"/>
                <a:gd name="T116" fmla="*/ 54 w 286"/>
                <a:gd name="T117" fmla="*/ 2 h 262"/>
                <a:gd name="T118" fmla="*/ 46 w 286"/>
                <a:gd name="T119" fmla="*/ 8 h 262"/>
                <a:gd name="T120" fmla="*/ 42 w 286"/>
                <a:gd name="T121" fmla="*/ 20 h 262"/>
                <a:gd name="T122" fmla="*/ 26 w 286"/>
                <a:gd name="T123" fmla="*/ 20 h 262"/>
                <a:gd name="T124" fmla="*/ 10 w 286"/>
                <a:gd name="T125" fmla="*/ 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6" h="262">
                  <a:moveTo>
                    <a:pt x="4" y="0"/>
                  </a:moveTo>
                  <a:lnTo>
                    <a:pt x="4" y="0"/>
                  </a:lnTo>
                  <a:lnTo>
                    <a:pt x="4" y="0"/>
                  </a:lnTo>
                  <a:lnTo>
                    <a:pt x="2" y="2"/>
                  </a:lnTo>
                  <a:lnTo>
                    <a:pt x="0" y="4"/>
                  </a:lnTo>
                  <a:lnTo>
                    <a:pt x="0" y="4"/>
                  </a:lnTo>
                  <a:lnTo>
                    <a:pt x="0" y="6"/>
                  </a:lnTo>
                  <a:lnTo>
                    <a:pt x="0" y="6"/>
                  </a:lnTo>
                  <a:lnTo>
                    <a:pt x="0" y="8"/>
                  </a:lnTo>
                  <a:lnTo>
                    <a:pt x="0" y="10"/>
                  </a:lnTo>
                  <a:lnTo>
                    <a:pt x="0" y="10"/>
                  </a:lnTo>
                  <a:lnTo>
                    <a:pt x="0" y="12"/>
                  </a:lnTo>
                  <a:lnTo>
                    <a:pt x="2" y="16"/>
                  </a:lnTo>
                  <a:lnTo>
                    <a:pt x="4" y="20"/>
                  </a:lnTo>
                  <a:lnTo>
                    <a:pt x="4" y="22"/>
                  </a:lnTo>
                  <a:lnTo>
                    <a:pt x="6" y="24"/>
                  </a:lnTo>
                  <a:lnTo>
                    <a:pt x="8" y="28"/>
                  </a:lnTo>
                  <a:lnTo>
                    <a:pt x="10" y="34"/>
                  </a:lnTo>
                  <a:lnTo>
                    <a:pt x="12" y="40"/>
                  </a:lnTo>
                  <a:lnTo>
                    <a:pt x="12" y="42"/>
                  </a:lnTo>
                  <a:lnTo>
                    <a:pt x="14" y="44"/>
                  </a:lnTo>
                  <a:lnTo>
                    <a:pt x="14" y="46"/>
                  </a:lnTo>
                  <a:lnTo>
                    <a:pt x="14" y="48"/>
                  </a:lnTo>
                  <a:lnTo>
                    <a:pt x="16" y="54"/>
                  </a:lnTo>
                  <a:lnTo>
                    <a:pt x="16" y="62"/>
                  </a:lnTo>
                  <a:lnTo>
                    <a:pt x="16" y="64"/>
                  </a:lnTo>
                  <a:lnTo>
                    <a:pt x="18" y="68"/>
                  </a:lnTo>
                  <a:lnTo>
                    <a:pt x="18" y="70"/>
                  </a:lnTo>
                  <a:lnTo>
                    <a:pt x="18" y="72"/>
                  </a:lnTo>
                  <a:lnTo>
                    <a:pt x="18" y="72"/>
                  </a:lnTo>
                  <a:lnTo>
                    <a:pt x="18" y="74"/>
                  </a:lnTo>
                  <a:lnTo>
                    <a:pt x="20" y="74"/>
                  </a:lnTo>
                  <a:lnTo>
                    <a:pt x="20" y="74"/>
                  </a:lnTo>
                  <a:lnTo>
                    <a:pt x="20" y="74"/>
                  </a:lnTo>
                  <a:lnTo>
                    <a:pt x="22" y="76"/>
                  </a:lnTo>
                  <a:lnTo>
                    <a:pt x="22" y="76"/>
                  </a:lnTo>
                  <a:lnTo>
                    <a:pt x="24" y="76"/>
                  </a:lnTo>
                  <a:lnTo>
                    <a:pt x="26" y="76"/>
                  </a:lnTo>
                  <a:lnTo>
                    <a:pt x="30" y="76"/>
                  </a:lnTo>
                  <a:lnTo>
                    <a:pt x="32" y="76"/>
                  </a:lnTo>
                  <a:lnTo>
                    <a:pt x="32" y="76"/>
                  </a:lnTo>
                  <a:lnTo>
                    <a:pt x="32" y="76"/>
                  </a:lnTo>
                  <a:lnTo>
                    <a:pt x="34" y="76"/>
                  </a:lnTo>
                  <a:lnTo>
                    <a:pt x="34" y="76"/>
                  </a:lnTo>
                  <a:lnTo>
                    <a:pt x="34" y="78"/>
                  </a:lnTo>
                  <a:lnTo>
                    <a:pt x="34" y="78"/>
                  </a:lnTo>
                  <a:lnTo>
                    <a:pt x="34" y="78"/>
                  </a:lnTo>
                  <a:lnTo>
                    <a:pt x="34" y="80"/>
                  </a:lnTo>
                  <a:lnTo>
                    <a:pt x="34" y="82"/>
                  </a:lnTo>
                  <a:lnTo>
                    <a:pt x="34" y="84"/>
                  </a:lnTo>
                  <a:lnTo>
                    <a:pt x="34" y="86"/>
                  </a:lnTo>
                  <a:lnTo>
                    <a:pt x="34" y="88"/>
                  </a:lnTo>
                  <a:lnTo>
                    <a:pt x="32" y="90"/>
                  </a:lnTo>
                  <a:lnTo>
                    <a:pt x="32" y="92"/>
                  </a:lnTo>
                  <a:lnTo>
                    <a:pt x="32" y="92"/>
                  </a:lnTo>
                  <a:lnTo>
                    <a:pt x="30" y="92"/>
                  </a:lnTo>
                  <a:lnTo>
                    <a:pt x="30" y="94"/>
                  </a:lnTo>
                  <a:lnTo>
                    <a:pt x="28" y="94"/>
                  </a:lnTo>
                  <a:lnTo>
                    <a:pt x="26" y="96"/>
                  </a:lnTo>
                  <a:lnTo>
                    <a:pt x="24" y="96"/>
                  </a:lnTo>
                  <a:lnTo>
                    <a:pt x="24" y="98"/>
                  </a:lnTo>
                  <a:lnTo>
                    <a:pt x="22" y="98"/>
                  </a:lnTo>
                  <a:lnTo>
                    <a:pt x="22" y="98"/>
                  </a:lnTo>
                  <a:lnTo>
                    <a:pt x="22" y="100"/>
                  </a:lnTo>
                  <a:lnTo>
                    <a:pt x="22" y="100"/>
                  </a:lnTo>
                  <a:lnTo>
                    <a:pt x="20" y="102"/>
                  </a:lnTo>
                  <a:lnTo>
                    <a:pt x="20" y="104"/>
                  </a:lnTo>
                  <a:lnTo>
                    <a:pt x="20" y="106"/>
                  </a:lnTo>
                  <a:lnTo>
                    <a:pt x="20" y="110"/>
                  </a:lnTo>
                  <a:lnTo>
                    <a:pt x="20" y="112"/>
                  </a:lnTo>
                  <a:lnTo>
                    <a:pt x="22" y="114"/>
                  </a:lnTo>
                  <a:lnTo>
                    <a:pt x="22" y="114"/>
                  </a:lnTo>
                  <a:lnTo>
                    <a:pt x="22" y="114"/>
                  </a:lnTo>
                  <a:lnTo>
                    <a:pt x="22" y="114"/>
                  </a:lnTo>
                  <a:lnTo>
                    <a:pt x="22" y="116"/>
                  </a:lnTo>
                  <a:lnTo>
                    <a:pt x="24" y="116"/>
                  </a:lnTo>
                  <a:lnTo>
                    <a:pt x="24" y="116"/>
                  </a:lnTo>
                  <a:lnTo>
                    <a:pt x="26" y="116"/>
                  </a:lnTo>
                  <a:lnTo>
                    <a:pt x="28" y="118"/>
                  </a:lnTo>
                  <a:lnTo>
                    <a:pt x="30" y="118"/>
                  </a:lnTo>
                  <a:lnTo>
                    <a:pt x="32" y="118"/>
                  </a:lnTo>
                  <a:lnTo>
                    <a:pt x="34" y="120"/>
                  </a:lnTo>
                  <a:lnTo>
                    <a:pt x="34" y="120"/>
                  </a:lnTo>
                  <a:lnTo>
                    <a:pt x="36" y="120"/>
                  </a:lnTo>
                  <a:lnTo>
                    <a:pt x="36" y="122"/>
                  </a:lnTo>
                  <a:lnTo>
                    <a:pt x="36" y="122"/>
                  </a:lnTo>
                  <a:lnTo>
                    <a:pt x="36" y="124"/>
                  </a:lnTo>
                  <a:lnTo>
                    <a:pt x="36" y="126"/>
                  </a:lnTo>
                  <a:lnTo>
                    <a:pt x="36" y="126"/>
                  </a:lnTo>
                  <a:lnTo>
                    <a:pt x="36" y="128"/>
                  </a:lnTo>
                  <a:lnTo>
                    <a:pt x="36" y="130"/>
                  </a:lnTo>
                  <a:lnTo>
                    <a:pt x="38" y="132"/>
                  </a:lnTo>
                  <a:lnTo>
                    <a:pt x="38" y="132"/>
                  </a:lnTo>
                  <a:lnTo>
                    <a:pt x="38" y="134"/>
                  </a:lnTo>
                  <a:lnTo>
                    <a:pt x="38" y="134"/>
                  </a:lnTo>
                  <a:lnTo>
                    <a:pt x="40" y="134"/>
                  </a:lnTo>
                  <a:lnTo>
                    <a:pt x="42" y="134"/>
                  </a:lnTo>
                  <a:lnTo>
                    <a:pt x="42" y="136"/>
                  </a:lnTo>
                  <a:lnTo>
                    <a:pt x="46" y="136"/>
                  </a:lnTo>
                  <a:lnTo>
                    <a:pt x="48" y="136"/>
                  </a:lnTo>
                  <a:lnTo>
                    <a:pt x="50" y="136"/>
                  </a:lnTo>
                  <a:lnTo>
                    <a:pt x="50" y="136"/>
                  </a:lnTo>
                  <a:lnTo>
                    <a:pt x="54" y="134"/>
                  </a:lnTo>
                  <a:lnTo>
                    <a:pt x="54" y="134"/>
                  </a:lnTo>
                  <a:lnTo>
                    <a:pt x="56" y="134"/>
                  </a:lnTo>
                  <a:lnTo>
                    <a:pt x="58" y="132"/>
                  </a:lnTo>
                  <a:lnTo>
                    <a:pt x="58" y="132"/>
                  </a:lnTo>
                  <a:lnTo>
                    <a:pt x="58" y="134"/>
                  </a:lnTo>
                  <a:lnTo>
                    <a:pt x="58" y="134"/>
                  </a:lnTo>
                  <a:lnTo>
                    <a:pt x="60" y="134"/>
                  </a:lnTo>
                  <a:lnTo>
                    <a:pt x="60" y="136"/>
                  </a:lnTo>
                  <a:lnTo>
                    <a:pt x="60" y="138"/>
                  </a:lnTo>
                  <a:lnTo>
                    <a:pt x="60" y="138"/>
                  </a:lnTo>
                  <a:lnTo>
                    <a:pt x="60" y="140"/>
                  </a:lnTo>
                  <a:lnTo>
                    <a:pt x="60" y="142"/>
                  </a:lnTo>
                  <a:lnTo>
                    <a:pt x="60" y="146"/>
                  </a:lnTo>
                  <a:lnTo>
                    <a:pt x="60" y="146"/>
                  </a:lnTo>
                  <a:lnTo>
                    <a:pt x="60" y="148"/>
                  </a:lnTo>
                  <a:lnTo>
                    <a:pt x="60" y="148"/>
                  </a:lnTo>
                  <a:lnTo>
                    <a:pt x="58" y="152"/>
                  </a:lnTo>
                  <a:lnTo>
                    <a:pt x="56" y="154"/>
                  </a:lnTo>
                  <a:lnTo>
                    <a:pt x="56" y="156"/>
                  </a:lnTo>
                  <a:lnTo>
                    <a:pt x="56" y="158"/>
                  </a:lnTo>
                  <a:lnTo>
                    <a:pt x="56" y="158"/>
                  </a:lnTo>
                  <a:lnTo>
                    <a:pt x="56" y="160"/>
                  </a:lnTo>
                  <a:lnTo>
                    <a:pt x="56" y="160"/>
                  </a:lnTo>
                  <a:lnTo>
                    <a:pt x="56" y="160"/>
                  </a:lnTo>
                  <a:lnTo>
                    <a:pt x="56" y="160"/>
                  </a:lnTo>
                  <a:lnTo>
                    <a:pt x="58" y="160"/>
                  </a:lnTo>
                  <a:lnTo>
                    <a:pt x="58" y="162"/>
                  </a:lnTo>
                  <a:lnTo>
                    <a:pt x="60" y="162"/>
                  </a:lnTo>
                  <a:lnTo>
                    <a:pt x="62" y="162"/>
                  </a:lnTo>
                  <a:lnTo>
                    <a:pt x="62" y="162"/>
                  </a:lnTo>
                  <a:lnTo>
                    <a:pt x="64" y="162"/>
                  </a:lnTo>
                  <a:lnTo>
                    <a:pt x="64" y="164"/>
                  </a:lnTo>
                  <a:lnTo>
                    <a:pt x="64" y="164"/>
                  </a:lnTo>
                  <a:lnTo>
                    <a:pt x="64" y="164"/>
                  </a:lnTo>
                  <a:lnTo>
                    <a:pt x="64" y="164"/>
                  </a:lnTo>
                  <a:lnTo>
                    <a:pt x="66" y="166"/>
                  </a:lnTo>
                  <a:lnTo>
                    <a:pt x="66" y="170"/>
                  </a:lnTo>
                  <a:lnTo>
                    <a:pt x="66" y="172"/>
                  </a:lnTo>
                  <a:lnTo>
                    <a:pt x="66" y="176"/>
                  </a:lnTo>
                  <a:lnTo>
                    <a:pt x="66" y="178"/>
                  </a:lnTo>
                  <a:lnTo>
                    <a:pt x="66" y="178"/>
                  </a:lnTo>
                  <a:lnTo>
                    <a:pt x="68" y="180"/>
                  </a:lnTo>
                  <a:lnTo>
                    <a:pt x="68" y="182"/>
                  </a:lnTo>
                  <a:lnTo>
                    <a:pt x="70" y="182"/>
                  </a:lnTo>
                  <a:lnTo>
                    <a:pt x="72" y="184"/>
                  </a:lnTo>
                  <a:lnTo>
                    <a:pt x="72" y="184"/>
                  </a:lnTo>
                  <a:lnTo>
                    <a:pt x="74" y="184"/>
                  </a:lnTo>
                  <a:lnTo>
                    <a:pt x="76" y="184"/>
                  </a:lnTo>
                  <a:lnTo>
                    <a:pt x="78" y="184"/>
                  </a:lnTo>
                  <a:lnTo>
                    <a:pt x="78" y="184"/>
                  </a:lnTo>
                  <a:lnTo>
                    <a:pt x="82" y="184"/>
                  </a:lnTo>
                  <a:lnTo>
                    <a:pt x="84" y="182"/>
                  </a:lnTo>
                  <a:lnTo>
                    <a:pt x="84" y="182"/>
                  </a:lnTo>
                  <a:lnTo>
                    <a:pt x="86" y="182"/>
                  </a:lnTo>
                  <a:lnTo>
                    <a:pt x="86" y="182"/>
                  </a:lnTo>
                  <a:lnTo>
                    <a:pt x="86" y="180"/>
                  </a:lnTo>
                  <a:lnTo>
                    <a:pt x="86" y="180"/>
                  </a:lnTo>
                  <a:lnTo>
                    <a:pt x="86" y="178"/>
                  </a:lnTo>
                  <a:lnTo>
                    <a:pt x="86" y="176"/>
                  </a:lnTo>
                  <a:lnTo>
                    <a:pt x="86" y="176"/>
                  </a:lnTo>
                  <a:lnTo>
                    <a:pt x="86" y="176"/>
                  </a:lnTo>
                  <a:lnTo>
                    <a:pt x="86" y="174"/>
                  </a:lnTo>
                  <a:lnTo>
                    <a:pt x="86" y="174"/>
                  </a:lnTo>
                  <a:lnTo>
                    <a:pt x="88" y="174"/>
                  </a:lnTo>
                  <a:lnTo>
                    <a:pt x="88" y="176"/>
                  </a:lnTo>
                  <a:lnTo>
                    <a:pt x="88" y="176"/>
                  </a:lnTo>
                  <a:lnTo>
                    <a:pt x="90" y="176"/>
                  </a:lnTo>
                  <a:lnTo>
                    <a:pt x="90" y="176"/>
                  </a:lnTo>
                  <a:lnTo>
                    <a:pt x="90" y="178"/>
                  </a:lnTo>
                  <a:lnTo>
                    <a:pt x="92" y="180"/>
                  </a:lnTo>
                  <a:lnTo>
                    <a:pt x="92" y="182"/>
                  </a:lnTo>
                  <a:lnTo>
                    <a:pt x="94" y="184"/>
                  </a:lnTo>
                  <a:lnTo>
                    <a:pt x="94" y="188"/>
                  </a:lnTo>
                  <a:lnTo>
                    <a:pt x="94" y="190"/>
                  </a:lnTo>
                  <a:lnTo>
                    <a:pt x="94" y="190"/>
                  </a:lnTo>
                  <a:lnTo>
                    <a:pt x="96" y="194"/>
                  </a:lnTo>
                  <a:lnTo>
                    <a:pt x="96" y="200"/>
                  </a:lnTo>
                  <a:lnTo>
                    <a:pt x="96" y="202"/>
                  </a:lnTo>
                  <a:lnTo>
                    <a:pt x="96" y="204"/>
                  </a:lnTo>
                  <a:lnTo>
                    <a:pt x="96" y="206"/>
                  </a:lnTo>
                  <a:lnTo>
                    <a:pt x="98" y="208"/>
                  </a:lnTo>
                  <a:lnTo>
                    <a:pt x="98" y="208"/>
                  </a:lnTo>
                  <a:lnTo>
                    <a:pt x="98" y="208"/>
                  </a:lnTo>
                  <a:lnTo>
                    <a:pt x="98" y="210"/>
                  </a:lnTo>
                  <a:lnTo>
                    <a:pt x="100" y="210"/>
                  </a:lnTo>
                  <a:lnTo>
                    <a:pt x="100" y="210"/>
                  </a:lnTo>
                  <a:lnTo>
                    <a:pt x="102" y="210"/>
                  </a:lnTo>
                  <a:lnTo>
                    <a:pt x="104" y="210"/>
                  </a:lnTo>
                  <a:lnTo>
                    <a:pt x="106" y="210"/>
                  </a:lnTo>
                  <a:lnTo>
                    <a:pt x="108" y="212"/>
                  </a:lnTo>
                  <a:lnTo>
                    <a:pt x="110" y="212"/>
                  </a:lnTo>
                  <a:lnTo>
                    <a:pt x="110" y="212"/>
                  </a:lnTo>
                  <a:lnTo>
                    <a:pt x="110" y="212"/>
                  </a:lnTo>
                  <a:lnTo>
                    <a:pt x="110" y="212"/>
                  </a:lnTo>
                  <a:lnTo>
                    <a:pt x="110" y="214"/>
                  </a:lnTo>
                  <a:lnTo>
                    <a:pt x="112" y="214"/>
                  </a:lnTo>
                  <a:lnTo>
                    <a:pt x="110" y="214"/>
                  </a:lnTo>
                  <a:lnTo>
                    <a:pt x="110" y="216"/>
                  </a:lnTo>
                  <a:lnTo>
                    <a:pt x="110" y="218"/>
                  </a:lnTo>
                  <a:lnTo>
                    <a:pt x="110" y="218"/>
                  </a:lnTo>
                  <a:lnTo>
                    <a:pt x="110" y="220"/>
                  </a:lnTo>
                  <a:lnTo>
                    <a:pt x="110" y="220"/>
                  </a:lnTo>
                  <a:lnTo>
                    <a:pt x="110" y="222"/>
                  </a:lnTo>
                  <a:lnTo>
                    <a:pt x="110" y="222"/>
                  </a:lnTo>
                  <a:lnTo>
                    <a:pt x="110" y="222"/>
                  </a:lnTo>
                  <a:lnTo>
                    <a:pt x="110" y="222"/>
                  </a:lnTo>
                  <a:lnTo>
                    <a:pt x="112" y="222"/>
                  </a:lnTo>
                  <a:lnTo>
                    <a:pt x="112" y="222"/>
                  </a:lnTo>
                  <a:lnTo>
                    <a:pt x="114" y="222"/>
                  </a:lnTo>
                  <a:lnTo>
                    <a:pt x="116" y="222"/>
                  </a:lnTo>
                  <a:lnTo>
                    <a:pt x="118" y="222"/>
                  </a:lnTo>
                  <a:lnTo>
                    <a:pt x="120" y="222"/>
                  </a:lnTo>
                  <a:lnTo>
                    <a:pt x="120" y="222"/>
                  </a:lnTo>
                  <a:lnTo>
                    <a:pt x="122" y="222"/>
                  </a:lnTo>
                  <a:lnTo>
                    <a:pt x="122" y="222"/>
                  </a:lnTo>
                  <a:lnTo>
                    <a:pt x="122" y="224"/>
                  </a:lnTo>
                  <a:lnTo>
                    <a:pt x="122" y="224"/>
                  </a:lnTo>
                  <a:lnTo>
                    <a:pt x="124" y="224"/>
                  </a:lnTo>
                  <a:lnTo>
                    <a:pt x="124" y="226"/>
                  </a:lnTo>
                  <a:lnTo>
                    <a:pt x="126" y="228"/>
                  </a:lnTo>
                  <a:lnTo>
                    <a:pt x="126" y="230"/>
                  </a:lnTo>
                  <a:lnTo>
                    <a:pt x="128" y="232"/>
                  </a:lnTo>
                  <a:lnTo>
                    <a:pt x="128" y="234"/>
                  </a:lnTo>
                  <a:lnTo>
                    <a:pt x="128" y="234"/>
                  </a:lnTo>
                  <a:lnTo>
                    <a:pt x="130" y="234"/>
                  </a:lnTo>
                  <a:lnTo>
                    <a:pt x="132" y="236"/>
                  </a:lnTo>
                  <a:lnTo>
                    <a:pt x="134" y="236"/>
                  </a:lnTo>
                  <a:lnTo>
                    <a:pt x="136" y="236"/>
                  </a:lnTo>
                  <a:lnTo>
                    <a:pt x="140" y="238"/>
                  </a:lnTo>
                  <a:lnTo>
                    <a:pt x="142" y="238"/>
                  </a:lnTo>
                  <a:lnTo>
                    <a:pt x="146" y="238"/>
                  </a:lnTo>
                  <a:lnTo>
                    <a:pt x="148" y="238"/>
                  </a:lnTo>
                  <a:lnTo>
                    <a:pt x="152" y="240"/>
                  </a:lnTo>
                  <a:lnTo>
                    <a:pt x="154" y="240"/>
                  </a:lnTo>
                  <a:lnTo>
                    <a:pt x="158" y="240"/>
                  </a:lnTo>
                  <a:lnTo>
                    <a:pt x="162" y="240"/>
                  </a:lnTo>
                  <a:lnTo>
                    <a:pt x="164" y="240"/>
                  </a:lnTo>
                  <a:lnTo>
                    <a:pt x="166" y="238"/>
                  </a:lnTo>
                  <a:lnTo>
                    <a:pt x="170" y="238"/>
                  </a:lnTo>
                  <a:lnTo>
                    <a:pt x="172" y="238"/>
                  </a:lnTo>
                  <a:lnTo>
                    <a:pt x="174" y="236"/>
                  </a:lnTo>
                  <a:lnTo>
                    <a:pt x="174" y="236"/>
                  </a:lnTo>
                  <a:lnTo>
                    <a:pt x="174" y="236"/>
                  </a:lnTo>
                  <a:lnTo>
                    <a:pt x="176" y="234"/>
                  </a:lnTo>
                  <a:lnTo>
                    <a:pt x="176" y="232"/>
                  </a:lnTo>
                  <a:lnTo>
                    <a:pt x="176" y="230"/>
                  </a:lnTo>
                  <a:lnTo>
                    <a:pt x="178" y="228"/>
                  </a:lnTo>
                  <a:lnTo>
                    <a:pt x="178" y="228"/>
                  </a:lnTo>
                  <a:lnTo>
                    <a:pt x="178" y="226"/>
                  </a:lnTo>
                  <a:lnTo>
                    <a:pt x="178" y="226"/>
                  </a:lnTo>
                  <a:lnTo>
                    <a:pt x="180" y="226"/>
                  </a:lnTo>
                  <a:lnTo>
                    <a:pt x="180" y="226"/>
                  </a:lnTo>
                  <a:lnTo>
                    <a:pt x="180" y="224"/>
                  </a:lnTo>
                  <a:lnTo>
                    <a:pt x="182" y="226"/>
                  </a:lnTo>
                  <a:lnTo>
                    <a:pt x="184" y="226"/>
                  </a:lnTo>
                  <a:lnTo>
                    <a:pt x="184" y="226"/>
                  </a:lnTo>
                  <a:lnTo>
                    <a:pt x="186" y="226"/>
                  </a:lnTo>
                  <a:lnTo>
                    <a:pt x="186" y="228"/>
                  </a:lnTo>
                  <a:lnTo>
                    <a:pt x="188" y="228"/>
                  </a:lnTo>
                  <a:lnTo>
                    <a:pt x="188" y="228"/>
                  </a:lnTo>
                  <a:lnTo>
                    <a:pt x="190" y="230"/>
                  </a:lnTo>
                  <a:lnTo>
                    <a:pt x="190" y="230"/>
                  </a:lnTo>
                  <a:lnTo>
                    <a:pt x="190" y="232"/>
                  </a:lnTo>
                  <a:lnTo>
                    <a:pt x="190" y="234"/>
                  </a:lnTo>
                  <a:lnTo>
                    <a:pt x="190" y="236"/>
                  </a:lnTo>
                  <a:lnTo>
                    <a:pt x="192" y="240"/>
                  </a:lnTo>
                  <a:lnTo>
                    <a:pt x="192" y="244"/>
                  </a:lnTo>
                  <a:lnTo>
                    <a:pt x="192" y="246"/>
                  </a:lnTo>
                  <a:lnTo>
                    <a:pt x="192" y="248"/>
                  </a:lnTo>
                  <a:lnTo>
                    <a:pt x="192" y="250"/>
                  </a:lnTo>
                  <a:lnTo>
                    <a:pt x="192" y="250"/>
                  </a:lnTo>
                  <a:lnTo>
                    <a:pt x="194" y="252"/>
                  </a:lnTo>
                  <a:lnTo>
                    <a:pt x="194" y="254"/>
                  </a:lnTo>
                  <a:lnTo>
                    <a:pt x="196" y="254"/>
                  </a:lnTo>
                  <a:lnTo>
                    <a:pt x="198" y="256"/>
                  </a:lnTo>
                  <a:lnTo>
                    <a:pt x="200" y="258"/>
                  </a:lnTo>
                  <a:lnTo>
                    <a:pt x="202" y="258"/>
                  </a:lnTo>
                  <a:lnTo>
                    <a:pt x="204" y="260"/>
                  </a:lnTo>
                  <a:lnTo>
                    <a:pt x="206" y="262"/>
                  </a:lnTo>
                  <a:lnTo>
                    <a:pt x="208" y="262"/>
                  </a:lnTo>
                  <a:lnTo>
                    <a:pt x="210" y="262"/>
                  </a:lnTo>
                  <a:lnTo>
                    <a:pt x="214" y="262"/>
                  </a:lnTo>
                  <a:lnTo>
                    <a:pt x="216" y="262"/>
                  </a:lnTo>
                  <a:lnTo>
                    <a:pt x="218" y="262"/>
                  </a:lnTo>
                  <a:lnTo>
                    <a:pt x="224" y="262"/>
                  </a:lnTo>
                  <a:lnTo>
                    <a:pt x="230" y="262"/>
                  </a:lnTo>
                  <a:lnTo>
                    <a:pt x="236" y="260"/>
                  </a:lnTo>
                  <a:lnTo>
                    <a:pt x="242" y="260"/>
                  </a:lnTo>
                  <a:lnTo>
                    <a:pt x="246" y="260"/>
                  </a:lnTo>
                  <a:lnTo>
                    <a:pt x="248" y="260"/>
                  </a:lnTo>
                  <a:lnTo>
                    <a:pt x="250" y="260"/>
                  </a:lnTo>
                  <a:lnTo>
                    <a:pt x="252" y="260"/>
                  </a:lnTo>
                  <a:lnTo>
                    <a:pt x="254" y="260"/>
                  </a:lnTo>
                  <a:lnTo>
                    <a:pt x="254" y="260"/>
                  </a:lnTo>
                  <a:lnTo>
                    <a:pt x="258" y="260"/>
                  </a:lnTo>
                  <a:lnTo>
                    <a:pt x="258" y="262"/>
                  </a:lnTo>
                  <a:lnTo>
                    <a:pt x="260" y="262"/>
                  </a:lnTo>
                  <a:lnTo>
                    <a:pt x="260" y="262"/>
                  </a:lnTo>
                  <a:lnTo>
                    <a:pt x="260" y="262"/>
                  </a:lnTo>
                  <a:lnTo>
                    <a:pt x="262" y="262"/>
                  </a:lnTo>
                  <a:lnTo>
                    <a:pt x="262" y="262"/>
                  </a:lnTo>
                  <a:lnTo>
                    <a:pt x="262" y="260"/>
                  </a:lnTo>
                  <a:lnTo>
                    <a:pt x="262" y="260"/>
                  </a:lnTo>
                  <a:lnTo>
                    <a:pt x="264" y="258"/>
                  </a:lnTo>
                  <a:lnTo>
                    <a:pt x="264" y="256"/>
                  </a:lnTo>
                  <a:lnTo>
                    <a:pt x="264" y="254"/>
                  </a:lnTo>
                  <a:lnTo>
                    <a:pt x="264" y="252"/>
                  </a:lnTo>
                  <a:lnTo>
                    <a:pt x="264" y="250"/>
                  </a:lnTo>
                  <a:lnTo>
                    <a:pt x="266" y="248"/>
                  </a:lnTo>
                  <a:lnTo>
                    <a:pt x="266" y="248"/>
                  </a:lnTo>
                  <a:lnTo>
                    <a:pt x="270" y="246"/>
                  </a:lnTo>
                  <a:lnTo>
                    <a:pt x="274" y="246"/>
                  </a:lnTo>
                  <a:lnTo>
                    <a:pt x="276" y="244"/>
                  </a:lnTo>
                  <a:lnTo>
                    <a:pt x="276" y="244"/>
                  </a:lnTo>
                  <a:lnTo>
                    <a:pt x="278" y="244"/>
                  </a:lnTo>
                  <a:lnTo>
                    <a:pt x="280" y="242"/>
                  </a:lnTo>
                  <a:lnTo>
                    <a:pt x="280" y="240"/>
                  </a:lnTo>
                  <a:lnTo>
                    <a:pt x="282" y="238"/>
                  </a:lnTo>
                  <a:lnTo>
                    <a:pt x="284" y="238"/>
                  </a:lnTo>
                  <a:lnTo>
                    <a:pt x="284" y="236"/>
                  </a:lnTo>
                  <a:lnTo>
                    <a:pt x="284" y="234"/>
                  </a:lnTo>
                  <a:lnTo>
                    <a:pt x="286" y="234"/>
                  </a:lnTo>
                  <a:lnTo>
                    <a:pt x="286" y="232"/>
                  </a:lnTo>
                  <a:lnTo>
                    <a:pt x="286" y="232"/>
                  </a:lnTo>
                  <a:lnTo>
                    <a:pt x="284" y="230"/>
                  </a:lnTo>
                  <a:lnTo>
                    <a:pt x="284" y="230"/>
                  </a:lnTo>
                  <a:lnTo>
                    <a:pt x="284" y="228"/>
                  </a:lnTo>
                  <a:lnTo>
                    <a:pt x="282" y="226"/>
                  </a:lnTo>
                  <a:lnTo>
                    <a:pt x="282" y="226"/>
                  </a:lnTo>
                  <a:lnTo>
                    <a:pt x="280" y="224"/>
                  </a:lnTo>
                  <a:lnTo>
                    <a:pt x="280" y="224"/>
                  </a:lnTo>
                  <a:lnTo>
                    <a:pt x="280" y="224"/>
                  </a:lnTo>
                  <a:lnTo>
                    <a:pt x="280" y="224"/>
                  </a:lnTo>
                  <a:lnTo>
                    <a:pt x="278" y="224"/>
                  </a:lnTo>
                  <a:lnTo>
                    <a:pt x="276" y="224"/>
                  </a:lnTo>
                  <a:lnTo>
                    <a:pt x="274" y="224"/>
                  </a:lnTo>
                  <a:lnTo>
                    <a:pt x="272" y="224"/>
                  </a:lnTo>
                  <a:lnTo>
                    <a:pt x="272" y="224"/>
                  </a:lnTo>
                  <a:lnTo>
                    <a:pt x="270" y="224"/>
                  </a:lnTo>
                  <a:lnTo>
                    <a:pt x="270" y="222"/>
                  </a:lnTo>
                  <a:lnTo>
                    <a:pt x="268" y="222"/>
                  </a:lnTo>
                  <a:lnTo>
                    <a:pt x="268" y="222"/>
                  </a:lnTo>
                  <a:lnTo>
                    <a:pt x="268" y="222"/>
                  </a:lnTo>
                  <a:lnTo>
                    <a:pt x="268" y="220"/>
                  </a:lnTo>
                  <a:lnTo>
                    <a:pt x="266" y="218"/>
                  </a:lnTo>
                  <a:lnTo>
                    <a:pt x="266" y="216"/>
                  </a:lnTo>
                  <a:lnTo>
                    <a:pt x="266" y="214"/>
                  </a:lnTo>
                  <a:lnTo>
                    <a:pt x="266" y="210"/>
                  </a:lnTo>
                  <a:lnTo>
                    <a:pt x="266" y="208"/>
                  </a:lnTo>
                  <a:lnTo>
                    <a:pt x="266" y="206"/>
                  </a:lnTo>
                  <a:lnTo>
                    <a:pt x="262" y="206"/>
                  </a:lnTo>
                  <a:lnTo>
                    <a:pt x="260" y="204"/>
                  </a:lnTo>
                  <a:lnTo>
                    <a:pt x="258" y="204"/>
                  </a:lnTo>
                  <a:lnTo>
                    <a:pt x="254" y="202"/>
                  </a:lnTo>
                  <a:lnTo>
                    <a:pt x="252" y="202"/>
                  </a:lnTo>
                  <a:lnTo>
                    <a:pt x="252" y="200"/>
                  </a:lnTo>
                  <a:lnTo>
                    <a:pt x="250" y="200"/>
                  </a:lnTo>
                  <a:lnTo>
                    <a:pt x="250" y="200"/>
                  </a:lnTo>
                  <a:lnTo>
                    <a:pt x="248" y="198"/>
                  </a:lnTo>
                  <a:lnTo>
                    <a:pt x="248" y="198"/>
                  </a:lnTo>
                  <a:lnTo>
                    <a:pt x="248" y="198"/>
                  </a:lnTo>
                  <a:lnTo>
                    <a:pt x="248" y="196"/>
                  </a:lnTo>
                  <a:lnTo>
                    <a:pt x="248" y="194"/>
                  </a:lnTo>
                  <a:lnTo>
                    <a:pt x="248" y="192"/>
                  </a:lnTo>
                  <a:lnTo>
                    <a:pt x="248" y="190"/>
                  </a:lnTo>
                  <a:lnTo>
                    <a:pt x="250" y="188"/>
                  </a:lnTo>
                  <a:lnTo>
                    <a:pt x="250" y="184"/>
                  </a:lnTo>
                  <a:lnTo>
                    <a:pt x="250" y="184"/>
                  </a:lnTo>
                  <a:lnTo>
                    <a:pt x="252" y="182"/>
                  </a:lnTo>
                  <a:lnTo>
                    <a:pt x="254" y="180"/>
                  </a:lnTo>
                  <a:lnTo>
                    <a:pt x="256" y="178"/>
                  </a:lnTo>
                  <a:lnTo>
                    <a:pt x="256" y="178"/>
                  </a:lnTo>
                  <a:lnTo>
                    <a:pt x="258" y="176"/>
                  </a:lnTo>
                  <a:lnTo>
                    <a:pt x="258" y="176"/>
                  </a:lnTo>
                  <a:lnTo>
                    <a:pt x="258" y="174"/>
                  </a:lnTo>
                  <a:lnTo>
                    <a:pt x="258" y="172"/>
                  </a:lnTo>
                  <a:lnTo>
                    <a:pt x="258" y="170"/>
                  </a:lnTo>
                  <a:lnTo>
                    <a:pt x="258" y="168"/>
                  </a:lnTo>
                  <a:lnTo>
                    <a:pt x="256" y="166"/>
                  </a:lnTo>
                  <a:lnTo>
                    <a:pt x="256" y="162"/>
                  </a:lnTo>
                  <a:lnTo>
                    <a:pt x="256" y="160"/>
                  </a:lnTo>
                  <a:lnTo>
                    <a:pt x="254" y="160"/>
                  </a:lnTo>
                  <a:lnTo>
                    <a:pt x="254" y="158"/>
                  </a:lnTo>
                  <a:lnTo>
                    <a:pt x="254" y="158"/>
                  </a:lnTo>
                  <a:lnTo>
                    <a:pt x="252" y="158"/>
                  </a:lnTo>
                  <a:lnTo>
                    <a:pt x="252" y="156"/>
                  </a:lnTo>
                  <a:lnTo>
                    <a:pt x="250" y="156"/>
                  </a:lnTo>
                  <a:lnTo>
                    <a:pt x="250" y="156"/>
                  </a:lnTo>
                  <a:lnTo>
                    <a:pt x="248" y="156"/>
                  </a:lnTo>
                  <a:lnTo>
                    <a:pt x="246" y="156"/>
                  </a:lnTo>
                  <a:lnTo>
                    <a:pt x="244" y="158"/>
                  </a:lnTo>
                  <a:lnTo>
                    <a:pt x="240" y="158"/>
                  </a:lnTo>
                  <a:lnTo>
                    <a:pt x="238" y="158"/>
                  </a:lnTo>
                  <a:lnTo>
                    <a:pt x="238" y="158"/>
                  </a:lnTo>
                  <a:lnTo>
                    <a:pt x="236" y="158"/>
                  </a:lnTo>
                  <a:lnTo>
                    <a:pt x="236" y="158"/>
                  </a:lnTo>
                  <a:lnTo>
                    <a:pt x="234" y="158"/>
                  </a:lnTo>
                  <a:lnTo>
                    <a:pt x="234" y="156"/>
                  </a:lnTo>
                  <a:lnTo>
                    <a:pt x="234" y="156"/>
                  </a:lnTo>
                  <a:lnTo>
                    <a:pt x="234" y="154"/>
                  </a:lnTo>
                  <a:lnTo>
                    <a:pt x="234" y="154"/>
                  </a:lnTo>
                  <a:lnTo>
                    <a:pt x="234" y="152"/>
                  </a:lnTo>
                  <a:lnTo>
                    <a:pt x="234" y="150"/>
                  </a:lnTo>
                  <a:lnTo>
                    <a:pt x="234" y="148"/>
                  </a:lnTo>
                  <a:lnTo>
                    <a:pt x="234" y="146"/>
                  </a:lnTo>
                  <a:lnTo>
                    <a:pt x="234" y="144"/>
                  </a:lnTo>
                  <a:lnTo>
                    <a:pt x="234" y="140"/>
                  </a:lnTo>
                  <a:lnTo>
                    <a:pt x="238" y="130"/>
                  </a:lnTo>
                  <a:lnTo>
                    <a:pt x="238" y="128"/>
                  </a:lnTo>
                  <a:lnTo>
                    <a:pt x="238" y="126"/>
                  </a:lnTo>
                  <a:lnTo>
                    <a:pt x="238" y="124"/>
                  </a:lnTo>
                  <a:lnTo>
                    <a:pt x="238" y="122"/>
                  </a:lnTo>
                  <a:lnTo>
                    <a:pt x="238" y="120"/>
                  </a:lnTo>
                  <a:lnTo>
                    <a:pt x="238" y="116"/>
                  </a:lnTo>
                  <a:lnTo>
                    <a:pt x="236" y="108"/>
                  </a:lnTo>
                  <a:lnTo>
                    <a:pt x="234" y="100"/>
                  </a:lnTo>
                  <a:lnTo>
                    <a:pt x="236" y="96"/>
                  </a:lnTo>
                  <a:lnTo>
                    <a:pt x="238" y="90"/>
                  </a:lnTo>
                  <a:lnTo>
                    <a:pt x="238" y="86"/>
                  </a:lnTo>
                  <a:lnTo>
                    <a:pt x="240" y="80"/>
                  </a:lnTo>
                  <a:lnTo>
                    <a:pt x="240" y="78"/>
                  </a:lnTo>
                  <a:lnTo>
                    <a:pt x="240" y="74"/>
                  </a:lnTo>
                  <a:lnTo>
                    <a:pt x="240" y="72"/>
                  </a:lnTo>
                  <a:lnTo>
                    <a:pt x="240" y="70"/>
                  </a:lnTo>
                  <a:lnTo>
                    <a:pt x="240" y="68"/>
                  </a:lnTo>
                  <a:lnTo>
                    <a:pt x="240" y="68"/>
                  </a:lnTo>
                  <a:lnTo>
                    <a:pt x="240" y="66"/>
                  </a:lnTo>
                  <a:lnTo>
                    <a:pt x="240" y="66"/>
                  </a:lnTo>
                  <a:lnTo>
                    <a:pt x="238" y="64"/>
                  </a:lnTo>
                  <a:lnTo>
                    <a:pt x="238" y="64"/>
                  </a:lnTo>
                  <a:lnTo>
                    <a:pt x="236" y="64"/>
                  </a:lnTo>
                  <a:lnTo>
                    <a:pt x="234" y="62"/>
                  </a:lnTo>
                  <a:lnTo>
                    <a:pt x="230" y="60"/>
                  </a:lnTo>
                  <a:lnTo>
                    <a:pt x="224" y="58"/>
                  </a:lnTo>
                  <a:lnTo>
                    <a:pt x="222" y="58"/>
                  </a:lnTo>
                  <a:lnTo>
                    <a:pt x="220" y="56"/>
                  </a:lnTo>
                  <a:lnTo>
                    <a:pt x="218" y="54"/>
                  </a:lnTo>
                  <a:lnTo>
                    <a:pt x="214" y="52"/>
                  </a:lnTo>
                  <a:lnTo>
                    <a:pt x="208" y="48"/>
                  </a:lnTo>
                  <a:lnTo>
                    <a:pt x="206" y="46"/>
                  </a:lnTo>
                  <a:lnTo>
                    <a:pt x="202" y="44"/>
                  </a:lnTo>
                  <a:lnTo>
                    <a:pt x="200" y="42"/>
                  </a:lnTo>
                  <a:lnTo>
                    <a:pt x="198" y="40"/>
                  </a:lnTo>
                  <a:lnTo>
                    <a:pt x="198" y="40"/>
                  </a:lnTo>
                  <a:lnTo>
                    <a:pt x="196" y="40"/>
                  </a:lnTo>
                  <a:lnTo>
                    <a:pt x="194" y="40"/>
                  </a:lnTo>
                  <a:lnTo>
                    <a:pt x="192" y="40"/>
                  </a:lnTo>
                  <a:lnTo>
                    <a:pt x="190" y="40"/>
                  </a:lnTo>
                  <a:lnTo>
                    <a:pt x="184" y="40"/>
                  </a:lnTo>
                  <a:lnTo>
                    <a:pt x="182" y="38"/>
                  </a:lnTo>
                  <a:lnTo>
                    <a:pt x="182" y="38"/>
                  </a:lnTo>
                  <a:lnTo>
                    <a:pt x="178" y="38"/>
                  </a:lnTo>
                  <a:lnTo>
                    <a:pt x="176" y="38"/>
                  </a:lnTo>
                  <a:lnTo>
                    <a:pt x="168" y="34"/>
                  </a:lnTo>
                  <a:lnTo>
                    <a:pt x="164" y="34"/>
                  </a:lnTo>
                  <a:lnTo>
                    <a:pt x="162" y="34"/>
                  </a:lnTo>
                  <a:lnTo>
                    <a:pt x="162" y="34"/>
                  </a:lnTo>
                  <a:lnTo>
                    <a:pt x="160" y="34"/>
                  </a:lnTo>
                  <a:lnTo>
                    <a:pt x="158" y="34"/>
                  </a:lnTo>
                  <a:lnTo>
                    <a:pt x="158" y="34"/>
                  </a:lnTo>
                  <a:lnTo>
                    <a:pt x="156" y="34"/>
                  </a:lnTo>
                  <a:lnTo>
                    <a:pt x="156" y="34"/>
                  </a:lnTo>
                  <a:lnTo>
                    <a:pt x="154" y="34"/>
                  </a:lnTo>
                  <a:lnTo>
                    <a:pt x="154" y="36"/>
                  </a:lnTo>
                  <a:lnTo>
                    <a:pt x="154" y="36"/>
                  </a:lnTo>
                  <a:lnTo>
                    <a:pt x="154" y="38"/>
                  </a:lnTo>
                  <a:lnTo>
                    <a:pt x="152" y="40"/>
                  </a:lnTo>
                  <a:lnTo>
                    <a:pt x="152" y="42"/>
                  </a:lnTo>
                  <a:lnTo>
                    <a:pt x="152" y="44"/>
                  </a:lnTo>
                  <a:lnTo>
                    <a:pt x="150" y="46"/>
                  </a:lnTo>
                  <a:lnTo>
                    <a:pt x="150" y="46"/>
                  </a:lnTo>
                  <a:lnTo>
                    <a:pt x="150" y="46"/>
                  </a:lnTo>
                  <a:lnTo>
                    <a:pt x="148" y="48"/>
                  </a:lnTo>
                  <a:lnTo>
                    <a:pt x="146" y="48"/>
                  </a:lnTo>
                  <a:lnTo>
                    <a:pt x="144" y="50"/>
                  </a:lnTo>
                  <a:lnTo>
                    <a:pt x="142" y="50"/>
                  </a:lnTo>
                  <a:lnTo>
                    <a:pt x="138" y="52"/>
                  </a:lnTo>
                  <a:lnTo>
                    <a:pt x="134" y="52"/>
                  </a:lnTo>
                  <a:lnTo>
                    <a:pt x="132" y="54"/>
                  </a:lnTo>
                  <a:lnTo>
                    <a:pt x="128" y="54"/>
                  </a:lnTo>
                  <a:lnTo>
                    <a:pt x="122" y="56"/>
                  </a:lnTo>
                  <a:lnTo>
                    <a:pt x="122" y="56"/>
                  </a:lnTo>
                  <a:lnTo>
                    <a:pt x="120" y="58"/>
                  </a:lnTo>
                  <a:lnTo>
                    <a:pt x="118" y="58"/>
                  </a:lnTo>
                  <a:lnTo>
                    <a:pt x="118" y="60"/>
                  </a:lnTo>
                  <a:lnTo>
                    <a:pt x="116" y="62"/>
                  </a:lnTo>
                  <a:lnTo>
                    <a:pt x="114" y="62"/>
                  </a:lnTo>
                  <a:lnTo>
                    <a:pt x="114" y="64"/>
                  </a:lnTo>
                  <a:lnTo>
                    <a:pt x="112" y="64"/>
                  </a:lnTo>
                  <a:lnTo>
                    <a:pt x="112" y="66"/>
                  </a:lnTo>
                  <a:lnTo>
                    <a:pt x="112" y="66"/>
                  </a:lnTo>
                  <a:lnTo>
                    <a:pt x="110" y="66"/>
                  </a:lnTo>
                  <a:lnTo>
                    <a:pt x="108" y="66"/>
                  </a:lnTo>
                  <a:lnTo>
                    <a:pt x="106" y="66"/>
                  </a:lnTo>
                  <a:lnTo>
                    <a:pt x="104" y="66"/>
                  </a:lnTo>
                  <a:lnTo>
                    <a:pt x="100" y="64"/>
                  </a:lnTo>
                  <a:lnTo>
                    <a:pt x="98" y="64"/>
                  </a:lnTo>
                  <a:lnTo>
                    <a:pt x="96" y="64"/>
                  </a:lnTo>
                  <a:lnTo>
                    <a:pt x="94" y="62"/>
                  </a:lnTo>
                  <a:lnTo>
                    <a:pt x="92" y="62"/>
                  </a:lnTo>
                  <a:lnTo>
                    <a:pt x="90" y="60"/>
                  </a:lnTo>
                  <a:lnTo>
                    <a:pt x="88" y="58"/>
                  </a:lnTo>
                  <a:lnTo>
                    <a:pt x="86" y="56"/>
                  </a:lnTo>
                  <a:lnTo>
                    <a:pt x="82" y="54"/>
                  </a:lnTo>
                  <a:lnTo>
                    <a:pt x="78" y="50"/>
                  </a:lnTo>
                  <a:lnTo>
                    <a:pt x="74" y="48"/>
                  </a:lnTo>
                  <a:lnTo>
                    <a:pt x="70" y="46"/>
                  </a:lnTo>
                  <a:lnTo>
                    <a:pt x="68" y="44"/>
                  </a:lnTo>
                  <a:lnTo>
                    <a:pt x="66" y="42"/>
                  </a:lnTo>
                  <a:lnTo>
                    <a:pt x="66" y="42"/>
                  </a:lnTo>
                  <a:lnTo>
                    <a:pt x="64" y="40"/>
                  </a:lnTo>
                  <a:lnTo>
                    <a:pt x="64" y="40"/>
                  </a:lnTo>
                  <a:lnTo>
                    <a:pt x="64" y="38"/>
                  </a:lnTo>
                  <a:lnTo>
                    <a:pt x="62" y="36"/>
                  </a:lnTo>
                  <a:lnTo>
                    <a:pt x="62" y="32"/>
                  </a:lnTo>
                  <a:lnTo>
                    <a:pt x="60" y="30"/>
                  </a:lnTo>
                  <a:lnTo>
                    <a:pt x="60" y="24"/>
                  </a:lnTo>
                  <a:lnTo>
                    <a:pt x="60" y="22"/>
                  </a:lnTo>
                  <a:lnTo>
                    <a:pt x="60" y="18"/>
                  </a:lnTo>
                  <a:lnTo>
                    <a:pt x="60" y="16"/>
                  </a:lnTo>
                  <a:lnTo>
                    <a:pt x="58" y="12"/>
                  </a:lnTo>
                  <a:lnTo>
                    <a:pt x="58" y="10"/>
                  </a:lnTo>
                  <a:lnTo>
                    <a:pt x="58" y="8"/>
                  </a:lnTo>
                  <a:lnTo>
                    <a:pt x="56" y="6"/>
                  </a:lnTo>
                  <a:lnTo>
                    <a:pt x="56" y="4"/>
                  </a:lnTo>
                  <a:lnTo>
                    <a:pt x="56" y="4"/>
                  </a:lnTo>
                  <a:lnTo>
                    <a:pt x="56" y="2"/>
                  </a:lnTo>
                  <a:lnTo>
                    <a:pt x="54" y="2"/>
                  </a:lnTo>
                  <a:lnTo>
                    <a:pt x="54" y="2"/>
                  </a:lnTo>
                  <a:lnTo>
                    <a:pt x="54" y="2"/>
                  </a:lnTo>
                  <a:lnTo>
                    <a:pt x="52" y="2"/>
                  </a:lnTo>
                  <a:lnTo>
                    <a:pt x="50" y="4"/>
                  </a:lnTo>
                  <a:lnTo>
                    <a:pt x="50" y="4"/>
                  </a:lnTo>
                  <a:lnTo>
                    <a:pt x="48" y="4"/>
                  </a:lnTo>
                  <a:lnTo>
                    <a:pt x="48" y="6"/>
                  </a:lnTo>
                  <a:lnTo>
                    <a:pt x="46" y="6"/>
                  </a:lnTo>
                  <a:lnTo>
                    <a:pt x="46" y="8"/>
                  </a:lnTo>
                  <a:lnTo>
                    <a:pt x="46" y="8"/>
                  </a:lnTo>
                  <a:lnTo>
                    <a:pt x="44" y="8"/>
                  </a:lnTo>
                  <a:lnTo>
                    <a:pt x="44" y="10"/>
                  </a:lnTo>
                  <a:lnTo>
                    <a:pt x="44" y="12"/>
                  </a:lnTo>
                  <a:lnTo>
                    <a:pt x="44" y="14"/>
                  </a:lnTo>
                  <a:lnTo>
                    <a:pt x="44" y="16"/>
                  </a:lnTo>
                  <a:lnTo>
                    <a:pt x="44" y="18"/>
                  </a:lnTo>
                  <a:lnTo>
                    <a:pt x="42" y="20"/>
                  </a:lnTo>
                  <a:lnTo>
                    <a:pt x="42" y="20"/>
                  </a:lnTo>
                  <a:lnTo>
                    <a:pt x="42" y="20"/>
                  </a:lnTo>
                  <a:lnTo>
                    <a:pt x="40" y="20"/>
                  </a:lnTo>
                  <a:lnTo>
                    <a:pt x="40" y="20"/>
                  </a:lnTo>
                  <a:lnTo>
                    <a:pt x="38" y="22"/>
                  </a:lnTo>
                  <a:lnTo>
                    <a:pt x="38" y="22"/>
                  </a:lnTo>
                  <a:lnTo>
                    <a:pt x="34" y="22"/>
                  </a:lnTo>
                  <a:lnTo>
                    <a:pt x="30" y="22"/>
                  </a:lnTo>
                  <a:lnTo>
                    <a:pt x="28" y="20"/>
                  </a:lnTo>
                  <a:lnTo>
                    <a:pt x="26" y="20"/>
                  </a:lnTo>
                  <a:lnTo>
                    <a:pt x="22" y="20"/>
                  </a:lnTo>
                  <a:lnTo>
                    <a:pt x="22" y="18"/>
                  </a:lnTo>
                  <a:lnTo>
                    <a:pt x="20" y="14"/>
                  </a:lnTo>
                  <a:lnTo>
                    <a:pt x="18" y="10"/>
                  </a:lnTo>
                  <a:lnTo>
                    <a:pt x="18" y="8"/>
                  </a:lnTo>
                  <a:lnTo>
                    <a:pt x="16" y="8"/>
                  </a:lnTo>
                  <a:lnTo>
                    <a:pt x="16" y="6"/>
                  </a:lnTo>
                  <a:lnTo>
                    <a:pt x="14" y="4"/>
                  </a:lnTo>
                  <a:lnTo>
                    <a:pt x="10" y="2"/>
                  </a:lnTo>
                  <a:lnTo>
                    <a:pt x="6" y="0"/>
                  </a:lnTo>
                  <a:lnTo>
                    <a:pt x="4"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 name="Freeform 76">
              <a:extLst>
                <a:ext uri="{FF2B5EF4-FFF2-40B4-BE49-F238E27FC236}">
                  <a16:creationId xmlns:a16="http://schemas.microsoft.com/office/drawing/2014/main" id="{DA5951F6-BAB1-4AAC-962D-236FAE501126}"/>
                </a:ext>
              </a:extLst>
            </p:cNvPr>
            <p:cNvSpPr>
              <a:spLocks/>
            </p:cNvSpPr>
            <p:nvPr/>
          </p:nvSpPr>
          <p:spPr bwMode="auto">
            <a:xfrm>
              <a:off x="5336170" y="3451079"/>
              <a:ext cx="495373" cy="453804"/>
            </a:xfrm>
            <a:custGeom>
              <a:avLst/>
              <a:gdLst>
                <a:gd name="T0" fmla="*/ 0 w 286"/>
                <a:gd name="T1" fmla="*/ 8 h 262"/>
                <a:gd name="T2" fmla="*/ 10 w 286"/>
                <a:gd name="T3" fmla="*/ 34 h 262"/>
                <a:gd name="T4" fmla="*/ 18 w 286"/>
                <a:gd name="T5" fmla="*/ 68 h 262"/>
                <a:gd name="T6" fmla="*/ 22 w 286"/>
                <a:gd name="T7" fmla="*/ 76 h 262"/>
                <a:gd name="T8" fmla="*/ 34 w 286"/>
                <a:gd name="T9" fmla="*/ 78 h 262"/>
                <a:gd name="T10" fmla="*/ 32 w 286"/>
                <a:gd name="T11" fmla="*/ 92 h 262"/>
                <a:gd name="T12" fmla="*/ 22 w 286"/>
                <a:gd name="T13" fmla="*/ 98 h 262"/>
                <a:gd name="T14" fmla="*/ 22 w 286"/>
                <a:gd name="T15" fmla="*/ 114 h 262"/>
                <a:gd name="T16" fmla="*/ 32 w 286"/>
                <a:gd name="T17" fmla="*/ 118 h 262"/>
                <a:gd name="T18" fmla="*/ 36 w 286"/>
                <a:gd name="T19" fmla="*/ 128 h 262"/>
                <a:gd name="T20" fmla="*/ 46 w 286"/>
                <a:gd name="T21" fmla="*/ 136 h 262"/>
                <a:gd name="T22" fmla="*/ 58 w 286"/>
                <a:gd name="T23" fmla="*/ 134 h 262"/>
                <a:gd name="T24" fmla="*/ 60 w 286"/>
                <a:gd name="T25" fmla="*/ 146 h 262"/>
                <a:gd name="T26" fmla="*/ 56 w 286"/>
                <a:gd name="T27" fmla="*/ 160 h 262"/>
                <a:gd name="T28" fmla="*/ 64 w 286"/>
                <a:gd name="T29" fmla="*/ 164 h 262"/>
                <a:gd name="T30" fmla="*/ 66 w 286"/>
                <a:gd name="T31" fmla="*/ 178 h 262"/>
                <a:gd name="T32" fmla="*/ 78 w 286"/>
                <a:gd name="T33" fmla="*/ 184 h 262"/>
                <a:gd name="T34" fmla="*/ 86 w 286"/>
                <a:gd name="T35" fmla="*/ 176 h 262"/>
                <a:gd name="T36" fmla="*/ 90 w 286"/>
                <a:gd name="T37" fmla="*/ 176 h 262"/>
                <a:gd name="T38" fmla="*/ 96 w 286"/>
                <a:gd name="T39" fmla="*/ 200 h 262"/>
                <a:gd name="T40" fmla="*/ 100 w 286"/>
                <a:gd name="T41" fmla="*/ 210 h 262"/>
                <a:gd name="T42" fmla="*/ 110 w 286"/>
                <a:gd name="T43" fmla="*/ 214 h 262"/>
                <a:gd name="T44" fmla="*/ 110 w 286"/>
                <a:gd name="T45" fmla="*/ 222 h 262"/>
                <a:gd name="T46" fmla="*/ 120 w 286"/>
                <a:gd name="T47" fmla="*/ 222 h 262"/>
                <a:gd name="T48" fmla="*/ 128 w 286"/>
                <a:gd name="T49" fmla="*/ 232 h 262"/>
                <a:gd name="T50" fmla="*/ 146 w 286"/>
                <a:gd name="T51" fmla="*/ 238 h 262"/>
                <a:gd name="T52" fmla="*/ 172 w 286"/>
                <a:gd name="T53" fmla="*/ 238 h 262"/>
                <a:gd name="T54" fmla="*/ 178 w 286"/>
                <a:gd name="T55" fmla="*/ 226 h 262"/>
                <a:gd name="T56" fmla="*/ 186 w 286"/>
                <a:gd name="T57" fmla="*/ 228 h 262"/>
                <a:gd name="T58" fmla="*/ 192 w 286"/>
                <a:gd name="T59" fmla="*/ 244 h 262"/>
                <a:gd name="T60" fmla="*/ 200 w 286"/>
                <a:gd name="T61" fmla="*/ 258 h 262"/>
                <a:gd name="T62" fmla="*/ 224 w 286"/>
                <a:gd name="T63" fmla="*/ 262 h 262"/>
                <a:gd name="T64" fmla="*/ 254 w 286"/>
                <a:gd name="T65" fmla="*/ 260 h 262"/>
                <a:gd name="T66" fmla="*/ 262 w 286"/>
                <a:gd name="T67" fmla="*/ 260 h 262"/>
                <a:gd name="T68" fmla="*/ 274 w 286"/>
                <a:gd name="T69" fmla="*/ 246 h 262"/>
                <a:gd name="T70" fmla="*/ 284 w 286"/>
                <a:gd name="T71" fmla="*/ 234 h 262"/>
                <a:gd name="T72" fmla="*/ 280 w 286"/>
                <a:gd name="T73" fmla="*/ 224 h 262"/>
                <a:gd name="T74" fmla="*/ 270 w 286"/>
                <a:gd name="T75" fmla="*/ 224 h 262"/>
                <a:gd name="T76" fmla="*/ 266 w 286"/>
                <a:gd name="T77" fmla="*/ 210 h 262"/>
                <a:gd name="T78" fmla="*/ 250 w 286"/>
                <a:gd name="T79" fmla="*/ 200 h 262"/>
                <a:gd name="T80" fmla="*/ 250 w 286"/>
                <a:gd name="T81" fmla="*/ 188 h 262"/>
                <a:gd name="T82" fmla="*/ 258 w 286"/>
                <a:gd name="T83" fmla="*/ 174 h 262"/>
                <a:gd name="T84" fmla="*/ 254 w 286"/>
                <a:gd name="T85" fmla="*/ 158 h 262"/>
                <a:gd name="T86" fmla="*/ 238 w 286"/>
                <a:gd name="T87" fmla="*/ 158 h 262"/>
                <a:gd name="T88" fmla="*/ 234 w 286"/>
                <a:gd name="T89" fmla="*/ 152 h 262"/>
                <a:gd name="T90" fmla="*/ 238 w 286"/>
                <a:gd name="T91" fmla="*/ 124 h 262"/>
                <a:gd name="T92" fmla="*/ 240 w 286"/>
                <a:gd name="T93" fmla="*/ 80 h 262"/>
                <a:gd name="T94" fmla="*/ 238 w 286"/>
                <a:gd name="T95" fmla="*/ 64 h 262"/>
                <a:gd name="T96" fmla="*/ 214 w 286"/>
                <a:gd name="T97" fmla="*/ 52 h 262"/>
                <a:gd name="T98" fmla="*/ 192 w 286"/>
                <a:gd name="T99" fmla="*/ 40 h 262"/>
                <a:gd name="T100" fmla="*/ 162 w 286"/>
                <a:gd name="T101" fmla="*/ 34 h 262"/>
                <a:gd name="T102" fmla="*/ 154 w 286"/>
                <a:gd name="T103" fmla="*/ 36 h 262"/>
                <a:gd name="T104" fmla="*/ 146 w 286"/>
                <a:gd name="T105" fmla="*/ 48 h 262"/>
                <a:gd name="T106" fmla="*/ 120 w 286"/>
                <a:gd name="T107" fmla="*/ 58 h 262"/>
                <a:gd name="T108" fmla="*/ 110 w 286"/>
                <a:gd name="T109" fmla="*/ 66 h 262"/>
                <a:gd name="T110" fmla="*/ 90 w 286"/>
                <a:gd name="T111" fmla="*/ 60 h 262"/>
                <a:gd name="T112" fmla="*/ 66 w 286"/>
                <a:gd name="T113" fmla="*/ 42 h 262"/>
                <a:gd name="T114" fmla="*/ 60 w 286"/>
                <a:gd name="T115" fmla="*/ 18 h 262"/>
                <a:gd name="T116" fmla="*/ 54 w 286"/>
                <a:gd name="T117" fmla="*/ 2 h 262"/>
                <a:gd name="T118" fmla="*/ 46 w 286"/>
                <a:gd name="T119" fmla="*/ 8 h 262"/>
                <a:gd name="T120" fmla="*/ 42 w 286"/>
                <a:gd name="T121" fmla="*/ 20 h 262"/>
                <a:gd name="T122" fmla="*/ 26 w 286"/>
                <a:gd name="T123" fmla="*/ 20 h 262"/>
                <a:gd name="T124" fmla="*/ 10 w 286"/>
                <a:gd name="T125" fmla="*/ 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6" h="262">
                  <a:moveTo>
                    <a:pt x="4" y="0"/>
                  </a:moveTo>
                  <a:lnTo>
                    <a:pt x="4" y="0"/>
                  </a:lnTo>
                  <a:lnTo>
                    <a:pt x="4" y="0"/>
                  </a:lnTo>
                  <a:lnTo>
                    <a:pt x="2" y="2"/>
                  </a:lnTo>
                  <a:lnTo>
                    <a:pt x="0" y="4"/>
                  </a:lnTo>
                  <a:lnTo>
                    <a:pt x="0" y="4"/>
                  </a:lnTo>
                  <a:lnTo>
                    <a:pt x="0" y="6"/>
                  </a:lnTo>
                  <a:lnTo>
                    <a:pt x="0" y="6"/>
                  </a:lnTo>
                  <a:lnTo>
                    <a:pt x="0" y="8"/>
                  </a:lnTo>
                  <a:lnTo>
                    <a:pt x="0" y="10"/>
                  </a:lnTo>
                  <a:lnTo>
                    <a:pt x="0" y="10"/>
                  </a:lnTo>
                  <a:lnTo>
                    <a:pt x="0" y="12"/>
                  </a:lnTo>
                  <a:lnTo>
                    <a:pt x="2" y="16"/>
                  </a:lnTo>
                  <a:lnTo>
                    <a:pt x="4" y="20"/>
                  </a:lnTo>
                  <a:lnTo>
                    <a:pt x="4" y="22"/>
                  </a:lnTo>
                  <a:lnTo>
                    <a:pt x="6" y="24"/>
                  </a:lnTo>
                  <a:lnTo>
                    <a:pt x="8" y="28"/>
                  </a:lnTo>
                  <a:lnTo>
                    <a:pt x="10" y="34"/>
                  </a:lnTo>
                  <a:lnTo>
                    <a:pt x="12" y="40"/>
                  </a:lnTo>
                  <a:lnTo>
                    <a:pt x="12" y="42"/>
                  </a:lnTo>
                  <a:lnTo>
                    <a:pt x="14" y="44"/>
                  </a:lnTo>
                  <a:lnTo>
                    <a:pt x="14" y="46"/>
                  </a:lnTo>
                  <a:lnTo>
                    <a:pt x="14" y="48"/>
                  </a:lnTo>
                  <a:lnTo>
                    <a:pt x="16" y="54"/>
                  </a:lnTo>
                  <a:lnTo>
                    <a:pt x="16" y="62"/>
                  </a:lnTo>
                  <a:lnTo>
                    <a:pt x="16" y="64"/>
                  </a:lnTo>
                  <a:lnTo>
                    <a:pt x="18" y="68"/>
                  </a:lnTo>
                  <a:lnTo>
                    <a:pt x="18" y="70"/>
                  </a:lnTo>
                  <a:lnTo>
                    <a:pt x="18" y="72"/>
                  </a:lnTo>
                  <a:lnTo>
                    <a:pt x="18" y="72"/>
                  </a:lnTo>
                  <a:lnTo>
                    <a:pt x="18" y="74"/>
                  </a:lnTo>
                  <a:lnTo>
                    <a:pt x="20" y="74"/>
                  </a:lnTo>
                  <a:lnTo>
                    <a:pt x="20" y="74"/>
                  </a:lnTo>
                  <a:lnTo>
                    <a:pt x="20" y="74"/>
                  </a:lnTo>
                  <a:lnTo>
                    <a:pt x="22" y="76"/>
                  </a:lnTo>
                  <a:lnTo>
                    <a:pt x="22" y="76"/>
                  </a:lnTo>
                  <a:lnTo>
                    <a:pt x="24" y="76"/>
                  </a:lnTo>
                  <a:lnTo>
                    <a:pt x="26" y="76"/>
                  </a:lnTo>
                  <a:lnTo>
                    <a:pt x="30" y="76"/>
                  </a:lnTo>
                  <a:lnTo>
                    <a:pt x="32" y="76"/>
                  </a:lnTo>
                  <a:lnTo>
                    <a:pt x="32" y="76"/>
                  </a:lnTo>
                  <a:lnTo>
                    <a:pt x="32" y="76"/>
                  </a:lnTo>
                  <a:lnTo>
                    <a:pt x="34" y="76"/>
                  </a:lnTo>
                  <a:lnTo>
                    <a:pt x="34" y="76"/>
                  </a:lnTo>
                  <a:lnTo>
                    <a:pt x="34" y="78"/>
                  </a:lnTo>
                  <a:lnTo>
                    <a:pt x="34" y="78"/>
                  </a:lnTo>
                  <a:lnTo>
                    <a:pt x="34" y="78"/>
                  </a:lnTo>
                  <a:lnTo>
                    <a:pt x="34" y="80"/>
                  </a:lnTo>
                  <a:lnTo>
                    <a:pt x="34" y="82"/>
                  </a:lnTo>
                  <a:lnTo>
                    <a:pt x="34" y="84"/>
                  </a:lnTo>
                  <a:lnTo>
                    <a:pt x="34" y="86"/>
                  </a:lnTo>
                  <a:lnTo>
                    <a:pt x="34" y="88"/>
                  </a:lnTo>
                  <a:lnTo>
                    <a:pt x="32" y="90"/>
                  </a:lnTo>
                  <a:lnTo>
                    <a:pt x="32" y="92"/>
                  </a:lnTo>
                  <a:lnTo>
                    <a:pt x="32" y="92"/>
                  </a:lnTo>
                  <a:lnTo>
                    <a:pt x="30" y="92"/>
                  </a:lnTo>
                  <a:lnTo>
                    <a:pt x="30" y="94"/>
                  </a:lnTo>
                  <a:lnTo>
                    <a:pt x="28" y="94"/>
                  </a:lnTo>
                  <a:lnTo>
                    <a:pt x="26" y="96"/>
                  </a:lnTo>
                  <a:lnTo>
                    <a:pt x="24" y="96"/>
                  </a:lnTo>
                  <a:lnTo>
                    <a:pt x="24" y="98"/>
                  </a:lnTo>
                  <a:lnTo>
                    <a:pt x="22" y="98"/>
                  </a:lnTo>
                  <a:lnTo>
                    <a:pt x="22" y="98"/>
                  </a:lnTo>
                  <a:lnTo>
                    <a:pt x="22" y="100"/>
                  </a:lnTo>
                  <a:lnTo>
                    <a:pt x="22" y="100"/>
                  </a:lnTo>
                  <a:lnTo>
                    <a:pt x="20" y="102"/>
                  </a:lnTo>
                  <a:lnTo>
                    <a:pt x="20" y="104"/>
                  </a:lnTo>
                  <a:lnTo>
                    <a:pt x="20" y="106"/>
                  </a:lnTo>
                  <a:lnTo>
                    <a:pt x="20" y="110"/>
                  </a:lnTo>
                  <a:lnTo>
                    <a:pt x="20" y="112"/>
                  </a:lnTo>
                  <a:lnTo>
                    <a:pt x="22" y="114"/>
                  </a:lnTo>
                  <a:lnTo>
                    <a:pt x="22" y="114"/>
                  </a:lnTo>
                  <a:lnTo>
                    <a:pt x="22" y="114"/>
                  </a:lnTo>
                  <a:lnTo>
                    <a:pt x="22" y="114"/>
                  </a:lnTo>
                  <a:lnTo>
                    <a:pt x="22" y="116"/>
                  </a:lnTo>
                  <a:lnTo>
                    <a:pt x="24" y="116"/>
                  </a:lnTo>
                  <a:lnTo>
                    <a:pt x="24" y="116"/>
                  </a:lnTo>
                  <a:lnTo>
                    <a:pt x="26" y="116"/>
                  </a:lnTo>
                  <a:lnTo>
                    <a:pt x="28" y="118"/>
                  </a:lnTo>
                  <a:lnTo>
                    <a:pt x="30" y="118"/>
                  </a:lnTo>
                  <a:lnTo>
                    <a:pt x="32" y="118"/>
                  </a:lnTo>
                  <a:lnTo>
                    <a:pt x="34" y="120"/>
                  </a:lnTo>
                  <a:lnTo>
                    <a:pt x="34" y="120"/>
                  </a:lnTo>
                  <a:lnTo>
                    <a:pt x="36" y="120"/>
                  </a:lnTo>
                  <a:lnTo>
                    <a:pt x="36" y="122"/>
                  </a:lnTo>
                  <a:lnTo>
                    <a:pt x="36" y="122"/>
                  </a:lnTo>
                  <a:lnTo>
                    <a:pt x="36" y="124"/>
                  </a:lnTo>
                  <a:lnTo>
                    <a:pt x="36" y="126"/>
                  </a:lnTo>
                  <a:lnTo>
                    <a:pt x="36" y="126"/>
                  </a:lnTo>
                  <a:lnTo>
                    <a:pt x="36" y="128"/>
                  </a:lnTo>
                  <a:lnTo>
                    <a:pt x="36" y="130"/>
                  </a:lnTo>
                  <a:lnTo>
                    <a:pt x="38" y="132"/>
                  </a:lnTo>
                  <a:lnTo>
                    <a:pt x="38" y="132"/>
                  </a:lnTo>
                  <a:lnTo>
                    <a:pt x="38" y="134"/>
                  </a:lnTo>
                  <a:lnTo>
                    <a:pt x="38" y="134"/>
                  </a:lnTo>
                  <a:lnTo>
                    <a:pt x="40" y="134"/>
                  </a:lnTo>
                  <a:lnTo>
                    <a:pt x="42" y="134"/>
                  </a:lnTo>
                  <a:lnTo>
                    <a:pt x="42" y="136"/>
                  </a:lnTo>
                  <a:lnTo>
                    <a:pt x="46" y="136"/>
                  </a:lnTo>
                  <a:lnTo>
                    <a:pt x="48" y="136"/>
                  </a:lnTo>
                  <a:lnTo>
                    <a:pt x="50" y="136"/>
                  </a:lnTo>
                  <a:lnTo>
                    <a:pt x="50" y="136"/>
                  </a:lnTo>
                  <a:lnTo>
                    <a:pt x="54" y="134"/>
                  </a:lnTo>
                  <a:lnTo>
                    <a:pt x="54" y="134"/>
                  </a:lnTo>
                  <a:lnTo>
                    <a:pt x="56" y="134"/>
                  </a:lnTo>
                  <a:lnTo>
                    <a:pt x="58" y="132"/>
                  </a:lnTo>
                  <a:lnTo>
                    <a:pt x="58" y="132"/>
                  </a:lnTo>
                  <a:lnTo>
                    <a:pt x="58" y="134"/>
                  </a:lnTo>
                  <a:lnTo>
                    <a:pt x="58" y="134"/>
                  </a:lnTo>
                  <a:lnTo>
                    <a:pt x="60" y="134"/>
                  </a:lnTo>
                  <a:lnTo>
                    <a:pt x="60" y="136"/>
                  </a:lnTo>
                  <a:lnTo>
                    <a:pt x="60" y="138"/>
                  </a:lnTo>
                  <a:lnTo>
                    <a:pt x="60" y="138"/>
                  </a:lnTo>
                  <a:lnTo>
                    <a:pt x="60" y="140"/>
                  </a:lnTo>
                  <a:lnTo>
                    <a:pt x="60" y="142"/>
                  </a:lnTo>
                  <a:lnTo>
                    <a:pt x="60" y="146"/>
                  </a:lnTo>
                  <a:lnTo>
                    <a:pt x="60" y="146"/>
                  </a:lnTo>
                  <a:lnTo>
                    <a:pt x="60" y="148"/>
                  </a:lnTo>
                  <a:lnTo>
                    <a:pt x="60" y="148"/>
                  </a:lnTo>
                  <a:lnTo>
                    <a:pt x="58" y="152"/>
                  </a:lnTo>
                  <a:lnTo>
                    <a:pt x="56" y="154"/>
                  </a:lnTo>
                  <a:lnTo>
                    <a:pt x="56" y="156"/>
                  </a:lnTo>
                  <a:lnTo>
                    <a:pt x="56" y="158"/>
                  </a:lnTo>
                  <a:lnTo>
                    <a:pt x="56" y="158"/>
                  </a:lnTo>
                  <a:lnTo>
                    <a:pt x="56" y="160"/>
                  </a:lnTo>
                  <a:lnTo>
                    <a:pt x="56" y="160"/>
                  </a:lnTo>
                  <a:lnTo>
                    <a:pt x="56" y="160"/>
                  </a:lnTo>
                  <a:lnTo>
                    <a:pt x="56" y="160"/>
                  </a:lnTo>
                  <a:lnTo>
                    <a:pt x="58" y="160"/>
                  </a:lnTo>
                  <a:lnTo>
                    <a:pt x="58" y="162"/>
                  </a:lnTo>
                  <a:lnTo>
                    <a:pt x="60" y="162"/>
                  </a:lnTo>
                  <a:lnTo>
                    <a:pt x="62" y="162"/>
                  </a:lnTo>
                  <a:lnTo>
                    <a:pt x="62" y="162"/>
                  </a:lnTo>
                  <a:lnTo>
                    <a:pt x="64" y="162"/>
                  </a:lnTo>
                  <a:lnTo>
                    <a:pt x="64" y="164"/>
                  </a:lnTo>
                  <a:lnTo>
                    <a:pt x="64" y="164"/>
                  </a:lnTo>
                  <a:lnTo>
                    <a:pt x="64" y="164"/>
                  </a:lnTo>
                  <a:lnTo>
                    <a:pt x="64" y="164"/>
                  </a:lnTo>
                  <a:lnTo>
                    <a:pt x="66" y="166"/>
                  </a:lnTo>
                  <a:lnTo>
                    <a:pt x="66" y="170"/>
                  </a:lnTo>
                  <a:lnTo>
                    <a:pt x="66" y="172"/>
                  </a:lnTo>
                  <a:lnTo>
                    <a:pt x="66" y="176"/>
                  </a:lnTo>
                  <a:lnTo>
                    <a:pt x="66" y="178"/>
                  </a:lnTo>
                  <a:lnTo>
                    <a:pt x="66" y="178"/>
                  </a:lnTo>
                  <a:lnTo>
                    <a:pt x="68" y="180"/>
                  </a:lnTo>
                  <a:lnTo>
                    <a:pt x="68" y="182"/>
                  </a:lnTo>
                  <a:lnTo>
                    <a:pt x="70" y="182"/>
                  </a:lnTo>
                  <a:lnTo>
                    <a:pt x="72" y="184"/>
                  </a:lnTo>
                  <a:lnTo>
                    <a:pt x="72" y="184"/>
                  </a:lnTo>
                  <a:lnTo>
                    <a:pt x="74" y="184"/>
                  </a:lnTo>
                  <a:lnTo>
                    <a:pt x="76" y="184"/>
                  </a:lnTo>
                  <a:lnTo>
                    <a:pt x="78" y="184"/>
                  </a:lnTo>
                  <a:lnTo>
                    <a:pt x="78" y="184"/>
                  </a:lnTo>
                  <a:lnTo>
                    <a:pt x="82" y="184"/>
                  </a:lnTo>
                  <a:lnTo>
                    <a:pt x="84" y="182"/>
                  </a:lnTo>
                  <a:lnTo>
                    <a:pt x="84" y="182"/>
                  </a:lnTo>
                  <a:lnTo>
                    <a:pt x="86" y="182"/>
                  </a:lnTo>
                  <a:lnTo>
                    <a:pt x="86" y="182"/>
                  </a:lnTo>
                  <a:lnTo>
                    <a:pt x="86" y="180"/>
                  </a:lnTo>
                  <a:lnTo>
                    <a:pt x="86" y="180"/>
                  </a:lnTo>
                  <a:lnTo>
                    <a:pt x="86" y="178"/>
                  </a:lnTo>
                  <a:lnTo>
                    <a:pt x="86" y="176"/>
                  </a:lnTo>
                  <a:lnTo>
                    <a:pt x="86" y="176"/>
                  </a:lnTo>
                  <a:lnTo>
                    <a:pt x="86" y="176"/>
                  </a:lnTo>
                  <a:lnTo>
                    <a:pt x="86" y="174"/>
                  </a:lnTo>
                  <a:lnTo>
                    <a:pt x="86" y="174"/>
                  </a:lnTo>
                  <a:lnTo>
                    <a:pt x="88" y="174"/>
                  </a:lnTo>
                  <a:lnTo>
                    <a:pt x="88" y="176"/>
                  </a:lnTo>
                  <a:lnTo>
                    <a:pt x="88" y="176"/>
                  </a:lnTo>
                  <a:lnTo>
                    <a:pt x="90" y="176"/>
                  </a:lnTo>
                  <a:lnTo>
                    <a:pt x="90" y="176"/>
                  </a:lnTo>
                  <a:lnTo>
                    <a:pt x="90" y="178"/>
                  </a:lnTo>
                  <a:lnTo>
                    <a:pt x="92" y="180"/>
                  </a:lnTo>
                  <a:lnTo>
                    <a:pt x="92" y="182"/>
                  </a:lnTo>
                  <a:lnTo>
                    <a:pt x="94" y="184"/>
                  </a:lnTo>
                  <a:lnTo>
                    <a:pt x="94" y="188"/>
                  </a:lnTo>
                  <a:lnTo>
                    <a:pt x="94" y="190"/>
                  </a:lnTo>
                  <a:lnTo>
                    <a:pt x="94" y="190"/>
                  </a:lnTo>
                  <a:lnTo>
                    <a:pt x="96" y="194"/>
                  </a:lnTo>
                  <a:lnTo>
                    <a:pt x="96" y="200"/>
                  </a:lnTo>
                  <a:lnTo>
                    <a:pt x="96" y="202"/>
                  </a:lnTo>
                  <a:lnTo>
                    <a:pt x="96" y="204"/>
                  </a:lnTo>
                  <a:lnTo>
                    <a:pt x="96" y="206"/>
                  </a:lnTo>
                  <a:lnTo>
                    <a:pt x="98" y="208"/>
                  </a:lnTo>
                  <a:lnTo>
                    <a:pt x="98" y="208"/>
                  </a:lnTo>
                  <a:lnTo>
                    <a:pt x="98" y="208"/>
                  </a:lnTo>
                  <a:lnTo>
                    <a:pt x="98" y="210"/>
                  </a:lnTo>
                  <a:lnTo>
                    <a:pt x="100" y="210"/>
                  </a:lnTo>
                  <a:lnTo>
                    <a:pt x="100" y="210"/>
                  </a:lnTo>
                  <a:lnTo>
                    <a:pt x="102" y="210"/>
                  </a:lnTo>
                  <a:lnTo>
                    <a:pt x="104" y="210"/>
                  </a:lnTo>
                  <a:lnTo>
                    <a:pt x="106" y="210"/>
                  </a:lnTo>
                  <a:lnTo>
                    <a:pt x="108" y="212"/>
                  </a:lnTo>
                  <a:lnTo>
                    <a:pt x="110" y="212"/>
                  </a:lnTo>
                  <a:lnTo>
                    <a:pt x="110" y="212"/>
                  </a:lnTo>
                  <a:lnTo>
                    <a:pt x="110" y="212"/>
                  </a:lnTo>
                  <a:lnTo>
                    <a:pt x="110" y="212"/>
                  </a:lnTo>
                  <a:lnTo>
                    <a:pt x="110" y="214"/>
                  </a:lnTo>
                  <a:lnTo>
                    <a:pt x="112" y="214"/>
                  </a:lnTo>
                  <a:lnTo>
                    <a:pt x="110" y="214"/>
                  </a:lnTo>
                  <a:lnTo>
                    <a:pt x="110" y="216"/>
                  </a:lnTo>
                  <a:lnTo>
                    <a:pt x="110" y="218"/>
                  </a:lnTo>
                  <a:lnTo>
                    <a:pt x="110" y="218"/>
                  </a:lnTo>
                  <a:lnTo>
                    <a:pt x="110" y="220"/>
                  </a:lnTo>
                  <a:lnTo>
                    <a:pt x="110" y="220"/>
                  </a:lnTo>
                  <a:lnTo>
                    <a:pt x="110" y="222"/>
                  </a:lnTo>
                  <a:lnTo>
                    <a:pt x="110" y="222"/>
                  </a:lnTo>
                  <a:lnTo>
                    <a:pt x="110" y="222"/>
                  </a:lnTo>
                  <a:lnTo>
                    <a:pt x="110" y="222"/>
                  </a:lnTo>
                  <a:lnTo>
                    <a:pt x="112" y="222"/>
                  </a:lnTo>
                  <a:lnTo>
                    <a:pt x="112" y="222"/>
                  </a:lnTo>
                  <a:lnTo>
                    <a:pt x="114" y="222"/>
                  </a:lnTo>
                  <a:lnTo>
                    <a:pt x="116" y="222"/>
                  </a:lnTo>
                  <a:lnTo>
                    <a:pt x="118" y="222"/>
                  </a:lnTo>
                  <a:lnTo>
                    <a:pt x="120" y="222"/>
                  </a:lnTo>
                  <a:lnTo>
                    <a:pt x="120" y="222"/>
                  </a:lnTo>
                  <a:lnTo>
                    <a:pt x="122" y="222"/>
                  </a:lnTo>
                  <a:lnTo>
                    <a:pt x="122" y="222"/>
                  </a:lnTo>
                  <a:lnTo>
                    <a:pt x="122" y="224"/>
                  </a:lnTo>
                  <a:lnTo>
                    <a:pt x="122" y="224"/>
                  </a:lnTo>
                  <a:lnTo>
                    <a:pt x="124" y="224"/>
                  </a:lnTo>
                  <a:lnTo>
                    <a:pt x="124" y="226"/>
                  </a:lnTo>
                  <a:lnTo>
                    <a:pt x="126" y="228"/>
                  </a:lnTo>
                  <a:lnTo>
                    <a:pt x="126" y="230"/>
                  </a:lnTo>
                  <a:lnTo>
                    <a:pt x="128" y="232"/>
                  </a:lnTo>
                  <a:lnTo>
                    <a:pt x="128" y="234"/>
                  </a:lnTo>
                  <a:lnTo>
                    <a:pt x="128" y="234"/>
                  </a:lnTo>
                  <a:lnTo>
                    <a:pt x="130" y="234"/>
                  </a:lnTo>
                  <a:lnTo>
                    <a:pt x="132" y="236"/>
                  </a:lnTo>
                  <a:lnTo>
                    <a:pt x="134" y="236"/>
                  </a:lnTo>
                  <a:lnTo>
                    <a:pt x="136" y="236"/>
                  </a:lnTo>
                  <a:lnTo>
                    <a:pt x="140" y="238"/>
                  </a:lnTo>
                  <a:lnTo>
                    <a:pt x="142" y="238"/>
                  </a:lnTo>
                  <a:lnTo>
                    <a:pt x="146" y="238"/>
                  </a:lnTo>
                  <a:lnTo>
                    <a:pt x="148" y="238"/>
                  </a:lnTo>
                  <a:lnTo>
                    <a:pt x="152" y="240"/>
                  </a:lnTo>
                  <a:lnTo>
                    <a:pt x="154" y="240"/>
                  </a:lnTo>
                  <a:lnTo>
                    <a:pt x="158" y="240"/>
                  </a:lnTo>
                  <a:lnTo>
                    <a:pt x="162" y="240"/>
                  </a:lnTo>
                  <a:lnTo>
                    <a:pt x="164" y="240"/>
                  </a:lnTo>
                  <a:lnTo>
                    <a:pt x="166" y="238"/>
                  </a:lnTo>
                  <a:lnTo>
                    <a:pt x="170" y="238"/>
                  </a:lnTo>
                  <a:lnTo>
                    <a:pt x="172" y="238"/>
                  </a:lnTo>
                  <a:lnTo>
                    <a:pt x="174" y="236"/>
                  </a:lnTo>
                  <a:lnTo>
                    <a:pt x="174" y="236"/>
                  </a:lnTo>
                  <a:lnTo>
                    <a:pt x="174" y="236"/>
                  </a:lnTo>
                  <a:lnTo>
                    <a:pt x="176" y="234"/>
                  </a:lnTo>
                  <a:lnTo>
                    <a:pt x="176" y="232"/>
                  </a:lnTo>
                  <a:lnTo>
                    <a:pt x="176" y="230"/>
                  </a:lnTo>
                  <a:lnTo>
                    <a:pt x="178" y="228"/>
                  </a:lnTo>
                  <a:lnTo>
                    <a:pt x="178" y="228"/>
                  </a:lnTo>
                  <a:lnTo>
                    <a:pt x="178" y="226"/>
                  </a:lnTo>
                  <a:lnTo>
                    <a:pt x="178" y="226"/>
                  </a:lnTo>
                  <a:lnTo>
                    <a:pt x="180" y="226"/>
                  </a:lnTo>
                  <a:lnTo>
                    <a:pt x="180" y="226"/>
                  </a:lnTo>
                  <a:lnTo>
                    <a:pt x="180" y="224"/>
                  </a:lnTo>
                  <a:lnTo>
                    <a:pt x="182" y="226"/>
                  </a:lnTo>
                  <a:lnTo>
                    <a:pt x="184" y="226"/>
                  </a:lnTo>
                  <a:lnTo>
                    <a:pt x="184" y="226"/>
                  </a:lnTo>
                  <a:lnTo>
                    <a:pt x="186" y="226"/>
                  </a:lnTo>
                  <a:lnTo>
                    <a:pt x="186" y="228"/>
                  </a:lnTo>
                  <a:lnTo>
                    <a:pt x="188" y="228"/>
                  </a:lnTo>
                  <a:lnTo>
                    <a:pt x="188" y="228"/>
                  </a:lnTo>
                  <a:lnTo>
                    <a:pt x="190" y="230"/>
                  </a:lnTo>
                  <a:lnTo>
                    <a:pt x="190" y="230"/>
                  </a:lnTo>
                  <a:lnTo>
                    <a:pt x="190" y="232"/>
                  </a:lnTo>
                  <a:lnTo>
                    <a:pt x="190" y="234"/>
                  </a:lnTo>
                  <a:lnTo>
                    <a:pt x="190" y="236"/>
                  </a:lnTo>
                  <a:lnTo>
                    <a:pt x="192" y="240"/>
                  </a:lnTo>
                  <a:lnTo>
                    <a:pt x="192" y="244"/>
                  </a:lnTo>
                  <a:lnTo>
                    <a:pt x="192" y="246"/>
                  </a:lnTo>
                  <a:lnTo>
                    <a:pt x="192" y="248"/>
                  </a:lnTo>
                  <a:lnTo>
                    <a:pt x="192" y="250"/>
                  </a:lnTo>
                  <a:lnTo>
                    <a:pt x="192" y="250"/>
                  </a:lnTo>
                  <a:lnTo>
                    <a:pt x="194" y="252"/>
                  </a:lnTo>
                  <a:lnTo>
                    <a:pt x="194" y="254"/>
                  </a:lnTo>
                  <a:lnTo>
                    <a:pt x="196" y="254"/>
                  </a:lnTo>
                  <a:lnTo>
                    <a:pt x="198" y="256"/>
                  </a:lnTo>
                  <a:lnTo>
                    <a:pt x="200" y="258"/>
                  </a:lnTo>
                  <a:lnTo>
                    <a:pt x="202" y="258"/>
                  </a:lnTo>
                  <a:lnTo>
                    <a:pt x="204" y="260"/>
                  </a:lnTo>
                  <a:lnTo>
                    <a:pt x="206" y="262"/>
                  </a:lnTo>
                  <a:lnTo>
                    <a:pt x="208" y="262"/>
                  </a:lnTo>
                  <a:lnTo>
                    <a:pt x="210" y="262"/>
                  </a:lnTo>
                  <a:lnTo>
                    <a:pt x="214" y="262"/>
                  </a:lnTo>
                  <a:lnTo>
                    <a:pt x="216" y="262"/>
                  </a:lnTo>
                  <a:lnTo>
                    <a:pt x="218" y="262"/>
                  </a:lnTo>
                  <a:lnTo>
                    <a:pt x="224" y="262"/>
                  </a:lnTo>
                  <a:lnTo>
                    <a:pt x="230" y="262"/>
                  </a:lnTo>
                  <a:lnTo>
                    <a:pt x="236" y="260"/>
                  </a:lnTo>
                  <a:lnTo>
                    <a:pt x="242" y="260"/>
                  </a:lnTo>
                  <a:lnTo>
                    <a:pt x="246" y="260"/>
                  </a:lnTo>
                  <a:lnTo>
                    <a:pt x="248" y="260"/>
                  </a:lnTo>
                  <a:lnTo>
                    <a:pt x="250" y="260"/>
                  </a:lnTo>
                  <a:lnTo>
                    <a:pt x="252" y="260"/>
                  </a:lnTo>
                  <a:lnTo>
                    <a:pt x="254" y="260"/>
                  </a:lnTo>
                  <a:lnTo>
                    <a:pt x="254" y="260"/>
                  </a:lnTo>
                  <a:lnTo>
                    <a:pt x="258" y="260"/>
                  </a:lnTo>
                  <a:lnTo>
                    <a:pt x="258" y="262"/>
                  </a:lnTo>
                  <a:lnTo>
                    <a:pt x="260" y="262"/>
                  </a:lnTo>
                  <a:lnTo>
                    <a:pt x="260" y="262"/>
                  </a:lnTo>
                  <a:lnTo>
                    <a:pt x="260" y="262"/>
                  </a:lnTo>
                  <a:lnTo>
                    <a:pt x="262" y="262"/>
                  </a:lnTo>
                  <a:lnTo>
                    <a:pt x="262" y="262"/>
                  </a:lnTo>
                  <a:lnTo>
                    <a:pt x="262" y="260"/>
                  </a:lnTo>
                  <a:lnTo>
                    <a:pt x="262" y="260"/>
                  </a:lnTo>
                  <a:lnTo>
                    <a:pt x="264" y="258"/>
                  </a:lnTo>
                  <a:lnTo>
                    <a:pt x="264" y="256"/>
                  </a:lnTo>
                  <a:lnTo>
                    <a:pt x="264" y="254"/>
                  </a:lnTo>
                  <a:lnTo>
                    <a:pt x="264" y="252"/>
                  </a:lnTo>
                  <a:lnTo>
                    <a:pt x="264" y="250"/>
                  </a:lnTo>
                  <a:lnTo>
                    <a:pt x="266" y="248"/>
                  </a:lnTo>
                  <a:lnTo>
                    <a:pt x="266" y="248"/>
                  </a:lnTo>
                  <a:lnTo>
                    <a:pt x="270" y="246"/>
                  </a:lnTo>
                  <a:lnTo>
                    <a:pt x="274" y="246"/>
                  </a:lnTo>
                  <a:lnTo>
                    <a:pt x="276" y="244"/>
                  </a:lnTo>
                  <a:lnTo>
                    <a:pt x="276" y="244"/>
                  </a:lnTo>
                  <a:lnTo>
                    <a:pt x="278" y="244"/>
                  </a:lnTo>
                  <a:lnTo>
                    <a:pt x="280" y="242"/>
                  </a:lnTo>
                  <a:lnTo>
                    <a:pt x="280" y="240"/>
                  </a:lnTo>
                  <a:lnTo>
                    <a:pt x="282" y="238"/>
                  </a:lnTo>
                  <a:lnTo>
                    <a:pt x="284" y="238"/>
                  </a:lnTo>
                  <a:lnTo>
                    <a:pt x="284" y="236"/>
                  </a:lnTo>
                  <a:lnTo>
                    <a:pt x="284" y="234"/>
                  </a:lnTo>
                  <a:lnTo>
                    <a:pt x="286" y="234"/>
                  </a:lnTo>
                  <a:lnTo>
                    <a:pt x="286" y="232"/>
                  </a:lnTo>
                  <a:lnTo>
                    <a:pt x="286" y="232"/>
                  </a:lnTo>
                  <a:lnTo>
                    <a:pt x="284" y="230"/>
                  </a:lnTo>
                  <a:lnTo>
                    <a:pt x="284" y="230"/>
                  </a:lnTo>
                  <a:lnTo>
                    <a:pt x="284" y="228"/>
                  </a:lnTo>
                  <a:lnTo>
                    <a:pt x="282" y="226"/>
                  </a:lnTo>
                  <a:lnTo>
                    <a:pt x="282" y="226"/>
                  </a:lnTo>
                  <a:lnTo>
                    <a:pt x="280" y="224"/>
                  </a:lnTo>
                  <a:lnTo>
                    <a:pt x="280" y="224"/>
                  </a:lnTo>
                  <a:lnTo>
                    <a:pt x="280" y="224"/>
                  </a:lnTo>
                  <a:lnTo>
                    <a:pt x="280" y="224"/>
                  </a:lnTo>
                  <a:lnTo>
                    <a:pt x="278" y="224"/>
                  </a:lnTo>
                  <a:lnTo>
                    <a:pt x="276" y="224"/>
                  </a:lnTo>
                  <a:lnTo>
                    <a:pt x="274" y="224"/>
                  </a:lnTo>
                  <a:lnTo>
                    <a:pt x="272" y="224"/>
                  </a:lnTo>
                  <a:lnTo>
                    <a:pt x="272" y="224"/>
                  </a:lnTo>
                  <a:lnTo>
                    <a:pt x="270" y="224"/>
                  </a:lnTo>
                  <a:lnTo>
                    <a:pt x="270" y="222"/>
                  </a:lnTo>
                  <a:lnTo>
                    <a:pt x="268" y="222"/>
                  </a:lnTo>
                  <a:lnTo>
                    <a:pt x="268" y="222"/>
                  </a:lnTo>
                  <a:lnTo>
                    <a:pt x="268" y="222"/>
                  </a:lnTo>
                  <a:lnTo>
                    <a:pt x="268" y="220"/>
                  </a:lnTo>
                  <a:lnTo>
                    <a:pt x="266" y="218"/>
                  </a:lnTo>
                  <a:lnTo>
                    <a:pt x="266" y="216"/>
                  </a:lnTo>
                  <a:lnTo>
                    <a:pt x="266" y="214"/>
                  </a:lnTo>
                  <a:lnTo>
                    <a:pt x="266" y="210"/>
                  </a:lnTo>
                  <a:lnTo>
                    <a:pt x="266" y="208"/>
                  </a:lnTo>
                  <a:lnTo>
                    <a:pt x="266" y="206"/>
                  </a:lnTo>
                  <a:lnTo>
                    <a:pt x="262" y="206"/>
                  </a:lnTo>
                  <a:lnTo>
                    <a:pt x="260" y="204"/>
                  </a:lnTo>
                  <a:lnTo>
                    <a:pt x="258" y="204"/>
                  </a:lnTo>
                  <a:lnTo>
                    <a:pt x="254" y="202"/>
                  </a:lnTo>
                  <a:lnTo>
                    <a:pt x="252" y="202"/>
                  </a:lnTo>
                  <a:lnTo>
                    <a:pt x="252" y="200"/>
                  </a:lnTo>
                  <a:lnTo>
                    <a:pt x="250" y="200"/>
                  </a:lnTo>
                  <a:lnTo>
                    <a:pt x="250" y="200"/>
                  </a:lnTo>
                  <a:lnTo>
                    <a:pt x="248" y="198"/>
                  </a:lnTo>
                  <a:lnTo>
                    <a:pt x="248" y="198"/>
                  </a:lnTo>
                  <a:lnTo>
                    <a:pt x="248" y="198"/>
                  </a:lnTo>
                  <a:lnTo>
                    <a:pt x="248" y="196"/>
                  </a:lnTo>
                  <a:lnTo>
                    <a:pt x="248" y="194"/>
                  </a:lnTo>
                  <a:lnTo>
                    <a:pt x="248" y="192"/>
                  </a:lnTo>
                  <a:lnTo>
                    <a:pt x="248" y="190"/>
                  </a:lnTo>
                  <a:lnTo>
                    <a:pt x="250" y="188"/>
                  </a:lnTo>
                  <a:lnTo>
                    <a:pt x="250" y="184"/>
                  </a:lnTo>
                  <a:lnTo>
                    <a:pt x="250" y="184"/>
                  </a:lnTo>
                  <a:lnTo>
                    <a:pt x="252" y="182"/>
                  </a:lnTo>
                  <a:lnTo>
                    <a:pt x="254" y="180"/>
                  </a:lnTo>
                  <a:lnTo>
                    <a:pt x="256" y="178"/>
                  </a:lnTo>
                  <a:lnTo>
                    <a:pt x="256" y="178"/>
                  </a:lnTo>
                  <a:lnTo>
                    <a:pt x="258" y="176"/>
                  </a:lnTo>
                  <a:lnTo>
                    <a:pt x="258" y="176"/>
                  </a:lnTo>
                  <a:lnTo>
                    <a:pt x="258" y="174"/>
                  </a:lnTo>
                  <a:lnTo>
                    <a:pt x="258" y="172"/>
                  </a:lnTo>
                  <a:lnTo>
                    <a:pt x="258" y="170"/>
                  </a:lnTo>
                  <a:lnTo>
                    <a:pt x="258" y="168"/>
                  </a:lnTo>
                  <a:lnTo>
                    <a:pt x="256" y="166"/>
                  </a:lnTo>
                  <a:lnTo>
                    <a:pt x="256" y="162"/>
                  </a:lnTo>
                  <a:lnTo>
                    <a:pt x="256" y="160"/>
                  </a:lnTo>
                  <a:lnTo>
                    <a:pt x="254" y="160"/>
                  </a:lnTo>
                  <a:lnTo>
                    <a:pt x="254" y="158"/>
                  </a:lnTo>
                  <a:lnTo>
                    <a:pt x="254" y="158"/>
                  </a:lnTo>
                  <a:lnTo>
                    <a:pt x="252" y="158"/>
                  </a:lnTo>
                  <a:lnTo>
                    <a:pt x="252" y="156"/>
                  </a:lnTo>
                  <a:lnTo>
                    <a:pt x="250" y="156"/>
                  </a:lnTo>
                  <a:lnTo>
                    <a:pt x="250" y="156"/>
                  </a:lnTo>
                  <a:lnTo>
                    <a:pt x="248" y="156"/>
                  </a:lnTo>
                  <a:lnTo>
                    <a:pt x="246" y="156"/>
                  </a:lnTo>
                  <a:lnTo>
                    <a:pt x="244" y="158"/>
                  </a:lnTo>
                  <a:lnTo>
                    <a:pt x="240" y="158"/>
                  </a:lnTo>
                  <a:lnTo>
                    <a:pt x="238" y="158"/>
                  </a:lnTo>
                  <a:lnTo>
                    <a:pt x="238" y="158"/>
                  </a:lnTo>
                  <a:lnTo>
                    <a:pt x="236" y="158"/>
                  </a:lnTo>
                  <a:lnTo>
                    <a:pt x="236" y="158"/>
                  </a:lnTo>
                  <a:lnTo>
                    <a:pt x="234" y="158"/>
                  </a:lnTo>
                  <a:lnTo>
                    <a:pt x="234" y="156"/>
                  </a:lnTo>
                  <a:lnTo>
                    <a:pt x="234" y="156"/>
                  </a:lnTo>
                  <a:lnTo>
                    <a:pt x="234" y="154"/>
                  </a:lnTo>
                  <a:lnTo>
                    <a:pt x="234" y="154"/>
                  </a:lnTo>
                  <a:lnTo>
                    <a:pt x="234" y="152"/>
                  </a:lnTo>
                  <a:lnTo>
                    <a:pt x="234" y="150"/>
                  </a:lnTo>
                  <a:lnTo>
                    <a:pt x="234" y="148"/>
                  </a:lnTo>
                  <a:lnTo>
                    <a:pt x="234" y="146"/>
                  </a:lnTo>
                  <a:lnTo>
                    <a:pt x="234" y="144"/>
                  </a:lnTo>
                  <a:lnTo>
                    <a:pt x="234" y="140"/>
                  </a:lnTo>
                  <a:lnTo>
                    <a:pt x="238" y="130"/>
                  </a:lnTo>
                  <a:lnTo>
                    <a:pt x="238" y="128"/>
                  </a:lnTo>
                  <a:lnTo>
                    <a:pt x="238" y="126"/>
                  </a:lnTo>
                  <a:lnTo>
                    <a:pt x="238" y="124"/>
                  </a:lnTo>
                  <a:lnTo>
                    <a:pt x="238" y="122"/>
                  </a:lnTo>
                  <a:lnTo>
                    <a:pt x="238" y="120"/>
                  </a:lnTo>
                  <a:lnTo>
                    <a:pt x="238" y="116"/>
                  </a:lnTo>
                  <a:lnTo>
                    <a:pt x="236" y="108"/>
                  </a:lnTo>
                  <a:lnTo>
                    <a:pt x="234" y="100"/>
                  </a:lnTo>
                  <a:lnTo>
                    <a:pt x="236" y="96"/>
                  </a:lnTo>
                  <a:lnTo>
                    <a:pt x="238" y="90"/>
                  </a:lnTo>
                  <a:lnTo>
                    <a:pt x="238" y="86"/>
                  </a:lnTo>
                  <a:lnTo>
                    <a:pt x="240" y="80"/>
                  </a:lnTo>
                  <a:lnTo>
                    <a:pt x="240" y="78"/>
                  </a:lnTo>
                  <a:lnTo>
                    <a:pt x="240" y="74"/>
                  </a:lnTo>
                  <a:lnTo>
                    <a:pt x="240" y="72"/>
                  </a:lnTo>
                  <a:lnTo>
                    <a:pt x="240" y="70"/>
                  </a:lnTo>
                  <a:lnTo>
                    <a:pt x="240" y="68"/>
                  </a:lnTo>
                  <a:lnTo>
                    <a:pt x="240" y="68"/>
                  </a:lnTo>
                  <a:lnTo>
                    <a:pt x="240" y="66"/>
                  </a:lnTo>
                  <a:lnTo>
                    <a:pt x="240" y="66"/>
                  </a:lnTo>
                  <a:lnTo>
                    <a:pt x="238" y="64"/>
                  </a:lnTo>
                  <a:lnTo>
                    <a:pt x="238" y="64"/>
                  </a:lnTo>
                  <a:lnTo>
                    <a:pt x="236" y="64"/>
                  </a:lnTo>
                  <a:lnTo>
                    <a:pt x="234" y="62"/>
                  </a:lnTo>
                  <a:lnTo>
                    <a:pt x="230" y="60"/>
                  </a:lnTo>
                  <a:lnTo>
                    <a:pt x="224" y="58"/>
                  </a:lnTo>
                  <a:lnTo>
                    <a:pt x="222" y="58"/>
                  </a:lnTo>
                  <a:lnTo>
                    <a:pt x="220" y="56"/>
                  </a:lnTo>
                  <a:lnTo>
                    <a:pt x="218" y="54"/>
                  </a:lnTo>
                  <a:lnTo>
                    <a:pt x="214" y="52"/>
                  </a:lnTo>
                  <a:lnTo>
                    <a:pt x="208" y="48"/>
                  </a:lnTo>
                  <a:lnTo>
                    <a:pt x="206" y="46"/>
                  </a:lnTo>
                  <a:lnTo>
                    <a:pt x="202" y="44"/>
                  </a:lnTo>
                  <a:lnTo>
                    <a:pt x="200" y="42"/>
                  </a:lnTo>
                  <a:lnTo>
                    <a:pt x="198" y="40"/>
                  </a:lnTo>
                  <a:lnTo>
                    <a:pt x="198" y="40"/>
                  </a:lnTo>
                  <a:lnTo>
                    <a:pt x="196" y="40"/>
                  </a:lnTo>
                  <a:lnTo>
                    <a:pt x="194" y="40"/>
                  </a:lnTo>
                  <a:lnTo>
                    <a:pt x="192" y="40"/>
                  </a:lnTo>
                  <a:lnTo>
                    <a:pt x="190" y="40"/>
                  </a:lnTo>
                  <a:lnTo>
                    <a:pt x="184" y="40"/>
                  </a:lnTo>
                  <a:lnTo>
                    <a:pt x="182" y="38"/>
                  </a:lnTo>
                  <a:lnTo>
                    <a:pt x="182" y="38"/>
                  </a:lnTo>
                  <a:lnTo>
                    <a:pt x="178" y="38"/>
                  </a:lnTo>
                  <a:lnTo>
                    <a:pt x="176" y="38"/>
                  </a:lnTo>
                  <a:lnTo>
                    <a:pt x="168" y="34"/>
                  </a:lnTo>
                  <a:lnTo>
                    <a:pt x="164" y="34"/>
                  </a:lnTo>
                  <a:lnTo>
                    <a:pt x="162" y="34"/>
                  </a:lnTo>
                  <a:lnTo>
                    <a:pt x="162" y="34"/>
                  </a:lnTo>
                  <a:lnTo>
                    <a:pt x="160" y="34"/>
                  </a:lnTo>
                  <a:lnTo>
                    <a:pt x="158" y="34"/>
                  </a:lnTo>
                  <a:lnTo>
                    <a:pt x="158" y="34"/>
                  </a:lnTo>
                  <a:lnTo>
                    <a:pt x="156" y="34"/>
                  </a:lnTo>
                  <a:lnTo>
                    <a:pt x="156" y="34"/>
                  </a:lnTo>
                  <a:lnTo>
                    <a:pt x="154" y="34"/>
                  </a:lnTo>
                  <a:lnTo>
                    <a:pt x="154" y="36"/>
                  </a:lnTo>
                  <a:lnTo>
                    <a:pt x="154" y="36"/>
                  </a:lnTo>
                  <a:lnTo>
                    <a:pt x="154" y="38"/>
                  </a:lnTo>
                  <a:lnTo>
                    <a:pt x="152" y="40"/>
                  </a:lnTo>
                  <a:lnTo>
                    <a:pt x="152" y="42"/>
                  </a:lnTo>
                  <a:lnTo>
                    <a:pt x="152" y="44"/>
                  </a:lnTo>
                  <a:lnTo>
                    <a:pt x="150" y="46"/>
                  </a:lnTo>
                  <a:lnTo>
                    <a:pt x="150" y="46"/>
                  </a:lnTo>
                  <a:lnTo>
                    <a:pt x="150" y="46"/>
                  </a:lnTo>
                  <a:lnTo>
                    <a:pt x="148" y="48"/>
                  </a:lnTo>
                  <a:lnTo>
                    <a:pt x="146" y="48"/>
                  </a:lnTo>
                  <a:lnTo>
                    <a:pt x="144" y="50"/>
                  </a:lnTo>
                  <a:lnTo>
                    <a:pt x="142" y="50"/>
                  </a:lnTo>
                  <a:lnTo>
                    <a:pt x="138" y="52"/>
                  </a:lnTo>
                  <a:lnTo>
                    <a:pt x="134" y="52"/>
                  </a:lnTo>
                  <a:lnTo>
                    <a:pt x="132" y="54"/>
                  </a:lnTo>
                  <a:lnTo>
                    <a:pt x="128" y="54"/>
                  </a:lnTo>
                  <a:lnTo>
                    <a:pt x="122" y="56"/>
                  </a:lnTo>
                  <a:lnTo>
                    <a:pt x="122" y="56"/>
                  </a:lnTo>
                  <a:lnTo>
                    <a:pt x="120" y="58"/>
                  </a:lnTo>
                  <a:lnTo>
                    <a:pt x="118" y="58"/>
                  </a:lnTo>
                  <a:lnTo>
                    <a:pt x="118" y="60"/>
                  </a:lnTo>
                  <a:lnTo>
                    <a:pt x="116" y="62"/>
                  </a:lnTo>
                  <a:lnTo>
                    <a:pt x="114" y="62"/>
                  </a:lnTo>
                  <a:lnTo>
                    <a:pt x="114" y="64"/>
                  </a:lnTo>
                  <a:lnTo>
                    <a:pt x="112" y="64"/>
                  </a:lnTo>
                  <a:lnTo>
                    <a:pt x="112" y="66"/>
                  </a:lnTo>
                  <a:lnTo>
                    <a:pt x="112" y="66"/>
                  </a:lnTo>
                  <a:lnTo>
                    <a:pt x="110" y="66"/>
                  </a:lnTo>
                  <a:lnTo>
                    <a:pt x="108" y="66"/>
                  </a:lnTo>
                  <a:lnTo>
                    <a:pt x="106" y="66"/>
                  </a:lnTo>
                  <a:lnTo>
                    <a:pt x="104" y="66"/>
                  </a:lnTo>
                  <a:lnTo>
                    <a:pt x="100" y="64"/>
                  </a:lnTo>
                  <a:lnTo>
                    <a:pt x="98" y="64"/>
                  </a:lnTo>
                  <a:lnTo>
                    <a:pt x="96" y="64"/>
                  </a:lnTo>
                  <a:lnTo>
                    <a:pt x="94" y="62"/>
                  </a:lnTo>
                  <a:lnTo>
                    <a:pt x="92" y="62"/>
                  </a:lnTo>
                  <a:lnTo>
                    <a:pt x="90" y="60"/>
                  </a:lnTo>
                  <a:lnTo>
                    <a:pt x="88" y="58"/>
                  </a:lnTo>
                  <a:lnTo>
                    <a:pt x="86" y="56"/>
                  </a:lnTo>
                  <a:lnTo>
                    <a:pt x="82" y="54"/>
                  </a:lnTo>
                  <a:lnTo>
                    <a:pt x="78" y="50"/>
                  </a:lnTo>
                  <a:lnTo>
                    <a:pt x="74" y="48"/>
                  </a:lnTo>
                  <a:lnTo>
                    <a:pt x="70" y="46"/>
                  </a:lnTo>
                  <a:lnTo>
                    <a:pt x="68" y="44"/>
                  </a:lnTo>
                  <a:lnTo>
                    <a:pt x="66" y="42"/>
                  </a:lnTo>
                  <a:lnTo>
                    <a:pt x="66" y="42"/>
                  </a:lnTo>
                  <a:lnTo>
                    <a:pt x="64" y="40"/>
                  </a:lnTo>
                  <a:lnTo>
                    <a:pt x="64" y="40"/>
                  </a:lnTo>
                  <a:lnTo>
                    <a:pt x="64" y="38"/>
                  </a:lnTo>
                  <a:lnTo>
                    <a:pt x="62" y="36"/>
                  </a:lnTo>
                  <a:lnTo>
                    <a:pt x="62" y="32"/>
                  </a:lnTo>
                  <a:lnTo>
                    <a:pt x="60" y="30"/>
                  </a:lnTo>
                  <a:lnTo>
                    <a:pt x="60" y="24"/>
                  </a:lnTo>
                  <a:lnTo>
                    <a:pt x="60" y="22"/>
                  </a:lnTo>
                  <a:lnTo>
                    <a:pt x="60" y="18"/>
                  </a:lnTo>
                  <a:lnTo>
                    <a:pt x="60" y="16"/>
                  </a:lnTo>
                  <a:lnTo>
                    <a:pt x="58" y="12"/>
                  </a:lnTo>
                  <a:lnTo>
                    <a:pt x="58" y="10"/>
                  </a:lnTo>
                  <a:lnTo>
                    <a:pt x="58" y="8"/>
                  </a:lnTo>
                  <a:lnTo>
                    <a:pt x="56" y="6"/>
                  </a:lnTo>
                  <a:lnTo>
                    <a:pt x="56" y="4"/>
                  </a:lnTo>
                  <a:lnTo>
                    <a:pt x="56" y="4"/>
                  </a:lnTo>
                  <a:lnTo>
                    <a:pt x="56" y="2"/>
                  </a:lnTo>
                  <a:lnTo>
                    <a:pt x="54" y="2"/>
                  </a:lnTo>
                  <a:lnTo>
                    <a:pt x="54" y="2"/>
                  </a:lnTo>
                  <a:lnTo>
                    <a:pt x="54" y="2"/>
                  </a:lnTo>
                  <a:lnTo>
                    <a:pt x="52" y="2"/>
                  </a:lnTo>
                  <a:lnTo>
                    <a:pt x="50" y="4"/>
                  </a:lnTo>
                  <a:lnTo>
                    <a:pt x="50" y="4"/>
                  </a:lnTo>
                  <a:lnTo>
                    <a:pt x="48" y="4"/>
                  </a:lnTo>
                  <a:lnTo>
                    <a:pt x="48" y="6"/>
                  </a:lnTo>
                  <a:lnTo>
                    <a:pt x="46" y="6"/>
                  </a:lnTo>
                  <a:lnTo>
                    <a:pt x="46" y="8"/>
                  </a:lnTo>
                  <a:lnTo>
                    <a:pt x="46" y="8"/>
                  </a:lnTo>
                  <a:lnTo>
                    <a:pt x="44" y="8"/>
                  </a:lnTo>
                  <a:lnTo>
                    <a:pt x="44" y="10"/>
                  </a:lnTo>
                  <a:lnTo>
                    <a:pt x="44" y="12"/>
                  </a:lnTo>
                  <a:lnTo>
                    <a:pt x="44" y="14"/>
                  </a:lnTo>
                  <a:lnTo>
                    <a:pt x="44" y="16"/>
                  </a:lnTo>
                  <a:lnTo>
                    <a:pt x="44" y="18"/>
                  </a:lnTo>
                  <a:lnTo>
                    <a:pt x="42" y="20"/>
                  </a:lnTo>
                  <a:lnTo>
                    <a:pt x="42" y="20"/>
                  </a:lnTo>
                  <a:lnTo>
                    <a:pt x="42" y="20"/>
                  </a:lnTo>
                  <a:lnTo>
                    <a:pt x="40" y="20"/>
                  </a:lnTo>
                  <a:lnTo>
                    <a:pt x="40" y="20"/>
                  </a:lnTo>
                  <a:lnTo>
                    <a:pt x="38" y="22"/>
                  </a:lnTo>
                  <a:lnTo>
                    <a:pt x="38" y="22"/>
                  </a:lnTo>
                  <a:lnTo>
                    <a:pt x="34" y="22"/>
                  </a:lnTo>
                  <a:lnTo>
                    <a:pt x="30" y="22"/>
                  </a:lnTo>
                  <a:lnTo>
                    <a:pt x="28" y="20"/>
                  </a:lnTo>
                  <a:lnTo>
                    <a:pt x="26" y="20"/>
                  </a:lnTo>
                  <a:lnTo>
                    <a:pt x="22" y="20"/>
                  </a:lnTo>
                  <a:lnTo>
                    <a:pt x="22" y="18"/>
                  </a:lnTo>
                  <a:lnTo>
                    <a:pt x="20" y="14"/>
                  </a:lnTo>
                  <a:lnTo>
                    <a:pt x="18" y="10"/>
                  </a:lnTo>
                  <a:lnTo>
                    <a:pt x="18" y="8"/>
                  </a:lnTo>
                  <a:lnTo>
                    <a:pt x="16" y="8"/>
                  </a:lnTo>
                  <a:lnTo>
                    <a:pt x="16" y="6"/>
                  </a:lnTo>
                  <a:lnTo>
                    <a:pt x="14" y="4"/>
                  </a:lnTo>
                  <a:lnTo>
                    <a:pt x="10" y="2"/>
                  </a:lnTo>
                  <a:lnTo>
                    <a:pt x="6" y="0"/>
                  </a:lnTo>
                  <a:lnTo>
                    <a:pt x="4"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 name="Freeform 77">
              <a:extLst>
                <a:ext uri="{FF2B5EF4-FFF2-40B4-BE49-F238E27FC236}">
                  <a16:creationId xmlns:a16="http://schemas.microsoft.com/office/drawing/2014/main" id="{5E4A8743-06AE-4EC1-B32D-776E7A82FD5A}"/>
                </a:ext>
              </a:extLst>
            </p:cNvPr>
            <p:cNvSpPr>
              <a:spLocks/>
            </p:cNvSpPr>
            <p:nvPr/>
          </p:nvSpPr>
          <p:spPr bwMode="auto">
            <a:xfrm>
              <a:off x="5509377" y="3873705"/>
              <a:ext cx="24249" cy="45034"/>
            </a:xfrm>
            <a:custGeom>
              <a:avLst/>
              <a:gdLst>
                <a:gd name="T0" fmla="*/ 10 w 14"/>
                <a:gd name="T1" fmla="*/ 26 h 26"/>
                <a:gd name="T2" fmla="*/ 10 w 14"/>
                <a:gd name="T3" fmla="*/ 26 h 26"/>
                <a:gd name="T4" fmla="*/ 8 w 14"/>
                <a:gd name="T5" fmla="*/ 24 h 26"/>
                <a:gd name="T6" fmla="*/ 6 w 14"/>
                <a:gd name="T7" fmla="*/ 22 h 26"/>
                <a:gd name="T8" fmla="*/ 4 w 14"/>
                <a:gd name="T9" fmla="*/ 20 h 26"/>
                <a:gd name="T10" fmla="*/ 2 w 14"/>
                <a:gd name="T11" fmla="*/ 20 h 26"/>
                <a:gd name="T12" fmla="*/ 2 w 14"/>
                <a:gd name="T13" fmla="*/ 20 h 26"/>
                <a:gd name="T14" fmla="*/ 2 w 14"/>
                <a:gd name="T15" fmla="*/ 18 h 26"/>
                <a:gd name="T16" fmla="*/ 0 w 14"/>
                <a:gd name="T17" fmla="*/ 18 h 26"/>
                <a:gd name="T18" fmla="*/ 0 w 14"/>
                <a:gd name="T19" fmla="*/ 14 h 26"/>
                <a:gd name="T20" fmla="*/ 0 w 14"/>
                <a:gd name="T21" fmla="*/ 12 h 26"/>
                <a:gd name="T22" fmla="*/ 0 w 14"/>
                <a:gd name="T23" fmla="*/ 8 h 26"/>
                <a:gd name="T24" fmla="*/ 0 w 14"/>
                <a:gd name="T25" fmla="*/ 4 h 26"/>
                <a:gd name="T26" fmla="*/ 0 w 14"/>
                <a:gd name="T27" fmla="*/ 0 h 26"/>
                <a:gd name="T28" fmla="*/ 0 w 14"/>
                <a:gd name="T29" fmla="*/ 2 h 26"/>
                <a:gd name="T30" fmla="*/ 4 w 14"/>
                <a:gd name="T31" fmla="*/ 2 h 26"/>
                <a:gd name="T32" fmla="*/ 6 w 14"/>
                <a:gd name="T33" fmla="*/ 4 h 26"/>
                <a:gd name="T34" fmla="*/ 8 w 14"/>
                <a:gd name="T35" fmla="*/ 4 h 26"/>
                <a:gd name="T36" fmla="*/ 10 w 14"/>
                <a:gd name="T37" fmla="*/ 4 h 26"/>
                <a:gd name="T38" fmla="*/ 10 w 14"/>
                <a:gd name="T39" fmla="*/ 6 h 26"/>
                <a:gd name="T40" fmla="*/ 12 w 14"/>
                <a:gd name="T41" fmla="*/ 8 h 26"/>
                <a:gd name="T42" fmla="*/ 14 w 14"/>
                <a:gd name="T43" fmla="*/ 10 h 26"/>
                <a:gd name="T44" fmla="*/ 14 w 14"/>
                <a:gd name="T45" fmla="*/ 10 h 26"/>
                <a:gd name="T46" fmla="*/ 14 w 14"/>
                <a:gd name="T47" fmla="*/ 12 h 26"/>
                <a:gd name="T48" fmla="*/ 14 w 14"/>
                <a:gd name="T49" fmla="*/ 12 h 26"/>
                <a:gd name="T50" fmla="*/ 14 w 14"/>
                <a:gd name="T51" fmla="*/ 12 h 26"/>
                <a:gd name="T52" fmla="*/ 14 w 14"/>
                <a:gd name="T53" fmla="*/ 14 h 26"/>
                <a:gd name="T54" fmla="*/ 12 w 14"/>
                <a:gd name="T55" fmla="*/ 18 h 26"/>
                <a:gd name="T56" fmla="*/ 12 w 14"/>
                <a:gd name="T57" fmla="*/ 20 h 26"/>
                <a:gd name="T58" fmla="*/ 10 w 14"/>
                <a:gd name="T59" fmla="*/ 24 h 26"/>
                <a:gd name="T60" fmla="*/ 10 w 14"/>
                <a:gd name="T6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26">
                  <a:moveTo>
                    <a:pt x="10" y="26"/>
                  </a:moveTo>
                  <a:lnTo>
                    <a:pt x="10" y="26"/>
                  </a:lnTo>
                  <a:lnTo>
                    <a:pt x="8" y="24"/>
                  </a:lnTo>
                  <a:lnTo>
                    <a:pt x="6" y="22"/>
                  </a:lnTo>
                  <a:lnTo>
                    <a:pt x="4" y="20"/>
                  </a:lnTo>
                  <a:lnTo>
                    <a:pt x="2" y="20"/>
                  </a:lnTo>
                  <a:lnTo>
                    <a:pt x="2" y="20"/>
                  </a:lnTo>
                  <a:lnTo>
                    <a:pt x="2" y="18"/>
                  </a:lnTo>
                  <a:lnTo>
                    <a:pt x="0" y="18"/>
                  </a:lnTo>
                  <a:lnTo>
                    <a:pt x="0" y="14"/>
                  </a:lnTo>
                  <a:lnTo>
                    <a:pt x="0" y="12"/>
                  </a:lnTo>
                  <a:lnTo>
                    <a:pt x="0" y="8"/>
                  </a:lnTo>
                  <a:lnTo>
                    <a:pt x="0" y="4"/>
                  </a:lnTo>
                  <a:lnTo>
                    <a:pt x="0" y="0"/>
                  </a:lnTo>
                  <a:lnTo>
                    <a:pt x="0" y="2"/>
                  </a:lnTo>
                  <a:lnTo>
                    <a:pt x="4" y="2"/>
                  </a:lnTo>
                  <a:lnTo>
                    <a:pt x="6" y="4"/>
                  </a:lnTo>
                  <a:lnTo>
                    <a:pt x="8" y="4"/>
                  </a:lnTo>
                  <a:lnTo>
                    <a:pt x="10" y="4"/>
                  </a:lnTo>
                  <a:lnTo>
                    <a:pt x="10" y="6"/>
                  </a:lnTo>
                  <a:lnTo>
                    <a:pt x="12" y="8"/>
                  </a:lnTo>
                  <a:lnTo>
                    <a:pt x="14" y="10"/>
                  </a:lnTo>
                  <a:lnTo>
                    <a:pt x="14" y="10"/>
                  </a:lnTo>
                  <a:lnTo>
                    <a:pt x="14" y="12"/>
                  </a:lnTo>
                  <a:lnTo>
                    <a:pt x="14" y="12"/>
                  </a:lnTo>
                  <a:lnTo>
                    <a:pt x="14" y="12"/>
                  </a:lnTo>
                  <a:lnTo>
                    <a:pt x="14" y="14"/>
                  </a:lnTo>
                  <a:lnTo>
                    <a:pt x="12" y="18"/>
                  </a:lnTo>
                  <a:lnTo>
                    <a:pt x="12" y="20"/>
                  </a:lnTo>
                  <a:lnTo>
                    <a:pt x="10" y="24"/>
                  </a:lnTo>
                  <a:lnTo>
                    <a:pt x="10" y="2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 name="Freeform 78">
              <a:extLst>
                <a:ext uri="{FF2B5EF4-FFF2-40B4-BE49-F238E27FC236}">
                  <a16:creationId xmlns:a16="http://schemas.microsoft.com/office/drawing/2014/main" id="{C36AD1A9-C586-401D-AF48-F781FFEF4ACA}"/>
                </a:ext>
              </a:extLst>
            </p:cNvPr>
            <p:cNvSpPr>
              <a:spLocks/>
            </p:cNvSpPr>
            <p:nvPr/>
          </p:nvSpPr>
          <p:spPr bwMode="auto">
            <a:xfrm>
              <a:off x="5509377" y="3873705"/>
              <a:ext cx="24249" cy="45034"/>
            </a:xfrm>
            <a:custGeom>
              <a:avLst/>
              <a:gdLst>
                <a:gd name="T0" fmla="*/ 10 w 14"/>
                <a:gd name="T1" fmla="*/ 26 h 26"/>
                <a:gd name="T2" fmla="*/ 10 w 14"/>
                <a:gd name="T3" fmla="*/ 26 h 26"/>
                <a:gd name="T4" fmla="*/ 8 w 14"/>
                <a:gd name="T5" fmla="*/ 24 h 26"/>
                <a:gd name="T6" fmla="*/ 6 w 14"/>
                <a:gd name="T7" fmla="*/ 22 h 26"/>
                <a:gd name="T8" fmla="*/ 4 w 14"/>
                <a:gd name="T9" fmla="*/ 20 h 26"/>
                <a:gd name="T10" fmla="*/ 2 w 14"/>
                <a:gd name="T11" fmla="*/ 20 h 26"/>
                <a:gd name="T12" fmla="*/ 2 w 14"/>
                <a:gd name="T13" fmla="*/ 20 h 26"/>
                <a:gd name="T14" fmla="*/ 2 w 14"/>
                <a:gd name="T15" fmla="*/ 18 h 26"/>
                <a:gd name="T16" fmla="*/ 0 w 14"/>
                <a:gd name="T17" fmla="*/ 18 h 26"/>
                <a:gd name="T18" fmla="*/ 0 w 14"/>
                <a:gd name="T19" fmla="*/ 14 h 26"/>
                <a:gd name="T20" fmla="*/ 0 w 14"/>
                <a:gd name="T21" fmla="*/ 12 h 26"/>
                <a:gd name="T22" fmla="*/ 0 w 14"/>
                <a:gd name="T23" fmla="*/ 8 h 26"/>
                <a:gd name="T24" fmla="*/ 0 w 14"/>
                <a:gd name="T25" fmla="*/ 4 h 26"/>
                <a:gd name="T26" fmla="*/ 0 w 14"/>
                <a:gd name="T27" fmla="*/ 0 h 26"/>
                <a:gd name="T28" fmla="*/ 0 w 14"/>
                <a:gd name="T29" fmla="*/ 2 h 26"/>
                <a:gd name="T30" fmla="*/ 4 w 14"/>
                <a:gd name="T31" fmla="*/ 2 h 26"/>
                <a:gd name="T32" fmla="*/ 6 w 14"/>
                <a:gd name="T33" fmla="*/ 4 h 26"/>
                <a:gd name="T34" fmla="*/ 8 w 14"/>
                <a:gd name="T35" fmla="*/ 4 h 26"/>
                <a:gd name="T36" fmla="*/ 10 w 14"/>
                <a:gd name="T37" fmla="*/ 4 h 26"/>
                <a:gd name="T38" fmla="*/ 10 w 14"/>
                <a:gd name="T39" fmla="*/ 6 h 26"/>
                <a:gd name="T40" fmla="*/ 12 w 14"/>
                <a:gd name="T41" fmla="*/ 8 h 26"/>
                <a:gd name="T42" fmla="*/ 14 w 14"/>
                <a:gd name="T43" fmla="*/ 10 h 26"/>
                <a:gd name="T44" fmla="*/ 14 w 14"/>
                <a:gd name="T45" fmla="*/ 10 h 26"/>
                <a:gd name="T46" fmla="*/ 14 w 14"/>
                <a:gd name="T47" fmla="*/ 12 h 26"/>
                <a:gd name="T48" fmla="*/ 14 w 14"/>
                <a:gd name="T49" fmla="*/ 12 h 26"/>
                <a:gd name="T50" fmla="*/ 14 w 14"/>
                <a:gd name="T51" fmla="*/ 12 h 26"/>
                <a:gd name="T52" fmla="*/ 14 w 14"/>
                <a:gd name="T53" fmla="*/ 14 h 26"/>
                <a:gd name="T54" fmla="*/ 12 w 14"/>
                <a:gd name="T55" fmla="*/ 18 h 26"/>
                <a:gd name="T56" fmla="*/ 12 w 14"/>
                <a:gd name="T57" fmla="*/ 20 h 26"/>
                <a:gd name="T58" fmla="*/ 10 w 14"/>
                <a:gd name="T59" fmla="*/ 24 h 26"/>
                <a:gd name="T60" fmla="*/ 10 w 14"/>
                <a:gd name="T6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26">
                  <a:moveTo>
                    <a:pt x="10" y="26"/>
                  </a:moveTo>
                  <a:lnTo>
                    <a:pt x="10" y="26"/>
                  </a:lnTo>
                  <a:lnTo>
                    <a:pt x="8" y="24"/>
                  </a:lnTo>
                  <a:lnTo>
                    <a:pt x="6" y="22"/>
                  </a:lnTo>
                  <a:lnTo>
                    <a:pt x="4" y="20"/>
                  </a:lnTo>
                  <a:lnTo>
                    <a:pt x="2" y="20"/>
                  </a:lnTo>
                  <a:lnTo>
                    <a:pt x="2" y="20"/>
                  </a:lnTo>
                  <a:lnTo>
                    <a:pt x="2" y="18"/>
                  </a:lnTo>
                  <a:lnTo>
                    <a:pt x="0" y="18"/>
                  </a:lnTo>
                  <a:lnTo>
                    <a:pt x="0" y="14"/>
                  </a:lnTo>
                  <a:lnTo>
                    <a:pt x="0" y="12"/>
                  </a:lnTo>
                  <a:lnTo>
                    <a:pt x="0" y="8"/>
                  </a:lnTo>
                  <a:lnTo>
                    <a:pt x="0" y="4"/>
                  </a:lnTo>
                  <a:lnTo>
                    <a:pt x="0" y="0"/>
                  </a:lnTo>
                  <a:lnTo>
                    <a:pt x="0" y="2"/>
                  </a:lnTo>
                  <a:lnTo>
                    <a:pt x="4" y="2"/>
                  </a:lnTo>
                  <a:lnTo>
                    <a:pt x="6" y="4"/>
                  </a:lnTo>
                  <a:lnTo>
                    <a:pt x="8" y="4"/>
                  </a:lnTo>
                  <a:lnTo>
                    <a:pt x="10" y="4"/>
                  </a:lnTo>
                  <a:lnTo>
                    <a:pt x="10" y="6"/>
                  </a:lnTo>
                  <a:lnTo>
                    <a:pt x="12" y="8"/>
                  </a:lnTo>
                  <a:lnTo>
                    <a:pt x="14" y="10"/>
                  </a:lnTo>
                  <a:lnTo>
                    <a:pt x="14" y="10"/>
                  </a:lnTo>
                  <a:lnTo>
                    <a:pt x="14" y="12"/>
                  </a:lnTo>
                  <a:lnTo>
                    <a:pt x="14" y="12"/>
                  </a:lnTo>
                  <a:lnTo>
                    <a:pt x="14" y="12"/>
                  </a:lnTo>
                  <a:lnTo>
                    <a:pt x="14" y="14"/>
                  </a:lnTo>
                  <a:lnTo>
                    <a:pt x="12" y="18"/>
                  </a:lnTo>
                  <a:lnTo>
                    <a:pt x="12" y="20"/>
                  </a:lnTo>
                  <a:lnTo>
                    <a:pt x="10" y="24"/>
                  </a:lnTo>
                  <a:lnTo>
                    <a:pt x="10" y="2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 name="Freeform 79">
              <a:extLst>
                <a:ext uri="{FF2B5EF4-FFF2-40B4-BE49-F238E27FC236}">
                  <a16:creationId xmlns:a16="http://schemas.microsoft.com/office/drawing/2014/main" id="{BE32D470-95D2-41CF-B8E4-52EC49816CCC}"/>
                </a:ext>
              </a:extLst>
            </p:cNvPr>
            <p:cNvSpPr>
              <a:spLocks/>
            </p:cNvSpPr>
            <p:nvPr/>
          </p:nvSpPr>
          <p:spPr bwMode="auto">
            <a:xfrm>
              <a:off x="5509377" y="3873705"/>
              <a:ext cx="24249" cy="45034"/>
            </a:xfrm>
            <a:custGeom>
              <a:avLst/>
              <a:gdLst>
                <a:gd name="T0" fmla="*/ 10 w 14"/>
                <a:gd name="T1" fmla="*/ 26 h 26"/>
                <a:gd name="T2" fmla="*/ 10 w 14"/>
                <a:gd name="T3" fmla="*/ 26 h 26"/>
                <a:gd name="T4" fmla="*/ 8 w 14"/>
                <a:gd name="T5" fmla="*/ 24 h 26"/>
                <a:gd name="T6" fmla="*/ 6 w 14"/>
                <a:gd name="T7" fmla="*/ 22 h 26"/>
                <a:gd name="T8" fmla="*/ 4 w 14"/>
                <a:gd name="T9" fmla="*/ 20 h 26"/>
                <a:gd name="T10" fmla="*/ 2 w 14"/>
                <a:gd name="T11" fmla="*/ 20 h 26"/>
                <a:gd name="T12" fmla="*/ 2 w 14"/>
                <a:gd name="T13" fmla="*/ 20 h 26"/>
                <a:gd name="T14" fmla="*/ 2 w 14"/>
                <a:gd name="T15" fmla="*/ 18 h 26"/>
                <a:gd name="T16" fmla="*/ 0 w 14"/>
                <a:gd name="T17" fmla="*/ 18 h 26"/>
                <a:gd name="T18" fmla="*/ 0 w 14"/>
                <a:gd name="T19" fmla="*/ 14 h 26"/>
                <a:gd name="T20" fmla="*/ 0 w 14"/>
                <a:gd name="T21" fmla="*/ 12 h 26"/>
                <a:gd name="T22" fmla="*/ 0 w 14"/>
                <a:gd name="T23" fmla="*/ 8 h 26"/>
                <a:gd name="T24" fmla="*/ 0 w 14"/>
                <a:gd name="T25" fmla="*/ 4 h 26"/>
                <a:gd name="T26" fmla="*/ 0 w 14"/>
                <a:gd name="T27" fmla="*/ 0 h 26"/>
                <a:gd name="T28" fmla="*/ 0 w 14"/>
                <a:gd name="T29" fmla="*/ 2 h 26"/>
                <a:gd name="T30" fmla="*/ 4 w 14"/>
                <a:gd name="T31" fmla="*/ 2 h 26"/>
                <a:gd name="T32" fmla="*/ 6 w 14"/>
                <a:gd name="T33" fmla="*/ 4 h 26"/>
                <a:gd name="T34" fmla="*/ 8 w 14"/>
                <a:gd name="T35" fmla="*/ 4 h 26"/>
                <a:gd name="T36" fmla="*/ 10 w 14"/>
                <a:gd name="T37" fmla="*/ 4 h 26"/>
                <a:gd name="T38" fmla="*/ 10 w 14"/>
                <a:gd name="T39" fmla="*/ 6 h 26"/>
                <a:gd name="T40" fmla="*/ 12 w 14"/>
                <a:gd name="T41" fmla="*/ 8 h 26"/>
                <a:gd name="T42" fmla="*/ 14 w 14"/>
                <a:gd name="T43" fmla="*/ 10 h 26"/>
                <a:gd name="T44" fmla="*/ 14 w 14"/>
                <a:gd name="T45" fmla="*/ 10 h 26"/>
                <a:gd name="T46" fmla="*/ 14 w 14"/>
                <a:gd name="T47" fmla="*/ 12 h 26"/>
                <a:gd name="T48" fmla="*/ 14 w 14"/>
                <a:gd name="T49" fmla="*/ 12 h 26"/>
                <a:gd name="T50" fmla="*/ 14 w 14"/>
                <a:gd name="T51" fmla="*/ 12 h 26"/>
                <a:gd name="T52" fmla="*/ 14 w 14"/>
                <a:gd name="T53" fmla="*/ 14 h 26"/>
                <a:gd name="T54" fmla="*/ 12 w 14"/>
                <a:gd name="T55" fmla="*/ 18 h 26"/>
                <a:gd name="T56" fmla="*/ 12 w 14"/>
                <a:gd name="T57" fmla="*/ 20 h 26"/>
                <a:gd name="T58" fmla="*/ 10 w 14"/>
                <a:gd name="T59" fmla="*/ 24 h 26"/>
                <a:gd name="T60" fmla="*/ 10 w 14"/>
                <a:gd name="T6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26">
                  <a:moveTo>
                    <a:pt x="10" y="26"/>
                  </a:moveTo>
                  <a:lnTo>
                    <a:pt x="10" y="26"/>
                  </a:lnTo>
                  <a:lnTo>
                    <a:pt x="8" y="24"/>
                  </a:lnTo>
                  <a:lnTo>
                    <a:pt x="6" y="22"/>
                  </a:lnTo>
                  <a:lnTo>
                    <a:pt x="4" y="20"/>
                  </a:lnTo>
                  <a:lnTo>
                    <a:pt x="2" y="20"/>
                  </a:lnTo>
                  <a:lnTo>
                    <a:pt x="2" y="20"/>
                  </a:lnTo>
                  <a:lnTo>
                    <a:pt x="2" y="18"/>
                  </a:lnTo>
                  <a:lnTo>
                    <a:pt x="0" y="18"/>
                  </a:lnTo>
                  <a:lnTo>
                    <a:pt x="0" y="14"/>
                  </a:lnTo>
                  <a:lnTo>
                    <a:pt x="0" y="12"/>
                  </a:lnTo>
                  <a:lnTo>
                    <a:pt x="0" y="8"/>
                  </a:lnTo>
                  <a:lnTo>
                    <a:pt x="0" y="4"/>
                  </a:lnTo>
                  <a:lnTo>
                    <a:pt x="0" y="0"/>
                  </a:lnTo>
                  <a:lnTo>
                    <a:pt x="0" y="2"/>
                  </a:lnTo>
                  <a:lnTo>
                    <a:pt x="4" y="2"/>
                  </a:lnTo>
                  <a:lnTo>
                    <a:pt x="6" y="4"/>
                  </a:lnTo>
                  <a:lnTo>
                    <a:pt x="8" y="4"/>
                  </a:lnTo>
                  <a:lnTo>
                    <a:pt x="10" y="4"/>
                  </a:lnTo>
                  <a:lnTo>
                    <a:pt x="10" y="6"/>
                  </a:lnTo>
                  <a:lnTo>
                    <a:pt x="12" y="8"/>
                  </a:lnTo>
                  <a:lnTo>
                    <a:pt x="14" y="10"/>
                  </a:lnTo>
                  <a:lnTo>
                    <a:pt x="14" y="10"/>
                  </a:lnTo>
                  <a:lnTo>
                    <a:pt x="14" y="12"/>
                  </a:lnTo>
                  <a:lnTo>
                    <a:pt x="14" y="12"/>
                  </a:lnTo>
                  <a:lnTo>
                    <a:pt x="14" y="12"/>
                  </a:lnTo>
                  <a:lnTo>
                    <a:pt x="14" y="14"/>
                  </a:lnTo>
                  <a:lnTo>
                    <a:pt x="12" y="18"/>
                  </a:lnTo>
                  <a:lnTo>
                    <a:pt x="12" y="20"/>
                  </a:lnTo>
                  <a:lnTo>
                    <a:pt x="10" y="24"/>
                  </a:lnTo>
                  <a:lnTo>
                    <a:pt x="10" y="2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 name="Freeform 80">
              <a:extLst>
                <a:ext uri="{FF2B5EF4-FFF2-40B4-BE49-F238E27FC236}">
                  <a16:creationId xmlns:a16="http://schemas.microsoft.com/office/drawing/2014/main" id="{63A18E80-5D0A-46FA-90A1-0DD24F46A54C}"/>
                </a:ext>
              </a:extLst>
            </p:cNvPr>
            <p:cNvSpPr>
              <a:spLocks/>
            </p:cNvSpPr>
            <p:nvPr/>
          </p:nvSpPr>
          <p:spPr bwMode="auto">
            <a:xfrm>
              <a:off x="5509377" y="3873705"/>
              <a:ext cx="24249" cy="45034"/>
            </a:xfrm>
            <a:custGeom>
              <a:avLst/>
              <a:gdLst>
                <a:gd name="T0" fmla="*/ 10 w 14"/>
                <a:gd name="T1" fmla="*/ 26 h 26"/>
                <a:gd name="T2" fmla="*/ 10 w 14"/>
                <a:gd name="T3" fmla="*/ 26 h 26"/>
                <a:gd name="T4" fmla="*/ 8 w 14"/>
                <a:gd name="T5" fmla="*/ 24 h 26"/>
                <a:gd name="T6" fmla="*/ 6 w 14"/>
                <a:gd name="T7" fmla="*/ 22 h 26"/>
                <a:gd name="T8" fmla="*/ 4 w 14"/>
                <a:gd name="T9" fmla="*/ 20 h 26"/>
                <a:gd name="T10" fmla="*/ 2 w 14"/>
                <a:gd name="T11" fmla="*/ 20 h 26"/>
                <a:gd name="T12" fmla="*/ 2 w 14"/>
                <a:gd name="T13" fmla="*/ 20 h 26"/>
                <a:gd name="T14" fmla="*/ 2 w 14"/>
                <a:gd name="T15" fmla="*/ 18 h 26"/>
                <a:gd name="T16" fmla="*/ 0 w 14"/>
                <a:gd name="T17" fmla="*/ 18 h 26"/>
                <a:gd name="T18" fmla="*/ 0 w 14"/>
                <a:gd name="T19" fmla="*/ 14 h 26"/>
                <a:gd name="T20" fmla="*/ 0 w 14"/>
                <a:gd name="T21" fmla="*/ 12 h 26"/>
                <a:gd name="T22" fmla="*/ 0 w 14"/>
                <a:gd name="T23" fmla="*/ 8 h 26"/>
                <a:gd name="T24" fmla="*/ 0 w 14"/>
                <a:gd name="T25" fmla="*/ 4 h 26"/>
                <a:gd name="T26" fmla="*/ 0 w 14"/>
                <a:gd name="T27" fmla="*/ 0 h 26"/>
                <a:gd name="T28" fmla="*/ 0 w 14"/>
                <a:gd name="T29" fmla="*/ 2 h 26"/>
                <a:gd name="T30" fmla="*/ 4 w 14"/>
                <a:gd name="T31" fmla="*/ 2 h 26"/>
                <a:gd name="T32" fmla="*/ 6 w 14"/>
                <a:gd name="T33" fmla="*/ 4 h 26"/>
                <a:gd name="T34" fmla="*/ 8 w 14"/>
                <a:gd name="T35" fmla="*/ 4 h 26"/>
                <a:gd name="T36" fmla="*/ 10 w 14"/>
                <a:gd name="T37" fmla="*/ 4 h 26"/>
                <a:gd name="T38" fmla="*/ 10 w 14"/>
                <a:gd name="T39" fmla="*/ 6 h 26"/>
                <a:gd name="T40" fmla="*/ 12 w 14"/>
                <a:gd name="T41" fmla="*/ 8 h 26"/>
                <a:gd name="T42" fmla="*/ 14 w 14"/>
                <a:gd name="T43" fmla="*/ 10 h 26"/>
                <a:gd name="T44" fmla="*/ 14 w 14"/>
                <a:gd name="T45" fmla="*/ 10 h 26"/>
                <a:gd name="T46" fmla="*/ 14 w 14"/>
                <a:gd name="T47" fmla="*/ 12 h 26"/>
                <a:gd name="T48" fmla="*/ 14 w 14"/>
                <a:gd name="T49" fmla="*/ 12 h 26"/>
                <a:gd name="T50" fmla="*/ 14 w 14"/>
                <a:gd name="T51" fmla="*/ 12 h 26"/>
                <a:gd name="T52" fmla="*/ 14 w 14"/>
                <a:gd name="T53" fmla="*/ 14 h 26"/>
                <a:gd name="T54" fmla="*/ 12 w 14"/>
                <a:gd name="T55" fmla="*/ 18 h 26"/>
                <a:gd name="T56" fmla="*/ 12 w 14"/>
                <a:gd name="T57" fmla="*/ 20 h 26"/>
                <a:gd name="T58" fmla="*/ 10 w 14"/>
                <a:gd name="T59" fmla="*/ 24 h 26"/>
                <a:gd name="T60" fmla="*/ 10 w 14"/>
                <a:gd name="T6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26">
                  <a:moveTo>
                    <a:pt x="10" y="26"/>
                  </a:moveTo>
                  <a:lnTo>
                    <a:pt x="10" y="26"/>
                  </a:lnTo>
                  <a:lnTo>
                    <a:pt x="8" y="24"/>
                  </a:lnTo>
                  <a:lnTo>
                    <a:pt x="6" y="22"/>
                  </a:lnTo>
                  <a:lnTo>
                    <a:pt x="4" y="20"/>
                  </a:lnTo>
                  <a:lnTo>
                    <a:pt x="2" y="20"/>
                  </a:lnTo>
                  <a:lnTo>
                    <a:pt x="2" y="20"/>
                  </a:lnTo>
                  <a:lnTo>
                    <a:pt x="2" y="18"/>
                  </a:lnTo>
                  <a:lnTo>
                    <a:pt x="0" y="18"/>
                  </a:lnTo>
                  <a:lnTo>
                    <a:pt x="0" y="14"/>
                  </a:lnTo>
                  <a:lnTo>
                    <a:pt x="0" y="12"/>
                  </a:lnTo>
                  <a:lnTo>
                    <a:pt x="0" y="8"/>
                  </a:lnTo>
                  <a:lnTo>
                    <a:pt x="0" y="4"/>
                  </a:lnTo>
                  <a:lnTo>
                    <a:pt x="0" y="0"/>
                  </a:lnTo>
                  <a:lnTo>
                    <a:pt x="0" y="2"/>
                  </a:lnTo>
                  <a:lnTo>
                    <a:pt x="4" y="2"/>
                  </a:lnTo>
                  <a:lnTo>
                    <a:pt x="6" y="4"/>
                  </a:lnTo>
                  <a:lnTo>
                    <a:pt x="8" y="4"/>
                  </a:lnTo>
                  <a:lnTo>
                    <a:pt x="10" y="4"/>
                  </a:lnTo>
                  <a:lnTo>
                    <a:pt x="10" y="6"/>
                  </a:lnTo>
                  <a:lnTo>
                    <a:pt x="12" y="8"/>
                  </a:lnTo>
                  <a:lnTo>
                    <a:pt x="14" y="10"/>
                  </a:lnTo>
                  <a:lnTo>
                    <a:pt x="14" y="10"/>
                  </a:lnTo>
                  <a:lnTo>
                    <a:pt x="14" y="12"/>
                  </a:lnTo>
                  <a:lnTo>
                    <a:pt x="14" y="12"/>
                  </a:lnTo>
                  <a:lnTo>
                    <a:pt x="14" y="12"/>
                  </a:lnTo>
                  <a:lnTo>
                    <a:pt x="14" y="14"/>
                  </a:lnTo>
                  <a:lnTo>
                    <a:pt x="12" y="18"/>
                  </a:lnTo>
                  <a:lnTo>
                    <a:pt x="12" y="20"/>
                  </a:lnTo>
                  <a:lnTo>
                    <a:pt x="10" y="24"/>
                  </a:lnTo>
                  <a:lnTo>
                    <a:pt x="10" y="26"/>
                  </a:lnTo>
                </a:path>
              </a:pathLst>
            </a:custGeom>
            <a:grp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 name="Freeform 81">
              <a:extLst>
                <a:ext uri="{FF2B5EF4-FFF2-40B4-BE49-F238E27FC236}">
                  <a16:creationId xmlns:a16="http://schemas.microsoft.com/office/drawing/2014/main" id="{47905947-99CE-4418-8E5D-C018B7F40E76}"/>
                </a:ext>
              </a:extLst>
            </p:cNvPr>
            <p:cNvSpPr>
              <a:spLocks/>
            </p:cNvSpPr>
            <p:nvPr/>
          </p:nvSpPr>
          <p:spPr bwMode="auto">
            <a:xfrm>
              <a:off x="5509377" y="3873705"/>
              <a:ext cx="24249" cy="45034"/>
            </a:xfrm>
            <a:custGeom>
              <a:avLst/>
              <a:gdLst>
                <a:gd name="T0" fmla="*/ 10 w 14"/>
                <a:gd name="T1" fmla="*/ 26 h 26"/>
                <a:gd name="T2" fmla="*/ 10 w 14"/>
                <a:gd name="T3" fmla="*/ 26 h 26"/>
                <a:gd name="T4" fmla="*/ 8 w 14"/>
                <a:gd name="T5" fmla="*/ 24 h 26"/>
                <a:gd name="T6" fmla="*/ 6 w 14"/>
                <a:gd name="T7" fmla="*/ 22 h 26"/>
                <a:gd name="T8" fmla="*/ 4 w 14"/>
                <a:gd name="T9" fmla="*/ 20 h 26"/>
                <a:gd name="T10" fmla="*/ 2 w 14"/>
                <a:gd name="T11" fmla="*/ 20 h 26"/>
                <a:gd name="T12" fmla="*/ 2 w 14"/>
                <a:gd name="T13" fmla="*/ 20 h 26"/>
                <a:gd name="T14" fmla="*/ 2 w 14"/>
                <a:gd name="T15" fmla="*/ 18 h 26"/>
                <a:gd name="T16" fmla="*/ 0 w 14"/>
                <a:gd name="T17" fmla="*/ 18 h 26"/>
                <a:gd name="T18" fmla="*/ 0 w 14"/>
                <a:gd name="T19" fmla="*/ 14 h 26"/>
                <a:gd name="T20" fmla="*/ 0 w 14"/>
                <a:gd name="T21" fmla="*/ 12 h 26"/>
                <a:gd name="T22" fmla="*/ 0 w 14"/>
                <a:gd name="T23" fmla="*/ 8 h 26"/>
                <a:gd name="T24" fmla="*/ 0 w 14"/>
                <a:gd name="T25" fmla="*/ 4 h 26"/>
                <a:gd name="T26" fmla="*/ 0 w 14"/>
                <a:gd name="T27" fmla="*/ 0 h 26"/>
                <a:gd name="T28" fmla="*/ 0 w 14"/>
                <a:gd name="T29" fmla="*/ 2 h 26"/>
                <a:gd name="T30" fmla="*/ 4 w 14"/>
                <a:gd name="T31" fmla="*/ 2 h 26"/>
                <a:gd name="T32" fmla="*/ 6 w 14"/>
                <a:gd name="T33" fmla="*/ 4 h 26"/>
                <a:gd name="T34" fmla="*/ 8 w 14"/>
                <a:gd name="T35" fmla="*/ 4 h 26"/>
                <a:gd name="T36" fmla="*/ 10 w 14"/>
                <a:gd name="T37" fmla="*/ 4 h 26"/>
                <a:gd name="T38" fmla="*/ 10 w 14"/>
                <a:gd name="T39" fmla="*/ 6 h 26"/>
                <a:gd name="T40" fmla="*/ 12 w 14"/>
                <a:gd name="T41" fmla="*/ 8 h 26"/>
                <a:gd name="T42" fmla="*/ 14 w 14"/>
                <a:gd name="T43" fmla="*/ 10 h 26"/>
                <a:gd name="T44" fmla="*/ 14 w 14"/>
                <a:gd name="T45" fmla="*/ 10 h 26"/>
                <a:gd name="T46" fmla="*/ 14 w 14"/>
                <a:gd name="T47" fmla="*/ 12 h 26"/>
                <a:gd name="T48" fmla="*/ 14 w 14"/>
                <a:gd name="T49" fmla="*/ 12 h 26"/>
                <a:gd name="T50" fmla="*/ 14 w 14"/>
                <a:gd name="T51" fmla="*/ 12 h 26"/>
                <a:gd name="T52" fmla="*/ 14 w 14"/>
                <a:gd name="T53" fmla="*/ 14 h 26"/>
                <a:gd name="T54" fmla="*/ 12 w 14"/>
                <a:gd name="T55" fmla="*/ 18 h 26"/>
                <a:gd name="T56" fmla="*/ 12 w 14"/>
                <a:gd name="T57" fmla="*/ 20 h 26"/>
                <a:gd name="T58" fmla="*/ 10 w 14"/>
                <a:gd name="T59" fmla="*/ 24 h 26"/>
                <a:gd name="T60" fmla="*/ 10 w 14"/>
                <a:gd name="T6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26">
                  <a:moveTo>
                    <a:pt x="10" y="26"/>
                  </a:moveTo>
                  <a:lnTo>
                    <a:pt x="10" y="26"/>
                  </a:lnTo>
                  <a:lnTo>
                    <a:pt x="8" y="24"/>
                  </a:lnTo>
                  <a:lnTo>
                    <a:pt x="6" y="22"/>
                  </a:lnTo>
                  <a:lnTo>
                    <a:pt x="4" y="20"/>
                  </a:lnTo>
                  <a:lnTo>
                    <a:pt x="2" y="20"/>
                  </a:lnTo>
                  <a:lnTo>
                    <a:pt x="2" y="20"/>
                  </a:lnTo>
                  <a:lnTo>
                    <a:pt x="2" y="18"/>
                  </a:lnTo>
                  <a:lnTo>
                    <a:pt x="0" y="18"/>
                  </a:lnTo>
                  <a:lnTo>
                    <a:pt x="0" y="14"/>
                  </a:lnTo>
                  <a:lnTo>
                    <a:pt x="0" y="12"/>
                  </a:lnTo>
                  <a:lnTo>
                    <a:pt x="0" y="8"/>
                  </a:lnTo>
                  <a:lnTo>
                    <a:pt x="0" y="4"/>
                  </a:lnTo>
                  <a:lnTo>
                    <a:pt x="0" y="0"/>
                  </a:lnTo>
                  <a:lnTo>
                    <a:pt x="0" y="2"/>
                  </a:lnTo>
                  <a:lnTo>
                    <a:pt x="4" y="2"/>
                  </a:lnTo>
                  <a:lnTo>
                    <a:pt x="6" y="4"/>
                  </a:lnTo>
                  <a:lnTo>
                    <a:pt x="8" y="4"/>
                  </a:lnTo>
                  <a:lnTo>
                    <a:pt x="10" y="4"/>
                  </a:lnTo>
                  <a:lnTo>
                    <a:pt x="10" y="6"/>
                  </a:lnTo>
                  <a:lnTo>
                    <a:pt x="12" y="8"/>
                  </a:lnTo>
                  <a:lnTo>
                    <a:pt x="14" y="10"/>
                  </a:lnTo>
                  <a:lnTo>
                    <a:pt x="14" y="10"/>
                  </a:lnTo>
                  <a:lnTo>
                    <a:pt x="14" y="12"/>
                  </a:lnTo>
                  <a:lnTo>
                    <a:pt x="14" y="12"/>
                  </a:lnTo>
                  <a:lnTo>
                    <a:pt x="14" y="12"/>
                  </a:lnTo>
                  <a:lnTo>
                    <a:pt x="14" y="14"/>
                  </a:lnTo>
                  <a:lnTo>
                    <a:pt x="12" y="18"/>
                  </a:lnTo>
                  <a:lnTo>
                    <a:pt x="12" y="20"/>
                  </a:lnTo>
                  <a:lnTo>
                    <a:pt x="10" y="24"/>
                  </a:lnTo>
                  <a:lnTo>
                    <a:pt x="10" y="26"/>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 name="Freeform 82">
              <a:extLst>
                <a:ext uri="{FF2B5EF4-FFF2-40B4-BE49-F238E27FC236}">
                  <a16:creationId xmlns:a16="http://schemas.microsoft.com/office/drawing/2014/main" id="{DB88F306-5B64-4819-99E0-B0A82AD0E5F6}"/>
                </a:ext>
              </a:extLst>
            </p:cNvPr>
            <p:cNvSpPr>
              <a:spLocks/>
            </p:cNvSpPr>
            <p:nvPr/>
          </p:nvSpPr>
          <p:spPr bwMode="auto">
            <a:xfrm>
              <a:off x="5554411" y="3922204"/>
              <a:ext cx="190528" cy="245955"/>
            </a:xfrm>
            <a:custGeom>
              <a:avLst/>
              <a:gdLst>
                <a:gd name="T0" fmla="*/ 40 w 110"/>
                <a:gd name="T1" fmla="*/ 36 h 142"/>
                <a:gd name="T2" fmla="*/ 50 w 110"/>
                <a:gd name="T3" fmla="*/ 46 h 142"/>
                <a:gd name="T4" fmla="*/ 52 w 110"/>
                <a:gd name="T5" fmla="*/ 50 h 142"/>
                <a:gd name="T6" fmla="*/ 52 w 110"/>
                <a:gd name="T7" fmla="*/ 56 h 142"/>
                <a:gd name="T8" fmla="*/ 52 w 110"/>
                <a:gd name="T9" fmla="*/ 64 h 142"/>
                <a:gd name="T10" fmla="*/ 50 w 110"/>
                <a:gd name="T11" fmla="*/ 72 h 142"/>
                <a:gd name="T12" fmla="*/ 48 w 110"/>
                <a:gd name="T13" fmla="*/ 82 h 142"/>
                <a:gd name="T14" fmla="*/ 44 w 110"/>
                <a:gd name="T15" fmla="*/ 88 h 142"/>
                <a:gd name="T16" fmla="*/ 40 w 110"/>
                <a:gd name="T17" fmla="*/ 92 h 142"/>
                <a:gd name="T18" fmla="*/ 34 w 110"/>
                <a:gd name="T19" fmla="*/ 96 h 142"/>
                <a:gd name="T20" fmla="*/ 26 w 110"/>
                <a:gd name="T21" fmla="*/ 98 h 142"/>
                <a:gd name="T22" fmla="*/ 12 w 110"/>
                <a:gd name="T23" fmla="*/ 100 h 142"/>
                <a:gd name="T24" fmla="*/ 2 w 110"/>
                <a:gd name="T25" fmla="*/ 108 h 142"/>
                <a:gd name="T26" fmla="*/ 16 w 110"/>
                <a:gd name="T27" fmla="*/ 142 h 142"/>
                <a:gd name="T28" fmla="*/ 26 w 110"/>
                <a:gd name="T29" fmla="*/ 140 h 142"/>
                <a:gd name="T30" fmla="*/ 36 w 110"/>
                <a:gd name="T31" fmla="*/ 138 h 142"/>
                <a:gd name="T32" fmla="*/ 40 w 110"/>
                <a:gd name="T33" fmla="*/ 138 h 142"/>
                <a:gd name="T34" fmla="*/ 42 w 110"/>
                <a:gd name="T35" fmla="*/ 134 h 142"/>
                <a:gd name="T36" fmla="*/ 46 w 110"/>
                <a:gd name="T37" fmla="*/ 128 h 142"/>
                <a:gd name="T38" fmla="*/ 48 w 110"/>
                <a:gd name="T39" fmla="*/ 122 h 142"/>
                <a:gd name="T40" fmla="*/ 52 w 110"/>
                <a:gd name="T41" fmla="*/ 122 h 142"/>
                <a:gd name="T42" fmla="*/ 58 w 110"/>
                <a:gd name="T43" fmla="*/ 120 h 142"/>
                <a:gd name="T44" fmla="*/ 62 w 110"/>
                <a:gd name="T45" fmla="*/ 118 h 142"/>
                <a:gd name="T46" fmla="*/ 68 w 110"/>
                <a:gd name="T47" fmla="*/ 112 h 142"/>
                <a:gd name="T48" fmla="*/ 70 w 110"/>
                <a:gd name="T49" fmla="*/ 110 h 142"/>
                <a:gd name="T50" fmla="*/ 74 w 110"/>
                <a:gd name="T51" fmla="*/ 108 h 142"/>
                <a:gd name="T52" fmla="*/ 82 w 110"/>
                <a:gd name="T53" fmla="*/ 108 h 142"/>
                <a:gd name="T54" fmla="*/ 84 w 110"/>
                <a:gd name="T55" fmla="*/ 106 h 142"/>
                <a:gd name="T56" fmla="*/ 86 w 110"/>
                <a:gd name="T57" fmla="*/ 104 h 142"/>
                <a:gd name="T58" fmla="*/ 88 w 110"/>
                <a:gd name="T59" fmla="*/ 98 h 142"/>
                <a:gd name="T60" fmla="*/ 88 w 110"/>
                <a:gd name="T61" fmla="*/ 88 h 142"/>
                <a:gd name="T62" fmla="*/ 88 w 110"/>
                <a:gd name="T63" fmla="*/ 80 h 142"/>
                <a:gd name="T64" fmla="*/ 88 w 110"/>
                <a:gd name="T65" fmla="*/ 76 h 142"/>
                <a:gd name="T66" fmla="*/ 92 w 110"/>
                <a:gd name="T67" fmla="*/ 70 h 142"/>
                <a:gd name="T68" fmla="*/ 96 w 110"/>
                <a:gd name="T69" fmla="*/ 68 h 142"/>
                <a:gd name="T70" fmla="*/ 102 w 110"/>
                <a:gd name="T71" fmla="*/ 64 h 142"/>
                <a:gd name="T72" fmla="*/ 104 w 110"/>
                <a:gd name="T73" fmla="*/ 62 h 142"/>
                <a:gd name="T74" fmla="*/ 106 w 110"/>
                <a:gd name="T75" fmla="*/ 60 h 142"/>
                <a:gd name="T76" fmla="*/ 110 w 110"/>
                <a:gd name="T77" fmla="*/ 48 h 142"/>
                <a:gd name="T78" fmla="*/ 110 w 110"/>
                <a:gd name="T79" fmla="*/ 42 h 142"/>
                <a:gd name="T80" fmla="*/ 110 w 110"/>
                <a:gd name="T81" fmla="*/ 36 h 142"/>
                <a:gd name="T82" fmla="*/ 108 w 110"/>
                <a:gd name="T83" fmla="*/ 34 h 142"/>
                <a:gd name="T84" fmla="*/ 106 w 110"/>
                <a:gd name="T85" fmla="*/ 32 h 142"/>
                <a:gd name="T86" fmla="*/ 100 w 110"/>
                <a:gd name="T87" fmla="*/ 32 h 142"/>
                <a:gd name="T88" fmla="*/ 98 w 110"/>
                <a:gd name="T89" fmla="*/ 30 h 142"/>
                <a:gd name="T90" fmla="*/ 96 w 110"/>
                <a:gd name="T91" fmla="*/ 28 h 142"/>
                <a:gd name="T92" fmla="*/ 96 w 110"/>
                <a:gd name="T93" fmla="*/ 26 h 142"/>
                <a:gd name="T94" fmla="*/ 96 w 110"/>
                <a:gd name="T95" fmla="*/ 18 h 142"/>
                <a:gd name="T96" fmla="*/ 96 w 110"/>
                <a:gd name="T97" fmla="*/ 16 h 142"/>
                <a:gd name="T98" fmla="*/ 94 w 110"/>
                <a:gd name="T99" fmla="*/ 14 h 142"/>
                <a:gd name="T100" fmla="*/ 88 w 110"/>
                <a:gd name="T101" fmla="*/ 14 h 142"/>
                <a:gd name="T102" fmla="*/ 80 w 110"/>
                <a:gd name="T103" fmla="*/ 14 h 142"/>
                <a:gd name="T104" fmla="*/ 72 w 110"/>
                <a:gd name="T105" fmla="*/ 14 h 142"/>
                <a:gd name="T106" fmla="*/ 70 w 110"/>
                <a:gd name="T107" fmla="*/ 12 h 142"/>
                <a:gd name="T108" fmla="*/ 66 w 110"/>
                <a:gd name="T109" fmla="*/ 8 h 142"/>
                <a:gd name="T110" fmla="*/ 60 w 110"/>
                <a:gd name="T11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0" h="142">
                  <a:moveTo>
                    <a:pt x="40" y="34"/>
                  </a:moveTo>
                  <a:lnTo>
                    <a:pt x="40" y="34"/>
                  </a:lnTo>
                  <a:lnTo>
                    <a:pt x="40" y="36"/>
                  </a:lnTo>
                  <a:lnTo>
                    <a:pt x="44" y="40"/>
                  </a:lnTo>
                  <a:lnTo>
                    <a:pt x="48" y="44"/>
                  </a:lnTo>
                  <a:lnTo>
                    <a:pt x="50" y="46"/>
                  </a:lnTo>
                  <a:lnTo>
                    <a:pt x="50" y="48"/>
                  </a:lnTo>
                  <a:lnTo>
                    <a:pt x="50" y="50"/>
                  </a:lnTo>
                  <a:lnTo>
                    <a:pt x="52" y="50"/>
                  </a:lnTo>
                  <a:lnTo>
                    <a:pt x="52" y="52"/>
                  </a:lnTo>
                  <a:lnTo>
                    <a:pt x="52" y="54"/>
                  </a:lnTo>
                  <a:lnTo>
                    <a:pt x="52" y="56"/>
                  </a:lnTo>
                  <a:lnTo>
                    <a:pt x="52" y="58"/>
                  </a:lnTo>
                  <a:lnTo>
                    <a:pt x="52" y="62"/>
                  </a:lnTo>
                  <a:lnTo>
                    <a:pt x="52" y="64"/>
                  </a:lnTo>
                  <a:lnTo>
                    <a:pt x="52" y="68"/>
                  </a:lnTo>
                  <a:lnTo>
                    <a:pt x="50" y="70"/>
                  </a:lnTo>
                  <a:lnTo>
                    <a:pt x="50" y="72"/>
                  </a:lnTo>
                  <a:lnTo>
                    <a:pt x="50" y="76"/>
                  </a:lnTo>
                  <a:lnTo>
                    <a:pt x="48" y="78"/>
                  </a:lnTo>
                  <a:lnTo>
                    <a:pt x="48" y="82"/>
                  </a:lnTo>
                  <a:lnTo>
                    <a:pt x="46" y="84"/>
                  </a:lnTo>
                  <a:lnTo>
                    <a:pt x="46" y="86"/>
                  </a:lnTo>
                  <a:lnTo>
                    <a:pt x="44" y="88"/>
                  </a:lnTo>
                  <a:lnTo>
                    <a:pt x="42" y="90"/>
                  </a:lnTo>
                  <a:lnTo>
                    <a:pt x="42" y="92"/>
                  </a:lnTo>
                  <a:lnTo>
                    <a:pt x="40" y="92"/>
                  </a:lnTo>
                  <a:lnTo>
                    <a:pt x="40" y="94"/>
                  </a:lnTo>
                  <a:lnTo>
                    <a:pt x="38" y="94"/>
                  </a:lnTo>
                  <a:lnTo>
                    <a:pt x="34" y="96"/>
                  </a:lnTo>
                  <a:lnTo>
                    <a:pt x="32" y="96"/>
                  </a:lnTo>
                  <a:lnTo>
                    <a:pt x="28" y="98"/>
                  </a:lnTo>
                  <a:lnTo>
                    <a:pt x="26" y="98"/>
                  </a:lnTo>
                  <a:lnTo>
                    <a:pt x="22" y="98"/>
                  </a:lnTo>
                  <a:lnTo>
                    <a:pt x="18" y="100"/>
                  </a:lnTo>
                  <a:lnTo>
                    <a:pt x="12" y="100"/>
                  </a:lnTo>
                  <a:lnTo>
                    <a:pt x="6" y="100"/>
                  </a:lnTo>
                  <a:lnTo>
                    <a:pt x="0" y="100"/>
                  </a:lnTo>
                  <a:lnTo>
                    <a:pt x="2" y="108"/>
                  </a:lnTo>
                  <a:lnTo>
                    <a:pt x="6" y="118"/>
                  </a:lnTo>
                  <a:lnTo>
                    <a:pt x="12" y="132"/>
                  </a:lnTo>
                  <a:lnTo>
                    <a:pt x="16" y="142"/>
                  </a:lnTo>
                  <a:lnTo>
                    <a:pt x="18" y="142"/>
                  </a:lnTo>
                  <a:lnTo>
                    <a:pt x="22" y="140"/>
                  </a:lnTo>
                  <a:lnTo>
                    <a:pt x="26" y="140"/>
                  </a:lnTo>
                  <a:lnTo>
                    <a:pt x="30" y="140"/>
                  </a:lnTo>
                  <a:lnTo>
                    <a:pt x="34" y="140"/>
                  </a:lnTo>
                  <a:lnTo>
                    <a:pt x="36" y="138"/>
                  </a:lnTo>
                  <a:lnTo>
                    <a:pt x="38" y="138"/>
                  </a:lnTo>
                  <a:lnTo>
                    <a:pt x="40" y="138"/>
                  </a:lnTo>
                  <a:lnTo>
                    <a:pt x="40" y="138"/>
                  </a:lnTo>
                  <a:lnTo>
                    <a:pt x="40" y="136"/>
                  </a:lnTo>
                  <a:lnTo>
                    <a:pt x="42" y="136"/>
                  </a:lnTo>
                  <a:lnTo>
                    <a:pt x="42" y="134"/>
                  </a:lnTo>
                  <a:lnTo>
                    <a:pt x="44" y="132"/>
                  </a:lnTo>
                  <a:lnTo>
                    <a:pt x="44" y="130"/>
                  </a:lnTo>
                  <a:lnTo>
                    <a:pt x="46" y="128"/>
                  </a:lnTo>
                  <a:lnTo>
                    <a:pt x="46" y="126"/>
                  </a:lnTo>
                  <a:lnTo>
                    <a:pt x="48" y="124"/>
                  </a:lnTo>
                  <a:lnTo>
                    <a:pt x="48" y="122"/>
                  </a:lnTo>
                  <a:lnTo>
                    <a:pt x="50" y="122"/>
                  </a:lnTo>
                  <a:lnTo>
                    <a:pt x="50" y="122"/>
                  </a:lnTo>
                  <a:lnTo>
                    <a:pt x="52" y="122"/>
                  </a:lnTo>
                  <a:lnTo>
                    <a:pt x="54" y="120"/>
                  </a:lnTo>
                  <a:lnTo>
                    <a:pt x="56" y="120"/>
                  </a:lnTo>
                  <a:lnTo>
                    <a:pt x="58" y="120"/>
                  </a:lnTo>
                  <a:lnTo>
                    <a:pt x="60" y="120"/>
                  </a:lnTo>
                  <a:lnTo>
                    <a:pt x="62" y="118"/>
                  </a:lnTo>
                  <a:lnTo>
                    <a:pt x="62" y="118"/>
                  </a:lnTo>
                  <a:lnTo>
                    <a:pt x="64" y="116"/>
                  </a:lnTo>
                  <a:lnTo>
                    <a:pt x="66" y="114"/>
                  </a:lnTo>
                  <a:lnTo>
                    <a:pt x="68" y="112"/>
                  </a:lnTo>
                  <a:lnTo>
                    <a:pt x="68" y="110"/>
                  </a:lnTo>
                  <a:lnTo>
                    <a:pt x="70" y="110"/>
                  </a:lnTo>
                  <a:lnTo>
                    <a:pt x="70" y="110"/>
                  </a:lnTo>
                  <a:lnTo>
                    <a:pt x="70" y="108"/>
                  </a:lnTo>
                  <a:lnTo>
                    <a:pt x="72" y="108"/>
                  </a:lnTo>
                  <a:lnTo>
                    <a:pt x="74" y="108"/>
                  </a:lnTo>
                  <a:lnTo>
                    <a:pt x="78" y="108"/>
                  </a:lnTo>
                  <a:lnTo>
                    <a:pt x="80" y="108"/>
                  </a:lnTo>
                  <a:lnTo>
                    <a:pt x="82" y="108"/>
                  </a:lnTo>
                  <a:lnTo>
                    <a:pt x="84" y="108"/>
                  </a:lnTo>
                  <a:lnTo>
                    <a:pt x="84" y="106"/>
                  </a:lnTo>
                  <a:lnTo>
                    <a:pt x="84" y="106"/>
                  </a:lnTo>
                  <a:lnTo>
                    <a:pt x="86" y="106"/>
                  </a:lnTo>
                  <a:lnTo>
                    <a:pt x="86" y="104"/>
                  </a:lnTo>
                  <a:lnTo>
                    <a:pt x="86" y="104"/>
                  </a:lnTo>
                  <a:lnTo>
                    <a:pt x="86" y="102"/>
                  </a:lnTo>
                  <a:lnTo>
                    <a:pt x="88" y="100"/>
                  </a:lnTo>
                  <a:lnTo>
                    <a:pt x="88" y="98"/>
                  </a:lnTo>
                  <a:lnTo>
                    <a:pt x="88" y="96"/>
                  </a:lnTo>
                  <a:lnTo>
                    <a:pt x="88" y="92"/>
                  </a:lnTo>
                  <a:lnTo>
                    <a:pt x="88" y="88"/>
                  </a:lnTo>
                  <a:lnTo>
                    <a:pt x="88" y="84"/>
                  </a:lnTo>
                  <a:lnTo>
                    <a:pt x="88" y="82"/>
                  </a:lnTo>
                  <a:lnTo>
                    <a:pt x="88" y="80"/>
                  </a:lnTo>
                  <a:lnTo>
                    <a:pt x="88" y="80"/>
                  </a:lnTo>
                  <a:lnTo>
                    <a:pt x="88" y="78"/>
                  </a:lnTo>
                  <a:lnTo>
                    <a:pt x="88" y="76"/>
                  </a:lnTo>
                  <a:lnTo>
                    <a:pt x="88" y="76"/>
                  </a:lnTo>
                  <a:lnTo>
                    <a:pt x="90" y="72"/>
                  </a:lnTo>
                  <a:lnTo>
                    <a:pt x="92" y="70"/>
                  </a:lnTo>
                  <a:lnTo>
                    <a:pt x="94" y="68"/>
                  </a:lnTo>
                  <a:lnTo>
                    <a:pt x="94" y="68"/>
                  </a:lnTo>
                  <a:lnTo>
                    <a:pt x="96" y="68"/>
                  </a:lnTo>
                  <a:lnTo>
                    <a:pt x="96" y="66"/>
                  </a:lnTo>
                  <a:lnTo>
                    <a:pt x="100" y="64"/>
                  </a:lnTo>
                  <a:lnTo>
                    <a:pt x="102" y="64"/>
                  </a:lnTo>
                  <a:lnTo>
                    <a:pt x="104" y="64"/>
                  </a:lnTo>
                  <a:lnTo>
                    <a:pt x="104" y="62"/>
                  </a:lnTo>
                  <a:lnTo>
                    <a:pt x="104" y="62"/>
                  </a:lnTo>
                  <a:lnTo>
                    <a:pt x="106" y="62"/>
                  </a:lnTo>
                  <a:lnTo>
                    <a:pt x="106" y="60"/>
                  </a:lnTo>
                  <a:lnTo>
                    <a:pt x="106" y="60"/>
                  </a:lnTo>
                  <a:lnTo>
                    <a:pt x="108" y="56"/>
                  </a:lnTo>
                  <a:lnTo>
                    <a:pt x="110" y="52"/>
                  </a:lnTo>
                  <a:lnTo>
                    <a:pt x="110" y="48"/>
                  </a:lnTo>
                  <a:lnTo>
                    <a:pt x="110" y="46"/>
                  </a:lnTo>
                  <a:lnTo>
                    <a:pt x="110" y="44"/>
                  </a:lnTo>
                  <a:lnTo>
                    <a:pt x="110" y="42"/>
                  </a:lnTo>
                  <a:lnTo>
                    <a:pt x="110" y="40"/>
                  </a:lnTo>
                  <a:lnTo>
                    <a:pt x="110" y="38"/>
                  </a:lnTo>
                  <a:lnTo>
                    <a:pt x="110" y="36"/>
                  </a:lnTo>
                  <a:lnTo>
                    <a:pt x="110" y="36"/>
                  </a:lnTo>
                  <a:lnTo>
                    <a:pt x="110" y="34"/>
                  </a:lnTo>
                  <a:lnTo>
                    <a:pt x="108" y="34"/>
                  </a:lnTo>
                  <a:lnTo>
                    <a:pt x="108" y="32"/>
                  </a:lnTo>
                  <a:lnTo>
                    <a:pt x="108" y="32"/>
                  </a:lnTo>
                  <a:lnTo>
                    <a:pt x="106" y="32"/>
                  </a:lnTo>
                  <a:lnTo>
                    <a:pt x="104" y="32"/>
                  </a:lnTo>
                  <a:lnTo>
                    <a:pt x="104" y="32"/>
                  </a:lnTo>
                  <a:lnTo>
                    <a:pt x="100" y="32"/>
                  </a:lnTo>
                  <a:lnTo>
                    <a:pt x="100" y="32"/>
                  </a:lnTo>
                  <a:lnTo>
                    <a:pt x="98" y="30"/>
                  </a:lnTo>
                  <a:lnTo>
                    <a:pt x="98" y="30"/>
                  </a:lnTo>
                  <a:lnTo>
                    <a:pt x="96" y="30"/>
                  </a:lnTo>
                  <a:lnTo>
                    <a:pt x="96" y="30"/>
                  </a:lnTo>
                  <a:lnTo>
                    <a:pt x="96" y="28"/>
                  </a:lnTo>
                  <a:lnTo>
                    <a:pt x="96" y="28"/>
                  </a:lnTo>
                  <a:lnTo>
                    <a:pt x="96" y="28"/>
                  </a:lnTo>
                  <a:lnTo>
                    <a:pt x="96" y="26"/>
                  </a:lnTo>
                  <a:lnTo>
                    <a:pt x="96" y="24"/>
                  </a:lnTo>
                  <a:lnTo>
                    <a:pt x="96" y="20"/>
                  </a:lnTo>
                  <a:lnTo>
                    <a:pt x="96" y="18"/>
                  </a:lnTo>
                  <a:lnTo>
                    <a:pt x="96" y="18"/>
                  </a:lnTo>
                  <a:lnTo>
                    <a:pt x="96" y="18"/>
                  </a:lnTo>
                  <a:lnTo>
                    <a:pt x="96" y="16"/>
                  </a:lnTo>
                  <a:lnTo>
                    <a:pt x="96" y="16"/>
                  </a:lnTo>
                  <a:lnTo>
                    <a:pt x="94" y="16"/>
                  </a:lnTo>
                  <a:lnTo>
                    <a:pt x="94" y="14"/>
                  </a:lnTo>
                  <a:lnTo>
                    <a:pt x="92" y="14"/>
                  </a:lnTo>
                  <a:lnTo>
                    <a:pt x="90" y="14"/>
                  </a:lnTo>
                  <a:lnTo>
                    <a:pt x="88" y="14"/>
                  </a:lnTo>
                  <a:lnTo>
                    <a:pt x="86" y="14"/>
                  </a:lnTo>
                  <a:lnTo>
                    <a:pt x="84" y="14"/>
                  </a:lnTo>
                  <a:lnTo>
                    <a:pt x="80" y="14"/>
                  </a:lnTo>
                  <a:lnTo>
                    <a:pt x="76" y="14"/>
                  </a:lnTo>
                  <a:lnTo>
                    <a:pt x="74" y="14"/>
                  </a:lnTo>
                  <a:lnTo>
                    <a:pt x="72" y="14"/>
                  </a:lnTo>
                  <a:lnTo>
                    <a:pt x="72" y="12"/>
                  </a:lnTo>
                  <a:lnTo>
                    <a:pt x="70" y="12"/>
                  </a:lnTo>
                  <a:lnTo>
                    <a:pt x="70" y="12"/>
                  </a:lnTo>
                  <a:lnTo>
                    <a:pt x="70" y="12"/>
                  </a:lnTo>
                  <a:lnTo>
                    <a:pt x="68" y="10"/>
                  </a:lnTo>
                  <a:lnTo>
                    <a:pt x="66" y="8"/>
                  </a:lnTo>
                  <a:lnTo>
                    <a:pt x="64" y="6"/>
                  </a:lnTo>
                  <a:lnTo>
                    <a:pt x="62" y="2"/>
                  </a:lnTo>
                  <a:lnTo>
                    <a:pt x="60" y="0"/>
                  </a:lnTo>
                  <a:lnTo>
                    <a:pt x="40" y="3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 name="Freeform 83">
              <a:extLst>
                <a:ext uri="{FF2B5EF4-FFF2-40B4-BE49-F238E27FC236}">
                  <a16:creationId xmlns:a16="http://schemas.microsoft.com/office/drawing/2014/main" id="{FA599192-A496-4EC7-B0F7-AFF739D2A7B7}"/>
                </a:ext>
              </a:extLst>
            </p:cNvPr>
            <p:cNvSpPr>
              <a:spLocks/>
            </p:cNvSpPr>
            <p:nvPr/>
          </p:nvSpPr>
          <p:spPr bwMode="auto">
            <a:xfrm>
              <a:off x="5554411" y="3922204"/>
              <a:ext cx="190528" cy="245955"/>
            </a:xfrm>
            <a:custGeom>
              <a:avLst/>
              <a:gdLst>
                <a:gd name="T0" fmla="*/ 40 w 110"/>
                <a:gd name="T1" fmla="*/ 36 h 142"/>
                <a:gd name="T2" fmla="*/ 50 w 110"/>
                <a:gd name="T3" fmla="*/ 46 h 142"/>
                <a:gd name="T4" fmla="*/ 52 w 110"/>
                <a:gd name="T5" fmla="*/ 50 h 142"/>
                <a:gd name="T6" fmla="*/ 52 w 110"/>
                <a:gd name="T7" fmla="*/ 56 h 142"/>
                <a:gd name="T8" fmla="*/ 52 w 110"/>
                <a:gd name="T9" fmla="*/ 64 h 142"/>
                <a:gd name="T10" fmla="*/ 50 w 110"/>
                <a:gd name="T11" fmla="*/ 72 h 142"/>
                <a:gd name="T12" fmla="*/ 48 w 110"/>
                <a:gd name="T13" fmla="*/ 82 h 142"/>
                <a:gd name="T14" fmla="*/ 44 w 110"/>
                <a:gd name="T15" fmla="*/ 88 h 142"/>
                <a:gd name="T16" fmla="*/ 40 w 110"/>
                <a:gd name="T17" fmla="*/ 92 h 142"/>
                <a:gd name="T18" fmla="*/ 34 w 110"/>
                <a:gd name="T19" fmla="*/ 96 h 142"/>
                <a:gd name="T20" fmla="*/ 26 w 110"/>
                <a:gd name="T21" fmla="*/ 98 h 142"/>
                <a:gd name="T22" fmla="*/ 12 w 110"/>
                <a:gd name="T23" fmla="*/ 100 h 142"/>
                <a:gd name="T24" fmla="*/ 2 w 110"/>
                <a:gd name="T25" fmla="*/ 108 h 142"/>
                <a:gd name="T26" fmla="*/ 16 w 110"/>
                <a:gd name="T27" fmla="*/ 142 h 142"/>
                <a:gd name="T28" fmla="*/ 26 w 110"/>
                <a:gd name="T29" fmla="*/ 140 h 142"/>
                <a:gd name="T30" fmla="*/ 36 w 110"/>
                <a:gd name="T31" fmla="*/ 138 h 142"/>
                <a:gd name="T32" fmla="*/ 40 w 110"/>
                <a:gd name="T33" fmla="*/ 138 h 142"/>
                <a:gd name="T34" fmla="*/ 42 w 110"/>
                <a:gd name="T35" fmla="*/ 134 h 142"/>
                <a:gd name="T36" fmla="*/ 46 w 110"/>
                <a:gd name="T37" fmla="*/ 128 h 142"/>
                <a:gd name="T38" fmla="*/ 48 w 110"/>
                <a:gd name="T39" fmla="*/ 122 h 142"/>
                <a:gd name="T40" fmla="*/ 52 w 110"/>
                <a:gd name="T41" fmla="*/ 122 h 142"/>
                <a:gd name="T42" fmla="*/ 58 w 110"/>
                <a:gd name="T43" fmla="*/ 120 h 142"/>
                <a:gd name="T44" fmla="*/ 62 w 110"/>
                <a:gd name="T45" fmla="*/ 118 h 142"/>
                <a:gd name="T46" fmla="*/ 68 w 110"/>
                <a:gd name="T47" fmla="*/ 112 h 142"/>
                <a:gd name="T48" fmla="*/ 70 w 110"/>
                <a:gd name="T49" fmla="*/ 110 h 142"/>
                <a:gd name="T50" fmla="*/ 74 w 110"/>
                <a:gd name="T51" fmla="*/ 108 h 142"/>
                <a:gd name="T52" fmla="*/ 82 w 110"/>
                <a:gd name="T53" fmla="*/ 108 h 142"/>
                <a:gd name="T54" fmla="*/ 84 w 110"/>
                <a:gd name="T55" fmla="*/ 106 h 142"/>
                <a:gd name="T56" fmla="*/ 86 w 110"/>
                <a:gd name="T57" fmla="*/ 104 h 142"/>
                <a:gd name="T58" fmla="*/ 88 w 110"/>
                <a:gd name="T59" fmla="*/ 98 h 142"/>
                <a:gd name="T60" fmla="*/ 88 w 110"/>
                <a:gd name="T61" fmla="*/ 88 h 142"/>
                <a:gd name="T62" fmla="*/ 88 w 110"/>
                <a:gd name="T63" fmla="*/ 80 h 142"/>
                <a:gd name="T64" fmla="*/ 88 w 110"/>
                <a:gd name="T65" fmla="*/ 76 h 142"/>
                <a:gd name="T66" fmla="*/ 92 w 110"/>
                <a:gd name="T67" fmla="*/ 70 h 142"/>
                <a:gd name="T68" fmla="*/ 96 w 110"/>
                <a:gd name="T69" fmla="*/ 68 h 142"/>
                <a:gd name="T70" fmla="*/ 102 w 110"/>
                <a:gd name="T71" fmla="*/ 64 h 142"/>
                <a:gd name="T72" fmla="*/ 104 w 110"/>
                <a:gd name="T73" fmla="*/ 62 h 142"/>
                <a:gd name="T74" fmla="*/ 106 w 110"/>
                <a:gd name="T75" fmla="*/ 60 h 142"/>
                <a:gd name="T76" fmla="*/ 110 w 110"/>
                <a:gd name="T77" fmla="*/ 48 h 142"/>
                <a:gd name="T78" fmla="*/ 110 w 110"/>
                <a:gd name="T79" fmla="*/ 42 h 142"/>
                <a:gd name="T80" fmla="*/ 110 w 110"/>
                <a:gd name="T81" fmla="*/ 36 h 142"/>
                <a:gd name="T82" fmla="*/ 108 w 110"/>
                <a:gd name="T83" fmla="*/ 34 h 142"/>
                <a:gd name="T84" fmla="*/ 106 w 110"/>
                <a:gd name="T85" fmla="*/ 32 h 142"/>
                <a:gd name="T86" fmla="*/ 100 w 110"/>
                <a:gd name="T87" fmla="*/ 32 h 142"/>
                <a:gd name="T88" fmla="*/ 98 w 110"/>
                <a:gd name="T89" fmla="*/ 30 h 142"/>
                <a:gd name="T90" fmla="*/ 96 w 110"/>
                <a:gd name="T91" fmla="*/ 28 h 142"/>
                <a:gd name="T92" fmla="*/ 96 w 110"/>
                <a:gd name="T93" fmla="*/ 26 h 142"/>
                <a:gd name="T94" fmla="*/ 96 w 110"/>
                <a:gd name="T95" fmla="*/ 18 h 142"/>
                <a:gd name="T96" fmla="*/ 96 w 110"/>
                <a:gd name="T97" fmla="*/ 16 h 142"/>
                <a:gd name="T98" fmla="*/ 94 w 110"/>
                <a:gd name="T99" fmla="*/ 14 h 142"/>
                <a:gd name="T100" fmla="*/ 88 w 110"/>
                <a:gd name="T101" fmla="*/ 14 h 142"/>
                <a:gd name="T102" fmla="*/ 80 w 110"/>
                <a:gd name="T103" fmla="*/ 14 h 142"/>
                <a:gd name="T104" fmla="*/ 72 w 110"/>
                <a:gd name="T105" fmla="*/ 14 h 142"/>
                <a:gd name="T106" fmla="*/ 70 w 110"/>
                <a:gd name="T107" fmla="*/ 12 h 142"/>
                <a:gd name="T108" fmla="*/ 66 w 110"/>
                <a:gd name="T109" fmla="*/ 8 h 142"/>
                <a:gd name="T110" fmla="*/ 60 w 110"/>
                <a:gd name="T11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0" h="142">
                  <a:moveTo>
                    <a:pt x="40" y="34"/>
                  </a:moveTo>
                  <a:lnTo>
                    <a:pt x="40" y="34"/>
                  </a:lnTo>
                  <a:lnTo>
                    <a:pt x="40" y="36"/>
                  </a:lnTo>
                  <a:lnTo>
                    <a:pt x="44" y="40"/>
                  </a:lnTo>
                  <a:lnTo>
                    <a:pt x="48" y="44"/>
                  </a:lnTo>
                  <a:lnTo>
                    <a:pt x="50" y="46"/>
                  </a:lnTo>
                  <a:lnTo>
                    <a:pt x="50" y="48"/>
                  </a:lnTo>
                  <a:lnTo>
                    <a:pt x="50" y="50"/>
                  </a:lnTo>
                  <a:lnTo>
                    <a:pt x="52" y="50"/>
                  </a:lnTo>
                  <a:lnTo>
                    <a:pt x="52" y="52"/>
                  </a:lnTo>
                  <a:lnTo>
                    <a:pt x="52" y="54"/>
                  </a:lnTo>
                  <a:lnTo>
                    <a:pt x="52" y="56"/>
                  </a:lnTo>
                  <a:lnTo>
                    <a:pt x="52" y="58"/>
                  </a:lnTo>
                  <a:lnTo>
                    <a:pt x="52" y="62"/>
                  </a:lnTo>
                  <a:lnTo>
                    <a:pt x="52" y="64"/>
                  </a:lnTo>
                  <a:lnTo>
                    <a:pt x="52" y="68"/>
                  </a:lnTo>
                  <a:lnTo>
                    <a:pt x="50" y="70"/>
                  </a:lnTo>
                  <a:lnTo>
                    <a:pt x="50" y="72"/>
                  </a:lnTo>
                  <a:lnTo>
                    <a:pt x="50" y="76"/>
                  </a:lnTo>
                  <a:lnTo>
                    <a:pt x="48" y="78"/>
                  </a:lnTo>
                  <a:lnTo>
                    <a:pt x="48" y="82"/>
                  </a:lnTo>
                  <a:lnTo>
                    <a:pt x="46" y="84"/>
                  </a:lnTo>
                  <a:lnTo>
                    <a:pt x="46" y="86"/>
                  </a:lnTo>
                  <a:lnTo>
                    <a:pt x="44" y="88"/>
                  </a:lnTo>
                  <a:lnTo>
                    <a:pt x="42" y="90"/>
                  </a:lnTo>
                  <a:lnTo>
                    <a:pt x="42" y="92"/>
                  </a:lnTo>
                  <a:lnTo>
                    <a:pt x="40" y="92"/>
                  </a:lnTo>
                  <a:lnTo>
                    <a:pt x="40" y="94"/>
                  </a:lnTo>
                  <a:lnTo>
                    <a:pt x="38" y="94"/>
                  </a:lnTo>
                  <a:lnTo>
                    <a:pt x="34" y="96"/>
                  </a:lnTo>
                  <a:lnTo>
                    <a:pt x="32" y="96"/>
                  </a:lnTo>
                  <a:lnTo>
                    <a:pt x="28" y="98"/>
                  </a:lnTo>
                  <a:lnTo>
                    <a:pt x="26" y="98"/>
                  </a:lnTo>
                  <a:lnTo>
                    <a:pt x="22" y="98"/>
                  </a:lnTo>
                  <a:lnTo>
                    <a:pt x="18" y="100"/>
                  </a:lnTo>
                  <a:lnTo>
                    <a:pt x="12" y="100"/>
                  </a:lnTo>
                  <a:lnTo>
                    <a:pt x="6" y="100"/>
                  </a:lnTo>
                  <a:lnTo>
                    <a:pt x="0" y="100"/>
                  </a:lnTo>
                  <a:lnTo>
                    <a:pt x="2" y="108"/>
                  </a:lnTo>
                  <a:lnTo>
                    <a:pt x="6" y="118"/>
                  </a:lnTo>
                  <a:lnTo>
                    <a:pt x="12" y="132"/>
                  </a:lnTo>
                  <a:lnTo>
                    <a:pt x="16" y="142"/>
                  </a:lnTo>
                  <a:lnTo>
                    <a:pt x="18" y="142"/>
                  </a:lnTo>
                  <a:lnTo>
                    <a:pt x="22" y="140"/>
                  </a:lnTo>
                  <a:lnTo>
                    <a:pt x="26" y="140"/>
                  </a:lnTo>
                  <a:lnTo>
                    <a:pt x="30" y="140"/>
                  </a:lnTo>
                  <a:lnTo>
                    <a:pt x="34" y="140"/>
                  </a:lnTo>
                  <a:lnTo>
                    <a:pt x="36" y="138"/>
                  </a:lnTo>
                  <a:lnTo>
                    <a:pt x="38" y="138"/>
                  </a:lnTo>
                  <a:lnTo>
                    <a:pt x="40" y="138"/>
                  </a:lnTo>
                  <a:lnTo>
                    <a:pt x="40" y="138"/>
                  </a:lnTo>
                  <a:lnTo>
                    <a:pt x="40" y="136"/>
                  </a:lnTo>
                  <a:lnTo>
                    <a:pt x="42" y="136"/>
                  </a:lnTo>
                  <a:lnTo>
                    <a:pt x="42" y="134"/>
                  </a:lnTo>
                  <a:lnTo>
                    <a:pt x="44" y="132"/>
                  </a:lnTo>
                  <a:lnTo>
                    <a:pt x="44" y="130"/>
                  </a:lnTo>
                  <a:lnTo>
                    <a:pt x="46" y="128"/>
                  </a:lnTo>
                  <a:lnTo>
                    <a:pt x="46" y="126"/>
                  </a:lnTo>
                  <a:lnTo>
                    <a:pt x="48" y="124"/>
                  </a:lnTo>
                  <a:lnTo>
                    <a:pt x="48" y="122"/>
                  </a:lnTo>
                  <a:lnTo>
                    <a:pt x="50" y="122"/>
                  </a:lnTo>
                  <a:lnTo>
                    <a:pt x="50" y="122"/>
                  </a:lnTo>
                  <a:lnTo>
                    <a:pt x="52" y="122"/>
                  </a:lnTo>
                  <a:lnTo>
                    <a:pt x="54" y="120"/>
                  </a:lnTo>
                  <a:lnTo>
                    <a:pt x="56" y="120"/>
                  </a:lnTo>
                  <a:lnTo>
                    <a:pt x="58" y="120"/>
                  </a:lnTo>
                  <a:lnTo>
                    <a:pt x="60" y="120"/>
                  </a:lnTo>
                  <a:lnTo>
                    <a:pt x="62" y="118"/>
                  </a:lnTo>
                  <a:lnTo>
                    <a:pt x="62" y="118"/>
                  </a:lnTo>
                  <a:lnTo>
                    <a:pt x="64" y="116"/>
                  </a:lnTo>
                  <a:lnTo>
                    <a:pt x="66" y="114"/>
                  </a:lnTo>
                  <a:lnTo>
                    <a:pt x="68" y="112"/>
                  </a:lnTo>
                  <a:lnTo>
                    <a:pt x="68" y="110"/>
                  </a:lnTo>
                  <a:lnTo>
                    <a:pt x="70" y="110"/>
                  </a:lnTo>
                  <a:lnTo>
                    <a:pt x="70" y="110"/>
                  </a:lnTo>
                  <a:lnTo>
                    <a:pt x="70" y="108"/>
                  </a:lnTo>
                  <a:lnTo>
                    <a:pt x="72" y="108"/>
                  </a:lnTo>
                  <a:lnTo>
                    <a:pt x="74" y="108"/>
                  </a:lnTo>
                  <a:lnTo>
                    <a:pt x="78" y="108"/>
                  </a:lnTo>
                  <a:lnTo>
                    <a:pt x="80" y="108"/>
                  </a:lnTo>
                  <a:lnTo>
                    <a:pt x="82" y="108"/>
                  </a:lnTo>
                  <a:lnTo>
                    <a:pt x="84" y="108"/>
                  </a:lnTo>
                  <a:lnTo>
                    <a:pt x="84" y="106"/>
                  </a:lnTo>
                  <a:lnTo>
                    <a:pt x="84" y="106"/>
                  </a:lnTo>
                  <a:lnTo>
                    <a:pt x="86" y="106"/>
                  </a:lnTo>
                  <a:lnTo>
                    <a:pt x="86" y="104"/>
                  </a:lnTo>
                  <a:lnTo>
                    <a:pt x="86" y="104"/>
                  </a:lnTo>
                  <a:lnTo>
                    <a:pt x="86" y="102"/>
                  </a:lnTo>
                  <a:lnTo>
                    <a:pt x="88" y="100"/>
                  </a:lnTo>
                  <a:lnTo>
                    <a:pt x="88" y="98"/>
                  </a:lnTo>
                  <a:lnTo>
                    <a:pt x="88" y="96"/>
                  </a:lnTo>
                  <a:lnTo>
                    <a:pt x="88" y="92"/>
                  </a:lnTo>
                  <a:lnTo>
                    <a:pt x="88" y="88"/>
                  </a:lnTo>
                  <a:lnTo>
                    <a:pt x="88" y="84"/>
                  </a:lnTo>
                  <a:lnTo>
                    <a:pt x="88" y="82"/>
                  </a:lnTo>
                  <a:lnTo>
                    <a:pt x="88" y="80"/>
                  </a:lnTo>
                  <a:lnTo>
                    <a:pt x="88" y="80"/>
                  </a:lnTo>
                  <a:lnTo>
                    <a:pt x="88" y="78"/>
                  </a:lnTo>
                  <a:lnTo>
                    <a:pt x="88" y="76"/>
                  </a:lnTo>
                  <a:lnTo>
                    <a:pt x="88" y="76"/>
                  </a:lnTo>
                  <a:lnTo>
                    <a:pt x="90" y="72"/>
                  </a:lnTo>
                  <a:lnTo>
                    <a:pt x="92" y="70"/>
                  </a:lnTo>
                  <a:lnTo>
                    <a:pt x="94" y="68"/>
                  </a:lnTo>
                  <a:lnTo>
                    <a:pt x="94" y="68"/>
                  </a:lnTo>
                  <a:lnTo>
                    <a:pt x="96" y="68"/>
                  </a:lnTo>
                  <a:lnTo>
                    <a:pt x="96" y="66"/>
                  </a:lnTo>
                  <a:lnTo>
                    <a:pt x="100" y="64"/>
                  </a:lnTo>
                  <a:lnTo>
                    <a:pt x="102" y="64"/>
                  </a:lnTo>
                  <a:lnTo>
                    <a:pt x="104" y="64"/>
                  </a:lnTo>
                  <a:lnTo>
                    <a:pt x="104" y="62"/>
                  </a:lnTo>
                  <a:lnTo>
                    <a:pt x="104" y="62"/>
                  </a:lnTo>
                  <a:lnTo>
                    <a:pt x="106" y="62"/>
                  </a:lnTo>
                  <a:lnTo>
                    <a:pt x="106" y="60"/>
                  </a:lnTo>
                  <a:lnTo>
                    <a:pt x="106" y="60"/>
                  </a:lnTo>
                  <a:lnTo>
                    <a:pt x="108" y="56"/>
                  </a:lnTo>
                  <a:lnTo>
                    <a:pt x="110" y="52"/>
                  </a:lnTo>
                  <a:lnTo>
                    <a:pt x="110" y="48"/>
                  </a:lnTo>
                  <a:lnTo>
                    <a:pt x="110" y="46"/>
                  </a:lnTo>
                  <a:lnTo>
                    <a:pt x="110" y="44"/>
                  </a:lnTo>
                  <a:lnTo>
                    <a:pt x="110" y="42"/>
                  </a:lnTo>
                  <a:lnTo>
                    <a:pt x="110" y="40"/>
                  </a:lnTo>
                  <a:lnTo>
                    <a:pt x="110" y="38"/>
                  </a:lnTo>
                  <a:lnTo>
                    <a:pt x="110" y="36"/>
                  </a:lnTo>
                  <a:lnTo>
                    <a:pt x="110" y="36"/>
                  </a:lnTo>
                  <a:lnTo>
                    <a:pt x="110" y="34"/>
                  </a:lnTo>
                  <a:lnTo>
                    <a:pt x="108" y="34"/>
                  </a:lnTo>
                  <a:lnTo>
                    <a:pt x="108" y="32"/>
                  </a:lnTo>
                  <a:lnTo>
                    <a:pt x="108" y="32"/>
                  </a:lnTo>
                  <a:lnTo>
                    <a:pt x="106" y="32"/>
                  </a:lnTo>
                  <a:lnTo>
                    <a:pt x="104" y="32"/>
                  </a:lnTo>
                  <a:lnTo>
                    <a:pt x="104" y="32"/>
                  </a:lnTo>
                  <a:lnTo>
                    <a:pt x="100" y="32"/>
                  </a:lnTo>
                  <a:lnTo>
                    <a:pt x="100" y="32"/>
                  </a:lnTo>
                  <a:lnTo>
                    <a:pt x="98" y="30"/>
                  </a:lnTo>
                  <a:lnTo>
                    <a:pt x="98" y="30"/>
                  </a:lnTo>
                  <a:lnTo>
                    <a:pt x="96" y="30"/>
                  </a:lnTo>
                  <a:lnTo>
                    <a:pt x="96" y="30"/>
                  </a:lnTo>
                  <a:lnTo>
                    <a:pt x="96" y="28"/>
                  </a:lnTo>
                  <a:lnTo>
                    <a:pt x="96" y="28"/>
                  </a:lnTo>
                  <a:lnTo>
                    <a:pt x="96" y="28"/>
                  </a:lnTo>
                  <a:lnTo>
                    <a:pt x="96" y="26"/>
                  </a:lnTo>
                  <a:lnTo>
                    <a:pt x="96" y="24"/>
                  </a:lnTo>
                  <a:lnTo>
                    <a:pt x="96" y="20"/>
                  </a:lnTo>
                  <a:lnTo>
                    <a:pt x="96" y="18"/>
                  </a:lnTo>
                  <a:lnTo>
                    <a:pt x="96" y="18"/>
                  </a:lnTo>
                  <a:lnTo>
                    <a:pt x="96" y="18"/>
                  </a:lnTo>
                  <a:lnTo>
                    <a:pt x="96" y="16"/>
                  </a:lnTo>
                  <a:lnTo>
                    <a:pt x="96" y="16"/>
                  </a:lnTo>
                  <a:lnTo>
                    <a:pt x="94" y="16"/>
                  </a:lnTo>
                  <a:lnTo>
                    <a:pt x="94" y="14"/>
                  </a:lnTo>
                  <a:lnTo>
                    <a:pt x="92" y="14"/>
                  </a:lnTo>
                  <a:lnTo>
                    <a:pt x="90" y="14"/>
                  </a:lnTo>
                  <a:lnTo>
                    <a:pt x="88" y="14"/>
                  </a:lnTo>
                  <a:lnTo>
                    <a:pt x="86" y="14"/>
                  </a:lnTo>
                  <a:lnTo>
                    <a:pt x="84" y="14"/>
                  </a:lnTo>
                  <a:lnTo>
                    <a:pt x="80" y="14"/>
                  </a:lnTo>
                  <a:lnTo>
                    <a:pt x="76" y="14"/>
                  </a:lnTo>
                  <a:lnTo>
                    <a:pt x="74" y="14"/>
                  </a:lnTo>
                  <a:lnTo>
                    <a:pt x="72" y="14"/>
                  </a:lnTo>
                  <a:lnTo>
                    <a:pt x="72" y="12"/>
                  </a:lnTo>
                  <a:lnTo>
                    <a:pt x="70" y="12"/>
                  </a:lnTo>
                  <a:lnTo>
                    <a:pt x="70" y="12"/>
                  </a:lnTo>
                  <a:lnTo>
                    <a:pt x="70" y="12"/>
                  </a:lnTo>
                  <a:lnTo>
                    <a:pt x="68" y="10"/>
                  </a:lnTo>
                  <a:lnTo>
                    <a:pt x="66" y="8"/>
                  </a:lnTo>
                  <a:lnTo>
                    <a:pt x="64" y="6"/>
                  </a:lnTo>
                  <a:lnTo>
                    <a:pt x="62" y="2"/>
                  </a:lnTo>
                  <a:lnTo>
                    <a:pt x="60" y="0"/>
                  </a:lnTo>
                  <a:lnTo>
                    <a:pt x="40" y="3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 name="Freeform 84">
              <a:extLst>
                <a:ext uri="{FF2B5EF4-FFF2-40B4-BE49-F238E27FC236}">
                  <a16:creationId xmlns:a16="http://schemas.microsoft.com/office/drawing/2014/main" id="{455C432F-8DB3-4D01-A620-F2597742BC9F}"/>
                </a:ext>
              </a:extLst>
            </p:cNvPr>
            <p:cNvSpPr>
              <a:spLocks/>
            </p:cNvSpPr>
            <p:nvPr/>
          </p:nvSpPr>
          <p:spPr bwMode="auto">
            <a:xfrm>
              <a:off x="5526698" y="3887562"/>
              <a:ext cx="131638" cy="93532"/>
            </a:xfrm>
            <a:custGeom>
              <a:avLst/>
              <a:gdLst>
                <a:gd name="T0" fmla="*/ 0 w 76"/>
                <a:gd name="T1" fmla="*/ 18 h 54"/>
                <a:gd name="T2" fmla="*/ 2 w 76"/>
                <a:gd name="T3" fmla="*/ 26 h 54"/>
                <a:gd name="T4" fmla="*/ 4 w 76"/>
                <a:gd name="T5" fmla="*/ 38 h 54"/>
                <a:gd name="T6" fmla="*/ 6 w 76"/>
                <a:gd name="T7" fmla="*/ 44 h 54"/>
                <a:gd name="T8" fmla="*/ 8 w 76"/>
                <a:gd name="T9" fmla="*/ 48 h 54"/>
                <a:gd name="T10" fmla="*/ 10 w 76"/>
                <a:gd name="T11" fmla="*/ 50 h 54"/>
                <a:gd name="T12" fmla="*/ 12 w 76"/>
                <a:gd name="T13" fmla="*/ 52 h 54"/>
                <a:gd name="T14" fmla="*/ 14 w 76"/>
                <a:gd name="T15" fmla="*/ 52 h 54"/>
                <a:gd name="T16" fmla="*/ 18 w 76"/>
                <a:gd name="T17" fmla="*/ 54 h 54"/>
                <a:gd name="T18" fmla="*/ 26 w 76"/>
                <a:gd name="T19" fmla="*/ 54 h 54"/>
                <a:gd name="T20" fmla="*/ 34 w 76"/>
                <a:gd name="T21" fmla="*/ 54 h 54"/>
                <a:gd name="T22" fmla="*/ 44 w 76"/>
                <a:gd name="T23" fmla="*/ 54 h 54"/>
                <a:gd name="T24" fmla="*/ 56 w 76"/>
                <a:gd name="T25" fmla="*/ 54 h 54"/>
                <a:gd name="T26" fmla="*/ 76 w 76"/>
                <a:gd name="T27" fmla="*/ 16 h 54"/>
                <a:gd name="T28" fmla="*/ 76 w 76"/>
                <a:gd name="T29" fmla="*/ 10 h 54"/>
                <a:gd name="T30" fmla="*/ 74 w 76"/>
                <a:gd name="T31" fmla="*/ 6 h 54"/>
                <a:gd name="T32" fmla="*/ 74 w 76"/>
                <a:gd name="T33" fmla="*/ 4 h 54"/>
                <a:gd name="T34" fmla="*/ 72 w 76"/>
                <a:gd name="T35" fmla="*/ 2 h 54"/>
                <a:gd name="T36" fmla="*/ 72 w 76"/>
                <a:gd name="T37" fmla="*/ 2 h 54"/>
                <a:gd name="T38" fmla="*/ 70 w 76"/>
                <a:gd name="T39" fmla="*/ 2 h 54"/>
                <a:gd name="T40" fmla="*/ 68 w 76"/>
                <a:gd name="T41" fmla="*/ 2 h 54"/>
                <a:gd name="T42" fmla="*/ 66 w 76"/>
                <a:gd name="T43" fmla="*/ 4 h 54"/>
                <a:gd name="T44" fmla="*/ 62 w 76"/>
                <a:gd name="T45" fmla="*/ 12 h 54"/>
                <a:gd name="T46" fmla="*/ 60 w 76"/>
                <a:gd name="T47" fmla="*/ 16 h 54"/>
                <a:gd name="T48" fmla="*/ 56 w 76"/>
                <a:gd name="T49" fmla="*/ 22 h 54"/>
                <a:gd name="T50" fmla="*/ 52 w 76"/>
                <a:gd name="T51" fmla="*/ 26 h 54"/>
                <a:gd name="T52" fmla="*/ 50 w 76"/>
                <a:gd name="T53" fmla="*/ 28 h 54"/>
                <a:gd name="T54" fmla="*/ 44 w 76"/>
                <a:gd name="T55" fmla="*/ 30 h 54"/>
                <a:gd name="T56" fmla="*/ 38 w 76"/>
                <a:gd name="T57" fmla="*/ 32 h 54"/>
                <a:gd name="T58" fmla="*/ 30 w 76"/>
                <a:gd name="T59" fmla="*/ 32 h 54"/>
                <a:gd name="T60" fmla="*/ 26 w 76"/>
                <a:gd name="T61" fmla="*/ 32 h 54"/>
                <a:gd name="T62" fmla="*/ 22 w 76"/>
                <a:gd name="T63" fmla="*/ 32 h 54"/>
                <a:gd name="T64" fmla="*/ 16 w 76"/>
                <a:gd name="T65" fmla="*/ 28 h 54"/>
                <a:gd name="T66" fmla="*/ 12 w 76"/>
                <a:gd name="T67" fmla="*/ 26 h 54"/>
                <a:gd name="T68" fmla="*/ 6 w 76"/>
                <a:gd name="T69" fmla="*/ 2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 h="54">
                  <a:moveTo>
                    <a:pt x="0" y="18"/>
                  </a:moveTo>
                  <a:lnTo>
                    <a:pt x="0" y="18"/>
                  </a:lnTo>
                  <a:lnTo>
                    <a:pt x="0" y="22"/>
                  </a:lnTo>
                  <a:lnTo>
                    <a:pt x="2" y="26"/>
                  </a:lnTo>
                  <a:lnTo>
                    <a:pt x="2" y="32"/>
                  </a:lnTo>
                  <a:lnTo>
                    <a:pt x="4" y="38"/>
                  </a:lnTo>
                  <a:lnTo>
                    <a:pt x="6" y="40"/>
                  </a:lnTo>
                  <a:lnTo>
                    <a:pt x="6" y="44"/>
                  </a:lnTo>
                  <a:lnTo>
                    <a:pt x="8" y="46"/>
                  </a:lnTo>
                  <a:lnTo>
                    <a:pt x="8" y="48"/>
                  </a:lnTo>
                  <a:lnTo>
                    <a:pt x="10" y="50"/>
                  </a:lnTo>
                  <a:lnTo>
                    <a:pt x="10" y="50"/>
                  </a:lnTo>
                  <a:lnTo>
                    <a:pt x="12" y="52"/>
                  </a:lnTo>
                  <a:lnTo>
                    <a:pt x="12" y="52"/>
                  </a:lnTo>
                  <a:lnTo>
                    <a:pt x="14" y="52"/>
                  </a:lnTo>
                  <a:lnTo>
                    <a:pt x="14" y="52"/>
                  </a:lnTo>
                  <a:lnTo>
                    <a:pt x="16" y="54"/>
                  </a:lnTo>
                  <a:lnTo>
                    <a:pt x="18" y="54"/>
                  </a:lnTo>
                  <a:lnTo>
                    <a:pt x="22" y="54"/>
                  </a:lnTo>
                  <a:lnTo>
                    <a:pt x="26" y="54"/>
                  </a:lnTo>
                  <a:lnTo>
                    <a:pt x="30" y="54"/>
                  </a:lnTo>
                  <a:lnTo>
                    <a:pt x="34" y="54"/>
                  </a:lnTo>
                  <a:lnTo>
                    <a:pt x="36" y="54"/>
                  </a:lnTo>
                  <a:lnTo>
                    <a:pt x="44" y="54"/>
                  </a:lnTo>
                  <a:lnTo>
                    <a:pt x="50" y="54"/>
                  </a:lnTo>
                  <a:lnTo>
                    <a:pt x="56" y="54"/>
                  </a:lnTo>
                  <a:lnTo>
                    <a:pt x="76" y="20"/>
                  </a:lnTo>
                  <a:lnTo>
                    <a:pt x="76" y="16"/>
                  </a:lnTo>
                  <a:lnTo>
                    <a:pt x="76" y="14"/>
                  </a:lnTo>
                  <a:lnTo>
                    <a:pt x="76" y="10"/>
                  </a:lnTo>
                  <a:lnTo>
                    <a:pt x="76" y="8"/>
                  </a:lnTo>
                  <a:lnTo>
                    <a:pt x="74" y="6"/>
                  </a:lnTo>
                  <a:lnTo>
                    <a:pt x="74" y="4"/>
                  </a:lnTo>
                  <a:lnTo>
                    <a:pt x="74" y="4"/>
                  </a:lnTo>
                  <a:lnTo>
                    <a:pt x="74" y="2"/>
                  </a:lnTo>
                  <a:lnTo>
                    <a:pt x="72" y="2"/>
                  </a:lnTo>
                  <a:lnTo>
                    <a:pt x="72" y="2"/>
                  </a:lnTo>
                  <a:lnTo>
                    <a:pt x="72" y="2"/>
                  </a:lnTo>
                  <a:lnTo>
                    <a:pt x="70" y="0"/>
                  </a:lnTo>
                  <a:lnTo>
                    <a:pt x="70" y="2"/>
                  </a:lnTo>
                  <a:lnTo>
                    <a:pt x="70" y="2"/>
                  </a:lnTo>
                  <a:lnTo>
                    <a:pt x="68" y="2"/>
                  </a:lnTo>
                  <a:lnTo>
                    <a:pt x="68" y="4"/>
                  </a:lnTo>
                  <a:lnTo>
                    <a:pt x="66" y="4"/>
                  </a:lnTo>
                  <a:lnTo>
                    <a:pt x="66" y="6"/>
                  </a:lnTo>
                  <a:lnTo>
                    <a:pt x="62" y="12"/>
                  </a:lnTo>
                  <a:lnTo>
                    <a:pt x="62" y="14"/>
                  </a:lnTo>
                  <a:lnTo>
                    <a:pt x="60" y="16"/>
                  </a:lnTo>
                  <a:lnTo>
                    <a:pt x="58" y="20"/>
                  </a:lnTo>
                  <a:lnTo>
                    <a:pt x="56" y="22"/>
                  </a:lnTo>
                  <a:lnTo>
                    <a:pt x="54" y="24"/>
                  </a:lnTo>
                  <a:lnTo>
                    <a:pt x="52" y="26"/>
                  </a:lnTo>
                  <a:lnTo>
                    <a:pt x="50" y="28"/>
                  </a:lnTo>
                  <a:lnTo>
                    <a:pt x="50" y="28"/>
                  </a:lnTo>
                  <a:lnTo>
                    <a:pt x="46" y="30"/>
                  </a:lnTo>
                  <a:lnTo>
                    <a:pt x="44" y="30"/>
                  </a:lnTo>
                  <a:lnTo>
                    <a:pt x="40" y="32"/>
                  </a:lnTo>
                  <a:lnTo>
                    <a:pt x="38" y="32"/>
                  </a:lnTo>
                  <a:lnTo>
                    <a:pt x="34" y="32"/>
                  </a:lnTo>
                  <a:lnTo>
                    <a:pt x="30" y="32"/>
                  </a:lnTo>
                  <a:lnTo>
                    <a:pt x="28" y="32"/>
                  </a:lnTo>
                  <a:lnTo>
                    <a:pt x="26" y="32"/>
                  </a:lnTo>
                  <a:lnTo>
                    <a:pt x="24" y="32"/>
                  </a:lnTo>
                  <a:lnTo>
                    <a:pt x="22" y="32"/>
                  </a:lnTo>
                  <a:lnTo>
                    <a:pt x="20" y="30"/>
                  </a:lnTo>
                  <a:lnTo>
                    <a:pt x="16" y="28"/>
                  </a:lnTo>
                  <a:lnTo>
                    <a:pt x="14" y="28"/>
                  </a:lnTo>
                  <a:lnTo>
                    <a:pt x="12" y="26"/>
                  </a:lnTo>
                  <a:lnTo>
                    <a:pt x="10" y="24"/>
                  </a:lnTo>
                  <a:lnTo>
                    <a:pt x="6" y="22"/>
                  </a:lnTo>
                  <a:lnTo>
                    <a:pt x="0" y="1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 name="Freeform 85">
              <a:extLst>
                <a:ext uri="{FF2B5EF4-FFF2-40B4-BE49-F238E27FC236}">
                  <a16:creationId xmlns:a16="http://schemas.microsoft.com/office/drawing/2014/main" id="{46F9A257-D0A6-44D1-AE9C-2B3F75A80529}"/>
                </a:ext>
              </a:extLst>
            </p:cNvPr>
            <p:cNvSpPr>
              <a:spLocks/>
            </p:cNvSpPr>
            <p:nvPr/>
          </p:nvSpPr>
          <p:spPr bwMode="auto">
            <a:xfrm>
              <a:off x="5526698" y="3887562"/>
              <a:ext cx="131638" cy="93532"/>
            </a:xfrm>
            <a:custGeom>
              <a:avLst/>
              <a:gdLst>
                <a:gd name="T0" fmla="*/ 0 w 76"/>
                <a:gd name="T1" fmla="*/ 18 h 54"/>
                <a:gd name="T2" fmla="*/ 2 w 76"/>
                <a:gd name="T3" fmla="*/ 26 h 54"/>
                <a:gd name="T4" fmla="*/ 4 w 76"/>
                <a:gd name="T5" fmla="*/ 38 h 54"/>
                <a:gd name="T6" fmla="*/ 6 w 76"/>
                <a:gd name="T7" fmla="*/ 44 h 54"/>
                <a:gd name="T8" fmla="*/ 8 w 76"/>
                <a:gd name="T9" fmla="*/ 48 h 54"/>
                <a:gd name="T10" fmla="*/ 10 w 76"/>
                <a:gd name="T11" fmla="*/ 50 h 54"/>
                <a:gd name="T12" fmla="*/ 12 w 76"/>
                <a:gd name="T13" fmla="*/ 52 h 54"/>
                <a:gd name="T14" fmla="*/ 14 w 76"/>
                <a:gd name="T15" fmla="*/ 52 h 54"/>
                <a:gd name="T16" fmla="*/ 18 w 76"/>
                <a:gd name="T17" fmla="*/ 54 h 54"/>
                <a:gd name="T18" fmla="*/ 26 w 76"/>
                <a:gd name="T19" fmla="*/ 54 h 54"/>
                <a:gd name="T20" fmla="*/ 34 w 76"/>
                <a:gd name="T21" fmla="*/ 54 h 54"/>
                <a:gd name="T22" fmla="*/ 44 w 76"/>
                <a:gd name="T23" fmla="*/ 54 h 54"/>
                <a:gd name="T24" fmla="*/ 56 w 76"/>
                <a:gd name="T25" fmla="*/ 54 h 54"/>
                <a:gd name="T26" fmla="*/ 76 w 76"/>
                <a:gd name="T27" fmla="*/ 16 h 54"/>
                <a:gd name="T28" fmla="*/ 76 w 76"/>
                <a:gd name="T29" fmla="*/ 10 h 54"/>
                <a:gd name="T30" fmla="*/ 74 w 76"/>
                <a:gd name="T31" fmla="*/ 6 h 54"/>
                <a:gd name="T32" fmla="*/ 74 w 76"/>
                <a:gd name="T33" fmla="*/ 4 h 54"/>
                <a:gd name="T34" fmla="*/ 72 w 76"/>
                <a:gd name="T35" fmla="*/ 2 h 54"/>
                <a:gd name="T36" fmla="*/ 72 w 76"/>
                <a:gd name="T37" fmla="*/ 2 h 54"/>
                <a:gd name="T38" fmla="*/ 70 w 76"/>
                <a:gd name="T39" fmla="*/ 2 h 54"/>
                <a:gd name="T40" fmla="*/ 68 w 76"/>
                <a:gd name="T41" fmla="*/ 2 h 54"/>
                <a:gd name="T42" fmla="*/ 66 w 76"/>
                <a:gd name="T43" fmla="*/ 4 h 54"/>
                <a:gd name="T44" fmla="*/ 62 w 76"/>
                <a:gd name="T45" fmla="*/ 12 h 54"/>
                <a:gd name="T46" fmla="*/ 60 w 76"/>
                <a:gd name="T47" fmla="*/ 16 h 54"/>
                <a:gd name="T48" fmla="*/ 56 w 76"/>
                <a:gd name="T49" fmla="*/ 22 h 54"/>
                <a:gd name="T50" fmla="*/ 52 w 76"/>
                <a:gd name="T51" fmla="*/ 26 h 54"/>
                <a:gd name="T52" fmla="*/ 50 w 76"/>
                <a:gd name="T53" fmla="*/ 28 h 54"/>
                <a:gd name="T54" fmla="*/ 44 w 76"/>
                <a:gd name="T55" fmla="*/ 30 h 54"/>
                <a:gd name="T56" fmla="*/ 38 w 76"/>
                <a:gd name="T57" fmla="*/ 32 h 54"/>
                <a:gd name="T58" fmla="*/ 30 w 76"/>
                <a:gd name="T59" fmla="*/ 32 h 54"/>
                <a:gd name="T60" fmla="*/ 26 w 76"/>
                <a:gd name="T61" fmla="*/ 32 h 54"/>
                <a:gd name="T62" fmla="*/ 22 w 76"/>
                <a:gd name="T63" fmla="*/ 32 h 54"/>
                <a:gd name="T64" fmla="*/ 16 w 76"/>
                <a:gd name="T65" fmla="*/ 28 h 54"/>
                <a:gd name="T66" fmla="*/ 12 w 76"/>
                <a:gd name="T67" fmla="*/ 26 h 54"/>
                <a:gd name="T68" fmla="*/ 6 w 76"/>
                <a:gd name="T69" fmla="*/ 2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 h="54">
                  <a:moveTo>
                    <a:pt x="0" y="18"/>
                  </a:moveTo>
                  <a:lnTo>
                    <a:pt x="0" y="18"/>
                  </a:lnTo>
                  <a:lnTo>
                    <a:pt x="0" y="22"/>
                  </a:lnTo>
                  <a:lnTo>
                    <a:pt x="2" y="26"/>
                  </a:lnTo>
                  <a:lnTo>
                    <a:pt x="2" y="32"/>
                  </a:lnTo>
                  <a:lnTo>
                    <a:pt x="4" y="38"/>
                  </a:lnTo>
                  <a:lnTo>
                    <a:pt x="6" y="40"/>
                  </a:lnTo>
                  <a:lnTo>
                    <a:pt x="6" y="44"/>
                  </a:lnTo>
                  <a:lnTo>
                    <a:pt x="8" y="46"/>
                  </a:lnTo>
                  <a:lnTo>
                    <a:pt x="8" y="48"/>
                  </a:lnTo>
                  <a:lnTo>
                    <a:pt x="10" y="50"/>
                  </a:lnTo>
                  <a:lnTo>
                    <a:pt x="10" y="50"/>
                  </a:lnTo>
                  <a:lnTo>
                    <a:pt x="12" y="52"/>
                  </a:lnTo>
                  <a:lnTo>
                    <a:pt x="12" y="52"/>
                  </a:lnTo>
                  <a:lnTo>
                    <a:pt x="14" y="52"/>
                  </a:lnTo>
                  <a:lnTo>
                    <a:pt x="14" y="52"/>
                  </a:lnTo>
                  <a:lnTo>
                    <a:pt x="16" y="54"/>
                  </a:lnTo>
                  <a:lnTo>
                    <a:pt x="18" y="54"/>
                  </a:lnTo>
                  <a:lnTo>
                    <a:pt x="22" y="54"/>
                  </a:lnTo>
                  <a:lnTo>
                    <a:pt x="26" y="54"/>
                  </a:lnTo>
                  <a:lnTo>
                    <a:pt x="30" y="54"/>
                  </a:lnTo>
                  <a:lnTo>
                    <a:pt x="34" y="54"/>
                  </a:lnTo>
                  <a:lnTo>
                    <a:pt x="36" y="54"/>
                  </a:lnTo>
                  <a:lnTo>
                    <a:pt x="44" y="54"/>
                  </a:lnTo>
                  <a:lnTo>
                    <a:pt x="50" y="54"/>
                  </a:lnTo>
                  <a:lnTo>
                    <a:pt x="56" y="54"/>
                  </a:lnTo>
                  <a:lnTo>
                    <a:pt x="76" y="20"/>
                  </a:lnTo>
                  <a:lnTo>
                    <a:pt x="76" y="16"/>
                  </a:lnTo>
                  <a:lnTo>
                    <a:pt x="76" y="14"/>
                  </a:lnTo>
                  <a:lnTo>
                    <a:pt x="76" y="10"/>
                  </a:lnTo>
                  <a:lnTo>
                    <a:pt x="76" y="8"/>
                  </a:lnTo>
                  <a:lnTo>
                    <a:pt x="74" y="6"/>
                  </a:lnTo>
                  <a:lnTo>
                    <a:pt x="74" y="4"/>
                  </a:lnTo>
                  <a:lnTo>
                    <a:pt x="74" y="4"/>
                  </a:lnTo>
                  <a:lnTo>
                    <a:pt x="74" y="2"/>
                  </a:lnTo>
                  <a:lnTo>
                    <a:pt x="72" y="2"/>
                  </a:lnTo>
                  <a:lnTo>
                    <a:pt x="72" y="2"/>
                  </a:lnTo>
                  <a:lnTo>
                    <a:pt x="72" y="2"/>
                  </a:lnTo>
                  <a:lnTo>
                    <a:pt x="70" y="0"/>
                  </a:lnTo>
                  <a:lnTo>
                    <a:pt x="70" y="2"/>
                  </a:lnTo>
                  <a:lnTo>
                    <a:pt x="70" y="2"/>
                  </a:lnTo>
                  <a:lnTo>
                    <a:pt x="68" y="2"/>
                  </a:lnTo>
                  <a:lnTo>
                    <a:pt x="68" y="4"/>
                  </a:lnTo>
                  <a:lnTo>
                    <a:pt x="66" y="4"/>
                  </a:lnTo>
                  <a:lnTo>
                    <a:pt x="66" y="6"/>
                  </a:lnTo>
                  <a:lnTo>
                    <a:pt x="62" y="12"/>
                  </a:lnTo>
                  <a:lnTo>
                    <a:pt x="62" y="14"/>
                  </a:lnTo>
                  <a:lnTo>
                    <a:pt x="60" y="16"/>
                  </a:lnTo>
                  <a:lnTo>
                    <a:pt x="58" y="20"/>
                  </a:lnTo>
                  <a:lnTo>
                    <a:pt x="56" y="22"/>
                  </a:lnTo>
                  <a:lnTo>
                    <a:pt x="54" y="24"/>
                  </a:lnTo>
                  <a:lnTo>
                    <a:pt x="52" y="26"/>
                  </a:lnTo>
                  <a:lnTo>
                    <a:pt x="50" y="28"/>
                  </a:lnTo>
                  <a:lnTo>
                    <a:pt x="50" y="28"/>
                  </a:lnTo>
                  <a:lnTo>
                    <a:pt x="46" y="30"/>
                  </a:lnTo>
                  <a:lnTo>
                    <a:pt x="44" y="30"/>
                  </a:lnTo>
                  <a:lnTo>
                    <a:pt x="40" y="32"/>
                  </a:lnTo>
                  <a:lnTo>
                    <a:pt x="38" y="32"/>
                  </a:lnTo>
                  <a:lnTo>
                    <a:pt x="34" y="32"/>
                  </a:lnTo>
                  <a:lnTo>
                    <a:pt x="30" y="32"/>
                  </a:lnTo>
                  <a:lnTo>
                    <a:pt x="28" y="32"/>
                  </a:lnTo>
                  <a:lnTo>
                    <a:pt x="26" y="32"/>
                  </a:lnTo>
                  <a:lnTo>
                    <a:pt x="24" y="32"/>
                  </a:lnTo>
                  <a:lnTo>
                    <a:pt x="22" y="32"/>
                  </a:lnTo>
                  <a:lnTo>
                    <a:pt x="20" y="30"/>
                  </a:lnTo>
                  <a:lnTo>
                    <a:pt x="16" y="28"/>
                  </a:lnTo>
                  <a:lnTo>
                    <a:pt x="14" y="28"/>
                  </a:lnTo>
                  <a:lnTo>
                    <a:pt x="12" y="26"/>
                  </a:lnTo>
                  <a:lnTo>
                    <a:pt x="10" y="24"/>
                  </a:lnTo>
                  <a:lnTo>
                    <a:pt x="6" y="22"/>
                  </a:lnTo>
                  <a:lnTo>
                    <a:pt x="0" y="1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 name="Freeform 86">
              <a:extLst>
                <a:ext uri="{FF2B5EF4-FFF2-40B4-BE49-F238E27FC236}">
                  <a16:creationId xmlns:a16="http://schemas.microsoft.com/office/drawing/2014/main" id="{98049E93-0553-497C-842D-06A7E14E6618}"/>
                </a:ext>
              </a:extLst>
            </p:cNvPr>
            <p:cNvSpPr>
              <a:spLocks/>
            </p:cNvSpPr>
            <p:nvPr/>
          </p:nvSpPr>
          <p:spPr bwMode="auto">
            <a:xfrm>
              <a:off x="5201068" y="3537683"/>
              <a:ext cx="249419" cy="280596"/>
            </a:xfrm>
            <a:custGeom>
              <a:avLst/>
              <a:gdLst>
                <a:gd name="T0" fmla="*/ 82 w 144"/>
                <a:gd name="T1" fmla="*/ 142 h 162"/>
                <a:gd name="T2" fmla="*/ 76 w 144"/>
                <a:gd name="T3" fmla="*/ 128 h 162"/>
                <a:gd name="T4" fmla="*/ 70 w 144"/>
                <a:gd name="T5" fmla="*/ 124 h 162"/>
                <a:gd name="T6" fmla="*/ 60 w 144"/>
                <a:gd name="T7" fmla="*/ 120 h 162"/>
                <a:gd name="T8" fmla="*/ 56 w 144"/>
                <a:gd name="T9" fmla="*/ 110 h 162"/>
                <a:gd name="T10" fmla="*/ 52 w 144"/>
                <a:gd name="T11" fmla="*/ 104 h 162"/>
                <a:gd name="T12" fmla="*/ 46 w 144"/>
                <a:gd name="T13" fmla="*/ 104 h 162"/>
                <a:gd name="T14" fmla="*/ 36 w 144"/>
                <a:gd name="T15" fmla="*/ 106 h 162"/>
                <a:gd name="T16" fmla="*/ 30 w 144"/>
                <a:gd name="T17" fmla="*/ 102 h 162"/>
                <a:gd name="T18" fmla="*/ 18 w 144"/>
                <a:gd name="T19" fmla="*/ 94 h 162"/>
                <a:gd name="T20" fmla="*/ 14 w 144"/>
                <a:gd name="T21" fmla="*/ 90 h 162"/>
                <a:gd name="T22" fmla="*/ 16 w 144"/>
                <a:gd name="T23" fmla="*/ 68 h 162"/>
                <a:gd name="T24" fmla="*/ 34 w 144"/>
                <a:gd name="T25" fmla="*/ 58 h 162"/>
                <a:gd name="T26" fmla="*/ 36 w 144"/>
                <a:gd name="T27" fmla="*/ 50 h 162"/>
                <a:gd name="T28" fmla="*/ 38 w 144"/>
                <a:gd name="T29" fmla="*/ 30 h 162"/>
                <a:gd name="T30" fmla="*/ 52 w 144"/>
                <a:gd name="T31" fmla="*/ 10 h 162"/>
                <a:gd name="T32" fmla="*/ 62 w 144"/>
                <a:gd name="T33" fmla="*/ 2 h 162"/>
                <a:gd name="T34" fmla="*/ 70 w 144"/>
                <a:gd name="T35" fmla="*/ 0 h 162"/>
                <a:gd name="T36" fmla="*/ 72 w 144"/>
                <a:gd name="T37" fmla="*/ 4 h 162"/>
                <a:gd name="T38" fmla="*/ 76 w 144"/>
                <a:gd name="T39" fmla="*/ 10 h 162"/>
                <a:gd name="T40" fmla="*/ 84 w 144"/>
                <a:gd name="T41" fmla="*/ 12 h 162"/>
                <a:gd name="T42" fmla="*/ 94 w 144"/>
                <a:gd name="T43" fmla="*/ 18 h 162"/>
                <a:gd name="T44" fmla="*/ 96 w 144"/>
                <a:gd name="T45" fmla="*/ 24 h 162"/>
                <a:gd name="T46" fmla="*/ 102 w 144"/>
                <a:gd name="T47" fmla="*/ 26 h 162"/>
                <a:gd name="T48" fmla="*/ 110 w 144"/>
                <a:gd name="T49" fmla="*/ 26 h 162"/>
                <a:gd name="T50" fmla="*/ 112 w 144"/>
                <a:gd name="T51" fmla="*/ 28 h 162"/>
                <a:gd name="T52" fmla="*/ 110 w 144"/>
                <a:gd name="T53" fmla="*/ 38 h 162"/>
                <a:gd name="T54" fmla="*/ 108 w 144"/>
                <a:gd name="T55" fmla="*/ 44 h 162"/>
                <a:gd name="T56" fmla="*/ 100 w 144"/>
                <a:gd name="T57" fmla="*/ 48 h 162"/>
                <a:gd name="T58" fmla="*/ 98 w 144"/>
                <a:gd name="T59" fmla="*/ 54 h 162"/>
                <a:gd name="T60" fmla="*/ 98 w 144"/>
                <a:gd name="T61" fmla="*/ 64 h 162"/>
                <a:gd name="T62" fmla="*/ 102 w 144"/>
                <a:gd name="T63" fmla="*/ 66 h 162"/>
                <a:gd name="T64" fmla="*/ 112 w 144"/>
                <a:gd name="T65" fmla="*/ 70 h 162"/>
                <a:gd name="T66" fmla="*/ 114 w 144"/>
                <a:gd name="T67" fmla="*/ 74 h 162"/>
                <a:gd name="T68" fmla="*/ 116 w 144"/>
                <a:gd name="T69" fmla="*/ 82 h 162"/>
                <a:gd name="T70" fmla="*/ 118 w 144"/>
                <a:gd name="T71" fmla="*/ 84 h 162"/>
                <a:gd name="T72" fmla="*/ 128 w 144"/>
                <a:gd name="T73" fmla="*/ 86 h 162"/>
                <a:gd name="T74" fmla="*/ 136 w 144"/>
                <a:gd name="T75" fmla="*/ 82 h 162"/>
                <a:gd name="T76" fmla="*/ 138 w 144"/>
                <a:gd name="T77" fmla="*/ 88 h 162"/>
                <a:gd name="T78" fmla="*/ 138 w 144"/>
                <a:gd name="T79" fmla="*/ 96 h 162"/>
                <a:gd name="T80" fmla="*/ 134 w 144"/>
                <a:gd name="T81" fmla="*/ 106 h 162"/>
                <a:gd name="T82" fmla="*/ 134 w 144"/>
                <a:gd name="T83" fmla="*/ 110 h 162"/>
                <a:gd name="T84" fmla="*/ 138 w 144"/>
                <a:gd name="T85" fmla="*/ 112 h 162"/>
                <a:gd name="T86" fmla="*/ 142 w 144"/>
                <a:gd name="T87" fmla="*/ 114 h 162"/>
                <a:gd name="T88" fmla="*/ 144 w 144"/>
                <a:gd name="T89" fmla="*/ 126 h 162"/>
                <a:gd name="T90" fmla="*/ 124 w 144"/>
                <a:gd name="T91" fmla="*/ 132 h 162"/>
                <a:gd name="T92" fmla="*/ 122 w 144"/>
                <a:gd name="T93" fmla="*/ 136 h 162"/>
                <a:gd name="T94" fmla="*/ 120 w 144"/>
                <a:gd name="T95" fmla="*/ 150 h 162"/>
                <a:gd name="T96" fmla="*/ 114 w 144"/>
                <a:gd name="T97" fmla="*/ 160 h 162"/>
                <a:gd name="T98" fmla="*/ 108 w 144"/>
                <a:gd name="T99" fmla="*/ 162 h 162"/>
                <a:gd name="T100" fmla="*/ 100 w 144"/>
                <a:gd name="T101" fmla="*/ 158 h 162"/>
                <a:gd name="T102" fmla="*/ 86 w 144"/>
                <a:gd name="T103" fmla="*/ 14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62">
                  <a:moveTo>
                    <a:pt x="86" y="148"/>
                  </a:moveTo>
                  <a:lnTo>
                    <a:pt x="86" y="148"/>
                  </a:lnTo>
                  <a:lnTo>
                    <a:pt x="84" y="146"/>
                  </a:lnTo>
                  <a:lnTo>
                    <a:pt x="84" y="146"/>
                  </a:lnTo>
                  <a:lnTo>
                    <a:pt x="82" y="142"/>
                  </a:lnTo>
                  <a:lnTo>
                    <a:pt x="80" y="140"/>
                  </a:lnTo>
                  <a:lnTo>
                    <a:pt x="80" y="136"/>
                  </a:lnTo>
                  <a:lnTo>
                    <a:pt x="78" y="132"/>
                  </a:lnTo>
                  <a:lnTo>
                    <a:pt x="76" y="130"/>
                  </a:lnTo>
                  <a:lnTo>
                    <a:pt x="76" y="128"/>
                  </a:lnTo>
                  <a:lnTo>
                    <a:pt x="74" y="126"/>
                  </a:lnTo>
                  <a:lnTo>
                    <a:pt x="74" y="126"/>
                  </a:lnTo>
                  <a:lnTo>
                    <a:pt x="72" y="124"/>
                  </a:lnTo>
                  <a:lnTo>
                    <a:pt x="72" y="124"/>
                  </a:lnTo>
                  <a:lnTo>
                    <a:pt x="70" y="124"/>
                  </a:lnTo>
                  <a:lnTo>
                    <a:pt x="66" y="122"/>
                  </a:lnTo>
                  <a:lnTo>
                    <a:pt x="64" y="122"/>
                  </a:lnTo>
                  <a:lnTo>
                    <a:pt x="62" y="122"/>
                  </a:lnTo>
                  <a:lnTo>
                    <a:pt x="62" y="122"/>
                  </a:lnTo>
                  <a:lnTo>
                    <a:pt x="60" y="120"/>
                  </a:lnTo>
                  <a:lnTo>
                    <a:pt x="60" y="120"/>
                  </a:lnTo>
                  <a:lnTo>
                    <a:pt x="58" y="118"/>
                  </a:lnTo>
                  <a:lnTo>
                    <a:pt x="58" y="116"/>
                  </a:lnTo>
                  <a:lnTo>
                    <a:pt x="56" y="112"/>
                  </a:lnTo>
                  <a:lnTo>
                    <a:pt x="56" y="110"/>
                  </a:lnTo>
                  <a:lnTo>
                    <a:pt x="54" y="108"/>
                  </a:lnTo>
                  <a:lnTo>
                    <a:pt x="54" y="106"/>
                  </a:lnTo>
                  <a:lnTo>
                    <a:pt x="52" y="106"/>
                  </a:lnTo>
                  <a:lnTo>
                    <a:pt x="52" y="106"/>
                  </a:lnTo>
                  <a:lnTo>
                    <a:pt x="52" y="104"/>
                  </a:lnTo>
                  <a:lnTo>
                    <a:pt x="50" y="104"/>
                  </a:lnTo>
                  <a:lnTo>
                    <a:pt x="50" y="104"/>
                  </a:lnTo>
                  <a:lnTo>
                    <a:pt x="48" y="104"/>
                  </a:lnTo>
                  <a:lnTo>
                    <a:pt x="48" y="104"/>
                  </a:lnTo>
                  <a:lnTo>
                    <a:pt x="46" y="104"/>
                  </a:lnTo>
                  <a:lnTo>
                    <a:pt x="44" y="104"/>
                  </a:lnTo>
                  <a:lnTo>
                    <a:pt x="40" y="106"/>
                  </a:lnTo>
                  <a:lnTo>
                    <a:pt x="38" y="106"/>
                  </a:lnTo>
                  <a:lnTo>
                    <a:pt x="36" y="106"/>
                  </a:lnTo>
                  <a:lnTo>
                    <a:pt x="36" y="106"/>
                  </a:lnTo>
                  <a:lnTo>
                    <a:pt x="34" y="106"/>
                  </a:lnTo>
                  <a:lnTo>
                    <a:pt x="34" y="106"/>
                  </a:lnTo>
                  <a:lnTo>
                    <a:pt x="32" y="104"/>
                  </a:lnTo>
                  <a:lnTo>
                    <a:pt x="30" y="104"/>
                  </a:lnTo>
                  <a:lnTo>
                    <a:pt x="30" y="102"/>
                  </a:lnTo>
                  <a:lnTo>
                    <a:pt x="28" y="100"/>
                  </a:lnTo>
                  <a:lnTo>
                    <a:pt x="24" y="98"/>
                  </a:lnTo>
                  <a:lnTo>
                    <a:pt x="22" y="96"/>
                  </a:lnTo>
                  <a:lnTo>
                    <a:pt x="20" y="94"/>
                  </a:lnTo>
                  <a:lnTo>
                    <a:pt x="18" y="94"/>
                  </a:lnTo>
                  <a:lnTo>
                    <a:pt x="18" y="92"/>
                  </a:lnTo>
                  <a:lnTo>
                    <a:pt x="16" y="92"/>
                  </a:lnTo>
                  <a:lnTo>
                    <a:pt x="14" y="90"/>
                  </a:lnTo>
                  <a:lnTo>
                    <a:pt x="14" y="90"/>
                  </a:lnTo>
                  <a:lnTo>
                    <a:pt x="14" y="90"/>
                  </a:lnTo>
                  <a:lnTo>
                    <a:pt x="12" y="92"/>
                  </a:lnTo>
                  <a:lnTo>
                    <a:pt x="10" y="92"/>
                  </a:lnTo>
                  <a:lnTo>
                    <a:pt x="0" y="76"/>
                  </a:lnTo>
                  <a:lnTo>
                    <a:pt x="6" y="74"/>
                  </a:lnTo>
                  <a:lnTo>
                    <a:pt x="16" y="68"/>
                  </a:lnTo>
                  <a:lnTo>
                    <a:pt x="20" y="66"/>
                  </a:lnTo>
                  <a:lnTo>
                    <a:pt x="26" y="62"/>
                  </a:lnTo>
                  <a:lnTo>
                    <a:pt x="28" y="60"/>
                  </a:lnTo>
                  <a:lnTo>
                    <a:pt x="32" y="60"/>
                  </a:lnTo>
                  <a:lnTo>
                    <a:pt x="34" y="58"/>
                  </a:lnTo>
                  <a:lnTo>
                    <a:pt x="34" y="56"/>
                  </a:lnTo>
                  <a:lnTo>
                    <a:pt x="34" y="56"/>
                  </a:lnTo>
                  <a:lnTo>
                    <a:pt x="36" y="54"/>
                  </a:lnTo>
                  <a:lnTo>
                    <a:pt x="36" y="52"/>
                  </a:lnTo>
                  <a:lnTo>
                    <a:pt x="36" y="50"/>
                  </a:lnTo>
                  <a:lnTo>
                    <a:pt x="36" y="48"/>
                  </a:lnTo>
                  <a:lnTo>
                    <a:pt x="38" y="44"/>
                  </a:lnTo>
                  <a:lnTo>
                    <a:pt x="38" y="42"/>
                  </a:lnTo>
                  <a:lnTo>
                    <a:pt x="38" y="36"/>
                  </a:lnTo>
                  <a:lnTo>
                    <a:pt x="38" y="30"/>
                  </a:lnTo>
                  <a:lnTo>
                    <a:pt x="38" y="22"/>
                  </a:lnTo>
                  <a:lnTo>
                    <a:pt x="42" y="20"/>
                  </a:lnTo>
                  <a:lnTo>
                    <a:pt x="48" y="14"/>
                  </a:lnTo>
                  <a:lnTo>
                    <a:pt x="50" y="12"/>
                  </a:lnTo>
                  <a:lnTo>
                    <a:pt x="52" y="10"/>
                  </a:lnTo>
                  <a:lnTo>
                    <a:pt x="54" y="6"/>
                  </a:lnTo>
                  <a:lnTo>
                    <a:pt x="56" y="6"/>
                  </a:lnTo>
                  <a:lnTo>
                    <a:pt x="56" y="4"/>
                  </a:lnTo>
                  <a:lnTo>
                    <a:pt x="60" y="4"/>
                  </a:lnTo>
                  <a:lnTo>
                    <a:pt x="62" y="2"/>
                  </a:lnTo>
                  <a:lnTo>
                    <a:pt x="64" y="2"/>
                  </a:lnTo>
                  <a:lnTo>
                    <a:pt x="66" y="2"/>
                  </a:lnTo>
                  <a:lnTo>
                    <a:pt x="68" y="0"/>
                  </a:lnTo>
                  <a:lnTo>
                    <a:pt x="70" y="0"/>
                  </a:lnTo>
                  <a:lnTo>
                    <a:pt x="70" y="0"/>
                  </a:lnTo>
                  <a:lnTo>
                    <a:pt x="70" y="2"/>
                  </a:lnTo>
                  <a:lnTo>
                    <a:pt x="72" y="2"/>
                  </a:lnTo>
                  <a:lnTo>
                    <a:pt x="72" y="2"/>
                  </a:lnTo>
                  <a:lnTo>
                    <a:pt x="72" y="2"/>
                  </a:lnTo>
                  <a:lnTo>
                    <a:pt x="72" y="4"/>
                  </a:lnTo>
                  <a:lnTo>
                    <a:pt x="74" y="6"/>
                  </a:lnTo>
                  <a:lnTo>
                    <a:pt x="74" y="8"/>
                  </a:lnTo>
                  <a:lnTo>
                    <a:pt x="76" y="10"/>
                  </a:lnTo>
                  <a:lnTo>
                    <a:pt x="76" y="10"/>
                  </a:lnTo>
                  <a:lnTo>
                    <a:pt x="76" y="10"/>
                  </a:lnTo>
                  <a:lnTo>
                    <a:pt x="76" y="12"/>
                  </a:lnTo>
                  <a:lnTo>
                    <a:pt x="78" y="12"/>
                  </a:lnTo>
                  <a:lnTo>
                    <a:pt x="78" y="12"/>
                  </a:lnTo>
                  <a:lnTo>
                    <a:pt x="82" y="12"/>
                  </a:lnTo>
                  <a:lnTo>
                    <a:pt x="84" y="12"/>
                  </a:lnTo>
                  <a:lnTo>
                    <a:pt x="88" y="12"/>
                  </a:lnTo>
                  <a:lnTo>
                    <a:pt x="92" y="12"/>
                  </a:lnTo>
                  <a:lnTo>
                    <a:pt x="94" y="12"/>
                  </a:lnTo>
                  <a:lnTo>
                    <a:pt x="94" y="14"/>
                  </a:lnTo>
                  <a:lnTo>
                    <a:pt x="94" y="18"/>
                  </a:lnTo>
                  <a:lnTo>
                    <a:pt x="94" y="20"/>
                  </a:lnTo>
                  <a:lnTo>
                    <a:pt x="96" y="22"/>
                  </a:lnTo>
                  <a:lnTo>
                    <a:pt x="96" y="22"/>
                  </a:lnTo>
                  <a:lnTo>
                    <a:pt x="96" y="24"/>
                  </a:lnTo>
                  <a:lnTo>
                    <a:pt x="96" y="24"/>
                  </a:lnTo>
                  <a:lnTo>
                    <a:pt x="98" y="24"/>
                  </a:lnTo>
                  <a:lnTo>
                    <a:pt x="98" y="24"/>
                  </a:lnTo>
                  <a:lnTo>
                    <a:pt x="98" y="26"/>
                  </a:lnTo>
                  <a:lnTo>
                    <a:pt x="100" y="26"/>
                  </a:lnTo>
                  <a:lnTo>
                    <a:pt x="102" y="26"/>
                  </a:lnTo>
                  <a:lnTo>
                    <a:pt x="104" y="26"/>
                  </a:lnTo>
                  <a:lnTo>
                    <a:pt x="106" y="26"/>
                  </a:lnTo>
                  <a:lnTo>
                    <a:pt x="108" y="26"/>
                  </a:lnTo>
                  <a:lnTo>
                    <a:pt x="110" y="26"/>
                  </a:lnTo>
                  <a:lnTo>
                    <a:pt x="110" y="26"/>
                  </a:lnTo>
                  <a:lnTo>
                    <a:pt x="112" y="26"/>
                  </a:lnTo>
                  <a:lnTo>
                    <a:pt x="112" y="26"/>
                  </a:lnTo>
                  <a:lnTo>
                    <a:pt x="112" y="28"/>
                  </a:lnTo>
                  <a:lnTo>
                    <a:pt x="112" y="28"/>
                  </a:lnTo>
                  <a:lnTo>
                    <a:pt x="112" y="28"/>
                  </a:lnTo>
                  <a:lnTo>
                    <a:pt x="112" y="30"/>
                  </a:lnTo>
                  <a:lnTo>
                    <a:pt x="112" y="32"/>
                  </a:lnTo>
                  <a:lnTo>
                    <a:pt x="112" y="34"/>
                  </a:lnTo>
                  <a:lnTo>
                    <a:pt x="112" y="36"/>
                  </a:lnTo>
                  <a:lnTo>
                    <a:pt x="110" y="38"/>
                  </a:lnTo>
                  <a:lnTo>
                    <a:pt x="110" y="40"/>
                  </a:lnTo>
                  <a:lnTo>
                    <a:pt x="110" y="42"/>
                  </a:lnTo>
                  <a:lnTo>
                    <a:pt x="110" y="42"/>
                  </a:lnTo>
                  <a:lnTo>
                    <a:pt x="108" y="42"/>
                  </a:lnTo>
                  <a:lnTo>
                    <a:pt x="108" y="44"/>
                  </a:lnTo>
                  <a:lnTo>
                    <a:pt x="106" y="44"/>
                  </a:lnTo>
                  <a:lnTo>
                    <a:pt x="104" y="46"/>
                  </a:lnTo>
                  <a:lnTo>
                    <a:pt x="102" y="46"/>
                  </a:lnTo>
                  <a:lnTo>
                    <a:pt x="102" y="48"/>
                  </a:lnTo>
                  <a:lnTo>
                    <a:pt x="100" y="48"/>
                  </a:lnTo>
                  <a:lnTo>
                    <a:pt x="100" y="48"/>
                  </a:lnTo>
                  <a:lnTo>
                    <a:pt x="100" y="50"/>
                  </a:lnTo>
                  <a:lnTo>
                    <a:pt x="98" y="50"/>
                  </a:lnTo>
                  <a:lnTo>
                    <a:pt x="98" y="52"/>
                  </a:lnTo>
                  <a:lnTo>
                    <a:pt x="98" y="54"/>
                  </a:lnTo>
                  <a:lnTo>
                    <a:pt x="98" y="56"/>
                  </a:lnTo>
                  <a:lnTo>
                    <a:pt x="98" y="60"/>
                  </a:lnTo>
                  <a:lnTo>
                    <a:pt x="98" y="62"/>
                  </a:lnTo>
                  <a:lnTo>
                    <a:pt x="98" y="64"/>
                  </a:lnTo>
                  <a:lnTo>
                    <a:pt x="98" y="64"/>
                  </a:lnTo>
                  <a:lnTo>
                    <a:pt x="100" y="64"/>
                  </a:lnTo>
                  <a:lnTo>
                    <a:pt x="100" y="64"/>
                  </a:lnTo>
                  <a:lnTo>
                    <a:pt x="100" y="66"/>
                  </a:lnTo>
                  <a:lnTo>
                    <a:pt x="102" y="66"/>
                  </a:lnTo>
                  <a:lnTo>
                    <a:pt x="102" y="66"/>
                  </a:lnTo>
                  <a:lnTo>
                    <a:pt x="104" y="66"/>
                  </a:lnTo>
                  <a:lnTo>
                    <a:pt x="106" y="68"/>
                  </a:lnTo>
                  <a:lnTo>
                    <a:pt x="108" y="68"/>
                  </a:lnTo>
                  <a:lnTo>
                    <a:pt x="110" y="68"/>
                  </a:lnTo>
                  <a:lnTo>
                    <a:pt x="112" y="70"/>
                  </a:lnTo>
                  <a:lnTo>
                    <a:pt x="112" y="70"/>
                  </a:lnTo>
                  <a:lnTo>
                    <a:pt x="114" y="70"/>
                  </a:lnTo>
                  <a:lnTo>
                    <a:pt x="114" y="72"/>
                  </a:lnTo>
                  <a:lnTo>
                    <a:pt x="114" y="72"/>
                  </a:lnTo>
                  <a:lnTo>
                    <a:pt x="114" y="74"/>
                  </a:lnTo>
                  <a:lnTo>
                    <a:pt x="114" y="76"/>
                  </a:lnTo>
                  <a:lnTo>
                    <a:pt x="114" y="76"/>
                  </a:lnTo>
                  <a:lnTo>
                    <a:pt x="114" y="78"/>
                  </a:lnTo>
                  <a:lnTo>
                    <a:pt x="114" y="80"/>
                  </a:lnTo>
                  <a:lnTo>
                    <a:pt x="116" y="82"/>
                  </a:lnTo>
                  <a:lnTo>
                    <a:pt x="116" y="82"/>
                  </a:lnTo>
                  <a:lnTo>
                    <a:pt x="116" y="84"/>
                  </a:lnTo>
                  <a:lnTo>
                    <a:pt x="116" y="84"/>
                  </a:lnTo>
                  <a:lnTo>
                    <a:pt x="118" y="84"/>
                  </a:lnTo>
                  <a:lnTo>
                    <a:pt x="118" y="84"/>
                  </a:lnTo>
                  <a:lnTo>
                    <a:pt x="120" y="86"/>
                  </a:lnTo>
                  <a:lnTo>
                    <a:pt x="124" y="86"/>
                  </a:lnTo>
                  <a:lnTo>
                    <a:pt x="126" y="86"/>
                  </a:lnTo>
                  <a:lnTo>
                    <a:pt x="126" y="86"/>
                  </a:lnTo>
                  <a:lnTo>
                    <a:pt x="128" y="86"/>
                  </a:lnTo>
                  <a:lnTo>
                    <a:pt x="130" y="84"/>
                  </a:lnTo>
                  <a:lnTo>
                    <a:pt x="132" y="84"/>
                  </a:lnTo>
                  <a:lnTo>
                    <a:pt x="134" y="84"/>
                  </a:lnTo>
                  <a:lnTo>
                    <a:pt x="134" y="82"/>
                  </a:lnTo>
                  <a:lnTo>
                    <a:pt x="136" y="82"/>
                  </a:lnTo>
                  <a:lnTo>
                    <a:pt x="136" y="84"/>
                  </a:lnTo>
                  <a:lnTo>
                    <a:pt x="136" y="84"/>
                  </a:lnTo>
                  <a:lnTo>
                    <a:pt x="136" y="84"/>
                  </a:lnTo>
                  <a:lnTo>
                    <a:pt x="138" y="86"/>
                  </a:lnTo>
                  <a:lnTo>
                    <a:pt x="138" y="88"/>
                  </a:lnTo>
                  <a:lnTo>
                    <a:pt x="138" y="88"/>
                  </a:lnTo>
                  <a:lnTo>
                    <a:pt x="138" y="90"/>
                  </a:lnTo>
                  <a:lnTo>
                    <a:pt x="138" y="92"/>
                  </a:lnTo>
                  <a:lnTo>
                    <a:pt x="138" y="96"/>
                  </a:lnTo>
                  <a:lnTo>
                    <a:pt x="138" y="96"/>
                  </a:lnTo>
                  <a:lnTo>
                    <a:pt x="138" y="98"/>
                  </a:lnTo>
                  <a:lnTo>
                    <a:pt x="138" y="98"/>
                  </a:lnTo>
                  <a:lnTo>
                    <a:pt x="136" y="102"/>
                  </a:lnTo>
                  <a:lnTo>
                    <a:pt x="134" y="104"/>
                  </a:lnTo>
                  <a:lnTo>
                    <a:pt x="134" y="106"/>
                  </a:lnTo>
                  <a:lnTo>
                    <a:pt x="134" y="108"/>
                  </a:lnTo>
                  <a:lnTo>
                    <a:pt x="134" y="108"/>
                  </a:lnTo>
                  <a:lnTo>
                    <a:pt x="134" y="110"/>
                  </a:lnTo>
                  <a:lnTo>
                    <a:pt x="134" y="110"/>
                  </a:lnTo>
                  <a:lnTo>
                    <a:pt x="134" y="110"/>
                  </a:lnTo>
                  <a:lnTo>
                    <a:pt x="134" y="110"/>
                  </a:lnTo>
                  <a:lnTo>
                    <a:pt x="134" y="110"/>
                  </a:lnTo>
                  <a:lnTo>
                    <a:pt x="136" y="112"/>
                  </a:lnTo>
                  <a:lnTo>
                    <a:pt x="138" y="112"/>
                  </a:lnTo>
                  <a:lnTo>
                    <a:pt x="138" y="112"/>
                  </a:lnTo>
                  <a:lnTo>
                    <a:pt x="140" y="112"/>
                  </a:lnTo>
                  <a:lnTo>
                    <a:pt x="142" y="112"/>
                  </a:lnTo>
                  <a:lnTo>
                    <a:pt x="142" y="114"/>
                  </a:lnTo>
                  <a:lnTo>
                    <a:pt x="142" y="114"/>
                  </a:lnTo>
                  <a:lnTo>
                    <a:pt x="142" y="114"/>
                  </a:lnTo>
                  <a:lnTo>
                    <a:pt x="142" y="114"/>
                  </a:lnTo>
                  <a:lnTo>
                    <a:pt x="144" y="116"/>
                  </a:lnTo>
                  <a:lnTo>
                    <a:pt x="144" y="120"/>
                  </a:lnTo>
                  <a:lnTo>
                    <a:pt x="144" y="122"/>
                  </a:lnTo>
                  <a:lnTo>
                    <a:pt x="144" y="126"/>
                  </a:lnTo>
                  <a:lnTo>
                    <a:pt x="144" y="128"/>
                  </a:lnTo>
                  <a:lnTo>
                    <a:pt x="130" y="132"/>
                  </a:lnTo>
                  <a:lnTo>
                    <a:pt x="128" y="132"/>
                  </a:lnTo>
                  <a:lnTo>
                    <a:pt x="126" y="132"/>
                  </a:lnTo>
                  <a:lnTo>
                    <a:pt x="124" y="132"/>
                  </a:lnTo>
                  <a:lnTo>
                    <a:pt x="124" y="132"/>
                  </a:lnTo>
                  <a:lnTo>
                    <a:pt x="122" y="132"/>
                  </a:lnTo>
                  <a:lnTo>
                    <a:pt x="122" y="134"/>
                  </a:lnTo>
                  <a:lnTo>
                    <a:pt x="122" y="134"/>
                  </a:lnTo>
                  <a:lnTo>
                    <a:pt x="122" y="136"/>
                  </a:lnTo>
                  <a:lnTo>
                    <a:pt x="120" y="138"/>
                  </a:lnTo>
                  <a:lnTo>
                    <a:pt x="120" y="138"/>
                  </a:lnTo>
                  <a:lnTo>
                    <a:pt x="120" y="142"/>
                  </a:lnTo>
                  <a:lnTo>
                    <a:pt x="120" y="146"/>
                  </a:lnTo>
                  <a:lnTo>
                    <a:pt x="120" y="150"/>
                  </a:lnTo>
                  <a:lnTo>
                    <a:pt x="120" y="152"/>
                  </a:lnTo>
                  <a:lnTo>
                    <a:pt x="120" y="154"/>
                  </a:lnTo>
                  <a:lnTo>
                    <a:pt x="120" y="156"/>
                  </a:lnTo>
                  <a:lnTo>
                    <a:pt x="116" y="158"/>
                  </a:lnTo>
                  <a:lnTo>
                    <a:pt x="114" y="160"/>
                  </a:lnTo>
                  <a:lnTo>
                    <a:pt x="112" y="162"/>
                  </a:lnTo>
                  <a:lnTo>
                    <a:pt x="112" y="162"/>
                  </a:lnTo>
                  <a:lnTo>
                    <a:pt x="110" y="162"/>
                  </a:lnTo>
                  <a:lnTo>
                    <a:pt x="110" y="162"/>
                  </a:lnTo>
                  <a:lnTo>
                    <a:pt x="108" y="162"/>
                  </a:lnTo>
                  <a:lnTo>
                    <a:pt x="106" y="162"/>
                  </a:lnTo>
                  <a:lnTo>
                    <a:pt x="106" y="162"/>
                  </a:lnTo>
                  <a:lnTo>
                    <a:pt x="104" y="160"/>
                  </a:lnTo>
                  <a:lnTo>
                    <a:pt x="102" y="160"/>
                  </a:lnTo>
                  <a:lnTo>
                    <a:pt x="100" y="158"/>
                  </a:lnTo>
                  <a:lnTo>
                    <a:pt x="96" y="156"/>
                  </a:lnTo>
                  <a:lnTo>
                    <a:pt x="92" y="154"/>
                  </a:lnTo>
                  <a:lnTo>
                    <a:pt x="90" y="152"/>
                  </a:lnTo>
                  <a:lnTo>
                    <a:pt x="88" y="150"/>
                  </a:lnTo>
                  <a:lnTo>
                    <a:pt x="86" y="14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 name="Freeform 87">
              <a:extLst>
                <a:ext uri="{FF2B5EF4-FFF2-40B4-BE49-F238E27FC236}">
                  <a16:creationId xmlns:a16="http://schemas.microsoft.com/office/drawing/2014/main" id="{1452545C-70EA-4B5B-82A0-9577B93D3507}"/>
                </a:ext>
              </a:extLst>
            </p:cNvPr>
            <p:cNvSpPr>
              <a:spLocks/>
            </p:cNvSpPr>
            <p:nvPr/>
          </p:nvSpPr>
          <p:spPr bwMode="auto">
            <a:xfrm>
              <a:off x="5201068" y="3537683"/>
              <a:ext cx="249419" cy="280596"/>
            </a:xfrm>
            <a:custGeom>
              <a:avLst/>
              <a:gdLst>
                <a:gd name="T0" fmla="*/ 82 w 144"/>
                <a:gd name="T1" fmla="*/ 142 h 162"/>
                <a:gd name="T2" fmla="*/ 76 w 144"/>
                <a:gd name="T3" fmla="*/ 128 h 162"/>
                <a:gd name="T4" fmla="*/ 70 w 144"/>
                <a:gd name="T5" fmla="*/ 124 h 162"/>
                <a:gd name="T6" fmla="*/ 60 w 144"/>
                <a:gd name="T7" fmla="*/ 120 h 162"/>
                <a:gd name="T8" fmla="*/ 56 w 144"/>
                <a:gd name="T9" fmla="*/ 110 h 162"/>
                <a:gd name="T10" fmla="*/ 52 w 144"/>
                <a:gd name="T11" fmla="*/ 104 h 162"/>
                <a:gd name="T12" fmla="*/ 46 w 144"/>
                <a:gd name="T13" fmla="*/ 104 h 162"/>
                <a:gd name="T14" fmla="*/ 36 w 144"/>
                <a:gd name="T15" fmla="*/ 106 h 162"/>
                <a:gd name="T16" fmla="*/ 30 w 144"/>
                <a:gd name="T17" fmla="*/ 102 h 162"/>
                <a:gd name="T18" fmla="*/ 18 w 144"/>
                <a:gd name="T19" fmla="*/ 94 h 162"/>
                <a:gd name="T20" fmla="*/ 14 w 144"/>
                <a:gd name="T21" fmla="*/ 90 h 162"/>
                <a:gd name="T22" fmla="*/ 16 w 144"/>
                <a:gd name="T23" fmla="*/ 68 h 162"/>
                <a:gd name="T24" fmla="*/ 34 w 144"/>
                <a:gd name="T25" fmla="*/ 58 h 162"/>
                <a:gd name="T26" fmla="*/ 36 w 144"/>
                <a:gd name="T27" fmla="*/ 50 h 162"/>
                <a:gd name="T28" fmla="*/ 38 w 144"/>
                <a:gd name="T29" fmla="*/ 30 h 162"/>
                <a:gd name="T30" fmla="*/ 52 w 144"/>
                <a:gd name="T31" fmla="*/ 10 h 162"/>
                <a:gd name="T32" fmla="*/ 62 w 144"/>
                <a:gd name="T33" fmla="*/ 2 h 162"/>
                <a:gd name="T34" fmla="*/ 70 w 144"/>
                <a:gd name="T35" fmla="*/ 0 h 162"/>
                <a:gd name="T36" fmla="*/ 72 w 144"/>
                <a:gd name="T37" fmla="*/ 4 h 162"/>
                <a:gd name="T38" fmla="*/ 76 w 144"/>
                <a:gd name="T39" fmla="*/ 10 h 162"/>
                <a:gd name="T40" fmla="*/ 84 w 144"/>
                <a:gd name="T41" fmla="*/ 12 h 162"/>
                <a:gd name="T42" fmla="*/ 94 w 144"/>
                <a:gd name="T43" fmla="*/ 18 h 162"/>
                <a:gd name="T44" fmla="*/ 96 w 144"/>
                <a:gd name="T45" fmla="*/ 24 h 162"/>
                <a:gd name="T46" fmla="*/ 102 w 144"/>
                <a:gd name="T47" fmla="*/ 26 h 162"/>
                <a:gd name="T48" fmla="*/ 110 w 144"/>
                <a:gd name="T49" fmla="*/ 26 h 162"/>
                <a:gd name="T50" fmla="*/ 112 w 144"/>
                <a:gd name="T51" fmla="*/ 28 h 162"/>
                <a:gd name="T52" fmla="*/ 110 w 144"/>
                <a:gd name="T53" fmla="*/ 38 h 162"/>
                <a:gd name="T54" fmla="*/ 108 w 144"/>
                <a:gd name="T55" fmla="*/ 44 h 162"/>
                <a:gd name="T56" fmla="*/ 100 w 144"/>
                <a:gd name="T57" fmla="*/ 48 h 162"/>
                <a:gd name="T58" fmla="*/ 98 w 144"/>
                <a:gd name="T59" fmla="*/ 54 h 162"/>
                <a:gd name="T60" fmla="*/ 98 w 144"/>
                <a:gd name="T61" fmla="*/ 64 h 162"/>
                <a:gd name="T62" fmla="*/ 102 w 144"/>
                <a:gd name="T63" fmla="*/ 66 h 162"/>
                <a:gd name="T64" fmla="*/ 112 w 144"/>
                <a:gd name="T65" fmla="*/ 70 h 162"/>
                <a:gd name="T66" fmla="*/ 114 w 144"/>
                <a:gd name="T67" fmla="*/ 74 h 162"/>
                <a:gd name="T68" fmla="*/ 116 w 144"/>
                <a:gd name="T69" fmla="*/ 82 h 162"/>
                <a:gd name="T70" fmla="*/ 118 w 144"/>
                <a:gd name="T71" fmla="*/ 84 h 162"/>
                <a:gd name="T72" fmla="*/ 128 w 144"/>
                <a:gd name="T73" fmla="*/ 86 h 162"/>
                <a:gd name="T74" fmla="*/ 136 w 144"/>
                <a:gd name="T75" fmla="*/ 82 h 162"/>
                <a:gd name="T76" fmla="*/ 138 w 144"/>
                <a:gd name="T77" fmla="*/ 88 h 162"/>
                <a:gd name="T78" fmla="*/ 138 w 144"/>
                <a:gd name="T79" fmla="*/ 96 h 162"/>
                <a:gd name="T80" fmla="*/ 134 w 144"/>
                <a:gd name="T81" fmla="*/ 106 h 162"/>
                <a:gd name="T82" fmla="*/ 134 w 144"/>
                <a:gd name="T83" fmla="*/ 110 h 162"/>
                <a:gd name="T84" fmla="*/ 138 w 144"/>
                <a:gd name="T85" fmla="*/ 112 h 162"/>
                <a:gd name="T86" fmla="*/ 142 w 144"/>
                <a:gd name="T87" fmla="*/ 114 h 162"/>
                <a:gd name="T88" fmla="*/ 144 w 144"/>
                <a:gd name="T89" fmla="*/ 126 h 162"/>
                <a:gd name="T90" fmla="*/ 124 w 144"/>
                <a:gd name="T91" fmla="*/ 132 h 162"/>
                <a:gd name="T92" fmla="*/ 122 w 144"/>
                <a:gd name="T93" fmla="*/ 136 h 162"/>
                <a:gd name="T94" fmla="*/ 120 w 144"/>
                <a:gd name="T95" fmla="*/ 150 h 162"/>
                <a:gd name="T96" fmla="*/ 114 w 144"/>
                <a:gd name="T97" fmla="*/ 160 h 162"/>
                <a:gd name="T98" fmla="*/ 108 w 144"/>
                <a:gd name="T99" fmla="*/ 162 h 162"/>
                <a:gd name="T100" fmla="*/ 100 w 144"/>
                <a:gd name="T101" fmla="*/ 158 h 162"/>
                <a:gd name="T102" fmla="*/ 86 w 144"/>
                <a:gd name="T103" fmla="*/ 14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62">
                  <a:moveTo>
                    <a:pt x="86" y="148"/>
                  </a:moveTo>
                  <a:lnTo>
                    <a:pt x="86" y="148"/>
                  </a:lnTo>
                  <a:lnTo>
                    <a:pt x="84" y="146"/>
                  </a:lnTo>
                  <a:lnTo>
                    <a:pt x="84" y="146"/>
                  </a:lnTo>
                  <a:lnTo>
                    <a:pt x="82" y="142"/>
                  </a:lnTo>
                  <a:lnTo>
                    <a:pt x="80" y="140"/>
                  </a:lnTo>
                  <a:lnTo>
                    <a:pt x="80" y="136"/>
                  </a:lnTo>
                  <a:lnTo>
                    <a:pt x="78" y="132"/>
                  </a:lnTo>
                  <a:lnTo>
                    <a:pt x="76" y="130"/>
                  </a:lnTo>
                  <a:lnTo>
                    <a:pt x="76" y="128"/>
                  </a:lnTo>
                  <a:lnTo>
                    <a:pt x="74" y="126"/>
                  </a:lnTo>
                  <a:lnTo>
                    <a:pt x="74" y="126"/>
                  </a:lnTo>
                  <a:lnTo>
                    <a:pt x="72" y="124"/>
                  </a:lnTo>
                  <a:lnTo>
                    <a:pt x="72" y="124"/>
                  </a:lnTo>
                  <a:lnTo>
                    <a:pt x="70" y="124"/>
                  </a:lnTo>
                  <a:lnTo>
                    <a:pt x="66" y="122"/>
                  </a:lnTo>
                  <a:lnTo>
                    <a:pt x="64" y="122"/>
                  </a:lnTo>
                  <a:lnTo>
                    <a:pt x="62" y="122"/>
                  </a:lnTo>
                  <a:lnTo>
                    <a:pt x="62" y="122"/>
                  </a:lnTo>
                  <a:lnTo>
                    <a:pt x="60" y="120"/>
                  </a:lnTo>
                  <a:lnTo>
                    <a:pt x="60" y="120"/>
                  </a:lnTo>
                  <a:lnTo>
                    <a:pt x="58" y="118"/>
                  </a:lnTo>
                  <a:lnTo>
                    <a:pt x="58" y="116"/>
                  </a:lnTo>
                  <a:lnTo>
                    <a:pt x="56" y="112"/>
                  </a:lnTo>
                  <a:lnTo>
                    <a:pt x="56" y="110"/>
                  </a:lnTo>
                  <a:lnTo>
                    <a:pt x="54" y="108"/>
                  </a:lnTo>
                  <a:lnTo>
                    <a:pt x="54" y="106"/>
                  </a:lnTo>
                  <a:lnTo>
                    <a:pt x="52" y="106"/>
                  </a:lnTo>
                  <a:lnTo>
                    <a:pt x="52" y="106"/>
                  </a:lnTo>
                  <a:lnTo>
                    <a:pt x="52" y="104"/>
                  </a:lnTo>
                  <a:lnTo>
                    <a:pt x="50" y="104"/>
                  </a:lnTo>
                  <a:lnTo>
                    <a:pt x="50" y="104"/>
                  </a:lnTo>
                  <a:lnTo>
                    <a:pt x="48" y="104"/>
                  </a:lnTo>
                  <a:lnTo>
                    <a:pt x="48" y="104"/>
                  </a:lnTo>
                  <a:lnTo>
                    <a:pt x="46" y="104"/>
                  </a:lnTo>
                  <a:lnTo>
                    <a:pt x="44" y="104"/>
                  </a:lnTo>
                  <a:lnTo>
                    <a:pt x="40" y="106"/>
                  </a:lnTo>
                  <a:lnTo>
                    <a:pt x="38" y="106"/>
                  </a:lnTo>
                  <a:lnTo>
                    <a:pt x="36" y="106"/>
                  </a:lnTo>
                  <a:lnTo>
                    <a:pt x="36" y="106"/>
                  </a:lnTo>
                  <a:lnTo>
                    <a:pt x="34" y="106"/>
                  </a:lnTo>
                  <a:lnTo>
                    <a:pt x="34" y="106"/>
                  </a:lnTo>
                  <a:lnTo>
                    <a:pt x="32" y="104"/>
                  </a:lnTo>
                  <a:lnTo>
                    <a:pt x="30" y="104"/>
                  </a:lnTo>
                  <a:lnTo>
                    <a:pt x="30" y="102"/>
                  </a:lnTo>
                  <a:lnTo>
                    <a:pt x="28" y="100"/>
                  </a:lnTo>
                  <a:lnTo>
                    <a:pt x="24" y="98"/>
                  </a:lnTo>
                  <a:lnTo>
                    <a:pt x="22" y="96"/>
                  </a:lnTo>
                  <a:lnTo>
                    <a:pt x="20" y="94"/>
                  </a:lnTo>
                  <a:lnTo>
                    <a:pt x="18" y="94"/>
                  </a:lnTo>
                  <a:lnTo>
                    <a:pt x="18" y="92"/>
                  </a:lnTo>
                  <a:lnTo>
                    <a:pt x="16" y="92"/>
                  </a:lnTo>
                  <a:lnTo>
                    <a:pt x="14" y="90"/>
                  </a:lnTo>
                  <a:lnTo>
                    <a:pt x="14" y="90"/>
                  </a:lnTo>
                  <a:lnTo>
                    <a:pt x="14" y="90"/>
                  </a:lnTo>
                  <a:lnTo>
                    <a:pt x="12" y="92"/>
                  </a:lnTo>
                  <a:lnTo>
                    <a:pt x="10" y="92"/>
                  </a:lnTo>
                  <a:lnTo>
                    <a:pt x="0" y="76"/>
                  </a:lnTo>
                  <a:lnTo>
                    <a:pt x="6" y="74"/>
                  </a:lnTo>
                  <a:lnTo>
                    <a:pt x="16" y="68"/>
                  </a:lnTo>
                  <a:lnTo>
                    <a:pt x="20" y="66"/>
                  </a:lnTo>
                  <a:lnTo>
                    <a:pt x="26" y="62"/>
                  </a:lnTo>
                  <a:lnTo>
                    <a:pt x="28" y="60"/>
                  </a:lnTo>
                  <a:lnTo>
                    <a:pt x="32" y="60"/>
                  </a:lnTo>
                  <a:lnTo>
                    <a:pt x="34" y="58"/>
                  </a:lnTo>
                  <a:lnTo>
                    <a:pt x="34" y="56"/>
                  </a:lnTo>
                  <a:lnTo>
                    <a:pt x="34" y="56"/>
                  </a:lnTo>
                  <a:lnTo>
                    <a:pt x="36" y="54"/>
                  </a:lnTo>
                  <a:lnTo>
                    <a:pt x="36" y="52"/>
                  </a:lnTo>
                  <a:lnTo>
                    <a:pt x="36" y="50"/>
                  </a:lnTo>
                  <a:lnTo>
                    <a:pt x="36" y="48"/>
                  </a:lnTo>
                  <a:lnTo>
                    <a:pt x="38" y="44"/>
                  </a:lnTo>
                  <a:lnTo>
                    <a:pt x="38" y="42"/>
                  </a:lnTo>
                  <a:lnTo>
                    <a:pt x="38" y="36"/>
                  </a:lnTo>
                  <a:lnTo>
                    <a:pt x="38" y="30"/>
                  </a:lnTo>
                  <a:lnTo>
                    <a:pt x="38" y="22"/>
                  </a:lnTo>
                  <a:lnTo>
                    <a:pt x="42" y="20"/>
                  </a:lnTo>
                  <a:lnTo>
                    <a:pt x="48" y="14"/>
                  </a:lnTo>
                  <a:lnTo>
                    <a:pt x="50" y="12"/>
                  </a:lnTo>
                  <a:lnTo>
                    <a:pt x="52" y="10"/>
                  </a:lnTo>
                  <a:lnTo>
                    <a:pt x="54" y="6"/>
                  </a:lnTo>
                  <a:lnTo>
                    <a:pt x="56" y="6"/>
                  </a:lnTo>
                  <a:lnTo>
                    <a:pt x="56" y="4"/>
                  </a:lnTo>
                  <a:lnTo>
                    <a:pt x="60" y="4"/>
                  </a:lnTo>
                  <a:lnTo>
                    <a:pt x="62" y="2"/>
                  </a:lnTo>
                  <a:lnTo>
                    <a:pt x="64" y="2"/>
                  </a:lnTo>
                  <a:lnTo>
                    <a:pt x="66" y="2"/>
                  </a:lnTo>
                  <a:lnTo>
                    <a:pt x="68" y="0"/>
                  </a:lnTo>
                  <a:lnTo>
                    <a:pt x="70" y="0"/>
                  </a:lnTo>
                  <a:lnTo>
                    <a:pt x="70" y="0"/>
                  </a:lnTo>
                  <a:lnTo>
                    <a:pt x="70" y="2"/>
                  </a:lnTo>
                  <a:lnTo>
                    <a:pt x="72" y="2"/>
                  </a:lnTo>
                  <a:lnTo>
                    <a:pt x="72" y="2"/>
                  </a:lnTo>
                  <a:lnTo>
                    <a:pt x="72" y="2"/>
                  </a:lnTo>
                  <a:lnTo>
                    <a:pt x="72" y="4"/>
                  </a:lnTo>
                  <a:lnTo>
                    <a:pt x="74" y="6"/>
                  </a:lnTo>
                  <a:lnTo>
                    <a:pt x="74" y="8"/>
                  </a:lnTo>
                  <a:lnTo>
                    <a:pt x="76" y="10"/>
                  </a:lnTo>
                  <a:lnTo>
                    <a:pt x="76" y="10"/>
                  </a:lnTo>
                  <a:lnTo>
                    <a:pt x="76" y="10"/>
                  </a:lnTo>
                  <a:lnTo>
                    <a:pt x="76" y="12"/>
                  </a:lnTo>
                  <a:lnTo>
                    <a:pt x="78" y="12"/>
                  </a:lnTo>
                  <a:lnTo>
                    <a:pt x="78" y="12"/>
                  </a:lnTo>
                  <a:lnTo>
                    <a:pt x="82" y="12"/>
                  </a:lnTo>
                  <a:lnTo>
                    <a:pt x="84" y="12"/>
                  </a:lnTo>
                  <a:lnTo>
                    <a:pt x="88" y="12"/>
                  </a:lnTo>
                  <a:lnTo>
                    <a:pt x="92" y="12"/>
                  </a:lnTo>
                  <a:lnTo>
                    <a:pt x="94" y="12"/>
                  </a:lnTo>
                  <a:lnTo>
                    <a:pt x="94" y="14"/>
                  </a:lnTo>
                  <a:lnTo>
                    <a:pt x="94" y="18"/>
                  </a:lnTo>
                  <a:lnTo>
                    <a:pt x="94" y="20"/>
                  </a:lnTo>
                  <a:lnTo>
                    <a:pt x="96" y="22"/>
                  </a:lnTo>
                  <a:lnTo>
                    <a:pt x="96" y="22"/>
                  </a:lnTo>
                  <a:lnTo>
                    <a:pt x="96" y="24"/>
                  </a:lnTo>
                  <a:lnTo>
                    <a:pt x="96" y="24"/>
                  </a:lnTo>
                  <a:lnTo>
                    <a:pt x="98" y="24"/>
                  </a:lnTo>
                  <a:lnTo>
                    <a:pt x="98" y="24"/>
                  </a:lnTo>
                  <a:lnTo>
                    <a:pt x="98" y="26"/>
                  </a:lnTo>
                  <a:lnTo>
                    <a:pt x="100" y="26"/>
                  </a:lnTo>
                  <a:lnTo>
                    <a:pt x="102" y="26"/>
                  </a:lnTo>
                  <a:lnTo>
                    <a:pt x="104" y="26"/>
                  </a:lnTo>
                  <a:lnTo>
                    <a:pt x="106" y="26"/>
                  </a:lnTo>
                  <a:lnTo>
                    <a:pt x="108" y="26"/>
                  </a:lnTo>
                  <a:lnTo>
                    <a:pt x="110" y="26"/>
                  </a:lnTo>
                  <a:lnTo>
                    <a:pt x="110" y="26"/>
                  </a:lnTo>
                  <a:lnTo>
                    <a:pt x="112" y="26"/>
                  </a:lnTo>
                  <a:lnTo>
                    <a:pt x="112" y="26"/>
                  </a:lnTo>
                  <a:lnTo>
                    <a:pt x="112" y="28"/>
                  </a:lnTo>
                  <a:lnTo>
                    <a:pt x="112" y="28"/>
                  </a:lnTo>
                  <a:lnTo>
                    <a:pt x="112" y="28"/>
                  </a:lnTo>
                  <a:lnTo>
                    <a:pt x="112" y="30"/>
                  </a:lnTo>
                  <a:lnTo>
                    <a:pt x="112" y="32"/>
                  </a:lnTo>
                  <a:lnTo>
                    <a:pt x="112" y="34"/>
                  </a:lnTo>
                  <a:lnTo>
                    <a:pt x="112" y="36"/>
                  </a:lnTo>
                  <a:lnTo>
                    <a:pt x="110" y="38"/>
                  </a:lnTo>
                  <a:lnTo>
                    <a:pt x="110" y="40"/>
                  </a:lnTo>
                  <a:lnTo>
                    <a:pt x="110" y="42"/>
                  </a:lnTo>
                  <a:lnTo>
                    <a:pt x="110" y="42"/>
                  </a:lnTo>
                  <a:lnTo>
                    <a:pt x="108" y="42"/>
                  </a:lnTo>
                  <a:lnTo>
                    <a:pt x="108" y="44"/>
                  </a:lnTo>
                  <a:lnTo>
                    <a:pt x="106" y="44"/>
                  </a:lnTo>
                  <a:lnTo>
                    <a:pt x="104" y="46"/>
                  </a:lnTo>
                  <a:lnTo>
                    <a:pt x="102" y="46"/>
                  </a:lnTo>
                  <a:lnTo>
                    <a:pt x="102" y="48"/>
                  </a:lnTo>
                  <a:lnTo>
                    <a:pt x="100" y="48"/>
                  </a:lnTo>
                  <a:lnTo>
                    <a:pt x="100" y="48"/>
                  </a:lnTo>
                  <a:lnTo>
                    <a:pt x="100" y="50"/>
                  </a:lnTo>
                  <a:lnTo>
                    <a:pt x="98" y="50"/>
                  </a:lnTo>
                  <a:lnTo>
                    <a:pt x="98" y="52"/>
                  </a:lnTo>
                  <a:lnTo>
                    <a:pt x="98" y="54"/>
                  </a:lnTo>
                  <a:lnTo>
                    <a:pt x="98" y="56"/>
                  </a:lnTo>
                  <a:lnTo>
                    <a:pt x="98" y="60"/>
                  </a:lnTo>
                  <a:lnTo>
                    <a:pt x="98" y="62"/>
                  </a:lnTo>
                  <a:lnTo>
                    <a:pt x="98" y="64"/>
                  </a:lnTo>
                  <a:lnTo>
                    <a:pt x="98" y="64"/>
                  </a:lnTo>
                  <a:lnTo>
                    <a:pt x="100" y="64"/>
                  </a:lnTo>
                  <a:lnTo>
                    <a:pt x="100" y="64"/>
                  </a:lnTo>
                  <a:lnTo>
                    <a:pt x="100" y="66"/>
                  </a:lnTo>
                  <a:lnTo>
                    <a:pt x="102" y="66"/>
                  </a:lnTo>
                  <a:lnTo>
                    <a:pt x="102" y="66"/>
                  </a:lnTo>
                  <a:lnTo>
                    <a:pt x="104" y="66"/>
                  </a:lnTo>
                  <a:lnTo>
                    <a:pt x="106" y="68"/>
                  </a:lnTo>
                  <a:lnTo>
                    <a:pt x="108" y="68"/>
                  </a:lnTo>
                  <a:lnTo>
                    <a:pt x="110" y="68"/>
                  </a:lnTo>
                  <a:lnTo>
                    <a:pt x="112" y="70"/>
                  </a:lnTo>
                  <a:lnTo>
                    <a:pt x="112" y="70"/>
                  </a:lnTo>
                  <a:lnTo>
                    <a:pt x="114" y="70"/>
                  </a:lnTo>
                  <a:lnTo>
                    <a:pt x="114" y="72"/>
                  </a:lnTo>
                  <a:lnTo>
                    <a:pt x="114" y="72"/>
                  </a:lnTo>
                  <a:lnTo>
                    <a:pt x="114" y="74"/>
                  </a:lnTo>
                  <a:lnTo>
                    <a:pt x="114" y="76"/>
                  </a:lnTo>
                  <a:lnTo>
                    <a:pt x="114" y="76"/>
                  </a:lnTo>
                  <a:lnTo>
                    <a:pt x="114" y="78"/>
                  </a:lnTo>
                  <a:lnTo>
                    <a:pt x="114" y="80"/>
                  </a:lnTo>
                  <a:lnTo>
                    <a:pt x="116" y="82"/>
                  </a:lnTo>
                  <a:lnTo>
                    <a:pt x="116" y="82"/>
                  </a:lnTo>
                  <a:lnTo>
                    <a:pt x="116" y="84"/>
                  </a:lnTo>
                  <a:lnTo>
                    <a:pt x="116" y="84"/>
                  </a:lnTo>
                  <a:lnTo>
                    <a:pt x="118" y="84"/>
                  </a:lnTo>
                  <a:lnTo>
                    <a:pt x="118" y="84"/>
                  </a:lnTo>
                  <a:lnTo>
                    <a:pt x="120" y="86"/>
                  </a:lnTo>
                  <a:lnTo>
                    <a:pt x="124" y="86"/>
                  </a:lnTo>
                  <a:lnTo>
                    <a:pt x="126" y="86"/>
                  </a:lnTo>
                  <a:lnTo>
                    <a:pt x="126" y="86"/>
                  </a:lnTo>
                  <a:lnTo>
                    <a:pt x="128" y="86"/>
                  </a:lnTo>
                  <a:lnTo>
                    <a:pt x="130" y="84"/>
                  </a:lnTo>
                  <a:lnTo>
                    <a:pt x="132" y="84"/>
                  </a:lnTo>
                  <a:lnTo>
                    <a:pt x="134" y="84"/>
                  </a:lnTo>
                  <a:lnTo>
                    <a:pt x="134" y="82"/>
                  </a:lnTo>
                  <a:lnTo>
                    <a:pt x="136" y="82"/>
                  </a:lnTo>
                  <a:lnTo>
                    <a:pt x="136" y="84"/>
                  </a:lnTo>
                  <a:lnTo>
                    <a:pt x="136" y="84"/>
                  </a:lnTo>
                  <a:lnTo>
                    <a:pt x="136" y="84"/>
                  </a:lnTo>
                  <a:lnTo>
                    <a:pt x="138" y="86"/>
                  </a:lnTo>
                  <a:lnTo>
                    <a:pt x="138" y="88"/>
                  </a:lnTo>
                  <a:lnTo>
                    <a:pt x="138" y="88"/>
                  </a:lnTo>
                  <a:lnTo>
                    <a:pt x="138" y="90"/>
                  </a:lnTo>
                  <a:lnTo>
                    <a:pt x="138" y="92"/>
                  </a:lnTo>
                  <a:lnTo>
                    <a:pt x="138" y="96"/>
                  </a:lnTo>
                  <a:lnTo>
                    <a:pt x="138" y="96"/>
                  </a:lnTo>
                  <a:lnTo>
                    <a:pt x="138" y="98"/>
                  </a:lnTo>
                  <a:lnTo>
                    <a:pt x="138" y="98"/>
                  </a:lnTo>
                  <a:lnTo>
                    <a:pt x="136" y="102"/>
                  </a:lnTo>
                  <a:lnTo>
                    <a:pt x="134" y="104"/>
                  </a:lnTo>
                  <a:lnTo>
                    <a:pt x="134" y="106"/>
                  </a:lnTo>
                  <a:lnTo>
                    <a:pt x="134" y="108"/>
                  </a:lnTo>
                  <a:lnTo>
                    <a:pt x="134" y="108"/>
                  </a:lnTo>
                  <a:lnTo>
                    <a:pt x="134" y="110"/>
                  </a:lnTo>
                  <a:lnTo>
                    <a:pt x="134" y="110"/>
                  </a:lnTo>
                  <a:lnTo>
                    <a:pt x="134" y="110"/>
                  </a:lnTo>
                  <a:lnTo>
                    <a:pt x="134" y="110"/>
                  </a:lnTo>
                  <a:lnTo>
                    <a:pt x="134" y="110"/>
                  </a:lnTo>
                  <a:lnTo>
                    <a:pt x="136" y="112"/>
                  </a:lnTo>
                  <a:lnTo>
                    <a:pt x="138" y="112"/>
                  </a:lnTo>
                  <a:lnTo>
                    <a:pt x="138" y="112"/>
                  </a:lnTo>
                  <a:lnTo>
                    <a:pt x="140" y="112"/>
                  </a:lnTo>
                  <a:lnTo>
                    <a:pt x="142" y="112"/>
                  </a:lnTo>
                  <a:lnTo>
                    <a:pt x="142" y="114"/>
                  </a:lnTo>
                  <a:lnTo>
                    <a:pt x="142" y="114"/>
                  </a:lnTo>
                  <a:lnTo>
                    <a:pt x="142" y="114"/>
                  </a:lnTo>
                  <a:lnTo>
                    <a:pt x="142" y="114"/>
                  </a:lnTo>
                  <a:lnTo>
                    <a:pt x="144" y="116"/>
                  </a:lnTo>
                  <a:lnTo>
                    <a:pt x="144" y="120"/>
                  </a:lnTo>
                  <a:lnTo>
                    <a:pt x="144" y="122"/>
                  </a:lnTo>
                  <a:lnTo>
                    <a:pt x="144" y="126"/>
                  </a:lnTo>
                  <a:lnTo>
                    <a:pt x="144" y="128"/>
                  </a:lnTo>
                  <a:lnTo>
                    <a:pt x="130" y="132"/>
                  </a:lnTo>
                  <a:lnTo>
                    <a:pt x="128" y="132"/>
                  </a:lnTo>
                  <a:lnTo>
                    <a:pt x="126" y="132"/>
                  </a:lnTo>
                  <a:lnTo>
                    <a:pt x="124" y="132"/>
                  </a:lnTo>
                  <a:lnTo>
                    <a:pt x="124" y="132"/>
                  </a:lnTo>
                  <a:lnTo>
                    <a:pt x="122" y="132"/>
                  </a:lnTo>
                  <a:lnTo>
                    <a:pt x="122" y="134"/>
                  </a:lnTo>
                  <a:lnTo>
                    <a:pt x="122" y="134"/>
                  </a:lnTo>
                  <a:lnTo>
                    <a:pt x="122" y="136"/>
                  </a:lnTo>
                  <a:lnTo>
                    <a:pt x="120" y="138"/>
                  </a:lnTo>
                  <a:lnTo>
                    <a:pt x="120" y="138"/>
                  </a:lnTo>
                  <a:lnTo>
                    <a:pt x="120" y="142"/>
                  </a:lnTo>
                  <a:lnTo>
                    <a:pt x="120" y="146"/>
                  </a:lnTo>
                  <a:lnTo>
                    <a:pt x="120" y="150"/>
                  </a:lnTo>
                  <a:lnTo>
                    <a:pt x="120" y="152"/>
                  </a:lnTo>
                  <a:lnTo>
                    <a:pt x="120" y="154"/>
                  </a:lnTo>
                  <a:lnTo>
                    <a:pt x="120" y="156"/>
                  </a:lnTo>
                  <a:lnTo>
                    <a:pt x="116" y="158"/>
                  </a:lnTo>
                  <a:lnTo>
                    <a:pt x="114" y="160"/>
                  </a:lnTo>
                  <a:lnTo>
                    <a:pt x="112" y="162"/>
                  </a:lnTo>
                  <a:lnTo>
                    <a:pt x="112" y="162"/>
                  </a:lnTo>
                  <a:lnTo>
                    <a:pt x="110" y="162"/>
                  </a:lnTo>
                  <a:lnTo>
                    <a:pt x="110" y="162"/>
                  </a:lnTo>
                  <a:lnTo>
                    <a:pt x="108" y="162"/>
                  </a:lnTo>
                  <a:lnTo>
                    <a:pt x="106" y="162"/>
                  </a:lnTo>
                  <a:lnTo>
                    <a:pt x="106" y="162"/>
                  </a:lnTo>
                  <a:lnTo>
                    <a:pt x="104" y="160"/>
                  </a:lnTo>
                  <a:lnTo>
                    <a:pt x="102" y="160"/>
                  </a:lnTo>
                  <a:lnTo>
                    <a:pt x="100" y="158"/>
                  </a:lnTo>
                  <a:lnTo>
                    <a:pt x="96" y="156"/>
                  </a:lnTo>
                  <a:lnTo>
                    <a:pt x="92" y="154"/>
                  </a:lnTo>
                  <a:lnTo>
                    <a:pt x="90" y="152"/>
                  </a:lnTo>
                  <a:lnTo>
                    <a:pt x="88" y="150"/>
                  </a:lnTo>
                  <a:lnTo>
                    <a:pt x="86" y="14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 name="Freeform 88">
              <a:extLst>
                <a:ext uri="{FF2B5EF4-FFF2-40B4-BE49-F238E27FC236}">
                  <a16:creationId xmlns:a16="http://schemas.microsoft.com/office/drawing/2014/main" id="{F7DCC315-1363-44C0-9FE9-C311C533D40E}"/>
                </a:ext>
              </a:extLst>
            </p:cNvPr>
            <p:cNvSpPr>
              <a:spLocks/>
            </p:cNvSpPr>
            <p:nvPr/>
          </p:nvSpPr>
          <p:spPr bwMode="auto">
            <a:xfrm>
              <a:off x="6468947" y="3821743"/>
              <a:ext cx="69283" cy="41570"/>
            </a:xfrm>
            <a:custGeom>
              <a:avLst/>
              <a:gdLst>
                <a:gd name="T0" fmla="*/ 34 w 40"/>
                <a:gd name="T1" fmla="*/ 24 h 24"/>
                <a:gd name="T2" fmla="*/ 34 w 40"/>
                <a:gd name="T3" fmla="*/ 24 h 24"/>
                <a:gd name="T4" fmla="*/ 34 w 40"/>
                <a:gd name="T5" fmla="*/ 24 h 24"/>
                <a:gd name="T6" fmla="*/ 34 w 40"/>
                <a:gd name="T7" fmla="*/ 24 h 24"/>
                <a:gd name="T8" fmla="*/ 32 w 40"/>
                <a:gd name="T9" fmla="*/ 24 h 24"/>
                <a:gd name="T10" fmla="*/ 32 w 40"/>
                <a:gd name="T11" fmla="*/ 24 h 24"/>
                <a:gd name="T12" fmla="*/ 30 w 40"/>
                <a:gd name="T13" fmla="*/ 24 h 24"/>
                <a:gd name="T14" fmla="*/ 26 w 40"/>
                <a:gd name="T15" fmla="*/ 24 h 24"/>
                <a:gd name="T16" fmla="*/ 24 w 40"/>
                <a:gd name="T17" fmla="*/ 24 h 24"/>
                <a:gd name="T18" fmla="*/ 22 w 40"/>
                <a:gd name="T19" fmla="*/ 22 h 24"/>
                <a:gd name="T20" fmla="*/ 18 w 40"/>
                <a:gd name="T21" fmla="*/ 22 h 24"/>
                <a:gd name="T22" fmla="*/ 16 w 40"/>
                <a:gd name="T23" fmla="*/ 22 h 24"/>
                <a:gd name="T24" fmla="*/ 12 w 40"/>
                <a:gd name="T25" fmla="*/ 20 h 24"/>
                <a:gd name="T26" fmla="*/ 10 w 40"/>
                <a:gd name="T27" fmla="*/ 20 h 24"/>
                <a:gd name="T28" fmla="*/ 8 w 40"/>
                <a:gd name="T29" fmla="*/ 18 h 24"/>
                <a:gd name="T30" fmla="*/ 6 w 40"/>
                <a:gd name="T31" fmla="*/ 18 h 24"/>
                <a:gd name="T32" fmla="*/ 6 w 40"/>
                <a:gd name="T33" fmla="*/ 16 h 24"/>
                <a:gd name="T34" fmla="*/ 4 w 40"/>
                <a:gd name="T35" fmla="*/ 16 h 24"/>
                <a:gd name="T36" fmla="*/ 4 w 40"/>
                <a:gd name="T37" fmla="*/ 16 h 24"/>
                <a:gd name="T38" fmla="*/ 4 w 40"/>
                <a:gd name="T39" fmla="*/ 12 h 24"/>
                <a:gd name="T40" fmla="*/ 2 w 40"/>
                <a:gd name="T41" fmla="*/ 10 h 24"/>
                <a:gd name="T42" fmla="*/ 2 w 40"/>
                <a:gd name="T43" fmla="*/ 8 h 24"/>
                <a:gd name="T44" fmla="*/ 0 w 40"/>
                <a:gd name="T45" fmla="*/ 2 h 24"/>
                <a:gd name="T46" fmla="*/ 0 w 40"/>
                <a:gd name="T47" fmla="*/ 0 h 24"/>
                <a:gd name="T48" fmla="*/ 2 w 40"/>
                <a:gd name="T49" fmla="*/ 0 h 24"/>
                <a:gd name="T50" fmla="*/ 6 w 40"/>
                <a:gd name="T51" fmla="*/ 4 h 24"/>
                <a:gd name="T52" fmla="*/ 12 w 40"/>
                <a:gd name="T53" fmla="*/ 6 h 24"/>
                <a:gd name="T54" fmla="*/ 14 w 40"/>
                <a:gd name="T55" fmla="*/ 8 h 24"/>
                <a:gd name="T56" fmla="*/ 16 w 40"/>
                <a:gd name="T57" fmla="*/ 8 h 24"/>
                <a:gd name="T58" fmla="*/ 16 w 40"/>
                <a:gd name="T59" fmla="*/ 8 h 24"/>
                <a:gd name="T60" fmla="*/ 18 w 40"/>
                <a:gd name="T61" fmla="*/ 8 h 24"/>
                <a:gd name="T62" fmla="*/ 22 w 40"/>
                <a:gd name="T63" fmla="*/ 8 h 24"/>
                <a:gd name="T64" fmla="*/ 26 w 40"/>
                <a:gd name="T65" fmla="*/ 8 h 24"/>
                <a:gd name="T66" fmla="*/ 30 w 40"/>
                <a:gd name="T67" fmla="*/ 8 h 24"/>
                <a:gd name="T68" fmla="*/ 36 w 40"/>
                <a:gd name="T69" fmla="*/ 8 h 24"/>
                <a:gd name="T70" fmla="*/ 40 w 40"/>
                <a:gd name="T71" fmla="*/ 8 h 24"/>
                <a:gd name="T72" fmla="*/ 40 w 40"/>
                <a:gd name="T73" fmla="*/ 10 h 24"/>
                <a:gd name="T74" fmla="*/ 38 w 40"/>
                <a:gd name="T75" fmla="*/ 12 h 24"/>
                <a:gd name="T76" fmla="*/ 38 w 40"/>
                <a:gd name="T77" fmla="*/ 14 h 24"/>
                <a:gd name="T78" fmla="*/ 38 w 40"/>
                <a:gd name="T79" fmla="*/ 18 h 24"/>
                <a:gd name="T80" fmla="*/ 36 w 40"/>
                <a:gd name="T81" fmla="*/ 20 h 24"/>
                <a:gd name="T82" fmla="*/ 36 w 40"/>
                <a:gd name="T83" fmla="*/ 20 h 24"/>
                <a:gd name="T84" fmla="*/ 36 w 40"/>
                <a:gd name="T85" fmla="*/ 22 h 24"/>
                <a:gd name="T86" fmla="*/ 36 w 40"/>
                <a:gd name="T87" fmla="*/ 22 h 24"/>
                <a:gd name="T88" fmla="*/ 34 w 40"/>
                <a:gd name="T8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 h="24">
                  <a:moveTo>
                    <a:pt x="34" y="24"/>
                  </a:moveTo>
                  <a:lnTo>
                    <a:pt x="34" y="24"/>
                  </a:lnTo>
                  <a:lnTo>
                    <a:pt x="34" y="24"/>
                  </a:lnTo>
                  <a:lnTo>
                    <a:pt x="34" y="24"/>
                  </a:lnTo>
                  <a:lnTo>
                    <a:pt x="32" y="24"/>
                  </a:lnTo>
                  <a:lnTo>
                    <a:pt x="32" y="24"/>
                  </a:lnTo>
                  <a:lnTo>
                    <a:pt x="30" y="24"/>
                  </a:lnTo>
                  <a:lnTo>
                    <a:pt x="26" y="24"/>
                  </a:lnTo>
                  <a:lnTo>
                    <a:pt x="24" y="24"/>
                  </a:lnTo>
                  <a:lnTo>
                    <a:pt x="22" y="22"/>
                  </a:lnTo>
                  <a:lnTo>
                    <a:pt x="18" y="22"/>
                  </a:lnTo>
                  <a:lnTo>
                    <a:pt x="16" y="22"/>
                  </a:lnTo>
                  <a:lnTo>
                    <a:pt x="12" y="20"/>
                  </a:lnTo>
                  <a:lnTo>
                    <a:pt x="10" y="20"/>
                  </a:lnTo>
                  <a:lnTo>
                    <a:pt x="8" y="18"/>
                  </a:lnTo>
                  <a:lnTo>
                    <a:pt x="6" y="18"/>
                  </a:lnTo>
                  <a:lnTo>
                    <a:pt x="6" y="16"/>
                  </a:lnTo>
                  <a:lnTo>
                    <a:pt x="4" y="16"/>
                  </a:lnTo>
                  <a:lnTo>
                    <a:pt x="4" y="16"/>
                  </a:lnTo>
                  <a:lnTo>
                    <a:pt x="4" y="12"/>
                  </a:lnTo>
                  <a:lnTo>
                    <a:pt x="2" y="10"/>
                  </a:lnTo>
                  <a:lnTo>
                    <a:pt x="2" y="8"/>
                  </a:lnTo>
                  <a:lnTo>
                    <a:pt x="0" y="2"/>
                  </a:lnTo>
                  <a:lnTo>
                    <a:pt x="0" y="0"/>
                  </a:lnTo>
                  <a:lnTo>
                    <a:pt x="2" y="0"/>
                  </a:lnTo>
                  <a:lnTo>
                    <a:pt x="6" y="4"/>
                  </a:lnTo>
                  <a:lnTo>
                    <a:pt x="12" y="6"/>
                  </a:lnTo>
                  <a:lnTo>
                    <a:pt x="14" y="8"/>
                  </a:lnTo>
                  <a:lnTo>
                    <a:pt x="16" y="8"/>
                  </a:lnTo>
                  <a:lnTo>
                    <a:pt x="16" y="8"/>
                  </a:lnTo>
                  <a:lnTo>
                    <a:pt x="18" y="8"/>
                  </a:lnTo>
                  <a:lnTo>
                    <a:pt x="22" y="8"/>
                  </a:lnTo>
                  <a:lnTo>
                    <a:pt x="26" y="8"/>
                  </a:lnTo>
                  <a:lnTo>
                    <a:pt x="30" y="8"/>
                  </a:lnTo>
                  <a:lnTo>
                    <a:pt x="36" y="8"/>
                  </a:lnTo>
                  <a:lnTo>
                    <a:pt x="40" y="8"/>
                  </a:lnTo>
                  <a:lnTo>
                    <a:pt x="40" y="10"/>
                  </a:lnTo>
                  <a:lnTo>
                    <a:pt x="38" y="12"/>
                  </a:lnTo>
                  <a:lnTo>
                    <a:pt x="38" y="14"/>
                  </a:lnTo>
                  <a:lnTo>
                    <a:pt x="38" y="18"/>
                  </a:lnTo>
                  <a:lnTo>
                    <a:pt x="36" y="20"/>
                  </a:lnTo>
                  <a:lnTo>
                    <a:pt x="36" y="20"/>
                  </a:lnTo>
                  <a:lnTo>
                    <a:pt x="36" y="22"/>
                  </a:lnTo>
                  <a:lnTo>
                    <a:pt x="36" y="22"/>
                  </a:lnTo>
                  <a:lnTo>
                    <a:pt x="34" y="2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 name="Freeform 89">
              <a:extLst>
                <a:ext uri="{FF2B5EF4-FFF2-40B4-BE49-F238E27FC236}">
                  <a16:creationId xmlns:a16="http://schemas.microsoft.com/office/drawing/2014/main" id="{FD654B57-F375-4986-8CAC-F05815AD8702}"/>
                </a:ext>
              </a:extLst>
            </p:cNvPr>
            <p:cNvSpPr>
              <a:spLocks/>
            </p:cNvSpPr>
            <p:nvPr/>
          </p:nvSpPr>
          <p:spPr bwMode="auto">
            <a:xfrm>
              <a:off x="6468947" y="3821743"/>
              <a:ext cx="69283" cy="41570"/>
            </a:xfrm>
            <a:custGeom>
              <a:avLst/>
              <a:gdLst>
                <a:gd name="T0" fmla="*/ 34 w 40"/>
                <a:gd name="T1" fmla="*/ 24 h 24"/>
                <a:gd name="T2" fmla="*/ 34 w 40"/>
                <a:gd name="T3" fmla="*/ 24 h 24"/>
                <a:gd name="T4" fmla="*/ 34 w 40"/>
                <a:gd name="T5" fmla="*/ 24 h 24"/>
                <a:gd name="T6" fmla="*/ 34 w 40"/>
                <a:gd name="T7" fmla="*/ 24 h 24"/>
                <a:gd name="T8" fmla="*/ 32 w 40"/>
                <a:gd name="T9" fmla="*/ 24 h 24"/>
                <a:gd name="T10" fmla="*/ 32 w 40"/>
                <a:gd name="T11" fmla="*/ 24 h 24"/>
                <a:gd name="T12" fmla="*/ 30 w 40"/>
                <a:gd name="T13" fmla="*/ 24 h 24"/>
                <a:gd name="T14" fmla="*/ 26 w 40"/>
                <a:gd name="T15" fmla="*/ 24 h 24"/>
                <a:gd name="T16" fmla="*/ 24 w 40"/>
                <a:gd name="T17" fmla="*/ 24 h 24"/>
                <a:gd name="T18" fmla="*/ 22 w 40"/>
                <a:gd name="T19" fmla="*/ 22 h 24"/>
                <a:gd name="T20" fmla="*/ 18 w 40"/>
                <a:gd name="T21" fmla="*/ 22 h 24"/>
                <a:gd name="T22" fmla="*/ 16 w 40"/>
                <a:gd name="T23" fmla="*/ 22 h 24"/>
                <a:gd name="T24" fmla="*/ 12 w 40"/>
                <a:gd name="T25" fmla="*/ 20 h 24"/>
                <a:gd name="T26" fmla="*/ 10 w 40"/>
                <a:gd name="T27" fmla="*/ 20 h 24"/>
                <a:gd name="T28" fmla="*/ 8 w 40"/>
                <a:gd name="T29" fmla="*/ 18 h 24"/>
                <a:gd name="T30" fmla="*/ 6 w 40"/>
                <a:gd name="T31" fmla="*/ 18 h 24"/>
                <a:gd name="T32" fmla="*/ 6 w 40"/>
                <a:gd name="T33" fmla="*/ 16 h 24"/>
                <a:gd name="T34" fmla="*/ 4 w 40"/>
                <a:gd name="T35" fmla="*/ 16 h 24"/>
                <a:gd name="T36" fmla="*/ 4 w 40"/>
                <a:gd name="T37" fmla="*/ 16 h 24"/>
                <a:gd name="T38" fmla="*/ 4 w 40"/>
                <a:gd name="T39" fmla="*/ 12 h 24"/>
                <a:gd name="T40" fmla="*/ 2 w 40"/>
                <a:gd name="T41" fmla="*/ 10 h 24"/>
                <a:gd name="T42" fmla="*/ 2 w 40"/>
                <a:gd name="T43" fmla="*/ 8 h 24"/>
                <a:gd name="T44" fmla="*/ 0 w 40"/>
                <a:gd name="T45" fmla="*/ 2 h 24"/>
                <a:gd name="T46" fmla="*/ 0 w 40"/>
                <a:gd name="T47" fmla="*/ 0 h 24"/>
                <a:gd name="T48" fmla="*/ 2 w 40"/>
                <a:gd name="T49" fmla="*/ 0 h 24"/>
                <a:gd name="T50" fmla="*/ 6 w 40"/>
                <a:gd name="T51" fmla="*/ 4 h 24"/>
                <a:gd name="T52" fmla="*/ 12 w 40"/>
                <a:gd name="T53" fmla="*/ 6 h 24"/>
                <a:gd name="T54" fmla="*/ 14 w 40"/>
                <a:gd name="T55" fmla="*/ 8 h 24"/>
                <a:gd name="T56" fmla="*/ 16 w 40"/>
                <a:gd name="T57" fmla="*/ 8 h 24"/>
                <a:gd name="T58" fmla="*/ 16 w 40"/>
                <a:gd name="T59" fmla="*/ 8 h 24"/>
                <a:gd name="T60" fmla="*/ 18 w 40"/>
                <a:gd name="T61" fmla="*/ 8 h 24"/>
                <a:gd name="T62" fmla="*/ 22 w 40"/>
                <a:gd name="T63" fmla="*/ 8 h 24"/>
                <a:gd name="T64" fmla="*/ 26 w 40"/>
                <a:gd name="T65" fmla="*/ 8 h 24"/>
                <a:gd name="T66" fmla="*/ 30 w 40"/>
                <a:gd name="T67" fmla="*/ 8 h 24"/>
                <a:gd name="T68" fmla="*/ 36 w 40"/>
                <a:gd name="T69" fmla="*/ 8 h 24"/>
                <a:gd name="T70" fmla="*/ 40 w 40"/>
                <a:gd name="T71" fmla="*/ 8 h 24"/>
                <a:gd name="T72" fmla="*/ 40 w 40"/>
                <a:gd name="T73" fmla="*/ 10 h 24"/>
                <a:gd name="T74" fmla="*/ 38 w 40"/>
                <a:gd name="T75" fmla="*/ 12 h 24"/>
                <a:gd name="T76" fmla="*/ 38 w 40"/>
                <a:gd name="T77" fmla="*/ 14 h 24"/>
                <a:gd name="T78" fmla="*/ 38 w 40"/>
                <a:gd name="T79" fmla="*/ 18 h 24"/>
                <a:gd name="T80" fmla="*/ 36 w 40"/>
                <a:gd name="T81" fmla="*/ 20 h 24"/>
                <a:gd name="T82" fmla="*/ 36 w 40"/>
                <a:gd name="T83" fmla="*/ 20 h 24"/>
                <a:gd name="T84" fmla="*/ 36 w 40"/>
                <a:gd name="T85" fmla="*/ 22 h 24"/>
                <a:gd name="T86" fmla="*/ 36 w 40"/>
                <a:gd name="T87" fmla="*/ 22 h 24"/>
                <a:gd name="T88" fmla="*/ 34 w 40"/>
                <a:gd name="T8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 h="24">
                  <a:moveTo>
                    <a:pt x="34" y="24"/>
                  </a:moveTo>
                  <a:lnTo>
                    <a:pt x="34" y="24"/>
                  </a:lnTo>
                  <a:lnTo>
                    <a:pt x="34" y="24"/>
                  </a:lnTo>
                  <a:lnTo>
                    <a:pt x="34" y="24"/>
                  </a:lnTo>
                  <a:lnTo>
                    <a:pt x="32" y="24"/>
                  </a:lnTo>
                  <a:lnTo>
                    <a:pt x="32" y="24"/>
                  </a:lnTo>
                  <a:lnTo>
                    <a:pt x="30" y="24"/>
                  </a:lnTo>
                  <a:lnTo>
                    <a:pt x="26" y="24"/>
                  </a:lnTo>
                  <a:lnTo>
                    <a:pt x="24" y="24"/>
                  </a:lnTo>
                  <a:lnTo>
                    <a:pt x="22" y="22"/>
                  </a:lnTo>
                  <a:lnTo>
                    <a:pt x="18" y="22"/>
                  </a:lnTo>
                  <a:lnTo>
                    <a:pt x="16" y="22"/>
                  </a:lnTo>
                  <a:lnTo>
                    <a:pt x="12" y="20"/>
                  </a:lnTo>
                  <a:lnTo>
                    <a:pt x="10" y="20"/>
                  </a:lnTo>
                  <a:lnTo>
                    <a:pt x="8" y="18"/>
                  </a:lnTo>
                  <a:lnTo>
                    <a:pt x="6" y="18"/>
                  </a:lnTo>
                  <a:lnTo>
                    <a:pt x="6" y="16"/>
                  </a:lnTo>
                  <a:lnTo>
                    <a:pt x="4" y="16"/>
                  </a:lnTo>
                  <a:lnTo>
                    <a:pt x="4" y="16"/>
                  </a:lnTo>
                  <a:lnTo>
                    <a:pt x="4" y="12"/>
                  </a:lnTo>
                  <a:lnTo>
                    <a:pt x="2" y="10"/>
                  </a:lnTo>
                  <a:lnTo>
                    <a:pt x="2" y="8"/>
                  </a:lnTo>
                  <a:lnTo>
                    <a:pt x="0" y="2"/>
                  </a:lnTo>
                  <a:lnTo>
                    <a:pt x="0" y="0"/>
                  </a:lnTo>
                  <a:lnTo>
                    <a:pt x="2" y="0"/>
                  </a:lnTo>
                  <a:lnTo>
                    <a:pt x="6" y="4"/>
                  </a:lnTo>
                  <a:lnTo>
                    <a:pt x="12" y="6"/>
                  </a:lnTo>
                  <a:lnTo>
                    <a:pt x="14" y="8"/>
                  </a:lnTo>
                  <a:lnTo>
                    <a:pt x="16" y="8"/>
                  </a:lnTo>
                  <a:lnTo>
                    <a:pt x="16" y="8"/>
                  </a:lnTo>
                  <a:lnTo>
                    <a:pt x="18" y="8"/>
                  </a:lnTo>
                  <a:lnTo>
                    <a:pt x="22" y="8"/>
                  </a:lnTo>
                  <a:lnTo>
                    <a:pt x="26" y="8"/>
                  </a:lnTo>
                  <a:lnTo>
                    <a:pt x="30" y="8"/>
                  </a:lnTo>
                  <a:lnTo>
                    <a:pt x="36" y="8"/>
                  </a:lnTo>
                  <a:lnTo>
                    <a:pt x="40" y="8"/>
                  </a:lnTo>
                  <a:lnTo>
                    <a:pt x="40" y="10"/>
                  </a:lnTo>
                  <a:lnTo>
                    <a:pt x="38" y="12"/>
                  </a:lnTo>
                  <a:lnTo>
                    <a:pt x="38" y="14"/>
                  </a:lnTo>
                  <a:lnTo>
                    <a:pt x="38" y="18"/>
                  </a:lnTo>
                  <a:lnTo>
                    <a:pt x="36" y="20"/>
                  </a:lnTo>
                  <a:lnTo>
                    <a:pt x="36" y="20"/>
                  </a:lnTo>
                  <a:lnTo>
                    <a:pt x="36" y="22"/>
                  </a:lnTo>
                  <a:lnTo>
                    <a:pt x="36" y="22"/>
                  </a:lnTo>
                  <a:lnTo>
                    <a:pt x="34" y="2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2" name="Freeform 90">
              <a:extLst>
                <a:ext uri="{FF2B5EF4-FFF2-40B4-BE49-F238E27FC236}">
                  <a16:creationId xmlns:a16="http://schemas.microsoft.com/office/drawing/2014/main" id="{E3AE52C8-D3F4-4589-A082-9267914643BC}"/>
                </a:ext>
              </a:extLst>
            </p:cNvPr>
            <p:cNvSpPr>
              <a:spLocks/>
            </p:cNvSpPr>
            <p:nvPr/>
          </p:nvSpPr>
          <p:spPr bwMode="auto">
            <a:xfrm>
              <a:off x="5093679" y="3676249"/>
              <a:ext cx="27713" cy="90068"/>
            </a:xfrm>
            <a:custGeom>
              <a:avLst/>
              <a:gdLst>
                <a:gd name="T0" fmla="*/ 0 w 16"/>
                <a:gd name="T1" fmla="*/ 30 h 52"/>
                <a:gd name="T2" fmla="*/ 0 w 16"/>
                <a:gd name="T3" fmla="*/ 30 h 52"/>
                <a:gd name="T4" fmla="*/ 0 w 16"/>
                <a:gd name="T5" fmla="*/ 32 h 52"/>
                <a:gd name="T6" fmla="*/ 0 w 16"/>
                <a:gd name="T7" fmla="*/ 32 h 52"/>
                <a:gd name="T8" fmla="*/ 0 w 16"/>
                <a:gd name="T9" fmla="*/ 34 h 52"/>
                <a:gd name="T10" fmla="*/ 2 w 16"/>
                <a:gd name="T11" fmla="*/ 36 h 52"/>
                <a:gd name="T12" fmla="*/ 4 w 16"/>
                <a:gd name="T13" fmla="*/ 40 h 52"/>
                <a:gd name="T14" fmla="*/ 6 w 16"/>
                <a:gd name="T15" fmla="*/ 44 h 52"/>
                <a:gd name="T16" fmla="*/ 8 w 16"/>
                <a:gd name="T17" fmla="*/ 46 h 52"/>
                <a:gd name="T18" fmla="*/ 10 w 16"/>
                <a:gd name="T19" fmla="*/ 50 h 52"/>
                <a:gd name="T20" fmla="*/ 12 w 16"/>
                <a:gd name="T21" fmla="*/ 52 h 52"/>
                <a:gd name="T22" fmla="*/ 14 w 16"/>
                <a:gd name="T23" fmla="*/ 42 h 52"/>
                <a:gd name="T24" fmla="*/ 14 w 16"/>
                <a:gd name="T25" fmla="*/ 36 h 52"/>
                <a:gd name="T26" fmla="*/ 16 w 16"/>
                <a:gd name="T27" fmla="*/ 30 h 52"/>
                <a:gd name="T28" fmla="*/ 16 w 16"/>
                <a:gd name="T29" fmla="*/ 26 h 52"/>
                <a:gd name="T30" fmla="*/ 16 w 16"/>
                <a:gd name="T31" fmla="*/ 22 h 52"/>
                <a:gd name="T32" fmla="*/ 16 w 16"/>
                <a:gd name="T33" fmla="*/ 12 h 52"/>
                <a:gd name="T34" fmla="*/ 16 w 16"/>
                <a:gd name="T35" fmla="*/ 0 h 52"/>
                <a:gd name="T36" fmla="*/ 12 w 16"/>
                <a:gd name="T37" fmla="*/ 4 h 52"/>
                <a:gd name="T38" fmla="*/ 10 w 16"/>
                <a:gd name="T39" fmla="*/ 8 h 52"/>
                <a:gd name="T40" fmla="*/ 8 w 16"/>
                <a:gd name="T41" fmla="*/ 12 h 52"/>
                <a:gd name="T42" fmla="*/ 4 w 16"/>
                <a:gd name="T43" fmla="*/ 16 h 52"/>
                <a:gd name="T44" fmla="*/ 2 w 16"/>
                <a:gd name="T45" fmla="*/ 20 h 52"/>
                <a:gd name="T46" fmla="*/ 2 w 16"/>
                <a:gd name="T47" fmla="*/ 22 h 52"/>
                <a:gd name="T48" fmla="*/ 0 w 16"/>
                <a:gd name="T49" fmla="*/ 24 h 52"/>
                <a:gd name="T50" fmla="*/ 0 w 16"/>
                <a:gd name="T51" fmla="*/ 26 h 52"/>
                <a:gd name="T52" fmla="*/ 0 w 16"/>
                <a:gd name="T53" fmla="*/ 28 h 52"/>
                <a:gd name="T54" fmla="*/ 0 w 16"/>
                <a:gd name="T55" fmla="*/ 3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52">
                  <a:moveTo>
                    <a:pt x="0" y="30"/>
                  </a:moveTo>
                  <a:lnTo>
                    <a:pt x="0" y="30"/>
                  </a:lnTo>
                  <a:lnTo>
                    <a:pt x="0" y="32"/>
                  </a:lnTo>
                  <a:lnTo>
                    <a:pt x="0" y="32"/>
                  </a:lnTo>
                  <a:lnTo>
                    <a:pt x="0" y="34"/>
                  </a:lnTo>
                  <a:lnTo>
                    <a:pt x="2" y="36"/>
                  </a:lnTo>
                  <a:lnTo>
                    <a:pt x="4" y="40"/>
                  </a:lnTo>
                  <a:lnTo>
                    <a:pt x="6" y="44"/>
                  </a:lnTo>
                  <a:lnTo>
                    <a:pt x="8" y="46"/>
                  </a:lnTo>
                  <a:lnTo>
                    <a:pt x="10" y="50"/>
                  </a:lnTo>
                  <a:lnTo>
                    <a:pt x="12" y="52"/>
                  </a:lnTo>
                  <a:lnTo>
                    <a:pt x="14" y="42"/>
                  </a:lnTo>
                  <a:lnTo>
                    <a:pt x="14" y="36"/>
                  </a:lnTo>
                  <a:lnTo>
                    <a:pt x="16" y="30"/>
                  </a:lnTo>
                  <a:lnTo>
                    <a:pt x="16" y="26"/>
                  </a:lnTo>
                  <a:lnTo>
                    <a:pt x="16" y="22"/>
                  </a:lnTo>
                  <a:lnTo>
                    <a:pt x="16" y="12"/>
                  </a:lnTo>
                  <a:lnTo>
                    <a:pt x="16" y="0"/>
                  </a:lnTo>
                  <a:lnTo>
                    <a:pt x="12" y="4"/>
                  </a:lnTo>
                  <a:lnTo>
                    <a:pt x="10" y="8"/>
                  </a:lnTo>
                  <a:lnTo>
                    <a:pt x="8" y="12"/>
                  </a:lnTo>
                  <a:lnTo>
                    <a:pt x="4" y="16"/>
                  </a:lnTo>
                  <a:lnTo>
                    <a:pt x="2" y="20"/>
                  </a:lnTo>
                  <a:lnTo>
                    <a:pt x="2" y="22"/>
                  </a:lnTo>
                  <a:lnTo>
                    <a:pt x="0" y="24"/>
                  </a:lnTo>
                  <a:lnTo>
                    <a:pt x="0" y="26"/>
                  </a:lnTo>
                  <a:lnTo>
                    <a:pt x="0" y="28"/>
                  </a:lnTo>
                  <a:lnTo>
                    <a:pt x="0" y="3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 name="Freeform 91">
              <a:extLst>
                <a:ext uri="{FF2B5EF4-FFF2-40B4-BE49-F238E27FC236}">
                  <a16:creationId xmlns:a16="http://schemas.microsoft.com/office/drawing/2014/main" id="{8F64E418-C643-4D4A-8D19-87C829257807}"/>
                </a:ext>
              </a:extLst>
            </p:cNvPr>
            <p:cNvSpPr>
              <a:spLocks/>
            </p:cNvSpPr>
            <p:nvPr/>
          </p:nvSpPr>
          <p:spPr bwMode="auto">
            <a:xfrm>
              <a:off x="5093679" y="3676249"/>
              <a:ext cx="27713" cy="90068"/>
            </a:xfrm>
            <a:custGeom>
              <a:avLst/>
              <a:gdLst>
                <a:gd name="T0" fmla="*/ 0 w 16"/>
                <a:gd name="T1" fmla="*/ 30 h 52"/>
                <a:gd name="T2" fmla="*/ 0 w 16"/>
                <a:gd name="T3" fmla="*/ 30 h 52"/>
                <a:gd name="T4" fmla="*/ 0 w 16"/>
                <a:gd name="T5" fmla="*/ 32 h 52"/>
                <a:gd name="T6" fmla="*/ 0 w 16"/>
                <a:gd name="T7" fmla="*/ 32 h 52"/>
                <a:gd name="T8" fmla="*/ 0 w 16"/>
                <a:gd name="T9" fmla="*/ 34 h 52"/>
                <a:gd name="T10" fmla="*/ 2 w 16"/>
                <a:gd name="T11" fmla="*/ 36 h 52"/>
                <a:gd name="T12" fmla="*/ 4 w 16"/>
                <a:gd name="T13" fmla="*/ 40 h 52"/>
                <a:gd name="T14" fmla="*/ 6 w 16"/>
                <a:gd name="T15" fmla="*/ 44 h 52"/>
                <a:gd name="T16" fmla="*/ 8 w 16"/>
                <a:gd name="T17" fmla="*/ 46 h 52"/>
                <a:gd name="T18" fmla="*/ 10 w 16"/>
                <a:gd name="T19" fmla="*/ 50 h 52"/>
                <a:gd name="T20" fmla="*/ 12 w 16"/>
                <a:gd name="T21" fmla="*/ 52 h 52"/>
                <a:gd name="T22" fmla="*/ 14 w 16"/>
                <a:gd name="T23" fmla="*/ 42 h 52"/>
                <a:gd name="T24" fmla="*/ 14 w 16"/>
                <a:gd name="T25" fmla="*/ 36 h 52"/>
                <a:gd name="T26" fmla="*/ 16 w 16"/>
                <a:gd name="T27" fmla="*/ 30 h 52"/>
                <a:gd name="T28" fmla="*/ 16 w 16"/>
                <a:gd name="T29" fmla="*/ 26 h 52"/>
                <a:gd name="T30" fmla="*/ 16 w 16"/>
                <a:gd name="T31" fmla="*/ 22 h 52"/>
                <a:gd name="T32" fmla="*/ 16 w 16"/>
                <a:gd name="T33" fmla="*/ 12 h 52"/>
                <a:gd name="T34" fmla="*/ 16 w 16"/>
                <a:gd name="T35" fmla="*/ 0 h 52"/>
                <a:gd name="T36" fmla="*/ 12 w 16"/>
                <a:gd name="T37" fmla="*/ 4 h 52"/>
                <a:gd name="T38" fmla="*/ 10 w 16"/>
                <a:gd name="T39" fmla="*/ 8 h 52"/>
                <a:gd name="T40" fmla="*/ 8 w 16"/>
                <a:gd name="T41" fmla="*/ 12 h 52"/>
                <a:gd name="T42" fmla="*/ 4 w 16"/>
                <a:gd name="T43" fmla="*/ 16 h 52"/>
                <a:gd name="T44" fmla="*/ 2 w 16"/>
                <a:gd name="T45" fmla="*/ 20 h 52"/>
                <a:gd name="T46" fmla="*/ 2 w 16"/>
                <a:gd name="T47" fmla="*/ 22 h 52"/>
                <a:gd name="T48" fmla="*/ 0 w 16"/>
                <a:gd name="T49" fmla="*/ 24 h 52"/>
                <a:gd name="T50" fmla="*/ 0 w 16"/>
                <a:gd name="T51" fmla="*/ 26 h 52"/>
                <a:gd name="T52" fmla="*/ 0 w 16"/>
                <a:gd name="T53" fmla="*/ 28 h 52"/>
                <a:gd name="T54" fmla="*/ 0 w 16"/>
                <a:gd name="T55" fmla="*/ 3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52">
                  <a:moveTo>
                    <a:pt x="0" y="30"/>
                  </a:moveTo>
                  <a:lnTo>
                    <a:pt x="0" y="30"/>
                  </a:lnTo>
                  <a:lnTo>
                    <a:pt x="0" y="32"/>
                  </a:lnTo>
                  <a:lnTo>
                    <a:pt x="0" y="32"/>
                  </a:lnTo>
                  <a:lnTo>
                    <a:pt x="0" y="34"/>
                  </a:lnTo>
                  <a:lnTo>
                    <a:pt x="2" y="36"/>
                  </a:lnTo>
                  <a:lnTo>
                    <a:pt x="4" y="40"/>
                  </a:lnTo>
                  <a:lnTo>
                    <a:pt x="6" y="44"/>
                  </a:lnTo>
                  <a:lnTo>
                    <a:pt x="8" y="46"/>
                  </a:lnTo>
                  <a:lnTo>
                    <a:pt x="10" y="50"/>
                  </a:lnTo>
                  <a:lnTo>
                    <a:pt x="12" y="52"/>
                  </a:lnTo>
                  <a:lnTo>
                    <a:pt x="14" y="42"/>
                  </a:lnTo>
                  <a:lnTo>
                    <a:pt x="14" y="36"/>
                  </a:lnTo>
                  <a:lnTo>
                    <a:pt x="16" y="30"/>
                  </a:lnTo>
                  <a:lnTo>
                    <a:pt x="16" y="26"/>
                  </a:lnTo>
                  <a:lnTo>
                    <a:pt x="16" y="22"/>
                  </a:lnTo>
                  <a:lnTo>
                    <a:pt x="16" y="12"/>
                  </a:lnTo>
                  <a:lnTo>
                    <a:pt x="16" y="0"/>
                  </a:lnTo>
                  <a:lnTo>
                    <a:pt x="12" y="4"/>
                  </a:lnTo>
                  <a:lnTo>
                    <a:pt x="10" y="8"/>
                  </a:lnTo>
                  <a:lnTo>
                    <a:pt x="8" y="12"/>
                  </a:lnTo>
                  <a:lnTo>
                    <a:pt x="4" y="16"/>
                  </a:lnTo>
                  <a:lnTo>
                    <a:pt x="2" y="20"/>
                  </a:lnTo>
                  <a:lnTo>
                    <a:pt x="2" y="22"/>
                  </a:lnTo>
                  <a:lnTo>
                    <a:pt x="0" y="24"/>
                  </a:lnTo>
                  <a:lnTo>
                    <a:pt x="0" y="26"/>
                  </a:lnTo>
                  <a:lnTo>
                    <a:pt x="0" y="28"/>
                  </a:lnTo>
                  <a:lnTo>
                    <a:pt x="0" y="3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4" name="Freeform 92">
              <a:extLst>
                <a:ext uri="{FF2B5EF4-FFF2-40B4-BE49-F238E27FC236}">
                  <a16:creationId xmlns:a16="http://schemas.microsoft.com/office/drawing/2014/main" id="{C8A43B17-CC50-4A60-9789-D2E282A08E64}"/>
                </a:ext>
              </a:extLst>
            </p:cNvPr>
            <p:cNvSpPr>
              <a:spLocks/>
            </p:cNvSpPr>
            <p:nvPr/>
          </p:nvSpPr>
          <p:spPr bwMode="auto">
            <a:xfrm>
              <a:off x="5121393" y="3620823"/>
              <a:ext cx="38106" cy="55426"/>
            </a:xfrm>
            <a:custGeom>
              <a:avLst/>
              <a:gdLst>
                <a:gd name="T0" fmla="*/ 0 w 22"/>
                <a:gd name="T1" fmla="*/ 32 h 32"/>
                <a:gd name="T2" fmla="*/ 0 w 22"/>
                <a:gd name="T3" fmla="*/ 32 h 32"/>
                <a:gd name="T4" fmla="*/ 2 w 22"/>
                <a:gd name="T5" fmla="*/ 32 h 32"/>
                <a:gd name="T6" fmla="*/ 6 w 22"/>
                <a:gd name="T7" fmla="*/ 30 h 32"/>
                <a:gd name="T8" fmla="*/ 8 w 22"/>
                <a:gd name="T9" fmla="*/ 28 h 32"/>
                <a:gd name="T10" fmla="*/ 10 w 22"/>
                <a:gd name="T11" fmla="*/ 28 h 32"/>
                <a:gd name="T12" fmla="*/ 12 w 22"/>
                <a:gd name="T13" fmla="*/ 26 h 32"/>
                <a:gd name="T14" fmla="*/ 14 w 22"/>
                <a:gd name="T15" fmla="*/ 24 h 32"/>
                <a:gd name="T16" fmla="*/ 14 w 22"/>
                <a:gd name="T17" fmla="*/ 24 h 32"/>
                <a:gd name="T18" fmla="*/ 16 w 22"/>
                <a:gd name="T19" fmla="*/ 22 h 32"/>
                <a:gd name="T20" fmla="*/ 18 w 22"/>
                <a:gd name="T21" fmla="*/ 20 h 32"/>
                <a:gd name="T22" fmla="*/ 18 w 22"/>
                <a:gd name="T23" fmla="*/ 16 h 32"/>
                <a:gd name="T24" fmla="*/ 20 w 22"/>
                <a:gd name="T25" fmla="*/ 14 h 32"/>
                <a:gd name="T26" fmla="*/ 20 w 22"/>
                <a:gd name="T27" fmla="*/ 12 h 32"/>
                <a:gd name="T28" fmla="*/ 20 w 22"/>
                <a:gd name="T29" fmla="*/ 12 h 32"/>
                <a:gd name="T30" fmla="*/ 22 w 22"/>
                <a:gd name="T31" fmla="*/ 10 h 32"/>
                <a:gd name="T32" fmla="*/ 22 w 22"/>
                <a:gd name="T33" fmla="*/ 10 h 32"/>
                <a:gd name="T34" fmla="*/ 20 w 22"/>
                <a:gd name="T35" fmla="*/ 8 h 32"/>
                <a:gd name="T36" fmla="*/ 20 w 22"/>
                <a:gd name="T37" fmla="*/ 8 h 32"/>
                <a:gd name="T38" fmla="*/ 20 w 22"/>
                <a:gd name="T39" fmla="*/ 8 h 32"/>
                <a:gd name="T40" fmla="*/ 20 w 22"/>
                <a:gd name="T41" fmla="*/ 6 h 32"/>
                <a:gd name="T42" fmla="*/ 18 w 22"/>
                <a:gd name="T43" fmla="*/ 6 h 32"/>
                <a:gd name="T44" fmla="*/ 16 w 22"/>
                <a:gd name="T45" fmla="*/ 4 h 32"/>
                <a:gd name="T46" fmla="*/ 14 w 22"/>
                <a:gd name="T47" fmla="*/ 2 h 32"/>
                <a:gd name="T48" fmla="*/ 12 w 22"/>
                <a:gd name="T49" fmla="*/ 2 h 32"/>
                <a:gd name="T50" fmla="*/ 10 w 22"/>
                <a:gd name="T51" fmla="*/ 0 h 32"/>
                <a:gd name="T52" fmla="*/ 8 w 22"/>
                <a:gd name="T53" fmla="*/ 0 h 32"/>
                <a:gd name="T54" fmla="*/ 0 w 22"/>
                <a:gd name="T5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 h="32">
                  <a:moveTo>
                    <a:pt x="0" y="32"/>
                  </a:moveTo>
                  <a:lnTo>
                    <a:pt x="0" y="32"/>
                  </a:lnTo>
                  <a:lnTo>
                    <a:pt x="2" y="32"/>
                  </a:lnTo>
                  <a:lnTo>
                    <a:pt x="6" y="30"/>
                  </a:lnTo>
                  <a:lnTo>
                    <a:pt x="8" y="28"/>
                  </a:lnTo>
                  <a:lnTo>
                    <a:pt x="10" y="28"/>
                  </a:lnTo>
                  <a:lnTo>
                    <a:pt x="12" y="26"/>
                  </a:lnTo>
                  <a:lnTo>
                    <a:pt x="14" y="24"/>
                  </a:lnTo>
                  <a:lnTo>
                    <a:pt x="14" y="24"/>
                  </a:lnTo>
                  <a:lnTo>
                    <a:pt x="16" y="22"/>
                  </a:lnTo>
                  <a:lnTo>
                    <a:pt x="18" y="20"/>
                  </a:lnTo>
                  <a:lnTo>
                    <a:pt x="18" y="16"/>
                  </a:lnTo>
                  <a:lnTo>
                    <a:pt x="20" y="14"/>
                  </a:lnTo>
                  <a:lnTo>
                    <a:pt x="20" y="12"/>
                  </a:lnTo>
                  <a:lnTo>
                    <a:pt x="20" y="12"/>
                  </a:lnTo>
                  <a:lnTo>
                    <a:pt x="22" y="10"/>
                  </a:lnTo>
                  <a:lnTo>
                    <a:pt x="22" y="10"/>
                  </a:lnTo>
                  <a:lnTo>
                    <a:pt x="20" y="8"/>
                  </a:lnTo>
                  <a:lnTo>
                    <a:pt x="20" y="8"/>
                  </a:lnTo>
                  <a:lnTo>
                    <a:pt x="20" y="8"/>
                  </a:lnTo>
                  <a:lnTo>
                    <a:pt x="20" y="6"/>
                  </a:lnTo>
                  <a:lnTo>
                    <a:pt x="18" y="6"/>
                  </a:lnTo>
                  <a:lnTo>
                    <a:pt x="16" y="4"/>
                  </a:lnTo>
                  <a:lnTo>
                    <a:pt x="14" y="2"/>
                  </a:lnTo>
                  <a:lnTo>
                    <a:pt x="12" y="2"/>
                  </a:lnTo>
                  <a:lnTo>
                    <a:pt x="10" y="0"/>
                  </a:lnTo>
                  <a:lnTo>
                    <a:pt x="8" y="0"/>
                  </a:lnTo>
                  <a:lnTo>
                    <a:pt x="0" y="3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 name="Freeform 93">
              <a:extLst>
                <a:ext uri="{FF2B5EF4-FFF2-40B4-BE49-F238E27FC236}">
                  <a16:creationId xmlns:a16="http://schemas.microsoft.com/office/drawing/2014/main" id="{AF8B9437-AD52-414D-9543-578952550105}"/>
                </a:ext>
              </a:extLst>
            </p:cNvPr>
            <p:cNvSpPr>
              <a:spLocks/>
            </p:cNvSpPr>
            <p:nvPr/>
          </p:nvSpPr>
          <p:spPr bwMode="auto">
            <a:xfrm>
              <a:off x="5121393" y="3620823"/>
              <a:ext cx="38106" cy="55426"/>
            </a:xfrm>
            <a:custGeom>
              <a:avLst/>
              <a:gdLst>
                <a:gd name="T0" fmla="*/ 0 w 22"/>
                <a:gd name="T1" fmla="*/ 32 h 32"/>
                <a:gd name="T2" fmla="*/ 0 w 22"/>
                <a:gd name="T3" fmla="*/ 32 h 32"/>
                <a:gd name="T4" fmla="*/ 2 w 22"/>
                <a:gd name="T5" fmla="*/ 32 h 32"/>
                <a:gd name="T6" fmla="*/ 6 w 22"/>
                <a:gd name="T7" fmla="*/ 30 h 32"/>
                <a:gd name="T8" fmla="*/ 8 w 22"/>
                <a:gd name="T9" fmla="*/ 28 h 32"/>
                <a:gd name="T10" fmla="*/ 10 w 22"/>
                <a:gd name="T11" fmla="*/ 28 h 32"/>
                <a:gd name="T12" fmla="*/ 12 w 22"/>
                <a:gd name="T13" fmla="*/ 26 h 32"/>
                <a:gd name="T14" fmla="*/ 14 w 22"/>
                <a:gd name="T15" fmla="*/ 24 h 32"/>
                <a:gd name="T16" fmla="*/ 14 w 22"/>
                <a:gd name="T17" fmla="*/ 24 h 32"/>
                <a:gd name="T18" fmla="*/ 16 w 22"/>
                <a:gd name="T19" fmla="*/ 22 h 32"/>
                <a:gd name="T20" fmla="*/ 18 w 22"/>
                <a:gd name="T21" fmla="*/ 20 h 32"/>
                <a:gd name="T22" fmla="*/ 18 w 22"/>
                <a:gd name="T23" fmla="*/ 16 h 32"/>
                <a:gd name="T24" fmla="*/ 20 w 22"/>
                <a:gd name="T25" fmla="*/ 14 h 32"/>
                <a:gd name="T26" fmla="*/ 20 w 22"/>
                <a:gd name="T27" fmla="*/ 12 h 32"/>
                <a:gd name="T28" fmla="*/ 20 w 22"/>
                <a:gd name="T29" fmla="*/ 12 h 32"/>
                <a:gd name="T30" fmla="*/ 22 w 22"/>
                <a:gd name="T31" fmla="*/ 10 h 32"/>
                <a:gd name="T32" fmla="*/ 22 w 22"/>
                <a:gd name="T33" fmla="*/ 10 h 32"/>
                <a:gd name="T34" fmla="*/ 20 w 22"/>
                <a:gd name="T35" fmla="*/ 8 h 32"/>
                <a:gd name="T36" fmla="*/ 20 w 22"/>
                <a:gd name="T37" fmla="*/ 8 h 32"/>
                <a:gd name="T38" fmla="*/ 20 w 22"/>
                <a:gd name="T39" fmla="*/ 8 h 32"/>
                <a:gd name="T40" fmla="*/ 20 w 22"/>
                <a:gd name="T41" fmla="*/ 6 h 32"/>
                <a:gd name="T42" fmla="*/ 18 w 22"/>
                <a:gd name="T43" fmla="*/ 6 h 32"/>
                <a:gd name="T44" fmla="*/ 16 w 22"/>
                <a:gd name="T45" fmla="*/ 4 h 32"/>
                <a:gd name="T46" fmla="*/ 14 w 22"/>
                <a:gd name="T47" fmla="*/ 2 h 32"/>
                <a:gd name="T48" fmla="*/ 12 w 22"/>
                <a:gd name="T49" fmla="*/ 2 h 32"/>
                <a:gd name="T50" fmla="*/ 10 w 22"/>
                <a:gd name="T51" fmla="*/ 0 h 32"/>
                <a:gd name="T52" fmla="*/ 8 w 22"/>
                <a:gd name="T53" fmla="*/ 0 h 32"/>
                <a:gd name="T54" fmla="*/ 0 w 22"/>
                <a:gd name="T5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 h="32">
                  <a:moveTo>
                    <a:pt x="0" y="32"/>
                  </a:moveTo>
                  <a:lnTo>
                    <a:pt x="0" y="32"/>
                  </a:lnTo>
                  <a:lnTo>
                    <a:pt x="2" y="32"/>
                  </a:lnTo>
                  <a:lnTo>
                    <a:pt x="6" y="30"/>
                  </a:lnTo>
                  <a:lnTo>
                    <a:pt x="8" y="28"/>
                  </a:lnTo>
                  <a:lnTo>
                    <a:pt x="10" y="28"/>
                  </a:lnTo>
                  <a:lnTo>
                    <a:pt x="12" y="26"/>
                  </a:lnTo>
                  <a:lnTo>
                    <a:pt x="14" y="24"/>
                  </a:lnTo>
                  <a:lnTo>
                    <a:pt x="14" y="24"/>
                  </a:lnTo>
                  <a:lnTo>
                    <a:pt x="16" y="22"/>
                  </a:lnTo>
                  <a:lnTo>
                    <a:pt x="18" y="20"/>
                  </a:lnTo>
                  <a:lnTo>
                    <a:pt x="18" y="16"/>
                  </a:lnTo>
                  <a:lnTo>
                    <a:pt x="20" y="14"/>
                  </a:lnTo>
                  <a:lnTo>
                    <a:pt x="20" y="12"/>
                  </a:lnTo>
                  <a:lnTo>
                    <a:pt x="20" y="12"/>
                  </a:lnTo>
                  <a:lnTo>
                    <a:pt x="22" y="10"/>
                  </a:lnTo>
                  <a:lnTo>
                    <a:pt x="22" y="10"/>
                  </a:lnTo>
                  <a:lnTo>
                    <a:pt x="20" y="8"/>
                  </a:lnTo>
                  <a:lnTo>
                    <a:pt x="20" y="8"/>
                  </a:lnTo>
                  <a:lnTo>
                    <a:pt x="20" y="8"/>
                  </a:lnTo>
                  <a:lnTo>
                    <a:pt x="20" y="6"/>
                  </a:lnTo>
                  <a:lnTo>
                    <a:pt x="18" y="6"/>
                  </a:lnTo>
                  <a:lnTo>
                    <a:pt x="16" y="4"/>
                  </a:lnTo>
                  <a:lnTo>
                    <a:pt x="14" y="2"/>
                  </a:lnTo>
                  <a:lnTo>
                    <a:pt x="12" y="2"/>
                  </a:lnTo>
                  <a:lnTo>
                    <a:pt x="10" y="0"/>
                  </a:lnTo>
                  <a:lnTo>
                    <a:pt x="8" y="0"/>
                  </a:lnTo>
                  <a:lnTo>
                    <a:pt x="0" y="3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6" name="Freeform 124">
              <a:extLst>
                <a:ext uri="{FF2B5EF4-FFF2-40B4-BE49-F238E27FC236}">
                  <a16:creationId xmlns:a16="http://schemas.microsoft.com/office/drawing/2014/main" id="{67F7ACF6-679A-483D-A03D-B40CAFC33CF9}"/>
                </a:ext>
              </a:extLst>
            </p:cNvPr>
            <p:cNvSpPr>
              <a:spLocks/>
            </p:cNvSpPr>
            <p:nvPr/>
          </p:nvSpPr>
          <p:spPr bwMode="auto">
            <a:xfrm>
              <a:off x="6361558" y="3031917"/>
              <a:ext cx="741328" cy="367200"/>
            </a:xfrm>
            <a:custGeom>
              <a:avLst/>
              <a:gdLst>
                <a:gd name="T0" fmla="*/ 14 w 428"/>
                <a:gd name="T1" fmla="*/ 72 h 212"/>
                <a:gd name="T2" fmla="*/ 50 w 428"/>
                <a:gd name="T3" fmla="*/ 64 h 212"/>
                <a:gd name="T4" fmla="*/ 72 w 428"/>
                <a:gd name="T5" fmla="*/ 64 h 212"/>
                <a:gd name="T6" fmla="*/ 80 w 428"/>
                <a:gd name="T7" fmla="*/ 72 h 212"/>
                <a:gd name="T8" fmla="*/ 92 w 428"/>
                <a:gd name="T9" fmla="*/ 74 h 212"/>
                <a:gd name="T10" fmla="*/ 104 w 428"/>
                <a:gd name="T11" fmla="*/ 80 h 212"/>
                <a:gd name="T12" fmla="*/ 124 w 428"/>
                <a:gd name="T13" fmla="*/ 78 h 212"/>
                <a:gd name="T14" fmla="*/ 128 w 428"/>
                <a:gd name="T15" fmla="*/ 72 h 212"/>
                <a:gd name="T16" fmla="*/ 120 w 428"/>
                <a:gd name="T17" fmla="*/ 58 h 212"/>
                <a:gd name="T18" fmla="*/ 116 w 428"/>
                <a:gd name="T19" fmla="*/ 52 h 212"/>
                <a:gd name="T20" fmla="*/ 126 w 428"/>
                <a:gd name="T21" fmla="*/ 52 h 212"/>
                <a:gd name="T22" fmla="*/ 130 w 428"/>
                <a:gd name="T23" fmla="*/ 44 h 212"/>
                <a:gd name="T24" fmla="*/ 126 w 428"/>
                <a:gd name="T25" fmla="*/ 20 h 212"/>
                <a:gd name="T26" fmla="*/ 126 w 428"/>
                <a:gd name="T27" fmla="*/ 0 h 212"/>
                <a:gd name="T28" fmla="*/ 136 w 428"/>
                <a:gd name="T29" fmla="*/ 0 h 212"/>
                <a:gd name="T30" fmla="*/ 164 w 428"/>
                <a:gd name="T31" fmla="*/ 10 h 212"/>
                <a:gd name="T32" fmla="*/ 176 w 428"/>
                <a:gd name="T33" fmla="*/ 14 h 212"/>
                <a:gd name="T34" fmla="*/ 188 w 428"/>
                <a:gd name="T35" fmla="*/ 34 h 212"/>
                <a:gd name="T36" fmla="*/ 198 w 428"/>
                <a:gd name="T37" fmla="*/ 38 h 212"/>
                <a:gd name="T38" fmla="*/ 236 w 428"/>
                <a:gd name="T39" fmla="*/ 38 h 212"/>
                <a:gd name="T40" fmla="*/ 258 w 428"/>
                <a:gd name="T41" fmla="*/ 46 h 212"/>
                <a:gd name="T42" fmla="*/ 274 w 428"/>
                <a:gd name="T43" fmla="*/ 52 h 212"/>
                <a:gd name="T44" fmla="*/ 278 w 428"/>
                <a:gd name="T45" fmla="*/ 60 h 212"/>
                <a:gd name="T46" fmla="*/ 286 w 428"/>
                <a:gd name="T47" fmla="*/ 66 h 212"/>
                <a:gd name="T48" fmla="*/ 308 w 428"/>
                <a:gd name="T49" fmla="*/ 62 h 212"/>
                <a:gd name="T50" fmla="*/ 318 w 428"/>
                <a:gd name="T51" fmla="*/ 56 h 212"/>
                <a:gd name="T52" fmla="*/ 324 w 428"/>
                <a:gd name="T53" fmla="*/ 48 h 212"/>
                <a:gd name="T54" fmla="*/ 334 w 428"/>
                <a:gd name="T55" fmla="*/ 56 h 212"/>
                <a:gd name="T56" fmla="*/ 342 w 428"/>
                <a:gd name="T57" fmla="*/ 52 h 212"/>
                <a:gd name="T58" fmla="*/ 354 w 428"/>
                <a:gd name="T59" fmla="*/ 40 h 212"/>
                <a:gd name="T60" fmla="*/ 368 w 428"/>
                <a:gd name="T61" fmla="*/ 40 h 212"/>
                <a:gd name="T62" fmla="*/ 376 w 428"/>
                <a:gd name="T63" fmla="*/ 58 h 212"/>
                <a:gd name="T64" fmla="*/ 376 w 428"/>
                <a:gd name="T65" fmla="*/ 88 h 212"/>
                <a:gd name="T66" fmla="*/ 382 w 428"/>
                <a:gd name="T67" fmla="*/ 98 h 212"/>
                <a:gd name="T68" fmla="*/ 398 w 428"/>
                <a:gd name="T69" fmla="*/ 92 h 212"/>
                <a:gd name="T70" fmla="*/ 416 w 428"/>
                <a:gd name="T71" fmla="*/ 92 h 212"/>
                <a:gd name="T72" fmla="*/ 428 w 428"/>
                <a:gd name="T73" fmla="*/ 104 h 212"/>
                <a:gd name="T74" fmla="*/ 422 w 428"/>
                <a:gd name="T75" fmla="*/ 112 h 212"/>
                <a:gd name="T76" fmla="*/ 398 w 428"/>
                <a:gd name="T77" fmla="*/ 120 h 212"/>
                <a:gd name="T78" fmla="*/ 366 w 428"/>
                <a:gd name="T79" fmla="*/ 142 h 212"/>
                <a:gd name="T80" fmla="*/ 354 w 428"/>
                <a:gd name="T81" fmla="*/ 154 h 212"/>
                <a:gd name="T82" fmla="*/ 340 w 428"/>
                <a:gd name="T83" fmla="*/ 148 h 212"/>
                <a:gd name="T84" fmla="*/ 334 w 428"/>
                <a:gd name="T85" fmla="*/ 150 h 212"/>
                <a:gd name="T86" fmla="*/ 336 w 428"/>
                <a:gd name="T87" fmla="*/ 174 h 212"/>
                <a:gd name="T88" fmla="*/ 326 w 428"/>
                <a:gd name="T89" fmla="*/ 190 h 212"/>
                <a:gd name="T90" fmla="*/ 308 w 428"/>
                <a:gd name="T91" fmla="*/ 200 h 212"/>
                <a:gd name="T92" fmla="*/ 286 w 428"/>
                <a:gd name="T93" fmla="*/ 196 h 212"/>
                <a:gd name="T94" fmla="*/ 276 w 428"/>
                <a:gd name="T95" fmla="*/ 202 h 212"/>
                <a:gd name="T96" fmla="*/ 256 w 428"/>
                <a:gd name="T97" fmla="*/ 210 h 212"/>
                <a:gd name="T98" fmla="*/ 244 w 428"/>
                <a:gd name="T99" fmla="*/ 210 h 212"/>
                <a:gd name="T100" fmla="*/ 214 w 428"/>
                <a:gd name="T101" fmla="*/ 196 h 212"/>
                <a:gd name="T102" fmla="*/ 162 w 428"/>
                <a:gd name="T103" fmla="*/ 194 h 212"/>
                <a:gd name="T104" fmla="*/ 130 w 428"/>
                <a:gd name="T105" fmla="*/ 190 h 212"/>
                <a:gd name="T106" fmla="*/ 118 w 428"/>
                <a:gd name="T107" fmla="*/ 178 h 212"/>
                <a:gd name="T108" fmla="*/ 108 w 428"/>
                <a:gd name="T109" fmla="*/ 160 h 212"/>
                <a:gd name="T110" fmla="*/ 78 w 428"/>
                <a:gd name="T111" fmla="*/ 150 h 212"/>
                <a:gd name="T112" fmla="*/ 48 w 428"/>
                <a:gd name="T113" fmla="*/ 144 h 212"/>
                <a:gd name="T114" fmla="*/ 38 w 428"/>
                <a:gd name="T115" fmla="*/ 132 h 212"/>
                <a:gd name="T116" fmla="*/ 32 w 428"/>
                <a:gd name="T117" fmla="*/ 108 h 212"/>
                <a:gd name="T118" fmla="*/ 26 w 428"/>
                <a:gd name="T119" fmla="*/ 100 h 212"/>
                <a:gd name="T120" fmla="*/ 6 w 428"/>
                <a:gd name="T121" fmla="*/ 9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8" h="212">
                  <a:moveTo>
                    <a:pt x="0" y="80"/>
                  </a:moveTo>
                  <a:lnTo>
                    <a:pt x="0" y="80"/>
                  </a:lnTo>
                  <a:lnTo>
                    <a:pt x="4" y="78"/>
                  </a:lnTo>
                  <a:lnTo>
                    <a:pt x="6" y="74"/>
                  </a:lnTo>
                  <a:lnTo>
                    <a:pt x="8" y="74"/>
                  </a:lnTo>
                  <a:lnTo>
                    <a:pt x="10" y="74"/>
                  </a:lnTo>
                  <a:lnTo>
                    <a:pt x="12" y="72"/>
                  </a:lnTo>
                  <a:lnTo>
                    <a:pt x="14" y="72"/>
                  </a:lnTo>
                  <a:lnTo>
                    <a:pt x="16" y="70"/>
                  </a:lnTo>
                  <a:lnTo>
                    <a:pt x="18" y="70"/>
                  </a:lnTo>
                  <a:lnTo>
                    <a:pt x="24" y="68"/>
                  </a:lnTo>
                  <a:lnTo>
                    <a:pt x="28" y="68"/>
                  </a:lnTo>
                  <a:lnTo>
                    <a:pt x="32" y="68"/>
                  </a:lnTo>
                  <a:lnTo>
                    <a:pt x="38" y="66"/>
                  </a:lnTo>
                  <a:lnTo>
                    <a:pt x="44" y="64"/>
                  </a:lnTo>
                  <a:lnTo>
                    <a:pt x="50" y="64"/>
                  </a:lnTo>
                  <a:lnTo>
                    <a:pt x="56" y="64"/>
                  </a:lnTo>
                  <a:lnTo>
                    <a:pt x="58" y="64"/>
                  </a:lnTo>
                  <a:lnTo>
                    <a:pt x="62" y="64"/>
                  </a:lnTo>
                  <a:lnTo>
                    <a:pt x="64" y="64"/>
                  </a:lnTo>
                  <a:lnTo>
                    <a:pt x="66" y="64"/>
                  </a:lnTo>
                  <a:lnTo>
                    <a:pt x="68" y="64"/>
                  </a:lnTo>
                  <a:lnTo>
                    <a:pt x="70" y="64"/>
                  </a:lnTo>
                  <a:lnTo>
                    <a:pt x="72" y="64"/>
                  </a:lnTo>
                  <a:lnTo>
                    <a:pt x="72" y="66"/>
                  </a:lnTo>
                  <a:lnTo>
                    <a:pt x="74" y="68"/>
                  </a:lnTo>
                  <a:lnTo>
                    <a:pt x="74" y="70"/>
                  </a:lnTo>
                  <a:lnTo>
                    <a:pt x="76" y="70"/>
                  </a:lnTo>
                  <a:lnTo>
                    <a:pt x="76" y="70"/>
                  </a:lnTo>
                  <a:lnTo>
                    <a:pt x="76" y="70"/>
                  </a:lnTo>
                  <a:lnTo>
                    <a:pt x="78" y="72"/>
                  </a:lnTo>
                  <a:lnTo>
                    <a:pt x="80" y="72"/>
                  </a:lnTo>
                  <a:lnTo>
                    <a:pt x="82" y="72"/>
                  </a:lnTo>
                  <a:lnTo>
                    <a:pt x="84" y="72"/>
                  </a:lnTo>
                  <a:lnTo>
                    <a:pt x="86" y="72"/>
                  </a:lnTo>
                  <a:lnTo>
                    <a:pt x="88" y="72"/>
                  </a:lnTo>
                  <a:lnTo>
                    <a:pt x="90" y="72"/>
                  </a:lnTo>
                  <a:lnTo>
                    <a:pt x="90" y="72"/>
                  </a:lnTo>
                  <a:lnTo>
                    <a:pt x="90" y="74"/>
                  </a:lnTo>
                  <a:lnTo>
                    <a:pt x="92" y="74"/>
                  </a:lnTo>
                  <a:lnTo>
                    <a:pt x="92" y="74"/>
                  </a:lnTo>
                  <a:lnTo>
                    <a:pt x="94" y="76"/>
                  </a:lnTo>
                  <a:lnTo>
                    <a:pt x="96" y="78"/>
                  </a:lnTo>
                  <a:lnTo>
                    <a:pt x="96" y="78"/>
                  </a:lnTo>
                  <a:lnTo>
                    <a:pt x="98" y="80"/>
                  </a:lnTo>
                  <a:lnTo>
                    <a:pt x="98" y="80"/>
                  </a:lnTo>
                  <a:lnTo>
                    <a:pt x="100" y="80"/>
                  </a:lnTo>
                  <a:lnTo>
                    <a:pt x="104" y="80"/>
                  </a:lnTo>
                  <a:lnTo>
                    <a:pt x="110" y="82"/>
                  </a:lnTo>
                  <a:lnTo>
                    <a:pt x="112" y="80"/>
                  </a:lnTo>
                  <a:lnTo>
                    <a:pt x="114" y="80"/>
                  </a:lnTo>
                  <a:lnTo>
                    <a:pt x="116" y="80"/>
                  </a:lnTo>
                  <a:lnTo>
                    <a:pt x="118" y="80"/>
                  </a:lnTo>
                  <a:lnTo>
                    <a:pt x="120" y="80"/>
                  </a:lnTo>
                  <a:lnTo>
                    <a:pt x="122" y="80"/>
                  </a:lnTo>
                  <a:lnTo>
                    <a:pt x="124" y="78"/>
                  </a:lnTo>
                  <a:lnTo>
                    <a:pt x="126" y="78"/>
                  </a:lnTo>
                  <a:lnTo>
                    <a:pt x="126" y="76"/>
                  </a:lnTo>
                  <a:lnTo>
                    <a:pt x="128" y="76"/>
                  </a:lnTo>
                  <a:lnTo>
                    <a:pt x="128" y="76"/>
                  </a:lnTo>
                  <a:lnTo>
                    <a:pt x="128" y="74"/>
                  </a:lnTo>
                  <a:lnTo>
                    <a:pt x="128" y="74"/>
                  </a:lnTo>
                  <a:lnTo>
                    <a:pt x="128" y="74"/>
                  </a:lnTo>
                  <a:lnTo>
                    <a:pt x="128" y="72"/>
                  </a:lnTo>
                  <a:lnTo>
                    <a:pt x="128" y="70"/>
                  </a:lnTo>
                  <a:lnTo>
                    <a:pt x="126" y="70"/>
                  </a:lnTo>
                  <a:lnTo>
                    <a:pt x="126" y="68"/>
                  </a:lnTo>
                  <a:lnTo>
                    <a:pt x="124" y="66"/>
                  </a:lnTo>
                  <a:lnTo>
                    <a:pt x="122" y="64"/>
                  </a:lnTo>
                  <a:lnTo>
                    <a:pt x="122" y="62"/>
                  </a:lnTo>
                  <a:lnTo>
                    <a:pt x="120" y="60"/>
                  </a:lnTo>
                  <a:lnTo>
                    <a:pt x="120" y="58"/>
                  </a:lnTo>
                  <a:lnTo>
                    <a:pt x="118" y="58"/>
                  </a:lnTo>
                  <a:lnTo>
                    <a:pt x="116" y="56"/>
                  </a:lnTo>
                  <a:lnTo>
                    <a:pt x="116" y="54"/>
                  </a:lnTo>
                  <a:lnTo>
                    <a:pt x="116" y="54"/>
                  </a:lnTo>
                  <a:lnTo>
                    <a:pt x="114" y="52"/>
                  </a:lnTo>
                  <a:lnTo>
                    <a:pt x="114" y="52"/>
                  </a:lnTo>
                  <a:lnTo>
                    <a:pt x="116" y="52"/>
                  </a:lnTo>
                  <a:lnTo>
                    <a:pt x="116" y="52"/>
                  </a:lnTo>
                  <a:lnTo>
                    <a:pt x="116" y="52"/>
                  </a:lnTo>
                  <a:lnTo>
                    <a:pt x="116" y="50"/>
                  </a:lnTo>
                  <a:lnTo>
                    <a:pt x="118" y="50"/>
                  </a:lnTo>
                  <a:lnTo>
                    <a:pt x="118" y="50"/>
                  </a:lnTo>
                  <a:lnTo>
                    <a:pt x="122" y="52"/>
                  </a:lnTo>
                  <a:lnTo>
                    <a:pt x="124" y="52"/>
                  </a:lnTo>
                  <a:lnTo>
                    <a:pt x="124" y="52"/>
                  </a:lnTo>
                  <a:lnTo>
                    <a:pt x="126" y="52"/>
                  </a:lnTo>
                  <a:lnTo>
                    <a:pt x="126" y="52"/>
                  </a:lnTo>
                  <a:lnTo>
                    <a:pt x="128" y="50"/>
                  </a:lnTo>
                  <a:lnTo>
                    <a:pt x="128" y="50"/>
                  </a:lnTo>
                  <a:lnTo>
                    <a:pt x="128" y="50"/>
                  </a:lnTo>
                  <a:lnTo>
                    <a:pt x="128" y="48"/>
                  </a:lnTo>
                  <a:lnTo>
                    <a:pt x="130" y="48"/>
                  </a:lnTo>
                  <a:lnTo>
                    <a:pt x="130" y="46"/>
                  </a:lnTo>
                  <a:lnTo>
                    <a:pt x="130" y="44"/>
                  </a:lnTo>
                  <a:lnTo>
                    <a:pt x="130" y="42"/>
                  </a:lnTo>
                  <a:lnTo>
                    <a:pt x="130" y="38"/>
                  </a:lnTo>
                  <a:lnTo>
                    <a:pt x="128" y="34"/>
                  </a:lnTo>
                  <a:lnTo>
                    <a:pt x="128" y="32"/>
                  </a:lnTo>
                  <a:lnTo>
                    <a:pt x="128" y="28"/>
                  </a:lnTo>
                  <a:lnTo>
                    <a:pt x="128" y="26"/>
                  </a:lnTo>
                  <a:lnTo>
                    <a:pt x="128" y="22"/>
                  </a:lnTo>
                  <a:lnTo>
                    <a:pt x="126" y="20"/>
                  </a:lnTo>
                  <a:lnTo>
                    <a:pt x="126" y="16"/>
                  </a:lnTo>
                  <a:lnTo>
                    <a:pt x="126" y="12"/>
                  </a:lnTo>
                  <a:lnTo>
                    <a:pt x="126" y="8"/>
                  </a:lnTo>
                  <a:lnTo>
                    <a:pt x="126" y="6"/>
                  </a:lnTo>
                  <a:lnTo>
                    <a:pt x="126" y="4"/>
                  </a:lnTo>
                  <a:lnTo>
                    <a:pt x="126" y="2"/>
                  </a:lnTo>
                  <a:lnTo>
                    <a:pt x="126" y="2"/>
                  </a:lnTo>
                  <a:lnTo>
                    <a:pt x="126" y="0"/>
                  </a:lnTo>
                  <a:lnTo>
                    <a:pt x="128" y="0"/>
                  </a:lnTo>
                  <a:lnTo>
                    <a:pt x="128" y="0"/>
                  </a:lnTo>
                  <a:lnTo>
                    <a:pt x="128" y="0"/>
                  </a:lnTo>
                  <a:lnTo>
                    <a:pt x="130" y="0"/>
                  </a:lnTo>
                  <a:lnTo>
                    <a:pt x="132" y="0"/>
                  </a:lnTo>
                  <a:lnTo>
                    <a:pt x="134" y="0"/>
                  </a:lnTo>
                  <a:lnTo>
                    <a:pt x="134" y="0"/>
                  </a:lnTo>
                  <a:lnTo>
                    <a:pt x="136" y="0"/>
                  </a:lnTo>
                  <a:lnTo>
                    <a:pt x="140" y="2"/>
                  </a:lnTo>
                  <a:lnTo>
                    <a:pt x="148" y="8"/>
                  </a:lnTo>
                  <a:lnTo>
                    <a:pt x="152" y="8"/>
                  </a:lnTo>
                  <a:lnTo>
                    <a:pt x="152" y="10"/>
                  </a:lnTo>
                  <a:lnTo>
                    <a:pt x="154" y="10"/>
                  </a:lnTo>
                  <a:lnTo>
                    <a:pt x="156" y="10"/>
                  </a:lnTo>
                  <a:lnTo>
                    <a:pt x="158" y="10"/>
                  </a:lnTo>
                  <a:lnTo>
                    <a:pt x="164" y="10"/>
                  </a:lnTo>
                  <a:lnTo>
                    <a:pt x="166" y="10"/>
                  </a:lnTo>
                  <a:lnTo>
                    <a:pt x="168" y="10"/>
                  </a:lnTo>
                  <a:lnTo>
                    <a:pt x="170" y="10"/>
                  </a:lnTo>
                  <a:lnTo>
                    <a:pt x="170" y="10"/>
                  </a:lnTo>
                  <a:lnTo>
                    <a:pt x="172" y="12"/>
                  </a:lnTo>
                  <a:lnTo>
                    <a:pt x="174" y="12"/>
                  </a:lnTo>
                  <a:lnTo>
                    <a:pt x="176" y="14"/>
                  </a:lnTo>
                  <a:lnTo>
                    <a:pt x="176" y="14"/>
                  </a:lnTo>
                  <a:lnTo>
                    <a:pt x="178" y="16"/>
                  </a:lnTo>
                  <a:lnTo>
                    <a:pt x="182" y="20"/>
                  </a:lnTo>
                  <a:lnTo>
                    <a:pt x="184" y="24"/>
                  </a:lnTo>
                  <a:lnTo>
                    <a:pt x="186" y="24"/>
                  </a:lnTo>
                  <a:lnTo>
                    <a:pt x="186" y="26"/>
                  </a:lnTo>
                  <a:lnTo>
                    <a:pt x="188" y="30"/>
                  </a:lnTo>
                  <a:lnTo>
                    <a:pt x="188" y="32"/>
                  </a:lnTo>
                  <a:lnTo>
                    <a:pt x="188" y="34"/>
                  </a:lnTo>
                  <a:lnTo>
                    <a:pt x="190" y="36"/>
                  </a:lnTo>
                  <a:lnTo>
                    <a:pt x="190" y="36"/>
                  </a:lnTo>
                  <a:lnTo>
                    <a:pt x="190" y="36"/>
                  </a:lnTo>
                  <a:lnTo>
                    <a:pt x="192" y="36"/>
                  </a:lnTo>
                  <a:lnTo>
                    <a:pt x="192" y="38"/>
                  </a:lnTo>
                  <a:lnTo>
                    <a:pt x="194" y="38"/>
                  </a:lnTo>
                  <a:lnTo>
                    <a:pt x="196" y="38"/>
                  </a:lnTo>
                  <a:lnTo>
                    <a:pt x="198" y="38"/>
                  </a:lnTo>
                  <a:lnTo>
                    <a:pt x="202" y="38"/>
                  </a:lnTo>
                  <a:lnTo>
                    <a:pt x="208" y="36"/>
                  </a:lnTo>
                  <a:lnTo>
                    <a:pt x="210" y="36"/>
                  </a:lnTo>
                  <a:lnTo>
                    <a:pt x="212" y="36"/>
                  </a:lnTo>
                  <a:lnTo>
                    <a:pt x="220" y="36"/>
                  </a:lnTo>
                  <a:lnTo>
                    <a:pt x="228" y="36"/>
                  </a:lnTo>
                  <a:lnTo>
                    <a:pt x="232" y="36"/>
                  </a:lnTo>
                  <a:lnTo>
                    <a:pt x="236" y="38"/>
                  </a:lnTo>
                  <a:lnTo>
                    <a:pt x="240" y="38"/>
                  </a:lnTo>
                  <a:lnTo>
                    <a:pt x="242" y="38"/>
                  </a:lnTo>
                  <a:lnTo>
                    <a:pt x="244" y="38"/>
                  </a:lnTo>
                  <a:lnTo>
                    <a:pt x="246" y="40"/>
                  </a:lnTo>
                  <a:lnTo>
                    <a:pt x="248" y="40"/>
                  </a:lnTo>
                  <a:lnTo>
                    <a:pt x="250" y="42"/>
                  </a:lnTo>
                  <a:lnTo>
                    <a:pt x="252" y="44"/>
                  </a:lnTo>
                  <a:lnTo>
                    <a:pt x="258" y="46"/>
                  </a:lnTo>
                  <a:lnTo>
                    <a:pt x="260" y="48"/>
                  </a:lnTo>
                  <a:lnTo>
                    <a:pt x="262" y="48"/>
                  </a:lnTo>
                  <a:lnTo>
                    <a:pt x="262" y="50"/>
                  </a:lnTo>
                  <a:lnTo>
                    <a:pt x="264" y="50"/>
                  </a:lnTo>
                  <a:lnTo>
                    <a:pt x="268" y="50"/>
                  </a:lnTo>
                  <a:lnTo>
                    <a:pt x="270" y="50"/>
                  </a:lnTo>
                  <a:lnTo>
                    <a:pt x="272" y="52"/>
                  </a:lnTo>
                  <a:lnTo>
                    <a:pt x="274" y="52"/>
                  </a:lnTo>
                  <a:lnTo>
                    <a:pt x="274" y="52"/>
                  </a:lnTo>
                  <a:lnTo>
                    <a:pt x="274" y="52"/>
                  </a:lnTo>
                  <a:lnTo>
                    <a:pt x="276" y="52"/>
                  </a:lnTo>
                  <a:lnTo>
                    <a:pt x="276" y="54"/>
                  </a:lnTo>
                  <a:lnTo>
                    <a:pt x="276" y="54"/>
                  </a:lnTo>
                  <a:lnTo>
                    <a:pt x="276" y="56"/>
                  </a:lnTo>
                  <a:lnTo>
                    <a:pt x="276" y="58"/>
                  </a:lnTo>
                  <a:lnTo>
                    <a:pt x="278" y="60"/>
                  </a:lnTo>
                  <a:lnTo>
                    <a:pt x="278" y="62"/>
                  </a:lnTo>
                  <a:lnTo>
                    <a:pt x="278" y="64"/>
                  </a:lnTo>
                  <a:lnTo>
                    <a:pt x="278" y="64"/>
                  </a:lnTo>
                  <a:lnTo>
                    <a:pt x="278" y="64"/>
                  </a:lnTo>
                  <a:lnTo>
                    <a:pt x="280" y="64"/>
                  </a:lnTo>
                  <a:lnTo>
                    <a:pt x="282" y="66"/>
                  </a:lnTo>
                  <a:lnTo>
                    <a:pt x="284" y="66"/>
                  </a:lnTo>
                  <a:lnTo>
                    <a:pt x="286" y="66"/>
                  </a:lnTo>
                  <a:lnTo>
                    <a:pt x="290" y="66"/>
                  </a:lnTo>
                  <a:lnTo>
                    <a:pt x="292" y="66"/>
                  </a:lnTo>
                  <a:lnTo>
                    <a:pt x="294" y="66"/>
                  </a:lnTo>
                  <a:lnTo>
                    <a:pt x="298" y="66"/>
                  </a:lnTo>
                  <a:lnTo>
                    <a:pt x="300" y="64"/>
                  </a:lnTo>
                  <a:lnTo>
                    <a:pt x="304" y="64"/>
                  </a:lnTo>
                  <a:lnTo>
                    <a:pt x="306" y="64"/>
                  </a:lnTo>
                  <a:lnTo>
                    <a:pt x="308" y="62"/>
                  </a:lnTo>
                  <a:lnTo>
                    <a:pt x="310" y="62"/>
                  </a:lnTo>
                  <a:lnTo>
                    <a:pt x="314" y="60"/>
                  </a:lnTo>
                  <a:lnTo>
                    <a:pt x="314" y="60"/>
                  </a:lnTo>
                  <a:lnTo>
                    <a:pt x="316" y="58"/>
                  </a:lnTo>
                  <a:lnTo>
                    <a:pt x="316" y="58"/>
                  </a:lnTo>
                  <a:lnTo>
                    <a:pt x="318" y="58"/>
                  </a:lnTo>
                  <a:lnTo>
                    <a:pt x="318" y="56"/>
                  </a:lnTo>
                  <a:lnTo>
                    <a:pt x="318" y="56"/>
                  </a:lnTo>
                  <a:lnTo>
                    <a:pt x="320" y="54"/>
                  </a:lnTo>
                  <a:lnTo>
                    <a:pt x="320" y="52"/>
                  </a:lnTo>
                  <a:lnTo>
                    <a:pt x="322" y="50"/>
                  </a:lnTo>
                  <a:lnTo>
                    <a:pt x="322" y="50"/>
                  </a:lnTo>
                  <a:lnTo>
                    <a:pt x="322" y="50"/>
                  </a:lnTo>
                  <a:lnTo>
                    <a:pt x="322" y="50"/>
                  </a:lnTo>
                  <a:lnTo>
                    <a:pt x="322" y="48"/>
                  </a:lnTo>
                  <a:lnTo>
                    <a:pt x="324" y="48"/>
                  </a:lnTo>
                  <a:lnTo>
                    <a:pt x="324" y="48"/>
                  </a:lnTo>
                  <a:lnTo>
                    <a:pt x="324" y="50"/>
                  </a:lnTo>
                  <a:lnTo>
                    <a:pt x="326" y="50"/>
                  </a:lnTo>
                  <a:lnTo>
                    <a:pt x="328" y="50"/>
                  </a:lnTo>
                  <a:lnTo>
                    <a:pt x="330" y="52"/>
                  </a:lnTo>
                  <a:lnTo>
                    <a:pt x="330" y="54"/>
                  </a:lnTo>
                  <a:lnTo>
                    <a:pt x="332" y="56"/>
                  </a:lnTo>
                  <a:lnTo>
                    <a:pt x="334" y="56"/>
                  </a:lnTo>
                  <a:lnTo>
                    <a:pt x="334" y="56"/>
                  </a:lnTo>
                  <a:lnTo>
                    <a:pt x="334" y="56"/>
                  </a:lnTo>
                  <a:lnTo>
                    <a:pt x="336" y="56"/>
                  </a:lnTo>
                  <a:lnTo>
                    <a:pt x="336" y="56"/>
                  </a:lnTo>
                  <a:lnTo>
                    <a:pt x="338" y="56"/>
                  </a:lnTo>
                  <a:lnTo>
                    <a:pt x="338" y="54"/>
                  </a:lnTo>
                  <a:lnTo>
                    <a:pt x="340" y="54"/>
                  </a:lnTo>
                  <a:lnTo>
                    <a:pt x="342" y="52"/>
                  </a:lnTo>
                  <a:lnTo>
                    <a:pt x="344" y="50"/>
                  </a:lnTo>
                  <a:lnTo>
                    <a:pt x="346" y="46"/>
                  </a:lnTo>
                  <a:lnTo>
                    <a:pt x="348" y="44"/>
                  </a:lnTo>
                  <a:lnTo>
                    <a:pt x="350" y="44"/>
                  </a:lnTo>
                  <a:lnTo>
                    <a:pt x="352" y="42"/>
                  </a:lnTo>
                  <a:lnTo>
                    <a:pt x="352" y="42"/>
                  </a:lnTo>
                  <a:lnTo>
                    <a:pt x="354" y="42"/>
                  </a:lnTo>
                  <a:lnTo>
                    <a:pt x="354" y="40"/>
                  </a:lnTo>
                  <a:lnTo>
                    <a:pt x="356" y="40"/>
                  </a:lnTo>
                  <a:lnTo>
                    <a:pt x="358" y="40"/>
                  </a:lnTo>
                  <a:lnTo>
                    <a:pt x="360" y="40"/>
                  </a:lnTo>
                  <a:lnTo>
                    <a:pt x="362" y="40"/>
                  </a:lnTo>
                  <a:lnTo>
                    <a:pt x="364" y="40"/>
                  </a:lnTo>
                  <a:lnTo>
                    <a:pt x="366" y="40"/>
                  </a:lnTo>
                  <a:lnTo>
                    <a:pt x="368" y="40"/>
                  </a:lnTo>
                  <a:lnTo>
                    <a:pt x="368" y="40"/>
                  </a:lnTo>
                  <a:lnTo>
                    <a:pt x="370" y="42"/>
                  </a:lnTo>
                  <a:lnTo>
                    <a:pt x="372" y="42"/>
                  </a:lnTo>
                  <a:lnTo>
                    <a:pt x="374" y="44"/>
                  </a:lnTo>
                  <a:lnTo>
                    <a:pt x="378" y="46"/>
                  </a:lnTo>
                  <a:lnTo>
                    <a:pt x="380" y="48"/>
                  </a:lnTo>
                  <a:lnTo>
                    <a:pt x="378" y="52"/>
                  </a:lnTo>
                  <a:lnTo>
                    <a:pt x="376" y="56"/>
                  </a:lnTo>
                  <a:lnTo>
                    <a:pt x="376" y="58"/>
                  </a:lnTo>
                  <a:lnTo>
                    <a:pt x="376" y="60"/>
                  </a:lnTo>
                  <a:lnTo>
                    <a:pt x="376" y="62"/>
                  </a:lnTo>
                  <a:lnTo>
                    <a:pt x="376" y="66"/>
                  </a:lnTo>
                  <a:lnTo>
                    <a:pt x="376" y="72"/>
                  </a:lnTo>
                  <a:lnTo>
                    <a:pt x="376" y="76"/>
                  </a:lnTo>
                  <a:lnTo>
                    <a:pt x="376" y="80"/>
                  </a:lnTo>
                  <a:lnTo>
                    <a:pt x="376" y="84"/>
                  </a:lnTo>
                  <a:lnTo>
                    <a:pt x="376" y="88"/>
                  </a:lnTo>
                  <a:lnTo>
                    <a:pt x="378" y="92"/>
                  </a:lnTo>
                  <a:lnTo>
                    <a:pt x="378" y="92"/>
                  </a:lnTo>
                  <a:lnTo>
                    <a:pt x="378" y="94"/>
                  </a:lnTo>
                  <a:lnTo>
                    <a:pt x="380" y="96"/>
                  </a:lnTo>
                  <a:lnTo>
                    <a:pt x="380" y="96"/>
                  </a:lnTo>
                  <a:lnTo>
                    <a:pt x="380" y="96"/>
                  </a:lnTo>
                  <a:lnTo>
                    <a:pt x="380" y="98"/>
                  </a:lnTo>
                  <a:lnTo>
                    <a:pt x="382" y="98"/>
                  </a:lnTo>
                  <a:lnTo>
                    <a:pt x="382" y="98"/>
                  </a:lnTo>
                  <a:lnTo>
                    <a:pt x="384" y="98"/>
                  </a:lnTo>
                  <a:lnTo>
                    <a:pt x="386" y="96"/>
                  </a:lnTo>
                  <a:lnTo>
                    <a:pt x="386" y="96"/>
                  </a:lnTo>
                  <a:lnTo>
                    <a:pt x="390" y="94"/>
                  </a:lnTo>
                  <a:lnTo>
                    <a:pt x="392" y="94"/>
                  </a:lnTo>
                  <a:lnTo>
                    <a:pt x="392" y="94"/>
                  </a:lnTo>
                  <a:lnTo>
                    <a:pt x="398" y="92"/>
                  </a:lnTo>
                  <a:lnTo>
                    <a:pt x="402" y="92"/>
                  </a:lnTo>
                  <a:lnTo>
                    <a:pt x="404" y="92"/>
                  </a:lnTo>
                  <a:lnTo>
                    <a:pt x="408" y="92"/>
                  </a:lnTo>
                  <a:lnTo>
                    <a:pt x="412" y="90"/>
                  </a:lnTo>
                  <a:lnTo>
                    <a:pt x="412" y="90"/>
                  </a:lnTo>
                  <a:lnTo>
                    <a:pt x="414" y="90"/>
                  </a:lnTo>
                  <a:lnTo>
                    <a:pt x="414" y="92"/>
                  </a:lnTo>
                  <a:lnTo>
                    <a:pt x="416" y="92"/>
                  </a:lnTo>
                  <a:lnTo>
                    <a:pt x="418" y="92"/>
                  </a:lnTo>
                  <a:lnTo>
                    <a:pt x="420" y="94"/>
                  </a:lnTo>
                  <a:lnTo>
                    <a:pt x="422" y="96"/>
                  </a:lnTo>
                  <a:lnTo>
                    <a:pt x="424" y="98"/>
                  </a:lnTo>
                  <a:lnTo>
                    <a:pt x="426" y="100"/>
                  </a:lnTo>
                  <a:lnTo>
                    <a:pt x="426" y="102"/>
                  </a:lnTo>
                  <a:lnTo>
                    <a:pt x="426" y="102"/>
                  </a:lnTo>
                  <a:lnTo>
                    <a:pt x="428" y="104"/>
                  </a:lnTo>
                  <a:lnTo>
                    <a:pt x="428" y="104"/>
                  </a:lnTo>
                  <a:lnTo>
                    <a:pt x="428" y="106"/>
                  </a:lnTo>
                  <a:lnTo>
                    <a:pt x="428" y="106"/>
                  </a:lnTo>
                  <a:lnTo>
                    <a:pt x="426" y="108"/>
                  </a:lnTo>
                  <a:lnTo>
                    <a:pt x="426" y="108"/>
                  </a:lnTo>
                  <a:lnTo>
                    <a:pt x="426" y="110"/>
                  </a:lnTo>
                  <a:lnTo>
                    <a:pt x="424" y="110"/>
                  </a:lnTo>
                  <a:lnTo>
                    <a:pt x="422" y="112"/>
                  </a:lnTo>
                  <a:lnTo>
                    <a:pt x="420" y="112"/>
                  </a:lnTo>
                  <a:lnTo>
                    <a:pt x="416" y="114"/>
                  </a:lnTo>
                  <a:lnTo>
                    <a:pt x="412" y="114"/>
                  </a:lnTo>
                  <a:lnTo>
                    <a:pt x="408" y="116"/>
                  </a:lnTo>
                  <a:lnTo>
                    <a:pt x="406" y="116"/>
                  </a:lnTo>
                  <a:lnTo>
                    <a:pt x="404" y="118"/>
                  </a:lnTo>
                  <a:lnTo>
                    <a:pt x="402" y="118"/>
                  </a:lnTo>
                  <a:lnTo>
                    <a:pt x="398" y="120"/>
                  </a:lnTo>
                  <a:lnTo>
                    <a:pt x="392" y="124"/>
                  </a:lnTo>
                  <a:lnTo>
                    <a:pt x="386" y="128"/>
                  </a:lnTo>
                  <a:lnTo>
                    <a:pt x="380" y="130"/>
                  </a:lnTo>
                  <a:lnTo>
                    <a:pt x="378" y="132"/>
                  </a:lnTo>
                  <a:lnTo>
                    <a:pt x="374" y="136"/>
                  </a:lnTo>
                  <a:lnTo>
                    <a:pt x="372" y="138"/>
                  </a:lnTo>
                  <a:lnTo>
                    <a:pt x="368" y="140"/>
                  </a:lnTo>
                  <a:lnTo>
                    <a:pt x="366" y="142"/>
                  </a:lnTo>
                  <a:lnTo>
                    <a:pt x="366" y="144"/>
                  </a:lnTo>
                  <a:lnTo>
                    <a:pt x="362" y="148"/>
                  </a:lnTo>
                  <a:lnTo>
                    <a:pt x="360" y="150"/>
                  </a:lnTo>
                  <a:lnTo>
                    <a:pt x="358" y="152"/>
                  </a:lnTo>
                  <a:lnTo>
                    <a:pt x="358" y="152"/>
                  </a:lnTo>
                  <a:lnTo>
                    <a:pt x="356" y="154"/>
                  </a:lnTo>
                  <a:lnTo>
                    <a:pt x="356" y="154"/>
                  </a:lnTo>
                  <a:lnTo>
                    <a:pt x="354" y="154"/>
                  </a:lnTo>
                  <a:lnTo>
                    <a:pt x="354" y="154"/>
                  </a:lnTo>
                  <a:lnTo>
                    <a:pt x="352" y="154"/>
                  </a:lnTo>
                  <a:lnTo>
                    <a:pt x="350" y="154"/>
                  </a:lnTo>
                  <a:lnTo>
                    <a:pt x="350" y="154"/>
                  </a:lnTo>
                  <a:lnTo>
                    <a:pt x="346" y="152"/>
                  </a:lnTo>
                  <a:lnTo>
                    <a:pt x="344" y="150"/>
                  </a:lnTo>
                  <a:lnTo>
                    <a:pt x="342" y="148"/>
                  </a:lnTo>
                  <a:lnTo>
                    <a:pt x="340" y="148"/>
                  </a:lnTo>
                  <a:lnTo>
                    <a:pt x="338" y="148"/>
                  </a:lnTo>
                  <a:lnTo>
                    <a:pt x="338" y="148"/>
                  </a:lnTo>
                  <a:lnTo>
                    <a:pt x="336" y="148"/>
                  </a:lnTo>
                  <a:lnTo>
                    <a:pt x="336" y="148"/>
                  </a:lnTo>
                  <a:lnTo>
                    <a:pt x="334" y="148"/>
                  </a:lnTo>
                  <a:lnTo>
                    <a:pt x="334" y="148"/>
                  </a:lnTo>
                  <a:lnTo>
                    <a:pt x="334" y="150"/>
                  </a:lnTo>
                  <a:lnTo>
                    <a:pt x="334" y="150"/>
                  </a:lnTo>
                  <a:lnTo>
                    <a:pt x="334" y="152"/>
                  </a:lnTo>
                  <a:lnTo>
                    <a:pt x="334" y="152"/>
                  </a:lnTo>
                  <a:lnTo>
                    <a:pt x="334" y="156"/>
                  </a:lnTo>
                  <a:lnTo>
                    <a:pt x="334" y="160"/>
                  </a:lnTo>
                  <a:lnTo>
                    <a:pt x="336" y="162"/>
                  </a:lnTo>
                  <a:lnTo>
                    <a:pt x="336" y="164"/>
                  </a:lnTo>
                  <a:lnTo>
                    <a:pt x="336" y="168"/>
                  </a:lnTo>
                  <a:lnTo>
                    <a:pt x="336" y="174"/>
                  </a:lnTo>
                  <a:lnTo>
                    <a:pt x="334" y="176"/>
                  </a:lnTo>
                  <a:lnTo>
                    <a:pt x="334" y="178"/>
                  </a:lnTo>
                  <a:lnTo>
                    <a:pt x="334" y="180"/>
                  </a:lnTo>
                  <a:lnTo>
                    <a:pt x="334" y="182"/>
                  </a:lnTo>
                  <a:lnTo>
                    <a:pt x="332" y="182"/>
                  </a:lnTo>
                  <a:lnTo>
                    <a:pt x="332" y="184"/>
                  </a:lnTo>
                  <a:lnTo>
                    <a:pt x="328" y="188"/>
                  </a:lnTo>
                  <a:lnTo>
                    <a:pt x="326" y="190"/>
                  </a:lnTo>
                  <a:lnTo>
                    <a:pt x="322" y="192"/>
                  </a:lnTo>
                  <a:lnTo>
                    <a:pt x="320" y="196"/>
                  </a:lnTo>
                  <a:lnTo>
                    <a:pt x="316" y="198"/>
                  </a:lnTo>
                  <a:lnTo>
                    <a:pt x="314" y="198"/>
                  </a:lnTo>
                  <a:lnTo>
                    <a:pt x="314" y="200"/>
                  </a:lnTo>
                  <a:lnTo>
                    <a:pt x="312" y="200"/>
                  </a:lnTo>
                  <a:lnTo>
                    <a:pt x="310" y="200"/>
                  </a:lnTo>
                  <a:lnTo>
                    <a:pt x="308" y="200"/>
                  </a:lnTo>
                  <a:lnTo>
                    <a:pt x="308" y="202"/>
                  </a:lnTo>
                  <a:lnTo>
                    <a:pt x="306" y="200"/>
                  </a:lnTo>
                  <a:lnTo>
                    <a:pt x="304" y="200"/>
                  </a:lnTo>
                  <a:lnTo>
                    <a:pt x="300" y="200"/>
                  </a:lnTo>
                  <a:lnTo>
                    <a:pt x="296" y="198"/>
                  </a:lnTo>
                  <a:lnTo>
                    <a:pt x="292" y="198"/>
                  </a:lnTo>
                  <a:lnTo>
                    <a:pt x="288" y="196"/>
                  </a:lnTo>
                  <a:lnTo>
                    <a:pt x="286" y="196"/>
                  </a:lnTo>
                  <a:lnTo>
                    <a:pt x="284" y="196"/>
                  </a:lnTo>
                  <a:lnTo>
                    <a:pt x="282" y="196"/>
                  </a:lnTo>
                  <a:lnTo>
                    <a:pt x="282" y="196"/>
                  </a:lnTo>
                  <a:lnTo>
                    <a:pt x="280" y="198"/>
                  </a:lnTo>
                  <a:lnTo>
                    <a:pt x="280" y="198"/>
                  </a:lnTo>
                  <a:lnTo>
                    <a:pt x="278" y="198"/>
                  </a:lnTo>
                  <a:lnTo>
                    <a:pt x="278" y="200"/>
                  </a:lnTo>
                  <a:lnTo>
                    <a:pt x="276" y="202"/>
                  </a:lnTo>
                  <a:lnTo>
                    <a:pt x="272" y="204"/>
                  </a:lnTo>
                  <a:lnTo>
                    <a:pt x="272" y="204"/>
                  </a:lnTo>
                  <a:lnTo>
                    <a:pt x="270" y="206"/>
                  </a:lnTo>
                  <a:lnTo>
                    <a:pt x="268" y="206"/>
                  </a:lnTo>
                  <a:lnTo>
                    <a:pt x="266" y="208"/>
                  </a:lnTo>
                  <a:lnTo>
                    <a:pt x="262" y="208"/>
                  </a:lnTo>
                  <a:lnTo>
                    <a:pt x="260" y="210"/>
                  </a:lnTo>
                  <a:lnTo>
                    <a:pt x="256" y="210"/>
                  </a:lnTo>
                  <a:lnTo>
                    <a:pt x="254" y="212"/>
                  </a:lnTo>
                  <a:lnTo>
                    <a:pt x="250" y="212"/>
                  </a:lnTo>
                  <a:lnTo>
                    <a:pt x="250" y="212"/>
                  </a:lnTo>
                  <a:lnTo>
                    <a:pt x="248" y="212"/>
                  </a:lnTo>
                  <a:lnTo>
                    <a:pt x="248" y="212"/>
                  </a:lnTo>
                  <a:lnTo>
                    <a:pt x="246" y="212"/>
                  </a:lnTo>
                  <a:lnTo>
                    <a:pt x="244" y="210"/>
                  </a:lnTo>
                  <a:lnTo>
                    <a:pt x="244" y="210"/>
                  </a:lnTo>
                  <a:lnTo>
                    <a:pt x="240" y="208"/>
                  </a:lnTo>
                  <a:lnTo>
                    <a:pt x="238" y="208"/>
                  </a:lnTo>
                  <a:lnTo>
                    <a:pt x="232" y="204"/>
                  </a:lnTo>
                  <a:lnTo>
                    <a:pt x="230" y="202"/>
                  </a:lnTo>
                  <a:lnTo>
                    <a:pt x="228" y="200"/>
                  </a:lnTo>
                  <a:lnTo>
                    <a:pt x="224" y="200"/>
                  </a:lnTo>
                  <a:lnTo>
                    <a:pt x="218" y="198"/>
                  </a:lnTo>
                  <a:lnTo>
                    <a:pt x="214" y="196"/>
                  </a:lnTo>
                  <a:lnTo>
                    <a:pt x="210" y="196"/>
                  </a:lnTo>
                  <a:lnTo>
                    <a:pt x="206" y="196"/>
                  </a:lnTo>
                  <a:lnTo>
                    <a:pt x="202" y="194"/>
                  </a:lnTo>
                  <a:lnTo>
                    <a:pt x="196" y="194"/>
                  </a:lnTo>
                  <a:lnTo>
                    <a:pt x="192" y="194"/>
                  </a:lnTo>
                  <a:lnTo>
                    <a:pt x="180" y="194"/>
                  </a:lnTo>
                  <a:lnTo>
                    <a:pt x="168" y="194"/>
                  </a:lnTo>
                  <a:lnTo>
                    <a:pt x="162" y="194"/>
                  </a:lnTo>
                  <a:lnTo>
                    <a:pt x="158" y="194"/>
                  </a:lnTo>
                  <a:lnTo>
                    <a:pt x="152" y="194"/>
                  </a:lnTo>
                  <a:lnTo>
                    <a:pt x="146" y="194"/>
                  </a:lnTo>
                  <a:lnTo>
                    <a:pt x="142" y="192"/>
                  </a:lnTo>
                  <a:lnTo>
                    <a:pt x="136" y="192"/>
                  </a:lnTo>
                  <a:lnTo>
                    <a:pt x="134" y="192"/>
                  </a:lnTo>
                  <a:lnTo>
                    <a:pt x="132" y="190"/>
                  </a:lnTo>
                  <a:lnTo>
                    <a:pt x="130" y="190"/>
                  </a:lnTo>
                  <a:lnTo>
                    <a:pt x="130" y="190"/>
                  </a:lnTo>
                  <a:lnTo>
                    <a:pt x="128" y="188"/>
                  </a:lnTo>
                  <a:lnTo>
                    <a:pt x="126" y="188"/>
                  </a:lnTo>
                  <a:lnTo>
                    <a:pt x="124" y="186"/>
                  </a:lnTo>
                  <a:lnTo>
                    <a:pt x="124" y="184"/>
                  </a:lnTo>
                  <a:lnTo>
                    <a:pt x="120" y="182"/>
                  </a:lnTo>
                  <a:lnTo>
                    <a:pt x="118" y="180"/>
                  </a:lnTo>
                  <a:lnTo>
                    <a:pt x="118" y="178"/>
                  </a:lnTo>
                  <a:lnTo>
                    <a:pt x="116" y="176"/>
                  </a:lnTo>
                  <a:lnTo>
                    <a:pt x="114" y="170"/>
                  </a:lnTo>
                  <a:lnTo>
                    <a:pt x="112" y="168"/>
                  </a:lnTo>
                  <a:lnTo>
                    <a:pt x="112" y="166"/>
                  </a:lnTo>
                  <a:lnTo>
                    <a:pt x="110" y="164"/>
                  </a:lnTo>
                  <a:lnTo>
                    <a:pt x="110" y="162"/>
                  </a:lnTo>
                  <a:lnTo>
                    <a:pt x="108" y="162"/>
                  </a:lnTo>
                  <a:lnTo>
                    <a:pt x="108" y="160"/>
                  </a:lnTo>
                  <a:lnTo>
                    <a:pt x="106" y="160"/>
                  </a:lnTo>
                  <a:lnTo>
                    <a:pt x="104" y="158"/>
                  </a:lnTo>
                  <a:lnTo>
                    <a:pt x="102" y="156"/>
                  </a:lnTo>
                  <a:lnTo>
                    <a:pt x="96" y="154"/>
                  </a:lnTo>
                  <a:lnTo>
                    <a:pt x="92" y="152"/>
                  </a:lnTo>
                  <a:lnTo>
                    <a:pt x="90" y="152"/>
                  </a:lnTo>
                  <a:lnTo>
                    <a:pt x="84" y="150"/>
                  </a:lnTo>
                  <a:lnTo>
                    <a:pt x="78" y="150"/>
                  </a:lnTo>
                  <a:lnTo>
                    <a:pt x="74" y="148"/>
                  </a:lnTo>
                  <a:lnTo>
                    <a:pt x="70" y="148"/>
                  </a:lnTo>
                  <a:lnTo>
                    <a:pt x="60" y="148"/>
                  </a:lnTo>
                  <a:lnTo>
                    <a:pt x="56" y="146"/>
                  </a:lnTo>
                  <a:lnTo>
                    <a:pt x="54" y="146"/>
                  </a:lnTo>
                  <a:lnTo>
                    <a:pt x="52" y="146"/>
                  </a:lnTo>
                  <a:lnTo>
                    <a:pt x="50" y="146"/>
                  </a:lnTo>
                  <a:lnTo>
                    <a:pt x="48" y="144"/>
                  </a:lnTo>
                  <a:lnTo>
                    <a:pt x="46" y="144"/>
                  </a:lnTo>
                  <a:lnTo>
                    <a:pt x="44" y="142"/>
                  </a:lnTo>
                  <a:lnTo>
                    <a:pt x="44" y="142"/>
                  </a:lnTo>
                  <a:lnTo>
                    <a:pt x="42" y="142"/>
                  </a:lnTo>
                  <a:lnTo>
                    <a:pt x="42" y="140"/>
                  </a:lnTo>
                  <a:lnTo>
                    <a:pt x="42" y="138"/>
                  </a:lnTo>
                  <a:lnTo>
                    <a:pt x="40" y="136"/>
                  </a:lnTo>
                  <a:lnTo>
                    <a:pt x="38" y="132"/>
                  </a:lnTo>
                  <a:lnTo>
                    <a:pt x="38" y="128"/>
                  </a:lnTo>
                  <a:lnTo>
                    <a:pt x="36" y="124"/>
                  </a:lnTo>
                  <a:lnTo>
                    <a:pt x="36" y="122"/>
                  </a:lnTo>
                  <a:lnTo>
                    <a:pt x="34" y="118"/>
                  </a:lnTo>
                  <a:lnTo>
                    <a:pt x="34" y="118"/>
                  </a:lnTo>
                  <a:lnTo>
                    <a:pt x="34" y="116"/>
                  </a:lnTo>
                  <a:lnTo>
                    <a:pt x="32" y="110"/>
                  </a:lnTo>
                  <a:lnTo>
                    <a:pt x="32" y="108"/>
                  </a:lnTo>
                  <a:lnTo>
                    <a:pt x="32" y="106"/>
                  </a:lnTo>
                  <a:lnTo>
                    <a:pt x="30" y="104"/>
                  </a:lnTo>
                  <a:lnTo>
                    <a:pt x="30" y="104"/>
                  </a:lnTo>
                  <a:lnTo>
                    <a:pt x="30" y="102"/>
                  </a:lnTo>
                  <a:lnTo>
                    <a:pt x="28" y="102"/>
                  </a:lnTo>
                  <a:lnTo>
                    <a:pt x="28" y="102"/>
                  </a:lnTo>
                  <a:lnTo>
                    <a:pt x="26" y="100"/>
                  </a:lnTo>
                  <a:lnTo>
                    <a:pt x="26" y="100"/>
                  </a:lnTo>
                  <a:lnTo>
                    <a:pt x="22" y="98"/>
                  </a:lnTo>
                  <a:lnTo>
                    <a:pt x="18" y="96"/>
                  </a:lnTo>
                  <a:lnTo>
                    <a:pt x="16" y="96"/>
                  </a:lnTo>
                  <a:lnTo>
                    <a:pt x="12" y="94"/>
                  </a:lnTo>
                  <a:lnTo>
                    <a:pt x="10" y="92"/>
                  </a:lnTo>
                  <a:lnTo>
                    <a:pt x="8" y="92"/>
                  </a:lnTo>
                  <a:lnTo>
                    <a:pt x="8" y="92"/>
                  </a:lnTo>
                  <a:lnTo>
                    <a:pt x="6" y="90"/>
                  </a:lnTo>
                  <a:lnTo>
                    <a:pt x="6" y="88"/>
                  </a:lnTo>
                  <a:lnTo>
                    <a:pt x="4" y="86"/>
                  </a:lnTo>
                  <a:lnTo>
                    <a:pt x="0" y="8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7" name="Freeform 125">
              <a:extLst>
                <a:ext uri="{FF2B5EF4-FFF2-40B4-BE49-F238E27FC236}">
                  <a16:creationId xmlns:a16="http://schemas.microsoft.com/office/drawing/2014/main" id="{6AC4DD49-91A9-49ED-9D7D-80DA4EDC05AD}"/>
                </a:ext>
              </a:extLst>
            </p:cNvPr>
            <p:cNvSpPr>
              <a:spLocks/>
            </p:cNvSpPr>
            <p:nvPr/>
          </p:nvSpPr>
          <p:spPr bwMode="auto">
            <a:xfrm>
              <a:off x="6361558" y="3031917"/>
              <a:ext cx="741328" cy="367200"/>
            </a:xfrm>
            <a:custGeom>
              <a:avLst/>
              <a:gdLst>
                <a:gd name="T0" fmla="*/ 14 w 428"/>
                <a:gd name="T1" fmla="*/ 72 h 212"/>
                <a:gd name="T2" fmla="*/ 50 w 428"/>
                <a:gd name="T3" fmla="*/ 64 h 212"/>
                <a:gd name="T4" fmla="*/ 72 w 428"/>
                <a:gd name="T5" fmla="*/ 64 h 212"/>
                <a:gd name="T6" fmla="*/ 80 w 428"/>
                <a:gd name="T7" fmla="*/ 72 h 212"/>
                <a:gd name="T8" fmla="*/ 92 w 428"/>
                <a:gd name="T9" fmla="*/ 74 h 212"/>
                <a:gd name="T10" fmla="*/ 104 w 428"/>
                <a:gd name="T11" fmla="*/ 80 h 212"/>
                <a:gd name="T12" fmla="*/ 124 w 428"/>
                <a:gd name="T13" fmla="*/ 78 h 212"/>
                <a:gd name="T14" fmla="*/ 128 w 428"/>
                <a:gd name="T15" fmla="*/ 72 h 212"/>
                <a:gd name="T16" fmla="*/ 120 w 428"/>
                <a:gd name="T17" fmla="*/ 58 h 212"/>
                <a:gd name="T18" fmla="*/ 116 w 428"/>
                <a:gd name="T19" fmla="*/ 52 h 212"/>
                <a:gd name="T20" fmla="*/ 126 w 428"/>
                <a:gd name="T21" fmla="*/ 52 h 212"/>
                <a:gd name="T22" fmla="*/ 130 w 428"/>
                <a:gd name="T23" fmla="*/ 44 h 212"/>
                <a:gd name="T24" fmla="*/ 126 w 428"/>
                <a:gd name="T25" fmla="*/ 20 h 212"/>
                <a:gd name="T26" fmla="*/ 126 w 428"/>
                <a:gd name="T27" fmla="*/ 0 h 212"/>
                <a:gd name="T28" fmla="*/ 136 w 428"/>
                <a:gd name="T29" fmla="*/ 0 h 212"/>
                <a:gd name="T30" fmla="*/ 164 w 428"/>
                <a:gd name="T31" fmla="*/ 10 h 212"/>
                <a:gd name="T32" fmla="*/ 176 w 428"/>
                <a:gd name="T33" fmla="*/ 14 h 212"/>
                <a:gd name="T34" fmla="*/ 188 w 428"/>
                <a:gd name="T35" fmla="*/ 34 h 212"/>
                <a:gd name="T36" fmla="*/ 198 w 428"/>
                <a:gd name="T37" fmla="*/ 38 h 212"/>
                <a:gd name="T38" fmla="*/ 236 w 428"/>
                <a:gd name="T39" fmla="*/ 38 h 212"/>
                <a:gd name="T40" fmla="*/ 258 w 428"/>
                <a:gd name="T41" fmla="*/ 46 h 212"/>
                <a:gd name="T42" fmla="*/ 274 w 428"/>
                <a:gd name="T43" fmla="*/ 52 h 212"/>
                <a:gd name="T44" fmla="*/ 278 w 428"/>
                <a:gd name="T45" fmla="*/ 60 h 212"/>
                <a:gd name="T46" fmla="*/ 286 w 428"/>
                <a:gd name="T47" fmla="*/ 66 h 212"/>
                <a:gd name="T48" fmla="*/ 308 w 428"/>
                <a:gd name="T49" fmla="*/ 62 h 212"/>
                <a:gd name="T50" fmla="*/ 318 w 428"/>
                <a:gd name="T51" fmla="*/ 56 h 212"/>
                <a:gd name="T52" fmla="*/ 324 w 428"/>
                <a:gd name="T53" fmla="*/ 48 h 212"/>
                <a:gd name="T54" fmla="*/ 334 w 428"/>
                <a:gd name="T55" fmla="*/ 56 h 212"/>
                <a:gd name="T56" fmla="*/ 342 w 428"/>
                <a:gd name="T57" fmla="*/ 52 h 212"/>
                <a:gd name="T58" fmla="*/ 354 w 428"/>
                <a:gd name="T59" fmla="*/ 40 h 212"/>
                <a:gd name="T60" fmla="*/ 368 w 428"/>
                <a:gd name="T61" fmla="*/ 40 h 212"/>
                <a:gd name="T62" fmla="*/ 376 w 428"/>
                <a:gd name="T63" fmla="*/ 58 h 212"/>
                <a:gd name="T64" fmla="*/ 376 w 428"/>
                <a:gd name="T65" fmla="*/ 88 h 212"/>
                <a:gd name="T66" fmla="*/ 382 w 428"/>
                <a:gd name="T67" fmla="*/ 98 h 212"/>
                <a:gd name="T68" fmla="*/ 398 w 428"/>
                <a:gd name="T69" fmla="*/ 92 h 212"/>
                <a:gd name="T70" fmla="*/ 416 w 428"/>
                <a:gd name="T71" fmla="*/ 92 h 212"/>
                <a:gd name="T72" fmla="*/ 428 w 428"/>
                <a:gd name="T73" fmla="*/ 104 h 212"/>
                <a:gd name="T74" fmla="*/ 422 w 428"/>
                <a:gd name="T75" fmla="*/ 112 h 212"/>
                <a:gd name="T76" fmla="*/ 398 w 428"/>
                <a:gd name="T77" fmla="*/ 120 h 212"/>
                <a:gd name="T78" fmla="*/ 366 w 428"/>
                <a:gd name="T79" fmla="*/ 142 h 212"/>
                <a:gd name="T80" fmla="*/ 354 w 428"/>
                <a:gd name="T81" fmla="*/ 154 h 212"/>
                <a:gd name="T82" fmla="*/ 340 w 428"/>
                <a:gd name="T83" fmla="*/ 148 h 212"/>
                <a:gd name="T84" fmla="*/ 334 w 428"/>
                <a:gd name="T85" fmla="*/ 150 h 212"/>
                <a:gd name="T86" fmla="*/ 336 w 428"/>
                <a:gd name="T87" fmla="*/ 174 h 212"/>
                <a:gd name="T88" fmla="*/ 326 w 428"/>
                <a:gd name="T89" fmla="*/ 190 h 212"/>
                <a:gd name="T90" fmla="*/ 308 w 428"/>
                <a:gd name="T91" fmla="*/ 200 h 212"/>
                <a:gd name="T92" fmla="*/ 286 w 428"/>
                <a:gd name="T93" fmla="*/ 196 h 212"/>
                <a:gd name="T94" fmla="*/ 276 w 428"/>
                <a:gd name="T95" fmla="*/ 202 h 212"/>
                <a:gd name="T96" fmla="*/ 256 w 428"/>
                <a:gd name="T97" fmla="*/ 210 h 212"/>
                <a:gd name="T98" fmla="*/ 244 w 428"/>
                <a:gd name="T99" fmla="*/ 210 h 212"/>
                <a:gd name="T100" fmla="*/ 214 w 428"/>
                <a:gd name="T101" fmla="*/ 196 h 212"/>
                <a:gd name="T102" fmla="*/ 162 w 428"/>
                <a:gd name="T103" fmla="*/ 194 h 212"/>
                <a:gd name="T104" fmla="*/ 130 w 428"/>
                <a:gd name="T105" fmla="*/ 190 h 212"/>
                <a:gd name="T106" fmla="*/ 118 w 428"/>
                <a:gd name="T107" fmla="*/ 178 h 212"/>
                <a:gd name="T108" fmla="*/ 108 w 428"/>
                <a:gd name="T109" fmla="*/ 160 h 212"/>
                <a:gd name="T110" fmla="*/ 78 w 428"/>
                <a:gd name="T111" fmla="*/ 150 h 212"/>
                <a:gd name="T112" fmla="*/ 48 w 428"/>
                <a:gd name="T113" fmla="*/ 144 h 212"/>
                <a:gd name="T114" fmla="*/ 38 w 428"/>
                <a:gd name="T115" fmla="*/ 132 h 212"/>
                <a:gd name="T116" fmla="*/ 32 w 428"/>
                <a:gd name="T117" fmla="*/ 108 h 212"/>
                <a:gd name="T118" fmla="*/ 26 w 428"/>
                <a:gd name="T119" fmla="*/ 100 h 212"/>
                <a:gd name="T120" fmla="*/ 6 w 428"/>
                <a:gd name="T121" fmla="*/ 9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8" h="212">
                  <a:moveTo>
                    <a:pt x="0" y="80"/>
                  </a:moveTo>
                  <a:lnTo>
                    <a:pt x="0" y="80"/>
                  </a:lnTo>
                  <a:lnTo>
                    <a:pt x="4" y="78"/>
                  </a:lnTo>
                  <a:lnTo>
                    <a:pt x="6" y="74"/>
                  </a:lnTo>
                  <a:lnTo>
                    <a:pt x="8" y="74"/>
                  </a:lnTo>
                  <a:lnTo>
                    <a:pt x="10" y="74"/>
                  </a:lnTo>
                  <a:lnTo>
                    <a:pt x="12" y="72"/>
                  </a:lnTo>
                  <a:lnTo>
                    <a:pt x="14" y="72"/>
                  </a:lnTo>
                  <a:lnTo>
                    <a:pt x="16" y="70"/>
                  </a:lnTo>
                  <a:lnTo>
                    <a:pt x="18" y="70"/>
                  </a:lnTo>
                  <a:lnTo>
                    <a:pt x="24" y="68"/>
                  </a:lnTo>
                  <a:lnTo>
                    <a:pt x="28" y="68"/>
                  </a:lnTo>
                  <a:lnTo>
                    <a:pt x="32" y="68"/>
                  </a:lnTo>
                  <a:lnTo>
                    <a:pt x="38" y="66"/>
                  </a:lnTo>
                  <a:lnTo>
                    <a:pt x="44" y="64"/>
                  </a:lnTo>
                  <a:lnTo>
                    <a:pt x="50" y="64"/>
                  </a:lnTo>
                  <a:lnTo>
                    <a:pt x="56" y="64"/>
                  </a:lnTo>
                  <a:lnTo>
                    <a:pt x="58" y="64"/>
                  </a:lnTo>
                  <a:lnTo>
                    <a:pt x="62" y="64"/>
                  </a:lnTo>
                  <a:lnTo>
                    <a:pt x="64" y="64"/>
                  </a:lnTo>
                  <a:lnTo>
                    <a:pt x="66" y="64"/>
                  </a:lnTo>
                  <a:lnTo>
                    <a:pt x="68" y="64"/>
                  </a:lnTo>
                  <a:lnTo>
                    <a:pt x="70" y="64"/>
                  </a:lnTo>
                  <a:lnTo>
                    <a:pt x="72" y="64"/>
                  </a:lnTo>
                  <a:lnTo>
                    <a:pt x="72" y="66"/>
                  </a:lnTo>
                  <a:lnTo>
                    <a:pt x="74" y="68"/>
                  </a:lnTo>
                  <a:lnTo>
                    <a:pt x="74" y="70"/>
                  </a:lnTo>
                  <a:lnTo>
                    <a:pt x="76" y="70"/>
                  </a:lnTo>
                  <a:lnTo>
                    <a:pt x="76" y="70"/>
                  </a:lnTo>
                  <a:lnTo>
                    <a:pt x="76" y="70"/>
                  </a:lnTo>
                  <a:lnTo>
                    <a:pt x="78" y="72"/>
                  </a:lnTo>
                  <a:lnTo>
                    <a:pt x="80" y="72"/>
                  </a:lnTo>
                  <a:lnTo>
                    <a:pt x="82" y="72"/>
                  </a:lnTo>
                  <a:lnTo>
                    <a:pt x="84" y="72"/>
                  </a:lnTo>
                  <a:lnTo>
                    <a:pt x="86" y="72"/>
                  </a:lnTo>
                  <a:lnTo>
                    <a:pt x="88" y="72"/>
                  </a:lnTo>
                  <a:lnTo>
                    <a:pt x="90" y="72"/>
                  </a:lnTo>
                  <a:lnTo>
                    <a:pt x="90" y="72"/>
                  </a:lnTo>
                  <a:lnTo>
                    <a:pt x="90" y="74"/>
                  </a:lnTo>
                  <a:lnTo>
                    <a:pt x="92" y="74"/>
                  </a:lnTo>
                  <a:lnTo>
                    <a:pt x="92" y="74"/>
                  </a:lnTo>
                  <a:lnTo>
                    <a:pt x="94" y="76"/>
                  </a:lnTo>
                  <a:lnTo>
                    <a:pt x="96" y="78"/>
                  </a:lnTo>
                  <a:lnTo>
                    <a:pt x="96" y="78"/>
                  </a:lnTo>
                  <a:lnTo>
                    <a:pt x="98" y="80"/>
                  </a:lnTo>
                  <a:lnTo>
                    <a:pt x="98" y="80"/>
                  </a:lnTo>
                  <a:lnTo>
                    <a:pt x="100" y="80"/>
                  </a:lnTo>
                  <a:lnTo>
                    <a:pt x="104" y="80"/>
                  </a:lnTo>
                  <a:lnTo>
                    <a:pt x="110" y="82"/>
                  </a:lnTo>
                  <a:lnTo>
                    <a:pt x="112" y="80"/>
                  </a:lnTo>
                  <a:lnTo>
                    <a:pt x="114" y="80"/>
                  </a:lnTo>
                  <a:lnTo>
                    <a:pt x="116" y="80"/>
                  </a:lnTo>
                  <a:lnTo>
                    <a:pt x="118" y="80"/>
                  </a:lnTo>
                  <a:lnTo>
                    <a:pt x="120" y="80"/>
                  </a:lnTo>
                  <a:lnTo>
                    <a:pt x="122" y="80"/>
                  </a:lnTo>
                  <a:lnTo>
                    <a:pt x="124" y="78"/>
                  </a:lnTo>
                  <a:lnTo>
                    <a:pt x="126" y="78"/>
                  </a:lnTo>
                  <a:lnTo>
                    <a:pt x="126" y="76"/>
                  </a:lnTo>
                  <a:lnTo>
                    <a:pt x="128" y="76"/>
                  </a:lnTo>
                  <a:lnTo>
                    <a:pt x="128" y="76"/>
                  </a:lnTo>
                  <a:lnTo>
                    <a:pt x="128" y="74"/>
                  </a:lnTo>
                  <a:lnTo>
                    <a:pt x="128" y="74"/>
                  </a:lnTo>
                  <a:lnTo>
                    <a:pt x="128" y="74"/>
                  </a:lnTo>
                  <a:lnTo>
                    <a:pt x="128" y="72"/>
                  </a:lnTo>
                  <a:lnTo>
                    <a:pt x="128" y="70"/>
                  </a:lnTo>
                  <a:lnTo>
                    <a:pt x="126" y="70"/>
                  </a:lnTo>
                  <a:lnTo>
                    <a:pt x="126" y="68"/>
                  </a:lnTo>
                  <a:lnTo>
                    <a:pt x="124" y="66"/>
                  </a:lnTo>
                  <a:lnTo>
                    <a:pt x="122" y="64"/>
                  </a:lnTo>
                  <a:lnTo>
                    <a:pt x="122" y="62"/>
                  </a:lnTo>
                  <a:lnTo>
                    <a:pt x="120" y="60"/>
                  </a:lnTo>
                  <a:lnTo>
                    <a:pt x="120" y="58"/>
                  </a:lnTo>
                  <a:lnTo>
                    <a:pt x="118" y="58"/>
                  </a:lnTo>
                  <a:lnTo>
                    <a:pt x="116" y="56"/>
                  </a:lnTo>
                  <a:lnTo>
                    <a:pt x="116" y="54"/>
                  </a:lnTo>
                  <a:lnTo>
                    <a:pt x="116" y="54"/>
                  </a:lnTo>
                  <a:lnTo>
                    <a:pt x="114" y="52"/>
                  </a:lnTo>
                  <a:lnTo>
                    <a:pt x="114" y="52"/>
                  </a:lnTo>
                  <a:lnTo>
                    <a:pt x="116" y="52"/>
                  </a:lnTo>
                  <a:lnTo>
                    <a:pt x="116" y="52"/>
                  </a:lnTo>
                  <a:lnTo>
                    <a:pt x="116" y="52"/>
                  </a:lnTo>
                  <a:lnTo>
                    <a:pt x="116" y="50"/>
                  </a:lnTo>
                  <a:lnTo>
                    <a:pt x="118" y="50"/>
                  </a:lnTo>
                  <a:lnTo>
                    <a:pt x="118" y="50"/>
                  </a:lnTo>
                  <a:lnTo>
                    <a:pt x="122" y="52"/>
                  </a:lnTo>
                  <a:lnTo>
                    <a:pt x="124" y="52"/>
                  </a:lnTo>
                  <a:lnTo>
                    <a:pt x="124" y="52"/>
                  </a:lnTo>
                  <a:lnTo>
                    <a:pt x="126" y="52"/>
                  </a:lnTo>
                  <a:lnTo>
                    <a:pt x="126" y="52"/>
                  </a:lnTo>
                  <a:lnTo>
                    <a:pt x="128" y="50"/>
                  </a:lnTo>
                  <a:lnTo>
                    <a:pt x="128" y="50"/>
                  </a:lnTo>
                  <a:lnTo>
                    <a:pt x="128" y="50"/>
                  </a:lnTo>
                  <a:lnTo>
                    <a:pt x="128" y="48"/>
                  </a:lnTo>
                  <a:lnTo>
                    <a:pt x="130" y="48"/>
                  </a:lnTo>
                  <a:lnTo>
                    <a:pt x="130" y="46"/>
                  </a:lnTo>
                  <a:lnTo>
                    <a:pt x="130" y="44"/>
                  </a:lnTo>
                  <a:lnTo>
                    <a:pt x="130" y="42"/>
                  </a:lnTo>
                  <a:lnTo>
                    <a:pt x="130" y="38"/>
                  </a:lnTo>
                  <a:lnTo>
                    <a:pt x="128" y="34"/>
                  </a:lnTo>
                  <a:lnTo>
                    <a:pt x="128" y="32"/>
                  </a:lnTo>
                  <a:lnTo>
                    <a:pt x="128" y="28"/>
                  </a:lnTo>
                  <a:lnTo>
                    <a:pt x="128" y="26"/>
                  </a:lnTo>
                  <a:lnTo>
                    <a:pt x="128" y="22"/>
                  </a:lnTo>
                  <a:lnTo>
                    <a:pt x="126" y="20"/>
                  </a:lnTo>
                  <a:lnTo>
                    <a:pt x="126" y="16"/>
                  </a:lnTo>
                  <a:lnTo>
                    <a:pt x="126" y="12"/>
                  </a:lnTo>
                  <a:lnTo>
                    <a:pt x="126" y="8"/>
                  </a:lnTo>
                  <a:lnTo>
                    <a:pt x="126" y="6"/>
                  </a:lnTo>
                  <a:lnTo>
                    <a:pt x="126" y="4"/>
                  </a:lnTo>
                  <a:lnTo>
                    <a:pt x="126" y="2"/>
                  </a:lnTo>
                  <a:lnTo>
                    <a:pt x="126" y="2"/>
                  </a:lnTo>
                  <a:lnTo>
                    <a:pt x="126" y="0"/>
                  </a:lnTo>
                  <a:lnTo>
                    <a:pt x="128" y="0"/>
                  </a:lnTo>
                  <a:lnTo>
                    <a:pt x="128" y="0"/>
                  </a:lnTo>
                  <a:lnTo>
                    <a:pt x="128" y="0"/>
                  </a:lnTo>
                  <a:lnTo>
                    <a:pt x="130" y="0"/>
                  </a:lnTo>
                  <a:lnTo>
                    <a:pt x="132" y="0"/>
                  </a:lnTo>
                  <a:lnTo>
                    <a:pt x="134" y="0"/>
                  </a:lnTo>
                  <a:lnTo>
                    <a:pt x="134" y="0"/>
                  </a:lnTo>
                  <a:lnTo>
                    <a:pt x="136" y="0"/>
                  </a:lnTo>
                  <a:lnTo>
                    <a:pt x="140" y="2"/>
                  </a:lnTo>
                  <a:lnTo>
                    <a:pt x="148" y="8"/>
                  </a:lnTo>
                  <a:lnTo>
                    <a:pt x="152" y="8"/>
                  </a:lnTo>
                  <a:lnTo>
                    <a:pt x="152" y="10"/>
                  </a:lnTo>
                  <a:lnTo>
                    <a:pt x="154" y="10"/>
                  </a:lnTo>
                  <a:lnTo>
                    <a:pt x="156" y="10"/>
                  </a:lnTo>
                  <a:lnTo>
                    <a:pt x="158" y="10"/>
                  </a:lnTo>
                  <a:lnTo>
                    <a:pt x="164" y="10"/>
                  </a:lnTo>
                  <a:lnTo>
                    <a:pt x="166" y="10"/>
                  </a:lnTo>
                  <a:lnTo>
                    <a:pt x="168" y="10"/>
                  </a:lnTo>
                  <a:lnTo>
                    <a:pt x="170" y="10"/>
                  </a:lnTo>
                  <a:lnTo>
                    <a:pt x="170" y="10"/>
                  </a:lnTo>
                  <a:lnTo>
                    <a:pt x="172" y="12"/>
                  </a:lnTo>
                  <a:lnTo>
                    <a:pt x="174" y="12"/>
                  </a:lnTo>
                  <a:lnTo>
                    <a:pt x="176" y="14"/>
                  </a:lnTo>
                  <a:lnTo>
                    <a:pt x="176" y="14"/>
                  </a:lnTo>
                  <a:lnTo>
                    <a:pt x="178" y="16"/>
                  </a:lnTo>
                  <a:lnTo>
                    <a:pt x="182" y="20"/>
                  </a:lnTo>
                  <a:lnTo>
                    <a:pt x="184" y="24"/>
                  </a:lnTo>
                  <a:lnTo>
                    <a:pt x="186" y="24"/>
                  </a:lnTo>
                  <a:lnTo>
                    <a:pt x="186" y="26"/>
                  </a:lnTo>
                  <a:lnTo>
                    <a:pt x="188" y="30"/>
                  </a:lnTo>
                  <a:lnTo>
                    <a:pt x="188" y="32"/>
                  </a:lnTo>
                  <a:lnTo>
                    <a:pt x="188" y="34"/>
                  </a:lnTo>
                  <a:lnTo>
                    <a:pt x="190" y="36"/>
                  </a:lnTo>
                  <a:lnTo>
                    <a:pt x="190" y="36"/>
                  </a:lnTo>
                  <a:lnTo>
                    <a:pt x="190" y="36"/>
                  </a:lnTo>
                  <a:lnTo>
                    <a:pt x="192" y="36"/>
                  </a:lnTo>
                  <a:lnTo>
                    <a:pt x="192" y="38"/>
                  </a:lnTo>
                  <a:lnTo>
                    <a:pt x="194" y="38"/>
                  </a:lnTo>
                  <a:lnTo>
                    <a:pt x="196" y="38"/>
                  </a:lnTo>
                  <a:lnTo>
                    <a:pt x="198" y="38"/>
                  </a:lnTo>
                  <a:lnTo>
                    <a:pt x="202" y="38"/>
                  </a:lnTo>
                  <a:lnTo>
                    <a:pt x="208" y="36"/>
                  </a:lnTo>
                  <a:lnTo>
                    <a:pt x="210" y="36"/>
                  </a:lnTo>
                  <a:lnTo>
                    <a:pt x="212" y="36"/>
                  </a:lnTo>
                  <a:lnTo>
                    <a:pt x="220" y="36"/>
                  </a:lnTo>
                  <a:lnTo>
                    <a:pt x="228" y="36"/>
                  </a:lnTo>
                  <a:lnTo>
                    <a:pt x="232" y="36"/>
                  </a:lnTo>
                  <a:lnTo>
                    <a:pt x="236" y="38"/>
                  </a:lnTo>
                  <a:lnTo>
                    <a:pt x="240" y="38"/>
                  </a:lnTo>
                  <a:lnTo>
                    <a:pt x="242" y="38"/>
                  </a:lnTo>
                  <a:lnTo>
                    <a:pt x="244" y="38"/>
                  </a:lnTo>
                  <a:lnTo>
                    <a:pt x="246" y="40"/>
                  </a:lnTo>
                  <a:lnTo>
                    <a:pt x="248" y="40"/>
                  </a:lnTo>
                  <a:lnTo>
                    <a:pt x="250" y="42"/>
                  </a:lnTo>
                  <a:lnTo>
                    <a:pt x="252" y="44"/>
                  </a:lnTo>
                  <a:lnTo>
                    <a:pt x="258" y="46"/>
                  </a:lnTo>
                  <a:lnTo>
                    <a:pt x="260" y="48"/>
                  </a:lnTo>
                  <a:lnTo>
                    <a:pt x="262" y="48"/>
                  </a:lnTo>
                  <a:lnTo>
                    <a:pt x="262" y="50"/>
                  </a:lnTo>
                  <a:lnTo>
                    <a:pt x="264" y="50"/>
                  </a:lnTo>
                  <a:lnTo>
                    <a:pt x="268" y="50"/>
                  </a:lnTo>
                  <a:lnTo>
                    <a:pt x="270" y="50"/>
                  </a:lnTo>
                  <a:lnTo>
                    <a:pt x="272" y="52"/>
                  </a:lnTo>
                  <a:lnTo>
                    <a:pt x="274" y="52"/>
                  </a:lnTo>
                  <a:lnTo>
                    <a:pt x="274" y="52"/>
                  </a:lnTo>
                  <a:lnTo>
                    <a:pt x="274" y="52"/>
                  </a:lnTo>
                  <a:lnTo>
                    <a:pt x="276" y="52"/>
                  </a:lnTo>
                  <a:lnTo>
                    <a:pt x="276" y="54"/>
                  </a:lnTo>
                  <a:lnTo>
                    <a:pt x="276" y="54"/>
                  </a:lnTo>
                  <a:lnTo>
                    <a:pt x="276" y="56"/>
                  </a:lnTo>
                  <a:lnTo>
                    <a:pt x="276" y="58"/>
                  </a:lnTo>
                  <a:lnTo>
                    <a:pt x="278" y="60"/>
                  </a:lnTo>
                  <a:lnTo>
                    <a:pt x="278" y="62"/>
                  </a:lnTo>
                  <a:lnTo>
                    <a:pt x="278" y="64"/>
                  </a:lnTo>
                  <a:lnTo>
                    <a:pt x="278" y="64"/>
                  </a:lnTo>
                  <a:lnTo>
                    <a:pt x="278" y="64"/>
                  </a:lnTo>
                  <a:lnTo>
                    <a:pt x="280" y="64"/>
                  </a:lnTo>
                  <a:lnTo>
                    <a:pt x="282" y="66"/>
                  </a:lnTo>
                  <a:lnTo>
                    <a:pt x="284" y="66"/>
                  </a:lnTo>
                  <a:lnTo>
                    <a:pt x="286" y="66"/>
                  </a:lnTo>
                  <a:lnTo>
                    <a:pt x="290" y="66"/>
                  </a:lnTo>
                  <a:lnTo>
                    <a:pt x="292" y="66"/>
                  </a:lnTo>
                  <a:lnTo>
                    <a:pt x="294" y="66"/>
                  </a:lnTo>
                  <a:lnTo>
                    <a:pt x="298" y="66"/>
                  </a:lnTo>
                  <a:lnTo>
                    <a:pt x="300" y="64"/>
                  </a:lnTo>
                  <a:lnTo>
                    <a:pt x="304" y="64"/>
                  </a:lnTo>
                  <a:lnTo>
                    <a:pt x="306" y="64"/>
                  </a:lnTo>
                  <a:lnTo>
                    <a:pt x="308" y="62"/>
                  </a:lnTo>
                  <a:lnTo>
                    <a:pt x="310" y="62"/>
                  </a:lnTo>
                  <a:lnTo>
                    <a:pt x="314" y="60"/>
                  </a:lnTo>
                  <a:lnTo>
                    <a:pt x="314" y="60"/>
                  </a:lnTo>
                  <a:lnTo>
                    <a:pt x="316" y="58"/>
                  </a:lnTo>
                  <a:lnTo>
                    <a:pt x="316" y="58"/>
                  </a:lnTo>
                  <a:lnTo>
                    <a:pt x="318" y="58"/>
                  </a:lnTo>
                  <a:lnTo>
                    <a:pt x="318" y="56"/>
                  </a:lnTo>
                  <a:lnTo>
                    <a:pt x="318" y="56"/>
                  </a:lnTo>
                  <a:lnTo>
                    <a:pt x="320" y="54"/>
                  </a:lnTo>
                  <a:lnTo>
                    <a:pt x="320" y="52"/>
                  </a:lnTo>
                  <a:lnTo>
                    <a:pt x="322" y="50"/>
                  </a:lnTo>
                  <a:lnTo>
                    <a:pt x="322" y="50"/>
                  </a:lnTo>
                  <a:lnTo>
                    <a:pt x="322" y="50"/>
                  </a:lnTo>
                  <a:lnTo>
                    <a:pt x="322" y="50"/>
                  </a:lnTo>
                  <a:lnTo>
                    <a:pt x="322" y="48"/>
                  </a:lnTo>
                  <a:lnTo>
                    <a:pt x="324" y="48"/>
                  </a:lnTo>
                  <a:lnTo>
                    <a:pt x="324" y="48"/>
                  </a:lnTo>
                  <a:lnTo>
                    <a:pt x="324" y="50"/>
                  </a:lnTo>
                  <a:lnTo>
                    <a:pt x="326" y="50"/>
                  </a:lnTo>
                  <a:lnTo>
                    <a:pt x="328" y="50"/>
                  </a:lnTo>
                  <a:lnTo>
                    <a:pt x="330" y="52"/>
                  </a:lnTo>
                  <a:lnTo>
                    <a:pt x="330" y="54"/>
                  </a:lnTo>
                  <a:lnTo>
                    <a:pt x="332" y="56"/>
                  </a:lnTo>
                  <a:lnTo>
                    <a:pt x="334" y="56"/>
                  </a:lnTo>
                  <a:lnTo>
                    <a:pt x="334" y="56"/>
                  </a:lnTo>
                  <a:lnTo>
                    <a:pt x="334" y="56"/>
                  </a:lnTo>
                  <a:lnTo>
                    <a:pt x="336" y="56"/>
                  </a:lnTo>
                  <a:lnTo>
                    <a:pt x="336" y="56"/>
                  </a:lnTo>
                  <a:lnTo>
                    <a:pt x="338" y="56"/>
                  </a:lnTo>
                  <a:lnTo>
                    <a:pt x="338" y="54"/>
                  </a:lnTo>
                  <a:lnTo>
                    <a:pt x="340" y="54"/>
                  </a:lnTo>
                  <a:lnTo>
                    <a:pt x="342" y="52"/>
                  </a:lnTo>
                  <a:lnTo>
                    <a:pt x="344" y="50"/>
                  </a:lnTo>
                  <a:lnTo>
                    <a:pt x="346" y="46"/>
                  </a:lnTo>
                  <a:lnTo>
                    <a:pt x="348" y="44"/>
                  </a:lnTo>
                  <a:lnTo>
                    <a:pt x="350" y="44"/>
                  </a:lnTo>
                  <a:lnTo>
                    <a:pt x="352" y="42"/>
                  </a:lnTo>
                  <a:lnTo>
                    <a:pt x="352" y="42"/>
                  </a:lnTo>
                  <a:lnTo>
                    <a:pt x="354" y="42"/>
                  </a:lnTo>
                  <a:lnTo>
                    <a:pt x="354" y="40"/>
                  </a:lnTo>
                  <a:lnTo>
                    <a:pt x="356" y="40"/>
                  </a:lnTo>
                  <a:lnTo>
                    <a:pt x="358" y="40"/>
                  </a:lnTo>
                  <a:lnTo>
                    <a:pt x="360" y="40"/>
                  </a:lnTo>
                  <a:lnTo>
                    <a:pt x="362" y="40"/>
                  </a:lnTo>
                  <a:lnTo>
                    <a:pt x="364" y="40"/>
                  </a:lnTo>
                  <a:lnTo>
                    <a:pt x="366" y="40"/>
                  </a:lnTo>
                  <a:lnTo>
                    <a:pt x="368" y="40"/>
                  </a:lnTo>
                  <a:lnTo>
                    <a:pt x="368" y="40"/>
                  </a:lnTo>
                  <a:lnTo>
                    <a:pt x="370" y="42"/>
                  </a:lnTo>
                  <a:lnTo>
                    <a:pt x="372" y="42"/>
                  </a:lnTo>
                  <a:lnTo>
                    <a:pt x="374" y="44"/>
                  </a:lnTo>
                  <a:lnTo>
                    <a:pt x="378" y="46"/>
                  </a:lnTo>
                  <a:lnTo>
                    <a:pt x="380" y="48"/>
                  </a:lnTo>
                  <a:lnTo>
                    <a:pt x="378" y="52"/>
                  </a:lnTo>
                  <a:lnTo>
                    <a:pt x="376" y="56"/>
                  </a:lnTo>
                  <a:lnTo>
                    <a:pt x="376" y="58"/>
                  </a:lnTo>
                  <a:lnTo>
                    <a:pt x="376" y="60"/>
                  </a:lnTo>
                  <a:lnTo>
                    <a:pt x="376" y="62"/>
                  </a:lnTo>
                  <a:lnTo>
                    <a:pt x="376" y="66"/>
                  </a:lnTo>
                  <a:lnTo>
                    <a:pt x="376" y="72"/>
                  </a:lnTo>
                  <a:lnTo>
                    <a:pt x="376" y="76"/>
                  </a:lnTo>
                  <a:lnTo>
                    <a:pt x="376" y="80"/>
                  </a:lnTo>
                  <a:lnTo>
                    <a:pt x="376" y="84"/>
                  </a:lnTo>
                  <a:lnTo>
                    <a:pt x="376" y="88"/>
                  </a:lnTo>
                  <a:lnTo>
                    <a:pt x="378" y="92"/>
                  </a:lnTo>
                  <a:lnTo>
                    <a:pt x="378" y="92"/>
                  </a:lnTo>
                  <a:lnTo>
                    <a:pt x="378" y="94"/>
                  </a:lnTo>
                  <a:lnTo>
                    <a:pt x="380" y="96"/>
                  </a:lnTo>
                  <a:lnTo>
                    <a:pt x="380" y="96"/>
                  </a:lnTo>
                  <a:lnTo>
                    <a:pt x="380" y="96"/>
                  </a:lnTo>
                  <a:lnTo>
                    <a:pt x="380" y="98"/>
                  </a:lnTo>
                  <a:lnTo>
                    <a:pt x="382" y="98"/>
                  </a:lnTo>
                  <a:lnTo>
                    <a:pt x="382" y="98"/>
                  </a:lnTo>
                  <a:lnTo>
                    <a:pt x="384" y="98"/>
                  </a:lnTo>
                  <a:lnTo>
                    <a:pt x="386" y="96"/>
                  </a:lnTo>
                  <a:lnTo>
                    <a:pt x="386" y="96"/>
                  </a:lnTo>
                  <a:lnTo>
                    <a:pt x="390" y="94"/>
                  </a:lnTo>
                  <a:lnTo>
                    <a:pt x="392" y="94"/>
                  </a:lnTo>
                  <a:lnTo>
                    <a:pt x="392" y="94"/>
                  </a:lnTo>
                  <a:lnTo>
                    <a:pt x="398" y="92"/>
                  </a:lnTo>
                  <a:lnTo>
                    <a:pt x="402" y="92"/>
                  </a:lnTo>
                  <a:lnTo>
                    <a:pt x="404" y="92"/>
                  </a:lnTo>
                  <a:lnTo>
                    <a:pt x="408" y="92"/>
                  </a:lnTo>
                  <a:lnTo>
                    <a:pt x="412" y="90"/>
                  </a:lnTo>
                  <a:lnTo>
                    <a:pt x="412" y="90"/>
                  </a:lnTo>
                  <a:lnTo>
                    <a:pt x="414" y="90"/>
                  </a:lnTo>
                  <a:lnTo>
                    <a:pt x="414" y="92"/>
                  </a:lnTo>
                  <a:lnTo>
                    <a:pt x="416" y="92"/>
                  </a:lnTo>
                  <a:lnTo>
                    <a:pt x="418" y="92"/>
                  </a:lnTo>
                  <a:lnTo>
                    <a:pt x="420" y="94"/>
                  </a:lnTo>
                  <a:lnTo>
                    <a:pt x="422" y="96"/>
                  </a:lnTo>
                  <a:lnTo>
                    <a:pt x="424" y="98"/>
                  </a:lnTo>
                  <a:lnTo>
                    <a:pt x="426" y="100"/>
                  </a:lnTo>
                  <a:lnTo>
                    <a:pt x="426" y="102"/>
                  </a:lnTo>
                  <a:lnTo>
                    <a:pt x="426" y="102"/>
                  </a:lnTo>
                  <a:lnTo>
                    <a:pt x="428" y="104"/>
                  </a:lnTo>
                  <a:lnTo>
                    <a:pt x="428" y="104"/>
                  </a:lnTo>
                  <a:lnTo>
                    <a:pt x="428" y="106"/>
                  </a:lnTo>
                  <a:lnTo>
                    <a:pt x="428" y="106"/>
                  </a:lnTo>
                  <a:lnTo>
                    <a:pt x="426" y="108"/>
                  </a:lnTo>
                  <a:lnTo>
                    <a:pt x="426" y="108"/>
                  </a:lnTo>
                  <a:lnTo>
                    <a:pt x="426" y="110"/>
                  </a:lnTo>
                  <a:lnTo>
                    <a:pt x="424" y="110"/>
                  </a:lnTo>
                  <a:lnTo>
                    <a:pt x="422" y="112"/>
                  </a:lnTo>
                  <a:lnTo>
                    <a:pt x="420" y="112"/>
                  </a:lnTo>
                  <a:lnTo>
                    <a:pt x="416" y="114"/>
                  </a:lnTo>
                  <a:lnTo>
                    <a:pt x="412" y="114"/>
                  </a:lnTo>
                  <a:lnTo>
                    <a:pt x="408" y="116"/>
                  </a:lnTo>
                  <a:lnTo>
                    <a:pt x="406" y="116"/>
                  </a:lnTo>
                  <a:lnTo>
                    <a:pt x="404" y="118"/>
                  </a:lnTo>
                  <a:lnTo>
                    <a:pt x="402" y="118"/>
                  </a:lnTo>
                  <a:lnTo>
                    <a:pt x="398" y="120"/>
                  </a:lnTo>
                  <a:lnTo>
                    <a:pt x="392" y="124"/>
                  </a:lnTo>
                  <a:lnTo>
                    <a:pt x="386" y="128"/>
                  </a:lnTo>
                  <a:lnTo>
                    <a:pt x="380" y="130"/>
                  </a:lnTo>
                  <a:lnTo>
                    <a:pt x="378" y="132"/>
                  </a:lnTo>
                  <a:lnTo>
                    <a:pt x="374" y="136"/>
                  </a:lnTo>
                  <a:lnTo>
                    <a:pt x="372" y="138"/>
                  </a:lnTo>
                  <a:lnTo>
                    <a:pt x="368" y="140"/>
                  </a:lnTo>
                  <a:lnTo>
                    <a:pt x="366" y="142"/>
                  </a:lnTo>
                  <a:lnTo>
                    <a:pt x="366" y="144"/>
                  </a:lnTo>
                  <a:lnTo>
                    <a:pt x="362" y="148"/>
                  </a:lnTo>
                  <a:lnTo>
                    <a:pt x="360" y="150"/>
                  </a:lnTo>
                  <a:lnTo>
                    <a:pt x="358" y="152"/>
                  </a:lnTo>
                  <a:lnTo>
                    <a:pt x="358" y="152"/>
                  </a:lnTo>
                  <a:lnTo>
                    <a:pt x="356" y="154"/>
                  </a:lnTo>
                  <a:lnTo>
                    <a:pt x="356" y="154"/>
                  </a:lnTo>
                  <a:lnTo>
                    <a:pt x="354" y="154"/>
                  </a:lnTo>
                  <a:lnTo>
                    <a:pt x="354" y="154"/>
                  </a:lnTo>
                  <a:lnTo>
                    <a:pt x="352" y="154"/>
                  </a:lnTo>
                  <a:lnTo>
                    <a:pt x="350" y="154"/>
                  </a:lnTo>
                  <a:lnTo>
                    <a:pt x="350" y="154"/>
                  </a:lnTo>
                  <a:lnTo>
                    <a:pt x="346" y="152"/>
                  </a:lnTo>
                  <a:lnTo>
                    <a:pt x="344" y="150"/>
                  </a:lnTo>
                  <a:lnTo>
                    <a:pt x="342" y="148"/>
                  </a:lnTo>
                  <a:lnTo>
                    <a:pt x="340" y="148"/>
                  </a:lnTo>
                  <a:lnTo>
                    <a:pt x="338" y="148"/>
                  </a:lnTo>
                  <a:lnTo>
                    <a:pt x="338" y="148"/>
                  </a:lnTo>
                  <a:lnTo>
                    <a:pt x="336" y="148"/>
                  </a:lnTo>
                  <a:lnTo>
                    <a:pt x="336" y="148"/>
                  </a:lnTo>
                  <a:lnTo>
                    <a:pt x="334" y="148"/>
                  </a:lnTo>
                  <a:lnTo>
                    <a:pt x="334" y="148"/>
                  </a:lnTo>
                  <a:lnTo>
                    <a:pt x="334" y="150"/>
                  </a:lnTo>
                  <a:lnTo>
                    <a:pt x="334" y="150"/>
                  </a:lnTo>
                  <a:lnTo>
                    <a:pt x="334" y="152"/>
                  </a:lnTo>
                  <a:lnTo>
                    <a:pt x="334" y="152"/>
                  </a:lnTo>
                  <a:lnTo>
                    <a:pt x="334" y="156"/>
                  </a:lnTo>
                  <a:lnTo>
                    <a:pt x="334" y="160"/>
                  </a:lnTo>
                  <a:lnTo>
                    <a:pt x="336" y="162"/>
                  </a:lnTo>
                  <a:lnTo>
                    <a:pt x="336" y="164"/>
                  </a:lnTo>
                  <a:lnTo>
                    <a:pt x="336" y="168"/>
                  </a:lnTo>
                  <a:lnTo>
                    <a:pt x="336" y="174"/>
                  </a:lnTo>
                  <a:lnTo>
                    <a:pt x="334" y="176"/>
                  </a:lnTo>
                  <a:lnTo>
                    <a:pt x="334" y="178"/>
                  </a:lnTo>
                  <a:lnTo>
                    <a:pt x="334" y="180"/>
                  </a:lnTo>
                  <a:lnTo>
                    <a:pt x="334" y="182"/>
                  </a:lnTo>
                  <a:lnTo>
                    <a:pt x="332" y="182"/>
                  </a:lnTo>
                  <a:lnTo>
                    <a:pt x="332" y="184"/>
                  </a:lnTo>
                  <a:lnTo>
                    <a:pt x="328" y="188"/>
                  </a:lnTo>
                  <a:lnTo>
                    <a:pt x="326" y="190"/>
                  </a:lnTo>
                  <a:lnTo>
                    <a:pt x="322" y="192"/>
                  </a:lnTo>
                  <a:lnTo>
                    <a:pt x="320" y="196"/>
                  </a:lnTo>
                  <a:lnTo>
                    <a:pt x="316" y="198"/>
                  </a:lnTo>
                  <a:lnTo>
                    <a:pt x="314" y="198"/>
                  </a:lnTo>
                  <a:lnTo>
                    <a:pt x="314" y="200"/>
                  </a:lnTo>
                  <a:lnTo>
                    <a:pt x="312" y="200"/>
                  </a:lnTo>
                  <a:lnTo>
                    <a:pt x="310" y="200"/>
                  </a:lnTo>
                  <a:lnTo>
                    <a:pt x="308" y="200"/>
                  </a:lnTo>
                  <a:lnTo>
                    <a:pt x="308" y="202"/>
                  </a:lnTo>
                  <a:lnTo>
                    <a:pt x="306" y="200"/>
                  </a:lnTo>
                  <a:lnTo>
                    <a:pt x="304" y="200"/>
                  </a:lnTo>
                  <a:lnTo>
                    <a:pt x="300" y="200"/>
                  </a:lnTo>
                  <a:lnTo>
                    <a:pt x="296" y="198"/>
                  </a:lnTo>
                  <a:lnTo>
                    <a:pt x="292" y="198"/>
                  </a:lnTo>
                  <a:lnTo>
                    <a:pt x="288" y="196"/>
                  </a:lnTo>
                  <a:lnTo>
                    <a:pt x="286" y="196"/>
                  </a:lnTo>
                  <a:lnTo>
                    <a:pt x="284" y="196"/>
                  </a:lnTo>
                  <a:lnTo>
                    <a:pt x="282" y="196"/>
                  </a:lnTo>
                  <a:lnTo>
                    <a:pt x="282" y="196"/>
                  </a:lnTo>
                  <a:lnTo>
                    <a:pt x="280" y="198"/>
                  </a:lnTo>
                  <a:lnTo>
                    <a:pt x="280" y="198"/>
                  </a:lnTo>
                  <a:lnTo>
                    <a:pt x="278" y="198"/>
                  </a:lnTo>
                  <a:lnTo>
                    <a:pt x="278" y="200"/>
                  </a:lnTo>
                  <a:lnTo>
                    <a:pt x="276" y="202"/>
                  </a:lnTo>
                  <a:lnTo>
                    <a:pt x="272" y="204"/>
                  </a:lnTo>
                  <a:lnTo>
                    <a:pt x="272" y="204"/>
                  </a:lnTo>
                  <a:lnTo>
                    <a:pt x="270" y="206"/>
                  </a:lnTo>
                  <a:lnTo>
                    <a:pt x="268" y="206"/>
                  </a:lnTo>
                  <a:lnTo>
                    <a:pt x="266" y="208"/>
                  </a:lnTo>
                  <a:lnTo>
                    <a:pt x="262" y="208"/>
                  </a:lnTo>
                  <a:lnTo>
                    <a:pt x="260" y="210"/>
                  </a:lnTo>
                  <a:lnTo>
                    <a:pt x="256" y="210"/>
                  </a:lnTo>
                  <a:lnTo>
                    <a:pt x="254" y="212"/>
                  </a:lnTo>
                  <a:lnTo>
                    <a:pt x="250" y="212"/>
                  </a:lnTo>
                  <a:lnTo>
                    <a:pt x="250" y="212"/>
                  </a:lnTo>
                  <a:lnTo>
                    <a:pt x="248" y="212"/>
                  </a:lnTo>
                  <a:lnTo>
                    <a:pt x="248" y="212"/>
                  </a:lnTo>
                  <a:lnTo>
                    <a:pt x="246" y="212"/>
                  </a:lnTo>
                  <a:lnTo>
                    <a:pt x="244" y="210"/>
                  </a:lnTo>
                  <a:lnTo>
                    <a:pt x="244" y="210"/>
                  </a:lnTo>
                  <a:lnTo>
                    <a:pt x="240" y="208"/>
                  </a:lnTo>
                  <a:lnTo>
                    <a:pt x="238" y="208"/>
                  </a:lnTo>
                  <a:lnTo>
                    <a:pt x="232" y="204"/>
                  </a:lnTo>
                  <a:lnTo>
                    <a:pt x="230" y="202"/>
                  </a:lnTo>
                  <a:lnTo>
                    <a:pt x="228" y="200"/>
                  </a:lnTo>
                  <a:lnTo>
                    <a:pt x="224" y="200"/>
                  </a:lnTo>
                  <a:lnTo>
                    <a:pt x="218" y="198"/>
                  </a:lnTo>
                  <a:lnTo>
                    <a:pt x="214" y="196"/>
                  </a:lnTo>
                  <a:lnTo>
                    <a:pt x="210" y="196"/>
                  </a:lnTo>
                  <a:lnTo>
                    <a:pt x="206" y="196"/>
                  </a:lnTo>
                  <a:lnTo>
                    <a:pt x="202" y="194"/>
                  </a:lnTo>
                  <a:lnTo>
                    <a:pt x="196" y="194"/>
                  </a:lnTo>
                  <a:lnTo>
                    <a:pt x="192" y="194"/>
                  </a:lnTo>
                  <a:lnTo>
                    <a:pt x="180" y="194"/>
                  </a:lnTo>
                  <a:lnTo>
                    <a:pt x="168" y="194"/>
                  </a:lnTo>
                  <a:lnTo>
                    <a:pt x="162" y="194"/>
                  </a:lnTo>
                  <a:lnTo>
                    <a:pt x="158" y="194"/>
                  </a:lnTo>
                  <a:lnTo>
                    <a:pt x="152" y="194"/>
                  </a:lnTo>
                  <a:lnTo>
                    <a:pt x="146" y="194"/>
                  </a:lnTo>
                  <a:lnTo>
                    <a:pt x="142" y="192"/>
                  </a:lnTo>
                  <a:lnTo>
                    <a:pt x="136" y="192"/>
                  </a:lnTo>
                  <a:lnTo>
                    <a:pt x="134" y="192"/>
                  </a:lnTo>
                  <a:lnTo>
                    <a:pt x="132" y="190"/>
                  </a:lnTo>
                  <a:lnTo>
                    <a:pt x="130" y="190"/>
                  </a:lnTo>
                  <a:lnTo>
                    <a:pt x="130" y="190"/>
                  </a:lnTo>
                  <a:lnTo>
                    <a:pt x="128" y="188"/>
                  </a:lnTo>
                  <a:lnTo>
                    <a:pt x="126" y="188"/>
                  </a:lnTo>
                  <a:lnTo>
                    <a:pt x="124" y="186"/>
                  </a:lnTo>
                  <a:lnTo>
                    <a:pt x="124" y="184"/>
                  </a:lnTo>
                  <a:lnTo>
                    <a:pt x="120" y="182"/>
                  </a:lnTo>
                  <a:lnTo>
                    <a:pt x="118" y="180"/>
                  </a:lnTo>
                  <a:lnTo>
                    <a:pt x="118" y="178"/>
                  </a:lnTo>
                  <a:lnTo>
                    <a:pt x="116" y="176"/>
                  </a:lnTo>
                  <a:lnTo>
                    <a:pt x="114" y="170"/>
                  </a:lnTo>
                  <a:lnTo>
                    <a:pt x="112" y="168"/>
                  </a:lnTo>
                  <a:lnTo>
                    <a:pt x="112" y="166"/>
                  </a:lnTo>
                  <a:lnTo>
                    <a:pt x="110" y="164"/>
                  </a:lnTo>
                  <a:lnTo>
                    <a:pt x="110" y="162"/>
                  </a:lnTo>
                  <a:lnTo>
                    <a:pt x="108" y="162"/>
                  </a:lnTo>
                  <a:lnTo>
                    <a:pt x="108" y="160"/>
                  </a:lnTo>
                  <a:lnTo>
                    <a:pt x="106" y="160"/>
                  </a:lnTo>
                  <a:lnTo>
                    <a:pt x="104" y="158"/>
                  </a:lnTo>
                  <a:lnTo>
                    <a:pt x="102" y="156"/>
                  </a:lnTo>
                  <a:lnTo>
                    <a:pt x="96" y="154"/>
                  </a:lnTo>
                  <a:lnTo>
                    <a:pt x="92" y="152"/>
                  </a:lnTo>
                  <a:lnTo>
                    <a:pt x="90" y="152"/>
                  </a:lnTo>
                  <a:lnTo>
                    <a:pt x="84" y="150"/>
                  </a:lnTo>
                  <a:lnTo>
                    <a:pt x="78" y="150"/>
                  </a:lnTo>
                  <a:lnTo>
                    <a:pt x="74" y="148"/>
                  </a:lnTo>
                  <a:lnTo>
                    <a:pt x="70" y="148"/>
                  </a:lnTo>
                  <a:lnTo>
                    <a:pt x="60" y="148"/>
                  </a:lnTo>
                  <a:lnTo>
                    <a:pt x="56" y="146"/>
                  </a:lnTo>
                  <a:lnTo>
                    <a:pt x="54" y="146"/>
                  </a:lnTo>
                  <a:lnTo>
                    <a:pt x="52" y="146"/>
                  </a:lnTo>
                  <a:lnTo>
                    <a:pt x="50" y="146"/>
                  </a:lnTo>
                  <a:lnTo>
                    <a:pt x="48" y="144"/>
                  </a:lnTo>
                  <a:lnTo>
                    <a:pt x="46" y="144"/>
                  </a:lnTo>
                  <a:lnTo>
                    <a:pt x="44" y="142"/>
                  </a:lnTo>
                  <a:lnTo>
                    <a:pt x="44" y="142"/>
                  </a:lnTo>
                  <a:lnTo>
                    <a:pt x="42" y="142"/>
                  </a:lnTo>
                  <a:lnTo>
                    <a:pt x="42" y="140"/>
                  </a:lnTo>
                  <a:lnTo>
                    <a:pt x="42" y="138"/>
                  </a:lnTo>
                  <a:lnTo>
                    <a:pt x="40" y="136"/>
                  </a:lnTo>
                  <a:lnTo>
                    <a:pt x="38" y="132"/>
                  </a:lnTo>
                  <a:lnTo>
                    <a:pt x="38" y="128"/>
                  </a:lnTo>
                  <a:lnTo>
                    <a:pt x="36" y="124"/>
                  </a:lnTo>
                  <a:lnTo>
                    <a:pt x="36" y="122"/>
                  </a:lnTo>
                  <a:lnTo>
                    <a:pt x="34" y="118"/>
                  </a:lnTo>
                  <a:lnTo>
                    <a:pt x="34" y="118"/>
                  </a:lnTo>
                  <a:lnTo>
                    <a:pt x="34" y="116"/>
                  </a:lnTo>
                  <a:lnTo>
                    <a:pt x="32" y="110"/>
                  </a:lnTo>
                  <a:lnTo>
                    <a:pt x="32" y="108"/>
                  </a:lnTo>
                  <a:lnTo>
                    <a:pt x="32" y="106"/>
                  </a:lnTo>
                  <a:lnTo>
                    <a:pt x="30" y="104"/>
                  </a:lnTo>
                  <a:lnTo>
                    <a:pt x="30" y="104"/>
                  </a:lnTo>
                  <a:lnTo>
                    <a:pt x="30" y="102"/>
                  </a:lnTo>
                  <a:lnTo>
                    <a:pt x="28" y="102"/>
                  </a:lnTo>
                  <a:lnTo>
                    <a:pt x="28" y="102"/>
                  </a:lnTo>
                  <a:lnTo>
                    <a:pt x="26" y="100"/>
                  </a:lnTo>
                  <a:lnTo>
                    <a:pt x="26" y="100"/>
                  </a:lnTo>
                  <a:lnTo>
                    <a:pt x="22" y="98"/>
                  </a:lnTo>
                  <a:lnTo>
                    <a:pt x="18" y="96"/>
                  </a:lnTo>
                  <a:lnTo>
                    <a:pt x="16" y="96"/>
                  </a:lnTo>
                  <a:lnTo>
                    <a:pt x="12" y="94"/>
                  </a:lnTo>
                  <a:lnTo>
                    <a:pt x="10" y="92"/>
                  </a:lnTo>
                  <a:lnTo>
                    <a:pt x="8" y="92"/>
                  </a:lnTo>
                  <a:lnTo>
                    <a:pt x="8" y="92"/>
                  </a:lnTo>
                  <a:lnTo>
                    <a:pt x="6" y="90"/>
                  </a:lnTo>
                  <a:lnTo>
                    <a:pt x="6" y="88"/>
                  </a:lnTo>
                  <a:lnTo>
                    <a:pt x="4" y="86"/>
                  </a:lnTo>
                  <a:lnTo>
                    <a:pt x="0" y="8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8" name="Freeform 126">
              <a:extLst>
                <a:ext uri="{FF2B5EF4-FFF2-40B4-BE49-F238E27FC236}">
                  <a16:creationId xmlns:a16="http://schemas.microsoft.com/office/drawing/2014/main" id="{0B9C88FD-6EFC-4B65-9C55-584400A7736F}"/>
                </a:ext>
              </a:extLst>
            </p:cNvPr>
            <p:cNvSpPr>
              <a:spLocks/>
            </p:cNvSpPr>
            <p:nvPr/>
          </p:nvSpPr>
          <p:spPr bwMode="auto">
            <a:xfrm>
              <a:off x="6261098" y="4369079"/>
              <a:ext cx="55426" cy="107389"/>
            </a:xfrm>
            <a:custGeom>
              <a:avLst/>
              <a:gdLst>
                <a:gd name="T0" fmla="*/ 10 w 32"/>
                <a:gd name="T1" fmla="*/ 0 h 62"/>
                <a:gd name="T2" fmla="*/ 8 w 32"/>
                <a:gd name="T3" fmla="*/ 2 h 62"/>
                <a:gd name="T4" fmla="*/ 6 w 32"/>
                <a:gd name="T5" fmla="*/ 2 h 62"/>
                <a:gd name="T6" fmla="*/ 6 w 32"/>
                <a:gd name="T7" fmla="*/ 6 h 62"/>
                <a:gd name="T8" fmla="*/ 2 w 32"/>
                <a:gd name="T9" fmla="*/ 10 h 62"/>
                <a:gd name="T10" fmla="*/ 0 w 32"/>
                <a:gd name="T11" fmla="*/ 18 h 62"/>
                <a:gd name="T12" fmla="*/ 0 w 32"/>
                <a:gd name="T13" fmla="*/ 24 h 62"/>
                <a:gd name="T14" fmla="*/ 0 w 32"/>
                <a:gd name="T15" fmla="*/ 30 h 62"/>
                <a:gd name="T16" fmla="*/ 0 w 32"/>
                <a:gd name="T17" fmla="*/ 36 h 62"/>
                <a:gd name="T18" fmla="*/ 0 w 32"/>
                <a:gd name="T19" fmla="*/ 40 h 62"/>
                <a:gd name="T20" fmla="*/ 0 w 32"/>
                <a:gd name="T21" fmla="*/ 46 h 62"/>
                <a:gd name="T22" fmla="*/ 2 w 32"/>
                <a:gd name="T23" fmla="*/ 52 h 62"/>
                <a:gd name="T24" fmla="*/ 6 w 32"/>
                <a:gd name="T25" fmla="*/ 56 h 62"/>
                <a:gd name="T26" fmla="*/ 6 w 32"/>
                <a:gd name="T27" fmla="*/ 58 h 62"/>
                <a:gd name="T28" fmla="*/ 8 w 32"/>
                <a:gd name="T29" fmla="*/ 60 h 62"/>
                <a:gd name="T30" fmla="*/ 10 w 32"/>
                <a:gd name="T31" fmla="*/ 60 h 62"/>
                <a:gd name="T32" fmla="*/ 14 w 32"/>
                <a:gd name="T33" fmla="*/ 62 h 62"/>
                <a:gd name="T34" fmla="*/ 20 w 32"/>
                <a:gd name="T35" fmla="*/ 60 h 62"/>
                <a:gd name="T36" fmla="*/ 26 w 32"/>
                <a:gd name="T37" fmla="*/ 58 h 62"/>
                <a:gd name="T38" fmla="*/ 28 w 32"/>
                <a:gd name="T39" fmla="*/ 58 h 62"/>
                <a:gd name="T40" fmla="*/ 30 w 32"/>
                <a:gd name="T41" fmla="*/ 56 h 62"/>
                <a:gd name="T42" fmla="*/ 32 w 32"/>
                <a:gd name="T43" fmla="*/ 54 h 62"/>
                <a:gd name="T44" fmla="*/ 32 w 32"/>
                <a:gd name="T45" fmla="*/ 50 h 62"/>
                <a:gd name="T46" fmla="*/ 32 w 32"/>
                <a:gd name="T47" fmla="*/ 44 h 62"/>
                <a:gd name="T48" fmla="*/ 32 w 32"/>
                <a:gd name="T49" fmla="*/ 38 h 62"/>
                <a:gd name="T50" fmla="*/ 32 w 32"/>
                <a:gd name="T51" fmla="*/ 28 h 62"/>
                <a:gd name="T52" fmla="*/ 30 w 32"/>
                <a:gd name="T53" fmla="*/ 20 h 62"/>
                <a:gd name="T54" fmla="*/ 28 w 32"/>
                <a:gd name="T55" fmla="*/ 18 h 62"/>
                <a:gd name="T56" fmla="*/ 24 w 32"/>
                <a:gd name="T57" fmla="*/ 14 h 62"/>
                <a:gd name="T58" fmla="*/ 20 w 32"/>
                <a:gd name="T59" fmla="*/ 8 h 62"/>
                <a:gd name="T60" fmla="*/ 16 w 32"/>
                <a:gd name="T61" fmla="*/ 4 h 62"/>
                <a:gd name="T62" fmla="*/ 14 w 32"/>
                <a:gd name="T63" fmla="*/ 2 h 62"/>
                <a:gd name="T64" fmla="*/ 12 w 32"/>
                <a:gd name="T65" fmla="*/ 0 h 62"/>
                <a:gd name="T66" fmla="*/ 10 w 32"/>
                <a:gd name="T6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62">
                  <a:moveTo>
                    <a:pt x="10" y="0"/>
                  </a:moveTo>
                  <a:lnTo>
                    <a:pt x="10" y="0"/>
                  </a:lnTo>
                  <a:lnTo>
                    <a:pt x="8" y="0"/>
                  </a:lnTo>
                  <a:lnTo>
                    <a:pt x="8" y="2"/>
                  </a:lnTo>
                  <a:lnTo>
                    <a:pt x="8" y="2"/>
                  </a:lnTo>
                  <a:lnTo>
                    <a:pt x="6" y="2"/>
                  </a:lnTo>
                  <a:lnTo>
                    <a:pt x="6" y="4"/>
                  </a:lnTo>
                  <a:lnTo>
                    <a:pt x="6" y="6"/>
                  </a:lnTo>
                  <a:lnTo>
                    <a:pt x="4" y="8"/>
                  </a:lnTo>
                  <a:lnTo>
                    <a:pt x="2" y="10"/>
                  </a:lnTo>
                  <a:lnTo>
                    <a:pt x="2" y="14"/>
                  </a:lnTo>
                  <a:lnTo>
                    <a:pt x="0" y="18"/>
                  </a:lnTo>
                  <a:lnTo>
                    <a:pt x="0" y="20"/>
                  </a:lnTo>
                  <a:lnTo>
                    <a:pt x="0" y="24"/>
                  </a:lnTo>
                  <a:lnTo>
                    <a:pt x="0" y="26"/>
                  </a:lnTo>
                  <a:lnTo>
                    <a:pt x="0" y="30"/>
                  </a:lnTo>
                  <a:lnTo>
                    <a:pt x="0" y="32"/>
                  </a:lnTo>
                  <a:lnTo>
                    <a:pt x="0" y="36"/>
                  </a:lnTo>
                  <a:lnTo>
                    <a:pt x="0" y="38"/>
                  </a:lnTo>
                  <a:lnTo>
                    <a:pt x="0" y="40"/>
                  </a:lnTo>
                  <a:lnTo>
                    <a:pt x="0" y="42"/>
                  </a:lnTo>
                  <a:lnTo>
                    <a:pt x="0" y="46"/>
                  </a:lnTo>
                  <a:lnTo>
                    <a:pt x="2" y="48"/>
                  </a:lnTo>
                  <a:lnTo>
                    <a:pt x="2" y="52"/>
                  </a:lnTo>
                  <a:lnTo>
                    <a:pt x="4" y="54"/>
                  </a:lnTo>
                  <a:lnTo>
                    <a:pt x="6" y="56"/>
                  </a:lnTo>
                  <a:lnTo>
                    <a:pt x="6" y="58"/>
                  </a:lnTo>
                  <a:lnTo>
                    <a:pt x="6" y="58"/>
                  </a:lnTo>
                  <a:lnTo>
                    <a:pt x="8" y="60"/>
                  </a:lnTo>
                  <a:lnTo>
                    <a:pt x="8" y="60"/>
                  </a:lnTo>
                  <a:lnTo>
                    <a:pt x="10" y="60"/>
                  </a:lnTo>
                  <a:lnTo>
                    <a:pt x="10" y="60"/>
                  </a:lnTo>
                  <a:lnTo>
                    <a:pt x="12" y="60"/>
                  </a:lnTo>
                  <a:lnTo>
                    <a:pt x="14" y="62"/>
                  </a:lnTo>
                  <a:lnTo>
                    <a:pt x="16" y="60"/>
                  </a:lnTo>
                  <a:lnTo>
                    <a:pt x="20" y="60"/>
                  </a:lnTo>
                  <a:lnTo>
                    <a:pt x="22" y="60"/>
                  </a:lnTo>
                  <a:lnTo>
                    <a:pt x="26" y="58"/>
                  </a:lnTo>
                  <a:lnTo>
                    <a:pt x="26" y="58"/>
                  </a:lnTo>
                  <a:lnTo>
                    <a:pt x="28" y="58"/>
                  </a:lnTo>
                  <a:lnTo>
                    <a:pt x="28" y="58"/>
                  </a:lnTo>
                  <a:lnTo>
                    <a:pt x="30" y="56"/>
                  </a:lnTo>
                  <a:lnTo>
                    <a:pt x="30" y="54"/>
                  </a:lnTo>
                  <a:lnTo>
                    <a:pt x="32" y="54"/>
                  </a:lnTo>
                  <a:lnTo>
                    <a:pt x="32" y="52"/>
                  </a:lnTo>
                  <a:lnTo>
                    <a:pt x="32" y="50"/>
                  </a:lnTo>
                  <a:lnTo>
                    <a:pt x="32" y="46"/>
                  </a:lnTo>
                  <a:lnTo>
                    <a:pt x="32" y="44"/>
                  </a:lnTo>
                  <a:lnTo>
                    <a:pt x="32" y="42"/>
                  </a:lnTo>
                  <a:lnTo>
                    <a:pt x="32" y="38"/>
                  </a:lnTo>
                  <a:lnTo>
                    <a:pt x="32" y="34"/>
                  </a:lnTo>
                  <a:lnTo>
                    <a:pt x="32" y="28"/>
                  </a:lnTo>
                  <a:lnTo>
                    <a:pt x="30" y="24"/>
                  </a:lnTo>
                  <a:lnTo>
                    <a:pt x="30" y="20"/>
                  </a:lnTo>
                  <a:lnTo>
                    <a:pt x="28" y="20"/>
                  </a:lnTo>
                  <a:lnTo>
                    <a:pt x="28" y="18"/>
                  </a:lnTo>
                  <a:lnTo>
                    <a:pt x="26" y="16"/>
                  </a:lnTo>
                  <a:lnTo>
                    <a:pt x="24" y="14"/>
                  </a:lnTo>
                  <a:lnTo>
                    <a:pt x="22" y="12"/>
                  </a:lnTo>
                  <a:lnTo>
                    <a:pt x="20" y="8"/>
                  </a:lnTo>
                  <a:lnTo>
                    <a:pt x="18" y="6"/>
                  </a:lnTo>
                  <a:lnTo>
                    <a:pt x="16" y="4"/>
                  </a:lnTo>
                  <a:lnTo>
                    <a:pt x="16" y="2"/>
                  </a:lnTo>
                  <a:lnTo>
                    <a:pt x="14" y="2"/>
                  </a:lnTo>
                  <a:lnTo>
                    <a:pt x="12" y="2"/>
                  </a:lnTo>
                  <a:lnTo>
                    <a:pt x="12" y="0"/>
                  </a:lnTo>
                  <a:lnTo>
                    <a:pt x="10" y="0"/>
                  </a:lnTo>
                  <a:lnTo>
                    <a:pt x="10"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9" name="Freeform 127">
              <a:extLst>
                <a:ext uri="{FF2B5EF4-FFF2-40B4-BE49-F238E27FC236}">
                  <a16:creationId xmlns:a16="http://schemas.microsoft.com/office/drawing/2014/main" id="{31F319A9-B230-441A-A22F-A9DDEAB90931}"/>
                </a:ext>
              </a:extLst>
            </p:cNvPr>
            <p:cNvSpPr>
              <a:spLocks/>
            </p:cNvSpPr>
            <p:nvPr/>
          </p:nvSpPr>
          <p:spPr bwMode="auto">
            <a:xfrm>
              <a:off x="6261098" y="4369079"/>
              <a:ext cx="55426" cy="107389"/>
            </a:xfrm>
            <a:custGeom>
              <a:avLst/>
              <a:gdLst>
                <a:gd name="T0" fmla="*/ 10 w 32"/>
                <a:gd name="T1" fmla="*/ 0 h 62"/>
                <a:gd name="T2" fmla="*/ 8 w 32"/>
                <a:gd name="T3" fmla="*/ 2 h 62"/>
                <a:gd name="T4" fmla="*/ 6 w 32"/>
                <a:gd name="T5" fmla="*/ 2 h 62"/>
                <a:gd name="T6" fmla="*/ 6 w 32"/>
                <a:gd name="T7" fmla="*/ 6 h 62"/>
                <a:gd name="T8" fmla="*/ 2 w 32"/>
                <a:gd name="T9" fmla="*/ 10 h 62"/>
                <a:gd name="T10" fmla="*/ 0 w 32"/>
                <a:gd name="T11" fmla="*/ 18 h 62"/>
                <a:gd name="T12" fmla="*/ 0 w 32"/>
                <a:gd name="T13" fmla="*/ 24 h 62"/>
                <a:gd name="T14" fmla="*/ 0 w 32"/>
                <a:gd name="T15" fmla="*/ 30 h 62"/>
                <a:gd name="T16" fmla="*/ 0 w 32"/>
                <a:gd name="T17" fmla="*/ 36 h 62"/>
                <a:gd name="T18" fmla="*/ 0 w 32"/>
                <a:gd name="T19" fmla="*/ 40 h 62"/>
                <a:gd name="T20" fmla="*/ 0 w 32"/>
                <a:gd name="T21" fmla="*/ 46 h 62"/>
                <a:gd name="T22" fmla="*/ 2 w 32"/>
                <a:gd name="T23" fmla="*/ 52 h 62"/>
                <a:gd name="T24" fmla="*/ 6 w 32"/>
                <a:gd name="T25" fmla="*/ 56 h 62"/>
                <a:gd name="T26" fmla="*/ 6 w 32"/>
                <a:gd name="T27" fmla="*/ 58 h 62"/>
                <a:gd name="T28" fmla="*/ 8 w 32"/>
                <a:gd name="T29" fmla="*/ 60 h 62"/>
                <a:gd name="T30" fmla="*/ 10 w 32"/>
                <a:gd name="T31" fmla="*/ 60 h 62"/>
                <a:gd name="T32" fmla="*/ 14 w 32"/>
                <a:gd name="T33" fmla="*/ 62 h 62"/>
                <a:gd name="T34" fmla="*/ 20 w 32"/>
                <a:gd name="T35" fmla="*/ 60 h 62"/>
                <a:gd name="T36" fmla="*/ 26 w 32"/>
                <a:gd name="T37" fmla="*/ 58 h 62"/>
                <a:gd name="T38" fmla="*/ 28 w 32"/>
                <a:gd name="T39" fmla="*/ 58 h 62"/>
                <a:gd name="T40" fmla="*/ 30 w 32"/>
                <a:gd name="T41" fmla="*/ 56 h 62"/>
                <a:gd name="T42" fmla="*/ 32 w 32"/>
                <a:gd name="T43" fmla="*/ 54 h 62"/>
                <a:gd name="T44" fmla="*/ 32 w 32"/>
                <a:gd name="T45" fmla="*/ 50 h 62"/>
                <a:gd name="T46" fmla="*/ 32 w 32"/>
                <a:gd name="T47" fmla="*/ 44 h 62"/>
                <a:gd name="T48" fmla="*/ 32 w 32"/>
                <a:gd name="T49" fmla="*/ 38 h 62"/>
                <a:gd name="T50" fmla="*/ 32 w 32"/>
                <a:gd name="T51" fmla="*/ 28 h 62"/>
                <a:gd name="T52" fmla="*/ 30 w 32"/>
                <a:gd name="T53" fmla="*/ 20 h 62"/>
                <a:gd name="T54" fmla="*/ 28 w 32"/>
                <a:gd name="T55" fmla="*/ 18 h 62"/>
                <a:gd name="T56" fmla="*/ 24 w 32"/>
                <a:gd name="T57" fmla="*/ 14 h 62"/>
                <a:gd name="T58" fmla="*/ 20 w 32"/>
                <a:gd name="T59" fmla="*/ 8 h 62"/>
                <a:gd name="T60" fmla="*/ 16 w 32"/>
                <a:gd name="T61" fmla="*/ 4 h 62"/>
                <a:gd name="T62" fmla="*/ 14 w 32"/>
                <a:gd name="T63" fmla="*/ 2 h 62"/>
                <a:gd name="T64" fmla="*/ 12 w 32"/>
                <a:gd name="T65" fmla="*/ 0 h 62"/>
                <a:gd name="T66" fmla="*/ 10 w 32"/>
                <a:gd name="T6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62">
                  <a:moveTo>
                    <a:pt x="10" y="0"/>
                  </a:moveTo>
                  <a:lnTo>
                    <a:pt x="10" y="0"/>
                  </a:lnTo>
                  <a:lnTo>
                    <a:pt x="8" y="0"/>
                  </a:lnTo>
                  <a:lnTo>
                    <a:pt x="8" y="2"/>
                  </a:lnTo>
                  <a:lnTo>
                    <a:pt x="8" y="2"/>
                  </a:lnTo>
                  <a:lnTo>
                    <a:pt x="6" y="2"/>
                  </a:lnTo>
                  <a:lnTo>
                    <a:pt x="6" y="4"/>
                  </a:lnTo>
                  <a:lnTo>
                    <a:pt x="6" y="6"/>
                  </a:lnTo>
                  <a:lnTo>
                    <a:pt x="4" y="8"/>
                  </a:lnTo>
                  <a:lnTo>
                    <a:pt x="2" y="10"/>
                  </a:lnTo>
                  <a:lnTo>
                    <a:pt x="2" y="14"/>
                  </a:lnTo>
                  <a:lnTo>
                    <a:pt x="0" y="18"/>
                  </a:lnTo>
                  <a:lnTo>
                    <a:pt x="0" y="20"/>
                  </a:lnTo>
                  <a:lnTo>
                    <a:pt x="0" y="24"/>
                  </a:lnTo>
                  <a:lnTo>
                    <a:pt x="0" y="26"/>
                  </a:lnTo>
                  <a:lnTo>
                    <a:pt x="0" y="30"/>
                  </a:lnTo>
                  <a:lnTo>
                    <a:pt x="0" y="32"/>
                  </a:lnTo>
                  <a:lnTo>
                    <a:pt x="0" y="36"/>
                  </a:lnTo>
                  <a:lnTo>
                    <a:pt x="0" y="38"/>
                  </a:lnTo>
                  <a:lnTo>
                    <a:pt x="0" y="40"/>
                  </a:lnTo>
                  <a:lnTo>
                    <a:pt x="0" y="42"/>
                  </a:lnTo>
                  <a:lnTo>
                    <a:pt x="0" y="46"/>
                  </a:lnTo>
                  <a:lnTo>
                    <a:pt x="2" y="48"/>
                  </a:lnTo>
                  <a:lnTo>
                    <a:pt x="2" y="52"/>
                  </a:lnTo>
                  <a:lnTo>
                    <a:pt x="4" y="54"/>
                  </a:lnTo>
                  <a:lnTo>
                    <a:pt x="6" y="56"/>
                  </a:lnTo>
                  <a:lnTo>
                    <a:pt x="6" y="58"/>
                  </a:lnTo>
                  <a:lnTo>
                    <a:pt x="6" y="58"/>
                  </a:lnTo>
                  <a:lnTo>
                    <a:pt x="8" y="60"/>
                  </a:lnTo>
                  <a:lnTo>
                    <a:pt x="8" y="60"/>
                  </a:lnTo>
                  <a:lnTo>
                    <a:pt x="10" y="60"/>
                  </a:lnTo>
                  <a:lnTo>
                    <a:pt x="10" y="60"/>
                  </a:lnTo>
                  <a:lnTo>
                    <a:pt x="12" y="60"/>
                  </a:lnTo>
                  <a:lnTo>
                    <a:pt x="14" y="62"/>
                  </a:lnTo>
                  <a:lnTo>
                    <a:pt x="16" y="60"/>
                  </a:lnTo>
                  <a:lnTo>
                    <a:pt x="20" y="60"/>
                  </a:lnTo>
                  <a:lnTo>
                    <a:pt x="22" y="60"/>
                  </a:lnTo>
                  <a:lnTo>
                    <a:pt x="26" y="58"/>
                  </a:lnTo>
                  <a:lnTo>
                    <a:pt x="26" y="58"/>
                  </a:lnTo>
                  <a:lnTo>
                    <a:pt x="28" y="58"/>
                  </a:lnTo>
                  <a:lnTo>
                    <a:pt x="28" y="58"/>
                  </a:lnTo>
                  <a:lnTo>
                    <a:pt x="30" y="56"/>
                  </a:lnTo>
                  <a:lnTo>
                    <a:pt x="30" y="54"/>
                  </a:lnTo>
                  <a:lnTo>
                    <a:pt x="32" y="54"/>
                  </a:lnTo>
                  <a:lnTo>
                    <a:pt x="32" y="52"/>
                  </a:lnTo>
                  <a:lnTo>
                    <a:pt x="32" y="50"/>
                  </a:lnTo>
                  <a:lnTo>
                    <a:pt x="32" y="46"/>
                  </a:lnTo>
                  <a:lnTo>
                    <a:pt x="32" y="44"/>
                  </a:lnTo>
                  <a:lnTo>
                    <a:pt x="32" y="42"/>
                  </a:lnTo>
                  <a:lnTo>
                    <a:pt x="32" y="38"/>
                  </a:lnTo>
                  <a:lnTo>
                    <a:pt x="32" y="34"/>
                  </a:lnTo>
                  <a:lnTo>
                    <a:pt x="32" y="28"/>
                  </a:lnTo>
                  <a:lnTo>
                    <a:pt x="30" y="24"/>
                  </a:lnTo>
                  <a:lnTo>
                    <a:pt x="30" y="20"/>
                  </a:lnTo>
                  <a:lnTo>
                    <a:pt x="28" y="20"/>
                  </a:lnTo>
                  <a:lnTo>
                    <a:pt x="28" y="18"/>
                  </a:lnTo>
                  <a:lnTo>
                    <a:pt x="26" y="16"/>
                  </a:lnTo>
                  <a:lnTo>
                    <a:pt x="24" y="14"/>
                  </a:lnTo>
                  <a:lnTo>
                    <a:pt x="22" y="12"/>
                  </a:lnTo>
                  <a:lnTo>
                    <a:pt x="20" y="8"/>
                  </a:lnTo>
                  <a:lnTo>
                    <a:pt x="18" y="6"/>
                  </a:lnTo>
                  <a:lnTo>
                    <a:pt x="16" y="4"/>
                  </a:lnTo>
                  <a:lnTo>
                    <a:pt x="16" y="2"/>
                  </a:lnTo>
                  <a:lnTo>
                    <a:pt x="14" y="2"/>
                  </a:lnTo>
                  <a:lnTo>
                    <a:pt x="12" y="2"/>
                  </a:lnTo>
                  <a:lnTo>
                    <a:pt x="12" y="0"/>
                  </a:lnTo>
                  <a:lnTo>
                    <a:pt x="10" y="0"/>
                  </a:lnTo>
                  <a:lnTo>
                    <a:pt x="10"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0" name="Freeform 128">
              <a:extLst>
                <a:ext uri="{FF2B5EF4-FFF2-40B4-BE49-F238E27FC236}">
                  <a16:creationId xmlns:a16="http://schemas.microsoft.com/office/drawing/2014/main" id="{9B2FFD38-875B-412B-95A0-9C26163FFB5E}"/>
                </a:ext>
              </a:extLst>
            </p:cNvPr>
            <p:cNvSpPr>
              <a:spLocks/>
            </p:cNvSpPr>
            <p:nvPr/>
          </p:nvSpPr>
          <p:spPr bwMode="auto">
            <a:xfrm>
              <a:off x="5329242" y="4095411"/>
              <a:ext cx="249419" cy="190528"/>
            </a:xfrm>
            <a:custGeom>
              <a:avLst/>
              <a:gdLst>
                <a:gd name="T0" fmla="*/ 50 w 144"/>
                <a:gd name="T1" fmla="*/ 48 h 110"/>
                <a:gd name="T2" fmla="*/ 52 w 144"/>
                <a:gd name="T3" fmla="*/ 40 h 110"/>
                <a:gd name="T4" fmla="*/ 50 w 144"/>
                <a:gd name="T5" fmla="*/ 38 h 110"/>
                <a:gd name="T6" fmla="*/ 48 w 144"/>
                <a:gd name="T7" fmla="*/ 36 h 110"/>
                <a:gd name="T8" fmla="*/ 42 w 144"/>
                <a:gd name="T9" fmla="*/ 34 h 110"/>
                <a:gd name="T10" fmla="*/ 30 w 144"/>
                <a:gd name="T11" fmla="*/ 34 h 110"/>
                <a:gd name="T12" fmla="*/ 18 w 144"/>
                <a:gd name="T13" fmla="*/ 34 h 110"/>
                <a:gd name="T14" fmla="*/ 10 w 144"/>
                <a:gd name="T15" fmla="*/ 34 h 110"/>
                <a:gd name="T16" fmla="*/ 4 w 144"/>
                <a:gd name="T17" fmla="*/ 38 h 110"/>
                <a:gd name="T18" fmla="*/ 0 w 144"/>
                <a:gd name="T19" fmla="*/ 66 h 110"/>
                <a:gd name="T20" fmla="*/ 0 w 144"/>
                <a:gd name="T21" fmla="*/ 84 h 110"/>
                <a:gd name="T22" fmla="*/ 0 w 144"/>
                <a:gd name="T23" fmla="*/ 90 h 110"/>
                <a:gd name="T24" fmla="*/ 2 w 144"/>
                <a:gd name="T25" fmla="*/ 94 h 110"/>
                <a:gd name="T26" fmla="*/ 6 w 144"/>
                <a:gd name="T27" fmla="*/ 102 h 110"/>
                <a:gd name="T28" fmla="*/ 10 w 144"/>
                <a:gd name="T29" fmla="*/ 106 h 110"/>
                <a:gd name="T30" fmla="*/ 16 w 144"/>
                <a:gd name="T31" fmla="*/ 108 h 110"/>
                <a:gd name="T32" fmla="*/ 22 w 144"/>
                <a:gd name="T33" fmla="*/ 110 h 110"/>
                <a:gd name="T34" fmla="*/ 24 w 144"/>
                <a:gd name="T35" fmla="*/ 110 h 110"/>
                <a:gd name="T36" fmla="*/ 26 w 144"/>
                <a:gd name="T37" fmla="*/ 106 h 110"/>
                <a:gd name="T38" fmla="*/ 32 w 144"/>
                <a:gd name="T39" fmla="*/ 100 h 110"/>
                <a:gd name="T40" fmla="*/ 44 w 144"/>
                <a:gd name="T41" fmla="*/ 88 h 110"/>
                <a:gd name="T42" fmla="*/ 50 w 144"/>
                <a:gd name="T43" fmla="*/ 82 h 110"/>
                <a:gd name="T44" fmla="*/ 52 w 144"/>
                <a:gd name="T45" fmla="*/ 80 h 110"/>
                <a:gd name="T46" fmla="*/ 58 w 144"/>
                <a:gd name="T47" fmla="*/ 78 h 110"/>
                <a:gd name="T48" fmla="*/ 72 w 144"/>
                <a:gd name="T49" fmla="*/ 80 h 110"/>
                <a:gd name="T50" fmla="*/ 84 w 144"/>
                <a:gd name="T51" fmla="*/ 80 h 110"/>
                <a:gd name="T52" fmla="*/ 90 w 144"/>
                <a:gd name="T53" fmla="*/ 78 h 110"/>
                <a:gd name="T54" fmla="*/ 92 w 144"/>
                <a:gd name="T55" fmla="*/ 76 h 110"/>
                <a:gd name="T56" fmla="*/ 98 w 144"/>
                <a:gd name="T57" fmla="*/ 70 h 110"/>
                <a:gd name="T58" fmla="*/ 102 w 144"/>
                <a:gd name="T59" fmla="*/ 68 h 110"/>
                <a:gd name="T60" fmla="*/ 108 w 144"/>
                <a:gd name="T61" fmla="*/ 66 h 110"/>
                <a:gd name="T62" fmla="*/ 122 w 144"/>
                <a:gd name="T63" fmla="*/ 66 h 110"/>
                <a:gd name="T64" fmla="*/ 130 w 144"/>
                <a:gd name="T65" fmla="*/ 66 h 110"/>
                <a:gd name="T66" fmla="*/ 134 w 144"/>
                <a:gd name="T67" fmla="*/ 62 h 110"/>
                <a:gd name="T68" fmla="*/ 134 w 144"/>
                <a:gd name="T69" fmla="*/ 62 h 110"/>
                <a:gd name="T70" fmla="*/ 134 w 144"/>
                <a:gd name="T71" fmla="*/ 56 h 110"/>
                <a:gd name="T72" fmla="*/ 134 w 144"/>
                <a:gd name="T73" fmla="*/ 52 h 110"/>
                <a:gd name="T74" fmla="*/ 134 w 144"/>
                <a:gd name="T75" fmla="*/ 50 h 110"/>
                <a:gd name="T76" fmla="*/ 140 w 144"/>
                <a:gd name="T77" fmla="*/ 44 h 110"/>
                <a:gd name="T78" fmla="*/ 142 w 144"/>
                <a:gd name="T79" fmla="*/ 32 h 110"/>
                <a:gd name="T80" fmla="*/ 130 w 144"/>
                <a:gd name="T81" fmla="*/ 0 h 110"/>
                <a:gd name="T82" fmla="*/ 112 w 144"/>
                <a:gd name="T83" fmla="*/ 2 h 110"/>
                <a:gd name="T84" fmla="*/ 98 w 144"/>
                <a:gd name="T85" fmla="*/ 4 h 110"/>
                <a:gd name="T86" fmla="*/ 90 w 144"/>
                <a:gd name="T87" fmla="*/ 8 h 110"/>
                <a:gd name="T88" fmla="*/ 84 w 144"/>
                <a:gd name="T89" fmla="*/ 12 h 110"/>
                <a:gd name="T90" fmla="*/ 78 w 144"/>
                <a:gd name="T91" fmla="*/ 18 h 110"/>
                <a:gd name="T92" fmla="*/ 74 w 144"/>
                <a:gd name="T93" fmla="*/ 24 h 110"/>
                <a:gd name="T94" fmla="*/ 74 w 144"/>
                <a:gd name="T95" fmla="*/ 28 h 110"/>
                <a:gd name="T96" fmla="*/ 72 w 144"/>
                <a:gd name="T97" fmla="*/ 38 h 110"/>
                <a:gd name="T98" fmla="*/ 70 w 144"/>
                <a:gd name="T99" fmla="*/ 44 h 110"/>
                <a:gd name="T100" fmla="*/ 68 w 144"/>
                <a:gd name="T101" fmla="*/ 46 h 110"/>
                <a:gd name="T102" fmla="*/ 58 w 144"/>
                <a:gd name="T103" fmla="*/ 5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10">
                  <a:moveTo>
                    <a:pt x="50" y="60"/>
                  </a:moveTo>
                  <a:lnTo>
                    <a:pt x="50" y="60"/>
                  </a:lnTo>
                  <a:lnTo>
                    <a:pt x="50" y="48"/>
                  </a:lnTo>
                  <a:lnTo>
                    <a:pt x="52" y="44"/>
                  </a:lnTo>
                  <a:lnTo>
                    <a:pt x="52" y="42"/>
                  </a:lnTo>
                  <a:lnTo>
                    <a:pt x="52" y="40"/>
                  </a:lnTo>
                  <a:lnTo>
                    <a:pt x="52" y="40"/>
                  </a:lnTo>
                  <a:lnTo>
                    <a:pt x="52" y="38"/>
                  </a:lnTo>
                  <a:lnTo>
                    <a:pt x="50" y="38"/>
                  </a:lnTo>
                  <a:lnTo>
                    <a:pt x="50" y="36"/>
                  </a:lnTo>
                  <a:lnTo>
                    <a:pt x="50" y="36"/>
                  </a:lnTo>
                  <a:lnTo>
                    <a:pt x="48" y="36"/>
                  </a:lnTo>
                  <a:lnTo>
                    <a:pt x="46" y="36"/>
                  </a:lnTo>
                  <a:lnTo>
                    <a:pt x="44" y="34"/>
                  </a:lnTo>
                  <a:lnTo>
                    <a:pt x="42" y="34"/>
                  </a:lnTo>
                  <a:lnTo>
                    <a:pt x="40" y="34"/>
                  </a:lnTo>
                  <a:lnTo>
                    <a:pt x="36" y="34"/>
                  </a:lnTo>
                  <a:lnTo>
                    <a:pt x="30" y="34"/>
                  </a:lnTo>
                  <a:lnTo>
                    <a:pt x="28" y="34"/>
                  </a:lnTo>
                  <a:lnTo>
                    <a:pt x="24" y="34"/>
                  </a:lnTo>
                  <a:lnTo>
                    <a:pt x="18" y="34"/>
                  </a:lnTo>
                  <a:lnTo>
                    <a:pt x="14" y="34"/>
                  </a:lnTo>
                  <a:lnTo>
                    <a:pt x="12" y="34"/>
                  </a:lnTo>
                  <a:lnTo>
                    <a:pt x="10" y="34"/>
                  </a:lnTo>
                  <a:lnTo>
                    <a:pt x="10" y="36"/>
                  </a:lnTo>
                  <a:lnTo>
                    <a:pt x="8" y="36"/>
                  </a:lnTo>
                  <a:lnTo>
                    <a:pt x="4" y="38"/>
                  </a:lnTo>
                  <a:lnTo>
                    <a:pt x="0" y="42"/>
                  </a:lnTo>
                  <a:lnTo>
                    <a:pt x="0" y="54"/>
                  </a:lnTo>
                  <a:lnTo>
                    <a:pt x="0" y="66"/>
                  </a:lnTo>
                  <a:lnTo>
                    <a:pt x="0" y="74"/>
                  </a:lnTo>
                  <a:lnTo>
                    <a:pt x="0" y="78"/>
                  </a:lnTo>
                  <a:lnTo>
                    <a:pt x="0" y="84"/>
                  </a:lnTo>
                  <a:lnTo>
                    <a:pt x="0" y="86"/>
                  </a:lnTo>
                  <a:lnTo>
                    <a:pt x="0" y="88"/>
                  </a:lnTo>
                  <a:lnTo>
                    <a:pt x="0" y="90"/>
                  </a:lnTo>
                  <a:lnTo>
                    <a:pt x="0" y="92"/>
                  </a:lnTo>
                  <a:lnTo>
                    <a:pt x="2" y="94"/>
                  </a:lnTo>
                  <a:lnTo>
                    <a:pt x="2" y="94"/>
                  </a:lnTo>
                  <a:lnTo>
                    <a:pt x="4" y="98"/>
                  </a:lnTo>
                  <a:lnTo>
                    <a:pt x="6" y="100"/>
                  </a:lnTo>
                  <a:lnTo>
                    <a:pt x="6" y="102"/>
                  </a:lnTo>
                  <a:lnTo>
                    <a:pt x="8" y="102"/>
                  </a:lnTo>
                  <a:lnTo>
                    <a:pt x="8" y="104"/>
                  </a:lnTo>
                  <a:lnTo>
                    <a:pt x="10" y="106"/>
                  </a:lnTo>
                  <a:lnTo>
                    <a:pt x="12" y="106"/>
                  </a:lnTo>
                  <a:lnTo>
                    <a:pt x="14" y="108"/>
                  </a:lnTo>
                  <a:lnTo>
                    <a:pt x="16" y="108"/>
                  </a:lnTo>
                  <a:lnTo>
                    <a:pt x="18" y="110"/>
                  </a:lnTo>
                  <a:lnTo>
                    <a:pt x="20" y="110"/>
                  </a:lnTo>
                  <a:lnTo>
                    <a:pt x="22" y="110"/>
                  </a:lnTo>
                  <a:lnTo>
                    <a:pt x="22" y="110"/>
                  </a:lnTo>
                  <a:lnTo>
                    <a:pt x="22" y="110"/>
                  </a:lnTo>
                  <a:lnTo>
                    <a:pt x="24" y="110"/>
                  </a:lnTo>
                  <a:lnTo>
                    <a:pt x="24" y="108"/>
                  </a:lnTo>
                  <a:lnTo>
                    <a:pt x="26" y="108"/>
                  </a:lnTo>
                  <a:lnTo>
                    <a:pt x="26" y="106"/>
                  </a:lnTo>
                  <a:lnTo>
                    <a:pt x="28" y="106"/>
                  </a:lnTo>
                  <a:lnTo>
                    <a:pt x="30" y="102"/>
                  </a:lnTo>
                  <a:lnTo>
                    <a:pt x="32" y="100"/>
                  </a:lnTo>
                  <a:lnTo>
                    <a:pt x="34" y="98"/>
                  </a:lnTo>
                  <a:lnTo>
                    <a:pt x="40" y="92"/>
                  </a:lnTo>
                  <a:lnTo>
                    <a:pt x="44" y="88"/>
                  </a:lnTo>
                  <a:lnTo>
                    <a:pt x="48" y="86"/>
                  </a:lnTo>
                  <a:lnTo>
                    <a:pt x="48" y="84"/>
                  </a:lnTo>
                  <a:lnTo>
                    <a:pt x="50" y="82"/>
                  </a:lnTo>
                  <a:lnTo>
                    <a:pt x="52" y="82"/>
                  </a:lnTo>
                  <a:lnTo>
                    <a:pt x="52" y="80"/>
                  </a:lnTo>
                  <a:lnTo>
                    <a:pt x="52" y="80"/>
                  </a:lnTo>
                  <a:lnTo>
                    <a:pt x="54" y="80"/>
                  </a:lnTo>
                  <a:lnTo>
                    <a:pt x="56" y="78"/>
                  </a:lnTo>
                  <a:lnTo>
                    <a:pt x="58" y="78"/>
                  </a:lnTo>
                  <a:lnTo>
                    <a:pt x="62" y="78"/>
                  </a:lnTo>
                  <a:lnTo>
                    <a:pt x="66" y="78"/>
                  </a:lnTo>
                  <a:lnTo>
                    <a:pt x="72" y="80"/>
                  </a:lnTo>
                  <a:lnTo>
                    <a:pt x="76" y="80"/>
                  </a:lnTo>
                  <a:lnTo>
                    <a:pt x="82" y="80"/>
                  </a:lnTo>
                  <a:lnTo>
                    <a:pt x="84" y="80"/>
                  </a:lnTo>
                  <a:lnTo>
                    <a:pt x="86" y="80"/>
                  </a:lnTo>
                  <a:lnTo>
                    <a:pt x="88" y="80"/>
                  </a:lnTo>
                  <a:lnTo>
                    <a:pt x="90" y="78"/>
                  </a:lnTo>
                  <a:lnTo>
                    <a:pt x="90" y="78"/>
                  </a:lnTo>
                  <a:lnTo>
                    <a:pt x="92" y="78"/>
                  </a:lnTo>
                  <a:lnTo>
                    <a:pt x="92" y="76"/>
                  </a:lnTo>
                  <a:lnTo>
                    <a:pt x="94" y="76"/>
                  </a:lnTo>
                  <a:lnTo>
                    <a:pt x="96" y="74"/>
                  </a:lnTo>
                  <a:lnTo>
                    <a:pt x="98" y="70"/>
                  </a:lnTo>
                  <a:lnTo>
                    <a:pt x="100" y="70"/>
                  </a:lnTo>
                  <a:lnTo>
                    <a:pt x="100" y="68"/>
                  </a:lnTo>
                  <a:lnTo>
                    <a:pt x="102" y="68"/>
                  </a:lnTo>
                  <a:lnTo>
                    <a:pt x="104" y="68"/>
                  </a:lnTo>
                  <a:lnTo>
                    <a:pt x="106" y="68"/>
                  </a:lnTo>
                  <a:lnTo>
                    <a:pt x="108" y="66"/>
                  </a:lnTo>
                  <a:lnTo>
                    <a:pt x="114" y="66"/>
                  </a:lnTo>
                  <a:lnTo>
                    <a:pt x="118" y="66"/>
                  </a:lnTo>
                  <a:lnTo>
                    <a:pt x="122" y="66"/>
                  </a:lnTo>
                  <a:lnTo>
                    <a:pt x="126" y="66"/>
                  </a:lnTo>
                  <a:lnTo>
                    <a:pt x="128" y="66"/>
                  </a:lnTo>
                  <a:lnTo>
                    <a:pt x="130" y="66"/>
                  </a:lnTo>
                  <a:lnTo>
                    <a:pt x="132" y="64"/>
                  </a:lnTo>
                  <a:lnTo>
                    <a:pt x="132" y="64"/>
                  </a:lnTo>
                  <a:lnTo>
                    <a:pt x="134" y="62"/>
                  </a:lnTo>
                  <a:lnTo>
                    <a:pt x="134" y="62"/>
                  </a:lnTo>
                  <a:lnTo>
                    <a:pt x="134" y="62"/>
                  </a:lnTo>
                  <a:lnTo>
                    <a:pt x="134" y="62"/>
                  </a:lnTo>
                  <a:lnTo>
                    <a:pt x="134" y="60"/>
                  </a:lnTo>
                  <a:lnTo>
                    <a:pt x="134" y="58"/>
                  </a:lnTo>
                  <a:lnTo>
                    <a:pt x="134" y="56"/>
                  </a:lnTo>
                  <a:lnTo>
                    <a:pt x="134" y="54"/>
                  </a:lnTo>
                  <a:lnTo>
                    <a:pt x="134" y="52"/>
                  </a:lnTo>
                  <a:lnTo>
                    <a:pt x="134" y="52"/>
                  </a:lnTo>
                  <a:lnTo>
                    <a:pt x="134" y="52"/>
                  </a:lnTo>
                  <a:lnTo>
                    <a:pt x="134" y="50"/>
                  </a:lnTo>
                  <a:lnTo>
                    <a:pt x="134" y="50"/>
                  </a:lnTo>
                  <a:lnTo>
                    <a:pt x="136" y="48"/>
                  </a:lnTo>
                  <a:lnTo>
                    <a:pt x="138" y="46"/>
                  </a:lnTo>
                  <a:lnTo>
                    <a:pt x="140" y="44"/>
                  </a:lnTo>
                  <a:lnTo>
                    <a:pt x="144" y="42"/>
                  </a:lnTo>
                  <a:lnTo>
                    <a:pt x="144" y="42"/>
                  </a:lnTo>
                  <a:lnTo>
                    <a:pt x="142" y="32"/>
                  </a:lnTo>
                  <a:lnTo>
                    <a:pt x="136" y="18"/>
                  </a:lnTo>
                  <a:lnTo>
                    <a:pt x="132" y="8"/>
                  </a:lnTo>
                  <a:lnTo>
                    <a:pt x="130" y="0"/>
                  </a:lnTo>
                  <a:lnTo>
                    <a:pt x="124" y="2"/>
                  </a:lnTo>
                  <a:lnTo>
                    <a:pt x="118" y="2"/>
                  </a:lnTo>
                  <a:lnTo>
                    <a:pt x="112" y="2"/>
                  </a:lnTo>
                  <a:lnTo>
                    <a:pt x="104" y="4"/>
                  </a:lnTo>
                  <a:lnTo>
                    <a:pt x="102" y="4"/>
                  </a:lnTo>
                  <a:lnTo>
                    <a:pt x="98" y="4"/>
                  </a:lnTo>
                  <a:lnTo>
                    <a:pt x="94" y="6"/>
                  </a:lnTo>
                  <a:lnTo>
                    <a:pt x="92" y="6"/>
                  </a:lnTo>
                  <a:lnTo>
                    <a:pt x="90" y="8"/>
                  </a:lnTo>
                  <a:lnTo>
                    <a:pt x="88" y="8"/>
                  </a:lnTo>
                  <a:lnTo>
                    <a:pt x="86" y="10"/>
                  </a:lnTo>
                  <a:lnTo>
                    <a:pt x="84" y="12"/>
                  </a:lnTo>
                  <a:lnTo>
                    <a:pt x="82" y="14"/>
                  </a:lnTo>
                  <a:lnTo>
                    <a:pt x="80" y="16"/>
                  </a:lnTo>
                  <a:lnTo>
                    <a:pt x="78" y="18"/>
                  </a:lnTo>
                  <a:lnTo>
                    <a:pt x="76" y="20"/>
                  </a:lnTo>
                  <a:lnTo>
                    <a:pt x="76" y="22"/>
                  </a:lnTo>
                  <a:lnTo>
                    <a:pt x="74" y="24"/>
                  </a:lnTo>
                  <a:lnTo>
                    <a:pt x="74" y="24"/>
                  </a:lnTo>
                  <a:lnTo>
                    <a:pt x="74" y="26"/>
                  </a:lnTo>
                  <a:lnTo>
                    <a:pt x="74" y="28"/>
                  </a:lnTo>
                  <a:lnTo>
                    <a:pt x="72" y="32"/>
                  </a:lnTo>
                  <a:lnTo>
                    <a:pt x="72" y="34"/>
                  </a:lnTo>
                  <a:lnTo>
                    <a:pt x="72" y="38"/>
                  </a:lnTo>
                  <a:lnTo>
                    <a:pt x="72" y="40"/>
                  </a:lnTo>
                  <a:lnTo>
                    <a:pt x="70" y="42"/>
                  </a:lnTo>
                  <a:lnTo>
                    <a:pt x="70" y="44"/>
                  </a:lnTo>
                  <a:lnTo>
                    <a:pt x="70" y="44"/>
                  </a:lnTo>
                  <a:lnTo>
                    <a:pt x="68" y="46"/>
                  </a:lnTo>
                  <a:lnTo>
                    <a:pt x="68" y="46"/>
                  </a:lnTo>
                  <a:lnTo>
                    <a:pt x="66" y="50"/>
                  </a:lnTo>
                  <a:lnTo>
                    <a:pt x="62" y="52"/>
                  </a:lnTo>
                  <a:lnTo>
                    <a:pt x="58" y="54"/>
                  </a:lnTo>
                  <a:lnTo>
                    <a:pt x="54" y="58"/>
                  </a:lnTo>
                  <a:lnTo>
                    <a:pt x="50" y="6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1" name="Freeform 129">
              <a:extLst>
                <a:ext uri="{FF2B5EF4-FFF2-40B4-BE49-F238E27FC236}">
                  <a16:creationId xmlns:a16="http://schemas.microsoft.com/office/drawing/2014/main" id="{FC238CCF-20A1-488A-AF60-25BE5DBDDDA3}"/>
                </a:ext>
              </a:extLst>
            </p:cNvPr>
            <p:cNvSpPr>
              <a:spLocks/>
            </p:cNvSpPr>
            <p:nvPr/>
          </p:nvSpPr>
          <p:spPr bwMode="auto">
            <a:xfrm>
              <a:off x="5329242" y="4095411"/>
              <a:ext cx="249419" cy="190528"/>
            </a:xfrm>
            <a:custGeom>
              <a:avLst/>
              <a:gdLst>
                <a:gd name="T0" fmla="*/ 50 w 144"/>
                <a:gd name="T1" fmla="*/ 48 h 110"/>
                <a:gd name="T2" fmla="*/ 52 w 144"/>
                <a:gd name="T3" fmla="*/ 40 h 110"/>
                <a:gd name="T4" fmla="*/ 50 w 144"/>
                <a:gd name="T5" fmla="*/ 38 h 110"/>
                <a:gd name="T6" fmla="*/ 48 w 144"/>
                <a:gd name="T7" fmla="*/ 36 h 110"/>
                <a:gd name="T8" fmla="*/ 42 w 144"/>
                <a:gd name="T9" fmla="*/ 34 h 110"/>
                <a:gd name="T10" fmla="*/ 30 w 144"/>
                <a:gd name="T11" fmla="*/ 34 h 110"/>
                <a:gd name="T12" fmla="*/ 18 w 144"/>
                <a:gd name="T13" fmla="*/ 34 h 110"/>
                <a:gd name="T14" fmla="*/ 10 w 144"/>
                <a:gd name="T15" fmla="*/ 34 h 110"/>
                <a:gd name="T16" fmla="*/ 4 w 144"/>
                <a:gd name="T17" fmla="*/ 38 h 110"/>
                <a:gd name="T18" fmla="*/ 0 w 144"/>
                <a:gd name="T19" fmla="*/ 66 h 110"/>
                <a:gd name="T20" fmla="*/ 0 w 144"/>
                <a:gd name="T21" fmla="*/ 84 h 110"/>
                <a:gd name="T22" fmla="*/ 0 w 144"/>
                <a:gd name="T23" fmla="*/ 90 h 110"/>
                <a:gd name="T24" fmla="*/ 2 w 144"/>
                <a:gd name="T25" fmla="*/ 94 h 110"/>
                <a:gd name="T26" fmla="*/ 6 w 144"/>
                <a:gd name="T27" fmla="*/ 102 h 110"/>
                <a:gd name="T28" fmla="*/ 10 w 144"/>
                <a:gd name="T29" fmla="*/ 106 h 110"/>
                <a:gd name="T30" fmla="*/ 16 w 144"/>
                <a:gd name="T31" fmla="*/ 108 h 110"/>
                <a:gd name="T32" fmla="*/ 22 w 144"/>
                <a:gd name="T33" fmla="*/ 110 h 110"/>
                <a:gd name="T34" fmla="*/ 24 w 144"/>
                <a:gd name="T35" fmla="*/ 110 h 110"/>
                <a:gd name="T36" fmla="*/ 26 w 144"/>
                <a:gd name="T37" fmla="*/ 106 h 110"/>
                <a:gd name="T38" fmla="*/ 32 w 144"/>
                <a:gd name="T39" fmla="*/ 100 h 110"/>
                <a:gd name="T40" fmla="*/ 44 w 144"/>
                <a:gd name="T41" fmla="*/ 88 h 110"/>
                <a:gd name="T42" fmla="*/ 50 w 144"/>
                <a:gd name="T43" fmla="*/ 82 h 110"/>
                <a:gd name="T44" fmla="*/ 52 w 144"/>
                <a:gd name="T45" fmla="*/ 80 h 110"/>
                <a:gd name="T46" fmla="*/ 58 w 144"/>
                <a:gd name="T47" fmla="*/ 78 h 110"/>
                <a:gd name="T48" fmla="*/ 72 w 144"/>
                <a:gd name="T49" fmla="*/ 80 h 110"/>
                <a:gd name="T50" fmla="*/ 84 w 144"/>
                <a:gd name="T51" fmla="*/ 80 h 110"/>
                <a:gd name="T52" fmla="*/ 90 w 144"/>
                <a:gd name="T53" fmla="*/ 78 h 110"/>
                <a:gd name="T54" fmla="*/ 92 w 144"/>
                <a:gd name="T55" fmla="*/ 76 h 110"/>
                <a:gd name="T56" fmla="*/ 98 w 144"/>
                <a:gd name="T57" fmla="*/ 70 h 110"/>
                <a:gd name="T58" fmla="*/ 102 w 144"/>
                <a:gd name="T59" fmla="*/ 68 h 110"/>
                <a:gd name="T60" fmla="*/ 108 w 144"/>
                <a:gd name="T61" fmla="*/ 66 h 110"/>
                <a:gd name="T62" fmla="*/ 122 w 144"/>
                <a:gd name="T63" fmla="*/ 66 h 110"/>
                <a:gd name="T64" fmla="*/ 130 w 144"/>
                <a:gd name="T65" fmla="*/ 66 h 110"/>
                <a:gd name="T66" fmla="*/ 134 w 144"/>
                <a:gd name="T67" fmla="*/ 62 h 110"/>
                <a:gd name="T68" fmla="*/ 134 w 144"/>
                <a:gd name="T69" fmla="*/ 62 h 110"/>
                <a:gd name="T70" fmla="*/ 134 w 144"/>
                <a:gd name="T71" fmla="*/ 56 h 110"/>
                <a:gd name="T72" fmla="*/ 134 w 144"/>
                <a:gd name="T73" fmla="*/ 52 h 110"/>
                <a:gd name="T74" fmla="*/ 134 w 144"/>
                <a:gd name="T75" fmla="*/ 50 h 110"/>
                <a:gd name="T76" fmla="*/ 140 w 144"/>
                <a:gd name="T77" fmla="*/ 44 h 110"/>
                <a:gd name="T78" fmla="*/ 142 w 144"/>
                <a:gd name="T79" fmla="*/ 32 h 110"/>
                <a:gd name="T80" fmla="*/ 130 w 144"/>
                <a:gd name="T81" fmla="*/ 0 h 110"/>
                <a:gd name="T82" fmla="*/ 112 w 144"/>
                <a:gd name="T83" fmla="*/ 2 h 110"/>
                <a:gd name="T84" fmla="*/ 98 w 144"/>
                <a:gd name="T85" fmla="*/ 4 h 110"/>
                <a:gd name="T86" fmla="*/ 90 w 144"/>
                <a:gd name="T87" fmla="*/ 8 h 110"/>
                <a:gd name="T88" fmla="*/ 84 w 144"/>
                <a:gd name="T89" fmla="*/ 12 h 110"/>
                <a:gd name="T90" fmla="*/ 78 w 144"/>
                <a:gd name="T91" fmla="*/ 18 h 110"/>
                <a:gd name="T92" fmla="*/ 74 w 144"/>
                <a:gd name="T93" fmla="*/ 24 h 110"/>
                <a:gd name="T94" fmla="*/ 74 w 144"/>
                <a:gd name="T95" fmla="*/ 28 h 110"/>
                <a:gd name="T96" fmla="*/ 72 w 144"/>
                <a:gd name="T97" fmla="*/ 38 h 110"/>
                <a:gd name="T98" fmla="*/ 70 w 144"/>
                <a:gd name="T99" fmla="*/ 44 h 110"/>
                <a:gd name="T100" fmla="*/ 68 w 144"/>
                <a:gd name="T101" fmla="*/ 46 h 110"/>
                <a:gd name="T102" fmla="*/ 58 w 144"/>
                <a:gd name="T103" fmla="*/ 5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10">
                  <a:moveTo>
                    <a:pt x="50" y="60"/>
                  </a:moveTo>
                  <a:lnTo>
                    <a:pt x="50" y="60"/>
                  </a:lnTo>
                  <a:lnTo>
                    <a:pt x="50" y="48"/>
                  </a:lnTo>
                  <a:lnTo>
                    <a:pt x="52" y="44"/>
                  </a:lnTo>
                  <a:lnTo>
                    <a:pt x="52" y="42"/>
                  </a:lnTo>
                  <a:lnTo>
                    <a:pt x="52" y="40"/>
                  </a:lnTo>
                  <a:lnTo>
                    <a:pt x="52" y="40"/>
                  </a:lnTo>
                  <a:lnTo>
                    <a:pt x="52" y="38"/>
                  </a:lnTo>
                  <a:lnTo>
                    <a:pt x="50" y="38"/>
                  </a:lnTo>
                  <a:lnTo>
                    <a:pt x="50" y="36"/>
                  </a:lnTo>
                  <a:lnTo>
                    <a:pt x="50" y="36"/>
                  </a:lnTo>
                  <a:lnTo>
                    <a:pt x="48" y="36"/>
                  </a:lnTo>
                  <a:lnTo>
                    <a:pt x="46" y="36"/>
                  </a:lnTo>
                  <a:lnTo>
                    <a:pt x="44" y="34"/>
                  </a:lnTo>
                  <a:lnTo>
                    <a:pt x="42" y="34"/>
                  </a:lnTo>
                  <a:lnTo>
                    <a:pt x="40" y="34"/>
                  </a:lnTo>
                  <a:lnTo>
                    <a:pt x="36" y="34"/>
                  </a:lnTo>
                  <a:lnTo>
                    <a:pt x="30" y="34"/>
                  </a:lnTo>
                  <a:lnTo>
                    <a:pt x="28" y="34"/>
                  </a:lnTo>
                  <a:lnTo>
                    <a:pt x="24" y="34"/>
                  </a:lnTo>
                  <a:lnTo>
                    <a:pt x="18" y="34"/>
                  </a:lnTo>
                  <a:lnTo>
                    <a:pt x="14" y="34"/>
                  </a:lnTo>
                  <a:lnTo>
                    <a:pt x="12" y="34"/>
                  </a:lnTo>
                  <a:lnTo>
                    <a:pt x="10" y="34"/>
                  </a:lnTo>
                  <a:lnTo>
                    <a:pt x="10" y="36"/>
                  </a:lnTo>
                  <a:lnTo>
                    <a:pt x="8" y="36"/>
                  </a:lnTo>
                  <a:lnTo>
                    <a:pt x="4" y="38"/>
                  </a:lnTo>
                  <a:lnTo>
                    <a:pt x="0" y="42"/>
                  </a:lnTo>
                  <a:lnTo>
                    <a:pt x="0" y="54"/>
                  </a:lnTo>
                  <a:lnTo>
                    <a:pt x="0" y="66"/>
                  </a:lnTo>
                  <a:lnTo>
                    <a:pt x="0" y="74"/>
                  </a:lnTo>
                  <a:lnTo>
                    <a:pt x="0" y="78"/>
                  </a:lnTo>
                  <a:lnTo>
                    <a:pt x="0" y="84"/>
                  </a:lnTo>
                  <a:lnTo>
                    <a:pt x="0" y="86"/>
                  </a:lnTo>
                  <a:lnTo>
                    <a:pt x="0" y="88"/>
                  </a:lnTo>
                  <a:lnTo>
                    <a:pt x="0" y="90"/>
                  </a:lnTo>
                  <a:lnTo>
                    <a:pt x="0" y="92"/>
                  </a:lnTo>
                  <a:lnTo>
                    <a:pt x="2" y="94"/>
                  </a:lnTo>
                  <a:lnTo>
                    <a:pt x="2" y="94"/>
                  </a:lnTo>
                  <a:lnTo>
                    <a:pt x="4" y="98"/>
                  </a:lnTo>
                  <a:lnTo>
                    <a:pt x="6" y="100"/>
                  </a:lnTo>
                  <a:lnTo>
                    <a:pt x="6" y="102"/>
                  </a:lnTo>
                  <a:lnTo>
                    <a:pt x="8" y="102"/>
                  </a:lnTo>
                  <a:lnTo>
                    <a:pt x="8" y="104"/>
                  </a:lnTo>
                  <a:lnTo>
                    <a:pt x="10" y="106"/>
                  </a:lnTo>
                  <a:lnTo>
                    <a:pt x="12" y="106"/>
                  </a:lnTo>
                  <a:lnTo>
                    <a:pt x="14" y="108"/>
                  </a:lnTo>
                  <a:lnTo>
                    <a:pt x="16" y="108"/>
                  </a:lnTo>
                  <a:lnTo>
                    <a:pt x="18" y="110"/>
                  </a:lnTo>
                  <a:lnTo>
                    <a:pt x="20" y="110"/>
                  </a:lnTo>
                  <a:lnTo>
                    <a:pt x="22" y="110"/>
                  </a:lnTo>
                  <a:lnTo>
                    <a:pt x="22" y="110"/>
                  </a:lnTo>
                  <a:lnTo>
                    <a:pt x="22" y="110"/>
                  </a:lnTo>
                  <a:lnTo>
                    <a:pt x="24" y="110"/>
                  </a:lnTo>
                  <a:lnTo>
                    <a:pt x="24" y="108"/>
                  </a:lnTo>
                  <a:lnTo>
                    <a:pt x="26" y="108"/>
                  </a:lnTo>
                  <a:lnTo>
                    <a:pt x="26" y="106"/>
                  </a:lnTo>
                  <a:lnTo>
                    <a:pt x="28" y="106"/>
                  </a:lnTo>
                  <a:lnTo>
                    <a:pt x="30" y="102"/>
                  </a:lnTo>
                  <a:lnTo>
                    <a:pt x="32" y="100"/>
                  </a:lnTo>
                  <a:lnTo>
                    <a:pt x="34" y="98"/>
                  </a:lnTo>
                  <a:lnTo>
                    <a:pt x="40" y="92"/>
                  </a:lnTo>
                  <a:lnTo>
                    <a:pt x="44" y="88"/>
                  </a:lnTo>
                  <a:lnTo>
                    <a:pt x="48" y="86"/>
                  </a:lnTo>
                  <a:lnTo>
                    <a:pt x="48" y="84"/>
                  </a:lnTo>
                  <a:lnTo>
                    <a:pt x="50" y="82"/>
                  </a:lnTo>
                  <a:lnTo>
                    <a:pt x="52" y="82"/>
                  </a:lnTo>
                  <a:lnTo>
                    <a:pt x="52" y="80"/>
                  </a:lnTo>
                  <a:lnTo>
                    <a:pt x="52" y="80"/>
                  </a:lnTo>
                  <a:lnTo>
                    <a:pt x="54" y="80"/>
                  </a:lnTo>
                  <a:lnTo>
                    <a:pt x="56" y="78"/>
                  </a:lnTo>
                  <a:lnTo>
                    <a:pt x="58" y="78"/>
                  </a:lnTo>
                  <a:lnTo>
                    <a:pt x="62" y="78"/>
                  </a:lnTo>
                  <a:lnTo>
                    <a:pt x="66" y="78"/>
                  </a:lnTo>
                  <a:lnTo>
                    <a:pt x="72" y="80"/>
                  </a:lnTo>
                  <a:lnTo>
                    <a:pt x="76" y="80"/>
                  </a:lnTo>
                  <a:lnTo>
                    <a:pt x="82" y="80"/>
                  </a:lnTo>
                  <a:lnTo>
                    <a:pt x="84" y="80"/>
                  </a:lnTo>
                  <a:lnTo>
                    <a:pt x="86" y="80"/>
                  </a:lnTo>
                  <a:lnTo>
                    <a:pt x="88" y="80"/>
                  </a:lnTo>
                  <a:lnTo>
                    <a:pt x="90" y="78"/>
                  </a:lnTo>
                  <a:lnTo>
                    <a:pt x="90" y="78"/>
                  </a:lnTo>
                  <a:lnTo>
                    <a:pt x="92" y="78"/>
                  </a:lnTo>
                  <a:lnTo>
                    <a:pt x="92" y="76"/>
                  </a:lnTo>
                  <a:lnTo>
                    <a:pt x="94" y="76"/>
                  </a:lnTo>
                  <a:lnTo>
                    <a:pt x="96" y="74"/>
                  </a:lnTo>
                  <a:lnTo>
                    <a:pt x="98" y="70"/>
                  </a:lnTo>
                  <a:lnTo>
                    <a:pt x="100" y="70"/>
                  </a:lnTo>
                  <a:lnTo>
                    <a:pt x="100" y="68"/>
                  </a:lnTo>
                  <a:lnTo>
                    <a:pt x="102" y="68"/>
                  </a:lnTo>
                  <a:lnTo>
                    <a:pt x="104" y="68"/>
                  </a:lnTo>
                  <a:lnTo>
                    <a:pt x="106" y="68"/>
                  </a:lnTo>
                  <a:lnTo>
                    <a:pt x="108" y="66"/>
                  </a:lnTo>
                  <a:lnTo>
                    <a:pt x="114" y="66"/>
                  </a:lnTo>
                  <a:lnTo>
                    <a:pt x="118" y="66"/>
                  </a:lnTo>
                  <a:lnTo>
                    <a:pt x="122" y="66"/>
                  </a:lnTo>
                  <a:lnTo>
                    <a:pt x="126" y="66"/>
                  </a:lnTo>
                  <a:lnTo>
                    <a:pt x="128" y="66"/>
                  </a:lnTo>
                  <a:lnTo>
                    <a:pt x="130" y="66"/>
                  </a:lnTo>
                  <a:lnTo>
                    <a:pt x="132" y="64"/>
                  </a:lnTo>
                  <a:lnTo>
                    <a:pt x="132" y="64"/>
                  </a:lnTo>
                  <a:lnTo>
                    <a:pt x="134" y="62"/>
                  </a:lnTo>
                  <a:lnTo>
                    <a:pt x="134" y="62"/>
                  </a:lnTo>
                  <a:lnTo>
                    <a:pt x="134" y="62"/>
                  </a:lnTo>
                  <a:lnTo>
                    <a:pt x="134" y="62"/>
                  </a:lnTo>
                  <a:lnTo>
                    <a:pt x="134" y="60"/>
                  </a:lnTo>
                  <a:lnTo>
                    <a:pt x="134" y="58"/>
                  </a:lnTo>
                  <a:lnTo>
                    <a:pt x="134" y="56"/>
                  </a:lnTo>
                  <a:lnTo>
                    <a:pt x="134" y="54"/>
                  </a:lnTo>
                  <a:lnTo>
                    <a:pt x="134" y="52"/>
                  </a:lnTo>
                  <a:lnTo>
                    <a:pt x="134" y="52"/>
                  </a:lnTo>
                  <a:lnTo>
                    <a:pt x="134" y="52"/>
                  </a:lnTo>
                  <a:lnTo>
                    <a:pt x="134" y="50"/>
                  </a:lnTo>
                  <a:lnTo>
                    <a:pt x="134" y="50"/>
                  </a:lnTo>
                  <a:lnTo>
                    <a:pt x="136" y="48"/>
                  </a:lnTo>
                  <a:lnTo>
                    <a:pt x="138" y="46"/>
                  </a:lnTo>
                  <a:lnTo>
                    <a:pt x="140" y="44"/>
                  </a:lnTo>
                  <a:lnTo>
                    <a:pt x="144" y="42"/>
                  </a:lnTo>
                  <a:lnTo>
                    <a:pt x="144" y="42"/>
                  </a:lnTo>
                  <a:lnTo>
                    <a:pt x="142" y="32"/>
                  </a:lnTo>
                  <a:lnTo>
                    <a:pt x="136" y="18"/>
                  </a:lnTo>
                  <a:lnTo>
                    <a:pt x="132" y="8"/>
                  </a:lnTo>
                  <a:lnTo>
                    <a:pt x="130" y="0"/>
                  </a:lnTo>
                  <a:lnTo>
                    <a:pt x="124" y="2"/>
                  </a:lnTo>
                  <a:lnTo>
                    <a:pt x="118" y="2"/>
                  </a:lnTo>
                  <a:lnTo>
                    <a:pt x="112" y="2"/>
                  </a:lnTo>
                  <a:lnTo>
                    <a:pt x="104" y="4"/>
                  </a:lnTo>
                  <a:lnTo>
                    <a:pt x="102" y="4"/>
                  </a:lnTo>
                  <a:lnTo>
                    <a:pt x="98" y="4"/>
                  </a:lnTo>
                  <a:lnTo>
                    <a:pt x="94" y="6"/>
                  </a:lnTo>
                  <a:lnTo>
                    <a:pt x="92" y="6"/>
                  </a:lnTo>
                  <a:lnTo>
                    <a:pt x="90" y="8"/>
                  </a:lnTo>
                  <a:lnTo>
                    <a:pt x="88" y="8"/>
                  </a:lnTo>
                  <a:lnTo>
                    <a:pt x="86" y="10"/>
                  </a:lnTo>
                  <a:lnTo>
                    <a:pt x="84" y="12"/>
                  </a:lnTo>
                  <a:lnTo>
                    <a:pt x="82" y="14"/>
                  </a:lnTo>
                  <a:lnTo>
                    <a:pt x="80" y="16"/>
                  </a:lnTo>
                  <a:lnTo>
                    <a:pt x="78" y="18"/>
                  </a:lnTo>
                  <a:lnTo>
                    <a:pt x="76" y="20"/>
                  </a:lnTo>
                  <a:lnTo>
                    <a:pt x="76" y="22"/>
                  </a:lnTo>
                  <a:lnTo>
                    <a:pt x="74" y="24"/>
                  </a:lnTo>
                  <a:lnTo>
                    <a:pt x="74" y="24"/>
                  </a:lnTo>
                  <a:lnTo>
                    <a:pt x="74" y="26"/>
                  </a:lnTo>
                  <a:lnTo>
                    <a:pt x="74" y="28"/>
                  </a:lnTo>
                  <a:lnTo>
                    <a:pt x="72" y="32"/>
                  </a:lnTo>
                  <a:lnTo>
                    <a:pt x="72" y="34"/>
                  </a:lnTo>
                  <a:lnTo>
                    <a:pt x="72" y="38"/>
                  </a:lnTo>
                  <a:lnTo>
                    <a:pt x="72" y="40"/>
                  </a:lnTo>
                  <a:lnTo>
                    <a:pt x="70" y="42"/>
                  </a:lnTo>
                  <a:lnTo>
                    <a:pt x="70" y="44"/>
                  </a:lnTo>
                  <a:lnTo>
                    <a:pt x="70" y="44"/>
                  </a:lnTo>
                  <a:lnTo>
                    <a:pt x="68" y="46"/>
                  </a:lnTo>
                  <a:lnTo>
                    <a:pt x="68" y="46"/>
                  </a:lnTo>
                  <a:lnTo>
                    <a:pt x="66" y="50"/>
                  </a:lnTo>
                  <a:lnTo>
                    <a:pt x="62" y="52"/>
                  </a:lnTo>
                  <a:lnTo>
                    <a:pt x="58" y="54"/>
                  </a:lnTo>
                  <a:lnTo>
                    <a:pt x="54" y="58"/>
                  </a:lnTo>
                  <a:lnTo>
                    <a:pt x="50" y="6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2" name="Freeform 130">
              <a:extLst>
                <a:ext uri="{FF2B5EF4-FFF2-40B4-BE49-F238E27FC236}">
                  <a16:creationId xmlns:a16="http://schemas.microsoft.com/office/drawing/2014/main" id="{EAB1536B-2488-4CC3-A47F-57D06F02E970}"/>
                </a:ext>
              </a:extLst>
            </p:cNvPr>
            <p:cNvSpPr>
              <a:spLocks/>
            </p:cNvSpPr>
            <p:nvPr/>
          </p:nvSpPr>
          <p:spPr bwMode="auto">
            <a:xfrm>
              <a:off x="5329242" y="4095411"/>
              <a:ext cx="249419" cy="190528"/>
            </a:xfrm>
            <a:custGeom>
              <a:avLst/>
              <a:gdLst>
                <a:gd name="T0" fmla="*/ 50 w 144"/>
                <a:gd name="T1" fmla="*/ 48 h 110"/>
                <a:gd name="T2" fmla="*/ 52 w 144"/>
                <a:gd name="T3" fmla="*/ 40 h 110"/>
                <a:gd name="T4" fmla="*/ 50 w 144"/>
                <a:gd name="T5" fmla="*/ 38 h 110"/>
                <a:gd name="T6" fmla="*/ 48 w 144"/>
                <a:gd name="T7" fmla="*/ 36 h 110"/>
                <a:gd name="T8" fmla="*/ 42 w 144"/>
                <a:gd name="T9" fmla="*/ 34 h 110"/>
                <a:gd name="T10" fmla="*/ 30 w 144"/>
                <a:gd name="T11" fmla="*/ 34 h 110"/>
                <a:gd name="T12" fmla="*/ 18 w 144"/>
                <a:gd name="T13" fmla="*/ 34 h 110"/>
                <a:gd name="T14" fmla="*/ 10 w 144"/>
                <a:gd name="T15" fmla="*/ 34 h 110"/>
                <a:gd name="T16" fmla="*/ 4 w 144"/>
                <a:gd name="T17" fmla="*/ 38 h 110"/>
                <a:gd name="T18" fmla="*/ 0 w 144"/>
                <a:gd name="T19" fmla="*/ 66 h 110"/>
                <a:gd name="T20" fmla="*/ 0 w 144"/>
                <a:gd name="T21" fmla="*/ 84 h 110"/>
                <a:gd name="T22" fmla="*/ 0 w 144"/>
                <a:gd name="T23" fmla="*/ 90 h 110"/>
                <a:gd name="T24" fmla="*/ 2 w 144"/>
                <a:gd name="T25" fmla="*/ 94 h 110"/>
                <a:gd name="T26" fmla="*/ 6 w 144"/>
                <a:gd name="T27" fmla="*/ 102 h 110"/>
                <a:gd name="T28" fmla="*/ 10 w 144"/>
                <a:gd name="T29" fmla="*/ 106 h 110"/>
                <a:gd name="T30" fmla="*/ 16 w 144"/>
                <a:gd name="T31" fmla="*/ 108 h 110"/>
                <a:gd name="T32" fmla="*/ 22 w 144"/>
                <a:gd name="T33" fmla="*/ 110 h 110"/>
                <a:gd name="T34" fmla="*/ 24 w 144"/>
                <a:gd name="T35" fmla="*/ 110 h 110"/>
                <a:gd name="T36" fmla="*/ 26 w 144"/>
                <a:gd name="T37" fmla="*/ 106 h 110"/>
                <a:gd name="T38" fmla="*/ 32 w 144"/>
                <a:gd name="T39" fmla="*/ 100 h 110"/>
                <a:gd name="T40" fmla="*/ 44 w 144"/>
                <a:gd name="T41" fmla="*/ 88 h 110"/>
                <a:gd name="T42" fmla="*/ 50 w 144"/>
                <a:gd name="T43" fmla="*/ 82 h 110"/>
                <a:gd name="T44" fmla="*/ 52 w 144"/>
                <a:gd name="T45" fmla="*/ 80 h 110"/>
                <a:gd name="T46" fmla="*/ 58 w 144"/>
                <a:gd name="T47" fmla="*/ 78 h 110"/>
                <a:gd name="T48" fmla="*/ 72 w 144"/>
                <a:gd name="T49" fmla="*/ 80 h 110"/>
                <a:gd name="T50" fmla="*/ 84 w 144"/>
                <a:gd name="T51" fmla="*/ 80 h 110"/>
                <a:gd name="T52" fmla="*/ 90 w 144"/>
                <a:gd name="T53" fmla="*/ 78 h 110"/>
                <a:gd name="T54" fmla="*/ 92 w 144"/>
                <a:gd name="T55" fmla="*/ 76 h 110"/>
                <a:gd name="T56" fmla="*/ 98 w 144"/>
                <a:gd name="T57" fmla="*/ 70 h 110"/>
                <a:gd name="T58" fmla="*/ 102 w 144"/>
                <a:gd name="T59" fmla="*/ 68 h 110"/>
                <a:gd name="T60" fmla="*/ 108 w 144"/>
                <a:gd name="T61" fmla="*/ 66 h 110"/>
                <a:gd name="T62" fmla="*/ 122 w 144"/>
                <a:gd name="T63" fmla="*/ 66 h 110"/>
                <a:gd name="T64" fmla="*/ 130 w 144"/>
                <a:gd name="T65" fmla="*/ 66 h 110"/>
                <a:gd name="T66" fmla="*/ 134 w 144"/>
                <a:gd name="T67" fmla="*/ 62 h 110"/>
                <a:gd name="T68" fmla="*/ 134 w 144"/>
                <a:gd name="T69" fmla="*/ 62 h 110"/>
                <a:gd name="T70" fmla="*/ 134 w 144"/>
                <a:gd name="T71" fmla="*/ 56 h 110"/>
                <a:gd name="T72" fmla="*/ 134 w 144"/>
                <a:gd name="T73" fmla="*/ 52 h 110"/>
                <a:gd name="T74" fmla="*/ 134 w 144"/>
                <a:gd name="T75" fmla="*/ 50 h 110"/>
                <a:gd name="T76" fmla="*/ 140 w 144"/>
                <a:gd name="T77" fmla="*/ 44 h 110"/>
                <a:gd name="T78" fmla="*/ 142 w 144"/>
                <a:gd name="T79" fmla="*/ 32 h 110"/>
                <a:gd name="T80" fmla="*/ 130 w 144"/>
                <a:gd name="T81" fmla="*/ 0 h 110"/>
                <a:gd name="T82" fmla="*/ 112 w 144"/>
                <a:gd name="T83" fmla="*/ 2 h 110"/>
                <a:gd name="T84" fmla="*/ 98 w 144"/>
                <a:gd name="T85" fmla="*/ 4 h 110"/>
                <a:gd name="T86" fmla="*/ 90 w 144"/>
                <a:gd name="T87" fmla="*/ 8 h 110"/>
                <a:gd name="T88" fmla="*/ 84 w 144"/>
                <a:gd name="T89" fmla="*/ 12 h 110"/>
                <a:gd name="T90" fmla="*/ 78 w 144"/>
                <a:gd name="T91" fmla="*/ 18 h 110"/>
                <a:gd name="T92" fmla="*/ 74 w 144"/>
                <a:gd name="T93" fmla="*/ 24 h 110"/>
                <a:gd name="T94" fmla="*/ 74 w 144"/>
                <a:gd name="T95" fmla="*/ 28 h 110"/>
                <a:gd name="T96" fmla="*/ 72 w 144"/>
                <a:gd name="T97" fmla="*/ 38 h 110"/>
                <a:gd name="T98" fmla="*/ 70 w 144"/>
                <a:gd name="T99" fmla="*/ 44 h 110"/>
                <a:gd name="T100" fmla="*/ 68 w 144"/>
                <a:gd name="T101" fmla="*/ 46 h 110"/>
                <a:gd name="T102" fmla="*/ 58 w 144"/>
                <a:gd name="T103" fmla="*/ 5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10">
                  <a:moveTo>
                    <a:pt x="50" y="60"/>
                  </a:moveTo>
                  <a:lnTo>
                    <a:pt x="50" y="60"/>
                  </a:lnTo>
                  <a:lnTo>
                    <a:pt x="50" y="48"/>
                  </a:lnTo>
                  <a:lnTo>
                    <a:pt x="52" y="44"/>
                  </a:lnTo>
                  <a:lnTo>
                    <a:pt x="52" y="42"/>
                  </a:lnTo>
                  <a:lnTo>
                    <a:pt x="52" y="40"/>
                  </a:lnTo>
                  <a:lnTo>
                    <a:pt x="52" y="40"/>
                  </a:lnTo>
                  <a:lnTo>
                    <a:pt x="52" y="38"/>
                  </a:lnTo>
                  <a:lnTo>
                    <a:pt x="50" y="38"/>
                  </a:lnTo>
                  <a:lnTo>
                    <a:pt x="50" y="36"/>
                  </a:lnTo>
                  <a:lnTo>
                    <a:pt x="50" y="36"/>
                  </a:lnTo>
                  <a:lnTo>
                    <a:pt x="48" y="36"/>
                  </a:lnTo>
                  <a:lnTo>
                    <a:pt x="46" y="36"/>
                  </a:lnTo>
                  <a:lnTo>
                    <a:pt x="44" y="34"/>
                  </a:lnTo>
                  <a:lnTo>
                    <a:pt x="42" y="34"/>
                  </a:lnTo>
                  <a:lnTo>
                    <a:pt x="40" y="34"/>
                  </a:lnTo>
                  <a:lnTo>
                    <a:pt x="36" y="34"/>
                  </a:lnTo>
                  <a:lnTo>
                    <a:pt x="30" y="34"/>
                  </a:lnTo>
                  <a:lnTo>
                    <a:pt x="28" y="34"/>
                  </a:lnTo>
                  <a:lnTo>
                    <a:pt x="24" y="34"/>
                  </a:lnTo>
                  <a:lnTo>
                    <a:pt x="18" y="34"/>
                  </a:lnTo>
                  <a:lnTo>
                    <a:pt x="14" y="34"/>
                  </a:lnTo>
                  <a:lnTo>
                    <a:pt x="12" y="34"/>
                  </a:lnTo>
                  <a:lnTo>
                    <a:pt x="10" y="34"/>
                  </a:lnTo>
                  <a:lnTo>
                    <a:pt x="10" y="36"/>
                  </a:lnTo>
                  <a:lnTo>
                    <a:pt x="8" y="36"/>
                  </a:lnTo>
                  <a:lnTo>
                    <a:pt x="4" y="38"/>
                  </a:lnTo>
                  <a:lnTo>
                    <a:pt x="0" y="42"/>
                  </a:lnTo>
                  <a:lnTo>
                    <a:pt x="0" y="54"/>
                  </a:lnTo>
                  <a:lnTo>
                    <a:pt x="0" y="66"/>
                  </a:lnTo>
                  <a:lnTo>
                    <a:pt x="0" y="74"/>
                  </a:lnTo>
                  <a:lnTo>
                    <a:pt x="0" y="78"/>
                  </a:lnTo>
                  <a:lnTo>
                    <a:pt x="0" y="84"/>
                  </a:lnTo>
                  <a:lnTo>
                    <a:pt x="0" y="86"/>
                  </a:lnTo>
                  <a:lnTo>
                    <a:pt x="0" y="88"/>
                  </a:lnTo>
                  <a:lnTo>
                    <a:pt x="0" y="90"/>
                  </a:lnTo>
                  <a:lnTo>
                    <a:pt x="0" y="92"/>
                  </a:lnTo>
                  <a:lnTo>
                    <a:pt x="2" y="94"/>
                  </a:lnTo>
                  <a:lnTo>
                    <a:pt x="2" y="94"/>
                  </a:lnTo>
                  <a:lnTo>
                    <a:pt x="4" y="98"/>
                  </a:lnTo>
                  <a:lnTo>
                    <a:pt x="6" y="100"/>
                  </a:lnTo>
                  <a:lnTo>
                    <a:pt x="6" y="102"/>
                  </a:lnTo>
                  <a:lnTo>
                    <a:pt x="8" y="102"/>
                  </a:lnTo>
                  <a:lnTo>
                    <a:pt x="8" y="104"/>
                  </a:lnTo>
                  <a:lnTo>
                    <a:pt x="10" y="106"/>
                  </a:lnTo>
                  <a:lnTo>
                    <a:pt x="12" y="106"/>
                  </a:lnTo>
                  <a:lnTo>
                    <a:pt x="14" y="108"/>
                  </a:lnTo>
                  <a:lnTo>
                    <a:pt x="16" y="108"/>
                  </a:lnTo>
                  <a:lnTo>
                    <a:pt x="18" y="110"/>
                  </a:lnTo>
                  <a:lnTo>
                    <a:pt x="20" y="110"/>
                  </a:lnTo>
                  <a:lnTo>
                    <a:pt x="22" y="110"/>
                  </a:lnTo>
                  <a:lnTo>
                    <a:pt x="22" y="110"/>
                  </a:lnTo>
                  <a:lnTo>
                    <a:pt x="22" y="110"/>
                  </a:lnTo>
                  <a:lnTo>
                    <a:pt x="24" y="110"/>
                  </a:lnTo>
                  <a:lnTo>
                    <a:pt x="24" y="108"/>
                  </a:lnTo>
                  <a:lnTo>
                    <a:pt x="26" y="108"/>
                  </a:lnTo>
                  <a:lnTo>
                    <a:pt x="26" y="106"/>
                  </a:lnTo>
                  <a:lnTo>
                    <a:pt x="28" y="106"/>
                  </a:lnTo>
                  <a:lnTo>
                    <a:pt x="30" y="102"/>
                  </a:lnTo>
                  <a:lnTo>
                    <a:pt x="32" y="100"/>
                  </a:lnTo>
                  <a:lnTo>
                    <a:pt x="34" y="98"/>
                  </a:lnTo>
                  <a:lnTo>
                    <a:pt x="40" y="92"/>
                  </a:lnTo>
                  <a:lnTo>
                    <a:pt x="44" y="88"/>
                  </a:lnTo>
                  <a:lnTo>
                    <a:pt x="48" y="86"/>
                  </a:lnTo>
                  <a:lnTo>
                    <a:pt x="48" y="84"/>
                  </a:lnTo>
                  <a:lnTo>
                    <a:pt x="50" y="82"/>
                  </a:lnTo>
                  <a:lnTo>
                    <a:pt x="52" y="82"/>
                  </a:lnTo>
                  <a:lnTo>
                    <a:pt x="52" y="80"/>
                  </a:lnTo>
                  <a:lnTo>
                    <a:pt x="52" y="80"/>
                  </a:lnTo>
                  <a:lnTo>
                    <a:pt x="54" y="80"/>
                  </a:lnTo>
                  <a:lnTo>
                    <a:pt x="56" y="78"/>
                  </a:lnTo>
                  <a:lnTo>
                    <a:pt x="58" y="78"/>
                  </a:lnTo>
                  <a:lnTo>
                    <a:pt x="62" y="78"/>
                  </a:lnTo>
                  <a:lnTo>
                    <a:pt x="66" y="78"/>
                  </a:lnTo>
                  <a:lnTo>
                    <a:pt x="72" y="80"/>
                  </a:lnTo>
                  <a:lnTo>
                    <a:pt x="76" y="80"/>
                  </a:lnTo>
                  <a:lnTo>
                    <a:pt x="82" y="80"/>
                  </a:lnTo>
                  <a:lnTo>
                    <a:pt x="84" y="80"/>
                  </a:lnTo>
                  <a:lnTo>
                    <a:pt x="86" y="80"/>
                  </a:lnTo>
                  <a:lnTo>
                    <a:pt x="88" y="80"/>
                  </a:lnTo>
                  <a:lnTo>
                    <a:pt x="90" y="78"/>
                  </a:lnTo>
                  <a:lnTo>
                    <a:pt x="90" y="78"/>
                  </a:lnTo>
                  <a:lnTo>
                    <a:pt x="92" y="78"/>
                  </a:lnTo>
                  <a:lnTo>
                    <a:pt x="92" y="76"/>
                  </a:lnTo>
                  <a:lnTo>
                    <a:pt x="94" y="76"/>
                  </a:lnTo>
                  <a:lnTo>
                    <a:pt x="96" y="74"/>
                  </a:lnTo>
                  <a:lnTo>
                    <a:pt x="98" y="70"/>
                  </a:lnTo>
                  <a:lnTo>
                    <a:pt x="100" y="70"/>
                  </a:lnTo>
                  <a:lnTo>
                    <a:pt x="100" y="68"/>
                  </a:lnTo>
                  <a:lnTo>
                    <a:pt x="102" y="68"/>
                  </a:lnTo>
                  <a:lnTo>
                    <a:pt x="104" y="68"/>
                  </a:lnTo>
                  <a:lnTo>
                    <a:pt x="106" y="68"/>
                  </a:lnTo>
                  <a:lnTo>
                    <a:pt x="108" y="66"/>
                  </a:lnTo>
                  <a:lnTo>
                    <a:pt x="114" y="66"/>
                  </a:lnTo>
                  <a:lnTo>
                    <a:pt x="118" y="66"/>
                  </a:lnTo>
                  <a:lnTo>
                    <a:pt x="122" y="66"/>
                  </a:lnTo>
                  <a:lnTo>
                    <a:pt x="126" y="66"/>
                  </a:lnTo>
                  <a:lnTo>
                    <a:pt x="128" y="66"/>
                  </a:lnTo>
                  <a:lnTo>
                    <a:pt x="130" y="66"/>
                  </a:lnTo>
                  <a:lnTo>
                    <a:pt x="132" y="64"/>
                  </a:lnTo>
                  <a:lnTo>
                    <a:pt x="132" y="64"/>
                  </a:lnTo>
                  <a:lnTo>
                    <a:pt x="134" y="62"/>
                  </a:lnTo>
                  <a:lnTo>
                    <a:pt x="134" y="62"/>
                  </a:lnTo>
                  <a:lnTo>
                    <a:pt x="134" y="62"/>
                  </a:lnTo>
                  <a:lnTo>
                    <a:pt x="134" y="62"/>
                  </a:lnTo>
                  <a:lnTo>
                    <a:pt x="134" y="60"/>
                  </a:lnTo>
                  <a:lnTo>
                    <a:pt x="134" y="58"/>
                  </a:lnTo>
                  <a:lnTo>
                    <a:pt x="134" y="56"/>
                  </a:lnTo>
                  <a:lnTo>
                    <a:pt x="134" y="54"/>
                  </a:lnTo>
                  <a:lnTo>
                    <a:pt x="134" y="52"/>
                  </a:lnTo>
                  <a:lnTo>
                    <a:pt x="134" y="52"/>
                  </a:lnTo>
                  <a:lnTo>
                    <a:pt x="134" y="52"/>
                  </a:lnTo>
                  <a:lnTo>
                    <a:pt x="134" y="50"/>
                  </a:lnTo>
                  <a:lnTo>
                    <a:pt x="134" y="50"/>
                  </a:lnTo>
                  <a:lnTo>
                    <a:pt x="136" y="48"/>
                  </a:lnTo>
                  <a:lnTo>
                    <a:pt x="138" y="46"/>
                  </a:lnTo>
                  <a:lnTo>
                    <a:pt x="140" y="44"/>
                  </a:lnTo>
                  <a:lnTo>
                    <a:pt x="144" y="42"/>
                  </a:lnTo>
                  <a:lnTo>
                    <a:pt x="144" y="42"/>
                  </a:lnTo>
                  <a:lnTo>
                    <a:pt x="142" y="32"/>
                  </a:lnTo>
                  <a:lnTo>
                    <a:pt x="136" y="18"/>
                  </a:lnTo>
                  <a:lnTo>
                    <a:pt x="132" y="8"/>
                  </a:lnTo>
                  <a:lnTo>
                    <a:pt x="130" y="0"/>
                  </a:lnTo>
                  <a:lnTo>
                    <a:pt x="124" y="2"/>
                  </a:lnTo>
                  <a:lnTo>
                    <a:pt x="118" y="2"/>
                  </a:lnTo>
                  <a:lnTo>
                    <a:pt x="112" y="2"/>
                  </a:lnTo>
                  <a:lnTo>
                    <a:pt x="104" y="4"/>
                  </a:lnTo>
                  <a:lnTo>
                    <a:pt x="102" y="4"/>
                  </a:lnTo>
                  <a:lnTo>
                    <a:pt x="98" y="4"/>
                  </a:lnTo>
                  <a:lnTo>
                    <a:pt x="94" y="6"/>
                  </a:lnTo>
                  <a:lnTo>
                    <a:pt x="92" y="6"/>
                  </a:lnTo>
                  <a:lnTo>
                    <a:pt x="90" y="8"/>
                  </a:lnTo>
                  <a:lnTo>
                    <a:pt x="88" y="8"/>
                  </a:lnTo>
                  <a:lnTo>
                    <a:pt x="86" y="10"/>
                  </a:lnTo>
                  <a:lnTo>
                    <a:pt x="84" y="12"/>
                  </a:lnTo>
                  <a:lnTo>
                    <a:pt x="82" y="14"/>
                  </a:lnTo>
                  <a:lnTo>
                    <a:pt x="80" y="16"/>
                  </a:lnTo>
                  <a:lnTo>
                    <a:pt x="78" y="18"/>
                  </a:lnTo>
                  <a:lnTo>
                    <a:pt x="76" y="20"/>
                  </a:lnTo>
                  <a:lnTo>
                    <a:pt x="76" y="22"/>
                  </a:lnTo>
                  <a:lnTo>
                    <a:pt x="74" y="24"/>
                  </a:lnTo>
                  <a:lnTo>
                    <a:pt x="74" y="24"/>
                  </a:lnTo>
                  <a:lnTo>
                    <a:pt x="74" y="26"/>
                  </a:lnTo>
                  <a:lnTo>
                    <a:pt x="74" y="28"/>
                  </a:lnTo>
                  <a:lnTo>
                    <a:pt x="72" y="32"/>
                  </a:lnTo>
                  <a:lnTo>
                    <a:pt x="72" y="34"/>
                  </a:lnTo>
                  <a:lnTo>
                    <a:pt x="72" y="38"/>
                  </a:lnTo>
                  <a:lnTo>
                    <a:pt x="72" y="40"/>
                  </a:lnTo>
                  <a:lnTo>
                    <a:pt x="70" y="42"/>
                  </a:lnTo>
                  <a:lnTo>
                    <a:pt x="70" y="44"/>
                  </a:lnTo>
                  <a:lnTo>
                    <a:pt x="70" y="44"/>
                  </a:lnTo>
                  <a:lnTo>
                    <a:pt x="68" y="46"/>
                  </a:lnTo>
                  <a:lnTo>
                    <a:pt x="68" y="46"/>
                  </a:lnTo>
                  <a:lnTo>
                    <a:pt x="66" y="50"/>
                  </a:lnTo>
                  <a:lnTo>
                    <a:pt x="62" y="52"/>
                  </a:lnTo>
                  <a:lnTo>
                    <a:pt x="58" y="54"/>
                  </a:lnTo>
                  <a:lnTo>
                    <a:pt x="54" y="58"/>
                  </a:lnTo>
                  <a:lnTo>
                    <a:pt x="50" y="6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3" name="Freeform 131">
              <a:extLst>
                <a:ext uri="{FF2B5EF4-FFF2-40B4-BE49-F238E27FC236}">
                  <a16:creationId xmlns:a16="http://schemas.microsoft.com/office/drawing/2014/main" id="{EF8FA86A-B74C-454C-99EE-F12259539DD1}"/>
                </a:ext>
              </a:extLst>
            </p:cNvPr>
            <p:cNvSpPr>
              <a:spLocks/>
            </p:cNvSpPr>
            <p:nvPr/>
          </p:nvSpPr>
          <p:spPr bwMode="auto">
            <a:xfrm>
              <a:off x="5329242" y="4095411"/>
              <a:ext cx="249419" cy="190528"/>
            </a:xfrm>
            <a:custGeom>
              <a:avLst/>
              <a:gdLst>
                <a:gd name="T0" fmla="*/ 50 w 144"/>
                <a:gd name="T1" fmla="*/ 48 h 110"/>
                <a:gd name="T2" fmla="*/ 52 w 144"/>
                <a:gd name="T3" fmla="*/ 40 h 110"/>
                <a:gd name="T4" fmla="*/ 50 w 144"/>
                <a:gd name="T5" fmla="*/ 38 h 110"/>
                <a:gd name="T6" fmla="*/ 48 w 144"/>
                <a:gd name="T7" fmla="*/ 36 h 110"/>
                <a:gd name="T8" fmla="*/ 42 w 144"/>
                <a:gd name="T9" fmla="*/ 34 h 110"/>
                <a:gd name="T10" fmla="*/ 30 w 144"/>
                <a:gd name="T11" fmla="*/ 34 h 110"/>
                <a:gd name="T12" fmla="*/ 18 w 144"/>
                <a:gd name="T13" fmla="*/ 34 h 110"/>
                <a:gd name="T14" fmla="*/ 10 w 144"/>
                <a:gd name="T15" fmla="*/ 34 h 110"/>
                <a:gd name="T16" fmla="*/ 4 w 144"/>
                <a:gd name="T17" fmla="*/ 38 h 110"/>
                <a:gd name="T18" fmla="*/ 0 w 144"/>
                <a:gd name="T19" fmla="*/ 66 h 110"/>
                <a:gd name="T20" fmla="*/ 0 w 144"/>
                <a:gd name="T21" fmla="*/ 84 h 110"/>
                <a:gd name="T22" fmla="*/ 0 w 144"/>
                <a:gd name="T23" fmla="*/ 90 h 110"/>
                <a:gd name="T24" fmla="*/ 2 w 144"/>
                <a:gd name="T25" fmla="*/ 94 h 110"/>
                <a:gd name="T26" fmla="*/ 6 w 144"/>
                <a:gd name="T27" fmla="*/ 102 h 110"/>
                <a:gd name="T28" fmla="*/ 10 w 144"/>
                <a:gd name="T29" fmla="*/ 106 h 110"/>
                <a:gd name="T30" fmla="*/ 16 w 144"/>
                <a:gd name="T31" fmla="*/ 108 h 110"/>
                <a:gd name="T32" fmla="*/ 22 w 144"/>
                <a:gd name="T33" fmla="*/ 110 h 110"/>
                <a:gd name="T34" fmla="*/ 24 w 144"/>
                <a:gd name="T35" fmla="*/ 110 h 110"/>
                <a:gd name="T36" fmla="*/ 26 w 144"/>
                <a:gd name="T37" fmla="*/ 106 h 110"/>
                <a:gd name="T38" fmla="*/ 32 w 144"/>
                <a:gd name="T39" fmla="*/ 100 h 110"/>
                <a:gd name="T40" fmla="*/ 44 w 144"/>
                <a:gd name="T41" fmla="*/ 88 h 110"/>
                <a:gd name="T42" fmla="*/ 50 w 144"/>
                <a:gd name="T43" fmla="*/ 82 h 110"/>
                <a:gd name="T44" fmla="*/ 52 w 144"/>
                <a:gd name="T45" fmla="*/ 80 h 110"/>
                <a:gd name="T46" fmla="*/ 58 w 144"/>
                <a:gd name="T47" fmla="*/ 78 h 110"/>
                <a:gd name="T48" fmla="*/ 72 w 144"/>
                <a:gd name="T49" fmla="*/ 80 h 110"/>
                <a:gd name="T50" fmla="*/ 84 w 144"/>
                <a:gd name="T51" fmla="*/ 80 h 110"/>
                <a:gd name="T52" fmla="*/ 90 w 144"/>
                <a:gd name="T53" fmla="*/ 78 h 110"/>
                <a:gd name="T54" fmla="*/ 92 w 144"/>
                <a:gd name="T55" fmla="*/ 76 h 110"/>
                <a:gd name="T56" fmla="*/ 98 w 144"/>
                <a:gd name="T57" fmla="*/ 70 h 110"/>
                <a:gd name="T58" fmla="*/ 102 w 144"/>
                <a:gd name="T59" fmla="*/ 68 h 110"/>
                <a:gd name="T60" fmla="*/ 108 w 144"/>
                <a:gd name="T61" fmla="*/ 66 h 110"/>
                <a:gd name="T62" fmla="*/ 122 w 144"/>
                <a:gd name="T63" fmla="*/ 66 h 110"/>
                <a:gd name="T64" fmla="*/ 130 w 144"/>
                <a:gd name="T65" fmla="*/ 66 h 110"/>
                <a:gd name="T66" fmla="*/ 134 w 144"/>
                <a:gd name="T67" fmla="*/ 62 h 110"/>
                <a:gd name="T68" fmla="*/ 134 w 144"/>
                <a:gd name="T69" fmla="*/ 62 h 110"/>
                <a:gd name="T70" fmla="*/ 134 w 144"/>
                <a:gd name="T71" fmla="*/ 56 h 110"/>
                <a:gd name="T72" fmla="*/ 134 w 144"/>
                <a:gd name="T73" fmla="*/ 52 h 110"/>
                <a:gd name="T74" fmla="*/ 134 w 144"/>
                <a:gd name="T75" fmla="*/ 50 h 110"/>
                <a:gd name="T76" fmla="*/ 140 w 144"/>
                <a:gd name="T77" fmla="*/ 44 h 110"/>
                <a:gd name="T78" fmla="*/ 142 w 144"/>
                <a:gd name="T79" fmla="*/ 32 h 110"/>
                <a:gd name="T80" fmla="*/ 130 w 144"/>
                <a:gd name="T81" fmla="*/ 0 h 110"/>
                <a:gd name="T82" fmla="*/ 112 w 144"/>
                <a:gd name="T83" fmla="*/ 2 h 110"/>
                <a:gd name="T84" fmla="*/ 98 w 144"/>
                <a:gd name="T85" fmla="*/ 4 h 110"/>
                <a:gd name="T86" fmla="*/ 90 w 144"/>
                <a:gd name="T87" fmla="*/ 8 h 110"/>
                <a:gd name="T88" fmla="*/ 84 w 144"/>
                <a:gd name="T89" fmla="*/ 12 h 110"/>
                <a:gd name="T90" fmla="*/ 78 w 144"/>
                <a:gd name="T91" fmla="*/ 18 h 110"/>
                <a:gd name="T92" fmla="*/ 74 w 144"/>
                <a:gd name="T93" fmla="*/ 24 h 110"/>
                <a:gd name="T94" fmla="*/ 74 w 144"/>
                <a:gd name="T95" fmla="*/ 28 h 110"/>
                <a:gd name="T96" fmla="*/ 72 w 144"/>
                <a:gd name="T97" fmla="*/ 38 h 110"/>
                <a:gd name="T98" fmla="*/ 70 w 144"/>
                <a:gd name="T99" fmla="*/ 44 h 110"/>
                <a:gd name="T100" fmla="*/ 68 w 144"/>
                <a:gd name="T101" fmla="*/ 46 h 110"/>
                <a:gd name="T102" fmla="*/ 58 w 144"/>
                <a:gd name="T103" fmla="*/ 5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10">
                  <a:moveTo>
                    <a:pt x="50" y="60"/>
                  </a:moveTo>
                  <a:lnTo>
                    <a:pt x="50" y="60"/>
                  </a:lnTo>
                  <a:lnTo>
                    <a:pt x="50" y="48"/>
                  </a:lnTo>
                  <a:lnTo>
                    <a:pt x="52" y="44"/>
                  </a:lnTo>
                  <a:lnTo>
                    <a:pt x="52" y="42"/>
                  </a:lnTo>
                  <a:lnTo>
                    <a:pt x="52" y="40"/>
                  </a:lnTo>
                  <a:lnTo>
                    <a:pt x="52" y="40"/>
                  </a:lnTo>
                  <a:lnTo>
                    <a:pt x="52" y="38"/>
                  </a:lnTo>
                  <a:lnTo>
                    <a:pt x="50" y="38"/>
                  </a:lnTo>
                  <a:lnTo>
                    <a:pt x="50" y="36"/>
                  </a:lnTo>
                  <a:lnTo>
                    <a:pt x="50" y="36"/>
                  </a:lnTo>
                  <a:lnTo>
                    <a:pt x="48" y="36"/>
                  </a:lnTo>
                  <a:lnTo>
                    <a:pt x="46" y="36"/>
                  </a:lnTo>
                  <a:lnTo>
                    <a:pt x="44" y="34"/>
                  </a:lnTo>
                  <a:lnTo>
                    <a:pt x="42" y="34"/>
                  </a:lnTo>
                  <a:lnTo>
                    <a:pt x="40" y="34"/>
                  </a:lnTo>
                  <a:lnTo>
                    <a:pt x="36" y="34"/>
                  </a:lnTo>
                  <a:lnTo>
                    <a:pt x="30" y="34"/>
                  </a:lnTo>
                  <a:lnTo>
                    <a:pt x="28" y="34"/>
                  </a:lnTo>
                  <a:lnTo>
                    <a:pt x="24" y="34"/>
                  </a:lnTo>
                  <a:lnTo>
                    <a:pt x="18" y="34"/>
                  </a:lnTo>
                  <a:lnTo>
                    <a:pt x="14" y="34"/>
                  </a:lnTo>
                  <a:lnTo>
                    <a:pt x="12" y="34"/>
                  </a:lnTo>
                  <a:lnTo>
                    <a:pt x="10" y="34"/>
                  </a:lnTo>
                  <a:lnTo>
                    <a:pt x="10" y="36"/>
                  </a:lnTo>
                  <a:lnTo>
                    <a:pt x="8" y="36"/>
                  </a:lnTo>
                  <a:lnTo>
                    <a:pt x="4" y="38"/>
                  </a:lnTo>
                  <a:lnTo>
                    <a:pt x="0" y="42"/>
                  </a:lnTo>
                  <a:lnTo>
                    <a:pt x="0" y="54"/>
                  </a:lnTo>
                  <a:lnTo>
                    <a:pt x="0" y="66"/>
                  </a:lnTo>
                  <a:lnTo>
                    <a:pt x="0" y="74"/>
                  </a:lnTo>
                  <a:lnTo>
                    <a:pt x="0" y="78"/>
                  </a:lnTo>
                  <a:lnTo>
                    <a:pt x="0" y="84"/>
                  </a:lnTo>
                  <a:lnTo>
                    <a:pt x="0" y="86"/>
                  </a:lnTo>
                  <a:lnTo>
                    <a:pt x="0" y="88"/>
                  </a:lnTo>
                  <a:lnTo>
                    <a:pt x="0" y="90"/>
                  </a:lnTo>
                  <a:lnTo>
                    <a:pt x="0" y="92"/>
                  </a:lnTo>
                  <a:lnTo>
                    <a:pt x="2" y="94"/>
                  </a:lnTo>
                  <a:lnTo>
                    <a:pt x="2" y="94"/>
                  </a:lnTo>
                  <a:lnTo>
                    <a:pt x="4" y="98"/>
                  </a:lnTo>
                  <a:lnTo>
                    <a:pt x="6" y="100"/>
                  </a:lnTo>
                  <a:lnTo>
                    <a:pt x="6" y="102"/>
                  </a:lnTo>
                  <a:lnTo>
                    <a:pt x="8" y="102"/>
                  </a:lnTo>
                  <a:lnTo>
                    <a:pt x="8" y="104"/>
                  </a:lnTo>
                  <a:lnTo>
                    <a:pt x="10" y="106"/>
                  </a:lnTo>
                  <a:lnTo>
                    <a:pt x="12" y="106"/>
                  </a:lnTo>
                  <a:lnTo>
                    <a:pt x="14" y="108"/>
                  </a:lnTo>
                  <a:lnTo>
                    <a:pt x="16" y="108"/>
                  </a:lnTo>
                  <a:lnTo>
                    <a:pt x="18" y="110"/>
                  </a:lnTo>
                  <a:lnTo>
                    <a:pt x="20" y="110"/>
                  </a:lnTo>
                  <a:lnTo>
                    <a:pt x="22" y="110"/>
                  </a:lnTo>
                  <a:lnTo>
                    <a:pt x="22" y="110"/>
                  </a:lnTo>
                  <a:lnTo>
                    <a:pt x="22" y="110"/>
                  </a:lnTo>
                  <a:lnTo>
                    <a:pt x="24" y="110"/>
                  </a:lnTo>
                  <a:lnTo>
                    <a:pt x="24" y="108"/>
                  </a:lnTo>
                  <a:lnTo>
                    <a:pt x="26" y="108"/>
                  </a:lnTo>
                  <a:lnTo>
                    <a:pt x="26" y="106"/>
                  </a:lnTo>
                  <a:lnTo>
                    <a:pt x="28" y="106"/>
                  </a:lnTo>
                  <a:lnTo>
                    <a:pt x="30" y="102"/>
                  </a:lnTo>
                  <a:lnTo>
                    <a:pt x="32" y="100"/>
                  </a:lnTo>
                  <a:lnTo>
                    <a:pt x="34" y="98"/>
                  </a:lnTo>
                  <a:lnTo>
                    <a:pt x="40" y="92"/>
                  </a:lnTo>
                  <a:lnTo>
                    <a:pt x="44" y="88"/>
                  </a:lnTo>
                  <a:lnTo>
                    <a:pt x="48" y="86"/>
                  </a:lnTo>
                  <a:lnTo>
                    <a:pt x="48" y="84"/>
                  </a:lnTo>
                  <a:lnTo>
                    <a:pt x="50" y="82"/>
                  </a:lnTo>
                  <a:lnTo>
                    <a:pt x="52" y="82"/>
                  </a:lnTo>
                  <a:lnTo>
                    <a:pt x="52" y="80"/>
                  </a:lnTo>
                  <a:lnTo>
                    <a:pt x="52" y="80"/>
                  </a:lnTo>
                  <a:lnTo>
                    <a:pt x="54" y="80"/>
                  </a:lnTo>
                  <a:lnTo>
                    <a:pt x="56" y="78"/>
                  </a:lnTo>
                  <a:lnTo>
                    <a:pt x="58" y="78"/>
                  </a:lnTo>
                  <a:lnTo>
                    <a:pt x="62" y="78"/>
                  </a:lnTo>
                  <a:lnTo>
                    <a:pt x="66" y="78"/>
                  </a:lnTo>
                  <a:lnTo>
                    <a:pt x="72" y="80"/>
                  </a:lnTo>
                  <a:lnTo>
                    <a:pt x="76" y="80"/>
                  </a:lnTo>
                  <a:lnTo>
                    <a:pt x="82" y="80"/>
                  </a:lnTo>
                  <a:lnTo>
                    <a:pt x="84" y="80"/>
                  </a:lnTo>
                  <a:lnTo>
                    <a:pt x="86" y="80"/>
                  </a:lnTo>
                  <a:lnTo>
                    <a:pt x="88" y="80"/>
                  </a:lnTo>
                  <a:lnTo>
                    <a:pt x="90" y="78"/>
                  </a:lnTo>
                  <a:lnTo>
                    <a:pt x="90" y="78"/>
                  </a:lnTo>
                  <a:lnTo>
                    <a:pt x="92" y="78"/>
                  </a:lnTo>
                  <a:lnTo>
                    <a:pt x="92" y="76"/>
                  </a:lnTo>
                  <a:lnTo>
                    <a:pt x="94" y="76"/>
                  </a:lnTo>
                  <a:lnTo>
                    <a:pt x="96" y="74"/>
                  </a:lnTo>
                  <a:lnTo>
                    <a:pt x="98" y="70"/>
                  </a:lnTo>
                  <a:lnTo>
                    <a:pt x="100" y="70"/>
                  </a:lnTo>
                  <a:lnTo>
                    <a:pt x="100" y="68"/>
                  </a:lnTo>
                  <a:lnTo>
                    <a:pt x="102" y="68"/>
                  </a:lnTo>
                  <a:lnTo>
                    <a:pt x="104" y="68"/>
                  </a:lnTo>
                  <a:lnTo>
                    <a:pt x="106" y="68"/>
                  </a:lnTo>
                  <a:lnTo>
                    <a:pt x="108" y="66"/>
                  </a:lnTo>
                  <a:lnTo>
                    <a:pt x="114" y="66"/>
                  </a:lnTo>
                  <a:lnTo>
                    <a:pt x="118" y="66"/>
                  </a:lnTo>
                  <a:lnTo>
                    <a:pt x="122" y="66"/>
                  </a:lnTo>
                  <a:lnTo>
                    <a:pt x="126" y="66"/>
                  </a:lnTo>
                  <a:lnTo>
                    <a:pt x="128" y="66"/>
                  </a:lnTo>
                  <a:lnTo>
                    <a:pt x="130" y="66"/>
                  </a:lnTo>
                  <a:lnTo>
                    <a:pt x="132" y="64"/>
                  </a:lnTo>
                  <a:lnTo>
                    <a:pt x="132" y="64"/>
                  </a:lnTo>
                  <a:lnTo>
                    <a:pt x="134" y="62"/>
                  </a:lnTo>
                  <a:lnTo>
                    <a:pt x="134" y="62"/>
                  </a:lnTo>
                  <a:lnTo>
                    <a:pt x="134" y="62"/>
                  </a:lnTo>
                  <a:lnTo>
                    <a:pt x="134" y="62"/>
                  </a:lnTo>
                  <a:lnTo>
                    <a:pt x="134" y="60"/>
                  </a:lnTo>
                  <a:lnTo>
                    <a:pt x="134" y="58"/>
                  </a:lnTo>
                  <a:lnTo>
                    <a:pt x="134" y="56"/>
                  </a:lnTo>
                  <a:lnTo>
                    <a:pt x="134" y="54"/>
                  </a:lnTo>
                  <a:lnTo>
                    <a:pt x="134" y="52"/>
                  </a:lnTo>
                  <a:lnTo>
                    <a:pt x="134" y="52"/>
                  </a:lnTo>
                  <a:lnTo>
                    <a:pt x="134" y="52"/>
                  </a:lnTo>
                  <a:lnTo>
                    <a:pt x="134" y="50"/>
                  </a:lnTo>
                  <a:lnTo>
                    <a:pt x="134" y="50"/>
                  </a:lnTo>
                  <a:lnTo>
                    <a:pt x="136" y="48"/>
                  </a:lnTo>
                  <a:lnTo>
                    <a:pt x="138" y="46"/>
                  </a:lnTo>
                  <a:lnTo>
                    <a:pt x="140" y="44"/>
                  </a:lnTo>
                  <a:lnTo>
                    <a:pt x="144" y="42"/>
                  </a:lnTo>
                  <a:lnTo>
                    <a:pt x="144" y="42"/>
                  </a:lnTo>
                  <a:lnTo>
                    <a:pt x="142" y="32"/>
                  </a:lnTo>
                  <a:lnTo>
                    <a:pt x="136" y="18"/>
                  </a:lnTo>
                  <a:lnTo>
                    <a:pt x="132" y="8"/>
                  </a:lnTo>
                  <a:lnTo>
                    <a:pt x="130" y="0"/>
                  </a:lnTo>
                  <a:lnTo>
                    <a:pt x="124" y="2"/>
                  </a:lnTo>
                  <a:lnTo>
                    <a:pt x="118" y="2"/>
                  </a:lnTo>
                  <a:lnTo>
                    <a:pt x="112" y="2"/>
                  </a:lnTo>
                  <a:lnTo>
                    <a:pt x="104" y="4"/>
                  </a:lnTo>
                  <a:lnTo>
                    <a:pt x="102" y="4"/>
                  </a:lnTo>
                  <a:lnTo>
                    <a:pt x="98" y="4"/>
                  </a:lnTo>
                  <a:lnTo>
                    <a:pt x="94" y="6"/>
                  </a:lnTo>
                  <a:lnTo>
                    <a:pt x="92" y="6"/>
                  </a:lnTo>
                  <a:lnTo>
                    <a:pt x="90" y="8"/>
                  </a:lnTo>
                  <a:lnTo>
                    <a:pt x="88" y="8"/>
                  </a:lnTo>
                  <a:lnTo>
                    <a:pt x="86" y="10"/>
                  </a:lnTo>
                  <a:lnTo>
                    <a:pt x="84" y="12"/>
                  </a:lnTo>
                  <a:lnTo>
                    <a:pt x="82" y="14"/>
                  </a:lnTo>
                  <a:lnTo>
                    <a:pt x="80" y="16"/>
                  </a:lnTo>
                  <a:lnTo>
                    <a:pt x="78" y="18"/>
                  </a:lnTo>
                  <a:lnTo>
                    <a:pt x="76" y="20"/>
                  </a:lnTo>
                  <a:lnTo>
                    <a:pt x="76" y="22"/>
                  </a:lnTo>
                  <a:lnTo>
                    <a:pt x="74" y="24"/>
                  </a:lnTo>
                  <a:lnTo>
                    <a:pt x="74" y="24"/>
                  </a:lnTo>
                  <a:lnTo>
                    <a:pt x="74" y="26"/>
                  </a:lnTo>
                  <a:lnTo>
                    <a:pt x="74" y="28"/>
                  </a:lnTo>
                  <a:lnTo>
                    <a:pt x="72" y="32"/>
                  </a:lnTo>
                  <a:lnTo>
                    <a:pt x="72" y="34"/>
                  </a:lnTo>
                  <a:lnTo>
                    <a:pt x="72" y="38"/>
                  </a:lnTo>
                  <a:lnTo>
                    <a:pt x="72" y="40"/>
                  </a:lnTo>
                  <a:lnTo>
                    <a:pt x="70" y="42"/>
                  </a:lnTo>
                  <a:lnTo>
                    <a:pt x="70" y="44"/>
                  </a:lnTo>
                  <a:lnTo>
                    <a:pt x="70" y="44"/>
                  </a:lnTo>
                  <a:lnTo>
                    <a:pt x="68" y="46"/>
                  </a:lnTo>
                  <a:lnTo>
                    <a:pt x="68" y="46"/>
                  </a:lnTo>
                  <a:lnTo>
                    <a:pt x="66" y="50"/>
                  </a:lnTo>
                  <a:lnTo>
                    <a:pt x="62" y="52"/>
                  </a:lnTo>
                  <a:lnTo>
                    <a:pt x="58" y="54"/>
                  </a:lnTo>
                  <a:lnTo>
                    <a:pt x="54" y="58"/>
                  </a:lnTo>
                  <a:lnTo>
                    <a:pt x="50" y="60"/>
                  </a:lnTo>
                </a:path>
              </a:pathLst>
            </a:custGeom>
            <a:grp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4" name="Freeform 132">
              <a:extLst>
                <a:ext uri="{FF2B5EF4-FFF2-40B4-BE49-F238E27FC236}">
                  <a16:creationId xmlns:a16="http://schemas.microsoft.com/office/drawing/2014/main" id="{CA05F1E5-B117-4D0C-B652-E1AF9F752517}"/>
                </a:ext>
              </a:extLst>
            </p:cNvPr>
            <p:cNvSpPr>
              <a:spLocks/>
            </p:cNvSpPr>
            <p:nvPr/>
          </p:nvSpPr>
          <p:spPr bwMode="auto">
            <a:xfrm>
              <a:off x="5329242" y="4095411"/>
              <a:ext cx="249419" cy="190528"/>
            </a:xfrm>
            <a:custGeom>
              <a:avLst/>
              <a:gdLst>
                <a:gd name="T0" fmla="*/ 50 w 144"/>
                <a:gd name="T1" fmla="*/ 48 h 110"/>
                <a:gd name="T2" fmla="*/ 52 w 144"/>
                <a:gd name="T3" fmla="*/ 40 h 110"/>
                <a:gd name="T4" fmla="*/ 50 w 144"/>
                <a:gd name="T5" fmla="*/ 38 h 110"/>
                <a:gd name="T6" fmla="*/ 48 w 144"/>
                <a:gd name="T7" fmla="*/ 36 h 110"/>
                <a:gd name="T8" fmla="*/ 42 w 144"/>
                <a:gd name="T9" fmla="*/ 34 h 110"/>
                <a:gd name="T10" fmla="*/ 30 w 144"/>
                <a:gd name="T11" fmla="*/ 34 h 110"/>
                <a:gd name="T12" fmla="*/ 18 w 144"/>
                <a:gd name="T13" fmla="*/ 34 h 110"/>
                <a:gd name="T14" fmla="*/ 10 w 144"/>
                <a:gd name="T15" fmla="*/ 34 h 110"/>
                <a:gd name="T16" fmla="*/ 4 w 144"/>
                <a:gd name="T17" fmla="*/ 38 h 110"/>
                <a:gd name="T18" fmla="*/ 0 w 144"/>
                <a:gd name="T19" fmla="*/ 66 h 110"/>
                <a:gd name="T20" fmla="*/ 0 w 144"/>
                <a:gd name="T21" fmla="*/ 84 h 110"/>
                <a:gd name="T22" fmla="*/ 0 w 144"/>
                <a:gd name="T23" fmla="*/ 90 h 110"/>
                <a:gd name="T24" fmla="*/ 2 w 144"/>
                <a:gd name="T25" fmla="*/ 94 h 110"/>
                <a:gd name="T26" fmla="*/ 6 w 144"/>
                <a:gd name="T27" fmla="*/ 102 h 110"/>
                <a:gd name="T28" fmla="*/ 10 w 144"/>
                <a:gd name="T29" fmla="*/ 106 h 110"/>
                <a:gd name="T30" fmla="*/ 16 w 144"/>
                <a:gd name="T31" fmla="*/ 108 h 110"/>
                <a:gd name="T32" fmla="*/ 22 w 144"/>
                <a:gd name="T33" fmla="*/ 110 h 110"/>
                <a:gd name="T34" fmla="*/ 24 w 144"/>
                <a:gd name="T35" fmla="*/ 110 h 110"/>
                <a:gd name="T36" fmla="*/ 26 w 144"/>
                <a:gd name="T37" fmla="*/ 106 h 110"/>
                <a:gd name="T38" fmla="*/ 32 w 144"/>
                <a:gd name="T39" fmla="*/ 100 h 110"/>
                <a:gd name="T40" fmla="*/ 44 w 144"/>
                <a:gd name="T41" fmla="*/ 88 h 110"/>
                <a:gd name="T42" fmla="*/ 50 w 144"/>
                <a:gd name="T43" fmla="*/ 82 h 110"/>
                <a:gd name="T44" fmla="*/ 52 w 144"/>
                <a:gd name="T45" fmla="*/ 80 h 110"/>
                <a:gd name="T46" fmla="*/ 58 w 144"/>
                <a:gd name="T47" fmla="*/ 78 h 110"/>
                <a:gd name="T48" fmla="*/ 72 w 144"/>
                <a:gd name="T49" fmla="*/ 80 h 110"/>
                <a:gd name="T50" fmla="*/ 84 w 144"/>
                <a:gd name="T51" fmla="*/ 80 h 110"/>
                <a:gd name="T52" fmla="*/ 90 w 144"/>
                <a:gd name="T53" fmla="*/ 78 h 110"/>
                <a:gd name="T54" fmla="*/ 92 w 144"/>
                <a:gd name="T55" fmla="*/ 76 h 110"/>
                <a:gd name="T56" fmla="*/ 98 w 144"/>
                <a:gd name="T57" fmla="*/ 70 h 110"/>
                <a:gd name="T58" fmla="*/ 102 w 144"/>
                <a:gd name="T59" fmla="*/ 68 h 110"/>
                <a:gd name="T60" fmla="*/ 108 w 144"/>
                <a:gd name="T61" fmla="*/ 66 h 110"/>
                <a:gd name="T62" fmla="*/ 122 w 144"/>
                <a:gd name="T63" fmla="*/ 66 h 110"/>
                <a:gd name="T64" fmla="*/ 130 w 144"/>
                <a:gd name="T65" fmla="*/ 66 h 110"/>
                <a:gd name="T66" fmla="*/ 134 w 144"/>
                <a:gd name="T67" fmla="*/ 62 h 110"/>
                <a:gd name="T68" fmla="*/ 134 w 144"/>
                <a:gd name="T69" fmla="*/ 62 h 110"/>
                <a:gd name="T70" fmla="*/ 134 w 144"/>
                <a:gd name="T71" fmla="*/ 56 h 110"/>
                <a:gd name="T72" fmla="*/ 134 w 144"/>
                <a:gd name="T73" fmla="*/ 52 h 110"/>
                <a:gd name="T74" fmla="*/ 134 w 144"/>
                <a:gd name="T75" fmla="*/ 50 h 110"/>
                <a:gd name="T76" fmla="*/ 140 w 144"/>
                <a:gd name="T77" fmla="*/ 44 h 110"/>
                <a:gd name="T78" fmla="*/ 142 w 144"/>
                <a:gd name="T79" fmla="*/ 32 h 110"/>
                <a:gd name="T80" fmla="*/ 130 w 144"/>
                <a:gd name="T81" fmla="*/ 0 h 110"/>
                <a:gd name="T82" fmla="*/ 112 w 144"/>
                <a:gd name="T83" fmla="*/ 2 h 110"/>
                <a:gd name="T84" fmla="*/ 98 w 144"/>
                <a:gd name="T85" fmla="*/ 4 h 110"/>
                <a:gd name="T86" fmla="*/ 90 w 144"/>
                <a:gd name="T87" fmla="*/ 8 h 110"/>
                <a:gd name="T88" fmla="*/ 84 w 144"/>
                <a:gd name="T89" fmla="*/ 12 h 110"/>
                <a:gd name="T90" fmla="*/ 78 w 144"/>
                <a:gd name="T91" fmla="*/ 18 h 110"/>
                <a:gd name="T92" fmla="*/ 74 w 144"/>
                <a:gd name="T93" fmla="*/ 24 h 110"/>
                <a:gd name="T94" fmla="*/ 74 w 144"/>
                <a:gd name="T95" fmla="*/ 28 h 110"/>
                <a:gd name="T96" fmla="*/ 72 w 144"/>
                <a:gd name="T97" fmla="*/ 38 h 110"/>
                <a:gd name="T98" fmla="*/ 70 w 144"/>
                <a:gd name="T99" fmla="*/ 44 h 110"/>
                <a:gd name="T100" fmla="*/ 68 w 144"/>
                <a:gd name="T101" fmla="*/ 46 h 110"/>
                <a:gd name="T102" fmla="*/ 58 w 144"/>
                <a:gd name="T103" fmla="*/ 5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10">
                  <a:moveTo>
                    <a:pt x="50" y="60"/>
                  </a:moveTo>
                  <a:lnTo>
                    <a:pt x="50" y="60"/>
                  </a:lnTo>
                  <a:lnTo>
                    <a:pt x="50" y="48"/>
                  </a:lnTo>
                  <a:lnTo>
                    <a:pt x="52" y="44"/>
                  </a:lnTo>
                  <a:lnTo>
                    <a:pt x="52" y="42"/>
                  </a:lnTo>
                  <a:lnTo>
                    <a:pt x="52" y="40"/>
                  </a:lnTo>
                  <a:lnTo>
                    <a:pt x="52" y="40"/>
                  </a:lnTo>
                  <a:lnTo>
                    <a:pt x="52" y="38"/>
                  </a:lnTo>
                  <a:lnTo>
                    <a:pt x="50" y="38"/>
                  </a:lnTo>
                  <a:lnTo>
                    <a:pt x="50" y="36"/>
                  </a:lnTo>
                  <a:lnTo>
                    <a:pt x="50" y="36"/>
                  </a:lnTo>
                  <a:lnTo>
                    <a:pt x="48" y="36"/>
                  </a:lnTo>
                  <a:lnTo>
                    <a:pt x="46" y="36"/>
                  </a:lnTo>
                  <a:lnTo>
                    <a:pt x="44" y="34"/>
                  </a:lnTo>
                  <a:lnTo>
                    <a:pt x="42" y="34"/>
                  </a:lnTo>
                  <a:lnTo>
                    <a:pt x="40" y="34"/>
                  </a:lnTo>
                  <a:lnTo>
                    <a:pt x="36" y="34"/>
                  </a:lnTo>
                  <a:lnTo>
                    <a:pt x="30" y="34"/>
                  </a:lnTo>
                  <a:lnTo>
                    <a:pt x="28" y="34"/>
                  </a:lnTo>
                  <a:lnTo>
                    <a:pt x="24" y="34"/>
                  </a:lnTo>
                  <a:lnTo>
                    <a:pt x="18" y="34"/>
                  </a:lnTo>
                  <a:lnTo>
                    <a:pt x="14" y="34"/>
                  </a:lnTo>
                  <a:lnTo>
                    <a:pt x="12" y="34"/>
                  </a:lnTo>
                  <a:lnTo>
                    <a:pt x="10" y="34"/>
                  </a:lnTo>
                  <a:lnTo>
                    <a:pt x="10" y="36"/>
                  </a:lnTo>
                  <a:lnTo>
                    <a:pt x="8" y="36"/>
                  </a:lnTo>
                  <a:lnTo>
                    <a:pt x="4" y="38"/>
                  </a:lnTo>
                  <a:lnTo>
                    <a:pt x="0" y="42"/>
                  </a:lnTo>
                  <a:lnTo>
                    <a:pt x="0" y="54"/>
                  </a:lnTo>
                  <a:lnTo>
                    <a:pt x="0" y="66"/>
                  </a:lnTo>
                  <a:lnTo>
                    <a:pt x="0" y="74"/>
                  </a:lnTo>
                  <a:lnTo>
                    <a:pt x="0" y="78"/>
                  </a:lnTo>
                  <a:lnTo>
                    <a:pt x="0" y="84"/>
                  </a:lnTo>
                  <a:lnTo>
                    <a:pt x="0" y="86"/>
                  </a:lnTo>
                  <a:lnTo>
                    <a:pt x="0" y="88"/>
                  </a:lnTo>
                  <a:lnTo>
                    <a:pt x="0" y="90"/>
                  </a:lnTo>
                  <a:lnTo>
                    <a:pt x="0" y="92"/>
                  </a:lnTo>
                  <a:lnTo>
                    <a:pt x="2" y="94"/>
                  </a:lnTo>
                  <a:lnTo>
                    <a:pt x="2" y="94"/>
                  </a:lnTo>
                  <a:lnTo>
                    <a:pt x="4" y="98"/>
                  </a:lnTo>
                  <a:lnTo>
                    <a:pt x="6" y="100"/>
                  </a:lnTo>
                  <a:lnTo>
                    <a:pt x="6" y="102"/>
                  </a:lnTo>
                  <a:lnTo>
                    <a:pt x="8" y="102"/>
                  </a:lnTo>
                  <a:lnTo>
                    <a:pt x="8" y="104"/>
                  </a:lnTo>
                  <a:lnTo>
                    <a:pt x="10" y="106"/>
                  </a:lnTo>
                  <a:lnTo>
                    <a:pt x="12" y="106"/>
                  </a:lnTo>
                  <a:lnTo>
                    <a:pt x="14" y="108"/>
                  </a:lnTo>
                  <a:lnTo>
                    <a:pt x="16" y="108"/>
                  </a:lnTo>
                  <a:lnTo>
                    <a:pt x="18" y="110"/>
                  </a:lnTo>
                  <a:lnTo>
                    <a:pt x="20" y="110"/>
                  </a:lnTo>
                  <a:lnTo>
                    <a:pt x="22" y="110"/>
                  </a:lnTo>
                  <a:lnTo>
                    <a:pt x="22" y="110"/>
                  </a:lnTo>
                  <a:lnTo>
                    <a:pt x="22" y="110"/>
                  </a:lnTo>
                  <a:lnTo>
                    <a:pt x="24" y="110"/>
                  </a:lnTo>
                  <a:lnTo>
                    <a:pt x="24" y="108"/>
                  </a:lnTo>
                  <a:lnTo>
                    <a:pt x="26" y="108"/>
                  </a:lnTo>
                  <a:lnTo>
                    <a:pt x="26" y="106"/>
                  </a:lnTo>
                  <a:lnTo>
                    <a:pt x="28" y="106"/>
                  </a:lnTo>
                  <a:lnTo>
                    <a:pt x="30" y="102"/>
                  </a:lnTo>
                  <a:lnTo>
                    <a:pt x="32" y="100"/>
                  </a:lnTo>
                  <a:lnTo>
                    <a:pt x="34" y="98"/>
                  </a:lnTo>
                  <a:lnTo>
                    <a:pt x="40" y="92"/>
                  </a:lnTo>
                  <a:lnTo>
                    <a:pt x="44" y="88"/>
                  </a:lnTo>
                  <a:lnTo>
                    <a:pt x="48" y="86"/>
                  </a:lnTo>
                  <a:lnTo>
                    <a:pt x="48" y="84"/>
                  </a:lnTo>
                  <a:lnTo>
                    <a:pt x="50" y="82"/>
                  </a:lnTo>
                  <a:lnTo>
                    <a:pt x="52" y="82"/>
                  </a:lnTo>
                  <a:lnTo>
                    <a:pt x="52" y="80"/>
                  </a:lnTo>
                  <a:lnTo>
                    <a:pt x="52" y="80"/>
                  </a:lnTo>
                  <a:lnTo>
                    <a:pt x="54" y="80"/>
                  </a:lnTo>
                  <a:lnTo>
                    <a:pt x="56" y="78"/>
                  </a:lnTo>
                  <a:lnTo>
                    <a:pt x="58" y="78"/>
                  </a:lnTo>
                  <a:lnTo>
                    <a:pt x="62" y="78"/>
                  </a:lnTo>
                  <a:lnTo>
                    <a:pt x="66" y="78"/>
                  </a:lnTo>
                  <a:lnTo>
                    <a:pt x="72" y="80"/>
                  </a:lnTo>
                  <a:lnTo>
                    <a:pt x="76" y="80"/>
                  </a:lnTo>
                  <a:lnTo>
                    <a:pt x="82" y="80"/>
                  </a:lnTo>
                  <a:lnTo>
                    <a:pt x="84" y="80"/>
                  </a:lnTo>
                  <a:lnTo>
                    <a:pt x="86" y="80"/>
                  </a:lnTo>
                  <a:lnTo>
                    <a:pt x="88" y="80"/>
                  </a:lnTo>
                  <a:lnTo>
                    <a:pt x="90" y="78"/>
                  </a:lnTo>
                  <a:lnTo>
                    <a:pt x="90" y="78"/>
                  </a:lnTo>
                  <a:lnTo>
                    <a:pt x="92" y="78"/>
                  </a:lnTo>
                  <a:lnTo>
                    <a:pt x="92" y="76"/>
                  </a:lnTo>
                  <a:lnTo>
                    <a:pt x="94" y="76"/>
                  </a:lnTo>
                  <a:lnTo>
                    <a:pt x="96" y="74"/>
                  </a:lnTo>
                  <a:lnTo>
                    <a:pt x="98" y="70"/>
                  </a:lnTo>
                  <a:lnTo>
                    <a:pt x="100" y="70"/>
                  </a:lnTo>
                  <a:lnTo>
                    <a:pt x="100" y="68"/>
                  </a:lnTo>
                  <a:lnTo>
                    <a:pt x="102" y="68"/>
                  </a:lnTo>
                  <a:lnTo>
                    <a:pt x="104" y="68"/>
                  </a:lnTo>
                  <a:lnTo>
                    <a:pt x="106" y="68"/>
                  </a:lnTo>
                  <a:lnTo>
                    <a:pt x="108" y="66"/>
                  </a:lnTo>
                  <a:lnTo>
                    <a:pt x="114" y="66"/>
                  </a:lnTo>
                  <a:lnTo>
                    <a:pt x="118" y="66"/>
                  </a:lnTo>
                  <a:lnTo>
                    <a:pt x="122" y="66"/>
                  </a:lnTo>
                  <a:lnTo>
                    <a:pt x="126" y="66"/>
                  </a:lnTo>
                  <a:lnTo>
                    <a:pt x="128" y="66"/>
                  </a:lnTo>
                  <a:lnTo>
                    <a:pt x="130" y="66"/>
                  </a:lnTo>
                  <a:lnTo>
                    <a:pt x="132" y="64"/>
                  </a:lnTo>
                  <a:lnTo>
                    <a:pt x="132" y="64"/>
                  </a:lnTo>
                  <a:lnTo>
                    <a:pt x="134" y="62"/>
                  </a:lnTo>
                  <a:lnTo>
                    <a:pt x="134" y="62"/>
                  </a:lnTo>
                  <a:lnTo>
                    <a:pt x="134" y="62"/>
                  </a:lnTo>
                  <a:lnTo>
                    <a:pt x="134" y="62"/>
                  </a:lnTo>
                  <a:lnTo>
                    <a:pt x="134" y="60"/>
                  </a:lnTo>
                  <a:lnTo>
                    <a:pt x="134" y="58"/>
                  </a:lnTo>
                  <a:lnTo>
                    <a:pt x="134" y="56"/>
                  </a:lnTo>
                  <a:lnTo>
                    <a:pt x="134" y="54"/>
                  </a:lnTo>
                  <a:lnTo>
                    <a:pt x="134" y="52"/>
                  </a:lnTo>
                  <a:lnTo>
                    <a:pt x="134" y="52"/>
                  </a:lnTo>
                  <a:lnTo>
                    <a:pt x="134" y="52"/>
                  </a:lnTo>
                  <a:lnTo>
                    <a:pt x="134" y="50"/>
                  </a:lnTo>
                  <a:lnTo>
                    <a:pt x="134" y="50"/>
                  </a:lnTo>
                  <a:lnTo>
                    <a:pt x="136" y="48"/>
                  </a:lnTo>
                  <a:lnTo>
                    <a:pt x="138" y="46"/>
                  </a:lnTo>
                  <a:lnTo>
                    <a:pt x="140" y="44"/>
                  </a:lnTo>
                  <a:lnTo>
                    <a:pt x="144" y="42"/>
                  </a:lnTo>
                  <a:lnTo>
                    <a:pt x="144" y="42"/>
                  </a:lnTo>
                  <a:lnTo>
                    <a:pt x="142" y="32"/>
                  </a:lnTo>
                  <a:lnTo>
                    <a:pt x="136" y="18"/>
                  </a:lnTo>
                  <a:lnTo>
                    <a:pt x="132" y="8"/>
                  </a:lnTo>
                  <a:lnTo>
                    <a:pt x="130" y="0"/>
                  </a:lnTo>
                  <a:lnTo>
                    <a:pt x="124" y="2"/>
                  </a:lnTo>
                  <a:lnTo>
                    <a:pt x="118" y="2"/>
                  </a:lnTo>
                  <a:lnTo>
                    <a:pt x="112" y="2"/>
                  </a:lnTo>
                  <a:lnTo>
                    <a:pt x="104" y="4"/>
                  </a:lnTo>
                  <a:lnTo>
                    <a:pt x="102" y="4"/>
                  </a:lnTo>
                  <a:lnTo>
                    <a:pt x="98" y="4"/>
                  </a:lnTo>
                  <a:lnTo>
                    <a:pt x="94" y="6"/>
                  </a:lnTo>
                  <a:lnTo>
                    <a:pt x="92" y="6"/>
                  </a:lnTo>
                  <a:lnTo>
                    <a:pt x="90" y="8"/>
                  </a:lnTo>
                  <a:lnTo>
                    <a:pt x="88" y="8"/>
                  </a:lnTo>
                  <a:lnTo>
                    <a:pt x="86" y="10"/>
                  </a:lnTo>
                  <a:lnTo>
                    <a:pt x="84" y="12"/>
                  </a:lnTo>
                  <a:lnTo>
                    <a:pt x="82" y="14"/>
                  </a:lnTo>
                  <a:lnTo>
                    <a:pt x="80" y="16"/>
                  </a:lnTo>
                  <a:lnTo>
                    <a:pt x="78" y="18"/>
                  </a:lnTo>
                  <a:lnTo>
                    <a:pt x="76" y="20"/>
                  </a:lnTo>
                  <a:lnTo>
                    <a:pt x="76" y="22"/>
                  </a:lnTo>
                  <a:lnTo>
                    <a:pt x="74" y="24"/>
                  </a:lnTo>
                  <a:lnTo>
                    <a:pt x="74" y="24"/>
                  </a:lnTo>
                  <a:lnTo>
                    <a:pt x="74" y="26"/>
                  </a:lnTo>
                  <a:lnTo>
                    <a:pt x="74" y="28"/>
                  </a:lnTo>
                  <a:lnTo>
                    <a:pt x="72" y="32"/>
                  </a:lnTo>
                  <a:lnTo>
                    <a:pt x="72" y="34"/>
                  </a:lnTo>
                  <a:lnTo>
                    <a:pt x="72" y="38"/>
                  </a:lnTo>
                  <a:lnTo>
                    <a:pt x="72" y="40"/>
                  </a:lnTo>
                  <a:lnTo>
                    <a:pt x="70" y="42"/>
                  </a:lnTo>
                  <a:lnTo>
                    <a:pt x="70" y="44"/>
                  </a:lnTo>
                  <a:lnTo>
                    <a:pt x="70" y="44"/>
                  </a:lnTo>
                  <a:lnTo>
                    <a:pt x="68" y="46"/>
                  </a:lnTo>
                  <a:lnTo>
                    <a:pt x="68" y="46"/>
                  </a:lnTo>
                  <a:lnTo>
                    <a:pt x="66" y="50"/>
                  </a:lnTo>
                  <a:lnTo>
                    <a:pt x="62" y="52"/>
                  </a:lnTo>
                  <a:lnTo>
                    <a:pt x="58" y="54"/>
                  </a:lnTo>
                  <a:lnTo>
                    <a:pt x="54" y="58"/>
                  </a:lnTo>
                  <a:lnTo>
                    <a:pt x="50" y="60"/>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5" name="Freeform 133">
              <a:extLst>
                <a:ext uri="{FF2B5EF4-FFF2-40B4-BE49-F238E27FC236}">
                  <a16:creationId xmlns:a16="http://schemas.microsoft.com/office/drawing/2014/main" id="{59F7D53A-19A0-4BD1-8D4D-0DA389DF0EFE}"/>
                </a:ext>
              </a:extLst>
            </p:cNvPr>
            <p:cNvSpPr>
              <a:spLocks/>
            </p:cNvSpPr>
            <p:nvPr/>
          </p:nvSpPr>
          <p:spPr bwMode="auto">
            <a:xfrm>
              <a:off x="5114464" y="3672785"/>
              <a:ext cx="103925" cy="124709"/>
            </a:xfrm>
            <a:custGeom>
              <a:avLst/>
              <a:gdLst>
                <a:gd name="T0" fmla="*/ 18 w 60"/>
                <a:gd name="T1" fmla="*/ 72 h 72"/>
                <a:gd name="T2" fmla="*/ 20 w 60"/>
                <a:gd name="T3" fmla="*/ 70 h 72"/>
                <a:gd name="T4" fmla="*/ 24 w 60"/>
                <a:gd name="T5" fmla="*/ 68 h 72"/>
                <a:gd name="T6" fmla="*/ 28 w 60"/>
                <a:gd name="T7" fmla="*/ 62 h 72"/>
                <a:gd name="T8" fmla="*/ 32 w 60"/>
                <a:gd name="T9" fmla="*/ 58 h 72"/>
                <a:gd name="T10" fmla="*/ 34 w 60"/>
                <a:gd name="T11" fmla="*/ 56 h 72"/>
                <a:gd name="T12" fmla="*/ 40 w 60"/>
                <a:gd name="T13" fmla="*/ 52 h 72"/>
                <a:gd name="T14" fmla="*/ 42 w 60"/>
                <a:gd name="T15" fmla="*/ 50 h 72"/>
                <a:gd name="T16" fmla="*/ 44 w 60"/>
                <a:gd name="T17" fmla="*/ 48 h 72"/>
                <a:gd name="T18" fmla="*/ 44 w 60"/>
                <a:gd name="T19" fmla="*/ 46 h 72"/>
                <a:gd name="T20" fmla="*/ 44 w 60"/>
                <a:gd name="T21" fmla="*/ 44 h 72"/>
                <a:gd name="T22" fmla="*/ 44 w 60"/>
                <a:gd name="T23" fmla="*/ 38 h 72"/>
                <a:gd name="T24" fmla="*/ 44 w 60"/>
                <a:gd name="T25" fmla="*/ 34 h 72"/>
                <a:gd name="T26" fmla="*/ 44 w 60"/>
                <a:gd name="T27" fmla="*/ 30 h 72"/>
                <a:gd name="T28" fmla="*/ 44 w 60"/>
                <a:gd name="T29" fmla="*/ 28 h 72"/>
                <a:gd name="T30" fmla="*/ 46 w 60"/>
                <a:gd name="T31" fmla="*/ 26 h 72"/>
                <a:gd name="T32" fmla="*/ 48 w 60"/>
                <a:gd name="T33" fmla="*/ 24 h 72"/>
                <a:gd name="T34" fmla="*/ 52 w 60"/>
                <a:gd name="T35" fmla="*/ 20 h 72"/>
                <a:gd name="T36" fmla="*/ 60 w 60"/>
                <a:gd name="T37" fmla="*/ 14 h 72"/>
                <a:gd name="T38" fmla="*/ 50 w 60"/>
                <a:gd name="T39" fmla="*/ 2 h 72"/>
                <a:gd name="T40" fmla="*/ 42 w 60"/>
                <a:gd name="T41" fmla="*/ 8 h 72"/>
                <a:gd name="T42" fmla="*/ 36 w 60"/>
                <a:gd name="T43" fmla="*/ 12 h 72"/>
                <a:gd name="T44" fmla="*/ 34 w 60"/>
                <a:gd name="T45" fmla="*/ 14 h 72"/>
                <a:gd name="T46" fmla="*/ 30 w 60"/>
                <a:gd name="T47" fmla="*/ 14 h 72"/>
                <a:gd name="T48" fmla="*/ 24 w 60"/>
                <a:gd name="T49" fmla="*/ 14 h 72"/>
                <a:gd name="T50" fmla="*/ 18 w 60"/>
                <a:gd name="T51" fmla="*/ 12 h 72"/>
                <a:gd name="T52" fmla="*/ 14 w 60"/>
                <a:gd name="T53" fmla="*/ 12 h 72"/>
                <a:gd name="T54" fmla="*/ 10 w 60"/>
                <a:gd name="T55" fmla="*/ 8 h 72"/>
                <a:gd name="T56" fmla="*/ 4 w 60"/>
                <a:gd name="T57" fmla="*/ 4 h 72"/>
                <a:gd name="T58" fmla="*/ 4 w 60"/>
                <a:gd name="T59" fmla="*/ 16 h 72"/>
                <a:gd name="T60" fmla="*/ 4 w 60"/>
                <a:gd name="T61" fmla="*/ 32 h 72"/>
                <a:gd name="T62" fmla="*/ 2 w 60"/>
                <a:gd name="T63" fmla="*/ 40 h 72"/>
                <a:gd name="T64" fmla="*/ 0 w 60"/>
                <a:gd name="T65" fmla="*/ 54 h 72"/>
                <a:gd name="T66" fmla="*/ 4 w 60"/>
                <a:gd name="T67" fmla="*/ 72 h 72"/>
                <a:gd name="T68" fmla="*/ 12 w 60"/>
                <a:gd name="T69" fmla="*/ 72 h 72"/>
                <a:gd name="T70" fmla="*/ 16 w 60"/>
                <a:gd name="T71" fmla="*/ 72 h 72"/>
                <a:gd name="T72" fmla="*/ 18 w 60"/>
                <a:gd name="T7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72">
                  <a:moveTo>
                    <a:pt x="18" y="72"/>
                  </a:moveTo>
                  <a:lnTo>
                    <a:pt x="18" y="72"/>
                  </a:lnTo>
                  <a:lnTo>
                    <a:pt x="20" y="72"/>
                  </a:lnTo>
                  <a:lnTo>
                    <a:pt x="20" y="70"/>
                  </a:lnTo>
                  <a:lnTo>
                    <a:pt x="22" y="70"/>
                  </a:lnTo>
                  <a:lnTo>
                    <a:pt x="24" y="68"/>
                  </a:lnTo>
                  <a:lnTo>
                    <a:pt x="26" y="66"/>
                  </a:lnTo>
                  <a:lnTo>
                    <a:pt x="28" y="62"/>
                  </a:lnTo>
                  <a:lnTo>
                    <a:pt x="30" y="60"/>
                  </a:lnTo>
                  <a:lnTo>
                    <a:pt x="32" y="58"/>
                  </a:lnTo>
                  <a:lnTo>
                    <a:pt x="32" y="58"/>
                  </a:lnTo>
                  <a:lnTo>
                    <a:pt x="34" y="56"/>
                  </a:lnTo>
                  <a:lnTo>
                    <a:pt x="38" y="54"/>
                  </a:lnTo>
                  <a:lnTo>
                    <a:pt x="40" y="52"/>
                  </a:lnTo>
                  <a:lnTo>
                    <a:pt x="42" y="52"/>
                  </a:lnTo>
                  <a:lnTo>
                    <a:pt x="42" y="50"/>
                  </a:lnTo>
                  <a:lnTo>
                    <a:pt x="44" y="50"/>
                  </a:lnTo>
                  <a:lnTo>
                    <a:pt x="44" y="48"/>
                  </a:lnTo>
                  <a:lnTo>
                    <a:pt x="44" y="48"/>
                  </a:lnTo>
                  <a:lnTo>
                    <a:pt x="44" y="46"/>
                  </a:lnTo>
                  <a:lnTo>
                    <a:pt x="44" y="46"/>
                  </a:lnTo>
                  <a:lnTo>
                    <a:pt x="44" y="44"/>
                  </a:lnTo>
                  <a:lnTo>
                    <a:pt x="44" y="42"/>
                  </a:lnTo>
                  <a:lnTo>
                    <a:pt x="44" y="38"/>
                  </a:lnTo>
                  <a:lnTo>
                    <a:pt x="44" y="36"/>
                  </a:lnTo>
                  <a:lnTo>
                    <a:pt x="44" y="34"/>
                  </a:lnTo>
                  <a:lnTo>
                    <a:pt x="44" y="32"/>
                  </a:lnTo>
                  <a:lnTo>
                    <a:pt x="44" y="30"/>
                  </a:lnTo>
                  <a:lnTo>
                    <a:pt x="44" y="30"/>
                  </a:lnTo>
                  <a:lnTo>
                    <a:pt x="44" y="28"/>
                  </a:lnTo>
                  <a:lnTo>
                    <a:pt x="44" y="28"/>
                  </a:lnTo>
                  <a:lnTo>
                    <a:pt x="46" y="26"/>
                  </a:lnTo>
                  <a:lnTo>
                    <a:pt x="46" y="26"/>
                  </a:lnTo>
                  <a:lnTo>
                    <a:pt x="48" y="24"/>
                  </a:lnTo>
                  <a:lnTo>
                    <a:pt x="50" y="22"/>
                  </a:lnTo>
                  <a:lnTo>
                    <a:pt x="52" y="20"/>
                  </a:lnTo>
                  <a:lnTo>
                    <a:pt x="58" y="16"/>
                  </a:lnTo>
                  <a:lnTo>
                    <a:pt x="60" y="14"/>
                  </a:lnTo>
                  <a:lnTo>
                    <a:pt x="52" y="0"/>
                  </a:lnTo>
                  <a:lnTo>
                    <a:pt x="50" y="2"/>
                  </a:lnTo>
                  <a:lnTo>
                    <a:pt x="44" y="6"/>
                  </a:lnTo>
                  <a:lnTo>
                    <a:pt x="42" y="8"/>
                  </a:lnTo>
                  <a:lnTo>
                    <a:pt x="38" y="10"/>
                  </a:lnTo>
                  <a:lnTo>
                    <a:pt x="36" y="12"/>
                  </a:lnTo>
                  <a:lnTo>
                    <a:pt x="34" y="12"/>
                  </a:lnTo>
                  <a:lnTo>
                    <a:pt x="34" y="14"/>
                  </a:lnTo>
                  <a:lnTo>
                    <a:pt x="32" y="14"/>
                  </a:lnTo>
                  <a:lnTo>
                    <a:pt x="30" y="14"/>
                  </a:lnTo>
                  <a:lnTo>
                    <a:pt x="26" y="14"/>
                  </a:lnTo>
                  <a:lnTo>
                    <a:pt x="24" y="14"/>
                  </a:lnTo>
                  <a:lnTo>
                    <a:pt x="20" y="12"/>
                  </a:lnTo>
                  <a:lnTo>
                    <a:pt x="18" y="12"/>
                  </a:lnTo>
                  <a:lnTo>
                    <a:pt x="16" y="12"/>
                  </a:lnTo>
                  <a:lnTo>
                    <a:pt x="14" y="12"/>
                  </a:lnTo>
                  <a:lnTo>
                    <a:pt x="12" y="10"/>
                  </a:lnTo>
                  <a:lnTo>
                    <a:pt x="10" y="8"/>
                  </a:lnTo>
                  <a:lnTo>
                    <a:pt x="8" y="6"/>
                  </a:lnTo>
                  <a:lnTo>
                    <a:pt x="4" y="4"/>
                  </a:lnTo>
                  <a:lnTo>
                    <a:pt x="4" y="2"/>
                  </a:lnTo>
                  <a:lnTo>
                    <a:pt x="4" y="16"/>
                  </a:lnTo>
                  <a:lnTo>
                    <a:pt x="4" y="28"/>
                  </a:lnTo>
                  <a:lnTo>
                    <a:pt x="4" y="32"/>
                  </a:lnTo>
                  <a:lnTo>
                    <a:pt x="4" y="36"/>
                  </a:lnTo>
                  <a:lnTo>
                    <a:pt x="2" y="40"/>
                  </a:lnTo>
                  <a:lnTo>
                    <a:pt x="2" y="46"/>
                  </a:lnTo>
                  <a:lnTo>
                    <a:pt x="0" y="54"/>
                  </a:lnTo>
                  <a:lnTo>
                    <a:pt x="0" y="72"/>
                  </a:lnTo>
                  <a:lnTo>
                    <a:pt x="4" y="72"/>
                  </a:lnTo>
                  <a:lnTo>
                    <a:pt x="8" y="72"/>
                  </a:lnTo>
                  <a:lnTo>
                    <a:pt x="12" y="72"/>
                  </a:lnTo>
                  <a:lnTo>
                    <a:pt x="14" y="72"/>
                  </a:lnTo>
                  <a:lnTo>
                    <a:pt x="16" y="72"/>
                  </a:lnTo>
                  <a:lnTo>
                    <a:pt x="18" y="72"/>
                  </a:lnTo>
                  <a:lnTo>
                    <a:pt x="18" y="7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6" name="Freeform 134">
              <a:extLst>
                <a:ext uri="{FF2B5EF4-FFF2-40B4-BE49-F238E27FC236}">
                  <a16:creationId xmlns:a16="http://schemas.microsoft.com/office/drawing/2014/main" id="{9A803183-41AC-490E-AE16-3E22979C498B}"/>
                </a:ext>
              </a:extLst>
            </p:cNvPr>
            <p:cNvSpPr>
              <a:spLocks/>
            </p:cNvSpPr>
            <p:nvPr/>
          </p:nvSpPr>
          <p:spPr bwMode="auto">
            <a:xfrm>
              <a:off x="5114464" y="3672785"/>
              <a:ext cx="103925" cy="124709"/>
            </a:xfrm>
            <a:custGeom>
              <a:avLst/>
              <a:gdLst>
                <a:gd name="T0" fmla="*/ 18 w 60"/>
                <a:gd name="T1" fmla="*/ 72 h 72"/>
                <a:gd name="T2" fmla="*/ 20 w 60"/>
                <a:gd name="T3" fmla="*/ 70 h 72"/>
                <a:gd name="T4" fmla="*/ 24 w 60"/>
                <a:gd name="T5" fmla="*/ 68 h 72"/>
                <a:gd name="T6" fmla="*/ 28 w 60"/>
                <a:gd name="T7" fmla="*/ 62 h 72"/>
                <a:gd name="T8" fmla="*/ 32 w 60"/>
                <a:gd name="T9" fmla="*/ 58 h 72"/>
                <a:gd name="T10" fmla="*/ 34 w 60"/>
                <a:gd name="T11" fmla="*/ 56 h 72"/>
                <a:gd name="T12" fmla="*/ 40 w 60"/>
                <a:gd name="T13" fmla="*/ 52 h 72"/>
                <a:gd name="T14" fmla="*/ 42 w 60"/>
                <a:gd name="T15" fmla="*/ 50 h 72"/>
                <a:gd name="T16" fmla="*/ 44 w 60"/>
                <a:gd name="T17" fmla="*/ 48 h 72"/>
                <a:gd name="T18" fmla="*/ 44 w 60"/>
                <a:gd name="T19" fmla="*/ 46 h 72"/>
                <a:gd name="T20" fmla="*/ 44 w 60"/>
                <a:gd name="T21" fmla="*/ 44 h 72"/>
                <a:gd name="T22" fmla="*/ 44 w 60"/>
                <a:gd name="T23" fmla="*/ 38 h 72"/>
                <a:gd name="T24" fmla="*/ 44 w 60"/>
                <a:gd name="T25" fmla="*/ 34 h 72"/>
                <a:gd name="T26" fmla="*/ 44 w 60"/>
                <a:gd name="T27" fmla="*/ 30 h 72"/>
                <a:gd name="T28" fmla="*/ 44 w 60"/>
                <a:gd name="T29" fmla="*/ 28 h 72"/>
                <a:gd name="T30" fmla="*/ 46 w 60"/>
                <a:gd name="T31" fmla="*/ 26 h 72"/>
                <a:gd name="T32" fmla="*/ 48 w 60"/>
                <a:gd name="T33" fmla="*/ 24 h 72"/>
                <a:gd name="T34" fmla="*/ 52 w 60"/>
                <a:gd name="T35" fmla="*/ 20 h 72"/>
                <a:gd name="T36" fmla="*/ 60 w 60"/>
                <a:gd name="T37" fmla="*/ 14 h 72"/>
                <a:gd name="T38" fmla="*/ 50 w 60"/>
                <a:gd name="T39" fmla="*/ 2 h 72"/>
                <a:gd name="T40" fmla="*/ 42 w 60"/>
                <a:gd name="T41" fmla="*/ 8 h 72"/>
                <a:gd name="T42" fmla="*/ 36 w 60"/>
                <a:gd name="T43" fmla="*/ 12 h 72"/>
                <a:gd name="T44" fmla="*/ 34 w 60"/>
                <a:gd name="T45" fmla="*/ 14 h 72"/>
                <a:gd name="T46" fmla="*/ 30 w 60"/>
                <a:gd name="T47" fmla="*/ 14 h 72"/>
                <a:gd name="T48" fmla="*/ 24 w 60"/>
                <a:gd name="T49" fmla="*/ 14 h 72"/>
                <a:gd name="T50" fmla="*/ 18 w 60"/>
                <a:gd name="T51" fmla="*/ 12 h 72"/>
                <a:gd name="T52" fmla="*/ 14 w 60"/>
                <a:gd name="T53" fmla="*/ 12 h 72"/>
                <a:gd name="T54" fmla="*/ 10 w 60"/>
                <a:gd name="T55" fmla="*/ 8 h 72"/>
                <a:gd name="T56" fmla="*/ 4 w 60"/>
                <a:gd name="T57" fmla="*/ 4 h 72"/>
                <a:gd name="T58" fmla="*/ 4 w 60"/>
                <a:gd name="T59" fmla="*/ 16 h 72"/>
                <a:gd name="T60" fmla="*/ 4 w 60"/>
                <a:gd name="T61" fmla="*/ 32 h 72"/>
                <a:gd name="T62" fmla="*/ 2 w 60"/>
                <a:gd name="T63" fmla="*/ 40 h 72"/>
                <a:gd name="T64" fmla="*/ 0 w 60"/>
                <a:gd name="T65" fmla="*/ 54 h 72"/>
                <a:gd name="T66" fmla="*/ 4 w 60"/>
                <a:gd name="T67" fmla="*/ 72 h 72"/>
                <a:gd name="T68" fmla="*/ 12 w 60"/>
                <a:gd name="T69" fmla="*/ 72 h 72"/>
                <a:gd name="T70" fmla="*/ 16 w 60"/>
                <a:gd name="T71" fmla="*/ 72 h 72"/>
                <a:gd name="T72" fmla="*/ 18 w 60"/>
                <a:gd name="T7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72">
                  <a:moveTo>
                    <a:pt x="18" y="72"/>
                  </a:moveTo>
                  <a:lnTo>
                    <a:pt x="18" y="72"/>
                  </a:lnTo>
                  <a:lnTo>
                    <a:pt x="20" y="72"/>
                  </a:lnTo>
                  <a:lnTo>
                    <a:pt x="20" y="70"/>
                  </a:lnTo>
                  <a:lnTo>
                    <a:pt x="22" y="70"/>
                  </a:lnTo>
                  <a:lnTo>
                    <a:pt x="24" y="68"/>
                  </a:lnTo>
                  <a:lnTo>
                    <a:pt x="26" y="66"/>
                  </a:lnTo>
                  <a:lnTo>
                    <a:pt x="28" y="62"/>
                  </a:lnTo>
                  <a:lnTo>
                    <a:pt x="30" y="60"/>
                  </a:lnTo>
                  <a:lnTo>
                    <a:pt x="32" y="58"/>
                  </a:lnTo>
                  <a:lnTo>
                    <a:pt x="32" y="58"/>
                  </a:lnTo>
                  <a:lnTo>
                    <a:pt x="34" y="56"/>
                  </a:lnTo>
                  <a:lnTo>
                    <a:pt x="38" y="54"/>
                  </a:lnTo>
                  <a:lnTo>
                    <a:pt x="40" y="52"/>
                  </a:lnTo>
                  <a:lnTo>
                    <a:pt x="42" y="52"/>
                  </a:lnTo>
                  <a:lnTo>
                    <a:pt x="42" y="50"/>
                  </a:lnTo>
                  <a:lnTo>
                    <a:pt x="44" y="50"/>
                  </a:lnTo>
                  <a:lnTo>
                    <a:pt x="44" y="48"/>
                  </a:lnTo>
                  <a:lnTo>
                    <a:pt x="44" y="48"/>
                  </a:lnTo>
                  <a:lnTo>
                    <a:pt x="44" y="46"/>
                  </a:lnTo>
                  <a:lnTo>
                    <a:pt x="44" y="46"/>
                  </a:lnTo>
                  <a:lnTo>
                    <a:pt x="44" y="44"/>
                  </a:lnTo>
                  <a:lnTo>
                    <a:pt x="44" y="42"/>
                  </a:lnTo>
                  <a:lnTo>
                    <a:pt x="44" y="38"/>
                  </a:lnTo>
                  <a:lnTo>
                    <a:pt x="44" y="36"/>
                  </a:lnTo>
                  <a:lnTo>
                    <a:pt x="44" y="34"/>
                  </a:lnTo>
                  <a:lnTo>
                    <a:pt x="44" y="32"/>
                  </a:lnTo>
                  <a:lnTo>
                    <a:pt x="44" y="30"/>
                  </a:lnTo>
                  <a:lnTo>
                    <a:pt x="44" y="30"/>
                  </a:lnTo>
                  <a:lnTo>
                    <a:pt x="44" y="28"/>
                  </a:lnTo>
                  <a:lnTo>
                    <a:pt x="44" y="28"/>
                  </a:lnTo>
                  <a:lnTo>
                    <a:pt x="46" y="26"/>
                  </a:lnTo>
                  <a:lnTo>
                    <a:pt x="46" y="26"/>
                  </a:lnTo>
                  <a:lnTo>
                    <a:pt x="48" y="24"/>
                  </a:lnTo>
                  <a:lnTo>
                    <a:pt x="50" y="22"/>
                  </a:lnTo>
                  <a:lnTo>
                    <a:pt x="52" y="20"/>
                  </a:lnTo>
                  <a:lnTo>
                    <a:pt x="58" y="16"/>
                  </a:lnTo>
                  <a:lnTo>
                    <a:pt x="60" y="14"/>
                  </a:lnTo>
                  <a:lnTo>
                    <a:pt x="52" y="0"/>
                  </a:lnTo>
                  <a:lnTo>
                    <a:pt x="50" y="2"/>
                  </a:lnTo>
                  <a:lnTo>
                    <a:pt x="44" y="6"/>
                  </a:lnTo>
                  <a:lnTo>
                    <a:pt x="42" y="8"/>
                  </a:lnTo>
                  <a:lnTo>
                    <a:pt x="38" y="10"/>
                  </a:lnTo>
                  <a:lnTo>
                    <a:pt x="36" y="12"/>
                  </a:lnTo>
                  <a:lnTo>
                    <a:pt x="34" y="12"/>
                  </a:lnTo>
                  <a:lnTo>
                    <a:pt x="34" y="14"/>
                  </a:lnTo>
                  <a:lnTo>
                    <a:pt x="32" y="14"/>
                  </a:lnTo>
                  <a:lnTo>
                    <a:pt x="30" y="14"/>
                  </a:lnTo>
                  <a:lnTo>
                    <a:pt x="26" y="14"/>
                  </a:lnTo>
                  <a:lnTo>
                    <a:pt x="24" y="14"/>
                  </a:lnTo>
                  <a:lnTo>
                    <a:pt x="20" y="12"/>
                  </a:lnTo>
                  <a:lnTo>
                    <a:pt x="18" y="12"/>
                  </a:lnTo>
                  <a:lnTo>
                    <a:pt x="16" y="12"/>
                  </a:lnTo>
                  <a:lnTo>
                    <a:pt x="14" y="12"/>
                  </a:lnTo>
                  <a:lnTo>
                    <a:pt x="12" y="10"/>
                  </a:lnTo>
                  <a:lnTo>
                    <a:pt x="10" y="8"/>
                  </a:lnTo>
                  <a:lnTo>
                    <a:pt x="8" y="6"/>
                  </a:lnTo>
                  <a:lnTo>
                    <a:pt x="4" y="4"/>
                  </a:lnTo>
                  <a:lnTo>
                    <a:pt x="4" y="2"/>
                  </a:lnTo>
                  <a:lnTo>
                    <a:pt x="4" y="16"/>
                  </a:lnTo>
                  <a:lnTo>
                    <a:pt x="4" y="28"/>
                  </a:lnTo>
                  <a:lnTo>
                    <a:pt x="4" y="32"/>
                  </a:lnTo>
                  <a:lnTo>
                    <a:pt x="4" y="36"/>
                  </a:lnTo>
                  <a:lnTo>
                    <a:pt x="2" y="40"/>
                  </a:lnTo>
                  <a:lnTo>
                    <a:pt x="2" y="46"/>
                  </a:lnTo>
                  <a:lnTo>
                    <a:pt x="0" y="54"/>
                  </a:lnTo>
                  <a:lnTo>
                    <a:pt x="0" y="72"/>
                  </a:lnTo>
                  <a:lnTo>
                    <a:pt x="4" y="72"/>
                  </a:lnTo>
                  <a:lnTo>
                    <a:pt x="8" y="72"/>
                  </a:lnTo>
                  <a:lnTo>
                    <a:pt x="12" y="72"/>
                  </a:lnTo>
                  <a:lnTo>
                    <a:pt x="14" y="72"/>
                  </a:lnTo>
                  <a:lnTo>
                    <a:pt x="16" y="72"/>
                  </a:lnTo>
                  <a:lnTo>
                    <a:pt x="18" y="72"/>
                  </a:lnTo>
                  <a:lnTo>
                    <a:pt x="18" y="7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7" name="Freeform 135">
              <a:extLst>
                <a:ext uri="{FF2B5EF4-FFF2-40B4-BE49-F238E27FC236}">
                  <a16:creationId xmlns:a16="http://schemas.microsoft.com/office/drawing/2014/main" id="{085A4808-E41A-4E89-B108-780263316EA7}"/>
                </a:ext>
              </a:extLst>
            </p:cNvPr>
            <p:cNvSpPr>
              <a:spLocks/>
            </p:cNvSpPr>
            <p:nvPr/>
          </p:nvSpPr>
          <p:spPr bwMode="auto">
            <a:xfrm>
              <a:off x="5121393" y="3551540"/>
              <a:ext cx="145494" cy="145494"/>
            </a:xfrm>
            <a:custGeom>
              <a:avLst/>
              <a:gdLst>
                <a:gd name="T0" fmla="*/ 0 w 84"/>
                <a:gd name="T1" fmla="*/ 72 h 84"/>
                <a:gd name="T2" fmla="*/ 4 w 84"/>
                <a:gd name="T3" fmla="*/ 76 h 84"/>
                <a:gd name="T4" fmla="*/ 8 w 84"/>
                <a:gd name="T5" fmla="*/ 80 h 84"/>
                <a:gd name="T6" fmla="*/ 12 w 84"/>
                <a:gd name="T7" fmla="*/ 82 h 84"/>
                <a:gd name="T8" fmla="*/ 16 w 84"/>
                <a:gd name="T9" fmla="*/ 84 h 84"/>
                <a:gd name="T10" fmla="*/ 22 w 84"/>
                <a:gd name="T11" fmla="*/ 84 h 84"/>
                <a:gd name="T12" fmla="*/ 28 w 84"/>
                <a:gd name="T13" fmla="*/ 84 h 84"/>
                <a:gd name="T14" fmla="*/ 30 w 84"/>
                <a:gd name="T15" fmla="*/ 84 h 84"/>
                <a:gd name="T16" fmla="*/ 34 w 84"/>
                <a:gd name="T17" fmla="*/ 82 h 84"/>
                <a:gd name="T18" fmla="*/ 40 w 84"/>
                <a:gd name="T19" fmla="*/ 76 h 84"/>
                <a:gd name="T20" fmla="*/ 48 w 84"/>
                <a:gd name="T21" fmla="*/ 70 h 84"/>
                <a:gd name="T22" fmla="*/ 62 w 84"/>
                <a:gd name="T23" fmla="*/ 62 h 84"/>
                <a:gd name="T24" fmla="*/ 72 w 84"/>
                <a:gd name="T25" fmla="*/ 56 h 84"/>
                <a:gd name="T26" fmla="*/ 78 w 84"/>
                <a:gd name="T27" fmla="*/ 52 h 84"/>
                <a:gd name="T28" fmla="*/ 80 w 84"/>
                <a:gd name="T29" fmla="*/ 50 h 84"/>
                <a:gd name="T30" fmla="*/ 82 w 84"/>
                <a:gd name="T31" fmla="*/ 48 h 84"/>
                <a:gd name="T32" fmla="*/ 84 w 84"/>
                <a:gd name="T33" fmla="*/ 44 h 84"/>
                <a:gd name="T34" fmla="*/ 84 w 84"/>
                <a:gd name="T35" fmla="*/ 38 h 84"/>
                <a:gd name="T36" fmla="*/ 84 w 84"/>
                <a:gd name="T37" fmla="*/ 30 h 84"/>
                <a:gd name="T38" fmla="*/ 84 w 84"/>
                <a:gd name="T39" fmla="*/ 16 h 84"/>
                <a:gd name="T40" fmla="*/ 84 w 84"/>
                <a:gd name="T41" fmla="*/ 12 h 84"/>
                <a:gd name="T42" fmla="*/ 82 w 84"/>
                <a:gd name="T43" fmla="*/ 6 h 84"/>
                <a:gd name="T44" fmla="*/ 82 w 84"/>
                <a:gd name="T45" fmla="*/ 2 h 84"/>
                <a:gd name="T46" fmla="*/ 80 w 84"/>
                <a:gd name="T47" fmla="*/ 0 h 84"/>
                <a:gd name="T48" fmla="*/ 78 w 84"/>
                <a:gd name="T49" fmla="*/ 0 h 84"/>
                <a:gd name="T50" fmla="*/ 76 w 84"/>
                <a:gd name="T51" fmla="*/ 0 h 84"/>
                <a:gd name="T52" fmla="*/ 72 w 84"/>
                <a:gd name="T53" fmla="*/ 0 h 84"/>
                <a:gd name="T54" fmla="*/ 66 w 84"/>
                <a:gd name="T55" fmla="*/ 2 h 84"/>
                <a:gd name="T56" fmla="*/ 60 w 84"/>
                <a:gd name="T57" fmla="*/ 4 h 84"/>
                <a:gd name="T58" fmla="*/ 52 w 84"/>
                <a:gd name="T59" fmla="*/ 4 h 84"/>
                <a:gd name="T60" fmla="*/ 44 w 84"/>
                <a:gd name="T61" fmla="*/ 4 h 84"/>
                <a:gd name="T62" fmla="*/ 32 w 84"/>
                <a:gd name="T63" fmla="*/ 4 h 84"/>
                <a:gd name="T64" fmla="*/ 22 w 84"/>
                <a:gd name="T65" fmla="*/ 6 h 84"/>
                <a:gd name="T66" fmla="*/ 14 w 84"/>
                <a:gd name="T67" fmla="*/ 8 h 84"/>
                <a:gd name="T68" fmla="*/ 8 w 84"/>
                <a:gd name="T69" fmla="*/ 10 h 84"/>
                <a:gd name="T70" fmla="*/ 6 w 84"/>
                <a:gd name="T71" fmla="*/ 20 h 84"/>
                <a:gd name="T72" fmla="*/ 4 w 84"/>
                <a:gd name="T73" fmla="*/ 24 h 84"/>
                <a:gd name="T74" fmla="*/ 6 w 84"/>
                <a:gd name="T75" fmla="*/ 28 h 84"/>
                <a:gd name="T76" fmla="*/ 6 w 84"/>
                <a:gd name="T77" fmla="*/ 32 h 84"/>
                <a:gd name="T78" fmla="*/ 8 w 84"/>
                <a:gd name="T79" fmla="*/ 40 h 84"/>
                <a:gd name="T80" fmla="*/ 12 w 84"/>
                <a:gd name="T81" fmla="*/ 42 h 84"/>
                <a:gd name="T82" fmla="*/ 16 w 84"/>
                <a:gd name="T83" fmla="*/ 44 h 84"/>
                <a:gd name="T84" fmla="*/ 20 w 84"/>
                <a:gd name="T85" fmla="*/ 46 h 84"/>
                <a:gd name="T86" fmla="*/ 20 w 84"/>
                <a:gd name="T87" fmla="*/ 48 h 84"/>
                <a:gd name="T88" fmla="*/ 22 w 84"/>
                <a:gd name="T89" fmla="*/ 50 h 84"/>
                <a:gd name="T90" fmla="*/ 22 w 84"/>
                <a:gd name="T91" fmla="*/ 52 h 84"/>
                <a:gd name="T92" fmla="*/ 20 w 84"/>
                <a:gd name="T93" fmla="*/ 54 h 84"/>
                <a:gd name="T94" fmla="*/ 18 w 84"/>
                <a:gd name="T95" fmla="*/ 60 h 84"/>
                <a:gd name="T96" fmla="*/ 14 w 84"/>
                <a:gd name="T97" fmla="*/ 64 h 84"/>
                <a:gd name="T98" fmla="*/ 12 w 84"/>
                <a:gd name="T99" fmla="*/ 66 h 84"/>
                <a:gd name="T100" fmla="*/ 8 w 84"/>
                <a:gd name="T101" fmla="*/ 68 h 84"/>
                <a:gd name="T102" fmla="*/ 2 w 84"/>
                <a:gd name="T103"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4" h="84">
                  <a:moveTo>
                    <a:pt x="0" y="72"/>
                  </a:moveTo>
                  <a:lnTo>
                    <a:pt x="0" y="72"/>
                  </a:lnTo>
                  <a:lnTo>
                    <a:pt x="0" y="74"/>
                  </a:lnTo>
                  <a:lnTo>
                    <a:pt x="4" y="76"/>
                  </a:lnTo>
                  <a:lnTo>
                    <a:pt x="6" y="80"/>
                  </a:lnTo>
                  <a:lnTo>
                    <a:pt x="8" y="80"/>
                  </a:lnTo>
                  <a:lnTo>
                    <a:pt x="10" y="82"/>
                  </a:lnTo>
                  <a:lnTo>
                    <a:pt x="12" y="82"/>
                  </a:lnTo>
                  <a:lnTo>
                    <a:pt x="14" y="82"/>
                  </a:lnTo>
                  <a:lnTo>
                    <a:pt x="16" y="84"/>
                  </a:lnTo>
                  <a:lnTo>
                    <a:pt x="20" y="84"/>
                  </a:lnTo>
                  <a:lnTo>
                    <a:pt x="22" y="84"/>
                  </a:lnTo>
                  <a:lnTo>
                    <a:pt x="26" y="84"/>
                  </a:lnTo>
                  <a:lnTo>
                    <a:pt x="28" y="84"/>
                  </a:lnTo>
                  <a:lnTo>
                    <a:pt x="30" y="84"/>
                  </a:lnTo>
                  <a:lnTo>
                    <a:pt x="30" y="84"/>
                  </a:lnTo>
                  <a:lnTo>
                    <a:pt x="32" y="82"/>
                  </a:lnTo>
                  <a:lnTo>
                    <a:pt x="34" y="82"/>
                  </a:lnTo>
                  <a:lnTo>
                    <a:pt x="38" y="78"/>
                  </a:lnTo>
                  <a:lnTo>
                    <a:pt x="40" y="76"/>
                  </a:lnTo>
                  <a:lnTo>
                    <a:pt x="46" y="72"/>
                  </a:lnTo>
                  <a:lnTo>
                    <a:pt x="48" y="70"/>
                  </a:lnTo>
                  <a:lnTo>
                    <a:pt x="54" y="66"/>
                  </a:lnTo>
                  <a:lnTo>
                    <a:pt x="62" y="62"/>
                  </a:lnTo>
                  <a:lnTo>
                    <a:pt x="68" y="58"/>
                  </a:lnTo>
                  <a:lnTo>
                    <a:pt x="72" y="56"/>
                  </a:lnTo>
                  <a:lnTo>
                    <a:pt x="76" y="54"/>
                  </a:lnTo>
                  <a:lnTo>
                    <a:pt x="78" y="52"/>
                  </a:lnTo>
                  <a:lnTo>
                    <a:pt x="80" y="50"/>
                  </a:lnTo>
                  <a:lnTo>
                    <a:pt x="80" y="50"/>
                  </a:lnTo>
                  <a:lnTo>
                    <a:pt x="82" y="48"/>
                  </a:lnTo>
                  <a:lnTo>
                    <a:pt x="82" y="48"/>
                  </a:lnTo>
                  <a:lnTo>
                    <a:pt x="82" y="46"/>
                  </a:lnTo>
                  <a:lnTo>
                    <a:pt x="84" y="44"/>
                  </a:lnTo>
                  <a:lnTo>
                    <a:pt x="84" y="42"/>
                  </a:lnTo>
                  <a:lnTo>
                    <a:pt x="84" y="38"/>
                  </a:lnTo>
                  <a:lnTo>
                    <a:pt x="84" y="34"/>
                  </a:lnTo>
                  <a:lnTo>
                    <a:pt x="84" y="30"/>
                  </a:lnTo>
                  <a:lnTo>
                    <a:pt x="84" y="24"/>
                  </a:lnTo>
                  <a:lnTo>
                    <a:pt x="84" y="16"/>
                  </a:lnTo>
                  <a:lnTo>
                    <a:pt x="84" y="14"/>
                  </a:lnTo>
                  <a:lnTo>
                    <a:pt x="84" y="12"/>
                  </a:lnTo>
                  <a:lnTo>
                    <a:pt x="84" y="8"/>
                  </a:lnTo>
                  <a:lnTo>
                    <a:pt x="82" y="6"/>
                  </a:lnTo>
                  <a:lnTo>
                    <a:pt x="82" y="4"/>
                  </a:lnTo>
                  <a:lnTo>
                    <a:pt x="82" y="2"/>
                  </a:lnTo>
                  <a:lnTo>
                    <a:pt x="80" y="2"/>
                  </a:lnTo>
                  <a:lnTo>
                    <a:pt x="80" y="0"/>
                  </a:lnTo>
                  <a:lnTo>
                    <a:pt x="80" y="0"/>
                  </a:lnTo>
                  <a:lnTo>
                    <a:pt x="78" y="0"/>
                  </a:lnTo>
                  <a:lnTo>
                    <a:pt x="78" y="0"/>
                  </a:lnTo>
                  <a:lnTo>
                    <a:pt x="76" y="0"/>
                  </a:lnTo>
                  <a:lnTo>
                    <a:pt x="76" y="0"/>
                  </a:lnTo>
                  <a:lnTo>
                    <a:pt x="72" y="0"/>
                  </a:lnTo>
                  <a:lnTo>
                    <a:pt x="70" y="0"/>
                  </a:lnTo>
                  <a:lnTo>
                    <a:pt x="66" y="2"/>
                  </a:lnTo>
                  <a:lnTo>
                    <a:pt x="62" y="4"/>
                  </a:lnTo>
                  <a:lnTo>
                    <a:pt x="60" y="4"/>
                  </a:lnTo>
                  <a:lnTo>
                    <a:pt x="56" y="4"/>
                  </a:lnTo>
                  <a:lnTo>
                    <a:pt x="52" y="4"/>
                  </a:lnTo>
                  <a:lnTo>
                    <a:pt x="48" y="4"/>
                  </a:lnTo>
                  <a:lnTo>
                    <a:pt x="44" y="4"/>
                  </a:lnTo>
                  <a:lnTo>
                    <a:pt x="38" y="4"/>
                  </a:lnTo>
                  <a:lnTo>
                    <a:pt x="32" y="4"/>
                  </a:lnTo>
                  <a:lnTo>
                    <a:pt x="26" y="6"/>
                  </a:lnTo>
                  <a:lnTo>
                    <a:pt x="22" y="6"/>
                  </a:lnTo>
                  <a:lnTo>
                    <a:pt x="18" y="8"/>
                  </a:lnTo>
                  <a:lnTo>
                    <a:pt x="14" y="8"/>
                  </a:lnTo>
                  <a:lnTo>
                    <a:pt x="8" y="10"/>
                  </a:lnTo>
                  <a:lnTo>
                    <a:pt x="8" y="10"/>
                  </a:lnTo>
                  <a:lnTo>
                    <a:pt x="6" y="14"/>
                  </a:lnTo>
                  <a:lnTo>
                    <a:pt x="6" y="20"/>
                  </a:lnTo>
                  <a:lnTo>
                    <a:pt x="4" y="22"/>
                  </a:lnTo>
                  <a:lnTo>
                    <a:pt x="4" y="24"/>
                  </a:lnTo>
                  <a:lnTo>
                    <a:pt x="4" y="26"/>
                  </a:lnTo>
                  <a:lnTo>
                    <a:pt x="6" y="28"/>
                  </a:lnTo>
                  <a:lnTo>
                    <a:pt x="6" y="30"/>
                  </a:lnTo>
                  <a:lnTo>
                    <a:pt x="6" y="32"/>
                  </a:lnTo>
                  <a:lnTo>
                    <a:pt x="8" y="38"/>
                  </a:lnTo>
                  <a:lnTo>
                    <a:pt x="8" y="40"/>
                  </a:lnTo>
                  <a:lnTo>
                    <a:pt x="10" y="40"/>
                  </a:lnTo>
                  <a:lnTo>
                    <a:pt x="12" y="42"/>
                  </a:lnTo>
                  <a:lnTo>
                    <a:pt x="14" y="42"/>
                  </a:lnTo>
                  <a:lnTo>
                    <a:pt x="16" y="44"/>
                  </a:lnTo>
                  <a:lnTo>
                    <a:pt x="18" y="46"/>
                  </a:lnTo>
                  <a:lnTo>
                    <a:pt x="20" y="46"/>
                  </a:lnTo>
                  <a:lnTo>
                    <a:pt x="20" y="46"/>
                  </a:lnTo>
                  <a:lnTo>
                    <a:pt x="20" y="48"/>
                  </a:lnTo>
                  <a:lnTo>
                    <a:pt x="22" y="48"/>
                  </a:lnTo>
                  <a:lnTo>
                    <a:pt x="22" y="50"/>
                  </a:lnTo>
                  <a:lnTo>
                    <a:pt x="22" y="50"/>
                  </a:lnTo>
                  <a:lnTo>
                    <a:pt x="22" y="52"/>
                  </a:lnTo>
                  <a:lnTo>
                    <a:pt x="20" y="52"/>
                  </a:lnTo>
                  <a:lnTo>
                    <a:pt x="20" y="54"/>
                  </a:lnTo>
                  <a:lnTo>
                    <a:pt x="18" y="58"/>
                  </a:lnTo>
                  <a:lnTo>
                    <a:pt x="18" y="60"/>
                  </a:lnTo>
                  <a:lnTo>
                    <a:pt x="16" y="62"/>
                  </a:lnTo>
                  <a:lnTo>
                    <a:pt x="14" y="64"/>
                  </a:lnTo>
                  <a:lnTo>
                    <a:pt x="14" y="66"/>
                  </a:lnTo>
                  <a:lnTo>
                    <a:pt x="12" y="66"/>
                  </a:lnTo>
                  <a:lnTo>
                    <a:pt x="10" y="68"/>
                  </a:lnTo>
                  <a:lnTo>
                    <a:pt x="8" y="68"/>
                  </a:lnTo>
                  <a:lnTo>
                    <a:pt x="6" y="70"/>
                  </a:lnTo>
                  <a:lnTo>
                    <a:pt x="2" y="72"/>
                  </a:lnTo>
                  <a:lnTo>
                    <a:pt x="0" y="7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8" name="Freeform 136">
              <a:extLst>
                <a:ext uri="{FF2B5EF4-FFF2-40B4-BE49-F238E27FC236}">
                  <a16:creationId xmlns:a16="http://schemas.microsoft.com/office/drawing/2014/main" id="{27EC1B5F-E32E-4586-9345-D095205B85E9}"/>
                </a:ext>
              </a:extLst>
            </p:cNvPr>
            <p:cNvSpPr>
              <a:spLocks/>
            </p:cNvSpPr>
            <p:nvPr/>
          </p:nvSpPr>
          <p:spPr bwMode="auto">
            <a:xfrm>
              <a:off x="5121393" y="3551540"/>
              <a:ext cx="145494" cy="145494"/>
            </a:xfrm>
            <a:custGeom>
              <a:avLst/>
              <a:gdLst>
                <a:gd name="T0" fmla="*/ 0 w 84"/>
                <a:gd name="T1" fmla="*/ 72 h 84"/>
                <a:gd name="T2" fmla="*/ 4 w 84"/>
                <a:gd name="T3" fmla="*/ 76 h 84"/>
                <a:gd name="T4" fmla="*/ 8 w 84"/>
                <a:gd name="T5" fmla="*/ 80 h 84"/>
                <a:gd name="T6" fmla="*/ 12 w 84"/>
                <a:gd name="T7" fmla="*/ 82 h 84"/>
                <a:gd name="T8" fmla="*/ 16 w 84"/>
                <a:gd name="T9" fmla="*/ 84 h 84"/>
                <a:gd name="T10" fmla="*/ 22 w 84"/>
                <a:gd name="T11" fmla="*/ 84 h 84"/>
                <a:gd name="T12" fmla="*/ 28 w 84"/>
                <a:gd name="T13" fmla="*/ 84 h 84"/>
                <a:gd name="T14" fmla="*/ 30 w 84"/>
                <a:gd name="T15" fmla="*/ 84 h 84"/>
                <a:gd name="T16" fmla="*/ 34 w 84"/>
                <a:gd name="T17" fmla="*/ 82 h 84"/>
                <a:gd name="T18" fmla="*/ 40 w 84"/>
                <a:gd name="T19" fmla="*/ 76 h 84"/>
                <a:gd name="T20" fmla="*/ 48 w 84"/>
                <a:gd name="T21" fmla="*/ 70 h 84"/>
                <a:gd name="T22" fmla="*/ 62 w 84"/>
                <a:gd name="T23" fmla="*/ 62 h 84"/>
                <a:gd name="T24" fmla="*/ 72 w 84"/>
                <a:gd name="T25" fmla="*/ 56 h 84"/>
                <a:gd name="T26" fmla="*/ 78 w 84"/>
                <a:gd name="T27" fmla="*/ 52 h 84"/>
                <a:gd name="T28" fmla="*/ 80 w 84"/>
                <a:gd name="T29" fmla="*/ 50 h 84"/>
                <a:gd name="T30" fmla="*/ 82 w 84"/>
                <a:gd name="T31" fmla="*/ 48 h 84"/>
                <a:gd name="T32" fmla="*/ 84 w 84"/>
                <a:gd name="T33" fmla="*/ 44 h 84"/>
                <a:gd name="T34" fmla="*/ 84 w 84"/>
                <a:gd name="T35" fmla="*/ 38 h 84"/>
                <a:gd name="T36" fmla="*/ 84 w 84"/>
                <a:gd name="T37" fmla="*/ 30 h 84"/>
                <a:gd name="T38" fmla="*/ 84 w 84"/>
                <a:gd name="T39" fmla="*/ 16 h 84"/>
                <a:gd name="T40" fmla="*/ 84 w 84"/>
                <a:gd name="T41" fmla="*/ 12 h 84"/>
                <a:gd name="T42" fmla="*/ 82 w 84"/>
                <a:gd name="T43" fmla="*/ 6 h 84"/>
                <a:gd name="T44" fmla="*/ 82 w 84"/>
                <a:gd name="T45" fmla="*/ 2 h 84"/>
                <a:gd name="T46" fmla="*/ 80 w 84"/>
                <a:gd name="T47" fmla="*/ 0 h 84"/>
                <a:gd name="T48" fmla="*/ 78 w 84"/>
                <a:gd name="T49" fmla="*/ 0 h 84"/>
                <a:gd name="T50" fmla="*/ 76 w 84"/>
                <a:gd name="T51" fmla="*/ 0 h 84"/>
                <a:gd name="T52" fmla="*/ 72 w 84"/>
                <a:gd name="T53" fmla="*/ 0 h 84"/>
                <a:gd name="T54" fmla="*/ 66 w 84"/>
                <a:gd name="T55" fmla="*/ 2 h 84"/>
                <a:gd name="T56" fmla="*/ 60 w 84"/>
                <a:gd name="T57" fmla="*/ 4 h 84"/>
                <a:gd name="T58" fmla="*/ 52 w 84"/>
                <a:gd name="T59" fmla="*/ 4 h 84"/>
                <a:gd name="T60" fmla="*/ 44 w 84"/>
                <a:gd name="T61" fmla="*/ 4 h 84"/>
                <a:gd name="T62" fmla="*/ 32 w 84"/>
                <a:gd name="T63" fmla="*/ 4 h 84"/>
                <a:gd name="T64" fmla="*/ 22 w 84"/>
                <a:gd name="T65" fmla="*/ 6 h 84"/>
                <a:gd name="T66" fmla="*/ 14 w 84"/>
                <a:gd name="T67" fmla="*/ 8 h 84"/>
                <a:gd name="T68" fmla="*/ 8 w 84"/>
                <a:gd name="T69" fmla="*/ 10 h 84"/>
                <a:gd name="T70" fmla="*/ 6 w 84"/>
                <a:gd name="T71" fmla="*/ 20 h 84"/>
                <a:gd name="T72" fmla="*/ 4 w 84"/>
                <a:gd name="T73" fmla="*/ 24 h 84"/>
                <a:gd name="T74" fmla="*/ 6 w 84"/>
                <a:gd name="T75" fmla="*/ 28 h 84"/>
                <a:gd name="T76" fmla="*/ 6 w 84"/>
                <a:gd name="T77" fmla="*/ 32 h 84"/>
                <a:gd name="T78" fmla="*/ 8 w 84"/>
                <a:gd name="T79" fmla="*/ 40 h 84"/>
                <a:gd name="T80" fmla="*/ 12 w 84"/>
                <a:gd name="T81" fmla="*/ 42 h 84"/>
                <a:gd name="T82" fmla="*/ 16 w 84"/>
                <a:gd name="T83" fmla="*/ 44 h 84"/>
                <a:gd name="T84" fmla="*/ 20 w 84"/>
                <a:gd name="T85" fmla="*/ 46 h 84"/>
                <a:gd name="T86" fmla="*/ 20 w 84"/>
                <a:gd name="T87" fmla="*/ 48 h 84"/>
                <a:gd name="T88" fmla="*/ 22 w 84"/>
                <a:gd name="T89" fmla="*/ 50 h 84"/>
                <a:gd name="T90" fmla="*/ 22 w 84"/>
                <a:gd name="T91" fmla="*/ 52 h 84"/>
                <a:gd name="T92" fmla="*/ 20 w 84"/>
                <a:gd name="T93" fmla="*/ 54 h 84"/>
                <a:gd name="T94" fmla="*/ 18 w 84"/>
                <a:gd name="T95" fmla="*/ 60 h 84"/>
                <a:gd name="T96" fmla="*/ 14 w 84"/>
                <a:gd name="T97" fmla="*/ 64 h 84"/>
                <a:gd name="T98" fmla="*/ 12 w 84"/>
                <a:gd name="T99" fmla="*/ 66 h 84"/>
                <a:gd name="T100" fmla="*/ 8 w 84"/>
                <a:gd name="T101" fmla="*/ 68 h 84"/>
                <a:gd name="T102" fmla="*/ 2 w 84"/>
                <a:gd name="T103"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4" h="84">
                  <a:moveTo>
                    <a:pt x="0" y="72"/>
                  </a:moveTo>
                  <a:lnTo>
                    <a:pt x="0" y="72"/>
                  </a:lnTo>
                  <a:lnTo>
                    <a:pt x="0" y="74"/>
                  </a:lnTo>
                  <a:lnTo>
                    <a:pt x="4" y="76"/>
                  </a:lnTo>
                  <a:lnTo>
                    <a:pt x="6" y="80"/>
                  </a:lnTo>
                  <a:lnTo>
                    <a:pt x="8" y="80"/>
                  </a:lnTo>
                  <a:lnTo>
                    <a:pt x="10" y="82"/>
                  </a:lnTo>
                  <a:lnTo>
                    <a:pt x="12" y="82"/>
                  </a:lnTo>
                  <a:lnTo>
                    <a:pt x="14" y="82"/>
                  </a:lnTo>
                  <a:lnTo>
                    <a:pt x="16" y="84"/>
                  </a:lnTo>
                  <a:lnTo>
                    <a:pt x="20" y="84"/>
                  </a:lnTo>
                  <a:lnTo>
                    <a:pt x="22" y="84"/>
                  </a:lnTo>
                  <a:lnTo>
                    <a:pt x="26" y="84"/>
                  </a:lnTo>
                  <a:lnTo>
                    <a:pt x="28" y="84"/>
                  </a:lnTo>
                  <a:lnTo>
                    <a:pt x="30" y="84"/>
                  </a:lnTo>
                  <a:lnTo>
                    <a:pt x="30" y="84"/>
                  </a:lnTo>
                  <a:lnTo>
                    <a:pt x="32" y="82"/>
                  </a:lnTo>
                  <a:lnTo>
                    <a:pt x="34" y="82"/>
                  </a:lnTo>
                  <a:lnTo>
                    <a:pt x="38" y="78"/>
                  </a:lnTo>
                  <a:lnTo>
                    <a:pt x="40" y="76"/>
                  </a:lnTo>
                  <a:lnTo>
                    <a:pt x="46" y="72"/>
                  </a:lnTo>
                  <a:lnTo>
                    <a:pt x="48" y="70"/>
                  </a:lnTo>
                  <a:lnTo>
                    <a:pt x="54" y="66"/>
                  </a:lnTo>
                  <a:lnTo>
                    <a:pt x="62" y="62"/>
                  </a:lnTo>
                  <a:lnTo>
                    <a:pt x="68" y="58"/>
                  </a:lnTo>
                  <a:lnTo>
                    <a:pt x="72" y="56"/>
                  </a:lnTo>
                  <a:lnTo>
                    <a:pt x="76" y="54"/>
                  </a:lnTo>
                  <a:lnTo>
                    <a:pt x="78" y="52"/>
                  </a:lnTo>
                  <a:lnTo>
                    <a:pt x="80" y="50"/>
                  </a:lnTo>
                  <a:lnTo>
                    <a:pt x="80" y="50"/>
                  </a:lnTo>
                  <a:lnTo>
                    <a:pt x="82" y="48"/>
                  </a:lnTo>
                  <a:lnTo>
                    <a:pt x="82" y="48"/>
                  </a:lnTo>
                  <a:lnTo>
                    <a:pt x="82" y="46"/>
                  </a:lnTo>
                  <a:lnTo>
                    <a:pt x="84" y="44"/>
                  </a:lnTo>
                  <a:lnTo>
                    <a:pt x="84" y="42"/>
                  </a:lnTo>
                  <a:lnTo>
                    <a:pt x="84" y="38"/>
                  </a:lnTo>
                  <a:lnTo>
                    <a:pt x="84" y="34"/>
                  </a:lnTo>
                  <a:lnTo>
                    <a:pt x="84" y="30"/>
                  </a:lnTo>
                  <a:lnTo>
                    <a:pt x="84" y="24"/>
                  </a:lnTo>
                  <a:lnTo>
                    <a:pt x="84" y="16"/>
                  </a:lnTo>
                  <a:lnTo>
                    <a:pt x="84" y="14"/>
                  </a:lnTo>
                  <a:lnTo>
                    <a:pt x="84" y="12"/>
                  </a:lnTo>
                  <a:lnTo>
                    <a:pt x="84" y="8"/>
                  </a:lnTo>
                  <a:lnTo>
                    <a:pt x="82" y="6"/>
                  </a:lnTo>
                  <a:lnTo>
                    <a:pt x="82" y="4"/>
                  </a:lnTo>
                  <a:lnTo>
                    <a:pt x="82" y="2"/>
                  </a:lnTo>
                  <a:lnTo>
                    <a:pt x="80" y="2"/>
                  </a:lnTo>
                  <a:lnTo>
                    <a:pt x="80" y="0"/>
                  </a:lnTo>
                  <a:lnTo>
                    <a:pt x="80" y="0"/>
                  </a:lnTo>
                  <a:lnTo>
                    <a:pt x="78" y="0"/>
                  </a:lnTo>
                  <a:lnTo>
                    <a:pt x="78" y="0"/>
                  </a:lnTo>
                  <a:lnTo>
                    <a:pt x="76" y="0"/>
                  </a:lnTo>
                  <a:lnTo>
                    <a:pt x="76" y="0"/>
                  </a:lnTo>
                  <a:lnTo>
                    <a:pt x="72" y="0"/>
                  </a:lnTo>
                  <a:lnTo>
                    <a:pt x="70" y="0"/>
                  </a:lnTo>
                  <a:lnTo>
                    <a:pt x="66" y="2"/>
                  </a:lnTo>
                  <a:lnTo>
                    <a:pt x="62" y="4"/>
                  </a:lnTo>
                  <a:lnTo>
                    <a:pt x="60" y="4"/>
                  </a:lnTo>
                  <a:lnTo>
                    <a:pt x="56" y="4"/>
                  </a:lnTo>
                  <a:lnTo>
                    <a:pt x="52" y="4"/>
                  </a:lnTo>
                  <a:lnTo>
                    <a:pt x="48" y="4"/>
                  </a:lnTo>
                  <a:lnTo>
                    <a:pt x="44" y="4"/>
                  </a:lnTo>
                  <a:lnTo>
                    <a:pt x="38" y="4"/>
                  </a:lnTo>
                  <a:lnTo>
                    <a:pt x="32" y="4"/>
                  </a:lnTo>
                  <a:lnTo>
                    <a:pt x="26" y="6"/>
                  </a:lnTo>
                  <a:lnTo>
                    <a:pt x="22" y="6"/>
                  </a:lnTo>
                  <a:lnTo>
                    <a:pt x="18" y="8"/>
                  </a:lnTo>
                  <a:lnTo>
                    <a:pt x="14" y="8"/>
                  </a:lnTo>
                  <a:lnTo>
                    <a:pt x="8" y="10"/>
                  </a:lnTo>
                  <a:lnTo>
                    <a:pt x="8" y="10"/>
                  </a:lnTo>
                  <a:lnTo>
                    <a:pt x="6" y="14"/>
                  </a:lnTo>
                  <a:lnTo>
                    <a:pt x="6" y="20"/>
                  </a:lnTo>
                  <a:lnTo>
                    <a:pt x="4" y="22"/>
                  </a:lnTo>
                  <a:lnTo>
                    <a:pt x="4" y="24"/>
                  </a:lnTo>
                  <a:lnTo>
                    <a:pt x="4" y="26"/>
                  </a:lnTo>
                  <a:lnTo>
                    <a:pt x="6" y="28"/>
                  </a:lnTo>
                  <a:lnTo>
                    <a:pt x="6" y="30"/>
                  </a:lnTo>
                  <a:lnTo>
                    <a:pt x="6" y="32"/>
                  </a:lnTo>
                  <a:lnTo>
                    <a:pt x="8" y="38"/>
                  </a:lnTo>
                  <a:lnTo>
                    <a:pt x="8" y="40"/>
                  </a:lnTo>
                  <a:lnTo>
                    <a:pt x="10" y="40"/>
                  </a:lnTo>
                  <a:lnTo>
                    <a:pt x="12" y="42"/>
                  </a:lnTo>
                  <a:lnTo>
                    <a:pt x="14" y="42"/>
                  </a:lnTo>
                  <a:lnTo>
                    <a:pt x="16" y="44"/>
                  </a:lnTo>
                  <a:lnTo>
                    <a:pt x="18" y="46"/>
                  </a:lnTo>
                  <a:lnTo>
                    <a:pt x="20" y="46"/>
                  </a:lnTo>
                  <a:lnTo>
                    <a:pt x="20" y="46"/>
                  </a:lnTo>
                  <a:lnTo>
                    <a:pt x="20" y="48"/>
                  </a:lnTo>
                  <a:lnTo>
                    <a:pt x="22" y="48"/>
                  </a:lnTo>
                  <a:lnTo>
                    <a:pt x="22" y="50"/>
                  </a:lnTo>
                  <a:lnTo>
                    <a:pt x="22" y="50"/>
                  </a:lnTo>
                  <a:lnTo>
                    <a:pt x="22" y="52"/>
                  </a:lnTo>
                  <a:lnTo>
                    <a:pt x="20" y="52"/>
                  </a:lnTo>
                  <a:lnTo>
                    <a:pt x="20" y="54"/>
                  </a:lnTo>
                  <a:lnTo>
                    <a:pt x="18" y="58"/>
                  </a:lnTo>
                  <a:lnTo>
                    <a:pt x="18" y="60"/>
                  </a:lnTo>
                  <a:lnTo>
                    <a:pt x="16" y="62"/>
                  </a:lnTo>
                  <a:lnTo>
                    <a:pt x="14" y="64"/>
                  </a:lnTo>
                  <a:lnTo>
                    <a:pt x="14" y="66"/>
                  </a:lnTo>
                  <a:lnTo>
                    <a:pt x="12" y="66"/>
                  </a:lnTo>
                  <a:lnTo>
                    <a:pt x="10" y="68"/>
                  </a:lnTo>
                  <a:lnTo>
                    <a:pt x="8" y="68"/>
                  </a:lnTo>
                  <a:lnTo>
                    <a:pt x="6" y="70"/>
                  </a:lnTo>
                  <a:lnTo>
                    <a:pt x="2" y="72"/>
                  </a:lnTo>
                  <a:lnTo>
                    <a:pt x="0" y="7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9" name="Freeform 137">
              <a:extLst>
                <a:ext uri="{FF2B5EF4-FFF2-40B4-BE49-F238E27FC236}">
                  <a16:creationId xmlns:a16="http://schemas.microsoft.com/office/drawing/2014/main" id="{3BC5295A-D71D-4319-AC72-2E1437262DC3}"/>
                </a:ext>
              </a:extLst>
            </p:cNvPr>
            <p:cNvSpPr>
              <a:spLocks/>
            </p:cNvSpPr>
            <p:nvPr/>
          </p:nvSpPr>
          <p:spPr bwMode="auto">
            <a:xfrm>
              <a:off x="5741475" y="3509970"/>
              <a:ext cx="336023" cy="301381"/>
            </a:xfrm>
            <a:custGeom>
              <a:avLst/>
              <a:gdLst>
                <a:gd name="T0" fmla="*/ 154 w 194"/>
                <a:gd name="T1" fmla="*/ 24 h 174"/>
                <a:gd name="T2" fmla="*/ 146 w 194"/>
                <a:gd name="T3" fmla="*/ 20 h 174"/>
                <a:gd name="T4" fmla="*/ 144 w 194"/>
                <a:gd name="T5" fmla="*/ 10 h 174"/>
                <a:gd name="T6" fmla="*/ 140 w 194"/>
                <a:gd name="T7" fmla="*/ 2 h 174"/>
                <a:gd name="T8" fmla="*/ 136 w 194"/>
                <a:gd name="T9" fmla="*/ 0 h 174"/>
                <a:gd name="T10" fmla="*/ 132 w 194"/>
                <a:gd name="T11" fmla="*/ 0 h 174"/>
                <a:gd name="T12" fmla="*/ 130 w 194"/>
                <a:gd name="T13" fmla="*/ 6 h 174"/>
                <a:gd name="T14" fmla="*/ 126 w 194"/>
                <a:gd name="T15" fmla="*/ 12 h 174"/>
                <a:gd name="T16" fmla="*/ 118 w 194"/>
                <a:gd name="T17" fmla="*/ 14 h 174"/>
                <a:gd name="T18" fmla="*/ 104 w 194"/>
                <a:gd name="T19" fmla="*/ 18 h 174"/>
                <a:gd name="T20" fmla="*/ 86 w 194"/>
                <a:gd name="T21" fmla="*/ 18 h 174"/>
                <a:gd name="T22" fmla="*/ 72 w 194"/>
                <a:gd name="T23" fmla="*/ 16 h 174"/>
                <a:gd name="T24" fmla="*/ 58 w 194"/>
                <a:gd name="T25" fmla="*/ 22 h 174"/>
                <a:gd name="T26" fmla="*/ 50 w 194"/>
                <a:gd name="T27" fmla="*/ 22 h 174"/>
                <a:gd name="T28" fmla="*/ 44 w 194"/>
                <a:gd name="T29" fmla="*/ 24 h 174"/>
                <a:gd name="T30" fmla="*/ 42 w 194"/>
                <a:gd name="T31" fmla="*/ 32 h 174"/>
                <a:gd name="T32" fmla="*/ 34 w 194"/>
                <a:gd name="T33" fmla="*/ 36 h 174"/>
                <a:gd name="T34" fmla="*/ 32 w 194"/>
                <a:gd name="T35" fmla="*/ 40 h 174"/>
                <a:gd name="T36" fmla="*/ 30 w 194"/>
                <a:gd name="T37" fmla="*/ 50 h 174"/>
                <a:gd name="T38" fmla="*/ 26 w 194"/>
                <a:gd name="T39" fmla="*/ 52 h 174"/>
                <a:gd name="T40" fmla="*/ 16 w 194"/>
                <a:gd name="T41" fmla="*/ 54 h 174"/>
                <a:gd name="T42" fmla="*/ 6 w 194"/>
                <a:gd name="T43" fmla="*/ 60 h 174"/>
                <a:gd name="T44" fmla="*/ 6 w 194"/>
                <a:gd name="T45" fmla="*/ 86 h 174"/>
                <a:gd name="T46" fmla="*/ 4 w 194"/>
                <a:gd name="T47" fmla="*/ 96 h 174"/>
                <a:gd name="T48" fmla="*/ 0 w 194"/>
                <a:gd name="T49" fmla="*/ 116 h 174"/>
                <a:gd name="T50" fmla="*/ 2 w 194"/>
                <a:gd name="T51" fmla="*/ 124 h 174"/>
                <a:gd name="T52" fmla="*/ 6 w 194"/>
                <a:gd name="T53" fmla="*/ 126 h 174"/>
                <a:gd name="T54" fmla="*/ 16 w 194"/>
                <a:gd name="T55" fmla="*/ 124 h 174"/>
                <a:gd name="T56" fmla="*/ 20 w 194"/>
                <a:gd name="T57" fmla="*/ 126 h 174"/>
                <a:gd name="T58" fmla="*/ 24 w 194"/>
                <a:gd name="T59" fmla="*/ 134 h 174"/>
                <a:gd name="T60" fmla="*/ 24 w 194"/>
                <a:gd name="T61" fmla="*/ 142 h 174"/>
                <a:gd name="T62" fmla="*/ 18 w 194"/>
                <a:gd name="T63" fmla="*/ 150 h 174"/>
                <a:gd name="T64" fmla="*/ 14 w 194"/>
                <a:gd name="T65" fmla="*/ 162 h 174"/>
                <a:gd name="T66" fmla="*/ 16 w 194"/>
                <a:gd name="T67" fmla="*/ 166 h 174"/>
                <a:gd name="T68" fmla="*/ 24 w 194"/>
                <a:gd name="T69" fmla="*/ 170 h 174"/>
                <a:gd name="T70" fmla="*/ 34 w 194"/>
                <a:gd name="T71" fmla="*/ 168 h 174"/>
                <a:gd name="T72" fmla="*/ 38 w 194"/>
                <a:gd name="T73" fmla="*/ 160 h 174"/>
                <a:gd name="T74" fmla="*/ 46 w 194"/>
                <a:gd name="T75" fmla="*/ 158 h 174"/>
                <a:gd name="T76" fmla="*/ 68 w 194"/>
                <a:gd name="T77" fmla="*/ 160 h 174"/>
                <a:gd name="T78" fmla="*/ 78 w 194"/>
                <a:gd name="T79" fmla="*/ 158 h 174"/>
                <a:gd name="T80" fmla="*/ 82 w 194"/>
                <a:gd name="T81" fmla="*/ 154 h 174"/>
                <a:gd name="T82" fmla="*/ 86 w 194"/>
                <a:gd name="T83" fmla="*/ 142 h 174"/>
                <a:gd name="T84" fmla="*/ 94 w 194"/>
                <a:gd name="T85" fmla="*/ 134 h 174"/>
                <a:gd name="T86" fmla="*/ 110 w 194"/>
                <a:gd name="T87" fmla="*/ 124 h 174"/>
                <a:gd name="T88" fmla="*/ 120 w 194"/>
                <a:gd name="T89" fmla="*/ 122 h 174"/>
                <a:gd name="T90" fmla="*/ 126 w 194"/>
                <a:gd name="T91" fmla="*/ 122 h 174"/>
                <a:gd name="T92" fmla="*/ 128 w 194"/>
                <a:gd name="T93" fmla="*/ 116 h 174"/>
                <a:gd name="T94" fmla="*/ 130 w 194"/>
                <a:gd name="T95" fmla="*/ 104 h 174"/>
                <a:gd name="T96" fmla="*/ 134 w 194"/>
                <a:gd name="T97" fmla="*/ 100 h 174"/>
                <a:gd name="T98" fmla="*/ 142 w 194"/>
                <a:gd name="T99" fmla="*/ 94 h 174"/>
                <a:gd name="T100" fmla="*/ 148 w 194"/>
                <a:gd name="T101" fmla="*/ 78 h 174"/>
                <a:gd name="T102" fmla="*/ 152 w 194"/>
                <a:gd name="T103" fmla="*/ 60 h 174"/>
                <a:gd name="T104" fmla="*/ 154 w 194"/>
                <a:gd name="T105" fmla="*/ 48 h 174"/>
                <a:gd name="T106" fmla="*/ 160 w 194"/>
                <a:gd name="T107" fmla="*/ 46 h 174"/>
                <a:gd name="T108" fmla="*/ 174 w 194"/>
                <a:gd name="T109" fmla="*/ 44 h 174"/>
                <a:gd name="T110" fmla="*/ 194 w 194"/>
                <a:gd name="T111" fmla="*/ 2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4" h="174">
                  <a:moveTo>
                    <a:pt x="194" y="28"/>
                  </a:moveTo>
                  <a:lnTo>
                    <a:pt x="162" y="26"/>
                  </a:lnTo>
                  <a:lnTo>
                    <a:pt x="160" y="26"/>
                  </a:lnTo>
                  <a:lnTo>
                    <a:pt x="156" y="24"/>
                  </a:lnTo>
                  <a:lnTo>
                    <a:pt x="154" y="24"/>
                  </a:lnTo>
                  <a:lnTo>
                    <a:pt x="152" y="22"/>
                  </a:lnTo>
                  <a:lnTo>
                    <a:pt x="148" y="20"/>
                  </a:lnTo>
                  <a:lnTo>
                    <a:pt x="148" y="20"/>
                  </a:lnTo>
                  <a:lnTo>
                    <a:pt x="148" y="20"/>
                  </a:lnTo>
                  <a:lnTo>
                    <a:pt x="146" y="20"/>
                  </a:lnTo>
                  <a:lnTo>
                    <a:pt x="146" y="18"/>
                  </a:lnTo>
                  <a:lnTo>
                    <a:pt x="146" y="18"/>
                  </a:lnTo>
                  <a:lnTo>
                    <a:pt x="146" y="16"/>
                  </a:lnTo>
                  <a:lnTo>
                    <a:pt x="144" y="14"/>
                  </a:lnTo>
                  <a:lnTo>
                    <a:pt x="144" y="10"/>
                  </a:lnTo>
                  <a:lnTo>
                    <a:pt x="144" y="8"/>
                  </a:lnTo>
                  <a:lnTo>
                    <a:pt x="142" y="4"/>
                  </a:lnTo>
                  <a:lnTo>
                    <a:pt x="142" y="4"/>
                  </a:lnTo>
                  <a:lnTo>
                    <a:pt x="142" y="2"/>
                  </a:lnTo>
                  <a:lnTo>
                    <a:pt x="140" y="2"/>
                  </a:lnTo>
                  <a:lnTo>
                    <a:pt x="140" y="0"/>
                  </a:lnTo>
                  <a:lnTo>
                    <a:pt x="140" y="0"/>
                  </a:lnTo>
                  <a:lnTo>
                    <a:pt x="138" y="0"/>
                  </a:lnTo>
                  <a:lnTo>
                    <a:pt x="138" y="0"/>
                  </a:lnTo>
                  <a:lnTo>
                    <a:pt x="136" y="0"/>
                  </a:lnTo>
                  <a:lnTo>
                    <a:pt x="134" y="0"/>
                  </a:lnTo>
                  <a:lnTo>
                    <a:pt x="134" y="0"/>
                  </a:lnTo>
                  <a:lnTo>
                    <a:pt x="134" y="0"/>
                  </a:lnTo>
                  <a:lnTo>
                    <a:pt x="132" y="0"/>
                  </a:lnTo>
                  <a:lnTo>
                    <a:pt x="132" y="0"/>
                  </a:lnTo>
                  <a:lnTo>
                    <a:pt x="132" y="0"/>
                  </a:lnTo>
                  <a:lnTo>
                    <a:pt x="130" y="2"/>
                  </a:lnTo>
                  <a:lnTo>
                    <a:pt x="130" y="2"/>
                  </a:lnTo>
                  <a:lnTo>
                    <a:pt x="130" y="4"/>
                  </a:lnTo>
                  <a:lnTo>
                    <a:pt x="130" y="6"/>
                  </a:lnTo>
                  <a:lnTo>
                    <a:pt x="128" y="8"/>
                  </a:lnTo>
                  <a:lnTo>
                    <a:pt x="128" y="10"/>
                  </a:lnTo>
                  <a:lnTo>
                    <a:pt x="128" y="12"/>
                  </a:lnTo>
                  <a:lnTo>
                    <a:pt x="126" y="12"/>
                  </a:lnTo>
                  <a:lnTo>
                    <a:pt x="126" y="12"/>
                  </a:lnTo>
                  <a:lnTo>
                    <a:pt x="126" y="12"/>
                  </a:lnTo>
                  <a:lnTo>
                    <a:pt x="124" y="14"/>
                  </a:lnTo>
                  <a:lnTo>
                    <a:pt x="122" y="14"/>
                  </a:lnTo>
                  <a:lnTo>
                    <a:pt x="122" y="14"/>
                  </a:lnTo>
                  <a:lnTo>
                    <a:pt x="118" y="14"/>
                  </a:lnTo>
                  <a:lnTo>
                    <a:pt x="116" y="16"/>
                  </a:lnTo>
                  <a:lnTo>
                    <a:pt x="108" y="16"/>
                  </a:lnTo>
                  <a:lnTo>
                    <a:pt x="106" y="16"/>
                  </a:lnTo>
                  <a:lnTo>
                    <a:pt x="104" y="18"/>
                  </a:lnTo>
                  <a:lnTo>
                    <a:pt x="104" y="18"/>
                  </a:lnTo>
                  <a:lnTo>
                    <a:pt x="100" y="18"/>
                  </a:lnTo>
                  <a:lnTo>
                    <a:pt x="98" y="20"/>
                  </a:lnTo>
                  <a:lnTo>
                    <a:pt x="94" y="22"/>
                  </a:lnTo>
                  <a:lnTo>
                    <a:pt x="90" y="20"/>
                  </a:lnTo>
                  <a:lnTo>
                    <a:pt x="86" y="18"/>
                  </a:lnTo>
                  <a:lnTo>
                    <a:pt x="84" y="18"/>
                  </a:lnTo>
                  <a:lnTo>
                    <a:pt x="84" y="18"/>
                  </a:lnTo>
                  <a:lnTo>
                    <a:pt x="82" y="18"/>
                  </a:lnTo>
                  <a:lnTo>
                    <a:pt x="78" y="16"/>
                  </a:lnTo>
                  <a:lnTo>
                    <a:pt x="72" y="16"/>
                  </a:lnTo>
                  <a:lnTo>
                    <a:pt x="66" y="16"/>
                  </a:lnTo>
                  <a:lnTo>
                    <a:pt x="64" y="16"/>
                  </a:lnTo>
                  <a:lnTo>
                    <a:pt x="62" y="18"/>
                  </a:lnTo>
                  <a:lnTo>
                    <a:pt x="60" y="20"/>
                  </a:lnTo>
                  <a:lnTo>
                    <a:pt x="58" y="22"/>
                  </a:lnTo>
                  <a:lnTo>
                    <a:pt x="56" y="22"/>
                  </a:lnTo>
                  <a:lnTo>
                    <a:pt x="56" y="22"/>
                  </a:lnTo>
                  <a:lnTo>
                    <a:pt x="54" y="22"/>
                  </a:lnTo>
                  <a:lnTo>
                    <a:pt x="52" y="22"/>
                  </a:lnTo>
                  <a:lnTo>
                    <a:pt x="50" y="22"/>
                  </a:lnTo>
                  <a:lnTo>
                    <a:pt x="48" y="24"/>
                  </a:lnTo>
                  <a:lnTo>
                    <a:pt x="46" y="24"/>
                  </a:lnTo>
                  <a:lnTo>
                    <a:pt x="46" y="24"/>
                  </a:lnTo>
                  <a:lnTo>
                    <a:pt x="46" y="24"/>
                  </a:lnTo>
                  <a:lnTo>
                    <a:pt x="44" y="24"/>
                  </a:lnTo>
                  <a:lnTo>
                    <a:pt x="44" y="26"/>
                  </a:lnTo>
                  <a:lnTo>
                    <a:pt x="44" y="28"/>
                  </a:lnTo>
                  <a:lnTo>
                    <a:pt x="42" y="30"/>
                  </a:lnTo>
                  <a:lnTo>
                    <a:pt x="42" y="30"/>
                  </a:lnTo>
                  <a:lnTo>
                    <a:pt x="42" y="32"/>
                  </a:lnTo>
                  <a:lnTo>
                    <a:pt x="40" y="32"/>
                  </a:lnTo>
                  <a:lnTo>
                    <a:pt x="40" y="32"/>
                  </a:lnTo>
                  <a:lnTo>
                    <a:pt x="36" y="34"/>
                  </a:lnTo>
                  <a:lnTo>
                    <a:pt x="36" y="36"/>
                  </a:lnTo>
                  <a:lnTo>
                    <a:pt x="34" y="36"/>
                  </a:lnTo>
                  <a:lnTo>
                    <a:pt x="32" y="36"/>
                  </a:lnTo>
                  <a:lnTo>
                    <a:pt x="32" y="38"/>
                  </a:lnTo>
                  <a:lnTo>
                    <a:pt x="32" y="38"/>
                  </a:lnTo>
                  <a:lnTo>
                    <a:pt x="32" y="38"/>
                  </a:lnTo>
                  <a:lnTo>
                    <a:pt x="32" y="40"/>
                  </a:lnTo>
                  <a:lnTo>
                    <a:pt x="30" y="42"/>
                  </a:lnTo>
                  <a:lnTo>
                    <a:pt x="30" y="44"/>
                  </a:lnTo>
                  <a:lnTo>
                    <a:pt x="30" y="46"/>
                  </a:lnTo>
                  <a:lnTo>
                    <a:pt x="30" y="48"/>
                  </a:lnTo>
                  <a:lnTo>
                    <a:pt x="30" y="50"/>
                  </a:lnTo>
                  <a:lnTo>
                    <a:pt x="30" y="50"/>
                  </a:lnTo>
                  <a:lnTo>
                    <a:pt x="30" y="50"/>
                  </a:lnTo>
                  <a:lnTo>
                    <a:pt x="28" y="50"/>
                  </a:lnTo>
                  <a:lnTo>
                    <a:pt x="28" y="52"/>
                  </a:lnTo>
                  <a:lnTo>
                    <a:pt x="26" y="52"/>
                  </a:lnTo>
                  <a:lnTo>
                    <a:pt x="24" y="52"/>
                  </a:lnTo>
                  <a:lnTo>
                    <a:pt x="22" y="52"/>
                  </a:lnTo>
                  <a:lnTo>
                    <a:pt x="18" y="54"/>
                  </a:lnTo>
                  <a:lnTo>
                    <a:pt x="16" y="54"/>
                  </a:lnTo>
                  <a:lnTo>
                    <a:pt x="16" y="54"/>
                  </a:lnTo>
                  <a:lnTo>
                    <a:pt x="14" y="54"/>
                  </a:lnTo>
                  <a:lnTo>
                    <a:pt x="12" y="56"/>
                  </a:lnTo>
                  <a:lnTo>
                    <a:pt x="10" y="56"/>
                  </a:lnTo>
                  <a:lnTo>
                    <a:pt x="8" y="58"/>
                  </a:lnTo>
                  <a:lnTo>
                    <a:pt x="6" y="60"/>
                  </a:lnTo>
                  <a:lnTo>
                    <a:pt x="4" y="64"/>
                  </a:lnTo>
                  <a:lnTo>
                    <a:pt x="2" y="66"/>
                  </a:lnTo>
                  <a:lnTo>
                    <a:pt x="4" y="74"/>
                  </a:lnTo>
                  <a:lnTo>
                    <a:pt x="4" y="82"/>
                  </a:lnTo>
                  <a:lnTo>
                    <a:pt x="6" y="86"/>
                  </a:lnTo>
                  <a:lnTo>
                    <a:pt x="6" y="88"/>
                  </a:lnTo>
                  <a:lnTo>
                    <a:pt x="6" y="90"/>
                  </a:lnTo>
                  <a:lnTo>
                    <a:pt x="6" y="92"/>
                  </a:lnTo>
                  <a:lnTo>
                    <a:pt x="4" y="94"/>
                  </a:lnTo>
                  <a:lnTo>
                    <a:pt x="4" y="96"/>
                  </a:lnTo>
                  <a:lnTo>
                    <a:pt x="2" y="108"/>
                  </a:lnTo>
                  <a:lnTo>
                    <a:pt x="0" y="110"/>
                  </a:lnTo>
                  <a:lnTo>
                    <a:pt x="0" y="112"/>
                  </a:lnTo>
                  <a:lnTo>
                    <a:pt x="0" y="114"/>
                  </a:lnTo>
                  <a:lnTo>
                    <a:pt x="0" y="116"/>
                  </a:lnTo>
                  <a:lnTo>
                    <a:pt x="0" y="120"/>
                  </a:lnTo>
                  <a:lnTo>
                    <a:pt x="0" y="120"/>
                  </a:lnTo>
                  <a:lnTo>
                    <a:pt x="0" y="122"/>
                  </a:lnTo>
                  <a:lnTo>
                    <a:pt x="0" y="122"/>
                  </a:lnTo>
                  <a:lnTo>
                    <a:pt x="2" y="124"/>
                  </a:lnTo>
                  <a:lnTo>
                    <a:pt x="2" y="124"/>
                  </a:lnTo>
                  <a:lnTo>
                    <a:pt x="2" y="124"/>
                  </a:lnTo>
                  <a:lnTo>
                    <a:pt x="4" y="124"/>
                  </a:lnTo>
                  <a:lnTo>
                    <a:pt x="4" y="124"/>
                  </a:lnTo>
                  <a:lnTo>
                    <a:pt x="6" y="126"/>
                  </a:lnTo>
                  <a:lnTo>
                    <a:pt x="8" y="124"/>
                  </a:lnTo>
                  <a:lnTo>
                    <a:pt x="10" y="124"/>
                  </a:lnTo>
                  <a:lnTo>
                    <a:pt x="14" y="124"/>
                  </a:lnTo>
                  <a:lnTo>
                    <a:pt x="16" y="124"/>
                  </a:lnTo>
                  <a:lnTo>
                    <a:pt x="16" y="124"/>
                  </a:lnTo>
                  <a:lnTo>
                    <a:pt x="18" y="124"/>
                  </a:lnTo>
                  <a:lnTo>
                    <a:pt x="18" y="124"/>
                  </a:lnTo>
                  <a:lnTo>
                    <a:pt x="20" y="124"/>
                  </a:lnTo>
                  <a:lnTo>
                    <a:pt x="20" y="124"/>
                  </a:lnTo>
                  <a:lnTo>
                    <a:pt x="20" y="126"/>
                  </a:lnTo>
                  <a:lnTo>
                    <a:pt x="22" y="126"/>
                  </a:lnTo>
                  <a:lnTo>
                    <a:pt x="22" y="128"/>
                  </a:lnTo>
                  <a:lnTo>
                    <a:pt x="22" y="130"/>
                  </a:lnTo>
                  <a:lnTo>
                    <a:pt x="24" y="132"/>
                  </a:lnTo>
                  <a:lnTo>
                    <a:pt x="24" y="134"/>
                  </a:lnTo>
                  <a:lnTo>
                    <a:pt x="24" y="138"/>
                  </a:lnTo>
                  <a:lnTo>
                    <a:pt x="24" y="140"/>
                  </a:lnTo>
                  <a:lnTo>
                    <a:pt x="24" y="142"/>
                  </a:lnTo>
                  <a:lnTo>
                    <a:pt x="24" y="142"/>
                  </a:lnTo>
                  <a:lnTo>
                    <a:pt x="24" y="142"/>
                  </a:lnTo>
                  <a:lnTo>
                    <a:pt x="24" y="144"/>
                  </a:lnTo>
                  <a:lnTo>
                    <a:pt x="22" y="146"/>
                  </a:lnTo>
                  <a:lnTo>
                    <a:pt x="20" y="146"/>
                  </a:lnTo>
                  <a:lnTo>
                    <a:pt x="18" y="150"/>
                  </a:lnTo>
                  <a:lnTo>
                    <a:pt x="18" y="150"/>
                  </a:lnTo>
                  <a:lnTo>
                    <a:pt x="16" y="152"/>
                  </a:lnTo>
                  <a:lnTo>
                    <a:pt x="16" y="156"/>
                  </a:lnTo>
                  <a:lnTo>
                    <a:pt x="16" y="156"/>
                  </a:lnTo>
                  <a:lnTo>
                    <a:pt x="16" y="158"/>
                  </a:lnTo>
                  <a:lnTo>
                    <a:pt x="14" y="162"/>
                  </a:lnTo>
                  <a:lnTo>
                    <a:pt x="14" y="162"/>
                  </a:lnTo>
                  <a:lnTo>
                    <a:pt x="16" y="164"/>
                  </a:lnTo>
                  <a:lnTo>
                    <a:pt x="16" y="166"/>
                  </a:lnTo>
                  <a:lnTo>
                    <a:pt x="16" y="166"/>
                  </a:lnTo>
                  <a:lnTo>
                    <a:pt x="16" y="166"/>
                  </a:lnTo>
                  <a:lnTo>
                    <a:pt x="16" y="168"/>
                  </a:lnTo>
                  <a:lnTo>
                    <a:pt x="18" y="168"/>
                  </a:lnTo>
                  <a:lnTo>
                    <a:pt x="20" y="168"/>
                  </a:lnTo>
                  <a:lnTo>
                    <a:pt x="22" y="170"/>
                  </a:lnTo>
                  <a:lnTo>
                    <a:pt x="24" y="170"/>
                  </a:lnTo>
                  <a:lnTo>
                    <a:pt x="28" y="172"/>
                  </a:lnTo>
                  <a:lnTo>
                    <a:pt x="30" y="172"/>
                  </a:lnTo>
                  <a:lnTo>
                    <a:pt x="32" y="174"/>
                  </a:lnTo>
                  <a:lnTo>
                    <a:pt x="32" y="172"/>
                  </a:lnTo>
                  <a:lnTo>
                    <a:pt x="34" y="168"/>
                  </a:lnTo>
                  <a:lnTo>
                    <a:pt x="34" y="166"/>
                  </a:lnTo>
                  <a:lnTo>
                    <a:pt x="36" y="164"/>
                  </a:lnTo>
                  <a:lnTo>
                    <a:pt x="36" y="162"/>
                  </a:lnTo>
                  <a:lnTo>
                    <a:pt x="38" y="162"/>
                  </a:lnTo>
                  <a:lnTo>
                    <a:pt x="38" y="160"/>
                  </a:lnTo>
                  <a:lnTo>
                    <a:pt x="38" y="160"/>
                  </a:lnTo>
                  <a:lnTo>
                    <a:pt x="40" y="160"/>
                  </a:lnTo>
                  <a:lnTo>
                    <a:pt x="42" y="158"/>
                  </a:lnTo>
                  <a:lnTo>
                    <a:pt x="44" y="158"/>
                  </a:lnTo>
                  <a:lnTo>
                    <a:pt x="46" y="158"/>
                  </a:lnTo>
                  <a:lnTo>
                    <a:pt x="50" y="158"/>
                  </a:lnTo>
                  <a:lnTo>
                    <a:pt x="52" y="158"/>
                  </a:lnTo>
                  <a:lnTo>
                    <a:pt x="58" y="158"/>
                  </a:lnTo>
                  <a:lnTo>
                    <a:pt x="66" y="160"/>
                  </a:lnTo>
                  <a:lnTo>
                    <a:pt x="68" y="160"/>
                  </a:lnTo>
                  <a:lnTo>
                    <a:pt x="70" y="160"/>
                  </a:lnTo>
                  <a:lnTo>
                    <a:pt x="74" y="158"/>
                  </a:lnTo>
                  <a:lnTo>
                    <a:pt x="76" y="158"/>
                  </a:lnTo>
                  <a:lnTo>
                    <a:pt x="78" y="158"/>
                  </a:lnTo>
                  <a:lnTo>
                    <a:pt x="78" y="158"/>
                  </a:lnTo>
                  <a:lnTo>
                    <a:pt x="80" y="156"/>
                  </a:lnTo>
                  <a:lnTo>
                    <a:pt x="80" y="156"/>
                  </a:lnTo>
                  <a:lnTo>
                    <a:pt x="80" y="156"/>
                  </a:lnTo>
                  <a:lnTo>
                    <a:pt x="82" y="154"/>
                  </a:lnTo>
                  <a:lnTo>
                    <a:pt x="82" y="154"/>
                  </a:lnTo>
                  <a:lnTo>
                    <a:pt x="82" y="152"/>
                  </a:lnTo>
                  <a:lnTo>
                    <a:pt x="84" y="150"/>
                  </a:lnTo>
                  <a:lnTo>
                    <a:pt x="84" y="144"/>
                  </a:lnTo>
                  <a:lnTo>
                    <a:pt x="84" y="142"/>
                  </a:lnTo>
                  <a:lnTo>
                    <a:pt x="86" y="142"/>
                  </a:lnTo>
                  <a:lnTo>
                    <a:pt x="86" y="142"/>
                  </a:lnTo>
                  <a:lnTo>
                    <a:pt x="86" y="140"/>
                  </a:lnTo>
                  <a:lnTo>
                    <a:pt x="88" y="140"/>
                  </a:lnTo>
                  <a:lnTo>
                    <a:pt x="92" y="136"/>
                  </a:lnTo>
                  <a:lnTo>
                    <a:pt x="94" y="134"/>
                  </a:lnTo>
                  <a:lnTo>
                    <a:pt x="98" y="132"/>
                  </a:lnTo>
                  <a:lnTo>
                    <a:pt x="100" y="130"/>
                  </a:lnTo>
                  <a:lnTo>
                    <a:pt x="106" y="128"/>
                  </a:lnTo>
                  <a:lnTo>
                    <a:pt x="108" y="126"/>
                  </a:lnTo>
                  <a:lnTo>
                    <a:pt x="110" y="124"/>
                  </a:lnTo>
                  <a:lnTo>
                    <a:pt x="112" y="124"/>
                  </a:lnTo>
                  <a:lnTo>
                    <a:pt x="114" y="122"/>
                  </a:lnTo>
                  <a:lnTo>
                    <a:pt x="114" y="122"/>
                  </a:lnTo>
                  <a:lnTo>
                    <a:pt x="116" y="122"/>
                  </a:lnTo>
                  <a:lnTo>
                    <a:pt x="120" y="122"/>
                  </a:lnTo>
                  <a:lnTo>
                    <a:pt x="122" y="122"/>
                  </a:lnTo>
                  <a:lnTo>
                    <a:pt x="124" y="122"/>
                  </a:lnTo>
                  <a:lnTo>
                    <a:pt x="124" y="122"/>
                  </a:lnTo>
                  <a:lnTo>
                    <a:pt x="126" y="122"/>
                  </a:lnTo>
                  <a:lnTo>
                    <a:pt x="126" y="122"/>
                  </a:lnTo>
                  <a:lnTo>
                    <a:pt x="126" y="120"/>
                  </a:lnTo>
                  <a:lnTo>
                    <a:pt x="128" y="120"/>
                  </a:lnTo>
                  <a:lnTo>
                    <a:pt x="128" y="118"/>
                  </a:lnTo>
                  <a:lnTo>
                    <a:pt x="128" y="118"/>
                  </a:lnTo>
                  <a:lnTo>
                    <a:pt x="128" y="116"/>
                  </a:lnTo>
                  <a:lnTo>
                    <a:pt x="128" y="112"/>
                  </a:lnTo>
                  <a:lnTo>
                    <a:pt x="128" y="110"/>
                  </a:lnTo>
                  <a:lnTo>
                    <a:pt x="128" y="108"/>
                  </a:lnTo>
                  <a:lnTo>
                    <a:pt x="130" y="106"/>
                  </a:lnTo>
                  <a:lnTo>
                    <a:pt x="130" y="104"/>
                  </a:lnTo>
                  <a:lnTo>
                    <a:pt x="130" y="104"/>
                  </a:lnTo>
                  <a:lnTo>
                    <a:pt x="130" y="102"/>
                  </a:lnTo>
                  <a:lnTo>
                    <a:pt x="132" y="102"/>
                  </a:lnTo>
                  <a:lnTo>
                    <a:pt x="134" y="102"/>
                  </a:lnTo>
                  <a:lnTo>
                    <a:pt x="134" y="100"/>
                  </a:lnTo>
                  <a:lnTo>
                    <a:pt x="138" y="98"/>
                  </a:lnTo>
                  <a:lnTo>
                    <a:pt x="140" y="98"/>
                  </a:lnTo>
                  <a:lnTo>
                    <a:pt x="140" y="98"/>
                  </a:lnTo>
                  <a:lnTo>
                    <a:pt x="140" y="96"/>
                  </a:lnTo>
                  <a:lnTo>
                    <a:pt x="142" y="94"/>
                  </a:lnTo>
                  <a:lnTo>
                    <a:pt x="142" y="92"/>
                  </a:lnTo>
                  <a:lnTo>
                    <a:pt x="144" y="90"/>
                  </a:lnTo>
                  <a:lnTo>
                    <a:pt x="144" y="86"/>
                  </a:lnTo>
                  <a:lnTo>
                    <a:pt x="146" y="82"/>
                  </a:lnTo>
                  <a:lnTo>
                    <a:pt x="148" y="78"/>
                  </a:lnTo>
                  <a:lnTo>
                    <a:pt x="150" y="74"/>
                  </a:lnTo>
                  <a:lnTo>
                    <a:pt x="150" y="68"/>
                  </a:lnTo>
                  <a:lnTo>
                    <a:pt x="152" y="66"/>
                  </a:lnTo>
                  <a:lnTo>
                    <a:pt x="152" y="64"/>
                  </a:lnTo>
                  <a:lnTo>
                    <a:pt x="152" y="60"/>
                  </a:lnTo>
                  <a:lnTo>
                    <a:pt x="152" y="56"/>
                  </a:lnTo>
                  <a:lnTo>
                    <a:pt x="152" y="54"/>
                  </a:lnTo>
                  <a:lnTo>
                    <a:pt x="154" y="52"/>
                  </a:lnTo>
                  <a:lnTo>
                    <a:pt x="154" y="50"/>
                  </a:lnTo>
                  <a:lnTo>
                    <a:pt x="154" y="48"/>
                  </a:lnTo>
                  <a:lnTo>
                    <a:pt x="154" y="48"/>
                  </a:lnTo>
                  <a:lnTo>
                    <a:pt x="156" y="48"/>
                  </a:lnTo>
                  <a:lnTo>
                    <a:pt x="156" y="46"/>
                  </a:lnTo>
                  <a:lnTo>
                    <a:pt x="158" y="46"/>
                  </a:lnTo>
                  <a:lnTo>
                    <a:pt x="160" y="46"/>
                  </a:lnTo>
                  <a:lnTo>
                    <a:pt x="162" y="44"/>
                  </a:lnTo>
                  <a:lnTo>
                    <a:pt x="166" y="44"/>
                  </a:lnTo>
                  <a:lnTo>
                    <a:pt x="168" y="42"/>
                  </a:lnTo>
                  <a:lnTo>
                    <a:pt x="170" y="44"/>
                  </a:lnTo>
                  <a:lnTo>
                    <a:pt x="174" y="44"/>
                  </a:lnTo>
                  <a:lnTo>
                    <a:pt x="178" y="46"/>
                  </a:lnTo>
                  <a:lnTo>
                    <a:pt x="180" y="46"/>
                  </a:lnTo>
                  <a:lnTo>
                    <a:pt x="186" y="48"/>
                  </a:lnTo>
                  <a:lnTo>
                    <a:pt x="190" y="52"/>
                  </a:lnTo>
                  <a:lnTo>
                    <a:pt x="194" y="2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0" name="Freeform 138">
              <a:extLst>
                <a:ext uri="{FF2B5EF4-FFF2-40B4-BE49-F238E27FC236}">
                  <a16:creationId xmlns:a16="http://schemas.microsoft.com/office/drawing/2014/main" id="{D5038BC2-EF93-4BBB-ABFC-034CF8AFE083}"/>
                </a:ext>
              </a:extLst>
            </p:cNvPr>
            <p:cNvSpPr>
              <a:spLocks/>
            </p:cNvSpPr>
            <p:nvPr/>
          </p:nvSpPr>
          <p:spPr bwMode="auto">
            <a:xfrm>
              <a:off x="5741475" y="3509970"/>
              <a:ext cx="336023" cy="301381"/>
            </a:xfrm>
            <a:custGeom>
              <a:avLst/>
              <a:gdLst>
                <a:gd name="T0" fmla="*/ 154 w 194"/>
                <a:gd name="T1" fmla="*/ 24 h 174"/>
                <a:gd name="T2" fmla="*/ 146 w 194"/>
                <a:gd name="T3" fmla="*/ 20 h 174"/>
                <a:gd name="T4" fmla="*/ 144 w 194"/>
                <a:gd name="T5" fmla="*/ 10 h 174"/>
                <a:gd name="T6" fmla="*/ 140 w 194"/>
                <a:gd name="T7" fmla="*/ 2 h 174"/>
                <a:gd name="T8" fmla="*/ 136 w 194"/>
                <a:gd name="T9" fmla="*/ 0 h 174"/>
                <a:gd name="T10" fmla="*/ 132 w 194"/>
                <a:gd name="T11" fmla="*/ 0 h 174"/>
                <a:gd name="T12" fmla="*/ 130 w 194"/>
                <a:gd name="T13" fmla="*/ 6 h 174"/>
                <a:gd name="T14" fmla="*/ 126 w 194"/>
                <a:gd name="T15" fmla="*/ 12 h 174"/>
                <a:gd name="T16" fmla="*/ 118 w 194"/>
                <a:gd name="T17" fmla="*/ 14 h 174"/>
                <a:gd name="T18" fmla="*/ 104 w 194"/>
                <a:gd name="T19" fmla="*/ 18 h 174"/>
                <a:gd name="T20" fmla="*/ 86 w 194"/>
                <a:gd name="T21" fmla="*/ 18 h 174"/>
                <a:gd name="T22" fmla="*/ 72 w 194"/>
                <a:gd name="T23" fmla="*/ 16 h 174"/>
                <a:gd name="T24" fmla="*/ 58 w 194"/>
                <a:gd name="T25" fmla="*/ 22 h 174"/>
                <a:gd name="T26" fmla="*/ 50 w 194"/>
                <a:gd name="T27" fmla="*/ 22 h 174"/>
                <a:gd name="T28" fmla="*/ 44 w 194"/>
                <a:gd name="T29" fmla="*/ 24 h 174"/>
                <a:gd name="T30" fmla="*/ 42 w 194"/>
                <a:gd name="T31" fmla="*/ 32 h 174"/>
                <a:gd name="T32" fmla="*/ 34 w 194"/>
                <a:gd name="T33" fmla="*/ 36 h 174"/>
                <a:gd name="T34" fmla="*/ 32 w 194"/>
                <a:gd name="T35" fmla="*/ 40 h 174"/>
                <a:gd name="T36" fmla="*/ 30 w 194"/>
                <a:gd name="T37" fmla="*/ 50 h 174"/>
                <a:gd name="T38" fmla="*/ 26 w 194"/>
                <a:gd name="T39" fmla="*/ 52 h 174"/>
                <a:gd name="T40" fmla="*/ 16 w 194"/>
                <a:gd name="T41" fmla="*/ 54 h 174"/>
                <a:gd name="T42" fmla="*/ 6 w 194"/>
                <a:gd name="T43" fmla="*/ 60 h 174"/>
                <a:gd name="T44" fmla="*/ 6 w 194"/>
                <a:gd name="T45" fmla="*/ 86 h 174"/>
                <a:gd name="T46" fmla="*/ 4 w 194"/>
                <a:gd name="T47" fmla="*/ 96 h 174"/>
                <a:gd name="T48" fmla="*/ 0 w 194"/>
                <a:gd name="T49" fmla="*/ 116 h 174"/>
                <a:gd name="T50" fmla="*/ 2 w 194"/>
                <a:gd name="T51" fmla="*/ 124 h 174"/>
                <a:gd name="T52" fmla="*/ 6 w 194"/>
                <a:gd name="T53" fmla="*/ 126 h 174"/>
                <a:gd name="T54" fmla="*/ 16 w 194"/>
                <a:gd name="T55" fmla="*/ 124 h 174"/>
                <a:gd name="T56" fmla="*/ 20 w 194"/>
                <a:gd name="T57" fmla="*/ 126 h 174"/>
                <a:gd name="T58" fmla="*/ 24 w 194"/>
                <a:gd name="T59" fmla="*/ 134 h 174"/>
                <a:gd name="T60" fmla="*/ 24 w 194"/>
                <a:gd name="T61" fmla="*/ 142 h 174"/>
                <a:gd name="T62" fmla="*/ 18 w 194"/>
                <a:gd name="T63" fmla="*/ 150 h 174"/>
                <a:gd name="T64" fmla="*/ 14 w 194"/>
                <a:gd name="T65" fmla="*/ 162 h 174"/>
                <a:gd name="T66" fmla="*/ 16 w 194"/>
                <a:gd name="T67" fmla="*/ 166 h 174"/>
                <a:gd name="T68" fmla="*/ 24 w 194"/>
                <a:gd name="T69" fmla="*/ 170 h 174"/>
                <a:gd name="T70" fmla="*/ 34 w 194"/>
                <a:gd name="T71" fmla="*/ 168 h 174"/>
                <a:gd name="T72" fmla="*/ 38 w 194"/>
                <a:gd name="T73" fmla="*/ 160 h 174"/>
                <a:gd name="T74" fmla="*/ 46 w 194"/>
                <a:gd name="T75" fmla="*/ 158 h 174"/>
                <a:gd name="T76" fmla="*/ 68 w 194"/>
                <a:gd name="T77" fmla="*/ 160 h 174"/>
                <a:gd name="T78" fmla="*/ 78 w 194"/>
                <a:gd name="T79" fmla="*/ 158 h 174"/>
                <a:gd name="T80" fmla="*/ 82 w 194"/>
                <a:gd name="T81" fmla="*/ 154 h 174"/>
                <a:gd name="T82" fmla="*/ 86 w 194"/>
                <a:gd name="T83" fmla="*/ 142 h 174"/>
                <a:gd name="T84" fmla="*/ 94 w 194"/>
                <a:gd name="T85" fmla="*/ 134 h 174"/>
                <a:gd name="T86" fmla="*/ 110 w 194"/>
                <a:gd name="T87" fmla="*/ 124 h 174"/>
                <a:gd name="T88" fmla="*/ 120 w 194"/>
                <a:gd name="T89" fmla="*/ 122 h 174"/>
                <a:gd name="T90" fmla="*/ 126 w 194"/>
                <a:gd name="T91" fmla="*/ 122 h 174"/>
                <a:gd name="T92" fmla="*/ 128 w 194"/>
                <a:gd name="T93" fmla="*/ 116 h 174"/>
                <a:gd name="T94" fmla="*/ 130 w 194"/>
                <a:gd name="T95" fmla="*/ 104 h 174"/>
                <a:gd name="T96" fmla="*/ 134 w 194"/>
                <a:gd name="T97" fmla="*/ 100 h 174"/>
                <a:gd name="T98" fmla="*/ 142 w 194"/>
                <a:gd name="T99" fmla="*/ 94 h 174"/>
                <a:gd name="T100" fmla="*/ 148 w 194"/>
                <a:gd name="T101" fmla="*/ 78 h 174"/>
                <a:gd name="T102" fmla="*/ 152 w 194"/>
                <a:gd name="T103" fmla="*/ 60 h 174"/>
                <a:gd name="T104" fmla="*/ 154 w 194"/>
                <a:gd name="T105" fmla="*/ 48 h 174"/>
                <a:gd name="T106" fmla="*/ 160 w 194"/>
                <a:gd name="T107" fmla="*/ 46 h 174"/>
                <a:gd name="T108" fmla="*/ 174 w 194"/>
                <a:gd name="T109" fmla="*/ 44 h 174"/>
                <a:gd name="T110" fmla="*/ 194 w 194"/>
                <a:gd name="T111" fmla="*/ 2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4" h="174">
                  <a:moveTo>
                    <a:pt x="194" y="28"/>
                  </a:moveTo>
                  <a:lnTo>
                    <a:pt x="162" y="26"/>
                  </a:lnTo>
                  <a:lnTo>
                    <a:pt x="160" y="26"/>
                  </a:lnTo>
                  <a:lnTo>
                    <a:pt x="156" y="24"/>
                  </a:lnTo>
                  <a:lnTo>
                    <a:pt x="154" y="24"/>
                  </a:lnTo>
                  <a:lnTo>
                    <a:pt x="152" y="22"/>
                  </a:lnTo>
                  <a:lnTo>
                    <a:pt x="148" y="20"/>
                  </a:lnTo>
                  <a:lnTo>
                    <a:pt x="148" y="20"/>
                  </a:lnTo>
                  <a:lnTo>
                    <a:pt x="148" y="20"/>
                  </a:lnTo>
                  <a:lnTo>
                    <a:pt x="146" y="20"/>
                  </a:lnTo>
                  <a:lnTo>
                    <a:pt x="146" y="18"/>
                  </a:lnTo>
                  <a:lnTo>
                    <a:pt x="146" y="18"/>
                  </a:lnTo>
                  <a:lnTo>
                    <a:pt x="146" y="16"/>
                  </a:lnTo>
                  <a:lnTo>
                    <a:pt x="144" y="14"/>
                  </a:lnTo>
                  <a:lnTo>
                    <a:pt x="144" y="10"/>
                  </a:lnTo>
                  <a:lnTo>
                    <a:pt x="144" y="8"/>
                  </a:lnTo>
                  <a:lnTo>
                    <a:pt x="142" y="4"/>
                  </a:lnTo>
                  <a:lnTo>
                    <a:pt x="142" y="4"/>
                  </a:lnTo>
                  <a:lnTo>
                    <a:pt x="142" y="2"/>
                  </a:lnTo>
                  <a:lnTo>
                    <a:pt x="140" y="2"/>
                  </a:lnTo>
                  <a:lnTo>
                    <a:pt x="140" y="0"/>
                  </a:lnTo>
                  <a:lnTo>
                    <a:pt x="140" y="0"/>
                  </a:lnTo>
                  <a:lnTo>
                    <a:pt x="138" y="0"/>
                  </a:lnTo>
                  <a:lnTo>
                    <a:pt x="138" y="0"/>
                  </a:lnTo>
                  <a:lnTo>
                    <a:pt x="136" y="0"/>
                  </a:lnTo>
                  <a:lnTo>
                    <a:pt x="134" y="0"/>
                  </a:lnTo>
                  <a:lnTo>
                    <a:pt x="134" y="0"/>
                  </a:lnTo>
                  <a:lnTo>
                    <a:pt x="134" y="0"/>
                  </a:lnTo>
                  <a:lnTo>
                    <a:pt x="132" y="0"/>
                  </a:lnTo>
                  <a:lnTo>
                    <a:pt x="132" y="0"/>
                  </a:lnTo>
                  <a:lnTo>
                    <a:pt x="132" y="0"/>
                  </a:lnTo>
                  <a:lnTo>
                    <a:pt x="130" y="2"/>
                  </a:lnTo>
                  <a:lnTo>
                    <a:pt x="130" y="2"/>
                  </a:lnTo>
                  <a:lnTo>
                    <a:pt x="130" y="4"/>
                  </a:lnTo>
                  <a:lnTo>
                    <a:pt x="130" y="6"/>
                  </a:lnTo>
                  <a:lnTo>
                    <a:pt x="128" y="8"/>
                  </a:lnTo>
                  <a:lnTo>
                    <a:pt x="128" y="10"/>
                  </a:lnTo>
                  <a:lnTo>
                    <a:pt x="128" y="12"/>
                  </a:lnTo>
                  <a:lnTo>
                    <a:pt x="126" y="12"/>
                  </a:lnTo>
                  <a:lnTo>
                    <a:pt x="126" y="12"/>
                  </a:lnTo>
                  <a:lnTo>
                    <a:pt x="126" y="12"/>
                  </a:lnTo>
                  <a:lnTo>
                    <a:pt x="124" y="14"/>
                  </a:lnTo>
                  <a:lnTo>
                    <a:pt x="122" y="14"/>
                  </a:lnTo>
                  <a:lnTo>
                    <a:pt x="122" y="14"/>
                  </a:lnTo>
                  <a:lnTo>
                    <a:pt x="118" y="14"/>
                  </a:lnTo>
                  <a:lnTo>
                    <a:pt x="116" y="16"/>
                  </a:lnTo>
                  <a:lnTo>
                    <a:pt x="108" y="16"/>
                  </a:lnTo>
                  <a:lnTo>
                    <a:pt x="106" y="16"/>
                  </a:lnTo>
                  <a:lnTo>
                    <a:pt x="104" y="18"/>
                  </a:lnTo>
                  <a:lnTo>
                    <a:pt x="104" y="18"/>
                  </a:lnTo>
                  <a:lnTo>
                    <a:pt x="100" y="18"/>
                  </a:lnTo>
                  <a:lnTo>
                    <a:pt x="98" y="20"/>
                  </a:lnTo>
                  <a:lnTo>
                    <a:pt x="94" y="22"/>
                  </a:lnTo>
                  <a:lnTo>
                    <a:pt x="90" y="20"/>
                  </a:lnTo>
                  <a:lnTo>
                    <a:pt x="86" y="18"/>
                  </a:lnTo>
                  <a:lnTo>
                    <a:pt x="84" y="18"/>
                  </a:lnTo>
                  <a:lnTo>
                    <a:pt x="84" y="18"/>
                  </a:lnTo>
                  <a:lnTo>
                    <a:pt x="82" y="18"/>
                  </a:lnTo>
                  <a:lnTo>
                    <a:pt x="78" y="16"/>
                  </a:lnTo>
                  <a:lnTo>
                    <a:pt x="72" y="16"/>
                  </a:lnTo>
                  <a:lnTo>
                    <a:pt x="66" y="16"/>
                  </a:lnTo>
                  <a:lnTo>
                    <a:pt x="64" y="16"/>
                  </a:lnTo>
                  <a:lnTo>
                    <a:pt x="62" y="18"/>
                  </a:lnTo>
                  <a:lnTo>
                    <a:pt x="60" y="20"/>
                  </a:lnTo>
                  <a:lnTo>
                    <a:pt x="58" y="22"/>
                  </a:lnTo>
                  <a:lnTo>
                    <a:pt x="56" y="22"/>
                  </a:lnTo>
                  <a:lnTo>
                    <a:pt x="56" y="22"/>
                  </a:lnTo>
                  <a:lnTo>
                    <a:pt x="54" y="22"/>
                  </a:lnTo>
                  <a:lnTo>
                    <a:pt x="52" y="22"/>
                  </a:lnTo>
                  <a:lnTo>
                    <a:pt x="50" y="22"/>
                  </a:lnTo>
                  <a:lnTo>
                    <a:pt x="48" y="24"/>
                  </a:lnTo>
                  <a:lnTo>
                    <a:pt x="46" y="24"/>
                  </a:lnTo>
                  <a:lnTo>
                    <a:pt x="46" y="24"/>
                  </a:lnTo>
                  <a:lnTo>
                    <a:pt x="46" y="24"/>
                  </a:lnTo>
                  <a:lnTo>
                    <a:pt x="44" y="24"/>
                  </a:lnTo>
                  <a:lnTo>
                    <a:pt x="44" y="26"/>
                  </a:lnTo>
                  <a:lnTo>
                    <a:pt x="44" y="28"/>
                  </a:lnTo>
                  <a:lnTo>
                    <a:pt x="42" y="30"/>
                  </a:lnTo>
                  <a:lnTo>
                    <a:pt x="42" y="30"/>
                  </a:lnTo>
                  <a:lnTo>
                    <a:pt x="42" y="32"/>
                  </a:lnTo>
                  <a:lnTo>
                    <a:pt x="40" y="32"/>
                  </a:lnTo>
                  <a:lnTo>
                    <a:pt x="40" y="32"/>
                  </a:lnTo>
                  <a:lnTo>
                    <a:pt x="36" y="34"/>
                  </a:lnTo>
                  <a:lnTo>
                    <a:pt x="36" y="36"/>
                  </a:lnTo>
                  <a:lnTo>
                    <a:pt x="34" y="36"/>
                  </a:lnTo>
                  <a:lnTo>
                    <a:pt x="32" y="36"/>
                  </a:lnTo>
                  <a:lnTo>
                    <a:pt x="32" y="38"/>
                  </a:lnTo>
                  <a:lnTo>
                    <a:pt x="32" y="38"/>
                  </a:lnTo>
                  <a:lnTo>
                    <a:pt x="32" y="38"/>
                  </a:lnTo>
                  <a:lnTo>
                    <a:pt x="32" y="40"/>
                  </a:lnTo>
                  <a:lnTo>
                    <a:pt x="30" y="42"/>
                  </a:lnTo>
                  <a:lnTo>
                    <a:pt x="30" y="44"/>
                  </a:lnTo>
                  <a:lnTo>
                    <a:pt x="30" y="46"/>
                  </a:lnTo>
                  <a:lnTo>
                    <a:pt x="30" y="48"/>
                  </a:lnTo>
                  <a:lnTo>
                    <a:pt x="30" y="50"/>
                  </a:lnTo>
                  <a:lnTo>
                    <a:pt x="30" y="50"/>
                  </a:lnTo>
                  <a:lnTo>
                    <a:pt x="30" y="50"/>
                  </a:lnTo>
                  <a:lnTo>
                    <a:pt x="28" y="50"/>
                  </a:lnTo>
                  <a:lnTo>
                    <a:pt x="28" y="52"/>
                  </a:lnTo>
                  <a:lnTo>
                    <a:pt x="26" y="52"/>
                  </a:lnTo>
                  <a:lnTo>
                    <a:pt x="24" y="52"/>
                  </a:lnTo>
                  <a:lnTo>
                    <a:pt x="22" y="52"/>
                  </a:lnTo>
                  <a:lnTo>
                    <a:pt x="18" y="54"/>
                  </a:lnTo>
                  <a:lnTo>
                    <a:pt x="16" y="54"/>
                  </a:lnTo>
                  <a:lnTo>
                    <a:pt x="16" y="54"/>
                  </a:lnTo>
                  <a:lnTo>
                    <a:pt x="14" y="54"/>
                  </a:lnTo>
                  <a:lnTo>
                    <a:pt x="12" y="56"/>
                  </a:lnTo>
                  <a:lnTo>
                    <a:pt x="10" y="56"/>
                  </a:lnTo>
                  <a:lnTo>
                    <a:pt x="8" y="58"/>
                  </a:lnTo>
                  <a:lnTo>
                    <a:pt x="6" y="60"/>
                  </a:lnTo>
                  <a:lnTo>
                    <a:pt x="4" y="64"/>
                  </a:lnTo>
                  <a:lnTo>
                    <a:pt x="2" y="66"/>
                  </a:lnTo>
                  <a:lnTo>
                    <a:pt x="4" y="74"/>
                  </a:lnTo>
                  <a:lnTo>
                    <a:pt x="4" y="82"/>
                  </a:lnTo>
                  <a:lnTo>
                    <a:pt x="6" y="86"/>
                  </a:lnTo>
                  <a:lnTo>
                    <a:pt x="6" y="88"/>
                  </a:lnTo>
                  <a:lnTo>
                    <a:pt x="6" y="90"/>
                  </a:lnTo>
                  <a:lnTo>
                    <a:pt x="6" y="92"/>
                  </a:lnTo>
                  <a:lnTo>
                    <a:pt x="4" y="94"/>
                  </a:lnTo>
                  <a:lnTo>
                    <a:pt x="4" y="96"/>
                  </a:lnTo>
                  <a:lnTo>
                    <a:pt x="2" y="108"/>
                  </a:lnTo>
                  <a:lnTo>
                    <a:pt x="0" y="110"/>
                  </a:lnTo>
                  <a:lnTo>
                    <a:pt x="0" y="112"/>
                  </a:lnTo>
                  <a:lnTo>
                    <a:pt x="0" y="114"/>
                  </a:lnTo>
                  <a:lnTo>
                    <a:pt x="0" y="116"/>
                  </a:lnTo>
                  <a:lnTo>
                    <a:pt x="0" y="120"/>
                  </a:lnTo>
                  <a:lnTo>
                    <a:pt x="0" y="120"/>
                  </a:lnTo>
                  <a:lnTo>
                    <a:pt x="0" y="122"/>
                  </a:lnTo>
                  <a:lnTo>
                    <a:pt x="0" y="122"/>
                  </a:lnTo>
                  <a:lnTo>
                    <a:pt x="2" y="124"/>
                  </a:lnTo>
                  <a:lnTo>
                    <a:pt x="2" y="124"/>
                  </a:lnTo>
                  <a:lnTo>
                    <a:pt x="2" y="124"/>
                  </a:lnTo>
                  <a:lnTo>
                    <a:pt x="4" y="124"/>
                  </a:lnTo>
                  <a:lnTo>
                    <a:pt x="4" y="124"/>
                  </a:lnTo>
                  <a:lnTo>
                    <a:pt x="6" y="126"/>
                  </a:lnTo>
                  <a:lnTo>
                    <a:pt x="8" y="124"/>
                  </a:lnTo>
                  <a:lnTo>
                    <a:pt x="10" y="124"/>
                  </a:lnTo>
                  <a:lnTo>
                    <a:pt x="14" y="124"/>
                  </a:lnTo>
                  <a:lnTo>
                    <a:pt x="16" y="124"/>
                  </a:lnTo>
                  <a:lnTo>
                    <a:pt x="16" y="124"/>
                  </a:lnTo>
                  <a:lnTo>
                    <a:pt x="18" y="124"/>
                  </a:lnTo>
                  <a:lnTo>
                    <a:pt x="18" y="124"/>
                  </a:lnTo>
                  <a:lnTo>
                    <a:pt x="20" y="124"/>
                  </a:lnTo>
                  <a:lnTo>
                    <a:pt x="20" y="124"/>
                  </a:lnTo>
                  <a:lnTo>
                    <a:pt x="20" y="126"/>
                  </a:lnTo>
                  <a:lnTo>
                    <a:pt x="22" y="126"/>
                  </a:lnTo>
                  <a:lnTo>
                    <a:pt x="22" y="128"/>
                  </a:lnTo>
                  <a:lnTo>
                    <a:pt x="22" y="130"/>
                  </a:lnTo>
                  <a:lnTo>
                    <a:pt x="24" y="132"/>
                  </a:lnTo>
                  <a:lnTo>
                    <a:pt x="24" y="134"/>
                  </a:lnTo>
                  <a:lnTo>
                    <a:pt x="24" y="138"/>
                  </a:lnTo>
                  <a:lnTo>
                    <a:pt x="24" y="140"/>
                  </a:lnTo>
                  <a:lnTo>
                    <a:pt x="24" y="142"/>
                  </a:lnTo>
                  <a:lnTo>
                    <a:pt x="24" y="142"/>
                  </a:lnTo>
                  <a:lnTo>
                    <a:pt x="24" y="142"/>
                  </a:lnTo>
                  <a:lnTo>
                    <a:pt x="24" y="144"/>
                  </a:lnTo>
                  <a:lnTo>
                    <a:pt x="22" y="146"/>
                  </a:lnTo>
                  <a:lnTo>
                    <a:pt x="20" y="146"/>
                  </a:lnTo>
                  <a:lnTo>
                    <a:pt x="18" y="150"/>
                  </a:lnTo>
                  <a:lnTo>
                    <a:pt x="18" y="150"/>
                  </a:lnTo>
                  <a:lnTo>
                    <a:pt x="16" y="152"/>
                  </a:lnTo>
                  <a:lnTo>
                    <a:pt x="16" y="156"/>
                  </a:lnTo>
                  <a:lnTo>
                    <a:pt x="16" y="156"/>
                  </a:lnTo>
                  <a:lnTo>
                    <a:pt x="16" y="158"/>
                  </a:lnTo>
                  <a:lnTo>
                    <a:pt x="14" y="162"/>
                  </a:lnTo>
                  <a:lnTo>
                    <a:pt x="14" y="162"/>
                  </a:lnTo>
                  <a:lnTo>
                    <a:pt x="16" y="164"/>
                  </a:lnTo>
                  <a:lnTo>
                    <a:pt x="16" y="166"/>
                  </a:lnTo>
                  <a:lnTo>
                    <a:pt x="16" y="166"/>
                  </a:lnTo>
                  <a:lnTo>
                    <a:pt x="16" y="166"/>
                  </a:lnTo>
                  <a:lnTo>
                    <a:pt x="16" y="168"/>
                  </a:lnTo>
                  <a:lnTo>
                    <a:pt x="18" y="168"/>
                  </a:lnTo>
                  <a:lnTo>
                    <a:pt x="20" y="168"/>
                  </a:lnTo>
                  <a:lnTo>
                    <a:pt x="22" y="170"/>
                  </a:lnTo>
                  <a:lnTo>
                    <a:pt x="24" y="170"/>
                  </a:lnTo>
                  <a:lnTo>
                    <a:pt x="28" y="172"/>
                  </a:lnTo>
                  <a:lnTo>
                    <a:pt x="30" y="172"/>
                  </a:lnTo>
                  <a:lnTo>
                    <a:pt x="32" y="174"/>
                  </a:lnTo>
                  <a:lnTo>
                    <a:pt x="32" y="172"/>
                  </a:lnTo>
                  <a:lnTo>
                    <a:pt x="34" y="168"/>
                  </a:lnTo>
                  <a:lnTo>
                    <a:pt x="34" y="166"/>
                  </a:lnTo>
                  <a:lnTo>
                    <a:pt x="36" y="164"/>
                  </a:lnTo>
                  <a:lnTo>
                    <a:pt x="36" y="162"/>
                  </a:lnTo>
                  <a:lnTo>
                    <a:pt x="38" y="162"/>
                  </a:lnTo>
                  <a:lnTo>
                    <a:pt x="38" y="160"/>
                  </a:lnTo>
                  <a:lnTo>
                    <a:pt x="38" y="160"/>
                  </a:lnTo>
                  <a:lnTo>
                    <a:pt x="40" y="160"/>
                  </a:lnTo>
                  <a:lnTo>
                    <a:pt x="42" y="158"/>
                  </a:lnTo>
                  <a:lnTo>
                    <a:pt x="44" y="158"/>
                  </a:lnTo>
                  <a:lnTo>
                    <a:pt x="46" y="158"/>
                  </a:lnTo>
                  <a:lnTo>
                    <a:pt x="50" y="158"/>
                  </a:lnTo>
                  <a:lnTo>
                    <a:pt x="52" y="158"/>
                  </a:lnTo>
                  <a:lnTo>
                    <a:pt x="58" y="158"/>
                  </a:lnTo>
                  <a:lnTo>
                    <a:pt x="66" y="160"/>
                  </a:lnTo>
                  <a:lnTo>
                    <a:pt x="68" y="160"/>
                  </a:lnTo>
                  <a:lnTo>
                    <a:pt x="70" y="160"/>
                  </a:lnTo>
                  <a:lnTo>
                    <a:pt x="74" y="158"/>
                  </a:lnTo>
                  <a:lnTo>
                    <a:pt x="76" y="158"/>
                  </a:lnTo>
                  <a:lnTo>
                    <a:pt x="78" y="158"/>
                  </a:lnTo>
                  <a:lnTo>
                    <a:pt x="78" y="158"/>
                  </a:lnTo>
                  <a:lnTo>
                    <a:pt x="80" y="156"/>
                  </a:lnTo>
                  <a:lnTo>
                    <a:pt x="80" y="156"/>
                  </a:lnTo>
                  <a:lnTo>
                    <a:pt x="80" y="156"/>
                  </a:lnTo>
                  <a:lnTo>
                    <a:pt x="82" y="154"/>
                  </a:lnTo>
                  <a:lnTo>
                    <a:pt x="82" y="154"/>
                  </a:lnTo>
                  <a:lnTo>
                    <a:pt x="82" y="152"/>
                  </a:lnTo>
                  <a:lnTo>
                    <a:pt x="84" y="150"/>
                  </a:lnTo>
                  <a:lnTo>
                    <a:pt x="84" y="144"/>
                  </a:lnTo>
                  <a:lnTo>
                    <a:pt x="84" y="142"/>
                  </a:lnTo>
                  <a:lnTo>
                    <a:pt x="86" y="142"/>
                  </a:lnTo>
                  <a:lnTo>
                    <a:pt x="86" y="142"/>
                  </a:lnTo>
                  <a:lnTo>
                    <a:pt x="86" y="140"/>
                  </a:lnTo>
                  <a:lnTo>
                    <a:pt x="88" y="140"/>
                  </a:lnTo>
                  <a:lnTo>
                    <a:pt x="92" y="136"/>
                  </a:lnTo>
                  <a:lnTo>
                    <a:pt x="94" y="134"/>
                  </a:lnTo>
                  <a:lnTo>
                    <a:pt x="98" y="132"/>
                  </a:lnTo>
                  <a:lnTo>
                    <a:pt x="100" y="130"/>
                  </a:lnTo>
                  <a:lnTo>
                    <a:pt x="106" y="128"/>
                  </a:lnTo>
                  <a:lnTo>
                    <a:pt x="108" y="126"/>
                  </a:lnTo>
                  <a:lnTo>
                    <a:pt x="110" y="124"/>
                  </a:lnTo>
                  <a:lnTo>
                    <a:pt x="112" y="124"/>
                  </a:lnTo>
                  <a:lnTo>
                    <a:pt x="114" y="122"/>
                  </a:lnTo>
                  <a:lnTo>
                    <a:pt x="114" y="122"/>
                  </a:lnTo>
                  <a:lnTo>
                    <a:pt x="116" y="122"/>
                  </a:lnTo>
                  <a:lnTo>
                    <a:pt x="120" y="122"/>
                  </a:lnTo>
                  <a:lnTo>
                    <a:pt x="122" y="122"/>
                  </a:lnTo>
                  <a:lnTo>
                    <a:pt x="124" y="122"/>
                  </a:lnTo>
                  <a:lnTo>
                    <a:pt x="124" y="122"/>
                  </a:lnTo>
                  <a:lnTo>
                    <a:pt x="126" y="122"/>
                  </a:lnTo>
                  <a:lnTo>
                    <a:pt x="126" y="122"/>
                  </a:lnTo>
                  <a:lnTo>
                    <a:pt x="126" y="120"/>
                  </a:lnTo>
                  <a:lnTo>
                    <a:pt x="128" y="120"/>
                  </a:lnTo>
                  <a:lnTo>
                    <a:pt x="128" y="118"/>
                  </a:lnTo>
                  <a:lnTo>
                    <a:pt x="128" y="118"/>
                  </a:lnTo>
                  <a:lnTo>
                    <a:pt x="128" y="116"/>
                  </a:lnTo>
                  <a:lnTo>
                    <a:pt x="128" y="112"/>
                  </a:lnTo>
                  <a:lnTo>
                    <a:pt x="128" y="110"/>
                  </a:lnTo>
                  <a:lnTo>
                    <a:pt x="128" y="108"/>
                  </a:lnTo>
                  <a:lnTo>
                    <a:pt x="130" y="106"/>
                  </a:lnTo>
                  <a:lnTo>
                    <a:pt x="130" y="104"/>
                  </a:lnTo>
                  <a:lnTo>
                    <a:pt x="130" y="104"/>
                  </a:lnTo>
                  <a:lnTo>
                    <a:pt x="130" y="102"/>
                  </a:lnTo>
                  <a:lnTo>
                    <a:pt x="132" y="102"/>
                  </a:lnTo>
                  <a:lnTo>
                    <a:pt x="134" y="102"/>
                  </a:lnTo>
                  <a:lnTo>
                    <a:pt x="134" y="100"/>
                  </a:lnTo>
                  <a:lnTo>
                    <a:pt x="138" y="98"/>
                  </a:lnTo>
                  <a:lnTo>
                    <a:pt x="140" y="98"/>
                  </a:lnTo>
                  <a:lnTo>
                    <a:pt x="140" y="98"/>
                  </a:lnTo>
                  <a:lnTo>
                    <a:pt x="140" y="96"/>
                  </a:lnTo>
                  <a:lnTo>
                    <a:pt x="142" y="94"/>
                  </a:lnTo>
                  <a:lnTo>
                    <a:pt x="142" y="92"/>
                  </a:lnTo>
                  <a:lnTo>
                    <a:pt x="144" y="90"/>
                  </a:lnTo>
                  <a:lnTo>
                    <a:pt x="144" y="86"/>
                  </a:lnTo>
                  <a:lnTo>
                    <a:pt x="146" y="82"/>
                  </a:lnTo>
                  <a:lnTo>
                    <a:pt x="148" y="78"/>
                  </a:lnTo>
                  <a:lnTo>
                    <a:pt x="150" y="74"/>
                  </a:lnTo>
                  <a:lnTo>
                    <a:pt x="150" y="68"/>
                  </a:lnTo>
                  <a:lnTo>
                    <a:pt x="152" y="66"/>
                  </a:lnTo>
                  <a:lnTo>
                    <a:pt x="152" y="64"/>
                  </a:lnTo>
                  <a:lnTo>
                    <a:pt x="152" y="60"/>
                  </a:lnTo>
                  <a:lnTo>
                    <a:pt x="152" y="56"/>
                  </a:lnTo>
                  <a:lnTo>
                    <a:pt x="152" y="54"/>
                  </a:lnTo>
                  <a:lnTo>
                    <a:pt x="154" y="52"/>
                  </a:lnTo>
                  <a:lnTo>
                    <a:pt x="154" y="50"/>
                  </a:lnTo>
                  <a:lnTo>
                    <a:pt x="154" y="48"/>
                  </a:lnTo>
                  <a:lnTo>
                    <a:pt x="154" y="48"/>
                  </a:lnTo>
                  <a:lnTo>
                    <a:pt x="156" y="48"/>
                  </a:lnTo>
                  <a:lnTo>
                    <a:pt x="156" y="46"/>
                  </a:lnTo>
                  <a:lnTo>
                    <a:pt x="158" y="46"/>
                  </a:lnTo>
                  <a:lnTo>
                    <a:pt x="160" y="46"/>
                  </a:lnTo>
                  <a:lnTo>
                    <a:pt x="162" y="44"/>
                  </a:lnTo>
                  <a:lnTo>
                    <a:pt x="166" y="44"/>
                  </a:lnTo>
                  <a:lnTo>
                    <a:pt x="168" y="42"/>
                  </a:lnTo>
                  <a:lnTo>
                    <a:pt x="170" y="44"/>
                  </a:lnTo>
                  <a:lnTo>
                    <a:pt x="174" y="44"/>
                  </a:lnTo>
                  <a:lnTo>
                    <a:pt x="178" y="46"/>
                  </a:lnTo>
                  <a:lnTo>
                    <a:pt x="180" y="46"/>
                  </a:lnTo>
                  <a:lnTo>
                    <a:pt x="186" y="48"/>
                  </a:lnTo>
                  <a:lnTo>
                    <a:pt x="190" y="52"/>
                  </a:lnTo>
                  <a:lnTo>
                    <a:pt x="194" y="2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1" name="Freeform 139">
              <a:extLst>
                <a:ext uri="{FF2B5EF4-FFF2-40B4-BE49-F238E27FC236}">
                  <a16:creationId xmlns:a16="http://schemas.microsoft.com/office/drawing/2014/main" id="{4A808F59-02F0-454D-A4F8-05E787E86E79}"/>
                </a:ext>
              </a:extLst>
            </p:cNvPr>
            <p:cNvSpPr>
              <a:spLocks/>
            </p:cNvSpPr>
            <p:nvPr/>
          </p:nvSpPr>
          <p:spPr bwMode="auto">
            <a:xfrm>
              <a:off x="5537091" y="3395653"/>
              <a:ext cx="318702" cy="228634"/>
            </a:xfrm>
            <a:custGeom>
              <a:avLst/>
              <a:gdLst>
                <a:gd name="T0" fmla="*/ 176 w 184"/>
                <a:gd name="T1" fmla="*/ 88 h 132"/>
                <a:gd name="T2" fmla="*/ 164 w 184"/>
                <a:gd name="T3" fmla="*/ 90 h 132"/>
                <a:gd name="T4" fmla="*/ 162 w 184"/>
                <a:gd name="T5" fmla="*/ 96 h 132"/>
                <a:gd name="T6" fmla="*/ 154 w 184"/>
                <a:gd name="T7" fmla="*/ 102 h 132"/>
                <a:gd name="T8" fmla="*/ 150 w 184"/>
                <a:gd name="T9" fmla="*/ 106 h 132"/>
                <a:gd name="T10" fmla="*/ 148 w 184"/>
                <a:gd name="T11" fmla="*/ 116 h 132"/>
                <a:gd name="T12" fmla="*/ 140 w 184"/>
                <a:gd name="T13" fmla="*/ 118 h 132"/>
                <a:gd name="T14" fmla="*/ 128 w 184"/>
                <a:gd name="T15" fmla="*/ 122 h 132"/>
                <a:gd name="T16" fmla="*/ 122 w 184"/>
                <a:gd name="T17" fmla="*/ 122 h 132"/>
                <a:gd name="T18" fmla="*/ 126 w 184"/>
                <a:gd name="T19" fmla="*/ 102 h 132"/>
                <a:gd name="T20" fmla="*/ 122 w 184"/>
                <a:gd name="T21" fmla="*/ 96 h 132"/>
                <a:gd name="T22" fmla="*/ 104 w 184"/>
                <a:gd name="T23" fmla="*/ 88 h 132"/>
                <a:gd name="T24" fmla="*/ 84 w 184"/>
                <a:gd name="T25" fmla="*/ 74 h 132"/>
                <a:gd name="T26" fmla="*/ 74 w 184"/>
                <a:gd name="T27" fmla="*/ 72 h 132"/>
                <a:gd name="T28" fmla="*/ 52 w 184"/>
                <a:gd name="T29" fmla="*/ 66 h 132"/>
                <a:gd name="T30" fmla="*/ 42 w 184"/>
                <a:gd name="T31" fmla="*/ 66 h 132"/>
                <a:gd name="T32" fmla="*/ 38 w 184"/>
                <a:gd name="T33" fmla="*/ 70 h 132"/>
                <a:gd name="T34" fmla="*/ 34 w 184"/>
                <a:gd name="T35" fmla="*/ 78 h 132"/>
                <a:gd name="T36" fmla="*/ 20 w 184"/>
                <a:gd name="T37" fmla="*/ 84 h 132"/>
                <a:gd name="T38" fmla="*/ 14 w 184"/>
                <a:gd name="T39" fmla="*/ 54 h 132"/>
                <a:gd name="T40" fmla="*/ 10 w 184"/>
                <a:gd name="T41" fmla="*/ 40 h 132"/>
                <a:gd name="T42" fmla="*/ 8 w 184"/>
                <a:gd name="T43" fmla="*/ 30 h 132"/>
                <a:gd name="T44" fmla="*/ 2 w 184"/>
                <a:gd name="T45" fmla="*/ 26 h 132"/>
                <a:gd name="T46" fmla="*/ 6 w 184"/>
                <a:gd name="T47" fmla="*/ 22 h 132"/>
                <a:gd name="T48" fmla="*/ 8 w 184"/>
                <a:gd name="T49" fmla="*/ 18 h 132"/>
                <a:gd name="T50" fmla="*/ 0 w 184"/>
                <a:gd name="T51" fmla="*/ 14 h 132"/>
                <a:gd name="T52" fmla="*/ 0 w 184"/>
                <a:gd name="T53" fmla="*/ 6 h 132"/>
                <a:gd name="T54" fmla="*/ 2 w 184"/>
                <a:gd name="T55" fmla="*/ 4 h 132"/>
                <a:gd name="T56" fmla="*/ 6 w 184"/>
                <a:gd name="T57" fmla="*/ 8 h 132"/>
                <a:gd name="T58" fmla="*/ 14 w 184"/>
                <a:gd name="T59" fmla="*/ 18 h 132"/>
                <a:gd name="T60" fmla="*/ 18 w 184"/>
                <a:gd name="T61" fmla="*/ 18 h 132"/>
                <a:gd name="T62" fmla="*/ 24 w 184"/>
                <a:gd name="T63" fmla="*/ 6 h 132"/>
                <a:gd name="T64" fmla="*/ 38 w 184"/>
                <a:gd name="T65" fmla="*/ 0 h 132"/>
                <a:gd name="T66" fmla="*/ 46 w 184"/>
                <a:gd name="T67" fmla="*/ 2 h 132"/>
                <a:gd name="T68" fmla="*/ 50 w 184"/>
                <a:gd name="T69" fmla="*/ 8 h 132"/>
                <a:gd name="T70" fmla="*/ 50 w 184"/>
                <a:gd name="T71" fmla="*/ 14 h 132"/>
                <a:gd name="T72" fmla="*/ 58 w 184"/>
                <a:gd name="T73" fmla="*/ 18 h 132"/>
                <a:gd name="T74" fmla="*/ 74 w 184"/>
                <a:gd name="T75" fmla="*/ 24 h 132"/>
                <a:gd name="T76" fmla="*/ 82 w 184"/>
                <a:gd name="T77" fmla="*/ 24 h 132"/>
                <a:gd name="T78" fmla="*/ 82 w 184"/>
                <a:gd name="T79" fmla="*/ 18 h 132"/>
                <a:gd name="T80" fmla="*/ 86 w 184"/>
                <a:gd name="T81" fmla="*/ 12 h 132"/>
                <a:gd name="T82" fmla="*/ 94 w 184"/>
                <a:gd name="T83" fmla="*/ 10 h 132"/>
                <a:gd name="T84" fmla="*/ 102 w 184"/>
                <a:gd name="T85" fmla="*/ 6 h 132"/>
                <a:gd name="T86" fmla="*/ 106 w 184"/>
                <a:gd name="T87" fmla="*/ 10 h 132"/>
                <a:gd name="T88" fmla="*/ 112 w 184"/>
                <a:gd name="T89" fmla="*/ 18 h 132"/>
                <a:gd name="T90" fmla="*/ 114 w 184"/>
                <a:gd name="T91" fmla="*/ 22 h 132"/>
                <a:gd name="T92" fmla="*/ 112 w 184"/>
                <a:gd name="T93" fmla="*/ 26 h 132"/>
                <a:gd name="T94" fmla="*/ 112 w 184"/>
                <a:gd name="T95" fmla="*/ 30 h 132"/>
                <a:gd name="T96" fmla="*/ 126 w 184"/>
                <a:gd name="T97" fmla="*/ 30 h 132"/>
                <a:gd name="T98" fmla="*/ 136 w 184"/>
                <a:gd name="T99" fmla="*/ 32 h 132"/>
                <a:gd name="T100" fmla="*/ 138 w 184"/>
                <a:gd name="T101" fmla="*/ 38 h 132"/>
                <a:gd name="T102" fmla="*/ 134 w 184"/>
                <a:gd name="T103" fmla="*/ 46 h 132"/>
                <a:gd name="T104" fmla="*/ 142 w 184"/>
                <a:gd name="T105" fmla="*/ 56 h 132"/>
                <a:gd name="T106" fmla="*/ 156 w 184"/>
                <a:gd name="T107" fmla="*/ 68 h 132"/>
                <a:gd name="T108" fmla="*/ 168 w 184"/>
                <a:gd name="T109" fmla="*/ 72 h 132"/>
                <a:gd name="T110" fmla="*/ 176 w 184"/>
                <a:gd name="T111" fmla="*/ 68 h 132"/>
                <a:gd name="T112" fmla="*/ 180 w 184"/>
                <a:gd name="T113" fmla="*/ 70 h 132"/>
                <a:gd name="T114" fmla="*/ 184 w 184"/>
                <a:gd name="T115" fmla="*/ 7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4" h="132">
                  <a:moveTo>
                    <a:pt x="182" y="82"/>
                  </a:moveTo>
                  <a:lnTo>
                    <a:pt x="182" y="82"/>
                  </a:lnTo>
                  <a:lnTo>
                    <a:pt x="180" y="84"/>
                  </a:lnTo>
                  <a:lnTo>
                    <a:pt x="178" y="86"/>
                  </a:lnTo>
                  <a:lnTo>
                    <a:pt x="176" y="88"/>
                  </a:lnTo>
                  <a:lnTo>
                    <a:pt x="176" y="88"/>
                  </a:lnTo>
                  <a:lnTo>
                    <a:pt x="174" y="88"/>
                  </a:lnTo>
                  <a:lnTo>
                    <a:pt x="172" y="88"/>
                  </a:lnTo>
                  <a:lnTo>
                    <a:pt x="170" y="88"/>
                  </a:lnTo>
                  <a:lnTo>
                    <a:pt x="168" y="88"/>
                  </a:lnTo>
                  <a:lnTo>
                    <a:pt x="166" y="90"/>
                  </a:lnTo>
                  <a:lnTo>
                    <a:pt x="164" y="90"/>
                  </a:lnTo>
                  <a:lnTo>
                    <a:pt x="164" y="90"/>
                  </a:lnTo>
                  <a:lnTo>
                    <a:pt x="164" y="90"/>
                  </a:lnTo>
                  <a:lnTo>
                    <a:pt x="164" y="90"/>
                  </a:lnTo>
                  <a:lnTo>
                    <a:pt x="162" y="92"/>
                  </a:lnTo>
                  <a:lnTo>
                    <a:pt x="162" y="94"/>
                  </a:lnTo>
                  <a:lnTo>
                    <a:pt x="162" y="96"/>
                  </a:lnTo>
                  <a:lnTo>
                    <a:pt x="160" y="96"/>
                  </a:lnTo>
                  <a:lnTo>
                    <a:pt x="160" y="98"/>
                  </a:lnTo>
                  <a:lnTo>
                    <a:pt x="160" y="98"/>
                  </a:lnTo>
                  <a:lnTo>
                    <a:pt x="158" y="98"/>
                  </a:lnTo>
                  <a:lnTo>
                    <a:pt x="154" y="100"/>
                  </a:lnTo>
                  <a:lnTo>
                    <a:pt x="154" y="102"/>
                  </a:lnTo>
                  <a:lnTo>
                    <a:pt x="152" y="102"/>
                  </a:lnTo>
                  <a:lnTo>
                    <a:pt x="150" y="102"/>
                  </a:lnTo>
                  <a:lnTo>
                    <a:pt x="150" y="104"/>
                  </a:lnTo>
                  <a:lnTo>
                    <a:pt x="150" y="104"/>
                  </a:lnTo>
                  <a:lnTo>
                    <a:pt x="150" y="104"/>
                  </a:lnTo>
                  <a:lnTo>
                    <a:pt x="150" y="106"/>
                  </a:lnTo>
                  <a:lnTo>
                    <a:pt x="150" y="108"/>
                  </a:lnTo>
                  <a:lnTo>
                    <a:pt x="148" y="110"/>
                  </a:lnTo>
                  <a:lnTo>
                    <a:pt x="148" y="112"/>
                  </a:lnTo>
                  <a:lnTo>
                    <a:pt x="148" y="114"/>
                  </a:lnTo>
                  <a:lnTo>
                    <a:pt x="148" y="114"/>
                  </a:lnTo>
                  <a:lnTo>
                    <a:pt x="148" y="116"/>
                  </a:lnTo>
                  <a:lnTo>
                    <a:pt x="148" y="116"/>
                  </a:lnTo>
                  <a:lnTo>
                    <a:pt x="146" y="116"/>
                  </a:lnTo>
                  <a:lnTo>
                    <a:pt x="146" y="118"/>
                  </a:lnTo>
                  <a:lnTo>
                    <a:pt x="144" y="118"/>
                  </a:lnTo>
                  <a:lnTo>
                    <a:pt x="142" y="118"/>
                  </a:lnTo>
                  <a:lnTo>
                    <a:pt x="140" y="118"/>
                  </a:lnTo>
                  <a:lnTo>
                    <a:pt x="136" y="118"/>
                  </a:lnTo>
                  <a:lnTo>
                    <a:pt x="134" y="120"/>
                  </a:lnTo>
                  <a:lnTo>
                    <a:pt x="134" y="120"/>
                  </a:lnTo>
                  <a:lnTo>
                    <a:pt x="132" y="120"/>
                  </a:lnTo>
                  <a:lnTo>
                    <a:pt x="130" y="120"/>
                  </a:lnTo>
                  <a:lnTo>
                    <a:pt x="128" y="122"/>
                  </a:lnTo>
                  <a:lnTo>
                    <a:pt x="126" y="124"/>
                  </a:lnTo>
                  <a:lnTo>
                    <a:pt x="124" y="126"/>
                  </a:lnTo>
                  <a:lnTo>
                    <a:pt x="122" y="130"/>
                  </a:lnTo>
                  <a:lnTo>
                    <a:pt x="120" y="132"/>
                  </a:lnTo>
                  <a:lnTo>
                    <a:pt x="122" y="128"/>
                  </a:lnTo>
                  <a:lnTo>
                    <a:pt x="122" y="122"/>
                  </a:lnTo>
                  <a:lnTo>
                    <a:pt x="124" y="118"/>
                  </a:lnTo>
                  <a:lnTo>
                    <a:pt x="124" y="112"/>
                  </a:lnTo>
                  <a:lnTo>
                    <a:pt x="126" y="110"/>
                  </a:lnTo>
                  <a:lnTo>
                    <a:pt x="126" y="106"/>
                  </a:lnTo>
                  <a:lnTo>
                    <a:pt x="126" y="104"/>
                  </a:lnTo>
                  <a:lnTo>
                    <a:pt x="126" y="102"/>
                  </a:lnTo>
                  <a:lnTo>
                    <a:pt x="126" y="100"/>
                  </a:lnTo>
                  <a:lnTo>
                    <a:pt x="126" y="100"/>
                  </a:lnTo>
                  <a:lnTo>
                    <a:pt x="124" y="98"/>
                  </a:lnTo>
                  <a:lnTo>
                    <a:pt x="124" y="98"/>
                  </a:lnTo>
                  <a:lnTo>
                    <a:pt x="124" y="96"/>
                  </a:lnTo>
                  <a:lnTo>
                    <a:pt x="122" y="96"/>
                  </a:lnTo>
                  <a:lnTo>
                    <a:pt x="122" y="96"/>
                  </a:lnTo>
                  <a:lnTo>
                    <a:pt x="118" y="94"/>
                  </a:lnTo>
                  <a:lnTo>
                    <a:pt x="116" y="92"/>
                  </a:lnTo>
                  <a:lnTo>
                    <a:pt x="110" y="90"/>
                  </a:lnTo>
                  <a:lnTo>
                    <a:pt x="106" y="90"/>
                  </a:lnTo>
                  <a:lnTo>
                    <a:pt x="104" y="88"/>
                  </a:lnTo>
                  <a:lnTo>
                    <a:pt x="102" y="86"/>
                  </a:lnTo>
                  <a:lnTo>
                    <a:pt x="100" y="84"/>
                  </a:lnTo>
                  <a:lnTo>
                    <a:pt x="94" y="80"/>
                  </a:lnTo>
                  <a:lnTo>
                    <a:pt x="90" y="78"/>
                  </a:lnTo>
                  <a:lnTo>
                    <a:pt x="88" y="76"/>
                  </a:lnTo>
                  <a:lnTo>
                    <a:pt x="84" y="74"/>
                  </a:lnTo>
                  <a:lnTo>
                    <a:pt x="84" y="72"/>
                  </a:lnTo>
                  <a:lnTo>
                    <a:pt x="82" y="72"/>
                  </a:lnTo>
                  <a:lnTo>
                    <a:pt x="80" y="72"/>
                  </a:lnTo>
                  <a:lnTo>
                    <a:pt x="78" y="72"/>
                  </a:lnTo>
                  <a:lnTo>
                    <a:pt x="76" y="72"/>
                  </a:lnTo>
                  <a:lnTo>
                    <a:pt x="74" y="72"/>
                  </a:lnTo>
                  <a:lnTo>
                    <a:pt x="70" y="72"/>
                  </a:lnTo>
                  <a:lnTo>
                    <a:pt x="68" y="70"/>
                  </a:lnTo>
                  <a:lnTo>
                    <a:pt x="66" y="70"/>
                  </a:lnTo>
                  <a:lnTo>
                    <a:pt x="62" y="70"/>
                  </a:lnTo>
                  <a:lnTo>
                    <a:pt x="60" y="70"/>
                  </a:lnTo>
                  <a:lnTo>
                    <a:pt x="52" y="66"/>
                  </a:lnTo>
                  <a:lnTo>
                    <a:pt x="50" y="66"/>
                  </a:lnTo>
                  <a:lnTo>
                    <a:pt x="48" y="66"/>
                  </a:lnTo>
                  <a:lnTo>
                    <a:pt x="46" y="66"/>
                  </a:lnTo>
                  <a:lnTo>
                    <a:pt x="44" y="66"/>
                  </a:lnTo>
                  <a:lnTo>
                    <a:pt x="42" y="66"/>
                  </a:lnTo>
                  <a:lnTo>
                    <a:pt x="42" y="66"/>
                  </a:lnTo>
                  <a:lnTo>
                    <a:pt x="40" y="66"/>
                  </a:lnTo>
                  <a:lnTo>
                    <a:pt x="40" y="66"/>
                  </a:lnTo>
                  <a:lnTo>
                    <a:pt x="40" y="66"/>
                  </a:lnTo>
                  <a:lnTo>
                    <a:pt x="38" y="68"/>
                  </a:lnTo>
                  <a:lnTo>
                    <a:pt x="38" y="68"/>
                  </a:lnTo>
                  <a:lnTo>
                    <a:pt x="38" y="70"/>
                  </a:lnTo>
                  <a:lnTo>
                    <a:pt x="36" y="72"/>
                  </a:lnTo>
                  <a:lnTo>
                    <a:pt x="36" y="74"/>
                  </a:lnTo>
                  <a:lnTo>
                    <a:pt x="36" y="76"/>
                  </a:lnTo>
                  <a:lnTo>
                    <a:pt x="34" y="78"/>
                  </a:lnTo>
                  <a:lnTo>
                    <a:pt x="34" y="78"/>
                  </a:lnTo>
                  <a:lnTo>
                    <a:pt x="34" y="78"/>
                  </a:lnTo>
                  <a:lnTo>
                    <a:pt x="34" y="78"/>
                  </a:lnTo>
                  <a:lnTo>
                    <a:pt x="32" y="80"/>
                  </a:lnTo>
                  <a:lnTo>
                    <a:pt x="30" y="80"/>
                  </a:lnTo>
                  <a:lnTo>
                    <a:pt x="28" y="82"/>
                  </a:lnTo>
                  <a:lnTo>
                    <a:pt x="26" y="82"/>
                  </a:lnTo>
                  <a:lnTo>
                    <a:pt x="20" y="84"/>
                  </a:lnTo>
                  <a:lnTo>
                    <a:pt x="18" y="84"/>
                  </a:lnTo>
                  <a:lnTo>
                    <a:pt x="16" y="66"/>
                  </a:lnTo>
                  <a:lnTo>
                    <a:pt x="16" y="60"/>
                  </a:lnTo>
                  <a:lnTo>
                    <a:pt x="16" y="58"/>
                  </a:lnTo>
                  <a:lnTo>
                    <a:pt x="16" y="56"/>
                  </a:lnTo>
                  <a:lnTo>
                    <a:pt x="14" y="54"/>
                  </a:lnTo>
                  <a:lnTo>
                    <a:pt x="14" y="52"/>
                  </a:lnTo>
                  <a:lnTo>
                    <a:pt x="12" y="50"/>
                  </a:lnTo>
                  <a:lnTo>
                    <a:pt x="12" y="48"/>
                  </a:lnTo>
                  <a:lnTo>
                    <a:pt x="12" y="46"/>
                  </a:lnTo>
                  <a:lnTo>
                    <a:pt x="10" y="44"/>
                  </a:lnTo>
                  <a:lnTo>
                    <a:pt x="10" y="40"/>
                  </a:lnTo>
                  <a:lnTo>
                    <a:pt x="10" y="38"/>
                  </a:lnTo>
                  <a:lnTo>
                    <a:pt x="10" y="36"/>
                  </a:lnTo>
                  <a:lnTo>
                    <a:pt x="10" y="34"/>
                  </a:lnTo>
                  <a:lnTo>
                    <a:pt x="8" y="32"/>
                  </a:lnTo>
                  <a:lnTo>
                    <a:pt x="8" y="32"/>
                  </a:lnTo>
                  <a:lnTo>
                    <a:pt x="8" y="30"/>
                  </a:lnTo>
                  <a:lnTo>
                    <a:pt x="6" y="28"/>
                  </a:lnTo>
                  <a:lnTo>
                    <a:pt x="4" y="28"/>
                  </a:lnTo>
                  <a:lnTo>
                    <a:pt x="4" y="26"/>
                  </a:lnTo>
                  <a:lnTo>
                    <a:pt x="2" y="26"/>
                  </a:lnTo>
                  <a:lnTo>
                    <a:pt x="2" y="26"/>
                  </a:lnTo>
                  <a:lnTo>
                    <a:pt x="2" y="26"/>
                  </a:lnTo>
                  <a:lnTo>
                    <a:pt x="2" y="26"/>
                  </a:lnTo>
                  <a:lnTo>
                    <a:pt x="2" y="24"/>
                  </a:lnTo>
                  <a:lnTo>
                    <a:pt x="4" y="24"/>
                  </a:lnTo>
                  <a:lnTo>
                    <a:pt x="4" y="24"/>
                  </a:lnTo>
                  <a:lnTo>
                    <a:pt x="6" y="22"/>
                  </a:lnTo>
                  <a:lnTo>
                    <a:pt x="6" y="22"/>
                  </a:lnTo>
                  <a:lnTo>
                    <a:pt x="6" y="20"/>
                  </a:lnTo>
                  <a:lnTo>
                    <a:pt x="8" y="20"/>
                  </a:lnTo>
                  <a:lnTo>
                    <a:pt x="8" y="20"/>
                  </a:lnTo>
                  <a:lnTo>
                    <a:pt x="8" y="20"/>
                  </a:lnTo>
                  <a:lnTo>
                    <a:pt x="8" y="18"/>
                  </a:lnTo>
                  <a:lnTo>
                    <a:pt x="8" y="18"/>
                  </a:lnTo>
                  <a:lnTo>
                    <a:pt x="6" y="18"/>
                  </a:lnTo>
                  <a:lnTo>
                    <a:pt x="6" y="18"/>
                  </a:lnTo>
                  <a:lnTo>
                    <a:pt x="4" y="16"/>
                  </a:lnTo>
                  <a:lnTo>
                    <a:pt x="2" y="16"/>
                  </a:lnTo>
                  <a:lnTo>
                    <a:pt x="0" y="14"/>
                  </a:lnTo>
                  <a:lnTo>
                    <a:pt x="0" y="14"/>
                  </a:lnTo>
                  <a:lnTo>
                    <a:pt x="0" y="14"/>
                  </a:lnTo>
                  <a:lnTo>
                    <a:pt x="0" y="14"/>
                  </a:lnTo>
                  <a:lnTo>
                    <a:pt x="0" y="12"/>
                  </a:lnTo>
                  <a:lnTo>
                    <a:pt x="0" y="10"/>
                  </a:lnTo>
                  <a:lnTo>
                    <a:pt x="0" y="8"/>
                  </a:lnTo>
                  <a:lnTo>
                    <a:pt x="0" y="6"/>
                  </a:lnTo>
                  <a:lnTo>
                    <a:pt x="0" y="6"/>
                  </a:lnTo>
                  <a:lnTo>
                    <a:pt x="0" y="4"/>
                  </a:lnTo>
                  <a:lnTo>
                    <a:pt x="0" y="4"/>
                  </a:lnTo>
                  <a:lnTo>
                    <a:pt x="0" y="4"/>
                  </a:lnTo>
                  <a:lnTo>
                    <a:pt x="2" y="4"/>
                  </a:lnTo>
                  <a:lnTo>
                    <a:pt x="2" y="4"/>
                  </a:lnTo>
                  <a:lnTo>
                    <a:pt x="2" y="4"/>
                  </a:lnTo>
                  <a:lnTo>
                    <a:pt x="4" y="4"/>
                  </a:lnTo>
                  <a:lnTo>
                    <a:pt x="4" y="4"/>
                  </a:lnTo>
                  <a:lnTo>
                    <a:pt x="6" y="6"/>
                  </a:lnTo>
                  <a:lnTo>
                    <a:pt x="6" y="6"/>
                  </a:lnTo>
                  <a:lnTo>
                    <a:pt x="6" y="8"/>
                  </a:lnTo>
                  <a:lnTo>
                    <a:pt x="8" y="10"/>
                  </a:lnTo>
                  <a:lnTo>
                    <a:pt x="10" y="14"/>
                  </a:lnTo>
                  <a:lnTo>
                    <a:pt x="12" y="16"/>
                  </a:lnTo>
                  <a:lnTo>
                    <a:pt x="12" y="16"/>
                  </a:lnTo>
                  <a:lnTo>
                    <a:pt x="14" y="18"/>
                  </a:lnTo>
                  <a:lnTo>
                    <a:pt x="14" y="18"/>
                  </a:lnTo>
                  <a:lnTo>
                    <a:pt x="16" y="18"/>
                  </a:lnTo>
                  <a:lnTo>
                    <a:pt x="16" y="18"/>
                  </a:lnTo>
                  <a:lnTo>
                    <a:pt x="16" y="18"/>
                  </a:lnTo>
                  <a:lnTo>
                    <a:pt x="18" y="18"/>
                  </a:lnTo>
                  <a:lnTo>
                    <a:pt x="18" y="18"/>
                  </a:lnTo>
                  <a:lnTo>
                    <a:pt x="18" y="18"/>
                  </a:lnTo>
                  <a:lnTo>
                    <a:pt x="20" y="16"/>
                  </a:lnTo>
                  <a:lnTo>
                    <a:pt x="20" y="14"/>
                  </a:lnTo>
                  <a:lnTo>
                    <a:pt x="22" y="12"/>
                  </a:lnTo>
                  <a:lnTo>
                    <a:pt x="22" y="10"/>
                  </a:lnTo>
                  <a:lnTo>
                    <a:pt x="24" y="8"/>
                  </a:lnTo>
                  <a:lnTo>
                    <a:pt x="24" y="6"/>
                  </a:lnTo>
                  <a:lnTo>
                    <a:pt x="26" y="6"/>
                  </a:lnTo>
                  <a:lnTo>
                    <a:pt x="30" y="4"/>
                  </a:lnTo>
                  <a:lnTo>
                    <a:pt x="32" y="2"/>
                  </a:lnTo>
                  <a:lnTo>
                    <a:pt x="34" y="2"/>
                  </a:lnTo>
                  <a:lnTo>
                    <a:pt x="36" y="0"/>
                  </a:lnTo>
                  <a:lnTo>
                    <a:pt x="38" y="0"/>
                  </a:lnTo>
                  <a:lnTo>
                    <a:pt x="38" y="0"/>
                  </a:lnTo>
                  <a:lnTo>
                    <a:pt x="40" y="0"/>
                  </a:lnTo>
                  <a:lnTo>
                    <a:pt x="42" y="2"/>
                  </a:lnTo>
                  <a:lnTo>
                    <a:pt x="42" y="2"/>
                  </a:lnTo>
                  <a:lnTo>
                    <a:pt x="44" y="2"/>
                  </a:lnTo>
                  <a:lnTo>
                    <a:pt x="46" y="2"/>
                  </a:lnTo>
                  <a:lnTo>
                    <a:pt x="48" y="4"/>
                  </a:lnTo>
                  <a:lnTo>
                    <a:pt x="48" y="4"/>
                  </a:lnTo>
                  <a:lnTo>
                    <a:pt x="50" y="6"/>
                  </a:lnTo>
                  <a:lnTo>
                    <a:pt x="50" y="6"/>
                  </a:lnTo>
                  <a:lnTo>
                    <a:pt x="50" y="6"/>
                  </a:lnTo>
                  <a:lnTo>
                    <a:pt x="50" y="8"/>
                  </a:lnTo>
                  <a:lnTo>
                    <a:pt x="50" y="8"/>
                  </a:lnTo>
                  <a:lnTo>
                    <a:pt x="50" y="10"/>
                  </a:lnTo>
                  <a:lnTo>
                    <a:pt x="50" y="12"/>
                  </a:lnTo>
                  <a:lnTo>
                    <a:pt x="50" y="14"/>
                  </a:lnTo>
                  <a:lnTo>
                    <a:pt x="50" y="14"/>
                  </a:lnTo>
                  <a:lnTo>
                    <a:pt x="50" y="14"/>
                  </a:lnTo>
                  <a:lnTo>
                    <a:pt x="50" y="14"/>
                  </a:lnTo>
                  <a:lnTo>
                    <a:pt x="50" y="16"/>
                  </a:lnTo>
                  <a:lnTo>
                    <a:pt x="50" y="16"/>
                  </a:lnTo>
                  <a:lnTo>
                    <a:pt x="52" y="16"/>
                  </a:lnTo>
                  <a:lnTo>
                    <a:pt x="54" y="18"/>
                  </a:lnTo>
                  <a:lnTo>
                    <a:pt x="58" y="18"/>
                  </a:lnTo>
                  <a:lnTo>
                    <a:pt x="62" y="18"/>
                  </a:lnTo>
                  <a:lnTo>
                    <a:pt x="62" y="20"/>
                  </a:lnTo>
                  <a:lnTo>
                    <a:pt x="66" y="20"/>
                  </a:lnTo>
                  <a:lnTo>
                    <a:pt x="68" y="22"/>
                  </a:lnTo>
                  <a:lnTo>
                    <a:pt x="70" y="22"/>
                  </a:lnTo>
                  <a:lnTo>
                    <a:pt x="74" y="24"/>
                  </a:lnTo>
                  <a:lnTo>
                    <a:pt x="76" y="24"/>
                  </a:lnTo>
                  <a:lnTo>
                    <a:pt x="78" y="26"/>
                  </a:lnTo>
                  <a:lnTo>
                    <a:pt x="80" y="26"/>
                  </a:lnTo>
                  <a:lnTo>
                    <a:pt x="80" y="26"/>
                  </a:lnTo>
                  <a:lnTo>
                    <a:pt x="82" y="24"/>
                  </a:lnTo>
                  <a:lnTo>
                    <a:pt x="82" y="24"/>
                  </a:lnTo>
                  <a:lnTo>
                    <a:pt x="82" y="24"/>
                  </a:lnTo>
                  <a:lnTo>
                    <a:pt x="82" y="24"/>
                  </a:lnTo>
                  <a:lnTo>
                    <a:pt x="82" y="22"/>
                  </a:lnTo>
                  <a:lnTo>
                    <a:pt x="82" y="22"/>
                  </a:lnTo>
                  <a:lnTo>
                    <a:pt x="82" y="20"/>
                  </a:lnTo>
                  <a:lnTo>
                    <a:pt x="82" y="18"/>
                  </a:lnTo>
                  <a:lnTo>
                    <a:pt x="82" y="16"/>
                  </a:lnTo>
                  <a:lnTo>
                    <a:pt x="82" y="14"/>
                  </a:lnTo>
                  <a:lnTo>
                    <a:pt x="84" y="14"/>
                  </a:lnTo>
                  <a:lnTo>
                    <a:pt x="84" y="14"/>
                  </a:lnTo>
                  <a:lnTo>
                    <a:pt x="84" y="14"/>
                  </a:lnTo>
                  <a:lnTo>
                    <a:pt x="86" y="12"/>
                  </a:lnTo>
                  <a:lnTo>
                    <a:pt x="86" y="12"/>
                  </a:lnTo>
                  <a:lnTo>
                    <a:pt x="88" y="12"/>
                  </a:lnTo>
                  <a:lnTo>
                    <a:pt x="90" y="12"/>
                  </a:lnTo>
                  <a:lnTo>
                    <a:pt x="92" y="12"/>
                  </a:lnTo>
                  <a:lnTo>
                    <a:pt x="94" y="12"/>
                  </a:lnTo>
                  <a:lnTo>
                    <a:pt x="94" y="10"/>
                  </a:lnTo>
                  <a:lnTo>
                    <a:pt x="96" y="10"/>
                  </a:lnTo>
                  <a:lnTo>
                    <a:pt x="98" y="8"/>
                  </a:lnTo>
                  <a:lnTo>
                    <a:pt x="100" y="8"/>
                  </a:lnTo>
                  <a:lnTo>
                    <a:pt x="100" y="6"/>
                  </a:lnTo>
                  <a:lnTo>
                    <a:pt x="102" y="6"/>
                  </a:lnTo>
                  <a:lnTo>
                    <a:pt x="102" y="6"/>
                  </a:lnTo>
                  <a:lnTo>
                    <a:pt x="102" y="6"/>
                  </a:lnTo>
                  <a:lnTo>
                    <a:pt x="104" y="6"/>
                  </a:lnTo>
                  <a:lnTo>
                    <a:pt x="104" y="8"/>
                  </a:lnTo>
                  <a:lnTo>
                    <a:pt x="104" y="8"/>
                  </a:lnTo>
                  <a:lnTo>
                    <a:pt x="106" y="10"/>
                  </a:lnTo>
                  <a:lnTo>
                    <a:pt x="106" y="10"/>
                  </a:lnTo>
                  <a:lnTo>
                    <a:pt x="106" y="14"/>
                  </a:lnTo>
                  <a:lnTo>
                    <a:pt x="106" y="14"/>
                  </a:lnTo>
                  <a:lnTo>
                    <a:pt x="108" y="14"/>
                  </a:lnTo>
                  <a:lnTo>
                    <a:pt x="108" y="16"/>
                  </a:lnTo>
                  <a:lnTo>
                    <a:pt x="110" y="16"/>
                  </a:lnTo>
                  <a:lnTo>
                    <a:pt x="112" y="18"/>
                  </a:lnTo>
                  <a:lnTo>
                    <a:pt x="112" y="18"/>
                  </a:lnTo>
                  <a:lnTo>
                    <a:pt x="114" y="20"/>
                  </a:lnTo>
                  <a:lnTo>
                    <a:pt x="114" y="20"/>
                  </a:lnTo>
                  <a:lnTo>
                    <a:pt x="114" y="20"/>
                  </a:lnTo>
                  <a:lnTo>
                    <a:pt x="114" y="20"/>
                  </a:lnTo>
                  <a:lnTo>
                    <a:pt x="114" y="22"/>
                  </a:lnTo>
                  <a:lnTo>
                    <a:pt x="114" y="22"/>
                  </a:lnTo>
                  <a:lnTo>
                    <a:pt x="114" y="22"/>
                  </a:lnTo>
                  <a:lnTo>
                    <a:pt x="114" y="24"/>
                  </a:lnTo>
                  <a:lnTo>
                    <a:pt x="112" y="24"/>
                  </a:lnTo>
                  <a:lnTo>
                    <a:pt x="112" y="26"/>
                  </a:lnTo>
                  <a:lnTo>
                    <a:pt x="112" y="26"/>
                  </a:lnTo>
                  <a:lnTo>
                    <a:pt x="112" y="28"/>
                  </a:lnTo>
                  <a:lnTo>
                    <a:pt x="112" y="28"/>
                  </a:lnTo>
                  <a:lnTo>
                    <a:pt x="112" y="28"/>
                  </a:lnTo>
                  <a:lnTo>
                    <a:pt x="112" y="28"/>
                  </a:lnTo>
                  <a:lnTo>
                    <a:pt x="112" y="30"/>
                  </a:lnTo>
                  <a:lnTo>
                    <a:pt x="112" y="30"/>
                  </a:lnTo>
                  <a:lnTo>
                    <a:pt x="114" y="30"/>
                  </a:lnTo>
                  <a:lnTo>
                    <a:pt x="116" y="30"/>
                  </a:lnTo>
                  <a:lnTo>
                    <a:pt x="120" y="30"/>
                  </a:lnTo>
                  <a:lnTo>
                    <a:pt x="122" y="30"/>
                  </a:lnTo>
                  <a:lnTo>
                    <a:pt x="124" y="30"/>
                  </a:lnTo>
                  <a:lnTo>
                    <a:pt x="126" y="30"/>
                  </a:lnTo>
                  <a:lnTo>
                    <a:pt x="128" y="30"/>
                  </a:lnTo>
                  <a:lnTo>
                    <a:pt x="130" y="30"/>
                  </a:lnTo>
                  <a:lnTo>
                    <a:pt x="132" y="32"/>
                  </a:lnTo>
                  <a:lnTo>
                    <a:pt x="134" y="32"/>
                  </a:lnTo>
                  <a:lnTo>
                    <a:pt x="136" y="32"/>
                  </a:lnTo>
                  <a:lnTo>
                    <a:pt x="136" y="32"/>
                  </a:lnTo>
                  <a:lnTo>
                    <a:pt x="138" y="34"/>
                  </a:lnTo>
                  <a:lnTo>
                    <a:pt x="138" y="34"/>
                  </a:lnTo>
                  <a:lnTo>
                    <a:pt x="138" y="34"/>
                  </a:lnTo>
                  <a:lnTo>
                    <a:pt x="138" y="36"/>
                  </a:lnTo>
                  <a:lnTo>
                    <a:pt x="138" y="36"/>
                  </a:lnTo>
                  <a:lnTo>
                    <a:pt x="138" y="38"/>
                  </a:lnTo>
                  <a:lnTo>
                    <a:pt x="136" y="38"/>
                  </a:lnTo>
                  <a:lnTo>
                    <a:pt x="136" y="40"/>
                  </a:lnTo>
                  <a:lnTo>
                    <a:pt x="136" y="42"/>
                  </a:lnTo>
                  <a:lnTo>
                    <a:pt x="134" y="44"/>
                  </a:lnTo>
                  <a:lnTo>
                    <a:pt x="134" y="46"/>
                  </a:lnTo>
                  <a:lnTo>
                    <a:pt x="134" y="46"/>
                  </a:lnTo>
                  <a:lnTo>
                    <a:pt x="134" y="46"/>
                  </a:lnTo>
                  <a:lnTo>
                    <a:pt x="134" y="48"/>
                  </a:lnTo>
                  <a:lnTo>
                    <a:pt x="136" y="50"/>
                  </a:lnTo>
                  <a:lnTo>
                    <a:pt x="138" y="52"/>
                  </a:lnTo>
                  <a:lnTo>
                    <a:pt x="140" y="54"/>
                  </a:lnTo>
                  <a:lnTo>
                    <a:pt x="142" y="56"/>
                  </a:lnTo>
                  <a:lnTo>
                    <a:pt x="144" y="60"/>
                  </a:lnTo>
                  <a:lnTo>
                    <a:pt x="146" y="62"/>
                  </a:lnTo>
                  <a:lnTo>
                    <a:pt x="148" y="64"/>
                  </a:lnTo>
                  <a:lnTo>
                    <a:pt x="150" y="66"/>
                  </a:lnTo>
                  <a:lnTo>
                    <a:pt x="154" y="66"/>
                  </a:lnTo>
                  <a:lnTo>
                    <a:pt x="156" y="68"/>
                  </a:lnTo>
                  <a:lnTo>
                    <a:pt x="158" y="70"/>
                  </a:lnTo>
                  <a:lnTo>
                    <a:pt x="162" y="72"/>
                  </a:lnTo>
                  <a:lnTo>
                    <a:pt x="164" y="72"/>
                  </a:lnTo>
                  <a:lnTo>
                    <a:pt x="166" y="72"/>
                  </a:lnTo>
                  <a:lnTo>
                    <a:pt x="168" y="72"/>
                  </a:lnTo>
                  <a:lnTo>
                    <a:pt x="168" y="72"/>
                  </a:lnTo>
                  <a:lnTo>
                    <a:pt x="168" y="72"/>
                  </a:lnTo>
                  <a:lnTo>
                    <a:pt x="170" y="72"/>
                  </a:lnTo>
                  <a:lnTo>
                    <a:pt x="172" y="72"/>
                  </a:lnTo>
                  <a:lnTo>
                    <a:pt x="172" y="70"/>
                  </a:lnTo>
                  <a:lnTo>
                    <a:pt x="174" y="68"/>
                  </a:lnTo>
                  <a:lnTo>
                    <a:pt x="176" y="68"/>
                  </a:lnTo>
                  <a:lnTo>
                    <a:pt x="176" y="68"/>
                  </a:lnTo>
                  <a:lnTo>
                    <a:pt x="176" y="68"/>
                  </a:lnTo>
                  <a:lnTo>
                    <a:pt x="178" y="68"/>
                  </a:lnTo>
                  <a:lnTo>
                    <a:pt x="178" y="68"/>
                  </a:lnTo>
                  <a:lnTo>
                    <a:pt x="180" y="68"/>
                  </a:lnTo>
                  <a:lnTo>
                    <a:pt x="180" y="70"/>
                  </a:lnTo>
                  <a:lnTo>
                    <a:pt x="182" y="70"/>
                  </a:lnTo>
                  <a:lnTo>
                    <a:pt x="182" y="70"/>
                  </a:lnTo>
                  <a:lnTo>
                    <a:pt x="184" y="72"/>
                  </a:lnTo>
                  <a:lnTo>
                    <a:pt x="184" y="72"/>
                  </a:lnTo>
                  <a:lnTo>
                    <a:pt x="184" y="72"/>
                  </a:lnTo>
                  <a:lnTo>
                    <a:pt x="184" y="72"/>
                  </a:lnTo>
                  <a:lnTo>
                    <a:pt x="184" y="74"/>
                  </a:lnTo>
                  <a:lnTo>
                    <a:pt x="184" y="76"/>
                  </a:lnTo>
                  <a:lnTo>
                    <a:pt x="184" y="78"/>
                  </a:lnTo>
                  <a:lnTo>
                    <a:pt x="184" y="80"/>
                  </a:lnTo>
                  <a:lnTo>
                    <a:pt x="182" y="8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2" name="Freeform 140">
              <a:extLst>
                <a:ext uri="{FF2B5EF4-FFF2-40B4-BE49-F238E27FC236}">
                  <a16:creationId xmlns:a16="http://schemas.microsoft.com/office/drawing/2014/main" id="{3E445572-7356-42F0-A59C-125EB36512A6}"/>
                </a:ext>
              </a:extLst>
            </p:cNvPr>
            <p:cNvSpPr>
              <a:spLocks/>
            </p:cNvSpPr>
            <p:nvPr/>
          </p:nvSpPr>
          <p:spPr bwMode="auto">
            <a:xfrm>
              <a:off x="5537091" y="3395653"/>
              <a:ext cx="318702" cy="228634"/>
            </a:xfrm>
            <a:custGeom>
              <a:avLst/>
              <a:gdLst>
                <a:gd name="T0" fmla="*/ 176 w 184"/>
                <a:gd name="T1" fmla="*/ 88 h 132"/>
                <a:gd name="T2" fmla="*/ 164 w 184"/>
                <a:gd name="T3" fmla="*/ 90 h 132"/>
                <a:gd name="T4" fmla="*/ 162 w 184"/>
                <a:gd name="T5" fmla="*/ 96 h 132"/>
                <a:gd name="T6" fmla="*/ 154 w 184"/>
                <a:gd name="T7" fmla="*/ 102 h 132"/>
                <a:gd name="T8" fmla="*/ 150 w 184"/>
                <a:gd name="T9" fmla="*/ 106 h 132"/>
                <a:gd name="T10" fmla="*/ 148 w 184"/>
                <a:gd name="T11" fmla="*/ 116 h 132"/>
                <a:gd name="T12" fmla="*/ 140 w 184"/>
                <a:gd name="T13" fmla="*/ 118 h 132"/>
                <a:gd name="T14" fmla="*/ 128 w 184"/>
                <a:gd name="T15" fmla="*/ 122 h 132"/>
                <a:gd name="T16" fmla="*/ 122 w 184"/>
                <a:gd name="T17" fmla="*/ 122 h 132"/>
                <a:gd name="T18" fmla="*/ 126 w 184"/>
                <a:gd name="T19" fmla="*/ 102 h 132"/>
                <a:gd name="T20" fmla="*/ 122 w 184"/>
                <a:gd name="T21" fmla="*/ 96 h 132"/>
                <a:gd name="T22" fmla="*/ 104 w 184"/>
                <a:gd name="T23" fmla="*/ 88 h 132"/>
                <a:gd name="T24" fmla="*/ 84 w 184"/>
                <a:gd name="T25" fmla="*/ 74 h 132"/>
                <a:gd name="T26" fmla="*/ 74 w 184"/>
                <a:gd name="T27" fmla="*/ 72 h 132"/>
                <a:gd name="T28" fmla="*/ 52 w 184"/>
                <a:gd name="T29" fmla="*/ 66 h 132"/>
                <a:gd name="T30" fmla="*/ 42 w 184"/>
                <a:gd name="T31" fmla="*/ 66 h 132"/>
                <a:gd name="T32" fmla="*/ 38 w 184"/>
                <a:gd name="T33" fmla="*/ 70 h 132"/>
                <a:gd name="T34" fmla="*/ 34 w 184"/>
                <a:gd name="T35" fmla="*/ 78 h 132"/>
                <a:gd name="T36" fmla="*/ 20 w 184"/>
                <a:gd name="T37" fmla="*/ 84 h 132"/>
                <a:gd name="T38" fmla="*/ 14 w 184"/>
                <a:gd name="T39" fmla="*/ 54 h 132"/>
                <a:gd name="T40" fmla="*/ 10 w 184"/>
                <a:gd name="T41" fmla="*/ 40 h 132"/>
                <a:gd name="T42" fmla="*/ 8 w 184"/>
                <a:gd name="T43" fmla="*/ 30 h 132"/>
                <a:gd name="T44" fmla="*/ 2 w 184"/>
                <a:gd name="T45" fmla="*/ 26 h 132"/>
                <a:gd name="T46" fmla="*/ 6 w 184"/>
                <a:gd name="T47" fmla="*/ 22 h 132"/>
                <a:gd name="T48" fmla="*/ 8 w 184"/>
                <a:gd name="T49" fmla="*/ 18 h 132"/>
                <a:gd name="T50" fmla="*/ 0 w 184"/>
                <a:gd name="T51" fmla="*/ 14 h 132"/>
                <a:gd name="T52" fmla="*/ 0 w 184"/>
                <a:gd name="T53" fmla="*/ 6 h 132"/>
                <a:gd name="T54" fmla="*/ 2 w 184"/>
                <a:gd name="T55" fmla="*/ 4 h 132"/>
                <a:gd name="T56" fmla="*/ 6 w 184"/>
                <a:gd name="T57" fmla="*/ 8 h 132"/>
                <a:gd name="T58" fmla="*/ 14 w 184"/>
                <a:gd name="T59" fmla="*/ 18 h 132"/>
                <a:gd name="T60" fmla="*/ 18 w 184"/>
                <a:gd name="T61" fmla="*/ 18 h 132"/>
                <a:gd name="T62" fmla="*/ 24 w 184"/>
                <a:gd name="T63" fmla="*/ 6 h 132"/>
                <a:gd name="T64" fmla="*/ 38 w 184"/>
                <a:gd name="T65" fmla="*/ 0 h 132"/>
                <a:gd name="T66" fmla="*/ 46 w 184"/>
                <a:gd name="T67" fmla="*/ 2 h 132"/>
                <a:gd name="T68" fmla="*/ 50 w 184"/>
                <a:gd name="T69" fmla="*/ 8 h 132"/>
                <a:gd name="T70" fmla="*/ 50 w 184"/>
                <a:gd name="T71" fmla="*/ 14 h 132"/>
                <a:gd name="T72" fmla="*/ 58 w 184"/>
                <a:gd name="T73" fmla="*/ 18 h 132"/>
                <a:gd name="T74" fmla="*/ 74 w 184"/>
                <a:gd name="T75" fmla="*/ 24 h 132"/>
                <a:gd name="T76" fmla="*/ 82 w 184"/>
                <a:gd name="T77" fmla="*/ 24 h 132"/>
                <a:gd name="T78" fmla="*/ 82 w 184"/>
                <a:gd name="T79" fmla="*/ 18 h 132"/>
                <a:gd name="T80" fmla="*/ 86 w 184"/>
                <a:gd name="T81" fmla="*/ 12 h 132"/>
                <a:gd name="T82" fmla="*/ 94 w 184"/>
                <a:gd name="T83" fmla="*/ 10 h 132"/>
                <a:gd name="T84" fmla="*/ 102 w 184"/>
                <a:gd name="T85" fmla="*/ 6 h 132"/>
                <a:gd name="T86" fmla="*/ 106 w 184"/>
                <a:gd name="T87" fmla="*/ 10 h 132"/>
                <a:gd name="T88" fmla="*/ 112 w 184"/>
                <a:gd name="T89" fmla="*/ 18 h 132"/>
                <a:gd name="T90" fmla="*/ 114 w 184"/>
                <a:gd name="T91" fmla="*/ 22 h 132"/>
                <a:gd name="T92" fmla="*/ 112 w 184"/>
                <a:gd name="T93" fmla="*/ 26 h 132"/>
                <a:gd name="T94" fmla="*/ 112 w 184"/>
                <a:gd name="T95" fmla="*/ 30 h 132"/>
                <a:gd name="T96" fmla="*/ 126 w 184"/>
                <a:gd name="T97" fmla="*/ 30 h 132"/>
                <a:gd name="T98" fmla="*/ 136 w 184"/>
                <a:gd name="T99" fmla="*/ 32 h 132"/>
                <a:gd name="T100" fmla="*/ 138 w 184"/>
                <a:gd name="T101" fmla="*/ 38 h 132"/>
                <a:gd name="T102" fmla="*/ 134 w 184"/>
                <a:gd name="T103" fmla="*/ 46 h 132"/>
                <a:gd name="T104" fmla="*/ 142 w 184"/>
                <a:gd name="T105" fmla="*/ 56 h 132"/>
                <a:gd name="T106" fmla="*/ 156 w 184"/>
                <a:gd name="T107" fmla="*/ 68 h 132"/>
                <a:gd name="T108" fmla="*/ 168 w 184"/>
                <a:gd name="T109" fmla="*/ 72 h 132"/>
                <a:gd name="T110" fmla="*/ 176 w 184"/>
                <a:gd name="T111" fmla="*/ 68 h 132"/>
                <a:gd name="T112" fmla="*/ 180 w 184"/>
                <a:gd name="T113" fmla="*/ 70 h 132"/>
                <a:gd name="T114" fmla="*/ 184 w 184"/>
                <a:gd name="T115" fmla="*/ 7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4" h="132">
                  <a:moveTo>
                    <a:pt x="182" y="82"/>
                  </a:moveTo>
                  <a:lnTo>
                    <a:pt x="182" y="82"/>
                  </a:lnTo>
                  <a:lnTo>
                    <a:pt x="180" y="84"/>
                  </a:lnTo>
                  <a:lnTo>
                    <a:pt x="178" y="86"/>
                  </a:lnTo>
                  <a:lnTo>
                    <a:pt x="176" y="88"/>
                  </a:lnTo>
                  <a:lnTo>
                    <a:pt x="176" y="88"/>
                  </a:lnTo>
                  <a:lnTo>
                    <a:pt x="174" y="88"/>
                  </a:lnTo>
                  <a:lnTo>
                    <a:pt x="172" y="88"/>
                  </a:lnTo>
                  <a:lnTo>
                    <a:pt x="170" y="88"/>
                  </a:lnTo>
                  <a:lnTo>
                    <a:pt x="168" y="88"/>
                  </a:lnTo>
                  <a:lnTo>
                    <a:pt x="166" y="90"/>
                  </a:lnTo>
                  <a:lnTo>
                    <a:pt x="164" y="90"/>
                  </a:lnTo>
                  <a:lnTo>
                    <a:pt x="164" y="90"/>
                  </a:lnTo>
                  <a:lnTo>
                    <a:pt x="164" y="90"/>
                  </a:lnTo>
                  <a:lnTo>
                    <a:pt x="164" y="90"/>
                  </a:lnTo>
                  <a:lnTo>
                    <a:pt x="162" y="92"/>
                  </a:lnTo>
                  <a:lnTo>
                    <a:pt x="162" y="94"/>
                  </a:lnTo>
                  <a:lnTo>
                    <a:pt x="162" y="96"/>
                  </a:lnTo>
                  <a:lnTo>
                    <a:pt x="160" y="96"/>
                  </a:lnTo>
                  <a:lnTo>
                    <a:pt x="160" y="98"/>
                  </a:lnTo>
                  <a:lnTo>
                    <a:pt x="160" y="98"/>
                  </a:lnTo>
                  <a:lnTo>
                    <a:pt x="158" y="98"/>
                  </a:lnTo>
                  <a:lnTo>
                    <a:pt x="154" y="100"/>
                  </a:lnTo>
                  <a:lnTo>
                    <a:pt x="154" y="102"/>
                  </a:lnTo>
                  <a:lnTo>
                    <a:pt x="152" y="102"/>
                  </a:lnTo>
                  <a:lnTo>
                    <a:pt x="150" y="102"/>
                  </a:lnTo>
                  <a:lnTo>
                    <a:pt x="150" y="104"/>
                  </a:lnTo>
                  <a:lnTo>
                    <a:pt x="150" y="104"/>
                  </a:lnTo>
                  <a:lnTo>
                    <a:pt x="150" y="104"/>
                  </a:lnTo>
                  <a:lnTo>
                    <a:pt x="150" y="106"/>
                  </a:lnTo>
                  <a:lnTo>
                    <a:pt x="150" y="108"/>
                  </a:lnTo>
                  <a:lnTo>
                    <a:pt x="148" y="110"/>
                  </a:lnTo>
                  <a:lnTo>
                    <a:pt x="148" y="112"/>
                  </a:lnTo>
                  <a:lnTo>
                    <a:pt x="148" y="114"/>
                  </a:lnTo>
                  <a:lnTo>
                    <a:pt x="148" y="114"/>
                  </a:lnTo>
                  <a:lnTo>
                    <a:pt x="148" y="116"/>
                  </a:lnTo>
                  <a:lnTo>
                    <a:pt x="148" y="116"/>
                  </a:lnTo>
                  <a:lnTo>
                    <a:pt x="146" y="116"/>
                  </a:lnTo>
                  <a:lnTo>
                    <a:pt x="146" y="118"/>
                  </a:lnTo>
                  <a:lnTo>
                    <a:pt x="144" y="118"/>
                  </a:lnTo>
                  <a:lnTo>
                    <a:pt x="142" y="118"/>
                  </a:lnTo>
                  <a:lnTo>
                    <a:pt x="140" y="118"/>
                  </a:lnTo>
                  <a:lnTo>
                    <a:pt x="136" y="118"/>
                  </a:lnTo>
                  <a:lnTo>
                    <a:pt x="134" y="120"/>
                  </a:lnTo>
                  <a:lnTo>
                    <a:pt x="134" y="120"/>
                  </a:lnTo>
                  <a:lnTo>
                    <a:pt x="132" y="120"/>
                  </a:lnTo>
                  <a:lnTo>
                    <a:pt x="130" y="120"/>
                  </a:lnTo>
                  <a:lnTo>
                    <a:pt x="128" y="122"/>
                  </a:lnTo>
                  <a:lnTo>
                    <a:pt x="126" y="124"/>
                  </a:lnTo>
                  <a:lnTo>
                    <a:pt x="124" y="126"/>
                  </a:lnTo>
                  <a:lnTo>
                    <a:pt x="122" y="130"/>
                  </a:lnTo>
                  <a:lnTo>
                    <a:pt x="120" y="132"/>
                  </a:lnTo>
                  <a:lnTo>
                    <a:pt x="122" y="128"/>
                  </a:lnTo>
                  <a:lnTo>
                    <a:pt x="122" y="122"/>
                  </a:lnTo>
                  <a:lnTo>
                    <a:pt x="124" y="118"/>
                  </a:lnTo>
                  <a:lnTo>
                    <a:pt x="124" y="112"/>
                  </a:lnTo>
                  <a:lnTo>
                    <a:pt x="126" y="110"/>
                  </a:lnTo>
                  <a:lnTo>
                    <a:pt x="126" y="106"/>
                  </a:lnTo>
                  <a:lnTo>
                    <a:pt x="126" y="104"/>
                  </a:lnTo>
                  <a:lnTo>
                    <a:pt x="126" y="102"/>
                  </a:lnTo>
                  <a:lnTo>
                    <a:pt x="126" y="100"/>
                  </a:lnTo>
                  <a:lnTo>
                    <a:pt x="126" y="100"/>
                  </a:lnTo>
                  <a:lnTo>
                    <a:pt x="124" y="98"/>
                  </a:lnTo>
                  <a:lnTo>
                    <a:pt x="124" y="98"/>
                  </a:lnTo>
                  <a:lnTo>
                    <a:pt x="124" y="96"/>
                  </a:lnTo>
                  <a:lnTo>
                    <a:pt x="122" y="96"/>
                  </a:lnTo>
                  <a:lnTo>
                    <a:pt x="122" y="96"/>
                  </a:lnTo>
                  <a:lnTo>
                    <a:pt x="118" y="94"/>
                  </a:lnTo>
                  <a:lnTo>
                    <a:pt x="116" y="92"/>
                  </a:lnTo>
                  <a:lnTo>
                    <a:pt x="110" y="90"/>
                  </a:lnTo>
                  <a:lnTo>
                    <a:pt x="106" y="90"/>
                  </a:lnTo>
                  <a:lnTo>
                    <a:pt x="104" y="88"/>
                  </a:lnTo>
                  <a:lnTo>
                    <a:pt x="102" y="86"/>
                  </a:lnTo>
                  <a:lnTo>
                    <a:pt x="100" y="84"/>
                  </a:lnTo>
                  <a:lnTo>
                    <a:pt x="94" y="80"/>
                  </a:lnTo>
                  <a:lnTo>
                    <a:pt x="90" y="78"/>
                  </a:lnTo>
                  <a:lnTo>
                    <a:pt x="88" y="76"/>
                  </a:lnTo>
                  <a:lnTo>
                    <a:pt x="84" y="74"/>
                  </a:lnTo>
                  <a:lnTo>
                    <a:pt x="84" y="72"/>
                  </a:lnTo>
                  <a:lnTo>
                    <a:pt x="82" y="72"/>
                  </a:lnTo>
                  <a:lnTo>
                    <a:pt x="80" y="72"/>
                  </a:lnTo>
                  <a:lnTo>
                    <a:pt x="78" y="72"/>
                  </a:lnTo>
                  <a:lnTo>
                    <a:pt x="76" y="72"/>
                  </a:lnTo>
                  <a:lnTo>
                    <a:pt x="74" y="72"/>
                  </a:lnTo>
                  <a:lnTo>
                    <a:pt x="70" y="72"/>
                  </a:lnTo>
                  <a:lnTo>
                    <a:pt x="68" y="70"/>
                  </a:lnTo>
                  <a:lnTo>
                    <a:pt x="66" y="70"/>
                  </a:lnTo>
                  <a:lnTo>
                    <a:pt x="62" y="70"/>
                  </a:lnTo>
                  <a:lnTo>
                    <a:pt x="60" y="70"/>
                  </a:lnTo>
                  <a:lnTo>
                    <a:pt x="52" y="66"/>
                  </a:lnTo>
                  <a:lnTo>
                    <a:pt x="50" y="66"/>
                  </a:lnTo>
                  <a:lnTo>
                    <a:pt x="48" y="66"/>
                  </a:lnTo>
                  <a:lnTo>
                    <a:pt x="46" y="66"/>
                  </a:lnTo>
                  <a:lnTo>
                    <a:pt x="44" y="66"/>
                  </a:lnTo>
                  <a:lnTo>
                    <a:pt x="42" y="66"/>
                  </a:lnTo>
                  <a:lnTo>
                    <a:pt x="42" y="66"/>
                  </a:lnTo>
                  <a:lnTo>
                    <a:pt x="40" y="66"/>
                  </a:lnTo>
                  <a:lnTo>
                    <a:pt x="40" y="66"/>
                  </a:lnTo>
                  <a:lnTo>
                    <a:pt x="40" y="66"/>
                  </a:lnTo>
                  <a:lnTo>
                    <a:pt x="38" y="68"/>
                  </a:lnTo>
                  <a:lnTo>
                    <a:pt x="38" y="68"/>
                  </a:lnTo>
                  <a:lnTo>
                    <a:pt x="38" y="70"/>
                  </a:lnTo>
                  <a:lnTo>
                    <a:pt x="36" y="72"/>
                  </a:lnTo>
                  <a:lnTo>
                    <a:pt x="36" y="74"/>
                  </a:lnTo>
                  <a:lnTo>
                    <a:pt x="36" y="76"/>
                  </a:lnTo>
                  <a:lnTo>
                    <a:pt x="34" y="78"/>
                  </a:lnTo>
                  <a:lnTo>
                    <a:pt x="34" y="78"/>
                  </a:lnTo>
                  <a:lnTo>
                    <a:pt x="34" y="78"/>
                  </a:lnTo>
                  <a:lnTo>
                    <a:pt x="34" y="78"/>
                  </a:lnTo>
                  <a:lnTo>
                    <a:pt x="32" y="80"/>
                  </a:lnTo>
                  <a:lnTo>
                    <a:pt x="30" y="80"/>
                  </a:lnTo>
                  <a:lnTo>
                    <a:pt x="28" y="82"/>
                  </a:lnTo>
                  <a:lnTo>
                    <a:pt x="26" y="82"/>
                  </a:lnTo>
                  <a:lnTo>
                    <a:pt x="20" y="84"/>
                  </a:lnTo>
                  <a:lnTo>
                    <a:pt x="18" y="84"/>
                  </a:lnTo>
                  <a:lnTo>
                    <a:pt x="16" y="66"/>
                  </a:lnTo>
                  <a:lnTo>
                    <a:pt x="16" y="60"/>
                  </a:lnTo>
                  <a:lnTo>
                    <a:pt x="16" y="58"/>
                  </a:lnTo>
                  <a:lnTo>
                    <a:pt x="16" y="56"/>
                  </a:lnTo>
                  <a:lnTo>
                    <a:pt x="14" y="54"/>
                  </a:lnTo>
                  <a:lnTo>
                    <a:pt x="14" y="52"/>
                  </a:lnTo>
                  <a:lnTo>
                    <a:pt x="12" y="50"/>
                  </a:lnTo>
                  <a:lnTo>
                    <a:pt x="12" y="48"/>
                  </a:lnTo>
                  <a:lnTo>
                    <a:pt x="12" y="46"/>
                  </a:lnTo>
                  <a:lnTo>
                    <a:pt x="10" y="44"/>
                  </a:lnTo>
                  <a:lnTo>
                    <a:pt x="10" y="40"/>
                  </a:lnTo>
                  <a:lnTo>
                    <a:pt x="10" y="38"/>
                  </a:lnTo>
                  <a:lnTo>
                    <a:pt x="10" y="36"/>
                  </a:lnTo>
                  <a:lnTo>
                    <a:pt x="10" y="34"/>
                  </a:lnTo>
                  <a:lnTo>
                    <a:pt x="8" y="32"/>
                  </a:lnTo>
                  <a:lnTo>
                    <a:pt x="8" y="32"/>
                  </a:lnTo>
                  <a:lnTo>
                    <a:pt x="8" y="30"/>
                  </a:lnTo>
                  <a:lnTo>
                    <a:pt x="6" y="28"/>
                  </a:lnTo>
                  <a:lnTo>
                    <a:pt x="4" y="28"/>
                  </a:lnTo>
                  <a:lnTo>
                    <a:pt x="4" y="26"/>
                  </a:lnTo>
                  <a:lnTo>
                    <a:pt x="2" y="26"/>
                  </a:lnTo>
                  <a:lnTo>
                    <a:pt x="2" y="26"/>
                  </a:lnTo>
                  <a:lnTo>
                    <a:pt x="2" y="26"/>
                  </a:lnTo>
                  <a:lnTo>
                    <a:pt x="2" y="26"/>
                  </a:lnTo>
                  <a:lnTo>
                    <a:pt x="2" y="24"/>
                  </a:lnTo>
                  <a:lnTo>
                    <a:pt x="4" y="24"/>
                  </a:lnTo>
                  <a:lnTo>
                    <a:pt x="4" y="24"/>
                  </a:lnTo>
                  <a:lnTo>
                    <a:pt x="6" y="22"/>
                  </a:lnTo>
                  <a:lnTo>
                    <a:pt x="6" y="22"/>
                  </a:lnTo>
                  <a:lnTo>
                    <a:pt x="6" y="20"/>
                  </a:lnTo>
                  <a:lnTo>
                    <a:pt x="8" y="20"/>
                  </a:lnTo>
                  <a:lnTo>
                    <a:pt x="8" y="20"/>
                  </a:lnTo>
                  <a:lnTo>
                    <a:pt x="8" y="20"/>
                  </a:lnTo>
                  <a:lnTo>
                    <a:pt x="8" y="18"/>
                  </a:lnTo>
                  <a:lnTo>
                    <a:pt x="8" y="18"/>
                  </a:lnTo>
                  <a:lnTo>
                    <a:pt x="6" y="18"/>
                  </a:lnTo>
                  <a:lnTo>
                    <a:pt x="6" y="18"/>
                  </a:lnTo>
                  <a:lnTo>
                    <a:pt x="4" y="16"/>
                  </a:lnTo>
                  <a:lnTo>
                    <a:pt x="2" y="16"/>
                  </a:lnTo>
                  <a:lnTo>
                    <a:pt x="0" y="14"/>
                  </a:lnTo>
                  <a:lnTo>
                    <a:pt x="0" y="14"/>
                  </a:lnTo>
                  <a:lnTo>
                    <a:pt x="0" y="14"/>
                  </a:lnTo>
                  <a:lnTo>
                    <a:pt x="0" y="14"/>
                  </a:lnTo>
                  <a:lnTo>
                    <a:pt x="0" y="12"/>
                  </a:lnTo>
                  <a:lnTo>
                    <a:pt x="0" y="10"/>
                  </a:lnTo>
                  <a:lnTo>
                    <a:pt x="0" y="8"/>
                  </a:lnTo>
                  <a:lnTo>
                    <a:pt x="0" y="6"/>
                  </a:lnTo>
                  <a:lnTo>
                    <a:pt x="0" y="6"/>
                  </a:lnTo>
                  <a:lnTo>
                    <a:pt x="0" y="4"/>
                  </a:lnTo>
                  <a:lnTo>
                    <a:pt x="0" y="4"/>
                  </a:lnTo>
                  <a:lnTo>
                    <a:pt x="0" y="4"/>
                  </a:lnTo>
                  <a:lnTo>
                    <a:pt x="2" y="4"/>
                  </a:lnTo>
                  <a:lnTo>
                    <a:pt x="2" y="4"/>
                  </a:lnTo>
                  <a:lnTo>
                    <a:pt x="2" y="4"/>
                  </a:lnTo>
                  <a:lnTo>
                    <a:pt x="4" y="4"/>
                  </a:lnTo>
                  <a:lnTo>
                    <a:pt x="4" y="4"/>
                  </a:lnTo>
                  <a:lnTo>
                    <a:pt x="6" y="6"/>
                  </a:lnTo>
                  <a:lnTo>
                    <a:pt x="6" y="6"/>
                  </a:lnTo>
                  <a:lnTo>
                    <a:pt x="6" y="8"/>
                  </a:lnTo>
                  <a:lnTo>
                    <a:pt x="8" y="10"/>
                  </a:lnTo>
                  <a:lnTo>
                    <a:pt x="10" y="14"/>
                  </a:lnTo>
                  <a:lnTo>
                    <a:pt x="12" y="16"/>
                  </a:lnTo>
                  <a:lnTo>
                    <a:pt x="12" y="16"/>
                  </a:lnTo>
                  <a:lnTo>
                    <a:pt x="14" y="18"/>
                  </a:lnTo>
                  <a:lnTo>
                    <a:pt x="14" y="18"/>
                  </a:lnTo>
                  <a:lnTo>
                    <a:pt x="16" y="18"/>
                  </a:lnTo>
                  <a:lnTo>
                    <a:pt x="16" y="18"/>
                  </a:lnTo>
                  <a:lnTo>
                    <a:pt x="16" y="18"/>
                  </a:lnTo>
                  <a:lnTo>
                    <a:pt x="18" y="18"/>
                  </a:lnTo>
                  <a:lnTo>
                    <a:pt x="18" y="18"/>
                  </a:lnTo>
                  <a:lnTo>
                    <a:pt x="18" y="18"/>
                  </a:lnTo>
                  <a:lnTo>
                    <a:pt x="20" y="16"/>
                  </a:lnTo>
                  <a:lnTo>
                    <a:pt x="20" y="14"/>
                  </a:lnTo>
                  <a:lnTo>
                    <a:pt x="22" y="12"/>
                  </a:lnTo>
                  <a:lnTo>
                    <a:pt x="22" y="10"/>
                  </a:lnTo>
                  <a:lnTo>
                    <a:pt x="24" y="8"/>
                  </a:lnTo>
                  <a:lnTo>
                    <a:pt x="24" y="6"/>
                  </a:lnTo>
                  <a:lnTo>
                    <a:pt x="26" y="6"/>
                  </a:lnTo>
                  <a:lnTo>
                    <a:pt x="30" y="4"/>
                  </a:lnTo>
                  <a:lnTo>
                    <a:pt x="32" y="2"/>
                  </a:lnTo>
                  <a:lnTo>
                    <a:pt x="34" y="2"/>
                  </a:lnTo>
                  <a:lnTo>
                    <a:pt x="36" y="0"/>
                  </a:lnTo>
                  <a:lnTo>
                    <a:pt x="38" y="0"/>
                  </a:lnTo>
                  <a:lnTo>
                    <a:pt x="38" y="0"/>
                  </a:lnTo>
                  <a:lnTo>
                    <a:pt x="40" y="0"/>
                  </a:lnTo>
                  <a:lnTo>
                    <a:pt x="42" y="2"/>
                  </a:lnTo>
                  <a:lnTo>
                    <a:pt x="42" y="2"/>
                  </a:lnTo>
                  <a:lnTo>
                    <a:pt x="44" y="2"/>
                  </a:lnTo>
                  <a:lnTo>
                    <a:pt x="46" y="2"/>
                  </a:lnTo>
                  <a:lnTo>
                    <a:pt x="48" y="4"/>
                  </a:lnTo>
                  <a:lnTo>
                    <a:pt x="48" y="4"/>
                  </a:lnTo>
                  <a:lnTo>
                    <a:pt x="50" y="6"/>
                  </a:lnTo>
                  <a:lnTo>
                    <a:pt x="50" y="6"/>
                  </a:lnTo>
                  <a:lnTo>
                    <a:pt x="50" y="6"/>
                  </a:lnTo>
                  <a:lnTo>
                    <a:pt x="50" y="8"/>
                  </a:lnTo>
                  <a:lnTo>
                    <a:pt x="50" y="8"/>
                  </a:lnTo>
                  <a:lnTo>
                    <a:pt x="50" y="10"/>
                  </a:lnTo>
                  <a:lnTo>
                    <a:pt x="50" y="12"/>
                  </a:lnTo>
                  <a:lnTo>
                    <a:pt x="50" y="14"/>
                  </a:lnTo>
                  <a:lnTo>
                    <a:pt x="50" y="14"/>
                  </a:lnTo>
                  <a:lnTo>
                    <a:pt x="50" y="14"/>
                  </a:lnTo>
                  <a:lnTo>
                    <a:pt x="50" y="14"/>
                  </a:lnTo>
                  <a:lnTo>
                    <a:pt x="50" y="16"/>
                  </a:lnTo>
                  <a:lnTo>
                    <a:pt x="50" y="16"/>
                  </a:lnTo>
                  <a:lnTo>
                    <a:pt x="52" y="16"/>
                  </a:lnTo>
                  <a:lnTo>
                    <a:pt x="54" y="18"/>
                  </a:lnTo>
                  <a:lnTo>
                    <a:pt x="58" y="18"/>
                  </a:lnTo>
                  <a:lnTo>
                    <a:pt x="62" y="18"/>
                  </a:lnTo>
                  <a:lnTo>
                    <a:pt x="62" y="20"/>
                  </a:lnTo>
                  <a:lnTo>
                    <a:pt x="66" y="20"/>
                  </a:lnTo>
                  <a:lnTo>
                    <a:pt x="68" y="22"/>
                  </a:lnTo>
                  <a:lnTo>
                    <a:pt x="70" y="22"/>
                  </a:lnTo>
                  <a:lnTo>
                    <a:pt x="74" y="24"/>
                  </a:lnTo>
                  <a:lnTo>
                    <a:pt x="76" y="24"/>
                  </a:lnTo>
                  <a:lnTo>
                    <a:pt x="78" y="26"/>
                  </a:lnTo>
                  <a:lnTo>
                    <a:pt x="80" y="26"/>
                  </a:lnTo>
                  <a:lnTo>
                    <a:pt x="80" y="26"/>
                  </a:lnTo>
                  <a:lnTo>
                    <a:pt x="82" y="24"/>
                  </a:lnTo>
                  <a:lnTo>
                    <a:pt x="82" y="24"/>
                  </a:lnTo>
                  <a:lnTo>
                    <a:pt x="82" y="24"/>
                  </a:lnTo>
                  <a:lnTo>
                    <a:pt x="82" y="24"/>
                  </a:lnTo>
                  <a:lnTo>
                    <a:pt x="82" y="22"/>
                  </a:lnTo>
                  <a:lnTo>
                    <a:pt x="82" y="22"/>
                  </a:lnTo>
                  <a:lnTo>
                    <a:pt x="82" y="20"/>
                  </a:lnTo>
                  <a:lnTo>
                    <a:pt x="82" y="18"/>
                  </a:lnTo>
                  <a:lnTo>
                    <a:pt x="82" y="16"/>
                  </a:lnTo>
                  <a:lnTo>
                    <a:pt x="82" y="14"/>
                  </a:lnTo>
                  <a:lnTo>
                    <a:pt x="84" y="14"/>
                  </a:lnTo>
                  <a:lnTo>
                    <a:pt x="84" y="14"/>
                  </a:lnTo>
                  <a:lnTo>
                    <a:pt x="84" y="14"/>
                  </a:lnTo>
                  <a:lnTo>
                    <a:pt x="86" y="12"/>
                  </a:lnTo>
                  <a:lnTo>
                    <a:pt x="86" y="12"/>
                  </a:lnTo>
                  <a:lnTo>
                    <a:pt x="88" y="12"/>
                  </a:lnTo>
                  <a:lnTo>
                    <a:pt x="90" y="12"/>
                  </a:lnTo>
                  <a:lnTo>
                    <a:pt x="92" y="12"/>
                  </a:lnTo>
                  <a:lnTo>
                    <a:pt x="94" y="12"/>
                  </a:lnTo>
                  <a:lnTo>
                    <a:pt x="94" y="10"/>
                  </a:lnTo>
                  <a:lnTo>
                    <a:pt x="96" y="10"/>
                  </a:lnTo>
                  <a:lnTo>
                    <a:pt x="98" y="8"/>
                  </a:lnTo>
                  <a:lnTo>
                    <a:pt x="100" y="8"/>
                  </a:lnTo>
                  <a:lnTo>
                    <a:pt x="100" y="6"/>
                  </a:lnTo>
                  <a:lnTo>
                    <a:pt x="102" y="6"/>
                  </a:lnTo>
                  <a:lnTo>
                    <a:pt x="102" y="6"/>
                  </a:lnTo>
                  <a:lnTo>
                    <a:pt x="102" y="6"/>
                  </a:lnTo>
                  <a:lnTo>
                    <a:pt x="104" y="6"/>
                  </a:lnTo>
                  <a:lnTo>
                    <a:pt x="104" y="8"/>
                  </a:lnTo>
                  <a:lnTo>
                    <a:pt x="104" y="8"/>
                  </a:lnTo>
                  <a:lnTo>
                    <a:pt x="106" y="10"/>
                  </a:lnTo>
                  <a:lnTo>
                    <a:pt x="106" y="10"/>
                  </a:lnTo>
                  <a:lnTo>
                    <a:pt x="106" y="14"/>
                  </a:lnTo>
                  <a:lnTo>
                    <a:pt x="106" y="14"/>
                  </a:lnTo>
                  <a:lnTo>
                    <a:pt x="108" y="14"/>
                  </a:lnTo>
                  <a:lnTo>
                    <a:pt x="108" y="16"/>
                  </a:lnTo>
                  <a:lnTo>
                    <a:pt x="110" y="16"/>
                  </a:lnTo>
                  <a:lnTo>
                    <a:pt x="112" y="18"/>
                  </a:lnTo>
                  <a:lnTo>
                    <a:pt x="112" y="18"/>
                  </a:lnTo>
                  <a:lnTo>
                    <a:pt x="114" y="20"/>
                  </a:lnTo>
                  <a:lnTo>
                    <a:pt x="114" y="20"/>
                  </a:lnTo>
                  <a:lnTo>
                    <a:pt x="114" y="20"/>
                  </a:lnTo>
                  <a:lnTo>
                    <a:pt x="114" y="20"/>
                  </a:lnTo>
                  <a:lnTo>
                    <a:pt x="114" y="22"/>
                  </a:lnTo>
                  <a:lnTo>
                    <a:pt x="114" y="22"/>
                  </a:lnTo>
                  <a:lnTo>
                    <a:pt x="114" y="22"/>
                  </a:lnTo>
                  <a:lnTo>
                    <a:pt x="114" y="24"/>
                  </a:lnTo>
                  <a:lnTo>
                    <a:pt x="112" y="24"/>
                  </a:lnTo>
                  <a:lnTo>
                    <a:pt x="112" y="26"/>
                  </a:lnTo>
                  <a:lnTo>
                    <a:pt x="112" y="26"/>
                  </a:lnTo>
                  <a:lnTo>
                    <a:pt x="112" y="28"/>
                  </a:lnTo>
                  <a:lnTo>
                    <a:pt x="112" y="28"/>
                  </a:lnTo>
                  <a:lnTo>
                    <a:pt x="112" y="28"/>
                  </a:lnTo>
                  <a:lnTo>
                    <a:pt x="112" y="28"/>
                  </a:lnTo>
                  <a:lnTo>
                    <a:pt x="112" y="30"/>
                  </a:lnTo>
                  <a:lnTo>
                    <a:pt x="112" y="30"/>
                  </a:lnTo>
                  <a:lnTo>
                    <a:pt x="114" y="30"/>
                  </a:lnTo>
                  <a:lnTo>
                    <a:pt x="116" y="30"/>
                  </a:lnTo>
                  <a:lnTo>
                    <a:pt x="120" y="30"/>
                  </a:lnTo>
                  <a:lnTo>
                    <a:pt x="122" y="30"/>
                  </a:lnTo>
                  <a:lnTo>
                    <a:pt x="124" y="30"/>
                  </a:lnTo>
                  <a:lnTo>
                    <a:pt x="126" y="30"/>
                  </a:lnTo>
                  <a:lnTo>
                    <a:pt x="128" y="30"/>
                  </a:lnTo>
                  <a:lnTo>
                    <a:pt x="130" y="30"/>
                  </a:lnTo>
                  <a:lnTo>
                    <a:pt x="132" y="32"/>
                  </a:lnTo>
                  <a:lnTo>
                    <a:pt x="134" y="32"/>
                  </a:lnTo>
                  <a:lnTo>
                    <a:pt x="136" y="32"/>
                  </a:lnTo>
                  <a:lnTo>
                    <a:pt x="136" y="32"/>
                  </a:lnTo>
                  <a:lnTo>
                    <a:pt x="138" y="34"/>
                  </a:lnTo>
                  <a:lnTo>
                    <a:pt x="138" y="34"/>
                  </a:lnTo>
                  <a:lnTo>
                    <a:pt x="138" y="34"/>
                  </a:lnTo>
                  <a:lnTo>
                    <a:pt x="138" y="36"/>
                  </a:lnTo>
                  <a:lnTo>
                    <a:pt x="138" y="36"/>
                  </a:lnTo>
                  <a:lnTo>
                    <a:pt x="138" y="38"/>
                  </a:lnTo>
                  <a:lnTo>
                    <a:pt x="136" y="38"/>
                  </a:lnTo>
                  <a:lnTo>
                    <a:pt x="136" y="40"/>
                  </a:lnTo>
                  <a:lnTo>
                    <a:pt x="136" y="42"/>
                  </a:lnTo>
                  <a:lnTo>
                    <a:pt x="134" y="44"/>
                  </a:lnTo>
                  <a:lnTo>
                    <a:pt x="134" y="46"/>
                  </a:lnTo>
                  <a:lnTo>
                    <a:pt x="134" y="46"/>
                  </a:lnTo>
                  <a:lnTo>
                    <a:pt x="134" y="46"/>
                  </a:lnTo>
                  <a:lnTo>
                    <a:pt x="134" y="48"/>
                  </a:lnTo>
                  <a:lnTo>
                    <a:pt x="136" y="50"/>
                  </a:lnTo>
                  <a:lnTo>
                    <a:pt x="138" y="52"/>
                  </a:lnTo>
                  <a:lnTo>
                    <a:pt x="140" y="54"/>
                  </a:lnTo>
                  <a:lnTo>
                    <a:pt x="142" y="56"/>
                  </a:lnTo>
                  <a:lnTo>
                    <a:pt x="144" y="60"/>
                  </a:lnTo>
                  <a:lnTo>
                    <a:pt x="146" y="62"/>
                  </a:lnTo>
                  <a:lnTo>
                    <a:pt x="148" y="64"/>
                  </a:lnTo>
                  <a:lnTo>
                    <a:pt x="150" y="66"/>
                  </a:lnTo>
                  <a:lnTo>
                    <a:pt x="154" y="66"/>
                  </a:lnTo>
                  <a:lnTo>
                    <a:pt x="156" y="68"/>
                  </a:lnTo>
                  <a:lnTo>
                    <a:pt x="158" y="70"/>
                  </a:lnTo>
                  <a:lnTo>
                    <a:pt x="162" y="72"/>
                  </a:lnTo>
                  <a:lnTo>
                    <a:pt x="164" y="72"/>
                  </a:lnTo>
                  <a:lnTo>
                    <a:pt x="166" y="72"/>
                  </a:lnTo>
                  <a:lnTo>
                    <a:pt x="168" y="72"/>
                  </a:lnTo>
                  <a:lnTo>
                    <a:pt x="168" y="72"/>
                  </a:lnTo>
                  <a:lnTo>
                    <a:pt x="168" y="72"/>
                  </a:lnTo>
                  <a:lnTo>
                    <a:pt x="170" y="72"/>
                  </a:lnTo>
                  <a:lnTo>
                    <a:pt x="172" y="72"/>
                  </a:lnTo>
                  <a:lnTo>
                    <a:pt x="172" y="70"/>
                  </a:lnTo>
                  <a:lnTo>
                    <a:pt x="174" y="68"/>
                  </a:lnTo>
                  <a:lnTo>
                    <a:pt x="176" y="68"/>
                  </a:lnTo>
                  <a:lnTo>
                    <a:pt x="176" y="68"/>
                  </a:lnTo>
                  <a:lnTo>
                    <a:pt x="176" y="68"/>
                  </a:lnTo>
                  <a:lnTo>
                    <a:pt x="178" y="68"/>
                  </a:lnTo>
                  <a:lnTo>
                    <a:pt x="178" y="68"/>
                  </a:lnTo>
                  <a:lnTo>
                    <a:pt x="180" y="68"/>
                  </a:lnTo>
                  <a:lnTo>
                    <a:pt x="180" y="70"/>
                  </a:lnTo>
                  <a:lnTo>
                    <a:pt x="182" y="70"/>
                  </a:lnTo>
                  <a:lnTo>
                    <a:pt x="182" y="70"/>
                  </a:lnTo>
                  <a:lnTo>
                    <a:pt x="184" y="72"/>
                  </a:lnTo>
                  <a:lnTo>
                    <a:pt x="184" y="72"/>
                  </a:lnTo>
                  <a:lnTo>
                    <a:pt x="184" y="72"/>
                  </a:lnTo>
                  <a:lnTo>
                    <a:pt x="184" y="72"/>
                  </a:lnTo>
                  <a:lnTo>
                    <a:pt x="184" y="74"/>
                  </a:lnTo>
                  <a:lnTo>
                    <a:pt x="184" y="76"/>
                  </a:lnTo>
                  <a:lnTo>
                    <a:pt x="184" y="78"/>
                  </a:lnTo>
                  <a:lnTo>
                    <a:pt x="184" y="80"/>
                  </a:lnTo>
                  <a:lnTo>
                    <a:pt x="182" y="8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3" name="Freeform 141">
              <a:extLst>
                <a:ext uri="{FF2B5EF4-FFF2-40B4-BE49-F238E27FC236}">
                  <a16:creationId xmlns:a16="http://schemas.microsoft.com/office/drawing/2014/main" id="{FB6D2426-F230-40DC-BD07-0FC8A7DFE703}"/>
                </a:ext>
              </a:extLst>
            </p:cNvPr>
            <p:cNvSpPr>
              <a:spLocks/>
            </p:cNvSpPr>
            <p:nvPr/>
          </p:nvSpPr>
          <p:spPr bwMode="auto">
            <a:xfrm>
              <a:off x="5904291" y="3430294"/>
              <a:ext cx="204385" cy="128174"/>
            </a:xfrm>
            <a:custGeom>
              <a:avLst/>
              <a:gdLst>
                <a:gd name="T0" fmla="*/ 32 w 118"/>
                <a:gd name="T1" fmla="*/ 16 h 74"/>
                <a:gd name="T2" fmla="*/ 28 w 118"/>
                <a:gd name="T3" fmla="*/ 24 h 74"/>
                <a:gd name="T4" fmla="*/ 22 w 118"/>
                <a:gd name="T5" fmla="*/ 32 h 74"/>
                <a:gd name="T6" fmla="*/ 16 w 118"/>
                <a:gd name="T7" fmla="*/ 40 h 74"/>
                <a:gd name="T8" fmla="*/ 6 w 118"/>
                <a:gd name="T9" fmla="*/ 58 h 74"/>
                <a:gd name="T10" fmla="*/ 6 w 118"/>
                <a:gd name="T11" fmla="*/ 66 h 74"/>
                <a:gd name="T12" fmla="*/ 12 w 118"/>
                <a:gd name="T13" fmla="*/ 64 h 74"/>
                <a:gd name="T14" fmla="*/ 24 w 118"/>
                <a:gd name="T15" fmla="*/ 62 h 74"/>
                <a:gd name="T16" fmla="*/ 30 w 118"/>
                <a:gd name="T17" fmla="*/ 60 h 74"/>
                <a:gd name="T18" fmla="*/ 32 w 118"/>
                <a:gd name="T19" fmla="*/ 58 h 74"/>
                <a:gd name="T20" fmla="*/ 34 w 118"/>
                <a:gd name="T21" fmla="*/ 54 h 74"/>
                <a:gd name="T22" fmla="*/ 36 w 118"/>
                <a:gd name="T23" fmla="*/ 48 h 74"/>
                <a:gd name="T24" fmla="*/ 38 w 118"/>
                <a:gd name="T25" fmla="*/ 48 h 74"/>
                <a:gd name="T26" fmla="*/ 40 w 118"/>
                <a:gd name="T27" fmla="*/ 46 h 74"/>
                <a:gd name="T28" fmla="*/ 42 w 118"/>
                <a:gd name="T29" fmla="*/ 46 h 74"/>
                <a:gd name="T30" fmla="*/ 46 w 118"/>
                <a:gd name="T31" fmla="*/ 48 h 74"/>
                <a:gd name="T32" fmla="*/ 48 w 118"/>
                <a:gd name="T33" fmla="*/ 50 h 74"/>
                <a:gd name="T34" fmla="*/ 50 w 118"/>
                <a:gd name="T35" fmla="*/ 58 h 74"/>
                <a:gd name="T36" fmla="*/ 52 w 118"/>
                <a:gd name="T37" fmla="*/ 64 h 74"/>
                <a:gd name="T38" fmla="*/ 54 w 118"/>
                <a:gd name="T39" fmla="*/ 66 h 74"/>
                <a:gd name="T40" fmla="*/ 58 w 118"/>
                <a:gd name="T41" fmla="*/ 70 h 74"/>
                <a:gd name="T42" fmla="*/ 64 w 118"/>
                <a:gd name="T43" fmla="*/ 72 h 74"/>
                <a:gd name="T44" fmla="*/ 88 w 118"/>
                <a:gd name="T45" fmla="*/ 74 h 74"/>
                <a:gd name="T46" fmla="*/ 100 w 118"/>
                <a:gd name="T47" fmla="*/ 72 h 74"/>
                <a:gd name="T48" fmla="*/ 102 w 118"/>
                <a:gd name="T49" fmla="*/ 64 h 74"/>
                <a:gd name="T50" fmla="*/ 100 w 118"/>
                <a:gd name="T51" fmla="*/ 62 h 74"/>
                <a:gd name="T52" fmla="*/ 100 w 118"/>
                <a:gd name="T53" fmla="*/ 62 h 74"/>
                <a:gd name="T54" fmla="*/ 98 w 118"/>
                <a:gd name="T55" fmla="*/ 64 h 74"/>
                <a:gd name="T56" fmla="*/ 96 w 118"/>
                <a:gd name="T57" fmla="*/ 64 h 74"/>
                <a:gd name="T58" fmla="*/ 88 w 118"/>
                <a:gd name="T59" fmla="*/ 60 h 74"/>
                <a:gd name="T60" fmla="*/ 84 w 118"/>
                <a:gd name="T61" fmla="*/ 56 h 74"/>
                <a:gd name="T62" fmla="*/ 82 w 118"/>
                <a:gd name="T63" fmla="*/ 52 h 74"/>
                <a:gd name="T64" fmla="*/ 82 w 118"/>
                <a:gd name="T65" fmla="*/ 48 h 74"/>
                <a:gd name="T66" fmla="*/ 82 w 118"/>
                <a:gd name="T67" fmla="*/ 38 h 74"/>
                <a:gd name="T68" fmla="*/ 84 w 118"/>
                <a:gd name="T69" fmla="*/ 30 h 74"/>
                <a:gd name="T70" fmla="*/ 88 w 118"/>
                <a:gd name="T71" fmla="*/ 26 h 74"/>
                <a:gd name="T72" fmla="*/ 94 w 118"/>
                <a:gd name="T73" fmla="*/ 22 h 74"/>
                <a:gd name="T74" fmla="*/ 96 w 118"/>
                <a:gd name="T75" fmla="*/ 22 h 74"/>
                <a:gd name="T76" fmla="*/ 100 w 118"/>
                <a:gd name="T77" fmla="*/ 24 h 74"/>
                <a:gd name="T78" fmla="*/ 106 w 118"/>
                <a:gd name="T79" fmla="*/ 26 h 74"/>
                <a:gd name="T80" fmla="*/ 116 w 118"/>
                <a:gd name="T81" fmla="*/ 34 h 74"/>
                <a:gd name="T82" fmla="*/ 116 w 118"/>
                <a:gd name="T83" fmla="*/ 26 h 74"/>
                <a:gd name="T84" fmla="*/ 112 w 118"/>
                <a:gd name="T85" fmla="*/ 12 h 74"/>
                <a:gd name="T86" fmla="*/ 108 w 118"/>
                <a:gd name="T87" fmla="*/ 4 h 74"/>
                <a:gd name="T88" fmla="*/ 106 w 118"/>
                <a:gd name="T89" fmla="*/ 2 h 74"/>
                <a:gd name="T90" fmla="*/ 104 w 118"/>
                <a:gd name="T91" fmla="*/ 0 h 74"/>
                <a:gd name="T92" fmla="*/ 100 w 118"/>
                <a:gd name="T93" fmla="*/ 0 h 74"/>
                <a:gd name="T94" fmla="*/ 98 w 118"/>
                <a:gd name="T95" fmla="*/ 2 h 74"/>
                <a:gd name="T96" fmla="*/ 88 w 118"/>
                <a:gd name="T97" fmla="*/ 10 h 74"/>
                <a:gd name="T98" fmla="*/ 86 w 118"/>
                <a:gd name="T99" fmla="*/ 12 h 74"/>
                <a:gd name="T100" fmla="*/ 76 w 118"/>
                <a:gd name="T101" fmla="*/ 14 h 74"/>
                <a:gd name="T102" fmla="*/ 68 w 118"/>
                <a:gd name="T103" fmla="*/ 14 h 74"/>
                <a:gd name="T104" fmla="*/ 50 w 118"/>
                <a:gd name="T105"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8" h="74">
                  <a:moveTo>
                    <a:pt x="36" y="8"/>
                  </a:moveTo>
                  <a:lnTo>
                    <a:pt x="36" y="8"/>
                  </a:lnTo>
                  <a:lnTo>
                    <a:pt x="32" y="16"/>
                  </a:lnTo>
                  <a:lnTo>
                    <a:pt x="30" y="20"/>
                  </a:lnTo>
                  <a:lnTo>
                    <a:pt x="28" y="22"/>
                  </a:lnTo>
                  <a:lnTo>
                    <a:pt x="28" y="24"/>
                  </a:lnTo>
                  <a:lnTo>
                    <a:pt x="26" y="26"/>
                  </a:lnTo>
                  <a:lnTo>
                    <a:pt x="24" y="28"/>
                  </a:lnTo>
                  <a:lnTo>
                    <a:pt x="22" y="32"/>
                  </a:lnTo>
                  <a:lnTo>
                    <a:pt x="18" y="38"/>
                  </a:lnTo>
                  <a:lnTo>
                    <a:pt x="16" y="38"/>
                  </a:lnTo>
                  <a:lnTo>
                    <a:pt x="16" y="40"/>
                  </a:lnTo>
                  <a:lnTo>
                    <a:pt x="14" y="44"/>
                  </a:lnTo>
                  <a:lnTo>
                    <a:pt x="12" y="48"/>
                  </a:lnTo>
                  <a:lnTo>
                    <a:pt x="6" y="58"/>
                  </a:lnTo>
                  <a:lnTo>
                    <a:pt x="0" y="70"/>
                  </a:lnTo>
                  <a:lnTo>
                    <a:pt x="4" y="68"/>
                  </a:lnTo>
                  <a:lnTo>
                    <a:pt x="6" y="66"/>
                  </a:lnTo>
                  <a:lnTo>
                    <a:pt x="10" y="64"/>
                  </a:lnTo>
                  <a:lnTo>
                    <a:pt x="10" y="64"/>
                  </a:lnTo>
                  <a:lnTo>
                    <a:pt x="12" y="64"/>
                  </a:lnTo>
                  <a:lnTo>
                    <a:pt x="14" y="64"/>
                  </a:lnTo>
                  <a:lnTo>
                    <a:pt x="20" y="62"/>
                  </a:lnTo>
                  <a:lnTo>
                    <a:pt x="24" y="62"/>
                  </a:lnTo>
                  <a:lnTo>
                    <a:pt x="28" y="62"/>
                  </a:lnTo>
                  <a:lnTo>
                    <a:pt x="28" y="60"/>
                  </a:lnTo>
                  <a:lnTo>
                    <a:pt x="30" y="60"/>
                  </a:lnTo>
                  <a:lnTo>
                    <a:pt x="30" y="60"/>
                  </a:lnTo>
                  <a:lnTo>
                    <a:pt x="32" y="60"/>
                  </a:lnTo>
                  <a:lnTo>
                    <a:pt x="32" y="58"/>
                  </a:lnTo>
                  <a:lnTo>
                    <a:pt x="32" y="58"/>
                  </a:lnTo>
                  <a:lnTo>
                    <a:pt x="34" y="56"/>
                  </a:lnTo>
                  <a:lnTo>
                    <a:pt x="34" y="54"/>
                  </a:lnTo>
                  <a:lnTo>
                    <a:pt x="34" y="52"/>
                  </a:lnTo>
                  <a:lnTo>
                    <a:pt x="36" y="50"/>
                  </a:lnTo>
                  <a:lnTo>
                    <a:pt x="36" y="48"/>
                  </a:lnTo>
                  <a:lnTo>
                    <a:pt x="36" y="48"/>
                  </a:lnTo>
                  <a:lnTo>
                    <a:pt x="36" y="48"/>
                  </a:lnTo>
                  <a:lnTo>
                    <a:pt x="38" y="48"/>
                  </a:lnTo>
                  <a:lnTo>
                    <a:pt x="38" y="46"/>
                  </a:lnTo>
                  <a:lnTo>
                    <a:pt x="38" y="46"/>
                  </a:lnTo>
                  <a:lnTo>
                    <a:pt x="40" y="46"/>
                  </a:lnTo>
                  <a:lnTo>
                    <a:pt x="40" y="46"/>
                  </a:lnTo>
                  <a:lnTo>
                    <a:pt x="42" y="46"/>
                  </a:lnTo>
                  <a:lnTo>
                    <a:pt x="42" y="46"/>
                  </a:lnTo>
                  <a:lnTo>
                    <a:pt x="44" y="48"/>
                  </a:lnTo>
                  <a:lnTo>
                    <a:pt x="44" y="48"/>
                  </a:lnTo>
                  <a:lnTo>
                    <a:pt x="46" y="48"/>
                  </a:lnTo>
                  <a:lnTo>
                    <a:pt x="46" y="48"/>
                  </a:lnTo>
                  <a:lnTo>
                    <a:pt x="46" y="50"/>
                  </a:lnTo>
                  <a:lnTo>
                    <a:pt x="48" y="50"/>
                  </a:lnTo>
                  <a:lnTo>
                    <a:pt x="48" y="52"/>
                  </a:lnTo>
                  <a:lnTo>
                    <a:pt x="48" y="54"/>
                  </a:lnTo>
                  <a:lnTo>
                    <a:pt x="50" y="58"/>
                  </a:lnTo>
                  <a:lnTo>
                    <a:pt x="50" y="60"/>
                  </a:lnTo>
                  <a:lnTo>
                    <a:pt x="52" y="62"/>
                  </a:lnTo>
                  <a:lnTo>
                    <a:pt x="52" y="64"/>
                  </a:lnTo>
                  <a:lnTo>
                    <a:pt x="52" y="66"/>
                  </a:lnTo>
                  <a:lnTo>
                    <a:pt x="52" y="66"/>
                  </a:lnTo>
                  <a:lnTo>
                    <a:pt x="54" y="66"/>
                  </a:lnTo>
                  <a:lnTo>
                    <a:pt x="54" y="68"/>
                  </a:lnTo>
                  <a:lnTo>
                    <a:pt x="56" y="70"/>
                  </a:lnTo>
                  <a:lnTo>
                    <a:pt x="58" y="70"/>
                  </a:lnTo>
                  <a:lnTo>
                    <a:pt x="60" y="70"/>
                  </a:lnTo>
                  <a:lnTo>
                    <a:pt x="62" y="72"/>
                  </a:lnTo>
                  <a:lnTo>
                    <a:pt x="64" y="72"/>
                  </a:lnTo>
                  <a:lnTo>
                    <a:pt x="68" y="74"/>
                  </a:lnTo>
                  <a:lnTo>
                    <a:pt x="76" y="74"/>
                  </a:lnTo>
                  <a:lnTo>
                    <a:pt x="88" y="74"/>
                  </a:lnTo>
                  <a:lnTo>
                    <a:pt x="100" y="74"/>
                  </a:lnTo>
                  <a:lnTo>
                    <a:pt x="100" y="72"/>
                  </a:lnTo>
                  <a:lnTo>
                    <a:pt x="100" y="72"/>
                  </a:lnTo>
                  <a:lnTo>
                    <a:pt x="102" y="68"/>
                  </a:lnTo>
                  <a:lnTo>
                    <a:pt x="102" y="66"/>
                  </a:lnTo>
                  <a:lnTo>
                    <a:pt x="102" y="64"/>
                  </a:lnTo>
                  <a:lnTo>
                    <a:pt x="102" y="64"/>
                  </a:lnTo>
                  <a:lnTo>
                    <a:pt x="100" y="62"/>
                  </a:lnTo>
                  <a:lnTo>
                    <a:pt x="100" y="62"/>
                  </a:lnTo>
                  <a:lnTo>
                    <a:pt x="100" y="62"/>
                  </a:lnTo>
                  <a:lnTo>
                    <a:pt x="100" y="62"/>
                  </a:lnTo>
                  <a:lnTo>
                    <a:pt x="100" y="62"/>
                  </a:lnTo>
                  <a:lnTo>
                    <a:pt x="98" y="62"/>
                  </a:lnTo>
                  <a:lnTo>
                    <a:pt x="98" y="64"/>
                  </a:lnTo>
                  <a:lnTo>
                    <a:pt x="98" y="64"/>
                  </a:lnTo>
                  <a:lnTo>
                    <a:pt x="98" y="64"/>
                  </a:lnTo>
                  <a:lnTo>
                    <a:pt x="96" y="64"/>
                  </a:lnTo>
                  <a:lnTo>
                    <a:pt x="96" y="64"/>
                  </a:lnTo>
                  <a:lnTo>
                    <a:pt x="94" y="62"/>
                  </a:lnTo>
                  <a:lnTo>
                    <a:pt x="92" y="62"/>
                  </a:lnTo>
                  <a:lnTo>
                    <a:pt x="88" y="60"/>
                  </a:lnTo>
                  <a:lnTo>
                    <a:pt x="86" y="58"/>
                  </a:lnTo>
                  <a:lnTo>
                    <a:pt x="84" y="56"/>
                  </a:lnTo>
                  <a:lnTo>
                    <a:pt x="84" y="56"/>
                  </a:lnTo>
                  <a:lnTo>
                    <a:pt x="82" y="54"/>
                  </a:lnTo>
                  <a:lnTo>
                    <a:pt x="82" y="54"/>
                  </a:lnTo>
                  <a:lnTo>
                    <a:pt x="82" y="52"/>
                  </a:lnTo>
                  <a:lnTo>
                    <a:pt x="82" y="52"/>
                  </a:lnTo>
                  <a:lnTo>
                    <a:pt x="82" y="50"/>
                  </a:lnTo>
                  <a:lnTo>
                    <a:pt x="82" y="48"/>
                  </a:lnTo>
                  <a:lnTo>
                    <a:pt x="82" y="46"/>
                  </a:lnTo>
                  <a:lnTo>
                    <a:pt x="82" y="42"/>
                  </a:lnTo>
                  <a:lnTo>
                    <a:pt x="82" y="38"/>
                  </a:lnTo>
                  <a:lnTo>
                    <a:pt x="82" y="36"/>
                  </a:lnTo>
                  <a:lnTo>
                    <a:pt x="84" y="32"/>
                  </a:lnTo>
                  <a:lnTo>
                    <a:pt x="84" y="30"/>
                  </a:lnTo>
                  <a:lnTo>
                    <a:pt x="86" y="30"/>
                  </a:lnTo>
                  <a:lnTo>
                    <a:pt x="86" y="28"/>
                  </a:lnTo>
                  <a:lnTo>
                    <a:pt x="88" y="26"/>
                  </a:lnTo>
                  <a:lnTo>
                    <a:pt x="90" y="26"/>
                  </a:lnTo>
                  <a:lnTo>
                    <a:pt x="92" y="24"/>
                  </a:lnTo>
                  <a:lnTo>
                    <a:pt x="94" y="22"/>
                  </a:lnTo>
                  <a:lnTo>
                    <a:pt x="94" y="22"/>
                  </a:lnTo>
                  <a:lnTo>
                    <a:pt x="96" y="22"/>
                  </a:lnTo>
                  <a:lnTo>
                    <a:pt x="96" y="22"/>
                  </a:lnTo>
                  <a:lnTo>
                    <a:pt x="98" y="22"/>
                  </a:lnTo>
                  <a:lnTo>
                    <a:pt x="98" y="22"/>
                  </a:lnTo>
                  <a:lnTo>
                    <a:pt x="100" y="24"/>
                  </a:lnTo>
                  <a:lnTo>
                    <a:pt x="102" y="24"/>
                  </a:lnTo>
                  <a:lnTo>
                    <a:pt x="104" y="26"/>
                  </a:lnTo>
                  <a:lnTo>
                    <a:pt x="106" y="26"/>
                  </a:lnTo>
                  <a:lnTo>
                    <a:pt x="110" y="28"/>
                  </a:lnTo>
                  <a:lnTo>
                    <a:pt x="112" y="32"/>
                  </a:lnTo>
                  <a:lnTo>
                    <a:pt x="116" y="34"/>
                  </a:lnTo>
                  <a:lnTo>
                    <a:pt x="118" y="36"/>
                  </a:lnTo>
                  <a:lnTo>
                    <a:pt x="116" y="30"/>
                  </a:lnTo>
                  <a:lnTo>
                    <a:pt x="116" y="26"/>
                  </a:lnTo>
                  <a:lnTo>
                    <a:pt x="114" y="18"/>
                  </a:lnTo>
                  <a:lnTo>
                    <a:pt x="114" y="16"/>
                  </a:lnTo>
                  <a:lnTo>
                    <a:pt x="112" y="12"/>
                  </a:lnTo>
                  <a:lnTo>
                    <a:pt x="110" y="10"/>
                  </a:lnTo>
                  <a:lnTo>
                    <a:pt x="110" y="6"/>
                  </a:lnTo>
                  <a:lnTo>
                    <a:pt x="108" y="4"/>
                  </a:lnTo>
                  <a:lnTo>
                    <a:pt x="108" y="2"/>
                  </a:lnTo>
                  <a:lnTo>
                    <a:pt x="106" y="2"/>
                  </a:lnTo>
                  <a:lnTo>
                    <a:pt x="106" y="2"/>
                  </a:lnTo>
                  <a:lnTo>
                    <a:pt x="106" y="0"/>
                  </a:lnTo>
                  <a:lnTo>
                    <a:pt x="104" y="0"/>
                  </a:lnTo>
                  <a:lnTo>
                    <a:pt x="104" y="0"/>
                  </a:lnTo>
                  <a:lnTo>
                    <a:pt x="102" y="0"/>
                  </a:lnTo>
                  <a:lnTo>
                    <a:pt x="102" y="0"/>
                  </a:lnTo>
                  <a:lnTo>
                    <a:pt x="100" y="0"/>
                  </a:lnTo>
                  <a:lnTo>
                    <a:pt x="100" y="0"/>
                  </a:lnTo>
                  <a:lnTo>
                    <a:pt x="98" y="2"/>
                  </a:lnTo>
                  <a:lnTo>
                    <a:pt x="98" y="2"/>
                  </a:lnTo>
                  <a:lnTo>
                    <a:pt x="96" y="4"/>
                  </a:lnTo>
                  <a:lnTo>
                    <a:pt x="90" y="8"/>
                  </a:lnTo>
                  <a:lnTo>
                    <a:pt x="88" y="10"/>
                  </a:lnTo>
                  <a:lnTo>
                    <a:pt x="88" y="12"/>
                  </a:lnTo>
                  <a:lnTo>
                    <a:pt x="86" y="12"/>
                  </a:lnTo>
                  <a:lnTo>
                    <a:pt x="86" y="12"/>
                  </a:lnTo>
                  <a:lnTo>
                    <a:pt x="84" y="12"/>
                  </a:lnTo>
                  <a:lnTo>
                    <a:pt x="80" y="14"/>
                  </a:lnTo>
                  <a:lnTo>
                    <a:pt x="76" y="14"/>
                  </a:lnTo>
                  <a:lnTo>
                    <a:pt x="72" y="14"/>
                  </a:lnTo>
                  <a:lnTo>
                    <a:pt x="70" y="14"/>
                  </a:lnTo>
                  <a:lnTo>
                    <a:pt x="68" y="14"/>
                  </a:lnTo>
                  <a:lnTo>
                    <a:pt x="62" y="14"/>
                  </a:lnTo>
                  <a:lnTo>
                    <a:pt x="56" y="12"/>
                  </a:lnTo>
                  <a:lnTo>
                    <a:pt x="50" y="10"/>
                  </a:lnTo>
                  <a:lnTo>
                    <a:pt x="40" y="10"/>
                  </a:lnTo>
                  <a:lnTo>
                    <a:pt x="36" y="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4" name="Freeform 142">
              <a:extLst>
                <a:ext uri="{FF2B5EF4-FFF2-40B4-BE49-F238E27FC236}">
                  <a16:creationId xmlns:a16="http://schemas.microsoft.com/office/drawing/2014/main" id="{373535EF-DD60-4D36-B858-5360B27F60CC}"/>
                </a:ext>
              </a:extLst>
            </p:cNvPr>
            <p:cNvSpPr>
              <a:spLocks/>
            </p:cNvSpPr>
            <p:nvPr/>
          </p:nvSpPr>
          <p:spPr bwMode="auto">
            <a:xfrm>
              <a:off x="5904291" y="3430294"/>
              <a:ext cx="204385" cy="128174"/>
            </a:xfrm>
            <a:custGeom>
              <a:avLst/>
              <a:gdLst>
                <a:gd name="T0" fmla="*/ 32 w 118"/>
                <a:gd name="T1" fmla="*/ 16 h 74"/>
                <a:gd name="T2" fmla="*/ 28 w 118"/>
                <a:gd name="T3" fmla="*/ 24 h 74"/>
                <a:gd name="T4" fmla="*/ 22 w 118"/>
                <a:gd name="T5" fmla="*/ 32 h 74"/>
                <a:gd name="T6" fmla="*/ 16 w 118"/>
                <a:gd name="T7" fmla="*/ 40 h 74"/>
                <a:gd name="T8" fmla="*/ 6 w 118"/>
                <a:gd name="T9" fmla="*/ 58 h 74"/>
                <a:gd name="T10" fmla="*/ 6 w 118"/>
                <a:gd name="T11" fmla="*/ 66 h 74"/>
                <a:gd name="T12" fmla="*/ 12 w 118"/>
                <a:gd name="T13" fmla="*/ 64 h 74"/>
                <a:gd name="T14" fmla="*/ 24 w 118"/>
                <a:gd name="T15" fmla="*/ 62 h 74"/>
                <a:gd name="T16" fmla="*/ 30 w 118"/>
                <a:gd name="T17" fmla="*/ 60 h 74"/>
                <a:gd name="T18" fmla="*/ 32 w 118"/>
                <a:gd name="T19" fmla="*/ 58 h 74"/>
                <a:gd name="T20" fmla="*/ 34 w 118"/>
                <a:gd name="T21" fmla="*/ 54 h 74"/>
                <a:gd name="T22" fmla="*/ 36 w 118"/>
                <a:gd name="T23" fmla="*/ 48 h 74"/>
                <a:gd name="T24" fmla="*/ 38 w 118"/>
                <a:gd name="T25" fmla="*/ 48 h 74"/>
                <a:gd name="T26" fmla="*/ 40 w 118"/>
                <a:gd name="T27" fmla="*/ 46 h 74"/>
                <a:gd name="T28" fmla="*/ 42 w 118"/>
                <a:gd name="T29" fmla="*/ 46 h 74"/>
                <a:gd name="T30" fmla="*/ 46 w 118"/>
                <a:gd name="T31" fmla="*/ 48 h 74"/>
                <a:gd name="T32" fmla="*/ 48 w 118"/>
                <a:gd name="T33" fmla="*/ 50 h 74"/>
                <a:gd name="T34" fmla="*/ 50 w 118"/>
                <a:gd name="T35" fmla="*/ 58 h 74"/>
                <a:gd name="T36" fmla="*/ 52 w 118"/>
                <a:gd name="T37" fmla="*/ 64 h 74"/>
                <a:gd name="T38" fmla="*/ 54 w 118"/>
                <a:gd name="T39" fmla="*/ 66 h 74"/>
                <a:gd name="T40" fmla="*/ 58 w 118"/>
                <a:gd name="T41" fmla="*/ 70 h 74"/>
                <a:gd name="T42" fmla="*/ 64 w 118"/>
                <a:gd name="T43" fmla="*/ 72 h 74"/>
                <a:gd name="T44" fmla="*/ 88 w 118"/>
                <a:gd name="T45" fmla="*/ 74 h 74"/>
                <a:gd name="T46" fmla="*/ 100 w 118"/>
                <a:gd name="T47" fmla="*/ 72 h 74"/>
                <a:gd name="T48" fmla="*/ 102 w 118"/>
                <a:gd name="T49" fmla="*/ 64 h 74"/>
                <a:gd name="T50" fmla="*/ 100 w 118"/>
                <a:gd name="T51" fmla="*/ 62 h 74"/>
                <a:gd name="T52" fmla="*/ 100 w 118"/>
                <a:gd name="T53" fmla="*/ 62 h 74"/>
                <a:gd name="T54" fmla="*/ 98 w 118"/>
                <a:gd name="T55" fmla="*/ 64 h 74"/>
                <a:gd name="T56" fmla="*/ 96 w 118"/>
                <a:gd name="T57" fmla="*/ 64 h 74"/>
                <a:gd name="T58" fmla="*/ 88 w 118"/>
                <a:gd name="T59" fmla="*/ 60 h 74"/>
                <a:gd name="T60" fmla="*/ 84 w 118"/>
                <a:gd name="T61" fmla="*/ 56 h 74"/>
                <a:gd name="T62" fmla="*/ 82 w 118"/>
                <a:gd name="T63" fmla="*/ 52 h 74"/>
                <a:gd name="T64" fmla="*/ 82 w 118"/>
                <a:gd name="T65" fmla="*/ 48 h 74"/>
                <a:gd name="T66" fmla="*/ 82 w 118"/>
                <a:gd name="T67" fmla="*/ 38 h 74"/>
                <a:gd name="T68" fmla="*/ 84 w 118"/>
                <a:gd name="T69" fmla="*/ 30 h 74"/>
                <a:gd name="T70" fmla="*/ 88 w 118"/>
                <a:gd name="T71" fmla="*/ 26 h 74"/>
                <a:gd name="T72" fmla="*/ 94 w 118"/>
                <a:gd name="T73" fmla="*/ 22 h 74"/>
                <a:gd name="T74" fmla="*/ 96 w 118"/>
                <a:gd name="T75" fmla="*/ 22 h 74"/>
                <a:gd name="T76" fmla="*/ 100 w 118"/>
                <a:gd name="T77" fmla="*/ 24 h 74"/>
                <a:gd name="T78" fmla="*/ 106 w 118"/>
                <a:gd name="T79" fmla="*/ 26 h 74"/>
                <a:gd name="T80" fmla="*/ 116 w 118"/>
                <a:gd name="T81" fmla="*/ 34 h 74"/>
                <a:gd name="T82" fmla="*/ 116 w 118"/>
                <a:gd name="T83" fmla="*/ 26 h 74"/>
                <a:gd name="T84" fmla="*/ 112 w 118"/>
                <a:gd name="T85" fmla="*/ 12 h 74"/>
                <a:gd name="T86" fmla="*/ 108 w 118"/>
                <a:gd name="T87" fmla="*/ 4 h 74"/>
                <a:gd name="T88" fmla="*/ 106 w 118"/>
                <a:gd name="T89" fmla="*/ 2 h 74"/>
                <a:gd name="T90" fmla="*/ 104 w 118"/>
                <a:gd name="T91" fmla="*/ 0 h 74"/>
                <a:gd name="T92" fmla="*/ 100 w 118"/>
                <a:gd name="T93" fmla="*/ 0 h 74"/>
                <a:gd name="T94" fmla="*/ 98 w 118"/>
                <a:gd name="T95" fmla="*/ 2 h 74"/>
                <a:gd name="T96" fmla="*/ 88 w 118"/>
                <a:gd name="T97" fmla="*/ 10 h 74"/>
                <a:gd name="T98" fmla="*/ 86 w 118"/>
                <a:gd name="T99" fmla="*/ 12 h 74"/>
                <a:gd name="T100" fmla="*/ 76 w 118"/>
                <a:gd name="T101" fmla="*/ 14 h 74"/>
                <a:gd name="T102" fmla="*/ 68 w 118"/>
                <a:gd name="T103" fmla="*/ 14 h 74"/>
                <a:gd name="T104" fmla="*/ 50 w 118"/>
                <a:gd name="T105"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8" h="74">
                  <a:moveTo>
                    <a:pt x="36" y="8"/>
                  </a:moveTo>
                  <a:lnTo>
                    <a:pt x="36" y="8"/>
                  </a:lnTo>
                  <a:lnTo>
                    <a:pt x="32" y="16"/>
                  </a:lnTo>
                  <a:lnTo>
                    <a:pt x="30" y="20"/>
                  </a:lnTo>
                  <a:lnTo>
                    <a:pt x="28" y="22"/>
                  </a:lnTo>
                  <a:lnTo>
                    <a:pt x="28" y="24"/>
                  </a:lnTo>
                  <a:lnTo>
                    <a:pt x="26" y="26"/>
                  </a:lnTo>
                  <a:lnTo>
                    <a:pt x="24" y="28"/>
                  </a:lnTo>
                  <a:lnTo>
                    <a:pt x="22" y="32"/>
                  </a:lnTo>
                  <a:lnTo>
                    <a:pt x="18" y="38"/>
                  </a:lnTo>
                  <a:lnTo>
                    <a:pt x="16" y="38"/>
                  </a:lnTo>
                  <a:lnTo>
                    <a:pt x="16" y="40"/>
                  </a:lnTo>
                  <a:lnTo>
                    <a:pt x="14" y="44"/>
                  </a:lnTo>
                  <a:lnTo>
                    <a:pt x="12" y="48"/>
                  </a:lnTo>
                  <a:lnTo>
                    <a:pt x="6" y="58"/>
                  </a:lnTo>
                  <a:lnTo>
                    <a:pt x="0" y="70"/>
                  </a:lnTo>
                  <a:lnTo>
                    <a:pt x="4" y="68"/>
                  </a:lnTo>
                  <a:lnTo>
                    <a:pt x="6" y="66"/>
                  </a:lnTo>
                  <a:lnTo>
                    <a:pt x="10" y="64"/>
                  </a:lnTo>
                  <a:lnTo>
                    <a:pt x="10" y="64"/>
                  </a:lnTo>
                  <a:lnTo>
                    <a:pt x="12" y="64"/>
                  </a:lnTo>
                  <a:lnTo>
                    <a:pt x="14" y="64"/>
                  </a:lnTo>
                  <a:lnTo>
                    <a:pt x="20" y="62"/>
                  </a:lnTo>
                  <a:lnTo>
                    <a:pt x="24" y="62"/>
                  </a:lnTo>
                  <a:lnTo>
                    <a:pt x="28" y="62"/>
                  </a:lnTo>
                  <a:lnTo>
                    <a:pt x="28" y="60"/>
                  </a:lnTo>
                  <a:lnTo>
                    <a:pt x="30" y="60"/>
                  </a:lnTo>
                  <a:lnTo>
                    <a:pt x="30" y="60"/>
                  </a:lnTo>
                  <a:lnTo>
                    <a:pt x="32" y="60"/>
                  </a:lnTo>
                  <a:lnTo>
                    <a:pt x="32" y="58"/>
                  </a:lnTo>
                  <a:lnTo>
                    <a:pt x="32" y="58"/>
                  </a:lnTo>
                  <a:lnTo>
                    <a:pt x="34" y="56"/>
                  </a:lnTo>
                  <a:lnTo>
                    <a:pt x="34" y="54"/>
                  </a:lnTo>
                  <a:lnTo>
                    <a:pt x="34" y="52"/>
                  </a:lnTo>
                  <a:lnTo>
                    <a:pt x="36" y="50"/>
                  </a:lnTo>
                  <a:lnTo>
                    <a:pt x="36" y="48"/>
                  </a:lnTo>
                  <a:lnTo>
                    <a:pt x="36" y="48"/>
                  </a:lnTo>
                  <a:lnTo>
                    <a:pt x="36" y="48"/>
                  </a:lnTo>
                  <a:lnTo>
                    <a:pt x="38" y="48"/>
                  </a:lnTo>
                  <a:lnTo>
                    <a:pt x="38" y="46"/>
                  </a:lnTo>
                  <a:lnTo>
                    <a:pt x="38" y="46"/>
                  </a:lnTo>
                  <a:lnTo>
                    <a:pt x="40" y="46"/>
                  </a:lnTo>
                  <a:lnTo>
                    <a:pt x="40" y="46"/>
                  </a:lnTo>
                  <a:lnTo>
                    <a:pt x="42" y="46"/>
                  </a:lnTo>
                  <a:lnTo>
                    <a:pt x="42" y="46"/>
                  </a:lnTo>
                  <a:lnTo>
                    <a:pt x="44" y="48"/>
                  </a:lnTo>
                  <a:lnTo>
                    <a:pt x="44" y="48"/>
                  </a:lnTo>
                  <a:lnTo>
                    <a:pt x="46" y="48"/>
                  </a:lnTo>
                  <a:lnTo>
                    <a:pt x="46" y="48"/>
                  </a:lnTo>
                  <a:lnTo>
                    <a:pt x="46" y="50"/>
                  </a:lnTo>
                  <a:lnTo>
                    <a:pt x="48" y="50"/>
                  </a:lnTo>
                  <a:lnTo>
                    <a:pt x="48" y="52"/>
                  </a:lnTo>
                  <a:lnTo>
                    <a:pt x="48" y="54"/>
                  </a:lnTo>
                  <a:lnTo>
                    <a:pt x="50" y="58"/>
                  </a:lnTo>
                  <a:lnTo>
                    <a:pt x="50" y="60"/>
                  </a:lnTo>
                  <a:lnTo>
                    <a:pt x="52" y="62"/>
                  </a:lnTo>
                  <a:lnTo>
                    <a:pt x="52" y="64"/>
                  </a:lnTo>
                  <a:lnTo>
                    <a:pt x="52" y="66"/>
                  </a:lnTo>
                  <a:lnTo>
                    <a:pt x="52" y="66"/>
                  </a:lnTo>
                  <a:lnTo>
                    <a:pt x="54" y="66"/>
                  </a:lnTo>
                  <a:lnTo>
                    <a:pt x="54" y="68"/>
                  </a:lnTo>
                  <a:lnTo>
                    <a:pt x="56" y="70"/>
                  </a:lnTo>
                  <a:lnTo>
                    <a:pt x="58" y="70"/>
                  </a:lnTo>
                  <a:lnTo>
                    <a:pt x="60" y="70"/>
                  </a:lnTo>
                  <a:lnTo>
                    <a:pt x="62" y="72"/>
                  </a:lnTo>
                  <a:lnTo>
                    <a:pt x="64" y="72"/>
                  </a:lnTo>
                  <a:lnTo>
                    <a:pt x="68" y="74"/>
                  </a:lnTo>
                  <a:lnTo>
                    <a:pt x="76" y="74"/>
                  </a:lnTo>
                  <a:lnTo>
                    <a:pt x="88" y="74"/>
                  </a:lnTo>
                  <a:lnTo>
                    <a:pt x="100" y="74"/>
                  </a:lnTo>
                  <a:lnTo>
                    <a:pt x="100" y="72"/>
                  </a:lnTo>
                  <a:lnTo>
                    <a:pt x="100" y="72"/>
                  </a:lnTo>
                  <a:lnTo>
                    <a:pt x="102" y="68"/>
                  </a:lnTo>
                  <a:lnTo>
                    <a:pt x="102" y="66"/>
                  </a:lnTo>
                  <a:lnTo>
                    <a:pt x="102" y="64"/>
                  </a:lnTo>
                  <a:lnTo>
                    <a:pt x="102" y="64"/>
                  </a:lnTo>
                  <a:lnTo>
                    <a:pt x="100" y="62"/>
                  </a:lnTo>
                  <a:lnTo>
                    <a:pt x="100" y="62"/>
                  </a:lnTo>
                  <a:lnTo>
                    <a:pt x="100" y="62"/>
                  </a:lnTo>
                  <a:lnTo>
                    <a:pt x="100" y="62"/>
                  </a:lnTo>
                  <a:lnTo>
                    <a:pt x="100" y="62"/>
                  </a:lnTo>
                  <a:lnTo>
                    <a:pt x="98" y="62"/>
                  </a:lnTo>
                  <a:lnTo>
                    <a:pt x="98" y="64"/>
                  </a:lnTo>
                  <a:lnTo>
                    <a:pt x="98" y="64"/>
                  </a:lnTo>
                  <a:lnTo>
                    <a:pt x="98" y="64"/>
                  </a:lnTo>
                  <a:lnTo>
                    <a:pt x="96" y="64"/>
                  </a:lnTo>
                  <a:lnTo>
                    <a:pt x="96" y="64"/>
                  </a:lnTo>
                  <a:lnTo>
                    <a:pt x="94" y="62"/>
                  </a:lnTo>
                  <a:lnTo>
                    <a:pt x="92" y="62"/>
                  </a:lnTo>
                  <a:lnTo>
                    <a:pt x="88" y="60"/>
                  </a:lnTo>
                  <a:lnTo>
                    <a:pt x="86" y="58"/>
                  </a:lnTo>
                  <a:lnTo>
                    <a:pt x="84" y="56"/>
                  </a:lnTo>
                  <a:lnTo>
                    <a:pt x="84" y="56"/>
                  </a:lnTo>
                  <a:lnTo>
                    <a:pt x="82" y="54"/>
                  </a:lnTo>
                  <a:lnTo>
                    <a:pt x="82" y="54"/>
                  </a:lnTo>
                  <a:lnTo>
                    <a:pt x="82" y="52"/>
                  </a:lnTo>
                  <a:lnTo>
                    <a:pt x="82" y="52"/>
                  </a:lnTo>
                  <a:lnTo>
                    <a:pt x="82" y="50"/>
                  </a:lnTo>
                  <a:lnTo>
                    <a:pt x="82" y="48"/>
                  </a:lnTo>
                  <a:lnTo>
                    <a:pt x="82" y="46"/>
                  </a:lnTo>
                  <a:lnTo>
                    <a:pt x="82" y="42"/>
                  </a:lnTo>
                  <a:lnTo>
                    <a:pt x="82" y="38"/>
                  </a:lnTo>
                  <a:lnTo>
                    <a:pt x="82" y="36"/>
                  </a:lnTo>
                  <a:lnTo>
                    <a:pt x="84" y="32"/>
                  </a:lnTo>
                  <a:lnTo>
                    <a:pt x="84" y="30"/>
                  </a:lnTo>
                  <a:lnTo>
                    <a:pt x="86" y="30"/>
                  </a:lnTo>
                  <a:lnTo>
                    <a:pt x="86" y="28"/>
                  </a:lnTo>
                  <a:lnTo>
                    <a:pt x="88" y="26"/>
                  </a:lnTo>
                  <a:lnTo>
                    <a:pt x="90" y="26"/>
                  </a:lnTo>
                  <a:lnTo>
                    <a:pt x="92" y="24"/>
                  </a:lnTo>
                  <a:lnTo>
                    <a:pt x="94" y="22"/>
                  </a:lnTo>
                  <a:lnTo>
                    <a:pt x="94" y="22"/>
                  </a:lnTo>
                  <a:lnTo>
                    <a:pt x="96" y="22"/>
                  </a:lnTo>
                  <a:lnTo>
                    <a:pt x="96" y="22"/>
                  </a:lnTo>
                  <a:lnTo>
                    <a:pt x="98" y="22"/>
                  </a:lnTo>
                  <a:lnTo>
                    <a:pt x="98" y="22"/>
                  </a:lnTo>
                  <a:lnTo>
                    <a:pt x="100" y="24"/>
                  </a:lnTo>
                  <a:lnTo>
                    <a:pt x="102" y="24"/>
                  </a:lnTo>
                  <a:lnTo>
                    <a:pt x="104" y="26"/>
                  </a:lnTo>
                  <a:lnTo>
                    <a:pt x="106" y="26"/>
                  </a:lnTo>
                  <a:lnTo>
                    <a:pt x="110" y="28"/>
                  </a:lnTo>
                  <a:lnTo>
                    <a:pt x="112" y="32"/>
                  </a:lnTo>
                  <a:lnTo>
                    <a:pt x="116" y="34"/>
                  </a:lnTo>
                  <a:lnTo>
                    <a:pt x="118" y="36"/>
                  </a:lnTo>
                  <a:lnTo>
                    <a:pt x="116" y="30"/>
                  </a:lnTo>
                  <a:lnTo>
                    <a:pt x="116" y="26"/>
                  </a:lnTo>
                  <a:lnTo>
                    <a:pt x="114" y="18"/>
                  </a:lnTo>
                  <a:lnTo>
                    <a:pt x="114" y="16"/>
                  </a:lnTo>
                  <a:lnTo>
                    <a:pt x="112" y="12"/>
                  </a:lnTo>
                  <a:lnTo>
                    <a:pt x="110" y="10"/>
                  </a:lnTo>
                  <a:lnTo>
                    <a:pt x="110" y="6"/>
                  </a:lnTo>
                  <a:lnTo>
                    <a:pt x="108" y="4"/>
                  </a:lnTo>
                  <a:lnTo>
                    <a:pt x="108" y="2"/>
                  </a:lnTo>
                  <a:lnTo>
                    <a:pt x="106" y="2"/>
                  </a:lnTo>
                  <a:lnTo>
                    <a:pt x="106" y="2"/>
                  </a:lnTo>
                  <a:lnTo>
                    <a:pt x="106" y="0"/>
                  </a:lnTo>
                  <a:lnTo>
                    <a:pt x="104" y="0"/>
                  </a:lnTo>
                  <a:lnTo>
                    <a:pt x="104" y="0"/>
                  </a:lnTo>
                  <a:lnTo>
                    <a:pt x="102" y="0"/>
                  </a:lnTo>
                  <a:lnTo>
                    <a:pt x="102" y="0"/>
                  </a:lnTo>
                  <a:lnTo>
                    <a:pt x="100" y="0"/>
                  </a:lnTo>
                  <a:lnTo>
                    <a:pt x="100" y="0"/>
                  </a:lnTo>
                  <a:lnTo>
                    <a:pt x="98" y="2"/>
                  </a:lnTo>
                  <a:lnTo>
                    <a:pt x="98" y="2"/>
                  </a:lnTo>
                  <a:lnTo>
                    <a:pt x="96" y="4"/>
                  </a:lnTo>
                  <a:lnTo>
                    <a:pt x="90" y="8"/>
                  </a:lnTo>
                  <a:lnTo>
                    <a:pt x="88" y="10"/>
                  </a:lnTo>
                  <a:lnTo>
                    <a:pt x="88" y="12"/>
                  </a:lnTo>
                  <a:lnTo>
                    <a:pt x="86" y="12"/>
                  </a:lnTo>
                  <a:lnTo>
                    <a:pt x="86" y="12"/>
                  </a:lnTo>
                  <a:lnTo>
                    <a:pt x="84" y="12"/>
                  </a:lnTo>
                  <a:lnTo>
                    <a:pt x="80" y="14"/>
                  </a:lnTo>
                  <a:lnTo>
                    <a:pt x="76" y="14"/>
                  </a:lnTo>
                  <a:lnTo>
                    <a:pt x="72" y="14"/>
                  </a:lnTo>
                  <a:lnTo>
                    <a:pt x="70" y="14"/>
                  </a:lnTo>
                  <a:lnTo>
                    <a:pt x="68" y="14"/>
                  </a:lnTo>
                  <a:lnTo>
                    <a:pt x="62" y="14"/>
                  </a:lnTo>
                  <a:lnTo>
                    <a:pt x="56" y="12"/>
                  </a:lnTo>
                  <a:lnTo>
                    <a:pt x="50" y="10"/>
                  </a:lnTo>
                  <a:lnTo>
                    <a:pt x="40" y="10"/>
                  </a:lnTo>
                  <a:lnTo>
                    <a:pt x="36" y="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5" name="Freeform 143">
              <a:extLst>
                <a:ext uri="{FF2B5EF4-FFF2-40B4-BE49-F238E27FC236}">
                  <a16:creationId xmlns:a16="http://schemas.microsoft.com/office/drawing/2014/main" id="{F4ECB1C1-80DD-41F8-A9AA-AC66395F5382}"/>
                </a:ext>
              </a:extLst>
            </p:cNvPr>
            <p:cNvSpPr>
              <a:spLocks/>
            </p:cNvSpPr>
            <p:nvPr/>
          </p:nvSpPr>
          <p:spPr bwMode="auto">
            <a:xfrm>
              <a:off x="5644479" y="3260551"/>
              <a:ext cx="322166" cy="290989"/>
            </a:xfrm>
            <a:custGeom>
              <a:avLst/>
              <a:gdLst>
                <a:gd name="T0" fmla="*/ 140 w 186"/>
                <a:gd name="T1" fmla="*/ 162 h 168"/>
                <a:gd name="T2" fmla="*/ 122 w 186"/>
                <a:gd name="T3" fmla="*/ 162 h 168"/>
                <a:gd name="T4" fmla="*/ 122 w 186"/>
                <a:gd name="T5" fmla="*/ 154 h 168"/>
                <a:gd name="T6" fmla="*/ 120 w 186"/>
                <a:gd name="T7" fmla="*/ 150 h 168"/>
                <a:gd name="T8" fmla="*/ 116 w 186"/>
                <a:gd name="T9" fmla="*/ 148 h 168"/>
                <a:gd name="T10" fmla="*/ 110 w 186"/>
                <a:gd name="T11" fmla="*/ 150 h 168"/>
                <a:gd name="T12" fmla="*/ 106 w 186"/>
                <a:gd name="T13" fmla="*/ 152 h 168"/>
                <a:gd name="T14" fmla="*/ 94 w 186"/>
                <a:gd name="T15" fmla="*/ 148 h 168"/>
                <a:gd name="T16" fmla="*/ 82 w 186"/>
                <a:gd name="T17" fmla="*/ 138 h 168"/>
                <a:gd name="T18" fmla="*/ 72 w 186"/>
                <a:gd name="T19" fmla="*/ 128 h 168"/>
                <a:gd name="T20" fmla="*/ 72 w 186"/>
                <a:gd name="T21" fmla="*/ 120 h 168"/>
                <a:gd name="T22" fmla="*/ 76 w 186"/>
                <a:gd name="T23" fmla="*/ 114 h 168"/>
                <a:gd name="T24" fmla="*/ 74 w 186"/>
                <a:gd name="T25" fmla="*/ 112 h 168"/>
                <a:gd name="T26" fmla="*/ 64 w 186"/>
                <a:gd name="T27" fmla="*/ 110 h 168"/>
                <a:gd name="T28" fmla="*/ 52 w 186"/>
                <a:gd name="T29" fmla="*/ 108 h 168"/>
                <a:gd name="T30" fmla="*/ 48 w 186"/>
                <a:gd name="T31" fmla="*/ 106 h 168"/>
                <a:gd name="T32" fmla="*/ 52 w 186"/>
                <a:gd name="T33" fmla="*/ 102 h 168"/>
                <a:gd name="T34" fmla="*/ 52 w 186"/>
                <a:gd name="T35" fmla="*/ 100 h 168"/>
                <a:gd name="T36" fmla="*/ 48 w 186"/>
                <a:gd name="T37" fmla="*/ 96 h 168"/>
                <a:gd name="T38" fmla="*/ 44 w 186"/>
                <a:gd name="T39" fmla="*/ 90 h 168"/>
                <a:gd name="T40" fmla="*/ 40 w 186"/>
                <a:gd name="T41" fmla="*/ 86 h 168"/>
                <a:gd name="T42" fmla="*/ 36 w 186"/>
                <a:gd name="T43" fmla="*/ 88 h 168"/>
                <a:gd name="T44" fmla="*/ 28 w 186"/>
                <a:gd name="T45" fmla="*/ 90 h 168"/>
                <a:gd name="T46" fmla="*/ 22 w 186"/>
                <a:gd name="T47" fmla="*/ 92 h 168"/>
                <a:gd name="T48" fmla="*/ 20 w 186"/>
                <a:gd name="T49" fmla="*/ 98 h 168"/>
                <a:gd name="T50" fmla="*/ 20 w 186"/>
                <a:gd name="T51" fmla="*/ 104 h 168"/>
                <a:gd name="T52" fmla="*/ 14 w 186"/>
                <a:gd name="T53" fmla="*/ 104 h 168"/>
                <a:gd name="T54" fmla="*/ 0 w 186"/>
                <a:gd name="T55" fmla="*/ 98 h 168"/>
                <a:gd name="T56" fmla="*/ 4 w 186"/>
                <a:gd name="T57" fmla="*/ 54 h 168"/>
                <a:gd name="T58" fmla="*/ 10 w 186"/>
                <a:gd name="T59" fmla="*/ 30 h 168"/>
                <a:gd name="T60" fmla="*/ 14 w 186"/>
                <a:gd name="T61" fmla="*/ 22 h 168"/>
                <a:gd name="T62" fmla="*/ 30 w 186"/>
                <a:gd name="T63" fmla="*/ 10 h 168"/>
                <a:gd name="T64" fmla="*/ 42 w 186"/>
                <a:gd name="T65" fmla="*/ 10 h 168"/>
                <a:gd name="T66" fmla="*/ 42 w 186"/>
                <a:gd name="T67" fmla="*/ 28 h 168"/>
                <a:gd name="T68" fmla="*/ 46 w 186"/>
                <a:gd name="T69" fmla="*/ 36 h 168"/>
                <a:gd name="T70" fmla="*/ 48 w 186"/>
                <a:gd name="T71" fmla="*/ 38 h 168"/>
                <a:gd name="T72" fmla="*/ 60 w 186"/>
                <a:gd name="T73" fmla="*/ 36 h 168"/>
                <a:gd name="T74" fmla="*/ 64 w 186"/>
                <a:gd name="T75" fmla="*/ 40 h 168"/>
                <a:gd name="T76" fmla="*/ 72 w 186"/>
                <a:gd name="T77" fmla="*/ 46 h 168"/>
                <a:gd name="T78" fmla="*/ 84 w 186"/>
                <a:gd name="T79" fmla="*/ 46 h 168"/>
                <a:gd name="T80" fmla="*/ 88 w 186"/>
                <a:gd name="T81" fmla="*/ 42 h 168"/>
                <a:gd name="T82" fmla="*/ 88 w 186"/>
                <a:gd name="T83" fmla="*/ 32 h 168"/>
                <a:gd name="T84" fmla="*/ 94 w 186"/>
                <a:gd name="T85" fmla="*/ 34 h 168"/>
                <a:gd name="T86" fmla="*/ 100 w 186"/>
                <a:gd name="T87" fmla="*/ 46 h 168"/>
                <a:gd name="T88" fmla="*/ 102 w 186"/>
                <a:gd name="T89" fmla="*/ 50 h 168"/>
                <a:gd name="T90" fmla="*/ 112 w 186"/>
                <a:gd name="T91" fmla="*/ 48 h 168"/>
                <a:gd name="T92" fmla="*/ 122 w 186"/>
                <a:gd name="T93" fmla="*/ 46 h 168"/>
                <a:gd name="T94" fmla="*/ 142 w 186"/>
                <a:gd name="T95" fmla="*/ 48 h 168"/>
                <a:gd name="T96" fmla="*/ 152 w 186"/>
                <a:gd name="T97" fmla="*/ 54 h 168"/>
                <a:gd name="T98" fmla="*/ 154 w 186"/>
                <a:gd name="T99" fmla="*/ 58 h 168"/>
                <a:gd name="T100" fmla="*/ 154 w 186"/>
                <a:gd name="T101" fmla="*/ 74 h 168"/>
                <a:gd name="T102" fmla="*/ 156 w 186"/>
                <a:gd name="T103" fmla="*/ 86 h 168"/>
                <a:gd name="T104" fmla="*/ 160 w 186"/>
                <a:gd name="T105" fmla="*/ 92 h 168"/>
                <a:gd name="T106" fmla="*/ 174 w 186"/>
                <a:gd name="T107" fmla="*/ 98 h 168"/>
                <a:gd name="T108" fmla="*/ 184 w 186"/>
                <a:gd name="T109" fmla="*/ 114 h 168"/>
                <a:gd name="T110" fmla="*/ 176 w 186"/>
                <a:gd name="T111" fmla="*/ 126 h 168"/>
                <a:gd name="T112" fmla="*/ 164 w 186"/>
                <a:gd name="T113" fmla="*/ 14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6" h="168">
                  <a:moveTo>
                    <a:pt x="150" y="168"/>
                  </a:moveTo>
                  <a:lnTo>
                    <a:pt x="150" y="168"/>
                  </a:lnTo>
                  <a:lnTo>
                    <a:pt x="146" y="166"/>
                  </a:lnTo>
                  <a:lnTo>
                    <a:pt x="142" y="164"/>
                  </a:lnTo>
                  <a:lnTo>
                    <a:pt x="140" y="162"/>
                  </a:lnTo>
                  <a:lnTo>
                    <a:pt x="140" y="162"/>
                  </a:lnTo>
                  <a:lnTo>
                    <a:pt x="138" y="162"/>
                  </a:lnTo>
                  <a:lnTo>
                    <a:pt x="134" y="162"/>
                  </a:lnTo>
                  <a:lnTo>
                    <a:pt x="128" y="162"/>
                  </a:lnTo>
                  <a:lnTo>
                    <a:pt x="122" y="162"/>
                  </a:lnTo>
                  <a:lnTo>
                    <a:pt x="120" y="162"/>
                  </a:lnTo>
                  <a:lnTo>
                    <a:pt x="120" y="160"/>
                  </a:lnTo>
                  <a:lnTo>
                    <a:pt x="122" y="156"/>
                  </a:lnTo>
                  <a:lnTo>
                    <a:pt x="122" y="156"/>
                  </a:lnTo>
                  <a:lnTo>
                    <a:pt x="122" y="154"/>
                  </a:lnTo>
                  <a:lnTo>
                    <a:pt x="122" y="152"/>
                  </a:lnTo>
                  <a:lnTo>
                    <a:pt x="122" y="152"/>
                  </a:lnTo>
                  <a:lnTo>
                    <a:pt x="122" y="150"/>
                  </a:lnTo>
                  <a:lnTo>
                    <a:pt x="120" y="150"/>
                  </a:lnTo>
                  <a:lnTo>
                    <a:pt x="120" y="150"/>
                  </a:lnTo>
                  <a:lnTo>
                    <a:pt x="120" y="148"/>
                  </a:lnTo>
                  <a:lnTo>
                    <a:pt x="118" y="148"/>
                  </a:lnTo>
                  <a:lnTo>
                    <a:pt x="118" y="148"/>
                  </a:lnTo>
                  <a:lnTo>
                    <a:pt x="116" y="148"/>
                  </a:lnTo>
                  <a:lnTo>
                    <a:pt x="116" y="148"/>
                  </a:lnTo>
                  <a:lnTo>
                    <a:pt x="114" y="148"/>
                  </a:lnTo>
                  <a:lnTo>
                    <a:pt x="114" y="148"/>
                  </a:lnTo>
                  <a:lnTo>
                    <a:pt x="114" y="148"/>
                  </a:lnTo>
                  <a:lnTo>
                    <a:pt x="112" y="148"/>
                  </a:lnTo>
                  <a:lnTo>
                    <a:pt x="110" y="150"/>
                  </a:lnTo>
                  <a:lnTo>
                    <a:pt x="108" y="150"/>
                  </a:lnTo>
                  <a:lnTo>
                    <a:pt x="108" y="152"/>
                  </a:lnTo>
                  <a:lnTo>
                    <a:pt x="106" y="152"/>
                  </a:lnTo>
                  <a:lnTo>
                    <a:pt x="106" y="152"/>
                  </a:lnTo>
                  <a:lnTo>
                    <a:pt x="106" y="152"/>
                  </a:lnTo>
                  <a:lnTo>
                    <a:pt x="104" y="152"/>
                  </a:lnTo>
                  <a:lnTo>
                    <a:pt x="102" y="152"/>
                  </a:lnTo>
                  <a:lnTo>
                    <a:pt x="100" y="150"/>
                  </a:lnTo>
                  <a:lnTo>
                    <a:pt x="96" y="150"/>
                  </a:lnTo>
                  <a:lnTo>
                    <a:pt x="94" y="148"/>
                  </a:lnTo>
                  <a:lnTo>
                    <a:pt x="92" y="146"/>
                  </a:lnTo>
                  <a:lnTo>
                    <a:pt x="88" y="144"/>
                  </a:lnTo>
                  <a:lnTo>
                    <a:pt x="86" y="142"/>
                  </a:lnTo>
                  <a:lnTo>
                    <a:pt x="84" y="140"/>
                  </a:lnTo>
                  <a:lnTo>
                    <a:pt x="82" y="138"/>
                  </a:lnTo>
                  <a:lnTo>
                    <a:pt x="80" y="136"/>
                  </a:lnTo>
                  <a:lnTo>
                    <a:pt x="78" y="134"/>
                  </a:lnTo>
                  <a:lnTo>
                    <a:pt x="76" y="132"/>
                  </a:lnTo>
                  <a:lnTo>
                    <a:pt x="74" y="130"/>
                  </a:lnTo>
                  <a:lnTo>
                    <a:pt x="72" y="128"/>
                  </a:lnTo>
                  <a:lnTo>
                    <a:pt x="72" y="126"/>
                  </a:lnTo>
                  <a:lnTo>
                    <a:pt x="72" y="124"/>
                  </a:lnTo>
                  <a:lnTo>
                    <a:pt x="72" y="124"/>
                  </a:lnTo>
                  <a:lnTo>
                    <a:pt x="72" y="122"/>
                  </a:lnTo>
                  <a:lnTo>
                    <a:pt x="72" y="120"/>
                  </a:lnTo>
                  <a:lnTo>
                    <a:pt x="74" y="120"/>
                  </a:lnTo>
                  <a:lnTo>
                    <a:pt x="74" y="118"/>
                  </a:lnTo>
                  <a:lnTo>
                    <a:pt x="76" y="116"/>
                  </a:lnTo>
                  <a:lnTo>
                    <a:pt x="76" y="116"/>
                  </a:lnTo>
                  <a:lnTo>
                    <a:pt x="76" y="114"/>
                  </a:lnTo>
                  <a:lnTo>
                    <a:pt x="76" y="114"/>
                  </a:lnTo>
                  <a:lnTo>
                    <a:pt x="76" y="114"/>
                  </a:lnTo>
                  <a:lnTo>
                    <a:pt x="76" y="112"/>
                  </a:lnTo>
                  <a:lnTo>
                    <a:pt x="74" y="112"/>
                  </a:lnTo>
                  <a:lnTo>
                    <a:pt x="74" y="112"/>
                  </a:lnTo>
                  <a:lnTo>
                    <a:pt x="72" y="110"/>
                  </a:lnTo>
                  <a:lnTo>
                    <a:pt x="70" y="110"/>
                  </a:lnTo>
                  <a:lnTo>
                    <a:pt x="68" y="110"/>
                  </a:lnTo>
                  <a:lnTo>
                    <a:pt x="66" y="110"/>
                  </a:lnTo>
                  <a:lnTo>
                    <a:pt x="64" y="110"/>
                  </a:lnTo>
                  <a:lnTo>
                    <a:pt x="62" y="110"/>
                  </a:lnTo>
                  <a:lnTo>
                    <a:pt x="60" y="110"/>
                  </a:lnTo>
                  <a:lnTo>
                    <a:pt x="58" y="110"/>
                  </a:lnTo>
                  <a:lnTo>
                    <a:pt x="54" y="110"/>
                  </a:lnTo>
                  <a:lnTo>
                    <a:pt x="52" y="108"/>
                  </a:lnTo>
                  <a:lnTo>
                    <a:pt x="50" y="108"/>
                  </a:lnTo>
                  <a:lnTo>
                    <a:pt x="50" y="108"/>
                  </a:lnTo>
                  <a:lnTo>
                    <a:pt x="50" y="108"/>
                  </a:lnTo>
                  <a:lnTo>
                    <a:pt x="50" y="108"/>
                  </a:lnTo>
                  <a:lnTo>
                    <a:pt x="48" y="106"/>
                  </a:lnTo>
                  <a:lnTo>
                    <a:pt x="48" y="106"/>
                  </a:lnTo>
                  <a:lnTo>
                    <a:pt x="50" y="106"/>
                  </a:lnTo>
                  <a:lnTo>
                    <a:pt x="50" y="104"/>
                  </a:lnTo>
                  <a:lnTo>
                    <a:pt x="50" y="104"/>
                  </a:lnTo>
                  <a:lnTo>
                    <a:pt x="52" y="102"/>
                  </a:lnTo>
                  <a:lnTo>
                    <a:pt x="52" y="102"/>
                  </a:lnTo>
                  <a:lnTo>
                    <a:pt x="52" y="100"/>
                  </a:lnTo>
                  <a:lnTo>
                    <a:pt x="52" y="100"/>
                  </a:lnTo>
                  <a:lnTo>
                    <a:pt x="52" y="100"/>
                  </a:lnTo>
                  <a:lnTo>
                    <a:pt x="52" y="100"/>
                  </a:lnTo>
                  <a:lnTo>
                    <a:pt x="52" y="100"/>
                  </a:lnTo>
                  <a:lnTo>
                    <a:pt x="52" y="98"/>
                  </a:lnTo>
                  <a:lnTo>
                    <a:pt x="50" y="98"/>
                  </a:lnTo>
                  <a:lnTo>
                    <a:pt x="50" y="96"/>
                  </a:lnTo>
                  <a:lnTo>
                    <a:pt x="48" y="96"/>
                  </a:lnTo>
                  <a:lnTo>
                    <a:pt x="46" y="94"/>
                  </a:lnTo>
                  <a:lnTo>
                    <a:pt x="46" y="94"/>
                  </a:lnTo>
                  <a:lnTo>
                    <a:pt x="44" y="94"/>
                  </a:lnTo>
                  <a:lnTo>
                    <a:pt x="44" y="92"/>
                  </a:lnTo>
                  <a:lnTo>
                    <a:pt x="44" y="90"/>
                  </a:lnTo>
                  <a:lnTo>
                    <a:pt x="42" y="88"/>
                  </a:lnTo>
                  <a:lnTo>
                    <a:pt x="42" y="86"/>
                  </a:lnTo>
                  <a:lnTo>
                    <a:pt x="42" y="86"/>
                  </a:lnTo>
                  <a:lnTo>
                    <a:pt x="42" y="86"/>
                  </a:lnTo>
                  <a:lnTo>
                    <a:pt x="40" y="86"/>
                  </a:lnTo>
                  <a:lnTo>
                    <a:pt x="40" y="86"/>
                  </a:lnTo>
                  <a:lnTo>
                    <a:pt x="40" y="86"/>
                  </a:lnTo>
                  <a:lnTo>
                    <a:pt x="38" y="86"/>
                  </a:lnTo>
                  <a:lnTo>
                    <a:pt x="38" y="86"/>
                  </a:lnTo>
                  <a:lnTo>
                    <a:pt x="36" y="88"/>
                  </a:lnTo>
                  <a:lnTo>
                    <a:pt x="34" y="88"/>
                  </a:lnTo>
                  <a:lnTo>
                    <a:pt x="32" y="90"/>
                  </a:lnTo>
                  <a:lnTo>
                    <a:pt x="30" y="90"/>
                  </a:lnTo>
                  <a:lnTo>
                    <a:pt x="30" y="90"/>
                  </a:lnTo>
                  <a:lnTo>
                    <a:pt x="28" y="90"/>
                  </a:lnTo>
                  <a:lnTo>
                    <a:pt x="26" y="92"/>
                  </a:lnTo>
                  <a:lnTo>
                    <a:pt x="24" y="92"/>
                  </a:lnTo>
                  <a:lnTo>
                    <a:pt x="24" y="92"/>
                  </a:lnTo>
                  <a:lnTo>
                    <a:pt x="22" y="92"/>
                  </a:lnTo>
                  <a:lnTo>
                    <a:pt x="22" y="92"/>
                  </a:lnTo>
                  <a:lnTo>
                    <a:pt x="22" y="94"/>
                  </a:lnTo>
                  <a:lnTo>
                    <a:pt x="20" y="94"/>
                  </a:lnTo>
                  <a:lnTo>
                    <a:pt x="20" y="94"/>
                  </a:lnTo>
                  <a:lnTo>
                    <a:pt x="20" y="96"/>
                  </a:lnTo>
                  <a:lnTo>
                    <a:pt x="20" y="98"/>
                  </a:lnTo>
                  <a:lnTo>
                    <a:pt x="20" y="100"/>
                  </a:lnTo>
                  <a:lnTo>
                    <a:pt x="20" y="102"/>
                  </a:lnTo>
                  <a:lnTo>
                    <a:pt x="20" y="102"/>
                  </a:lnTo>
                  <a:lnTo>
                    <a:pt x="20" y="102"/>
                  </a:lnTo>
                  <a:lnTo>
                    <a:pt x="20" y="104"/>
                  </a:lnTo>
                  <a:lnTo>
                    <a:pt x="18" y="104"/>
                  </a:lnTo>
                  <a:lnTo>
                    <a:pt x="18" y="104"/>
                  </a:lnTo>
                  <a:lnTo>
                    <a:pt x="16" y="104"/>
                  </a:lnTo>
                  <a:lnTo>
                    <a:pt x="16" y="104"/>
                  </a:lnTo>
                  <a:lnTo>
                    <a:pt x="14" y="104"/>
                  </a:lnTo>
                  <a:lnTo>
                    <a:pt x="12" y="102"/>
                  </a:lnTo>
                  <a:lnTo>
                    <a:pt x="8" y="102"/>
                  </a:lnTo>
                  <a:lnTo>
                    <a:pt x="6" y="100"/>
                  </a:lnTo>
                  <a:lnTo>
                    <a:pt x="2" y="100"/>
                  </a:lnTo>
                  <a:lnTo>
                    <a:pt x="0" y="98"/>
                  </a:lnTo>
                  <a:lnTo>
                    <a:pt x="0" y="88"/>
                  </a:lnTo>
                  <a:lnTo>
                    <a:pt x="2" y="80"/>
                  </a:lnTo>
                  <a:lnTo>
                    <a:pt x="2" y="68"/>
                  </a:lnTo>
                  <a:lnTo>
                    <a:pt x="4" y="62"/>
                  </a:lnTo>
                  <a:lnTo>
                    <a:pt x="4" y="54"/>
                  </a:lnTo>
                  <a:lnTo>
                    <a:pt x="6" y="48"/>
                  </a:lnTo>
                  <a:lnTo>
                    <a:pt x="6" y="42"/>
                  </a:lnTo>
                  <a:lnTo>
                    <a:pt x="8" y="38"/>
                  </a:lnTo>
                  <a:lnTo>
                    <a:pt x="8" y="32"/>
                  </a:lnTo>
                  <a:lnTo>
                    <a:pt x="10" y="30"/>
                  </a:lnTo>
                  <a:lnTo>
                    <a:pt x="10" y="28"/>
                  </a:lnTo>
                  <a:lnTo>
                    <a:pt x="10" y="26"/>
                  </a:lnTo>
                  <a:lnTo>
                    <a:pt x="12" y="24"/>
                  </a:lnTo>
                  <a:lnTo>
                    <a:pt x="12" y="24"/>
                  </a:lnTo>
                  <a:lnTo>
                    <a:pt x="14" y="22"/>
                  </a:lnTo>
                  <a:lnTo>
                    <a:pt x="16" y="20"/>
                  </a:lnTo>
                  <a:lnTo>
                    <a:pt x="18" y="18"/>
                  </a:lnTo>
                  <a:lnTo>
                    <a:pt x="22" y="16"/>
                  </a:lnTo>
                  <a:lnTo>
                    <a:pt x="24" y="14"/>
                  </a:lnTo>
                  <a:lnTo>
                    <a:pt x="30" y="10"/>
                  </a:lnTo>
                  <a:lnTo>
                    <a:pt x="34" y="6"/>
                  </a:lnTo>
                  <a:lnTo>
                    <a:pt x="40" y="4"/>
                  </a:lnTo>
                  <a:lnTo>
                    <a:pt x="44" y="0"/>
                  </a:lnTo>
                  <a:lnTo>
                    <a:pt x="42" y="6"/>
                  </a:lnTo>
                  <a:lnTo>
                    <a:pt x="42" y="10"/>
                  </a:lnTo>
                  <a:lnTo>
                    <a:pt x="42" y="16"/>
                  </a:lnTo>
                  <a:lnTo>
                    <a:pt x="42" y="20"/>
                  </a:lnTo>
                  <a:lnTo>
                    <a:pt x="42" y="22"/>
                  </a:lnTo>
                  <a:lnTo>
                    <a:pt x="42" y="26"/>
                  </a:lnTo>
                  <a:lnTo>
                    <a:pt x="42" y="28"/>
                  </a:lnTo>
                  <a:lnTo>
                    <a:pt x="44" y="32"/>
                  </a:lnTo>
                  <a:lnTo>
                    <a:pt x="44" y="34"/>
                  </a:lnTo>
                  <a:lnTo>
                    <a:pt x="44" y="34"/>
                  </a:lnTo>
                  <a:lnTo>
                    <a:pt x="44" y="36"/>
                  </a:lnTo>
                  <a:lnTo>
                    <a:pt x="46" y="36"/>
                  </a:lnTo>
                  <a:lnTo>
                    <a:pt x="46" y="38"/>
                  </a:lnTo>
                  <a:lnTo>
                    <a:pt x="46" y="38"/>
                  </a:lnTo>
                  <a:lnTo>
                    <a:pt x="48" y="38"/>
                  </a:lnTo>
                  <a:lnTo>
                    <a:pt x="48" y="38"/>
                  </a:lnTo>
                  <a:lnTo>
                    <a:pt x="48" y="38"/>
                  </a:lnTo>
                  <a:lnTo>
                    <a:pt x="50" y="38"/>
                  </a:lnTo>
                  <a:lnTo>
                    <a:pt x="54" y="38"/>
                  </a:lnTo>
                  <a:lnTo>
                    <a:pt x="56" y="38"/>
                  </a:lnTo>
                  <a:lnTo>
                    <a:pt x="58" y="36"/>
                  </a:lnTo>
                  <a:lnTo>
                    <a:pt x="60" y="36"/>
                  </a:lnTo>
                  <a:lnTo>
                    <a:pt x="60" y="36"/>
                  </a:lnTo>
                  <a:lnTo>
                    <a:pt x="62" y="38"/>
                  </a:lnTo>
                  <a:lnTo>
                    <a:pt x="62" y="38"/>
                  </a:lnTo>
                  <a:lnTo>
                    <a:pt x="62" y="38"/>
                  </a:lnTo>
                  <a:lnTo>
                    <a:pt x="64" y="40"/>
                  </a:lnTo>
                  <a:lnTo>
                    <a:pt x="66" y="44"/>
                  </a:lnTo>
                  <a:lnTo>
                    <a:pt x="68" y="44"/>
                  </a:lnTo>
                  <a:lnTo>
                    <a:pt x="68" y="44"/>
                  </a:lnTo>
                  <a:lnTo>
                    <a:pt x="70" y="46"/>
                  </a:lnTo>
                  <a:lnTo>
                    <a:pt x="72" y="46"/>
                  </a:lnTo>
                  <a:lnTo>
                    <a:pt x="76" y="46"/>
                  </a:lnTo>
                  <a:lnTo>
                    <a:pt x="78" y="46"/>
                  </a:lnTo>
                  <a:lnTo>
                    <a:pt x="80" y="46"/>
                  </a:lnTo>
                  <a:lnTo>
                    <a:pt x="82" y="46"/>
                  </a:lnTo>
                  <a:lnTo>
                    <a:pt x="84" y="46"/>
                  </a:lnTo>
                  <a:lnTo>
                    <a:pt x="84" y="46"/>
                  </a:lnTo>
                  <a:lnTo>
                    <a:pt x="86" y="46"/>
                  </a:lnTo>
                  <a:lnTo>
                    <a:pt x="86" y="44"/>
                  </a:lnTo>
                  <a:lnTo>
                    <a:pt x="86" y="44"/>
                  </a:lnTo>
                  <a:lnTo>
                    <a:pt x="88" y="42"/>
                  </a:lnTo>
                  <a:lnTo>
                    <a:pt x="88" y="42"/>
                  </a:lnTo>
                  <a:lnTo>
                    <a:pt x="88" y="40"/>
                  </a:lnTo>
                  <a:lnTo>
                    <a:pt x="88" y="38"/>
                  </a:lnTo>
                  <a:lnTo>
                    <a:pt x="88" y="36"/>
                  </a:lnTo>
                  <a:lnTo>
                    <a:pt x="88" y="32"/>
                  </a:lnTo>
                  <a:lnTo>
                    <a:pt x="88" y="28"/>
                  </a:lnTo>
                  <a:lnTo>
                    <a:pt x="88" y="24"/>
                  </a:lnTo>
                  <a:lnTo>
                    <a:pt x="88" y="20"/>
                  </a:lnTo>
                  <a:lnTo>
                    <a:pt x="92" y="28"/>
                  </a:lnTo>
                  <a:lnTo>
                    <a:pt x="94" y="34"/>
                  </a:lnTo>
                  <a:lnTo>
                    <a:pt x="98" y="38"/>
                  </a:lnTo>
                  <a:lnTo>
                    <a:pt x="98" y="40"/>
                  </a:lnTo>
                  <a:lnTo>
                    <a:pt x="98" y="42"/>
                  </a:lnTo>
                  <a:lnTo>
                    <a:pt x="100" y="44"/>
                  </a:lnTo>
                  <a:lnTo>
                    <a:pt x="100" y="46"/>
                  </a:lnTo>
                  <a:lnTo>
                    <a:pt x="100" y="48"/>
                  </a:lnTo>
                  <a:lnTo>
                    <a:pt x="102" y="50"/>
                  </a:lnTo>
                  <a:lnTo>
                    <a:pt x="102" y="50"/>
                  </a:lnTo>
                  <a:lnTo>
                    <a:pt x="102" y="50"/>
                  </a:lnTo>
                  <a:lnTo>
                    <a:pt x="102" y="50"/>
                  </a:lnTo>
                  <a:lnTo>
                    <a:pt x="104" y="50"/>
                  </a:lnTo>
                  <a:lnTo>
                    <a:pt x="106" y="50"/>
                  </a:lnTo>
                  <a:lnTo>
                    <a:pt x="106" y="50"/>
                  </a:lnTo>
                  <a:lnTo>
                    <a:pt x="108" y="50"/>
                  </a:lnTo>
                  <a:lnTo>
                    <a:pt x="112" y="48"/>
                  </a:lnTo>
                  <a:lnTo>
                    <a:pt x="116" y="46"/>
                  </a:lnTo>
                  <a:lnTo>
                    <a:pt x="118" y="46"/>
                  </a:lnTo>
                  <a:lnTo>
                    <a:pt x="120" y="46"/>
                  </a:lnTo>
                  <a:lnTo>
                    <a:pt x="120" y="46"/>
                  </a:lnTo>
                  <a:lnTo>
                    <a:pt x="122" y="46"/>
                  </a:lnTo>
                  <a:lnTo>
                    <a:pt x="124" y="46"/>
                  </a:lnTo>
                  <a:lnTo>
                    <a:pt x="128" y="46"/>
                  </a:lnTo>
                  <a:lnTo>
                    <a:pt x="134" y="46"/>
                  </a:lnTo>
                  <a:lnTo>
                    <a:pt x="138" y="48"/>
                  </a:lnTo>
                  <a:lnTo>
                    <a:pt x="142" y="48"/>
                  </a:lnTo>
                  <a:lnTo>
                    <a:pt x="144" y="50"/>
                  </a:lnTo>
                  <a:lnTo>
                    <a:pt x="146" y="50"/>
                  </a:lnTo>
                  <a:lnTo>
                    <a:pt x="148" y="52"/>
                  </a:lnTo>
                  <a:lnTo>
                    <a:pt x="150" y="52"/>
                  </a:lnTo>
                  <a:lnTo>
                    <a:pt x="152" y="54"/>
                  </a:lnTo>
                  <a:lnTo>
                    <a:pt x="152" y="54"/>
                  </a:lnTo>
                  <a:lnTo>
                    <a:pt x="152" y="56"/>
                  </a:lnTo>
                  <a:lnTo>
                    <a:pt x="154" y="56"/>
                  </a:lnTo>
                  <a:lnTo>
                    <a:pt x="154" y="58"/>
                  </a:lnTo>
                  <a:lnTo>
                    <a:pt x="154" y="58"/>
                  </a:lnTo>
                  <a:lnTo>
                    <a:pt x="154" y="60"/>
                  </a:lnTo>
                  <a:lnTo>
                    <a:pt x="154" y="62"/>
                  </a:lnTo>
                  <a:lnTo>
                    <a:pt x="154" y="66"/>
                  </a:lnTo>
                  <a:lnTo>
                    <a:pt x="154" y="72"/>
                  </a:lnTo>
                  <a:lnTo>
                    <a:pt x="154" y="74"/>
                  </a:lnTo>
                  <a:lnTo>
                    <a:pt x="154" y="76"/>
                  </a:lnTo>
                  <a:lnTo>
                    <a:pt x="154" y="76"/>
                  </a:lnTo>
                  <a:lnTo>
                    <a:pt x="154" y="80"/>
                  </a:lnTo>
                  <a:lnTo>
                    <a:pt x="156" y="84"/>
                  </a:lnTo>
                  <a:lnTo>
                    <a:pt x="156" y="86"/>
                  </a:lnTo>
                  <a:lnTo>
                    <a:pt x="158" y="88"/>
                  </a:lnTo>
                  <a:lnTo>
                    <a:pt x="158" y="90"/>
                  </a:lnTo>
                  <a:lnTo>
                    <a:pt x="158" y="90"/>
                  </a:lnTo>
                  <a:lnTo>
                    <a:pt x="160" y="90"/>
                  </a:lnTo>
                  <a:lnTo>
                    <a:pt x="160" y="92"/>
                  </a:lnTo>
                  <a:lnTo>
                    <a:pt x="162" y="92"/>
                  </a:lnTo>
                  <a:lnTo>
                    <a:pt x="164" y="94"/>
                  </a:lnTo>
                  <a:lnTo>
                    <a:pt x="168" y="94"/>
                  </a:lnTo>
                  <a:lnTo>
                    <a:pt x="172" y="96"/>
                  </a:lnTo>
                  <a:lnTo>
                    <a:pt x="174" y="98"/>
                  </a:lnTo>
                  <a:lnTo>
                    <a:pt x="176" y="98"/>
                  </a:lnTo>
                  <a:lnTo>
                    <a:pt x="178" y="100"/>
                  </a:lnTo>
                  <a:lnTo>
                    <a:pt x="182" y="102"/>
                  </a:lnTo>
                  <a:lnTo>
                    <a:pt x="186" y="106"/>
                  </a:lnTo>
                  <a:lnTo>
                    <a:pt x="184" y="114"/>
                  </a:lnTo>
                  <a:lnTo>
                    <a:pt x="180" y="118"/>
                  </a:lnTo>
                  <a:lnTo>
                    <a:pt x="180" y="122"/>
                  </a:lnTo>
                  <a:lnTo>
                    <a:pt x="178" y="122"/>
                  </a:lnTo>
                  <a:lnTo>
                    <a:pt x="178" y="124"/>
                  </a:lnTo>
                  <a:lnTo>
                    <a:pt x="176" y="126"/>
                  </a:lnTo>
                  <a:lnTo>
                    <a:pt x="172" y="130"/>
                  </a:lnTo>
                  <a:lnTo>
                    <a:pt x="168" y="136"/>
                  </a:lnTo>
                  <a:lnTo>
                    <a:pt x="168" y="136"/>
                  </a:lnTo>
                  <a:lnTo>
                    <a:pt x="166" y="138"/>
                  </a:lnTo>
                  <a:lnTo>
                    <a:pt x="164" y="142"/>
                  </a:lnTo>
                  <a:lnTo>
                    <a:pt x="162" y="146"/>
                  </a:lnTo>
                  <a:lnTo>
                    <a:pt x="156" y="156"/>
                  </a:lnTo>
                  <a:lnTo>
                    <a:pt x="150" y="16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6" name="Freeform 144">
              <a:extLst>
                <a:ext uri="{FF2B5EF4-FFF2-40B4-BE49-F238E27FC236}">
                  <a16:creationId xmlns:a16="http://schemas.microsoft.com/office/drawing/2014/main" id="{342D3B45-1536-42AC-A1DD-7088FD2C6ACF}"/>
                </a:ext>
              </a:extLst>
            </p:cNvPr>
            <p:cNvSpPr>
              <a:spLocks/>
            </p:cNvSpPr>
            <p:nvPr/>
          </p:nvSpPr>
          <p:spPr bwMode="auto">
            <a:xfrm>
              <a:off x="5644479" y="3260551"/>
              <a:ext cx="322166" cy="290989"/>
            </a:xfrm>
            <a:custGeom>
              <a:avLst/>
              <a:gdLst>
                <a:gd name="T0" fmla="*/ 140 w 186"/>
                <a:gd name="T1" fmla="*/ 162 h 168"/>
                <a:gd name="T2" fmla="*/ 122 w 186"/>
                <a:gd name="T3" fmla="*/ 162 h 168"/>
                <a:gd name="T4" fmla="*/ 122 w 186"/>
                <a:gd name="T5" fmla="*/ 154 h 168"/>
                <a:gd name="T6" fmla="*/ 120 w 186"/>
                <a:gd name="T7" fmla="*/ 150 h 168"/>
                <a:gd name="T8" fmla="*/ 116 w 186"/>
                <a:gd name="T9" fmla="*/ 148 h 168"/>
                <a:gd name="T10" fmla="*/ 110 w 186"/>
                <a:gd name="T11" fmla="*/ 150 h 168"/>
                <a:gd name="T12" fmla="*/ 106 w 186"/>
                <a:gd name="T13" fmla="*/ 152 h 168"/>
                <a:gd name="T14" fmla="*/ 94 w 186"/>
                <a:gd name="T15" fmla="*/ 148 h 168"/>
                <a:gd name="T16" fmla="*/ 82 w 186"/>
                <a:gd name="T17" fmla="*/ 138 h 168"/>
                <a:gd name="T18" fmla="*/ 72 w 186"/>
                <a:gd name="T19" fmla="*/ 128 h 168"/>
                <a:gd name="T20" fmla="*/ 72 w 186"/>
                <a:gd name="T21" fmla="*/ 120 h 168"/>
                <a:gd name="T22" fmla="*/ 76 w 186"/>
                <a:gd name="T23" fmla="*/ 114 h 168"/>
                <a:gd name="T24" fmla="*/ 74 w 186"/>
                <a:gd name="T25" fmla="*/ 112 h 168"/>
                <a:gd name="T26" fmla="*/ 64 w 186"/>
                <a:gd name="T27" fmla="*/ 110 h 168"/>
                <a:gd name="T28" fmla="*/ 52 w 186"/>
                <a:gd name="T29" fmla="*/ 108 h 168"/>
                <a:gd name="T30" fmla="*/ 48 w 186"/>
                <a:gd name="T31" fmla="*/ 106 h 168"/>
                <a:gd name="T32" fmla="*/ 52 w 186"/>
                <a:gd name="T33" fmla="*/ 102 h 168"/>
                <a:gd name="T34" fmla="*/ 52 w 186"/>
                <a:gd name="T35" fmla="*/ 100 h 168"/>
                <a:gd name="T36" fmla="*/ 48 w 186"/>
                <a:gd name="T37" fmla="*/ 96 h 168"/>
                <a:gd name="T38" fmla="*/ 44 w 186"/>
                <a:gd name="T39" fmla="*/ 90 h 168"/>
                <a:gd name="T40" fmla="*/ 40 w 186"/>
                <a:gd name="T41" fmla="*/ 86 h 168"/>
                <a:gd name="T42" fmla="*/ 36 w 186"/>
                <a:gd name="T43" fmla="*/ 88 h 168"/>
                <a:gd name="T44" fmla="*/ 28 w 186"/>
                <a:gd name="T45" fmla="*/ 90 h 168"/>
                <a:gd name="T46" fmla="*/ 22 w 186"/>
                <a:gd name="T47" fmla="*/ 92 h 168"/>
                <a:gd name="T48" fmla="*/ 20 w 186"/>
                <a:gd name="T49" fmla="*/ 98 h 168"/>
                <a:gd name="T50" fmla="*/ 20 w 186"/>
                <a:gd name="T51" fmla="*/ 104 h 168"/>
                <a:gd name="T52" fmla="*/ 14 w 186"/>
                <a:gd name="T53" fmla="*/ 104 h 168"/>
                <a:gd name="T54" fmla="*/ 0 w 186"/>
                <a:gd name="T55" fmla="*/ 98 h 168"/>
                <a:gd name="T56" fmla="*/ 4 w 186"/>
                <a:gd name="T57" fmla="*/ 54 h 168"/>
                <a:gd name="T58" fmla="*/ 10 w 186"/>
                <a:gd name="T59" fmla="*/ 30 h 168"/>
                <a:gd name="T60" fmla="*/ 14 w 186"/>
                <a:gd name="T61" fmla="*/ 22 h 168"/>
                <a:gd name="T62" fmla="*/ 30 w 186"/>
                <a:gd name="T63" fmla="*/ 10 h 168"/>
                <a:gd name="T64" fmla="*/ 42 w 186"/>
                <a:gd name="T65" fmla="*/ 10 h 168"/>
                <a:gd name="T66" fmla="*/ 42 w 186"/>
                <a:gd name="T67" fmla="*/ 28 h 168"/>
                <a:gd name="T68" fmla="*/ 46 w 186"/>
                <a:gd name="T69" fmla="*/ 36 h 168"/>
                <a:gd name="T70" fmla="*/ 48 w 186"/>
                <a:gd name="T71" fmla="*/ 38 h 168"/>
                <a:gd name="T72" fmla="*/ 60 w 186"/>
                <a:gd name="T73" fmla="*/ 36 h 168"/>
                <a:gd name="T74" fmla="*/ 64 w 186"/>
                <a:gd name="T75" fmla="*/ 40 h 168"/>
                <a:gd name="T76" fmla="*/ 72 w 186"/>
                <a:gd name="T77" fmla="*/ 46 h 168"/>
                <a:gd name="T78" fmla="*/ 84 w 186"/>
                <a:gd name="T79" fmla="*/ 46 h 168"/>
                <a:gd name="T80" fmla="*/ 88 w 186"/>
                <a:gd name="T81" fmla="*/ 42 h 168"/>
                <a:gd name="T82" fmla="*/ 88 w 186"/>
                <a:gd name="T83" fmla="*/ 32 h 168"/>
                <a:gd name="T84" fmla="*/ 94 w 186"/>
                <a:gd name="T85" fmla="*/ 34 h 168"/>
                <a:gd name="T86" fmla="*/ 100 w 186"/>
                <a:gd name="T87" fmla="*/ 46 h 168"/>
                <a:gd name="T88" fmla="*/ 102 w 186"/>
                <a:gd name="T89" fmla="*/ 50 h 168"/>
                <a:gd name="T90" fmla="*/ 112 w 186"/>
                <a:gd name="T91" fmla="*/ 48 h 168"/>
                <a:gd name="T92" fmla="*/ 122 w 186"/>
                <a:gd name="T93" fmla="*/ 46 h 168"/>
                <a:gd name="T94" fmla="*/ 142 w 186"/>
                <a:gd name="T95" fmla="*/ 48 h 168"/>
                <a:gd name="T96" fmla="*/ 152 w 186"/>
                <a:gd name="T97" fmla="*/ 54 h 168"/>
                <a:gd name="T98" fmla="*/ 154 w 186"/>
                <a:gd name="T99" fmla="*/ 58 h 168"/>
                <a:gd name="T100" fmla="*/ 154 w 186"/>
                <a:gd name="T101" fmla="*/ 74 h 168"/>
                <a:gd name="T102" fmla="*/ 156 w 186"/>
                <a:gd name="T103" fmla="*/ 86 h 168"/>
                <a:gd name="T104" fmla="*/ 160 w 186"/>
                <a:gd name="T105" fmla="*/ 92 h 168"/>
                <a:gd name="T106" fmla="*/ 174 w 186"/>
                <a:gd name="T107" fmla="*/ 98 h 168"/>
                <a:gd name="T108" fmla="*/ 184 w 186"/>
                <a:gd name="T109" fmla="*/ 114 h 168"/>
                <a:gd name="T110" fmla="*/ 176 w 186"/>
                <a:gd name="T111" fmla="*/ 126 h 168"/>
                <a:gd name="T112" fmla="*/ 164 w 186"/>
                <a:gd name="T113" fmla="*/ 14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6" h="168">
                  <a:moveTo>
                    <a:pt x="150" y="168"/>
                  </a:moveTo>
                  <a:lnTo>
                    <a:pt x="150" y="168"/>
                  </a:lnTo>
                  <a:lnTo>
                    <a:pt x="146" y="166"/>
                  </a:lnTo>
                  <a:lnTo>
                    <a:pt x="142" y="164"/>
                  </a:lnTo>
                  <a:lnTo>
                    <a:pt x="140" y="162"/>
                  </a:lnTo>
                  <a:lnTo>
                    <a:pt x="140" y="162"/>
                  </a:lnTo>
                  <a:lnTo>
                    <a:pt x="138" y="162"/>
                  </a:lnTo>
                  <a:lnTo>
                    <a:pt x="134" y="162"/>
                  </a:lnTo>
                  <a:lnTo>
                    <a:pt x="128" y="162"/>
                  </a:lnTo>
                  <a:lnTo>
                    <a:pt x="122" y="162"/>
                  </a:lnTo>
                  <a:lnTo>
                    <a:pt x="120" y="162"/>
                  </a:lnTo>
                  <a:lnTo>
                    <a:pt x="120" y="160"/>
                  </a:lnTo>
                  <a:lnTo>
                    <a:pt x="122" y="156"/>
                  </a:lnTo>
                  <a:lnTo>
                    <a:pt x="122" y="156"/>
                  </a:lnTo>
                  <a:lnTo>
                    <a:pt x="122" y="154"/>
                  </a:lnTo>
                  <a:lnTo>
                    <a:pt x="122" y="152"/>
                  </a:lnTo>
                  <a:lnTo>
                    <a:pt x="122" y="152"/>
                  </a:lnTo>
                  <a:lnTo>
                    <a:pt x="122" y="150"/>
                  </a:lnTo>
                  <a:lnTo>
                    <a:pt x="120" y="150"/>
                  </a:lnTo>
                  <a:lnTo>
                    <a:pt x="120" y="150"/>
                  </a:lnTo>
                  <a:lnTo>
                    <a:pt x="120" y="148"/>
                  </a:lnTo>
                  <a:lnTo>
                    <a:pt x="118" y="148"/>
                  </a:lnTo>
                  <a:lnTo>
                    <a:pt x="118" y="148"/>
                  </a:lnTo>
                  <a:lnTo>
                    <a:pt x="116" y="148"/>
                  </a:lnTo>
                  <a:lnTo>
                    <a:pt x="116" y="148"/>
                  </a:lnTo>
                  <a:lnTo>
                    <a:pt x="114" y="148"/>
                  </a:lnTo>
                  <a:lnTo>
                    <a:pt x="114" y="148"/>
                  </a:lnTo>
                  <a:lnTo>
                    <a:pt x="114" y="148"/>
                  </a:lnTo>
                  <a:lnTo>
                    <a:pt x="112" y="148"/>
                  </a:lnTo>
                  <a:lnTo>
                    <a:pt x="110" y="150"/>
                  </a:lnTo>
                  <a:lnTo>
                    <a:pt x="108" y="150"/>
                  </a:lnTo>
                  <a:lnTo>
                    <a:pt x="108" y="152"/>
                  </a:lnTo>
                  <a:lnTo>
                    <a:pt x="106" y="152"/>
                  </a:lnTo>
                  <a:lnTo>
                    <a:pt x="106" y="152"/>
                  </a:lnTo>
                  <a:lnTo>
                    <a:pt x="106" y="152"/>
                  </a:lnTo>
                  <a:lnTo>
                    <a:pt x="104" y="152"/>
                  </a:lnTo>
                  <a:lnTo>
                    <a:pt x="102" y="152"/>
                  </a:lnTo>
                  <a:lnTo>
                    <a:pt x="100" y="150"/>
                  </a:lnTo>
                  <a:lnTo>
                    <a:pt x="96" y="150"/>
                  </a:lnTo>
                  <a:lnTo>
                    <a:pt x="94" y="148"/>
                  </a:lnTo>
                  <a:lnTo>
                    <a:pt x="92" y="146"/>
                  </a:lnTo>
                  <a:lnTo>
                    <a:pt x="88" y="144"/>
                  </a:lnTo>
                  <a:lnTo>
                    <a:pt x="86" y="142"/>
                  </a:lnTo>
                  <a:lnTo>
                    <a:pt x="84" y="140"/>
                  </a:lnTo>
                  <a:lnTo>
                    <a:pt x="82" y="138"/>
                  </a:lnTo>
                  <a:lnTo>
                    <a:pt x="80" y="136"/>
                  </a:lnTo>
                  <a:lnTo>
                    <a:pt x="78" y="134"/>
                  </a:lnTo>
                  <a:lnTo>
                    <a:pt x="76" y="132"/>
                  </a:lnTo>
                  <a:lnTo>
                    <a:pt x="74" y="130"/>
                  </a:lnTo>
                  <a:lnTo>
                    <a:pt x="72" y="128"/>
                  </a:lnTo>
                  <a:lnTo>
                    <a:pt x="72" y="126"/>
                  </a:lnTo>
                  <a:lnTo>
                    <a:pt x="72" y="124"/>
                  </a:lnTo>
                  <a:lnTo>
                    <a:pt x="72" y="124"/>
                  </a:lnTo>
                  <a:lnTo>
                    <a:pt x="72" y="122"/>
                  </a:lnTo>
                  <a:lnTo>
                    <a:pt x="72" y="120"/>
                  </a:lnTo>
                  <a:lnTo>
                    <a:pt x="74" y="120"/>
                  </a:lnTo>
                  <a:lnTo>
                    <a:pt x="74" y="118"/>
                  </a:lnTo>
                  <a:lnTo>
                    <a:pt x="76" y="116"/>
                  </a:lnTo>
                  <a:lnTo>
                    <a:pt x="76" y="116"/>
                  </a:lnTo>
                  <a:lnTo>
                    <a:pt x="76" y="114"/>
                  </a:lnTo>
                  <a:lnTo>
                    <a:pt x="76" y="114"/>
                  </a:lnTo>
                  <a:lnTo>
                    <a:pt x="76" y="114"/>
                  </a:lnTo>
                  <a:lnTo>
                    <a:pt x="76" y="112"/>
                  </a:lnTo>
                  <a:lnTo>
                    <a:pt x="74" y="112"/>
                  </a:lnTo>
                  <a:lnTo>
                    <a:pt x="74" y="112"/>
                  </a:lnTo>
                  <a:lnTo>
                    <a:pt x="72" y="110"/>
                  </a:lnTo>
                  <a:lnTo>
                    <a:pt x="70" y="110"/>
                  </a:lnTo>
                  <a:lnTo>
                    <a:pt x="68" y="110"/>
                  </a:lnTo>
                  <a:lnTo>
                    <a:pt x="66" y="110"/>
                  </a:lnTo>
                  <a:lnTo>
                    <a:pt x="64" y="110"/>
                  </a:lnTo>
                  <a:lnTo>
                    <a:pt x="62" y="110"/>
                  </a:lnTo>
                  <a:lnTo>
                    <a:pt x="60" y="110"/>
                  </a:lnTo>
                  <a:lnTo>
                    <a:pt x="58" y="110"/>
                  </a:lnTo>
                  <a:lnTo>
                    <a:pt x="54" y="110"/>
                  </a:lnTo>
                  <a:lnTo>
                    <a:pt x="52" y="108"/>
                  </a:lnTo>
                  <a:lnTo>
                    <a:pt x="50" y="108"/>
                  </a:lnTo>
                  <a:lnTo>
                    <a:pt x="50" y="108"/>
                  </a:lnTo>
                  <a:lnTo>
                    <a:pt x="50" y="108"/>
                  </a:lnTo>
                  <a:lnTo>
                    <a:pt x="50" y="108"/>
                  </a:lnTo>
                  <a:lnTo>
                    <a:pt x="48" y="106"/>
                  </a:lnTo>
                  <a:lnTo>
                    <a:pt x="48" y="106"/>
                  </a:lnTo>
                  <a:lnTo>
                    <a:pt x="50" y="106"/>
                  </a:lnTo>
                  <a:lnTo>
                    <a:pt x="50" y="104"/>
                  </a:lnTo>
                  <a:lnTo>
                    <a:pt x="50" y="104"/>
                  </a:lnTo>
                  <a:lnTo>
                    <a:pt x="52" y="102"/>
                  </a:lnTo>
                  <a:lnTo>
                    <a:pt x="52" y="102"/>
                  </a:lnTo>
                  <a:lnTo>
                    <a:pt x="52" y="100"/>
                  </a:lnTo>
                  <a:lnTo>
                    <a:pt x="52" y="100"/>
                  </a:lnTo>
                  <a:lnTo>
                    <a:pt x="52" y="100"/>
                  </a:lnTo>
                  <a:lnTo>
                    <a:pt x="52" y="100"/>
                  </a:lnTo>
                  <a:lnTo>
                    <a:pt x="52" y="100"/>
                  </a:lnTo>
                  <a:lnTo>
                    <a:pt x="52" y="98"/>
                  </a:lnTo>
                  <a:lnTo>
                    <a:pt x="50" y="98"/>
                  </a:lnTo>
                  <a:lnTo>
                    <a:pt x="50" y="96"/>
                  </a:lnTo>
                  <a:lnTo>
                    <a:pt x="48" y="96"/>
                  </a:lnTo>
                  <a:lnTo>
                    <a:pt x="46" y="94"/>
                  </a:lnTo>
                  <a:lnTo>
                    <a:pt x="46" y="94"/>
                  </a:lnTo>
                  <a:lnTo>
                    <a:pt x="44" y="94"/>
                  </a:lnTo>
                  <a:lnTo>
                    <a:pt x="44" y="92"/>
                  </a:lnTo>
                  <a:lnTo>
                    <a:pt x="44" y="90"/>
                  </a:lnTo>
                  <a:lnTo>
                    <a:pt x="42" y="88"/>
                  </a:lnTo>
                  <a:lnTo>
                    <a:pt x="42" y="86"/>
                  </a:lnTo>
                  <a:lnTo>
                    <a:pt x="42" y="86"/>
                  </a:lnTo>
                  <a:lnTo>
                    <a:pt x="42" y="86"/>
                  </a:lnTo>
                  <a:lnTo>
                    <a:pt x="40" y="86"/>
                  </a:lnTo>
                  <a:lnTo>
                    <a:pt x="40" y="86"/>
                  </a:lnTo>
                  <a:lnTo>
                    <a:pt x="40" y="86"/>
                  </a:lnTo>
                  <a:lnTo>
                    <a:pt x="38" y="86"/>
                  </a:lnTo>
                  <a:lnTo>
                    <a:pt x="38" y="86"/>
                  </a:lnTo>
                  <a:lnTo>
                    <a:pt x="36" y="88"/>
                  </a:lnTo>
                  <a:lnTo>
                    <a:pt x="34" y="88"/>
                  </a:lnTo>
                  <a:lnTo>
                    <a:pt x="32" y="90"/>
                  </a:lnTo>
                  <a:lnTo>
                    <a:pt x="30" y="90"/>
                  </a:lnTo>
                  <a:lnTo>
                    <a:pt x="30" y="90"/>
                  </a:lnTo>
                  <a:lnTo>
                    <a:pt x="28" y="90"/>
                  </a:lnTo>
                  <a:lnTo>
                    <a:pt x="26" y="92"/>
                  </a:lnTo>
                  <a:lnTo>
                    <a:pt x="24" y="92"/>
                  </a:lnTo>
                  <a:lnTo>
                    <a:pt x="24" y="92"/>
                  </a:lnTo>
                  <a:lnTo>
                    <a:pt x="22" y="92"/>
                  </a:lnTo>
                  <a:lnTo>
                    <a:pt x="22" y="92"/>
                  </a:lnTo>
                  <a:lnTo>
                    <a:pt x="22" y="94"/>
                  </a:lnTo>
                  <a:lnTo>
                    <a:pt x="20" y="94"/>
                  </a:lnTo>
                  <a:lnTo>
                    <a:pt x="20" y="94"/>
                  </a:lnTo>
                  <a:lnTo>
                    <a:pt x="20" y="96"/>
                  </a:lnTo>
                  <a:lnTo>
                    <a:pt x="20" y="98"/>
                  </a:lnTo>
                  <a:lnTo>
                    <a:pt x="20" y="100"/>
                  </a:lnTo>
                  <a:lnTo>
                    <a:pt x="20" y="102"/>
                  </a:lnTo>
                  <a:lnTo>
                    <a:pt x="20" y="102"/>
                  </a:lnTo>
                  <a:lnTo>
                    <a:pt x="20" y="102"/>
                  </a:lnTo>
                  <a:lnTo>
                    <a:pt x="20" y="104"/>
                  </a:lnTo>
                  <a:lnTo>
                    <a:pt x="18" y="104"/>
                  </a:lnTo>
                  <a:lnTo>
                    <a:pt x="18" y="104"/>
                  </a:lnTo>
                  <a:lnTo>
                    <a:pt x="16" y="104"/>
                  </a:lnTo>
                  <a:lnTo>
                    <a:pt x="16" y="104"/>
                  </a:lnTo>
                  <a:lnTo>
                    <a:pt x="14" y="104"/>
                  </a:lnTo>
                  <a:lnTo>
                    <a:pt x="12" y="102"/>
                  </a:lnTo>
                  <a:lnTo>
                    <a:pt x="8" y="102"/>
                  </a:lnTo>
                  <a:lnTo>
                    <a:pt x="6" y="100"/>
                  </a:lnTo>
                  <a:lnTo>
                    <a:pt x="2" y="100"/>
                  </a:lnTo>
                  <a:lnTo>
                    <a:pt x="0" y="98"/>
                  </a:lnTo>
                  <a:lnTo>
                    <a:pt x="0" y="88"/>
                  </a:lnTo>
                  <a:lnTo>
                    <a:pt x="2" y="80"/>
                  </a:lnTo>
                  <a:lnTo>
                    <a:pt x="2" y="68"/>
                  </a:lnTo>
                  <a:lnTo>
                    <a:pt x="4" y="62"/>
                  </a:lnTo>
                  <a:lnTo>
                    <a:pt x="4" y="54"/>
                  </a:lnTo>
                  <a:lnTo>
                    <a:pt x="6" y="48"/>
                  </a:lnTo>
                  <a:lnTo>
                    <a:pt x="6" y="42"/>
                  </a:lnTo>
                  <a:lnTo>
                    <a:pt x="8" y="38"/>
                  </a:lnTo>
                  <a:lnTo>
                    <a:pt x="8" y="32"/>
                  </a:lnTo>
                  <a:lnTo>
                    <a:pt x="10" y="30"/>
                  </a:lnTo>
                  <a:lnTo>
                    <a:pt x="10" y="28"/>
                  </a:lnTo>
                  <a:lnTo>
                    <a:pt x="10" y="26"/>
                  </a:lnTo>
                  <a:lnTo>
                    <a:pt x="12" y="24"/>
                  </a:lnTo>
                  <a:lnTo>
                    <a:pt x="12" y="24"/>
                  </a:lnTo>
                  <a:lnTo>
                    <a:pt x="14" y="22"/>
                  </a:lnTo>
                  <a:lnTo>
                    <a:pt x="16" y="20"/>
                  </a:lnTo>
                  <a:lnTo>
                    <a:pt x="18" y="18"/>
                  </a:lnTo>
                  <a:lnTo>
                    <a:pt x="22" y="16"/>
                  </a:lnTo>
                  <a:lnTo>
                    <a:pt x="24" y="14"/>
                  </a:lnTo>
                  <a:lnTo>
                    <a:pt x="30" y="10"/>
                  </a:lnTo>
                  <a:lnTo>
                    <a:pt x="34" y="6"/>
                  </a:lnTo>
                  <a:lnTo>
                    <a:pt x="40" y="4"/>
                  </a:lnTo>
                  <a:lnTo>
                    <a:pt x="44" y="0"/>
                  </a:lnTo>
                  <a:lnTo>
                    <a:pt x="42" y="6"/>
                  </a:lnTo>
                  <a:lnTo>
                    <a:pt x="42" y="10"/>
                  </a:lnTo>
                  <a:lnTo>
                    <a:pt x="42" y="16"/>
                  </a:lnTo>
                  <a:lnTo>
                    <a:pt x="42" y="20"/>
                  </a:lnTo>
                  <a:lnTo>
                    <a:pt x="42" y="22"/>
                  </a:lnTo>
                  <a:lnTo>
                    <a:pt x="42" y="26"/>
                  </a:lnTo>
                  <a:lnTo>
                    <a:pt x="42" y="28"/>
                  </a:lnTo>
                  <a:lnTo>
                    <a:pt x="44" y="32"/>
                  </a:lnTo>
                  <a:lnTo>
                    <a:pt x="44" y="34"/>
                  </a:lnTo>
                  <a:lnTo>
                    <a:pt x="44" y="34"/>
                  </a:lnTo>
                  <a:lnTo>
                    <a:pt x="44" y="36"/>
                  </a:lnTo>
                  <a:lnTo>
                    <a:pt x="46" y="36"/>
                  </a:lnTo>
                  <a:lnTo>
                    <a:pt x="46" y="38"/>
                  </a:lnTo>
                  <a:lnTo>
                    <a:pt x="46" y="38"/>
                  </a:lnTo>
                  <a:lnTo>
                    <a:pt x="48" y="38"/>
                  </a:lnTo>
                  <a:lnTo>
                    <a:pt x="48" y="38"/>
                  </a:lnTo>
                  <a:lnTo>
                    <a:pt x="48" y="38"/>
                  </a:lnTo>
                  <a:lnTo>
                    <a:pt x="50" y="38"/>
                  </a:lnTo>
                  <a:lnTo>
                    <a:pt x="54" y="38"/>
                  </a:lnTo>
                  <a:lnTo>
                    <a:pt x="56" y="38"/>
                  </a:lnTo>
                  <a:lnTo>
                    <a:pt x="58" y="36"/>
                  </a:lnTo>
                  <a:lnTo>
                    <a:pt x="60" y="36"/>
                  </a:lnTo>
                  <a:lnTo>
                    <a:pt x="60" y="36"/>
                  </a:lnTo>
                  <a:lnTo>
                    <a:pt x="62" y="38"/>
                  </a:lnTo>
                  <a:lnTo>
                    <a:pt x="62" y="38"/>
                  </a:lnTo>
                  <a:lnTo>
                    <a:pt x="62" y="38"/>
                  </a:lnTo>
                  <a:lnTo>
                    <a:pt x="64" y="40"/>
                  </a:lnTo>
                  <a:lnTo>
                    <a:pt x="66" y="44"/>
                  </a:lnTo>
                  <a:lnTo>
                    <a:pt x="68" y="44"/>
                  </a:lnTo>
                  <a:lnTo>
                    <a:pt x="68" y="44"/>
                  </a:lnTo>
                  <a:lnTo>
                    <a:pt x="70" y="46"/>
                  </a:lnTo>
                  <a:lnTo>
                    <a:pt x="72" y="46"/>
                  </a:lnTo>
                  <a:lnTo>
                    <a:pt x="76" y="46"/>
                  </a:lnTo>
                  <a:lnTo>
                    <a:pt x="78" y="46"/>
                  </a:lnTo>
                  <a:lnTo>
                    <a:pt x="80" y="46"/>
                  </a:lnTo>
                  <a:lnTo>
                    <a:pt x="82" y="46"/>
                  </a:lnTo>
                  <a:lnTo>
                    <a:pt x="84" y="46"/>
                  </a:lnTo>
                  <a:lnTo>
                    <a:pt x="84" y="46"/>
                  </a:lnTo>
                  <a:lnTo>
                    <a:pt x="86" y="46"/>
                  </a:lnTo>
                  <a:lnTo>
                    <a:pt x="86" y="44"/>
                  </a:lnTo>
                  <a:lnTo>
                    <a:pt x="86" y="44"/>
                  </a:lnTo>
                  <a:lnTo>
                    <a:pt x="88" y="42"/>
                  </a:lnTo>
                  <a:lnTo>
                    <a:pt x="88" y="42"/>
                  </a:lnTo>
                  <a:lnTo>
                    <a:pt x="88" y="40"/>
                  </a:lnTo>
                  <a:lnTo>
                    <a:pt x="88" y="38"/>
                  </a:lnTo>
                  <a:lnTo>
                    <a:pt x="88" y="36"/>
                  </a:lnTo>
                  <a:lnTo>
                    <a:pt x="88" y="32"/>
                  </a:lnTo>
                  <a:lnTo>
                    <a:pt x="88" y="28"/>
                  </a:lnTo>
                  <a:lnTo>
                    <a:pt x="88" y="24"/>
                  </a:lnTo>
                  <a:lnTo>
                    <a:pt x="88" y="20"/>
                  </a:lnTo>
                  <a:lnTo>
                    <a:pt x="92" y="28"/>
                  </a:lnTo>
                  <a:lnTo>
                    <a:pt x="94" y="34"/>
                  </a:lnTo>
                  <a:lnTo>
                    <a:pt x="98" y="38"/>
                  </a:lnTo>
                  <a:lnTo>
                    <a:pt x="98" y="40"/>
                  </a:lnTo>
                  <a:lnTo>
                    <a:pt x="98" y="42"/>
                  </a:lnTo>
                  <a:lnTo>
                    <a:pt x="100" y="44"/>
                  </a:lnTo>
                  <a:lnTo>
                    <a:pt x="100" y="46"/>
                  </a:lnTo>
                  <a:lnTo>
                    <a:pt x="100" y="48"/>
                  </a:lnTo>
                  <a:lnTo>
                    <a:pt x="102" y="50"/>
                  </a:lnTo>
                  <a:lnTo>
                    <a:pt x="102" y="50"/>
                  </a:lnTo>
                  <a:lnTo>
                    <a:pt x="102" y="50"/>
                  </a:lnTo>
                  <a:lnTo>
                    <a:pt x="102" y="50"/>
                  </a:lnTo>
                  <a:lnTo>
                    <a:pt x="104" y="50"/>
                  </a:lnTo>
                  <a:lnTo>
                    <a:pt x="106" y="50"/>
                  </a:lnTo>
                  <a:lnTo>
                    <a:pt x="106" y="50"/>
                  </a:lnTo>
                  <a:lnTo>
                    <a:pt x="108" y="50"/>
                  </a:lnTo>
                  <a:lnTo>
                    <a:pt x="112" y="48"/>
                  </a:lnTo>
                  <a:lnTo>
                    <a:pt x="116" y="46"/>
                  </a:lnTo>
                  <a:lnTo>
                    <a:pt x="118" y="46"/>
                  </a:lnTo>
                  <a:lnTo>
                    <a:pt x="120" y="46"/>
                  </a:lnTo>
                  <a:lnTo>
                    <a:pt x="120" y="46"/>
                  </a:lnTo>
                  <a:lnTo>
                    <a:pt x="122" y="46"/>
                  </a:lnTo>
                  <a:lnTo>
                    <a:pt x="124" y="46"/>
                  </a:lnTo>
                  <a:lnTo>
                    <a:pt x="128" y="46"/>
                  </a:lnTo>
                  <a:lnTo>
                    <a:pt x="134" y="46"/>
                  </a:lnTo>
                  <a:lnTo>
                    <a:pt x="138" y="48"/>
                  </a:lnTo>
                  <a:lnTo>
                    <a:pt x="142" y="48"/>
                  </a:lnTo>
                  <a:lnTo>
                    <a:pt x="144" y="50"/>
                  </a:lnTo>
                  <a:lnTo>
                    <a:pt x="146" y="50"/>
                  </a:lnTo>
                  <a:lnTo>
                    <a:pt x="148" y="52"/>
                  </a:lnTo>
                  <a:lnTo>
                    <a:pt x="150" y="52"/>
                  </a:lnTo>
                  <a:lnTo>
                    <a:pt x="152" y="54"/>
                  </a:lnTo>
                  <a:lnTo>
                    <a:pt x="152" y="54"/>
                  </a:lnTo>
                  <a:lnTo>
                    <a:pt x="152" y="56"/>
                  </a:lnTo>
                  <a:lnTo>
                    <a:pt x="154" y="56"/>
                  </a:lnTo>
                  <a:lnTo>
                    <a:pt x="154" y="58"/>
                  </a:lnTo>
                  <a:lnTo>
                    <a:pt x="154" y="58"/>
                  </a:lnTo>
                  <a:lnTo>
                    <a:pt x="154" y="60"/>
                  </a:lnTo>
                  <a:lnTo>
                    <a:pt x="154" y="62"/>
                  </a:lnTo>
                  <a:lnTo>
                    <a:pt x="154" y="66"/>
                  </a:lnTo>
                  <a:lnTo>
                    <a:pt x="154" y="72"/>
                  </a:lnTo>
                  <a:lnTo>
                    <a:pt x="154" y="74"/>
                  </a:lnTo>
                  <a:lnTo>
                    <a:pt x="154" y="76"/>
                  </a:lnTo>
                  <a:lnTo>
                    <a:pt x="154" y="76"/>
                  </a:lnTo>
                  <a:lnTo>
                    <a:pt x="154" y="80"/>
                  </a:lnTo>
                  <a:lnTo>
                    <a:pt x="156" y="84"/>
                  </a:lnTo>
                  <a:lnTo>
                    <a:pt x="156" y="86"/>
                  </a:lnTo>
                  <a:lnTo>
                    <a:pt x="158" y="88"/>
                  </a:lnTo>
                  <a:lnTo>
                    <a:pt x="158" y="90"/>
                  </a:lnTo>
                  <a:lnTo>
                    <a:pt x="158" y="90"/>
                  </a:lnTo>
                  <a:lnTo>
                    <a:pt x="160" y="90"/>
                  </a:lnTo>
                  <a:lnTo>
                    <a:pt x="160" y="92"/>
                  </a:lnTo>
                  <a:lnTo>
                    <a:pt x="162" y="92"/>
                  </a:lnTo>
                  <a:lnTo>
                    <a:pt x="164" y="94"/>
                  </a:lnTo>
                  <a:lnTo>
                    <a:pt x="168" y="94"/>
                  </a:lnTo>
                  <a:lnTo>
                    <a:pt x="172" y="96"/>
                  </a:lnTo>
                  <a:lnTo>
                    <a:pt x="174" y="98"/>
                  </a:lnTo>
                  <a:lnTo>
                    <a:pt x="176" y="98"/>
                  </a:lnTo>
                  <a:lnTo>
                    <a:pt x="178" y="100"/>
                  </a:lnTo>
                  <a:lnTo>
                    <a:pt x="182" y="102"/>
                  </a:lnTo>
                  <a:lnTo>
                    <a:pt x="186" y="106"/>
                  </a:lnTo>
                  <a:lnTo>
                    <a:pt x="184" y="114"/>
                  </a:lnTo>
                  <a:lnTo>
                    <a:pt x="180" y="118"/>
                  </a:lnTo>
                  <a:lnTo>
                    <a:pt x="180" y="122"/>
                  </a:lnTo>
                  <a:lnTo>
                    <a:pt x="178" y="122"/>
                  </a:lnTo>
                  <a:lnTo>
                    <a:pt x="178" y="124"/>
                  </a:lnTo>
                  <a:lnTo>
                    <a:pt x="176" y="126"/>
                  </a:lnTo>
                  <a:lnTo>
                    <a:pt x="172" y="130"/>
                  </a:lnTo>
                  <a:lnTo>
                    <a:pt x="168" y="136"/>
                  </a:lnTo>
                  <a:lnTo>
                    <a:pt x="168" y="136"/>
                  </a:lnTo>
                  <a:lnTo>
                    <a:pt x="166" y="138"/>
                  </a:lnTo>
                  <a:lnTo>
                    <a:pt x="164" y="142"/>
                  </a:lnTo>
                  <a:lnTo>
                    <a:pt x="162" y="146"/>
                  </a:lnTo>
                  <a:lnTo>
                    <a:pt x="156" y="156"/>
                  </a:lnTo>
                  <a:lnTo>
                    <a:pt x="150" y="16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7" name="Freeform 145">
              <a:extLst>
                <a:ext uri="{FF2B5EF4-FFF2-40B4-BE49-F238E27FC236}">
                  <a16:creationId xmlns:a16="http://schemas.microsoft.com/office/drawing/2014/main" id="{5B92E028-4B58-4868-B435-6678559A2578}"/>
                </a:ext>
              </a:extLst>
            </p:cNvPr>
            <p:cNvSpPr>
              <a:spLocks/>
            </p:cNvSpPr>
            <p:nvPr/>
          </p:nvSpPr>
          <p:spPr bwMode="auto">
            <a:xfrm>
              <a:off x="5408917" y="3766317"/>
              <a:ext cx="34642" cy="45034"/>
            </a:xfrm>
            <a:custGeom>
              <a:avLst/>
              <a:gdLst>
                <a:gd name="T0" fmla="*/ 2 w 20"/>
                <a:gd name="T1" fmla="*/ 24 h 26"/>
                <a:gd name="T2" fmla="*/ 2 w 20"/>
                <a:gd name="T3" fmla="*/ 24 h 26"/>
                <a:gd name="T4" fmla="*/ 2 w 20"/>
                <a:gd name="T5" fmla="*/ 22 h 26"/>
                <a:gd name="T6" fmla="*/ 0 w 20"/>
                <a:gd name="T7" fmla="*/ 18 h 26"/>
                <a:gd name="T8" fmla="*/ 0 w 20"/>
                <a:gd name="T9" fmla="*/ 14 h 26"/>
                <a:gd name="T10" fmla="*/ 0 w 20"/>
                <a:gd name="T11" fmla="*/ 10 h 26"/>
                <a:gd name="T12" fmla="*/ 2 w 20"/>
                <a:gd name="T13" fmla="*/ 8 h 26"/>
                <a:gd name="T14" fmla="*/ 2 w 20"/>
                <a:gd name="T15" fmla="*/ 6 h 26"/>
                <a:gd name="T16" fmla="*/ 2 w 20"/>
                <a:gd name="T17" fmla="*/ 4 h 26"/>
                <a:gd name="T18" fmla="*/ 2 w 20"/>
                <a:gd name="T19" fmla="*/ 4 h 26"/>
                <a:gd name="T20" fmla="*/ 2 w 20"/>
                <a:gd name="T21" fmla="*/ 2 h 26"/>
                <a:gd name="T22" fmla="*/ 2 w 20"/>
                <a:gd name="T23" fmla="*/ 2 h 26"/>
                <a:gd name="T24" fmla="*/ 4 w 20"/>
                <a:gd name="T25" fmla="*/ 2 h 26"/>
                <a:gd name="T26" fmla="*/ 4 w 20"/>
                <a:gd name="T27" fmla="*/ 2 h 26"/>
                <a:gd name="T28" fmla="*/ 6 w 20"/>
                <a:gd name="T29" fmla="*/ 0 h 26"/>
                <a:gd name="T30" fmla="*/ 8 w 20"/>
                <a:gd name="T31" fmla="*/ 0 h 26"/>
                <a:gd name="T32" fmla="*/ 10 w 20"/>
                <a:gd name="T33" fmla="*/ 0 h 26"/>
                <a:gd name="T34" fmla="*/ 12 w 20"/>
                <a:gd name="T35" fmla="*/ 0 h 26"/>
                <a:gd name="T36" fmla="*/ 20 w 20"/>
                <a:gd name="T37" fmla="*/ 26 h 26"/>
                <a:gd name="T38" fmla="*/ 2 w 20"/>
                <a:gd name="T3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26">
                  <a:moveTo>
                    <a:pt x="2" y="24"/>
                  </a:moveTo>
                  <a:lnTo>
                    <a:pt x="2" y="24"/>
                  </a:lnTo>
                  <a:lnTo>
                    <a:pt x="2" y="22"/>
                  </a:lnTo>
                  <a:lnTo>
                    <a:pt x="0" y="18"/>
                  </a:lnTo>
                  <a:lnTo>
                    <a:pt x="0" y="14"/>
                  </a:lnTo>
                  <a:lnTo>
                    <a:pt x="0" y="10"/>
                  </a:lnTo>
                  <a:lnTo>
                    <a:pt x="2" y="8"/>
                  </a:lnTo>
                  <a:lnTo>
                    <a:pt x="2" y="6"/>
                  </a:lnTo>
                  <a:lnTo>
                    <a:pt x="2" y="4"/>
                  </a:lnTo>
                  <a:lnTo>
                    <a:pt x="2" y="4"/>
                  </a:lnTo>
                  <a:lnTo>
                    <a:pt x="2" y="2"/>
                  </a:lnTo>
                  <a:lnTo>
                    <a:pt x="2" y="2"/>
                  </a:lnTo>
                  <a:lnTo>
                    <a:pt x="4" y="2"/>
                  </a:lnTo>
                  <a:lnTo>
                    <a:pt x="4" y="2"/>
                  </a:lnTo>
                  <a:lnTo>
                    <a:pt x="6" y="0"/>
                  </a:lnTo>
                  <a:lnTo>
                    <a:pt x="8" y="0"/>
                  </a:lnTo>
                  <a:lnTo>
                    <a:pt x="10" y="0"/>
                  </a:lnTo>
                  <a:lnTo>
                    <a:pt x="12" y="0"/>
                  </a:lnTo>
                  <a:lnTo>
                    <a:pt x="20" y="26"/>
                  </a:lnTo>
                  <a:lnTo>
                    <a:pt x="2" y="2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8" name="Freeform 146">
              <a:extLst>
                <a:ext uri="{FF2B5EF4-FFF2-40B4-BE49-F238E27FC236}">
                  <a16:creationId xmlns:a16="http://schemas.microsoft.com/office/drawing/2014/main" id="{02BA755C-1B3B-4A3C-9164-B2C675B10041}"/>
                </a:ext>
              </a:extLst>
            </p:cNvPr>
            <p:cNvSpPr>
              <a:spLocks/>
            </p:cNvSpPr>
            <p:nvPr/>
          </p:nvSpPr>
          <p:spPr bwMode="auto">
            <a:xfrm>
              <a:off x="5408917" y="3766317"/>
              <a:ext cx="34642" cy="45034"/>
            </a:xfrm>
            <a:custGeom>
              <a:avLst/>
              <a:gdLst>
                <a:gd name="T0" fmla="*/ 2 w 20"/>
                <a:gd name="T1" fmla="*/ 24 h 26"/>
                <a:gd name="T2" fmla="*/ 2 w 20"/>
                <a:gd name="T3" fmla="*/ 24 h 26"/>
                <a:gd name="T4" fmla="*/ 2 w 20"/>
                <a:gd name="T5" fmla="*/ 22 h 26"/>
                <a:gd name="T6" fmla="*/ 0 w 20"/>
                <a:gd name="T7" fmla="*/ 18 h 26"/>
                <a:gd name="T8" fmla="*/ 0 w 20"/>
                <a:gd name="T9" fmla="*/ 14 h 26"/>
                <a:gd name="T10" fmla="*/ 0 w 20"/>
                <a:gd name="T11" fmla="*/ 10 h 26"/>
                <a:gd name="T12" fmla="*/ 2 w 20"/>
                <a:gd name="T13" fmla="*/ 8 h 26"/>
                <a:gd name="T14" fmla="*/ 2 w 20"/>
                <a:gd name="T15" fmla="*/ 6 h 26"/>
                <a:gd name="T16" fmla="*/ 2 w 20"/>
                <a:gd name="T17" fmla="*/ 4 h 26"/>
                <a:gd name="T18" fmla="*/ 2 w 20"/>
                <a:gd name="T19" fmla="*/ 4 h 26"/>
                <a:gd name="T20" fmla="*/ 2 w 20"/>
                <a:gd name="T21" fmla="*/ 2 h 26"/>
                <a:gd name="T22" fmla="*/ 2 w 20"/>
                <a:gd name="T23" fmla="*/ 2 h 26"/>
                <a:gd name="T24" fmla="*/ 4 w 20"/>
                <a:gd name="T25" fmla="*/ 2 h 26"/>
                <a:gd name="T26" fmla="*/ 4 w 20"/>
                <a:gd name="T27" fmla="*/ 2 h 26"/>
                <a:gd name="T28" fmla="*/ 6 w 20"/>
                <a:gd name="T29" fmla="*/ 0 h 26"/>
                <a:gd name="T30" fmla="*/ 8 w 20"/>
                <a:gd name="T31" fmla="*/ 0 h 26"/>
                <a:gd name="T32" fmla="*/ 10 w 20"/>
                <a:gd name="T33" fmla="*/ 0 h 26"/>
                <a:gd name="T34" fmla="*/ 12 w 20"/>
                <a:gd name="T35" fmla="*/ 0 h 26"/>
                <a:gd name="T36" fmla="*/ 20 w 20"/>
                <a:gd name="T37" fmla="*/ 26 h 26"/>
                <a:gd name="T38" fmla="*/ 2 w 20"/>
                <a:gd name="T3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26">
                  <a:moveTo>
                    <a:pt x="2" y="24"/>
                  </a:moveTo>
                  <a:lnTo>
                    <a:pt x="2" y="24"/>
                  </a:lnTo>
                  <a:lnTo>
                    <a:pt x="2" y="22"/>
                  </a:lnTo>
                  <a:lnTo>
                    <a:pt x="0" y="18"/>
                  </a:lnTo>
                  <a:lnTo>
                    <a:pt x="0" y="14"/>
                  </a:lnTo>
                  <a:lnTo>
                    <a:pt x="0" y="10"/>
                  </a:lnTo>
                  <a:lnTo>
                    <a:pt x="2" y="8"/>
                  </a:lnTo>
                  <a:lnTo>
                    <a:pt x="2" y="6"/>
                  </a:lnTo>
                  <a:lnTo>
                    <a:pt x="2" y="4"/>
                  </a:lnTo>
                  <a:lnTo>
                    <a:pt x="2" y="4"/>
                  </a:lnTo>
                  <a:lnTo>
                    <a:pt x="2" y="2"/>
                  </a:lnTo>
                  <a:lnTo>
                    <a:pt x="2" y="2"/>
                  </a:lnTo>
                  <a:lnTo>
                    <a:pt x="4" y="2"/>
                  </a:lnTo>
                  <a:lnTo>
                    <a:pt x="4" y="2"/>
                  </a:lnTo>
                  <a:lnTo>
                    <a:pt x="6" y="0"/>
                  </a:lnTo>
                  <a:lnTo>
                    <a:pt x="8" y="0"/>
                  </a:lnTo>
                  <a:lnTo>
                    <a:pt x="10" y="0"/>
                  </a:lnTo>
                  <a:lnTo>
                    <a:pt x="12" y="0"/>
                  </a:lnTo>
                  <a:lnTo>
                    <a:pt x="20" y="26"/>
                  </a:lnTo>
                  <a:lnTo>
                    <a:pt x="2" y="2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9" name="Freeform 147">
              <a:extLst>
                <a:ext uri="{FF2B5EF4-FFF2-40B4-BE49-F238E27FC236}">
                  <a16:creationId xmlns:a16="http://schemas.microsoft.com/office/drawing/2014/main" id="{57177BA1-6B66-4FE3-A04C-E4C9D5112B30}"/>
                </a:ext>
              </a:extLst>
            </p:cNvPr>
            <p:cNvSpPr>
              <a:spLocks/>
            </p:cNvSpPr>
            <p:nvPr/>
          </p:nvSpPr>
          <p:spPr bwMode="auto">
            <a:xfrm>
              <a:off x="5114464" y="3697034"/>
              <a:ext cx="530015" cy="502302"/>
            </a:xfrm>
            <a:custGeom>
              <a:avLst/>
              <a:gdLst>
                <a:gd name="T0" fmla="*/ 164 w 306"/>
                <a:gd name="T1" fmla="*/ 68 h 290"/>
                <a:gd name="T2" fmla="*/ 190 w 306"/>
                <a:gd name="T3" fmla="*/ 64 h 290"/>
                <a:gd name="T4" fmla="*/ 200 w 306"/>
                <a:gd name="T5" fmla="*/ 72 h 290"/>
                <a:gd name="T6" fmla="*/ 228 w 306"/>
                <a:gd name="T7" fmla="*/ 104 h 290"/>
                <a:gd name="T8" fmla="*/ 230 w 306"/>
                <a:gd name="T9" fmla="*/ 122 h 290"/>
                <a:gd name="T10" fmla="*/ 238 w 306"/>
                <a:gd name="T11" fmla="*/ 132 h 290"/>
                <a:gd name="T12" fmla="*/ 244 w 306"/>
                <a:gd name="T13" fmla="*/ 156 h 290"/>
                <a:gd name="T14" fmla="*/ 250 w 306"/>
                <a:gd name="T15" fmla="*/ 162 h 290"/>
                <a:gd name="T16" fmla="*/ 266 w 306"/>
                <a:gd name="T17" fmla="*/ 166 h 290"/>
                <a:gd name="T18" fmla="*/ 294 w 306"/>
                <a:gd name="T19" fmla="*/ 166 h 290"/>
                <a:gd name="T20" fmla="*/ 304 w 306"/>
                <a:gd name="T21" fmla="*/ 180 h 290"/>
                <a:gd name="T22" fmla="*/ 306 w 306"/>
                <a:gd name="T23" fmla="*/ 194 h 290"/>
                <a:gd name="T24" fmla="*/ 302 w 306"/>
                <a:gd name="T25" fmla="*/ 212 h 290"/>
                <a:gd name="T26" fmla="*/ 294 w 306"/>
                <a:gd name="T27" fmla="*/ 222 h 290"/>
                <a:gd name="T28" fmla="*/ 278 w 306"/>
                <a:gd name="T29" fmla="*/ 228 h 290"/>
                <a:gd name="T30" fmla="*/ 248 w 306"/>
                <a:gd name="T31" fmla="*/ 232 h 290"/>
                <a:gd name="T32" fmla="*/ 218 w 306"/>
                <a:gd name="T33" fmla="*/ 236 h 290"/>
                <a:gd name="T34" fmla="*/ 206 w 306"/>
                <a:gd name="T35" fmla="*/ 244 h 290"/>
                <a:gd name="T36" fmla="*/ 198 w 306"/>
                <a:gd name="T37" fmla="*/ 254 h 290"/>
                <a:gd name="T38" fmla="*/ 194 w 306"/>
                <a:gd name="T39" fmla="*/ 270 h 290"/>
                <a:gd name="T40" fmla="*/ 188 w 306"/>
                <a:gd name="T41" fmla="*/ 280 h 290"/>
                <a:gd name="T42" fmla="*/ 174 w 306"/>
                <a:gd name="T43" fmla="*/ 276 h 290"/>
                <a:gd name="T44" fmla="*/ 174 w 306"/>
                <a:gd name="T45" fmla="*/ 266 h 290"/>
                <a:gd name="T46" fmla="*/ 164 w 306"/>
                <a:gd name="T47" fmla="*/ 264 h 290"/>
                <a:gd name="T48" fmla="*/ 138 w 306"/>
                <a:gd name="T49" fmla="*/ 264 h 290"/>
                <a:gd name="T50" fmla="*/ 122 w 306"/>
                <a:gd name="T51" fmla="*/ 272 h 290"/>
                <a:gd name="T52" fmla="*/ 108 w 306"/>
                <a:gd name="T53" fmla="*/ 254 h 290"/>
                <a:gd name="T54" fmla="*/ 102 w 306"/>
                <a:gd name="T55" fmla="*/ 236 h 290"/>
                <a:gd name="T56" fmla="*/ 88 w 306"/>
                <a:gd name="T57" fmla="*/ 214 h 290"/>
                <a:gd name="T58" fmla="*/ 70 w 306"/>
                <a:gd name="T59" fmla="*/ 188 h 290"/>
                <a:gd name="T60" fmla="*/ 58 w 306"/>
                <a:gd name="T61" fmla="*/ 156 h 290"/>
                <a:gd name="T62" fmla="*/ 48 w 306"/>
                <a:gd name="T63" fmla="*/ 136 h 290"/>
                <a:gd name="T64" fmla="*/ 36 w 306"/>
                <a:gd name="T65" fmla="*/ 120 h 290"/>
                <a:gd name="T66" fmla="*/ 20 w 306"/>
                <a:gd name="T67" fmla="*/ 106 h 290"/>
                <a:gd name="T68" fmla="*/ 18 w 306"/>
                <a:gd name="T69" fmla="*/ 98 h 290"/>
                <a:gd name="T70" fmla="*/ 16 w 306"/>
                <a:gd name="T71" fmla="*/ 82 h 290"/>
                <a:gd name="T72" fmla="*/ 12 w 306"/>
                <a:gd name="T73" fmla="*/ 78 h 290"/>
                <a:gd name="T74" fmla="*/ 4 w 306"/>
                <a:gd name="T75" fmla="*/ 74 h 290"/>
                <a:gd name="T76" fmla="*/ 0 w 306"/>
                <a:gd name="T77" fmla="*/ 60 h 290"/>
                <a:gd name="T78" fmla="*/ 16 w 306"/>
                <a:gd name="T79" fmla="*/ 58 h 290"/>
                <a:gd name="T80" fmla="*/ 24 w 306"/>
                <a:gd name="T81" fmla="*/ 54 h 290"/>
                <a:gd name="T82" fmla="*/ 34 w 306"/>
                <a:gd name="T83" fmla="*/ 42 h 290"/>
                <a:gd name="T84" fmla="*/ 44 w 306"/>
                <a:gd name="T85" fmla="*/ 34 h 290"/>
                <a:gd name="T86" fmla="*/ 44 w 306"/>
                <a:gd name="T87" fmla="*/ 24 h 290"/>
                <a:gd name="T88" fmla="*/ 44 w 306"/>
                <a:gd name="T89" fmla="*/ 14 h 290"/>
                <a:gd name="T90" fmla="*/ 52 w 306"/>
                <a:gd name="T91" fmla="*/ 6 h 290"/>
                <a:gd name="T92" fmla="*/ 64 w 306"/>
                <a:gd name="T93" fmla="*/ 0 h 290"/>
                <a:gd name="T94" fmla="*/ 76 w 306"/>
                <a:gd name="T95" fmla="*/ 6 h 290"/>
                <a:gd name="T96" fmla="*/ 86 w 306"/>
                <a:gd name="T97" fmla="*/ 14 h 290"/>
                <a:gd name="T98" fmla="*/ 96 w 306"/>
                <a:gd name="T99" fmla="*/ 12 h 290"/>
                <a:gd name="T100" fmla="*/ 102 w 306"/>
                <a:gd name="T101" fmla="*/ 14 h 290"/>
                <a:gd name="T102" fmla="*/ 108 w 306"/>
                <a:gd name="T103" fmla="*/ 24 h 290"/>
                <a:gd name="T104" fmla="*/ 114 w 306"/>
                <a:gd name="T105" fmla="*/ 30 h 290"/>
                <a:gd name="T106" fmla="*/ 124 w 306"/>
                <a:gd name="T107" fmla="*/ 36 h 290"/>
                <a:gd name="T108" fmla="*/ 132 w 306"/>
                <a:gd name="T109" fmla="*/ 50 h 290"/>
                <a:gd name="T110" fmla="*/ 144 w 306"/>
                <a:gd name="T111" fmla="*/ 62 h 290"/>
                <a:gd name="T112" fmla="*/ 156 w 306"/>
                <a:gd name="T113" fmla="*/ 7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6" h="290">
                  <a:moveTo>
                    <a:pt x="160" y="70"/>
                  </a:moveTo>
                  <a:lnTo>
                    <a:pt x="160" y="70"/>
                  </a:lnTo>
                  <a:lnTo>
                    <a:pt x="160" y="70"/>
                  </a:lnTo>
                  <a:lnTo>
                    <a:pt x="162" y="70"/>
                  </a:lnTo>
                  <a:lnTo>
                    <a:pt x="162" y="70"/>
                  </a:lnTo>
                  <a:lnTo>
                    <a:pt x="164" y="68"/>
                  </a:lnTo>
                  <a:lnTo>
                    <a:pt x="166" y="66"/>
                  </a:lnTo>
                  <a:lnTo>
                    <a:pt x="170" y="64"/>
                  </a:lnTo>
                  <a:lnTo>
                    <a:pt x="170" y="64"/>
                  </a:lnTo>
                  <a:lnTo>
                    <a:pt x="178" y="64"/>
                  </a:lnTo>
                  <a:lnTo>
                    <a:pt x="186" y="64"/>
                  </a:lnTo>
                  <a:lnTo>
                    <a:pt x="190" y="64"/>
                  </a:lnTo>
                  <a:lnTo>
                    <a:pt x="192" y="66"/>
                  </a:lnTo>
                  <a:lnTo>
                    <a:pt x="192" y="66"/>
                  </a:lnTo>
                  <a:lnTo>
                    <a:pt x="194" y="66"/>
                  </a:lnTo>
                  <a:lnTo>
                    <a:pt x="194" y="68"/>
                  </a:lnTo>
                  <a:lnTo>
                    <a:pt x="198" y="70"/>
                  </a:lnTo>
                  <a:lnTo>
                    <a:pt x="200" y="72"/>
                  </a:lnTo>
                  <a:lnTo>
                    <a:pt x="204" y="78"/>
                  </a:lnTo>
                  <a:lnTo>
                    <a:pt x="206" y="80"/>
                  </a:lnTo>
                  <a:lnTo>
                    <a:pt x="206" y="82"/>
                  </a:lnTo>
                  <a:lnTo>
                    <a:pt x="218" y="94"/>
                  </a:lnTo>
                  <a:lnTo>
                    <a:pt x="228" y="102"/>
                  </a:lnTo>
                  <a:lnTo>
                    <a:pt x="228" y="104"/>
                  </a:lnTo>
                  <a:lnTo>
                    <a:pt x="228" y="110"/>
                  </a:lnTo>
                  <a:lnTo>
                    <a:pt x="228" y="114"/>
                  </a:lnTo>
                  <a:lnTo>
                    <a:pt x="228" y="116"/>
                  </a:lnTo>
                  <a:lnTo>
                    <a:pt x="228" y="120"/>
                  </a:lnTo>
                  <a:lnTo>
                    <a:pt x="230" y="120"/>
                  </a:lnTo>
                  <a:lnTo>
                    <a:pt x="230" y="122"/>
                  </a:lnTo>
                  <a:lnTo>
                    <a:pt x="230" y="122"/>
                  </a:lnTo>
                  <a:lnTo>
                    <a:pt x="232" y="124"/>
                  </a:lnTo>
                  <a:lnTo>
                    <a:pt x="234" y="126"/>
                  </a:lnTo>
                  <a:lnTo>
                    <a:pt x="236" y="126"/>
                  </a:lnTo>
                  <a:lnTo>
                    <a:pt x="238" y="128"/>
                  </a:lnTo>
                  <a:lnTo>
                    <a:pt x="238" y="132"/>
                  </a:lnTo>
                  <a:lnTo>
                    <a:pt x="238" y="136"/>
                  </a:lnTo>
                  <a:lnTo>
                    <a:pt x="240" y="142"/>
                  </a:lnTo>
                  <a:lnTo>
                    <a:pt x="242" y="148"/>
                  </a:lnTo>
                  <a:lnTo>
                    <a:pt x="242" y="152"/>
                  </a:lnTo>
                  <a:lnTo>
                    <a:pt x="244" y="154"/>
                  </a:lnTo>
                  <a:lnTo>
                    <a:pt x="244" y="156"/>
                  </a:lnTo>
                  <a:lnTo>
                    <a:pt x="246" y="158"/>
                  </a:lnTo>
                  <a:lnTo>
                    <a:pt x="248" y="160"/>
                  </a:lnTo>
                  <a:lnTo>
                    <a:pt x="248" y="160"/>
                  </a:lnTo>
                  <a:lnTo>
                    <a:pt x="248" y="162"/>
                  </a:lnTo>
                  <a:lnTo>
                    <a:pt x="250" y="162"/>
                  </a:lnTo>
                  <a:lnTo>
                    <a:pt x="250" y="162"/>
                  </a:lnTo>
                  <a:lnTo>
                    <a:pt x="252" y="164"/>
                  </a:lnTo>
                  <a:lnTo>
                    <a:pt x="252" y="164"/>
                  </a:lnTo>
                  <a:lnTo>
                    <a:pt x="256" y="164"/>
                  </a:lnTo>
                  <a:lnTo>
                    <a:pt x="260" y="164"/>
                  </a:lnTo>
                  <a:lnTo>
                    <a:pt x="262" y="166"/>
                  </a:lnTo>
                  <a:lnTo>
                    <a:pt x="266" y="166"/>
                  </a:lnTo>
                  <a:lnTo>
                    <a:pt x="270" y="166"/>
                  </a:lnTo>
                  <a:lnTo>
                    <a:pt x="274" y="166"/>
                  </a:lnTo>
                  <a:lnTo>
                    <a:pt x="280" y="164"/>
                  </a:lnTo>
                  <a:lnTo>
                    <a:pt x="286" y="164"/>
                  </a:lnTo>
                  <a:lnTo>
                    <a:pt x="292" y="164"/>
                  </a:lnTo>
                  <a:lnTo>
                    <a:pt x="294" y="166"/>
                  </a:lnTo>
                  <a:lnTo>
                    <a:pt x="298" y="170"/>
                  </a:lnTo>
                  <a:lnTo>
                    <a:pt x="300" y="174"/>
                  </a:lnTo>
                  <a:lnTo>
                    <a:pt x="302" y="176"/>
                  </a:lnTo>
                  <a:lnTo>
                    <a:pt x="304" y="178"/>
                  </a:lnTo>
                  <a:lnTo>
                    <a:pt x="304" y="180"/>
                  </a:lnTo>
                  <a:lnTo>
                    <a:pt x="304" y="180"/>
                  </a:lnTo>
                  <a:lnTo>
                    <a:pt x="306" y="182"/>
                  </a:lnTo>
                  <a:lnTo>
                    <a:pt x="306" y="184"/>
                  </a:lnTo>
                  <a:lnTo>
                    <a:pt x="306" y="186"/>
                  </a:lnTo>
                  <a:lnTo>
                    <a:pt x="306" y="188"/>
                  </a:lnTo>
                  <a:lnTo>
                    <a:pt x="306" y="192"/>
                  </a:lnTo>
                  <a:lnTo>
                    <a:pt x="306" y="194"/>
                  </a:lnTo>
                  <a:lnTo>
                    <a:pt x="304" y="198"/>
                  </a:lnTo>
                  <a:lnTo>
                    <a:pt x="304" y="200"/>
                  </a:lnTo>
                  <a:lnTo>
                    <a:pt x="304" y="202"/>
                  </a:lnTo>
                  <a:lnTo>
                    <a:pt x="302" y="206"/>
                  </a:lnTo>
                  <a:lnTo>
                    <a:pt x="302" y="208"/>
                  </a:lnTo>
                  <a:lnTo>
                    <a:pt x="302" y="212"/>
                  </a:lnTo>
                  <a:lnTo>
                    <a:pt x="300" y="214"/>
                  </a:lnTo>
                  <a:lnTo>
                    <a:pt x="298" y="216"/>
                  </a:lnTo>
                  <a:lnTo>
                    <a:pt x="298" y="218"/>
                  </a:lnTo>
                  <a:lnTo>
                    <a:pt x="296" y="220"/>
                  </a:lnTo>
                  <a:lnTo>
                    <a:pt x="296" y="222"/>
                  </a:lnTo>
                  <a:lnTo>
                    <a:pt x="294" y="222"/>
                  </a:lnTo>
                  <a:lnTo>
                    <a:pt x="294" y="224"/>
                  </a:lnTo>
                  <a:lnTo>
                    <a:pt x="290" y="224"/>
                  </a:lnTo>
                  <a:lnTo>
                    <a:pt x="288" y="226"/>
                  </a:lnTo>
                  <a:lnTo>
                    <a:pt x="286" y="226"/>
                  </a:lnTo>
                  <a:lnTo>
                    <a:pt x="282" y="228"/>
                  </a:lnTo>
                  <a:lnTo>
                    <a:pt x="278" y="228"/>
                  </a:lnTo>
                  <a:lnTo>
                    <a:pt x="274" y="228"/>
                  </a:lnTo>
                  <a:lnTo>
                    <a:pt x="272" y="230"/>
                  </a:lnTo>
                  <a:lnTo>
                    <a:pt x="264" y="230"/>
                  </a:lnTo>
                  <a:lnTo>
                    <a:pt x="258" y="230"/>
                  </a:lnTo>
                  <a:lnTo>
                    <a:pt x="254" y="230"/>
                  </a:lnTo>
                  <a:lnTo>
                    <a:pt x="248" y="232"/>
                  </a:lnTo>
                  <a:lnTo>
                    <a:pt x="242" y="232"/>
                  </a:lnTo>
                  <a:lnTo>
                    <a:pt x="236" y="232"/>
                  </a:lnTo>
                  <a:lnTo>
                    <a:pt x="228" y="234"/>
                  </a:lnTo>
                  <a:lnTo>
                    <a:pt x="224" y="234"/>
                  </a:lnTo>
                  <a:lnTo>
                    <a:pt x="222" y="234"/>
                  </a:lnTo>
                  <a:lnTo>
                    <a:pt x="218" y="236"/>
                  </a:lnTo>
                  <a:lnTo>
                    <a:pt x="216" y="236"/>
                  </a:lnTo>
                  <a:lnTo>
                    <a:pt x="212" y="238"/>
                  </a:lnTo>
                  <a:lnTo>
                    <a:pt x="210" y="238"/>
                  </a:lnTo>
                  <a:lnTo>
                    <a:pt x="210" y="240"/>
                  </a:lnTo>
                  <a:lnTo>
                    <a:pt x="208" y="242"/>
                  </a:lnTo>
                  <a:lnTo>
                    <a:pt x="206" y="244"/>
                  </a:lnTo>
                  <a:lnTo>
                    <a:pt x="204" y="246"/>
                  </a:lnTo>
                  <a:lnTo>
                    <a:pt x="202" y="248"/>
                  </a:lnTo>
                  <a:lnTo>
                    <a:pt x="200" y="250"/>
                  </a:lnTo>
                  <a:lnTo>
                    <a:pt x="200" y="252"/>
                  </a:lnTo>
                  <a:lnTo>
                    <a:pt x="198" y="254"/>
                  </a:lnTo>
                  <a:lnTo>
                    <a:pt x="198" y="254"/>
                  </a:lnTo>
                  <a:lnTo>
                    <a:pt x="198" y="256"/>
                  </a:lnTo>
                  <a:lnTo>
                    <a:pt x="196" y="258"/>
                  </a:lnTo>
                  <a:lnTo>
                    <a:pt x="196" y="262"/>
                  </a:lnTo>
                  <a:lnTo>
                    <a:pt x="196" y="264"/>
                  </a:lnTo>
                  <a:lnTo>
                    <a:pt x="196" y="268"/>
                  </a:lnTo>
                  <a:lnTo>
                    <a:pt x="194" y="270"/>
                  </a:lnTo>
                  <a:lnTo>
                    <a:pt x="194" y="274"/>
                  </a:lnTo>
                  <a:lnTo>
                    <a:pt x="194" y="274"/>
                  </a:lnTo>
                  <a:lnTo>
                    <a:pt x="194" y="274"/>
                  </a:lnTo>
                  <a:lnTo>
                    <a:pt x="192" y="276"/>
                  </a:lnTo>
                  <a:lnTo>
                    <a:pt x="192" y="278"/>
                  </a:lnTo>
                  <a:lnTo>
                    <a:pt x="188" y="280"/>
                  </a:lnTo>
                  <a:lnTo>
                    <a:pt x="186" y="282"/>
                  </a:lnTo>
                  <a:lnTo>
                    <a:pt x="182" y="284"/>
                  </a:lnTo>
                  <a:lnTo>
                    <a:pt x="176" y="288"/>
                  </a:lnTo>
                  <a:lnTo>
                    <a:pt x="174" y="290"/>
                  </a:lnTo>
                  <a:lnTo>
                    <a:pt x="174" y="278"/>
                  </a:lnTo>
                  <a:lnTo>
                    <a:pt x="174" y="276"/>
                  </a:lnTo>
                  <a:lnTo>
                    <a:pt x="174" y="272"/>
                  </a:lnTo>
                  <a:lnTo>
                    <a:pt x="174" y="270"/>
                  </a:lnTo>
                  <a:lnTo>
                    <a:pt x="174" y="270"/>
                  </a:lnTo>
                  <a:lnTo>
                    <a:pt x="174" y="268"/>
                  </a:lnTo>
                  <a:lnTo>
                    <a:pt x="174" y="268"/>
                  </a:lnTo>
                  <a:lnTo>
                    <a:pt x="174" y="266"/>
                  </a:lnTo>
                  <a:lnTo>
                    <a:pt x="174" y="266"/>
                  </a:lnTo>
                  <a:lnTo>
                    <a:pt x="172" y="266"/>
                  </a:lnTo>
                  <a:lnTo>
                    <a:pt x="170" y="266"/>
                  </a:lnTo>
                  <a:lnTo>
                    <a:pt x="168" y="264"/>
                  </a:lnTo>
                  <a:lnTo>
                    <a:pt x="166" y="264"/>
                  </a:lnTo>
                  <a:lnTo>
                    <a:pt x="164" y="264"/>
                  </a:lnTo>
                  <a:lnTo>
                    <a:pt x="160" y="264"/>
                  </a:lnTo>
                  <a:lnTo>
                    <a:pt x="154" y="264"/>
                  </a:lnTo>
                  <a:lnTo>
                    <a:pt x="150" y="264"/>
                  </a:lnTo>
                  <a:lnTo>
                    <a:pt x="146" y="264"/>
                  </a:lnTo>
                  <a:lnTo>
                    <a:pt x="142" y="264"/>
                  </a:lnTo>
                  <a:lnTo>
                    <a:pt x="138" y="264"/>
                  </a:lnTo>
                  <a:lnTo>
                    <a:pt x="136" y="264"/>
                  </a:lnTo>
                  <a:lnTo>
                    <a:pt x="134" y="264"/>
                  </a:lnTo>
                  <a:lnTo>
                    <a:pt x="132" y="266"/>
                  </a:lnTo>
                  <a:lnTo>
                    <a:pt x="130" y="266"/>
                  </a:lnTo>
                  <a:lnTo>
                    <a:pt x="128" y="268"/>
                  </a:lnTo>
                  <a:lnTo>
                    <a:pt x="122" y="272"/>
                  </a:lnTo>
                  <a:lnTo>
                    <a:pt x="120" y="268"/>
                  </a:lnTo>
                  <a:lnTo>
                    <a:pt x="116" y="264"/>
                  </a:lnTo>
                  <a:lnTo>
                    <a:pt x="112" y="260"/>
                  </a:lnTo>
                  <a:lnTo>
                    <a:pt x="110" y="258"/>
                  </a:lnTo>
                  <a:lnTo>
                    <a:pt x="108" y="254"/>
                  </a:lnTo>
                  <a:lnTo>
                    <a:pt x="108" y="254"/>
                  </a:lnTo>
                  <a:lnTo>
                    <a:pt x="106" y="252"/>
                  </a:lnTo>
                  <a:lnTo>
                    <a:pt x="106" y="250"/>
                  </a:lnTo>
                  <a:lnTo>
                    <a:pt x="106" y="248"/>
                  </a:lnTo>
                  <a:lnTo>
                    <a:pt x="104" y="244"/>
                  </a:lnTo>
                  <a:lnTo>
                    <a:pt x="102" y="238"/>
                  </a:lnTo>
                  <a:lnTo>
                    <a:pt x="102" y="236"/>
                  </a:lnTo>
                  <a:lnTo>
                    <a:pt x="102" y="234"/>
                  </a:lnTo>
                  <a:lnTo>
                    <a:pt x="100" y="234"/>
                  </a:lnTo>
                  <a:lnTo>
                    <a:pt x="100" y="232"/>
                  </a:lnTo>
                  <a:lnTo>
                    <a:pt x="96" y="226"/>
                  </a:lnTo>
                  <a:lnTo>
                    <a:pt x="92" y="220"/>
                  </a:lnTo>
                  <a:lnTo>
                    <a:pt x="88" y="214"/>
                  </a:lnTo>
                  <a:lnTo>
                    <a:pt x="82" y="208"/>
                  </a:lnTo>
                  <a:lnTo>
                    <a:pt x="78" y="202"/>
                  </a:lnTo>
                  <a:lnTo>
                    <a:pt x="76" y="200"/>
                  </a:lnTo>
                  <a:lnTo>
                    <a:pt x="74" y="196"/>
                  </a:lnTo>
                  <a:lnTo>
                    <a:pt x="72" y="194"/>
                  </a:lnTo>
                  <a:lnTo>
                    <a:pt x="70" y="188"/>
                  </a:lnTo>
                  <a:lnTo>
                    <a:pt x="66" y="184"/>
                  </a:lnTo>
                  <a:lnTo>
                    <a:pt x="64" y="180"/>
                  </a:lnTo>
                  <a:lnTo>
                    <a:pt x="64" y="178"/>
                  </a:lnTo>
                  <a:lnTo>
                    <a:pt x="62" y="174"/>
                  </a:lnTo>
                  <a:lnTo>
                    <a:pt x="60" y="164"/>
                  </a:lnTo>
                  <a:lnTo>
                    <a:pt x="58" y="156"/>
                  </a:lnTo>
                  <a:lnTo>
                    <a:pt x="56" y="152"/>
                  </a:lnTo>
                  <a:lnTo>
                    <a:pt x="54" y="148"/>
                  </a:lnTo>
                  <a:lnTo>
                    <a:pt x="54" y="146"/>
                  </a:lnTo>
                  <a:lnTo>
                    <a:pt x="52" y="142"/>
                  </a:lnTo>
                  <a:lnTo>
                    <a:pt x="50" y="140"/>
                  </a:lnTo>
                  <a:lnTo>
                    <a:pt x="48" y="136"/>
                  </a:lnTo>
                  <a:lnTo>
                    <a:pt x="46" y="132"/>
                  </a:lnTo>
                  <a:lnTo>
                    <a:pt x="42" y="128"/>
                  </a:lnTo>
                  <a:lnTo>
                    <a:pt x="40" y="126"/>
                  </a:lnTo>
                  <a:lnTo>
                    <a:pt x="38" y="122"/>
                  </a:lnTo>
                  <a:lnTo>
                    <a:pt x="38" y="122"/>
                  </a:lnTo>
                  <a:lnTo>
                    <a:pt x="36" y="120"/>
                  </a:lnTo>
                  <a:lnTo>
                    <a:pt x="34" y="118"/>
                  </a:lnTo>
                  <a:lnTo>
                    <a:pt x="28" y="114"/>
                  </a:lnTo>
                  <a:lnTo>
                    <a:pt x="26" y="110"/>
                  </a:lnTo>
                  <a:lnTo>
                    <a:pt x="22" y="108"/>
                  </a:lnTo>
                  <a:lnTo>
                    <a:pt x="22" y="108"/>
                  </a:lnTo>
                  <a:lnTo>
                    <a:pt x="20" y="106"/>
                  </a:lnTo>
                  <a:lnTo>
                    <a:pt x="20" y="104"/>
                  </a:lnTo>
                  <a:lnTo>
                    <a:pt x="18" y="104"/>
                  </a:lnTo>
                  <a:lnTo>
                    <a:pt x="18" y="102"/>
                  </a:lnTo>
                  <a:lnTo>
                    <a:pt x="18" y="102"/>
                  </a:lnTo>
                  <a:lnTo>
                    <a:pt x="18" y="100"/>
                  </a:lnTo>
                  <a:lnTo>
                    <a:pt x="18" y="98"/>
                  </a:lnTo>
                  <a:lnTo>
                    <a:pt x="18" y="96"/>
                  </a:lnTo>
                  <a:lnTo>
                    <a:pt x="18" y="92"/>
                  </a:lnTo>
                  <a:lnTo>
                    <a:pt x="18" y="88"/>
                  </a:lnTo>
                  <a:lnTo>
                    <a:pt x="18" y="86"/>
                  </a:lnTo>
                  <a:lnTo>
                    <a:pt x="18" y="84"/>
                  </a:lnTo>
                  <a:lnTo>
                    <a:pt x="16" y="82"/>
                  </a:lnTo>
                  <a:lnTo>
                    <a:pt x="16" y="82"/>
                  </a:lnTo>
                  <a:lnTo>
                    <a:pt x="16" y="80"/>
                  </a:lnTo>
                  <a:lnTo>
                    <a:pt x="16" y="80"/>
                  </a:lnTo>
                  <a:lnTo>
                    <a:pt x="16" y="80"/>
                  </a:lnTo>
                  <a:lnTo>
                    <a:pt x="14" y="78"/>
                  </a:lnTo>
                  <a:lnTo>
                    <a:pt x="12" y="78"/>
                  </a:lnTo>
                  <a:lnTo>
                    <a:pt x="10" y="76"/>
                  </a:lnTo>
                  <a:lnTo>
                    <a:pt x="8" y="76"/>
                  </a:lnTo>
                  <a:lnTo>
                    <a:pt x="6" y="76"/>
                  </a:lnTo>
                  <a:lnTo>
                    <a:pt x="4" y="74"/>
                  </a:lnTo>
                  <a:lnTo>
                    <a:pt x="4" y="74"/>
                  </a:lnTo>
                  <a:lnTo>
                    <a:pt x="4" y="74"/>
                  </a:lnTo>
                  <a:lnTo>
                    <a:pt x="4" y="72"/>
                  </a:lnTo>
                  <a:lnTo>
                    <a:pt x="2" y="72"/>
                  </a:lnTo>
                  <a:lnTo>
                    <a:pt x="2" y="70"/>
                  </a:lnTo>
                  <a:lnTo>
                    <a:pt x="2" y="66"/>
                  </a:lnTo>
                  <a:lnTo>
                    <a:pt x="2" y="64"/>
                  </a:lnTo>
                  <a:lnTo>
                    <a:pt x="0" y="60"/>
                  </a:lnTo>
                  <a:lnTo>
                    <a:pt x="0" y="56"/>
                  </a:lnTo>
                  <a:lnTo>
                    <a:pt x="4" y="58"/>
                  </a:lnTo>
                  <a:lnTo>
                    <a:pt x="8" y="58"/>
                  </a:lnTo>
                  <a:lnTo>
                    <a:pt x="10" y="58"/>
                  </a:lnTo>
                  <a:lnTo>
                    <a:pt x="14" y="58"/>
                  </a:lnTo>
                  <a:lnTo>
                    <a:pt x="16" y="58"/>
                  </a:lnTo>
                  <a:lnTo>
                    <a:pt x="18" y="58"/>
                  </a:lnTo>
                  <a:lnTo>
                    <a:pt x="18" y="56"/>
                  </a:lnTo>
                  <a:lnTo>
                    <a:pt x="20" y="56"/>
                  </a:lnTo>
                  <a:lnTo>
                    <a:pt x="20" y="56"/>
                  </a:lnTo>
                  <a:lnTo>
                    <a:pt x="22" y="54"/>
                  </a:lnTo>
                  <a:lnTo>
                    <a:pt x="24" y="54"/>
                  </a:lnTo>
                  <a:lnTo>
                    <a:pt x="26" y="52"/>
                  </a:lnTo>
                  <a:lnTo>
                    <a:pt x="28" y="48"/>
                  </a:lnTo>
                  <a:lnTo>
                    <a:pt x="30" y="46"/>
                  </a:lnTo>
                  <a:lnTo>
                    <a:pt x="32" y="44"/>
                  </a:lnTo>
                  <a:lnTo>
                    <a:pt x="32" y="44"/>
                  </a:lnTo>
                  <a:lnTo>
                    <a:pt x="34" y="42"/>
                  </a:lnTo>
                  <a:lnTo>
                    <a:pt x="38" y="40"/>
                  </a:lnTo>
                  <a:lnTo>
                    <a:pt x="40" y="38"/>
                  </a:lnTo>
                  <a:lnTo>
                    <a:pt x="42" y="36"/>
                  </a:lnTo>
                  <a:lnTo>
                    <a:pt x="42" y="36"/>
                  </a:lnTo>
                  <a:lnTo>
                    <a:pt x="44" y="34"/>
                  </a:lnTo>
                  <a:lnTo>
                    <a:pt x="44" y="34"/>
                  </a:lnTo>
                  <a:lnTo>
                    <a:pt x="44" y="34"/>
                  </a:lnTo>
                  <a:lnTo>
                    <a:pt x="44" y="32"/>
                  </a:lnTo>
                  <a:lnTo>
                    <a:pt x="44" y="32"/>
                  </a:lnTo>
                  <a:lnTo>
                    <a:pt x="44" y="30"/>
                  </a:lnTo>
                  <a:lnTo>
                    <a:pt x="44" y="28"/>
                  </a:lnTo>
                  <a:lnTo>
                    <a:pt x="44" y="24"/>
                  </a:lnTo>
                  <a:lnTo>
                    <a:pt x="44" y="22"/>
                  </a:lnTo>
                  <a:lnTo>
                    <a:pt x="44" y="18"/>
                  </a:lnTo>
                  <a:lnTo>
                    <a:pt x="42" y="18"/>
                  </a:lnTo>
                  <a:lnTo>
                    <a:pt x="44" y="16"/>
                  </a:lnTo>
                  <a:lnTo>
                    <a:pt x="44" y="16"/>
                  </a:lnTo>
                  <a:lnTo>
                    <a:pt x="44" y="14"/>
                  </a:lnTo>
                  <a:lnTo>
                    <a:pt x="44" y="14"/>
                  </a:lnTo>
                  <a:lnTo>
                    <a:pt x="44" y="12"/>
                  </a:lnTo>
                  <a:lnTo>
                    <a:pt x="46" y="10"/>
                  </a:lnTo>
                  <a:lnTo>
                    <a:pt x="48" y="10"/>
                  </a:lnTo>
                  <a:lnTo>
                    <a:pt x="50" y="8"/>
                  </a:lnTo>
                  <a:lnTo>
                    <a:pt x="52" y="6"/>
                  </a:lnTo>
                  <a:lnTo>
                    <a:pt x="58" y="2"/>
                  </a:lnTo>
                  <a:lnTo>
                    <a:pt x="60" y="0"/>
                  </a:lnTo>
                  <a:lnTo>
                    <a:pt x="62" y="0"/>
                  </a:lnTo>
                  <a:lnTo>
                    <a:pt x="64" y="0"/>
                  </a:lnTo>
                  <a:lnTo>
                    <a:pt x="64" y="0"/>
                  </a:lnTo>
                  <a:lnTo>
                    <a:pt x="64" y="0"/>
                  </a:lnTo>
                  <a:lnTo>
                    <a:pt x="66" y="0"/>
                  </a:lnTo>
                  <a:lnTo>
                    <a:pt x="68" y="0"/>
                  </a:lnTo>
                  <a:lnTo>
                    <a:pt x="68" y="2"/>
                  </a:lnTo>
                  <a:lnTo>
                    <a:pt x="70" y="2"/>
                  </a:lnTo>
                  <a:lnTo>
                    <a:pt x="72" y="4"/>
                  </a:lnTo>
                  <a:lnTo>
                    <a:pt x="76" y="6"/>
                  </a:lnTo>
                  <a:lnTo>
                    <a:pt x="78" y="8"/>
                  </a:lnTo>
                  <a:lnTo>
                    <a:pt x="80" y="10"/>
                  </a:lnTo>
                  <a:lnTo>
                    <a:pt x="82" y="12"/>
                  </a:lnTo>
                  <a:lnTo>
                    <a:pt x="82" y="12"/>
                  </a:lnTo>
                  <a:lnTo>
                    <a:pt x="84" y="14"/>
                  </a:lnTo>
                  <a:lnTo>
                    <a:pt x="86" y="14"/>
                  </a:lnTo>
                  <a:lnTo>
                    <a:pt x="86" y="14"/>
                  </a:lnTo>
                  <a:lnTo>
                    <a:pt x="86" y="14"/>
                  </a:lnTo>
                  <a:lnTo>
                    <a:pt x="88" y="14"/>
                  </a:lnTo>
                  <a:lnTo>
                    <a:pt x="90" y="14"/>
                  </a:lnTo>
                  <a:lnTo>
                    <a:pt x="94" y="14"/>
                  </a:lnTo>
                  <a:lnTo>
                    <a:pt x="96" y="12"/>
                  </a:lnTo>
                  <a:lnTo>
                    <a:pt x="98" y="12"/>
                  </a:lnTo>
                  <a:lnTo>
                    <a:pt x="98" y="12"/>
                  </a:lnTo>
                  <a:lnTo>
                    <a:pt x="100" y="12"/>
                  </a:lnTo>
                  <a:lnTo>
                    <a:pt x="100" y="12"/>
                  </a:lnTo>
                  <a:lnTo>
                    <a:pt x="102" y="12"/>
                  </a:lnTo>
                  <a:lnTo>
                    <a:pt x="102" y="14"/>
                  </a:lnTo>
                  <a:lnTo>
                    <a:pt x="102" y="14"/>
                  </a:lnTo>
                  <a:lnTo>
                    <a:pt x="104" y="14"/>
                  </a:lnTo>
                  <a:lnTo>
                    <a:pt x="104" y="16"/>
                  </a:lnTo>
                  <a:lnTo>
                    <a:pt x="106" y="18"/>
                  </a:lnTo>
                  <a:lnTo>
                    <a:pt x="106" y="20"/>
                  </a:lnTo>
                  <a:lnTo>
                    <a:pt x="108" y="24"/>
                  </a:lnTo>
                  <a:lnTo>
                    <a:pt x="108" y="26"/>
                  </a:lnTo>
                  <a:lnTo>
                    <a:pt x="110" y="28"/>
                  </a:lnTo>
                  <a:lnTo>
                    <a:pt x="110" y="28"/>
                  </a:lnTo>
                  <a:lnTo>
                    <a:pt x="112" y="30"/>
                  </a:lnTo>
                  <a:lnTo>
                    <a:pt x="112" y="30"/>
                  </a:lnTo>
                  <a:lnTo>
                    <a:pt x="114" y="30"/>
                  </a:lnTo>
                  <a:lnTo>
                    <a:pt x="118" y="32"/>
                  </a:lnTo>
                  <a:lnTo>
                    <a:pt x="120" y="32"/>
                  </a:lnTo>
                  <a:lnTo>
                    <a:pt x="122" y="32"/>
                  </a:lnTo>
                  <a:lnTo>
                    <a:pt x="122" y="32"/>
                  </a:lnTo>
                  <a:lnTo>
                    <a:pt x="124" y="34"/>
                  </a:lnTo>
                  <a:lnTo>
                    <a:pt x="124" y="36"/>
                  </a:lnTo>
                  <a:lnTo>
                    <a:pt x="126" y="36"/>
                  </a:lnTo>
                  <a:lnTo>
                    <a:pt x="126" y="38"/>
                  </a:lnTo>
                  <a:lnTo>
                    <a:pt x="128" y="40"/>
                  </a:lnTo>
                  <a:lnTo>
                    <a:pt x="130" y="44"/>
                  </a:lnTo>
                  <a:lnTo>
                    <a:pt x="130" y="48"/>
                  </a:lnTo>
                  <a:lnTo>
                    <a:pt x="132" y="50"/>
                  </a:lnTo>
                  <a:lnTo>
                    <a:pt x="134" y="54"/>
                  </a:lnTo>
                  <a:lnTo>
                    <a:pt x="134" y="54"/>
                  </a:lnTo>
                  <a:lnTo>
                    <a:pt x="136" y="56"/>
                  </a:lnTo>
                  <a:lnTo>
                    <a:pt x="138" y="58"/>
                  </a:lnTo>
                  <a:lnTo>
                    <a:pt x="140" y="60"/>
                  </a:lnTo>
                  <a:lnTo>
                    <a:pt x="144" y="62"/>
                  </a:lnTo>
                  <a:lnTo>
                    <a:pt x="146" y="66"/>
                  </a:lnTo>
                  <a:lnTo>
                    <a:pt x="150" y="68"/>
                  </a:lnTo>
                  <a:lnTo>
                    <a:pt x="152" y="68"/>
                  </a:lnTo>
                  <a:lnTo>
                    <a:pt x="154" y="70"/>
                  </a:lnTo>
                  <a:lnTo>
                    <a:pt x="156" y="70"/>
                  </a:lnTo>
                  <a:lnTo>
                    <a:pt x="156" y="70"/>
                  </a:lnTo>
                  <a:lnTo>
                    <a:pt x="158" y="70"/>
                  </a:lnTo>
                  <a:lnTo>
                    <a:pt x="160" y="7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0" name="Freeform 148">
              <a:extLst>
                <a:ext uri="{FF2B5EF4-FFF2-40B4-BE49-F238E27FC236}">
                  <a16:creationId xmlns:a16="http://schemas.microsoft.com/office/drawing/2014/main" id="{447E6CE9-2F60-48E8-999B-9B983E0B005B}"/>
                </a:ext>
              </a:extLst>
            </p:cNvPr>
            <p:cNvSpPr>
              <a:spLocks/>
            </p:cNvSpPr>
            <p:nvPr/>
          </p:nvSpPr>
          <p:spPr bwMode="auto">
            <a:xfrm>
              <a:off x="5114464" y="3697034"/>
              <a:ext cx="530015" cy="502302"/>
            </a:xfrm>
            <a:custGeom>
              <a:avLst/>
              <a:gdLst>
                <a:gd name="T0" fmla="*/ 164 w 306"/>
                <a:gd name="T1" fmla="*/ 68 h 290"/>
                <a:gd name="T2" fmla="*/ 190 w 306"/>
                <a:gd name="T3" fmla="*/ 64 h 290"/>
                <a:gd name="T4" fmla="*/ 200 w 306"/>
                <a:gd name="T5" fmla="*/ 72 h 290"/>
                <a:gd name="T6" fmla="*/ 228 w 306"/>
                <a:gd name="T7" fmla="*/ 104 h 290"/>
                <a:gd name="T8" fmla="*/ 230 w 306"/>
                <a:gd name="T9" fmla="*/ 122 h 290"/>
                <a:gd name="T10" fmla="*/ 238 w 306"/>
                <a:gd name="T11" fmla="*/ 132 h 290"/>
                <a:gd name="T12" fmla="*/ 244 w 306"/>
                <a:gd name="T13" fmla="*/ 156 h 290"/>
                <a:gd name="T14" fmla="*/ 250 w 306"/>
                <a:gd name="T15" fmla="*/ 162 h 290"/>
                <a:gd name="T16" fmla="*/ 266 w 306"/>
                <a:gd name="T17" fmla="*/ 166 h 290"/>
                <a:gd name="T18" fmla="*/ 294 w 306"/>
                <a:gd name="T19" fmla="*/ 166 h 290"/>
                <a:gd name="T20" fmla="*/ 304 w 306"/>
                <a:gd name="T21" fmla="*/ 180 h 290"/>
                <a:gd name="T22" fmla="*/ 306 w 306"/>
                <a:gd name="T23" fmla="*/ 194 h 290"/>
                <a:gd name="T24" fmla="*/ 302 w 306"/>
                <a:gd name="T25" fmla="*/ 212 h 290"/>
                <a:gd name="T26" fmla="*/ 294 w 306"/>
                <a:gd name="T27" fmla="*/ 222 h 290"/>
                <a:gd name="T28" fmla="*/ 278 w 306"/>
                <a:gd name="T29" fmla="*/ 228 h 290"/>
                <a:gd name="T30" fmla="*/ 248 w 306"/>
                <a:gd name="T31" fmla="*/ 232 h 290"/>
                <a:gd name="T32" fmla="*/ 218 w 306"/>
                <a:gd name="T33" fmla="*/ 236 h 290"/>
                <a:gd name="T34" fmla="*/ 206 w 306"/>
                <a:gd name="T35" fmla="*/ 244 h 290"/>
                <a:gd name="T36" fmla="*/ 198 w 306"/>
                <a:gd name="T37" fmla="*/ 254 h 290"/>
                <a:gd name="T38" fmla="*/ 194 w 306"/>
                <a:gd name="T39" fmla="*/ 270 h 290"/>
                <a:gd name="T40" fmla="*/ 188 w 306"/>
                <a:gd name="T41" fmla="*/ 280 h 290"/>
                <a:gd name="T42" fmla="*/ 174 w 306"/>
                <a:gd name="T43" fmla="*/ 276 h 290"/>
                <a:gd name="T44" fmla="*/ 174 w 306"/>
                <a:gd name="T45" fmla="*/ 266 h 290"/>
                <a:gd name="T46" fmla="*/ 164 w 306"/>
                <a:gd name="T47" fmla="*/ 264 h 290"/>
                <a:gd name="T48" fmla="*/ 138 w 306"/>
                <a:gd name="T49" fmla="*/ 264 h 290"/>
                <a:gd name="T50" fmla="*/ 122 w 306"/>
                <a:gd name="T51" fmla="*/ 272 h 290"/>
                <a:gd name="T52" fmla="*/ 108 w 306"/>
                <a:gd name="T53" fmla="*/ 254 h 290"/>
                <a:gd name="T54" fmla="*/ 102 w 306"/>
                <a:gd name="T55" fmla="*/ 236 h 290"/>
                <a:gd name="T56" fmla="*/ 88 w 306"/>
                <a:gd name="T57" fmla="*/ 214 h 290"/>
                <a:gd name="T58" fmla="*/ 70 w 306"/>
                <a:gd name="T59" fmla="*/ 188 h 290"/>
                <a:gd name="T60" fmla="*/ 58 w 306"/>
                <a:gd name="T61" fmla="*/ 156 h 290"/>
                <a:gd name="T62" fmla="*/ 48 w 306"/>
                <a:gd name="T63" fmla="*/ 136 h 290"/>
                <a:gd name="T64" fmla="*/ 36 w 306"/>
                <a:gd name="T65" fmla="*/ 120 h 290"/>
                <a:gd name="T66" fmla="*/ 20 w 306"/>
                <a:gd name="T67" fmla="*/ 106 h 290"/>
                <a:gd name="T68" fmla="*/ 18 w 306"/>
                <a:gd name="T69" fmla="*/ 98 h 290"/>
                <a:gd name="T70" fmla="*/ 16 w 306"/>
                <a:gd name="T71" fmla="*/ 82 h 290"/>
                <a:gd name="T72" fmla="*/ 12 w 306"/>
                <a:gd name="T73" fmla="*/ 78 h 290"/>
                <a:gd name="T74" fmla="*/ 4 w 306"/>
                <a:gd name="T75" fmla="*/ 74 h 290"/>
                <a:gd name="T76" fmla="*/ 0 w 306"/>
                <a:gd name="T77" fmla="*/ 60 h 290"/>
                <a:gd name="T78" fmla="*/ 16 w 306"/>
                <a:gd name="T79" fmla="*/ 58 h 290"/>
                <a:gd name="T80" fmla="*/ 24 w 306"/>
                <a:gd name="T81" fmla="*/ 54 h 290"/>
                <a:gd name="T82" fmla="*/ 34 w 306"/>
                <a:gd name="T83" fmla="*/ 42 h 290"/>
                <a:gd name="T84" fmla="*/ 44 w 306"/>
                <a:gd name="T85" fmla="*/ 34 h 290"/>
                <a:gd name="T86" fmla="*/ 44 w 306"/>
                <a:gd name="T87" fmla="*/ 24 h 290"/>
                <a:gd name="T88" fmla="*/ 44 w 306"/>
                <a:gd name="T89" fmla="*/ 14 h 290"/>
                <a:gd name="T90" fmla="*/ 52 w 306"/>
                <a:gd name="T91" fmla="*/ 6 h 290"/>
                <a:gd name="T92" fmla="*/ 64 w 306"/>
                <a:gd name="T93" fmla="*/ 0 h 290"/>
                <a:gd name="T94" fmla="*/ 76 w 306"/>
                <a:gd name="T95" fmla="*/ 6 h 290"/>
                <a:gd name="T96" fmla="*/ 86 w 306"/>
                <a:gd name="T97" fmla="*/ 14 h 290"/>
                <a:gd name="T98" fmla="*/ 96 w 306"/>
                <a:gd name="T99" fmla="*/ 12 h 290"/>
                <a:gd name="T100" fmla="*/ 102 w 306"/>
                <a:gd name="T101" fmla="*/ 14 h 290"/>
                <a:gd name="T102" fmla="*/ 108 w 306"/>
                <a:gd name="T103" fmla="*/ 24 h 290"/>
                <a:gd name="T104" fmla="*/ 114 w 306"/>
                <a:gd name="T105" fmla="*/ 30 h 290"/>
                <a:gd name="T106" fmla="*/ 124 w 306"/>
                <a:gd name="T107" fmla="*/ 36 h 290"/>
                <a:gd name="T108" fmla="*/ 132 w 306"/>
                <a:gd name="T109" fmla="*/ 50 h 290"/>
                <a:gd name="T110" fmla="*/ 144 w 306"/>
                <a:gd name="T111" fmla="*/ 62 h 290"/>
                <a:gd name="T112" fmla="*/ 156 w 306"/>
                <a:gd name="T113" fmla="*/ 7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6" h="290">
                  <a:moveTo>
                    <a:pt x="160" y="70"/>
                  </a:moveTo>
                  <a:lnTo>
                    <a:pt x="160" y="70"/>
                  </a:lnTo>
                  <a:lnTo>
                    <a:pt x="160" y="70"/>
                  </a:lnTo>
                  <a:lnTo>
                    <a:pt x="162" y="70"/>
                  </a:lnTo>
                  <a:lnTo>
                    <a:pt x="162" y="70"/>
                  </a:lnTo>
                  <a:lnTo>
                    <a:pt x="164" y="68"/>
                  </a:lnTo>
                  <a:lnTo>
                    <a:pt x="166" y="66"/>
                  </a:lnTo>
                  <a:lnTo>
                    <a:pt x="170" y="64"/>
                  </a:lnTo>
                  <a:lnTo>
                    <a:pt x="170" y="64"/>
                  </a:lnTo>
                  <a:lnTo>
                    <a:pt x="178" y="64"/>
                  </a:lnTo>
                  <a:lnTo>
                    <a:pt x="186" y="64"/>
                  </a:lnTo>
                  <a:lnTo>
                    <a:pt x="190" y="64"/>
                  </a:lnTo>
                  <a:lnTo>
                    <a:pt x="192" y="66"/>
                  </a:lnTo>
                  <a:lnTo>
                    <a:pt x="192" y="66"/>
                  </a:lnTo>
                  <a:lnTo>
                    <a:pt x="194" y="66"/>
                  </a:lnTo>
                  <a:lnTo>
                    <a:pt x="194" y="68"/>
                  </a:lnTo>
                  <a:lnTo>
                    <a:pt x="198" y="70"/>
                  </a:lnTo>
                  <a:lnTo>
                    <a:pt x="200" y="72"/>
                  </a:lnTo>
                  <a:lnTo>
                    <a:pt x="204" y="78"/>
                  </a:lnTo>
                  <a:lnTo>
                    <a:pt x="206" y="80"/>
                  </a:lnTo>
                  <a:lnTo>
                    <a:pt x="206" y="82"/>
                  </a:lnTo>
                  <a:lnTo>
                    <a:pt x="218" y="94"/>
                  </a:lnTo>
                  <a:lnTo>
                    <a:pt x="228" y="102"/>
                  </a:lnTo>
                  <a:lnTo>
                    <a:pt x="228" y="104"/>
                  </a:lnTo>
                  <a:lnTo>
                    <a:pt x="228" y="110"/>
                  </a:lnTo>
                  <a:lnTo>
                    <a:pt x="228" y="114"/>
                  </a:lnTo>
                  <a:lnTo>
                    <a:pt x="228" y="116"/>
                  </a:lnTo>
                  <a:lnTo>
                    <a:pt x="228" y="120"/>
                  </a:lnTo>
                  <a:lnTo>
                    <a:pt x="230" y="120"/>
                  </a:lnTo>
                  <a:lnTo>
                    <a:pt x="230" y="122"/>
                  </a:lnTo>
                  <a:lnTo>
                    <a:pt x="230" y="122"/>
                  </a:lnTo>
                  <a:lnTo>
                    <a:pt x="232" y="124"/>
                  </a:lnTo>
                  <a:lnTo>
                    <a:pt x="234" y="126"/>
                  </a:lnTo>
                  <a:lnTo>
                    <a:pt x="236" y="126"/>
                  </a:lnTo>
                  <a:lnTo>
                    <a:pt x="238" y="128"/>
                  </a:lnTo>
                  <a:lnTo>
                    <a:pt x="238" y="132"/>
                  </a:lnTo>
                  <a:lnTo>
                    <a:pt x="238" y="136"/>
                  </a:lnTo>
                  <a:lnTo>
                    <a:pt x="240" y="142"/>
                  </a:lnTo>
                  <a:lnTo>
                    <a:pt x="242" y="148"/>
                  </a:lnTo>
                  <a:lnTo>
                    <a:pt x="242" y="152"/>
                  </a:lnTo>
                  <a:lnTo>
                    <a:pt x="244" y="154"/>
                  </a:lnTo>
                  <a:lnTo>
                    <a:pt x="244" y="156"/>
                  </a:lnTo>
                  <a:lnTo>
                    <a:pt x="246" y="158"/>
                  </a:lnTo>
                  <a:lnTo>
                    <a:pt x="248" y="160"/>
                  </a:lnTo>
                  <a:lnTo>
                    <a:pt x="248" y="160"/>
                  </a:lnTo>
                  <a:lnTo>
                    <a:pt x="248" y="162"/>
                  </a:lnTo>
                  <a:lnTo>
                    <a:pt x="250" y="162"/>
                  </a:lnTo>
                  <a:lnTo>
                    <a:pt x="250" y="162"/>
                  </a:lnTo>
                  <a:lnTo>
                    <a:pt x="252" y="164"/>
                  </a:lnTo>
                  <a:lnTo>
                    <a:pt x="252" y="164"/>
                  </a:lnTo>
                  <a:lnTo>
                    <a:pt x="256" y="164"/>
                  </a:lnTo>
                  <a:lnTo>
                    <a:pt x="260" y="164"/>
                  </a:lnTo>
                  <a:lnTo>
                    <a:pt x="262" y="166"/>
                  </a:lnTo>
                  <a:lnTo>
                    <a:pt x="266" y="166"/>
                  </a:lnTo>
                  <a:lnTo>
                    <a:pt x="270" y="166"/>
                  </a:lnTo>
                  <a:lnTo>
                    <a:pt x="274" y="166"/>
                  </a:lnTo>
                  <a:lnTo>
                    <a:pt x="280" y="164"/>
                  </a:lnTo>
                  <a:lnTo>
                    <a:pt x="286" y="164"/>
                  </a:lnTo>
                  <a:lnTo>
                    <a:pt x="292" y="164"/>
                  </a:lnTo>
                  <a:lnTo>
                    <a:pt x="294" y="166"/>
                  </a:lnTo>
                  <a:lnTo>
                    <a:pt x="298" y="170"/>
                  </a:lnTo>
                  <a:lnTo>
                    <a:pt x="300" y="174"/>
                  </a:lnTo>
                  <a:lnTo>
                    <a:pt x="302" y="176"/>
                  </a:lnTo>
                  <a:lnTo>
                    <a:pt x="304" y="178"/>
                  </a:lnTo>
                  <a:lnTo>
                    <a:pt x="304" y="180"/>
                  </a:lnTo>
                  <a:lnTo>
                    <a:pt x="304" y="180"/>
                  </a:lnTo>
                  <a:lnTo>
                    <a:pt x="306" y="182"/>
                  </a:lnTo>
                  <a:lnTo>
                    <a:pt x="306" y="184"/>
                  </a:lnTo>
                  <a:lnTo>
                    <a:pt x="306" y="186"/>
                  </a:lnTo>
                  <a:lnTo>
                    <a:pt x="306" y="188"/>
                  </a:lnTo>
                  <a:lnTo>
                    <a:pt x="306" y="192"/>
                  </a:lnTo>
                  <a:lnTo>
                    <a:pt x="306" y="194"/>
                  </a:lnTo>
                  <a:lnTo>
                    <a:pt x="304" y="198"/>
                  </a:lnTo>
                  <a:lnTo>
                    <a:pt x="304" y="200"/>
                  </a:lnTo>
                  <a:lnTo>
                    <a:pt x="304" y="202"/>
                  </a:lnTo>
                  <a:lnTo>
                    <a:pt x="302" y="206"/>
                  </a:lnTo>
                  <a:lnTo>
                    <a:pt x="302" y="208"/>
                  </a:lnTo>
                  <a:lnTo>
                    <a:pt x="302" y="212"/>
                  </a:lnTo>
                  <a:lnTo>
                    <a:pt x="300" y="214"/>
                  </a:lnTo>
                  <a:lnTo>
                    <a:pt x="298" y="216"/>
                  </a:lnTo>
                  <a:lnTo>
                    <a:pt x="298" y="218"/>
                  </a:lnTo>
                  <a:lnTo>
                    <a:pt x="296" y="220"/>
                  </a:lnTo>
                  <a:lnTo>
                    <a:pt x="296" y="222"/>
                  </a:lnTo>
                  <a:lnTo>
                    <a:pt x="294" y="222"/>
                  </a:lnTo>
                  <a:lnTo>
                    <a:pt x="294" y="224"/>
                  </a:lnTo>
                  <a:lnTo>
                    <a:pt x="290" y="224"/>
                  </a:lnTo>
                  <a:lnTo>
                    <a:pt x="288" y="226"/>
                  </a:lnTo>
                  <a:lnTo>
                    <a:pt x="286" y="226"/>
                  </a:lnTo>
                  <a:lnTo>
                    <a:pt x="282" y="228"/>
                  </a:lnTo>
                  <a:lnTo>
                    <a:pt x="278" y="228"/>
                  </a:lnTo>
                  <a:lnTo>
                    <a:pt x="274" y="228"/>
                  </a:lnTo>
                  <a:lnTo>
                    <a:pt x="272" y="230"/>
                  </a:lnTo>
                  <a:lnTo>
                    <a:pt x="264" y="230"/>
                  </a:lnTo>
                  <a:lnTo>
                    <a:pt x="258" y="230"/>
                  </a:lnTo>
                  <a:lnTo>
                    <a:pt x="254" y="230"/>
                  </a:lnTo>
                  <a:lnTo>
                    <a:pt x="248" y="232"/>
                  </a:lnTo>
                  <a:lnTo>
                    <a:pt x="242" y="232"/>
                  </a:lnTo>
                  <a:lnTo>
                    <a:pt x="236" y="232"/>
                  </a:lnTo>
                  <a:lnTo>
                    <a:pt x="228" y="234"/>
                  </a:lnTo>
                  <a:lnTo>
                    <a:pt x="224" y="234"/>
                  </a:lnTo>
                  <a:lnTo>
                    <a:pt x="222" y="234"/>
                  </a:lnTo>
                  <a:lnTo>
                    <a:pt x="218" y="236"/>
                  </a:lnTo>
                  <a:lnTo>
                    <a:pt x="216" y="236"/>
                  </a:lnTo>
                  <a:lnTo>
                    <a:pt x="212" y="238"/>
                  </a:lnTo>
                  <a:lnTo>
                    <a:pt x="210" y="238"/>
                  </a:lnTo>
                  <a:lnTo>
                    <a:pt x="210" y="240"/>
                  </a:lnTo>
                  <a:lnTo>
                    <a:pt x="208" y="242"/>
                  </a:lnTo>
                  <a:lnTo>
                    <a:pt x="206" y="244"/>
                  </a:lnTo>
                  <a:lnTo>
                    <a:pt x="204" y="246"/>
                  </a:lnTo>
                  <a:lnTo>
                    <a:pt x="202" y="248"/>
                  </a:lnTo>
                  <a:lnTo>
                    <a:pt x="200" y="250"/>
                  </a:lnTo>
                  <a:lnTo>
                    <a:pt x="200" y="252"/>
                  </a:lnTo>
                  <a:lnTo>
                    <a:pt x="198" y="254"/>
                  </a:lnTo>
                  <a:lnTo>
                    <a:pt x="198" y="254"/>
                  </a:lnTo>
                  <a:lnTo>
                    <a:pt x="198" y="256"/>
                  </a:lnTo>
                  <a:lnTo>
                    <a:pt x="196" y="258"/>
                  </a:lnTo>
                  <a:lnTo>
                    <a:pt x="196" y="262"/>
                  </a:lnTo>
                  <a:lnTo>
                    <a:pt x="196" y="264"/>
                  </a:lnTo>
                  <a:lnTo>
                    <a:pt x="196" y="268"/>
                  </a:lnTo>
                  <a:lnTo>
                    <a:pt x="194" y="270"/>
                  </a:lnTo>
                  <a:lnTo>
                    <a:pt x="194" y="274"/>
                  </a:lnTo>
                  <a:lnTo>
                    <a:pt x="194" y="274"/>
                  </a:lnTo>
                  <a:lnTo>
                    <a:pt x="194" y="274"/>
                  </a:lnTo>
                  <a:lnTo>
                    <a:pt x="192" y="276"/>
                  </a:lnTo>
                  <a:lnTo>
                    <a:pt x="192" y="278"/>
                  </a:lnTo>
                  <a:lnTo>
                    <a:pt x="188" y="280"/>
                  </a:lnTo>
                  <a:lnTo>
                    <a:pt x="186" y="282"/>
                  </a:lnTo>
                  <a:lnTo>
                    <a:pt x="182" y="284"/>
                  </a:lnTo>
                  <a:lnTo>
                    <a:pt x="176" y="288"/>
                  </a:lnTo>
                  <a:lnTo>
                    <a:pt x="174" y="290"/>
                  </a:lnTo>
                  <a:lnTo>
                    <a:pt x="174" y="278"/>
                  </a:lnTo>
                  <a:lnTo>
                    <a:pt x="174" y="276"/>
                  </a:lnTo>
                  <a:lnTo>
                    <a:pt x="174" y="272"/>
                  </a:lnTo>
                  <a:lnTo>
                    <a:pt x="174" y="270"/>
                  </a:lnTo>
                  <a:lnTo>
                    <a:pt x="174" y="270"/>
                  </a:lnTo>
                  <a:lnTo>
                    <a:pt x="174" y="268"/>
                  </a:lnTo>
                  <a:lnTo>
                    <a:pt x="174" y="268"/>
                  </a:lnTo>
                  <a:lnTo>
                    <a:pt x="174" y="266"/>
                  </a:lnTo>
                  <a:lnTo>
                    <a:pt x="174" y="266"/>
                  </a:lnTo>
                  <a:lnTo>
                    <a:pt x="172" y="266"/>
                  </a:lnTo>
                  <a:lnTo>
                    <a:pt x="170" y="266"/>
                  </a:lnTo>
                  <a:lnTo>
                    <a:pt x="168" y="264"/>
                  </a:lnTo>
                  <a:lnTo>
                    <a:pt x="166" y="264"/>
                  </a:lnTo>
                  <a:lnTo>
                    <a:pt x="164" y="264"/>
                  </a:lnTo>
                  <a:lnTo>
                    <a:pt x="160" y="264"/>
                  </a:lnTo>
                  <a:lnTo>
                    <a:pt x="154" y="264"/>
                  </a:lnTo>
                  <a:lnTo>
                    <a:pt x="150" y="264"/>
                  </a:lnTo>
                  <a:lnTo>
                    <a:pt x="146" y="264"/>
                  </a:lnTo>
                  <a:lnTo>
                    <a:pt x="142" y="264"/>
                  </a:lnTo>
                  <a:lnTo>
                    <a:pt x="138" y="264"/>
                  </a:lnTo>
                  <a:lnTo>
                    <a:pt x="136" y="264"/>
                  </a:lnTo>
                  <a:lnTo>
                    <a:pt x="134" y="264"/>
                  </a:lnTo>
                  <a:lnTo>
                    <a:pt x="132" y="266"/>
                  </a:lnTo>
                  <a:lnTo>
                    <a:pt x="130" y="266"/>
                  </a:lnTo>
                  <a:lnTo>
                    <a:pt x="128" y="268"/>
                  </a:lnTo>
                  <a:lnTo>
                    <a:pt x="122" y="272"/>
                  </a:lnTo>
                  <a:lnTo>
                    <a:pt x="120" y="268"/>
                  </a:lnTo>
                  <a:lnTo>
                    <a:pt x="116" y="264"/>
                  </a:lnTo>
                  <a:lnTo>
                    <a:pt x="112" y="260"/>
                  </a:lnTo>
                  <a:lnTo>
                    <a:pt x="110" y="258"/>
                  </a:lnTo>
                  <a:lnTo>
                    <a:pt x="108" y="254"/>
                  </a:lnTo>
                  <a:lnTo>
                    <a:pt x="108" y="254"/>
                  </a:lnTo>
                  <a:lnTo>
                    <a:pt x="106" y="252"/>
                  </a:lnTo>
                  <a:lnTo>
                    <a:pt x="106" y="250"/>
                  </a:lnTo>
                  <a:lnTo>
                    <a:pt x="106" y="248"/>
                  </a:lnTo>
                  <a:lnTo>
                    <a:pt x="104" y="244"/>
                  </a:lnTo>
                  <a:lnTo>
                    <a:pt x="102" y="238"/>
                  </a:lnTo>
                  <a:lnTo>
                    <a:pt x="102" y="236"/>
                  </a:lnTo>
                  <a:lnTo>
                    <a:pt x="102" y="234"/>
                  </a:lnTo>
                  <a:lnTo>
                    <a:pt x="100" y="234"/>
                  </a:lnTo>
                  <a:lnTo>
                    <a:pt x="100" y="232"/>
                  </a:lnTo>
                  <a:lnTo>
                    <a:pt x="96" y="226"/>
                  </a:lnTo>
                  <a:lnTo>
                    <a:pt x="92" y="220"/>
                  </a:lnTo>
                  <a:lnTo>
                    <a:pt x="88" y="214"/>
                  </a:lnTo>
                  <a:lnTo>
                    <a:pt x="82" y="208"/>
                  </a:lnTo>
                  <a:lnTo>
                    <a:pt x="78" y="202"/>
                  </a:lnTo>
                  <a:lnTo>
                    <a:pt x="76" y="200"/>
                  </a:lnTo>
                  <a:lnTo>
                    <a:pt x="74" y="196"/>
                  </a:lnTo>
                  <a:lnTo>
                    <a:pt x="72" y="194"/>
                  </a:lnTo>
                  <a:lnTo>
                    <a:pt x="70" y="188"/>
                  </a:lnTo>
                  <a:lnTo>
                    <a:pt x="66" y="184"/>
                  </a:lnTo>
                  <a:lnTo>
                    <a:pt x="64" y="180"/>
                  </a:lnTo>
                  <a:lnTo>
                    <a:pt x="64" y="178"/>
                  </a:lnTo>
                  <a:lnTo>
                    <a:pt x="62" y="174"/>
                  </a:lnTo>
                  <a:lnTo>
                    <a:pt x="60" y="164"/>
                  </a:lnTo>
                  <a:lnTo>
                    <a:pt x="58" y="156"/>
                  </a:lnTo>
                  <a:lnTo>
                    <a:pt x="56" y="152"/>
                  </a:lnTo>
                  <a:lnTo>
                    <a:pt x="54" y="148"/>
                  </a:lnTo>
                  <a:lnTo>
                    <a:pt x="54" y="146"/>
                  </a:lnTo>
                  <a:lnTo>
                    <a:pt x="52" y="142"/>
                  </a:lnTo>
                  <a:lnTo>
                    <a:pt x="50" y="140"/>
                  </a:lnTo>
                  <a:lnTo>
                    <a:pt x="48" y="136"/>
                  </a:lnTo>
                  <a:lnTo>
                    <a:pt x="46" y="132"/>
                  </a:lnTo>
                  <a:lnTo>
                    <a:pt x="42" y="128"/>
                  </a:lnTo>
                  <a:lnTo>
                    <a:pt x="40" y="126"/>
                  </a:lnTo>
                  <a:lnTo>
                    <a:pt x="38" y="122"/>
                  </a:lnTo>
                  <a:lnTo>
                    <a:pt x="38" y="122"/>
                  </a:lnTo>
                  <a:lnTo>
                    <a:pt x="36" y="120"/>
                  </a:lnTo>
                  <a:lnTo>
                    <a:pt x="34" y="118"/>
                  </a:lnTo>
                  <a:lnTo>
                    <a:pt x="28" y="114"/>
                  </a:lnTo>
                  <a:lnTo>
                    <a:pt x="26" y="110"/>
                  </a:lnTo>
                  <a:lnTo>
                    <a:pt x="22" y="108"/>
                  </a:lnTo>
                  <a:lnTo>
                    <a:pt x="22" y="108"/>
                  </a:lnTo>
                  <a:lnTo>
                    <a:pt x="20" y="106"/>
                  </a:lnTo>
                  <a:lnTo>
                    <a:pt x="20" y="104"/>
                  </a:lnTo>
                  <a:lnTo>
                    <a:pt x="18" y="104"/>
                  </a:lnTo>
                  <a:lnTo>
                    <a:pt x="18" y="102"/>
                  </a:lnTo>
                  <a:lnTo>
                    <a:pt x="18" y="102"/>
                  </a:lnTo>
                  <a:lnTo>
                    <a:pt x="18" y="100"/>
                  </a:lnTo>
                  <a:lnTo>
                    <a:pt x="18" y="98"/>
                  </a:lnTo>
                  <a:lnTo>
                    <a:pt x="18" y="96"/>
                  </a:lnTo>
                  <a:lnTo>
                    <a:pt x="18" y="92"/>
                  </a:lnTo>
                  <a:lnTo>
                    <a:pt x="18" y="88"/>
                  </a:lnTo>
                  <a:lnTo>
                    <a:pt x="18" y="86"/>
                  </a:lnTo>
                  <a:lnTo>
                    <a:pt x="18" y="84"/>
                  </a:lnTo>
                  <a:lnTo>
                    <a:pt x="16" y="82"/>
                  </a:lnTo>
                  <a:lnTo>
                    <a:pt x="16" y="82"/>
                  </a:lnTo>
                  <a:lnTo>
                    <a:pt x="16" y="80"/>
                  </a:lnTo>
                  <a:lnTo>
                    <a:pt x="16" y="80"/>
                  </a:lnTo>
                  <a:lnTo>
                    <a:pt x="16" y="80"/>
                  </a:lnTo>
                  <a:lnTo>
                    <a:pt x="14" y="78"/>
                  </a:lnTo>
                  <a:lnTo>
                    <a:pt x="12" y="78"/>
                  </a:lnTo>
                  <a:lnTo>
                    <a:pt x="10" y="76"/>
                  </a:lnTo>
                  <a:lnTo>
                    <a:pt x="8" y="76"/>
                  </a:lnTo>
                  <a:lnTo>
                    <a:pt x="6" y="76"/>
                  </a:lnTo>
                  <a:lnTo>
                    <a:pt x="4" y="74"/>
                  </a:lnTo>
                  <a:lnTo>
                    <a:pt x="4" y="74"/>
                  </a:lnTo>
                  <a:lnTo>
                    <a:pt x="4" y="74"/>
                  </a:lnTo>
                  <a:lnTo>
                    <a:pt x="4" y="72"/>
                  </a:lnTo>
                  <a:lnTo>
                    <a:pt x="2" y="72"/>
                  </a:lnTo>
                  <a:lnTo>
                    <a:pt x="2" y="70"/>
                  </a:lnTo>
                  <a:lnTo>
                    <a:pt x="2" y="66"/>
                  </a:lnTo>
                  <a:lnTo>
                    <a:pt x="2" y="64"/>
                  </a:lnTo>
                  <a:lnTo>
                    <a:pt x="0" y="60"/>
                  </a:lnTo>
                  <a:lnTo>
                    <a:pt x="0" y="56"/>
                  </a:lnTo>
                  <a:lnTo>
                    <a:pt x="4" y="58"/>
                  </a:lnTo>
                  <a:lnTo>
                    <a:pt x="8" y="58"/>
                  </a:lnTo>
                  <a:lnTo>
                    <a:pt x="10" y="58"/>
                  </a:lnTo>
                  <a:lnTo>
                    <a:pt x="14" y="58"/>
                  </a:lnTo>
                  <a:lnTo>
                    <a:pt x="16" y="58"/>
                  </a:lnTo>
                  <a:lnTo>
                    <a:pt x="18" y="58"/>
                  </a:lnTo>
                  <a:lnTo>
                    <a:pt x="18" y="56"/>
                  </a:lnTo>
                  <a:lnTo>
                    <a:pt x="20" y="56"/>
                  </a:lnTo>
                  <a:lnTo>
                    <a:pt x="20" y="56"/>
                  </a:lnTo>
                  <a:lnTo>
                    <a:pt x="22" y="54"/>
                  </a:lnTo>
                  <a:lnTo>
                    <a:pt x="24" y="54"/>
                  </a:lnTo>
                  <a:lnTo>
                    <a:pt x="26" y="52"/>
                  </a:lnTo>
                  <a:lnTo>
                    <a:pt x="28" y="48"/>
                  </a:lnTo>
                  <a:lnTo>
                    <a:pt x="30" y="46"/>
                  </a:lnTo>
                  <a:lnTo>
                    <a:pt x="32" y="44"/>
                  </a:lnTo>
                  <a:lnTo>
                    <a:pt x="32" y="44"/>
                  </a:lnTo>
                  <a:lnTo>
                    <a:pt x="34" y="42"/>
                  </a:lnTo>
                  <a:lnTo>
                    <a:pt x="38" y="40"/>
                  </a:lnTo>
                  <a:lnTo>
                    <a:pt x="40" y="38"/>
                  </a:lnTo>
                  <a:lnTo>
                    <a:pt x="42" y="36"/>
                  </a:lnTo>
                  <a:lnTo>
                    <a:pt x="42" y="36"/>
                  </a:lnTo>
                  <a:lnTo>
                    <a:pt x="44" y="34"/>
                  </a:lnTo>
                  <a:lnTo>
                    <a:pt x="44" y="34"/>
                  </a:lnTo>
                  <a:lnTo>
                    <a:pt x="44" y="34"/>
                  </a:lnTo>
                  <a:lnTo>
                    <a:pt x="44" y="32"/>
                  </a:lnTo>
                  <a:lnTo>
                    <a:pt x="44" y="32"/>
                  </a:lnTo>
                  <a:lnTo>
                    <a:pt x="44" y="30"/>
                  </a:lnTo>
                  <a:lnTo>
                    <a:pt x="44" y="28"/>
                  </a:lnTo>
                  <a:lnTo>
                    <a:pt x="44" y="24"/>
                  </a:lnTo>
                  <a:lnTo>
                    <a:pt x="44" y="22"/>
                  </a:lnTo>
                  <a:lnTo>
                    <a:pt x="44" y="18"/>
                  </a:lnTo>
                  <a:lnTo>
                    <a:pt x="42" y="18"/>
                  </a:lnTo>
                  <a:lnTo>
                    <a:pt x="44" y="16"/>
                  </a:lnTo>
                  <a:lnTo>
                    <a:pt x="44" y="16"/>
                  </a:lnTo>
                  <a:lnTo>
                    <a:pt x="44" y="14"/>
                  </a:lnTo>
                  <a:lnTo>
                    <a:pt x="44" y="14"/>
                  </a:lnTo>
                  <a:lnTo>
                    <a:pt x="44" y="12"/>
                  </a:lnTo>
                  <a:lnTo>
                    <a:pt x="46" y="10"/>
                  </a:lnTo>
                  <a:lnTo>
                    <a:pt x="48" y="10"/>
                  </a:lnTo>
                  <a:lnTo>
                    <a:pt x="50" y="8"/>
                  </a:lnTo>
                  <a:lnTo>
                    <a:pt x="52" y="6"/>
                  </a:lnTo>
                  <a:lnTo>
                    <a:pt x="58" y="2"/>
                  </a:lnTo>
                  <a:lnTo>
                    <a:pt x="60" y="0"/>
                  </a:lnTo>
                  <a:lnTo>
                    <a:pt x="62" y="0"/>
                  </a:lnTo>
                  <a:lnTo>
                    <a:pt x="64" y="0"/>
                  </a:lnTo>
                  <a:lnTo>
                    <a:pt x="64" y="0"/>
                  </a:lnTo>
                  <a:lnTo>
                    <a:pt x="64" y="0"/>
                  </a:lnTo>
                  <a:lnTo>
                    <a:pt x="66" y="0"/>
                  </a:lnTo>
                  <a:lnTo>
                    <a:pt x="68" y="0"/>
                  </a:lnTo>
                  <a:lnTo>
                    <a:pt x="68" y="2"/>
                  </a:lnTo>
                  <a:lnTo>
                    <a:pt x="70" y="2"/>
                  </a:lnTo>
                  <a:lnTo>
                    <a:pt x="72" y="4"/>
                  </a:lnTo>
                  <a:lnTo>
                    <a:pt x="76" y="6"/>
                  </a:lnTo>
                  <a:lnTo>
                    <a:pt x="78" y="8"/>
                  </a:lnTo>
                  <a:lnTo>
                    <a:pt x="80" y="10"/>
                  </a:lnTo>
                  <a:lnTo>
                    <a:pt x="82" y="12"/>
                  </a:lnTo>
                  <a:lnTo>
                    <a:pt x="82" y="12"/>
                  </a:lnTo>
                  <a:lnTo>
                    <a:pt x="84" y="14"/>
                  </a:lnTo>
                  <a:lnTo>
                    <a:pt x="86" y="14"/>
                  </a:lnTo>
                  <a:lnTo>
                    <a:pt x="86" y="14"/>
                  </a:lnTo>
                  <a:lnTo>
                    <a:pt x="86" y="14"/>
                  </a:lnTo>
                  <a:lnTo>
                    <a:pt x="88" y="14"/>
                  </a:lnTo>
                  <a:lnTo>
                    <a:pt x="90" y="14"/>
                  </a:lnTo>
                  <a:lnTo>
                    <a:pt x="94" y="14"/>
                  </a:lnTo>
                  <a:lnTo>
                    <a:pt x="96" y="12"/>
                  </a:lnTo>
                  <a:lnTo>
                    <a:pt x="98" y="12"/>
                  </a:lnTo>
                  <a:lnTo>
                    <a:pt x="98" y="12"/>
                  </a:lnTo>
                  <a:lnTo>
                    <a:pt x="100" y="12"/>
                  </a:lnTo>
                  <a:lnTo>
                    <a:pt x="100" y="12"/>
                  </a:lnTo>
                  <a:lnTo>
                    <a:pt x="102" y="12"/>
                  </a:lnTo>
                  <a:lnTo>
                    <a:pt x="102" y="14"/>
                  </a:lnTo>
                  <a:lnTo>
                    <a:pt x="102" y="14"/>
                  </a:lnTo>
                  <a:lnTo>
                    <a:pt x="104" y="14"/>
                  </a:lnTo>
                  <a:lnTo>
                    <a:pt x="104" y="16"/>
                  </a:lnTo>
                  <a:lnTo>
                    <a:pt x="106" y="18"/>
                  </a:lnTo>
                  <a:lnTo>
                    <a:pt x="106" y="20"/>
                  </a:lnTo>
                  <a:lnTo>
                    <a:pt x="108" y="24"/>
                  </a:lnTo>
                  <a:lnTo>
                    <a:pt x="108" y="26"/>
                  </a:lnTo>
                  <a:lnTo>
                    <a:pt x="110" y="28"/>
                  </a:lnTo>
                  <a:lnTo>
                    <a:pt x="110" y="28"/>
                  </a:lnTo>
                  <a:lnTo>
                    <a:pt x="112" y="30"/>
                  </a:lnTo>
                  <a:lnTo>
                    <a:pt x="112" y="30"/>
                  </a:lnTo>
                  <a:lnTo>
                    <a:pt x="114" y="30"/>
                  </a:lnTo>
                  <a:lnTo>
                    <a:pt x="118" y="32"/>
                  </a:lnTo>
                  <a:lnTo>
                    <a:pt x="120" y="32"/>
                  </a:lnTo>
                  <a:lnTo>
                    <a:pt x="122" y="32"/>
                  </a:lnTo>
                  <a:lnTo>
                    <a:pt x="122" y="32"/>
                  </a:lnTo>
                  <a:lnTo>
                    <a:pt x="124" y="34"/>
                  </a:lnTo>
                  <a:lnTo>
                    <a:pt x="124" y="36"/>
                  </a:lnTo>
                  <a:lnTo>
                    <a:pt x="126" y="36"/>
                  </a:lnTo>
                  <a:lnTo>
                    <a:pt x="126" y="38"/>
                  </a:lnTo>
                  <a:lnTo>
                    <a:pt x="128" y="40"/>
                  </a:lnTo>
                  <a:lnTo>
                    <a:pt x="130" y="44"/>
                  </a:lnTo>
                  <a:lnTo>
                    <a:pt x="130" y="48"/>
                  </a:lnTo>
                  <a:lnTo>
                    <a:pt x="132" y="50"/>
                  </a:lnTo>
                  <a:lnTo>
                    <a:pt x="134" y="54"/>
                  </a:lnTo>
                  <a:lnTo>
                    <a:pt x="134" y="54"/>
                  </a:lnTo>
                  <a:lnTo>
                    <a:pt x="136" y="56"/>
                  </a:lnTo>
                  <a:lnTo>
                    <a:pt x="138" y="58"/>
                  </a:lnTo>
                  <a:lnTo>
                    <a:pt x="140" y="60"/>
                  </a:lnTo>
                  <a:lnTo>
                    <a:pt x="144" y="62"/>
                  </a:lnTo>
                  <a:lnTo>
                    <a:pt x="146" y="66"/>
                  </a:lnTo>
                  <a:lnTo>
                    <a:pt x="150" y="68"/>
                  </a:lnTo>
                  <a:lnTo>
                    <a:pt x="152" y="68"/>
                  </a:lnTo>
                  <a:lnTo>
                    <a:pt x="154" y="70"/>
                  </a:lnTo>
                  <a:lnTo>
                    <a:pt x="156" y="70"/>
                  </a:lnTo>
                  <a:lnTo>
                    <a:pt x="156" y="70"/>
                  </a:lnTo>
                  <a:lnTo>
                    <a:pt x="158" y="70"/>
                  </a:lnTo>
                  <a:lnTo>
                    <a:pt x="160" y="7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1" name="Freeform 149">
              <a:extLst>
                <a:ext uri="{FF2B5EF4-FFF2-40B4-BE49-F238E27FC236}">
                  <a16:creationId xmlns:a16="http://schemas.microsoft.com/office/drawing/2014/main" id="{D3FCEE25-1AA5-4648-B955-8B3BC4B34CB1}"/>
                </a:ext>
              </a:extLst>
            </p:cNvPr>
            <p:cNvSpPr>
              <a:spLocks/>
            </p:cNvSpPr>
            <p:nvPr/>
          </p:nvSpPr>
          <p:spPr bwMode="auto">
            <a:xfrm>
              <a:off x="4903151" y="3374868"/>
              <a:ext cx="464196" cy="204385"/>
            </a:xfrm>
            <a:custGeom>
              <a:avLst/>
              <a:gdLst>
                <a:gd name="T0" fmla="*/ 152 w 268"/>
                <a:gd name="T1" fmla="*/ 108 h 118"/>
                <a:gd name="T2" fmla="*/ 182 w 268"/>
                <a:gd name="T3" fmla="*/ 106 h 118"/>
                <a:gd name="T4" fmla="*/ 202 w 268"/>
                <a:gd name="T5" fmla="*/ 102 h 118"/>
                <a:gd name="T6" fmla="*/ 206 w 268"/>
                <a:gd name="T7" fmla="*/ 104 h 118"/>
                <a:gd name="T8" fmla="*/ 210 w 268"/>
                <a:gd name="T9" fmla="*/ 116 h 118"/>
                <a:gd name="T10" fmla="*/ 228 w 268"/>
                <a:gd name="T11" fmla="*/ 102 h 118"/>
                <a:gd name="T12" fmla="*/ 238 w 268"/>
                <a:gd name="T13" fmla="*/ 96 h 118"/>
                <a:gd name="T14" fmla="*/ 244 w 268"/>
                <a:gd name="T15" fmla="*/ 96 h 118"/>
                <a:gd name="T16" fmla="*/ 248 w 268"/>
                <a:gd name="T17" fmla="*/ 106 h 118"/>
                <a:gd name="T18" fmla="*/ 256 w 268"/>
                <a:gd name="T19" fmla="*/ 108 h 118"/>
                <a:gd name="T20" fmla="*/ 264 w 268"/>
                <a:gd name="T21" fmla="*/ 90 h 118"/>
                <a:gd name="T22" fmla="*/ 256 w 268"/>
                <a:gd name="T23" fmla="*/ 70 h 118"/>
                <a:gd name="T24" fmla="*/ 250 w 268"/>
                <a:gd name="T25" fmla="*/ 54 h 118"/>
                <a:gd name="T26" fmla="*/ 252 w 268"/>
                <a:gd name="T27" fmla="*/ 46 h 118"/>
                <a:gd name="T28" fmla="*/ 244 w 268"/>
                <a:gd name="T29" fmla="*/ 32 h 118"/>
                <a:gd name="T30" fmla="*/ 210 w 268"/>
                <a:gd name="T31" fmla="*/ 14 h 118"/>
                <a:gd name="T32" fmla="*/ 204 w 268"/>
                <a:gd name="T33" fmla="*/ 24 h 118"/>
                <a:gd name="T34" fmla="*/ 182 w 268"/>
                <a:gd name="T35" fmla="*/ 24 h 118"/>
                <a:gd name="T36" fmla="*/ 164 w 268"/>
                <a:gd name="T37" fmla="*/ 26 h 118"/>
                <a:gd name="T38" fmla="*/ 152 w 268"/>
                <a:gd name="T39" fmla="*/ 20 h 118"/>
                <a:gd name="T40" fmla="*/ 140 w 268"/>
                <a:gd name="T41" fmla="*/ 18 h 118"/>
                <a:gd name="T42" fmla="*/ 134 w 268"/>
                <a:gd name="T43" fmla="*/ 16 h 118"/>
                <a:gd name="T44" fmla="*/ 124 w 268"/>
                <a:gd name="T45" fmla="*/ 4 h 118"/>
                <a:gd name="T46" fmla="*/ 114 w 268"/>
                <a:gd name="T47" fmla="*/ 0 h 118"/>
                <a:gd name="T48" fmla="*/ 106 w 268"/>
                <a:gd name="T49" fmla="*/ 2 h 118"/>
                <a:gd name="T50" fmla="*/ 88 w 268"/>
                <a:gd name="T51" fmla="*/ 8 h 118"/>
                <a:gd name="T52" fmla="*/ 68 w 268"/>
                <a:gd name="T53" fmla="*/ 12 h 118"/>
                <a:gd name="T54" fmla="*/ 44 w 268"/>
                <a:gd name="T55" fmla="*/ 16 h 118"/>
                <a:gd name="T56" fmla="*/ 30 w 268"/>
                <a:gd name="T57" fmla="*/ 14 h 118"/>
                <a:gd name="T58" fmla="*/ 20 w 268"/>
                <a:gd name="T59" fmla="*/ 18 h 118"/>
                <a:gd name="T60" fmla="*/ 20 w 268"/>
                <a:gd name="T61" fmla="*/ 22 h 118"/>
                <a:gd name="T62" fmla="*/ 28 w 268"/>
                <a:gd name="T63" fmla="*/ 24 h 118"/>
                <a:gd name="T64" fmla="*/ 28 w 268"/>
                <a:gd name="T65" fmla="*/ 28 h 118"/>
                <a:gd name="T66" fmla="*/ 18 w 268"/>
                <a:gd name="T67" fmla="*/ 32 h 118"/>
                <a:gd name="T68" fmla="*/ 16 w 268"/>
                <a:gd name="T69" fmla="*/ 38 h 118"/>
                <a:gd name="T70" fmla="*/ 6 w 268"/>
                <a:gd name="T71" fmla="*/ 46 h 118"/>
                <a:gd name="T72" fmla="*/ 2 w 268"/>
                <a:gd name="T73" fmla="*/ 58 h 118"/>
                <a:gd name="T74" fmla="*/ 0 w 268"/>
                <a:gd name="T75" fmla="*/ 64 h 118"/>
                <a:gd name="T76" fmla="*/ 6 w 268"/>
                <a:gd name="T77" fmla="*/ 64 h 118"/>
                <a:gd name="T78" fmla="*/ 6 w 268"/>
                <a:gd name="T79" fmla="*/ 70 h 118"/>
                <a:gd name="T80" fmla="*/ 6 w 268"/>
                <a:gd name="T81" fmla="*/ 76 h 118"/>
                <a:gd name="T82" fmla="*/ 12 w 268"/>
                <a:gd name="T83" fmla="*/ 80 h 118"/>
                <a:gd name="T84" fmla="*/ 10 w 268"/>
                <a:gd name="T85" fmla="*/ 88 h 118"/>
                <a:gd name="T86" fmla="*/ 16 w 268"/>
                <a:gd name="T87" fmla="*/ 96 h 118"/>
                <a:gd name="T88" fmla="*/ 22 w 268"/>
                <a:gd name="T89" fmla="*/ 94 h 118"/>
                <a:gd name="T90" fmla="*/ 24 w 268"/>
                <a:gd name="T91" fmla="*/ 100 h 118"/>
                <a:gd name="T92" fmla="*/ 28 w 268"/>
                <a:gd name="T93" fmla="*/ 104 h 118"/>
                <a:gd name="T94" fmla="*/ 38 w 268"/>
                <a:gd name="T95" fmla="*/ 106 h 118"/>
                <a:gd name="T96" fmla="*/ 44 w 268"/>
                <a:gd name="T97" fmla="*/ 116 h 118"/>
                <a:gd name="T98" fmla="*/ 50 w 268"/>
                <a:gd name="T99" fmla="*/ 114 h 118"/>
                <a:gd name="T100" fmla="*/ 62 w 268"/>
                <a:gd name="T101" fmla="*/ 106 h 118"/>
                <a:gd name="T102" fmla="*/ 68 w 268"/>
                <a:gd name="T103" fmla="*/ 102 h 118"/>
                <a:gd name="T104" fmla="*/ 80 w 268"/>
                <a:gd name="T105" fmla="*/ 110 h 118"/>
                <a:gd name="T106" fmla="*/ 92 w 268"/>
                <a:gd name="T107" fmla="*/ 114 h 118"/>
                <a:gd name="T108" fmla="*/ 112 w 268"/>
                <a:gd name="T109" fmla="*/ 112 h 118"/>
                <a:gd name="T110" fmla="*/ 134 w 268"/>
                <a:gd name="T111" fmla="*/ 11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8" h="118">
                  <a:moveTo>
                    <a:pt x="134" y="112"/>
                  </a:moveTo>
                  <a:lnTo>
                    <a:pt x="134" y="112"/>
                  </a:lnTo>
                  <a:lnTo>
                    <a:pt x="140" y="110"/>
                  </a:lnTo>
                  <a:lnTo>
                    <a:pt x="144" y="110"/>
                  </a:lnTo>
                  <a:lnTo>
                    <a:pt x="148" y="108"/>
                  </a:lnTo>
                  <a:lnTo>
                    <a:pt x="152" y="108"/>
                  </a:lnTo>
                  <a:lnTo>
                    <a:pt x="158" y="108"/>
                  </a:lnTo>
                  <a:lnTo>
                    <a:pt x="164" y="106"/>
                  </a:lnTo>
                  <a:lnTo>
                    <a:pt x="170" y="106"/>
                  </a:lnTo>
                  <a:lnTo>
                    <a:pt x="174" y="106"/>
                  </a:lnTo>
                  <a:lnTo>
                    <a:pt x="178" y="106"/>
                  </a:lnTo>
                  <a:lnTo>
                    <a:pt x="182" y="106"/>
                  </a:lnTo>
                  <a:lnTo>
                    <a:pt x="186" y="106"/>
                  </a:lnTo>
                  <a:lnTo>
                    <a:pt x="188" y="106"/>
                  </a:lnTo>
                  <a:lnTo>
                    <a:pt x="190" y="104"/>
                  </a:lnTo>
                  <a:lnTo>
                    <a:pt x="196" y="104"/>
                  </a:lnTo>
                  <a:lnTo>
                    <a:pt x="198" y="102"/>
                  </a:lnTo>
                  <a:lnTo>
                    <a:pt x="202" y="102"/>
                  </a:lnTo>
                  <a:lnTo>
                    <a:pt x="202" y="102"/>
                  </a:lnTo>
                  <a:lnTo>
                    <a:pt x="204" y="102"/>
                  </a:lnTo>
                  <a:lnTo>
                    <a:pt x="204" y="102"/>
                  </a:lnTo>
                  <a:lnTo>
                    <a:pt x="206" y="102"/>
                  </a:lnTo>
                  <a:lnTo>
                    <a:pt x="206" y="102"/>
                  </a:lnTo>
                  <a:lnTo>
                    <a:pt x="206" y="104"/>
                  </a:lnTo>
                  <a:lnTo>
                    <a:pt x="208" y="104"/>
                  </a:lnTo>
                  <a:lnTo>
                    <a:pt x="208" y="106"/>
                  </a:lnTo>
                  <a:lnTo>
                    <a:pt x="208" y="108"/>
                  </a:lnTo>
                  <a:lnTo>
                    <a:pt x="210" y="110"/>
                  </a:lnTo>
                  <a:lnTo>
                    <a:pt x="210" y="114"/>
                  </a:lnTo>
                  <a:lnTo>
                    <a:pt x="210" y="116"/>
                  </a:lnTo>
                  <a:lnTo>
                    <a:pt x="210" y="118"/>
                  </a:lnTo>
                  <a:lnTo>
                    <a:pt x="214" y="114"/>
                  </a:lnTo>
                  <a:lnTo>
                    <a:pt x="220" y="108"/>
                  </a:lnTo>
                  <a:lnTo>
                    <a:pt x="222" y="106"/>
                  </a:lnTo>
                  <a:lnTo>
                    <a:pt x="224" y="104"/>
                  </a:lnTo>
                  <a:lnTo>
                    <a:pt x="228" y="102"/>
                  </a:lnTo>
                  <a:lnTo>
                    <a:pt x="228" y="100"/>
                  </a:lnTo>
                  <a:lnTo>
                    <a:pt x="230" y="100"/>
                  </a:lnTo>
                  <a:lnTo>
                    <a:pt x="232" y="98"/>
                  </a:lnTo>
                  <a:lnTo>
                    <a:pt x="234" y="98"/>
                  </a:lnTo>
                  <a:lnTo>
                    <a:pt x="236" y="96"/>
                  </a:lnTo>
                  <a:lnTo>
                    <a:pt x="238" y="96"/>
                  </a:lnTo>
                  <a:lnTo>
                    <a:pt x="240" y="96"/>
                  </a:lnTo>
                  <a:lnTo>
                    <a:pt x="242" y="96"/>
                  </a:lnTo>
                  <a:lnTo>
                    <a:pt x="242" y="96"/>
                  </a:lnTo>
                  <a:lnTo>
                    <a:pt x="244" y="96"/>
                  </a:lnTo>
                  <a:lnTo>
                    <a:pt x="244" y="96"/>
                  </a:lnTo>
                  <a:lnTo>
                    <a:pt x="244" y="96"/>
                  </a:lnTo>
                  <a:lnTo>
                    <a:pt x="244" y="98"/>
                  </a:lnTo>
                  <a:lnTo>
                    <a:pt x="246" y="100"/>
                  </a:lnTo>
                  <a:lnTo>
                    <a:pt x="246" y="100"/>
                  </a:lnTo>
                  <a:lnTo>
                    <a:pt x="248" y="102"/>
                  </a:lnTo>
                  <a:lnTo>
                    <a:pt x="248" y="104"/>
                  </a:lnTo>
                  <a:lnTo>
                    <a:pt x="248" y="106"/>
                  </a:lnTo>
                  <a:lnTo>
                    <a:pt x="248" y="106"/>
                  </a:lnTo>
                  <a:lnTo>
                    <a:pt x="250" y="106"/>
                  </a:lnTo>
                  <a:lnTo>
                    <a:pt x="250" y="106"/>
                  </a:lnTo>
                  <a:lnTo>
                    <a:pt x="252" y="106"/>
                  </a:lnTo>
                  <a:lnTo>
                    <a:pt x="254" y="108"/>
                  </a:lnTo>
                  <a:lnTo>
                    <a:pt x="256" y="108"/>
                  </a:lnTo>
                  <a:lnTo>
                    <a:pt x="260" y="108"/>
                  </a:lnTo>
                  <a:lnTo>
                    <a:pt x="264" y="108"/>
                  </a:lnTo>
                  <a:lnTo>
                    <a:pt x="268" y="108"/>
                  </a:lnTo>
                  <a:lnTo>
                    <a:pt x="266" y="100"/>
                  </a:lnTo>
                  <a:lnTo>
                    <a:pt x="264" y="94"/>
                  </a:lnTo>
                  <a:lnTo>
                    <a:pt x="264" y="90"/>
                  </a:lnTo>
                  <a:lnTo>
                    <a:pt x="264" y="88"/>
                  </a:lnTo>
                  <a:lnTo>
                    <a:pt x="262" y="86"/>
                  </a:lnTo>
                  <a:lnTo>
                    <a:pt x="262" y="84"/>
                  </a:lnTo>
                  <a:lnTo>
                    <a:pt x="260" y="78"/>
                  </a:lnTo>
                  <a:lnTo>
                    <a:pt x="258" y="74"/>
                  </a:lnTo>
                  <a:lnTo>
                    <a:pt x="256" y="70"/>
                  </a:lnTo>
                  <a:lnTo>
                    <a:pt x="254" y="68"/>
                  </a:lnTo>
                  <a:lnTo>
                    <a:pt x="254" y="64"/>
                  </a:lnTo>
                  <a:lnTo>
                    <a:pt x="252" y="60"/>
                  </a:lnTo>
                  <a:lnTo>
                    <a:pt x="250" y="58"/>
                  </a:lnTo>
                  <a:lnTo>
                    <a:pt x="250" y="54"/>
                  </a:lnTo>
                  <a:lnTo>
                    <a:pt x="250" y="54"/>
                  </a:lnTo>
                  <a:lnTo>
                    <a:pt x="250" y="52"/>
                  </a:lnTo>
                  <a:lnTo>
                    <a:pt x="250" y="52"/>
                  </a:lnTo>
                  <a:lnTo>
                    <a:pt x="250" y="50"/>
                  </a:lnTo>
                  <a:lnTo>
                    <a:pt x="250" y="50"/>
                  </a:lnTo>
                  <a:lnTo>
                    <a:pt x="250" y="48"/>
                  </a:lnTo>
                  <a:lnTo>
                    <a:pt x="252" y="46"/>
                  </a:lnTo>
                  <a:lnTo>
                    <a:pt x="254" y="44"/>
                  </a:lnTo>
                  <a:lnTo>
                    <a:pt x="254" y="44"/>
                  </a:lnTo>
                  <a:lnTo>
                    <a:pt x="250" y="40"/>
                  </a:lnTo>
                  <a:lnTo>
                    <a:pt x="246" y="36"/>
                  </a:lnTo>
                  <a:lnTo>
                    <a:pt x="244" y="34"/>
                  </a:lnTo>
                  <a:lnTo>
                    <a:pt x="244" y="32"/>
                  </a:lnTo>
                  <a:lnTo>
                    <a:pt x="242" y="30"/>
                  </a:lnTo>
                  <a:lnTo>
                    <a:pt x="240" y="28"/>
                  </a:lnTo>
                  <a:lnTo>
                    <a:pt x="236" y="20"/>
                  </a:lnTo>
                  <a:lnTo>
                    <a:pt x="230" y="12"/>
                  </a:lnTo>
                  <a:lnTo>
                    <a:pt x="212" y="14"/>
                  </a:lnTo>
                  <a:lnTo>
                    <a:pt x="210" y="14"/>
                  </a:lnTo>
                  <a:lnTo>
                    <a:pt x="210" y="18"/>
                  </a:lnTo>
                  <a:lnTo>
                    <a:pt x="208" y="20"/>
                  </a:lnTo>
                  <a:lnTo>
                    <a:pt x="206" y="20"/>
                  </a:lnTo>
                  <a:lnTo>
                    <a:pt x="206" y="22"/>
                  </a:lnTo>
                  <a:lnTo>
                    <a:pt x="204" y="24"/>
                  </a:lnTo>
                  <a:lnTo>
                    <a:pt x="204" y="24"/>
                  </a:lnTo>
                  <a:lnTo>
                    <a:pt x="202" y="24"/>
                  </a:lnTo>
                  <a:lnTo>
                    <a:pt x="200" y="24"/>
                  </a:lnTo>
                  <a:lnTo>
                    <a:pt x="198" y="24"/>
                  </a:lnTo>
                  <a:lnTo>
                    <a:pt x="194" y="24"/>
                  </a:lnTo>
                  <a:lnTo>
                    <a:pt x="190" y="24"/>
                  </a:lnTo>
                  <a:lnTo>
                    <a:pt x="182" y="24"/>
                  </a:lnTo>
                  <a:lnTo>
                    <a:pt x="178" y="24"/>
                  </a:lnTo>
                  <a:lnTo>
                    <a:pt x="174" y="24"/>
                  </a:lnTo>
                  <a:lnTo>
                    <a:pt x="172" y="24"/>
                  </a:lnTo>
                  <a:lnTo>
                    <a:pt x="168" y="26"/>
                  </a:lnTo>
                  <a:lnTo>
                    <a:pt x="164" y="26"/>
                  </a:lnTo>
                  <a:lnTo>
                    <a:pt x="164" y="26"/>
                  </a:lnTo>
                  <a:lnTo>
                    <a:pt x="162" y="26"/>
                  </a:lnTo>
                  <a:lnTo>
                    <a:pt x="160" y="26"/>
                  </a:lnTo>
                  <a:lnTo>
                    <a:pt x="158" y="24"/>
                  </a:lnTo>
                  <a:lnTo>
                    <a:pt x="156" y="24"/>
                  </a:lnTo>
                  <a:lnTo>
                    <a:pt x="154" y="22"/>
                  </a:lnTo>
                  <a:lnTo>
                    <a:pt x="152" y="20"/>
                  </a:lnTo>
                  <a:lnTo>
                    <a:pt x="150" y="18"/>
                  </a:lnTo>
                  <a:lnTo>
                    <a:pt x="148" y="18"/>
                  </a:lnTo>
                  <a:lnTo>
                    <a:pt x="146" y="18"/>
                  </a:lnTo>
                  <a:lnTo>
                    <a:pt x="146" y="18"/>
                  </a:lnTo>
                  <a:lnTo>
                    <a:pt x="142" y="18"/>
                  </a:lnTo>
                  <a:lnTo>
                    <a:pt x="140" y="18"/>
                  </a:lnTo>
                  <a:lnTo>
                    <a:pt x="138" y="18"/>
                  </a:lnTo>
                  <a:lnTo>
                    <a:pt x="138" y="18"/>
                  </a:lnTo>
                  <a:lnTo>
                    <a:pt x="136" y="18"/>
                  </a:lnTo>
                  <a:lnTo>
                    <a:pt x="136" y="18"/>
                  </a:lnTo>
                  <a:lnTo>
                    <a:pt x="136" y="18"/>
                  </a:lnTo>
                  <a:lnTo>
                    <a:pt x="134" y="16"/>
                  </a:lnTo>
                  <a:lnTo>
                    <a:pt x="132" y="14"/>
                  </a:lnTo>
                  <a:lnTo>
                    <a:pt x="132" y="12"/>
                  </a:lnTo>
                  <a:lnTo>
                    <a:pt x="128" y="10"/>
                  </a:lnTo>
                  <a:lnTo>
                    <a:pt x="128" y="8"/>
                  </a:lnTo>
                  <a:lnTo>
                    <a:pt x="126" y="6"/>
                  </a:lnTo>
                  <a:lnTo>
                    <a:pt x="124" y="4"/>
                  </a:lnTo>
                  <a:lnTo>
                    <a:pt x="122" y="4"/>
                  </a:lnTo>
                  <a:lnTo>
                    <a:pt x="120" y="2"/>
                  </a:lnTo>
                  <a:lnTo>
                    <a:pt x="118" y="0"/>
                  </a:lnTo>
                  <a:lnTo>
                    <a:pt x="116" y="0"/>
                  </a:lnTo>
                  <a:lnTo>
                    <a:pt x="114" y="0"/>
                  </a:lnTo>
                  <a:lnTo>
                    <a:pt x="114" y="0"/>
                  </a:lnTo>
                  <a:lnTo>
                    <a:pt x="112" y="0"/>
                  </a:lnTo>
                  <a:lnTo>
                    <a:pt x="112" y="0"/>
                  </a:lnTo>
                  <a:lnTo>
                    <a:pt x="110" y="0"/>
                  </a:lnTo>
                  <a:lnTo>
                    <a:pt x="110" y="0"/>
                  </a:lnTo>
                  <a:lnTo>
                    <a:pt x="108" y="2"/>
                  </a:lnTo>
                  <a:lnTo>
                    <a:pt x="106" y="2"/>
                  </a:lnTo>
                  <a:lnTo>
                    <a:pt x="102" y="4"/>
                  </a:lnTo>
                  <a:lnTo>
                    <a:pt x="100" y="6"/>
                  </a:lnTo>
                  <a:lnTo>
                    <a:pt x="98" y="6"/>
                  </a:lnTo>
                  <a:lnTo>
                    <a:pt x="96" y="8"/>
                  </a:lnTo>
                  <a:lnTo>
                    <a:pt x="94" y="8"/>
                  </a:lnTo>
                  <a:lnTo>
                    <a:pt x="88" y="8"/>
                  </a:lnTo>
                  <a:lnTo>
                    <a:pt x="84" y="8"/>
                  </a:lnTo>
                  <a:lnTo>
                    <a:pt x="80" y="8"/>
                  </a:lnTo>
                  <a:lnTo>
                    <a:pt x="78" y="10"/>
                  </a:lnTo>
                  <a:lnTo>
                    <a:pt x="76" y="10"/>
                  </a:lnTo>
                  <a:lnTo>
                    <a:pt x="72" y="12"/>
                  </a:lnTo>
                  <a:lnTo>
                    <a:pt x="68" y="12"/>
                  </a:lnTo>
                  <a:lnTo>
                    <a:pt x="64" y="14"/>
                  </a:lnTo>
                  <a:lnTo>
                    <a:pt x="60" y="14"/>
                  </a:lnTo>
                  <a:lnTo>
                    <a:pt x="56" y="14"/>
                  </a:lnTo>
                  <a:lnTo>
                    <a:pt x="50" y="16"/>
                  </a:lnTo>
                  <a:lnTo>
                    <a:pt x="46" y="16"/>
                  </a:lnTo>
                  <a:lnTo>
                    <a:pt x="44" y="16"/>
                  </a:lnTo>
                  <a:lnTo>
                    <a:pt x="42" y="16"/>
                  </a:lnTo>
                  <a:lnTo>
                    <a:pt x="40" y="14"/>
                  </a:lnTo>
                  <a:lnTo>
                    <a:pt x="36" y="14"/>
                  </a:lnTo>
                  <a:lnTo>
                    <a:pt x="36" y="14"/>
                  </a:lnTo>
                  <a:lnTo>
                    <a:pt x="34" y="14"/>
                  </a:lnTo>
                  <a:lnTo>
                    <a:pt x="30" y="14"/>
                  </a:lnTo>
                  <a:lnTo>
                    <a:pt x="28" y="16"/>
                  </a:lnTo>
                  <a:lnTo>
                    <a:pt x="26" y="16"/>
                  </a:lnTo>
                  <a:lnTo>
                    <a:pt x="22" y="18"/>
                  </a:lnTo>
                  <a:lnTo>
                    <a:pt x="22" y="18"/>
                  </a:lnTo>
                  <a:lnTo>
                    <a:pt x="20" y="18"/>
                  </a:lnTo>
                  <a:lnTo>
                    <a:pt x="20" y="18"/>
                  </a:lnTo>
                  <a:lnTo>
                    <a:pt x="20" y="20"/>
                  </a:lnTo>
                  <a:lnTo>
                    <a:pt x="20" y="20"/>
                  </a:lnTo>
                  <a:lnTo>
                    <a:pt x="20" y="22"/>
                  </a:lnTo>
                  <a:lnTo>
                    <a:pt x="20" y="22"/>
                  </a:lnTo>
                  <a:lnTo>
                    <a:pt x="20" y="22"/>
                  </a:lnTo>
                  <a:lnTo>
                    <a:pt x="20" y="22"/>
                  </a:lnTo>
                  <a:lnTo>
                    <a:pt x="20" y="22"/>
                  </a:lnTo>
                  <a:lnTo>
                    <a:pt x="22" y="24"/>
                  </a:lnTo>
                  <a:lnTo>
                    <a:pt x="24" y="24"/>
                  </a:lnTo>
                  <a:lnTo>
                    <a:pt x="26" y="24"/>
                  </a:lnTo>
                  <a:lnTo>
                    <a:pt x="26" y="24"/>
                  </a:lnTo>
                  <a:lnTo>
                    <a:pt x="28" y="24"/>
                  </a:lnTo>
                  <a:lnTo>
                    <a:pt x="28" y="26"/>
                  </a:lnTo>
                  <a:lnTo>
                    <a:pt x="28" y="26"/>
                  </a:lnTo>
                  <a:lnTo>
                    <a:pt x="28" y="26"/>
                  </a:lnTo>
                  <a:lnTo>
                    <a:pt x="28" y="26"/>
                  </a:lnTo>
                  <a:lnTo>
                    <a:pt x="28" y="26"/>
                  </a:lnTo>
                  <a:lnTo>
                    <a:pt x="28" y="28"/>
                  </a:lnTo>
                  <a:lnTo>
                    <a:pt x="28" y="28"/>
                  </a:lnTo>
                  <a:lnTo>
                    <a:pt x="26" y="28"/>
                  </a:lnTo>
                  <a:lnTo>
                    <a:pt x="24" y="30"/>
                  </a:lnTo>
                  <a:lnTo>
                    <a:pt x="20" y="30"/>
                  </a:lnTo>
                  <a:lnTo>
                    <a:pt x="20" y="30"/>
                  </a:lnTo>
                  <a:lnTo>
                    <a:pt x="18" y="32"/>
                  </a:lnTo>
                  <a:lnTo>
                    <a:pt x="18" y="32"/>
                  </a:lnTo>
                  <a:lnTo>
                    <a:pt x="18" y="32"/>
                  </a:lnTo>
                  <a:lnTo>
                    <a:pt x="18" y="34"/>
                  </a:lnTo>
                  <a:lnTo>
                    <a:pt x="16" y="36"/>
                  </a:lnTo>
                  <a:lnTo>
                    <a:pt x="16" y="38"/>
                  </a:lnTo>
                  <a:lnTo>
                    <a:pt x="16" y="38"/>
                  </a:lnTo>
                  <a:lnTo>
                    <a:pt x="14" y="40"/>
                  </a:lnTo>
                  <a:lnTo>
                    <a:pt x="14" y="40"/>
                  </a:lnTo>
                  <a:lnTo>
                    <a:pt x="12" y="42"/>
                  </a:lnTo>
                  <a:lnTo>
                    <a:pt x="10" y="44"/>
                  </a:lnTo>
                  <a:lnTo>
                    <a:pt x="6" y="46"/>
                  </a:lnTo>
                  <a:lnTo>
                    <a:pt x="6" y="46"/>
                  </a:lnTo>
                  <a:lnTo>
                    <a:pt x="4" y="48"/>
                  </a:lnTo>
                  <a:lnTo>
                    <a:pt x="4" y="48"/>
                  </a:lnTo>
                  <a:lnTo>
                    <a:pt x="4" y="50"/>
                  </a:lnTo>
                  <a:lnTo>
                    <a:pt x="4" y="52"/>
                  </a:lnTo>
                  <a:lnTo>
                    <a:pt x="2" y="56"/>
                  </a:lnTo>
                  <a:lnTo>
                    <a:pt x="2" y="58"/>
                  </a:lnTo>
                  <a:lnTo>
                    <a:pt x="0" y="60"/>
                  </a:lnTo>
                  <a:lnTo>
                    <a:pt x="0" y="60"/>
                  </a:lnTo>
                  <a:lnTo>
                    <a:pt x="0" y="62"/>
                  </a:lnTo>
                  <a:lnTo>
                    <a:pt x="0" y="62"/>
                  </a:lnTo>
                  <a:lnTo>
                    <a:pt x="0" y="64"/>
                  </a:lnTo>
                  <a:lnTo>
                    <a:pt x="0" y="64"/>
                  </a:lnTo>
                  <a:lnTo>
                    <a:pt x="0" y="64"/>
                  </a:lnTo>
                  <a:lnTo>
                    <a:pt x="2" y="64"/>
                  </a:lnTo>
                  <a:lnTo>
                    <a:pt x="2" y="64"/>
                  </a:lnTo>
                  <a:lnTo>
                    <a:pt x="4" y="64"/>
                  </a:lnTo>
                  <a:lnTo>
                    <a:pt x="6" y="64"/>
                  </a:lnTo>
                  <a:lnTo>
                    <a:pt x="6" y="64"/>
                  </a:lnTo>
                  <a:lnTo>
                    <a:pt x="6" y="66"/>
                  </a:lnTo>
                  <a:lnTo>
                    <a:pt x="8" y="66"/>
                  </a:lnTo>
                  <a:lnTo>
                    <a:pt x="8" y="66"/>
                  </a:lnTo>
                  <a:lnTo>
                    <a:pt x="8" y="68"/>
                  </a:lnTo>
                  <a:lnTo>
                    <a:pt x="6" y="68"/>
                  </a:lnTo>
                  <a:lnTo>
                    <a:pt x="6" y="70"/>
                  </a:lnTo>
                  <a:lnTo>
                    <a:pt x="6" y="72"/>
                  </a:lnTo>
                  <a:lnTo>
                    <a:pt x="6" y="72"/>
                  </a:lnTo>
                  <a:lnTo>
                    <a:pt x="6" y="74"/>
                  </a:lnTo>
                  <a:lnTo>
                    <a:pt x="6" y="74"/>
                  </a:lnTo>
                  <a:lnTo>
                    <a:pt x="6" y="74"/>
                  </a:lnTo>
                  <a:lnTo>
                    <a:pt x="6" y="76"/>
                  </a:lnTo>
                  <a:lnTo>
                    <a:pt x="6" y="76"/>
                  </a:lnTo>
                  <a:lnTo>
                    <a:pt x="8" y="76"/>
                  </a:lnTo>
                  <a:lnTo>
                    <a:pt x="10" y="78"/>
                  </a:lnTo>
                  <a:lnTo>
                    <a:pt x="10" y="78"/>
                  </a:lnTo>
                  <a:lnTo>
                    <a:pt x="10" y="78"/>
                  </a:lnTo>
                  <a:lnTo>
                    <a:pt x="12" y="80"/>
                  </a:lnTo>
                  <a:lnTo>
                    <a:pt x="12" y="80"/>
                  </a:lnTo>
                  <a:lnTo>
                    <a:pt x="12" y="82"/>
                  </a:lnTo>
                  <a:lnTo>
                    <a:pt x="10" y="84"/>
                  </a:lnTo>
                  <a:lnTo>
                    <a:pt x="10" y="86"/>
                  </a:lnTo>
                  <a:lnTo>
                    <a:pt x="10" y="86"/>
                  </a:lnTo>
                  <a:lnTo>
                    <a:pt x="10" y="88"/>
                  </a:lnTo>
                  <a:lnTo>
                    <a:pt x="10" y="88"/>
                  </a:lnTo>
                  <a:lnTo>
                    <a:pt x="12" y="90"/>
                  </a:lnTo>
                  <a:lnTo>
                    <a:pt x="12" y="92"/>
                  </a:lnTo>
                  <a:lnTo>
                    <a:pt x="14" y="94"/>
                  </a:lnTo>
                  <a:lnTo>
                    <a:pt x="14" y="94"/>
                  </a:lnTo>
                  <a:lnTo>
                    <a:pt x="16" y="96"/>
                  </a:lnTo>
                  <a:lnTo>
                    <a:pt x="16" y="96"/>
                  </a:lnTo>
                  <a:lnTo>
                    <a:pt x="16" y="96"/>
                  </a:lnTo>
                  <a:lnTo>
                    <a:pt x="18" y="96"/>
                  </a:lnTo>
                  <a:lnTo>
                    <a:pt x="20" y="94"/>
                  </a:lnTo>
                  <a:lnTo>
                    <a:pt x="22" y="94"/>
                  </a:lnTo>
                  <a:lnTo>
                    <a:pt x="22" y="94"/>
                  </a:lnTo>
                  <a:lnTo>
                    <a:pt x="22" y="94"/>
                  </a:lnTo>
                  <a:lnTo>
                    <a:pt x="22" y="96"/>
                  </a:lnTo>
                  <a:lnTo>
                    <a:pt x="24" y="96"/>
                  </a:lnTo>
                  <a:lnTo>
                    <a:pt x="24" y="96"/>
                  </a:lnTo>
                  <a:lnTo>
                    <a:pt x="24" y="98"/>
                  </a:lnTo>
                  <a:lnTo>
                    <a:pt x="24" y="100"/>
                  </a:lnTo>
                  <a:lnTo>
                    <a:pt x="24" y="100"/>
                  </a:lnTo>
                  <a:lnTo>
                    <a:pt x="24" y="102"/>
                  </a:lnTo>
                  <a:lnTo>
                    <a:pt x="24" y="102"/>
                  </a:lnTo>
                  <a:lnTo>
                    <a:pt x="24" y="102"/>
                  </a:lnTo>
                  <a:lnTo>
                    <a:pt x="26" y="102"/>
                  </a:lnTo>
                  <a:lnTo>
                    <a:pt x="28" y="104"/>
                  </a:lnTo>
                  <a:lnTo>
                    <a:pt x="30" y="104"/>
                  </a:lnTo>
                  <a:lnTo>
                    <a:pt x="34" y="104"/>
                  </a:lnTo>
                  <a:lnTo>
                    <a:pt x="36" y="104"/>
                  </a:lnTo>
                  <a:lnTo>
                    <a:pt x="36" y="106"/>
                  </a:lnTo>
                  <a:lnTo>
                    <a:pt x="36" y="106"/>
                  </a:lnTo>
                  <a:lnTo>
                    <a:pt x="38" y="106"/>
                  </a:lnTo>
                  <a:lnTo>
                    <a:pt x="38" y="108"/>
                  </a:lnTo>
                  <a:lnTo>
                    <a:pt x="40" y="110"/>
                  </a:lnTo>
                  <a:lnTo>
                    <a:pt x="42" y="112"/>
                  </a:lnTo>
                  <a:lnTo>
                    <a:pt x="42" y="114"/>
                  </a:lnTo>
                  <a:lnTo>
                    <a:pt x="42" y="114"/>
                  </a:lnTo>
                  <a:lnTo>
                    <a:pt x="44" y="116"/>
                  </a:lnTo>
                  <a:lnTo>
                    <a:pt x="44" y="116"/>
                  </a:lnTo>
                  <a:lnTo>
                    <a:pt x="44" y="116"/>
                  </a:lnTo>
                  <a:lnTo>
                    <a:pt x="44" y="116"/>
                  </a:lnTo>
                  <a:lnTo>
                    <a:pt x="46" y="116"/>
                  </a:lnTo>
                  <a:lnTo>
                    <a:pt x="48" y="114"/>
                  </a:lnTo>
                  <a:lnTo>
                    <a:pt x="50" y="114"/>
                  </a:lnTo>
                  <a:lnTo>
                    <a:pt x="52" y="112"/>
                  </a:lnTo>
                  <a:lnTo>
                    <a:pt x="54" y="112"/>
                  </a:lnTo>
                  <a:lnTo>
                    <a:pt x="56" y="110"/>
                  </a:lnTo>
                  <a:lnTo>
                    <a:pt x="58" y="108"/>
                  </a:lnTo>
                  <a:lnTo>
                    <a:pt x="60" y="106"/>
                  </a:lnTo>
                  <a:lnTo>
                    <a:pt x="62" y="106"/>
                  </a:lnTo>
                  <a:lnTo>
                    <a:pt x="64" y="104"/>
                  </a:lnTo>
                  <a:lnTo>
                    <a:pt x="64" y="102"/>
                  </a:lnTo>
                  <a:lnTo>
                    <a:pt x="66" y="102"/>
                  </a:lnTo>
                  <a:lnTo>
                    <a:pt x="68" y="102"/>
                  </a:lnTo>
                  <a:lnTo>
                    <a:pt x="68" y="102"/>
                  </a:lnTo>
                  <a:lnTo>
                    <a:pt x="68" y="102"/>
                  </a:lnTo>
                  <a:lnTo>
                    <a:pt x="70" y="102"/>
                  </a:lnTo>
                  <a:lnTo>
                    <a:pt x="70" y="102"/>
                  </a:lnTo>
                  <a:lnTo>
                    <a:pt x="72" y="102"/>
                  </a:lnTo>
                  <a:lnTo>
                    <a:pt x="74" y="104"/>
                  </a:lnTo>
                  <a:lnTo>
                    <a:pt x="76" y="106"/>
                  </a:lnTo>
                  <a:lnTo>
                    <a:pt x="80" y="110"/>
                  </a:lnTo>
                  <a:lnTo>
                    <a:pt x="82" y="112"/>
                  </a:lnTo>
                  <a:lnTo>
                    <a:pt x="84" y="112"/>
                  </a:lnTo>
                  <a:lnTo>
                    <a:pt x="84" y="112"/>
                  </a:lnTo>
                  <a:lnTo>
                    <a:pt x="86" y="112"/>
                  </a:lnTo>
                  <a:lnTo>
                    <a:pt x="88" y="112"/>
                  </a:lnTo>
                  <a:lnTo>
                    <a:pt x="92" y="114"/>
                  </a:lnTo>
                  <a:lnTo>
                    <a:pt x="94" y="114"/>
                  </a:lnTo>
                  <a:lnTo>
                    <a:pt x="98" y="114"/>
                  </a:lnTo>
                  <a:lnTo>
                    <a:pt x="102" y="114"/>
                  </a:lnTo>
                  <a:lnTo>
                    <a:pt x="104" y="114"/>
                  </a:lnTo>
                  <a:lnTo>
                    <a:pt x="108" y="112"/>
                  </a:lnTo>
                  <a:lnTo>
                    <a:pt x="112" y="112"/>
                  </a:lnTo>
                  <a:lnTo>
                    <a:pt x="118" y="112"/>
                  </a:lnTo>
                  <a:lnTo>
                    <a:pt x="122" y="110"/>
                  </a:lnTo>
                  <a:lnTo>
                    <a:pt x="126" y="110"/>
                  </a:lnTo>
                  <a:lnTo>
                    <a:pt x="130" y="110"/>
                  </a:lnTo>
                  <a:lnTo>
                    <a:pt x="132" y="112"/>
                  </a:lnTo>
                  <a:lnTo>
                    <a:pt x="134" y="11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2" name="Freeform 150">
              <a:extLst>
                <a:ext uri="{FF2B5EF4-FFF2-40B4-BE49-F238E27FC236}">
                  <a16:creationId xmlns:a16="http://schemas.microsoft.com/office/drawing/2014/main" id="{6AB07574-F3E7-4359-9C76-011EF64D3D39}"/>
                </a:ext>
              </a:extLst>
            </p:cNvPr>
            <p:cNvSpPr>
              <a:spLocks/>
            </p:cNvSpPr>
            <p:nvPr/>
          </p:nvSpPr>
          <p:spPr bwMode="auto">
            <a:xfrm>
              <a:off x="4903151" y="3374868"/>
              <a:ext cx="464196" cy="204385"/>
            </a:xfrm>
            <a:custGeom>
              <a:avLst/>
              <a:gdLst>
                <a:gd name="T0" fmla="*/ 152 w 268"/>
                <a:gd name="T1" fmla="*/ 108 h 118"/>
                <a:gd name="T2" fmla="*/ 182 w 268"/>
                <a:gd name="T3" fmla="*/ 106 h 118"/>
                <a:gd name="T4" fmla="*/ 202 w 268"/>
                <a:gd name="T5" fmla="*/ 102 h 118"/>
                <a:gd name="T6" fmla="*/ 206 w 268"/>
                <a:gd name="T7" fmla="*/ 104 h 118"/>
                <a:gd name="T8" fmla="*/ 210 w 268"/>
                <a:gd name="T9" fmla="*/ 116 h 118"/>
                <a:gd name="T10" fmla="*/ 228 w 268"/>
                <a:gd name="T11" fmla="*/ 102 h 118"/>
                <a:gd name="T12" fmla="*/ 238 w 268"/>
                <a:gd name="T13" fmla="*/ 96 h 118"/>
                <a:gd name="T14" fmla="*/ 244 w 268"/>
                <a:gd name="T15" fmla="*/ 96 h 118"/>
                <a:gd name="T16" fmla="*/ 248 w 268"/>
                <a:gd name="T17" fmla="*/ 106 h 118"/>
                <a:gd name="T18" fmla="*/ 256 w 268"/>
                <a:gd name="T19" fmla="*/ 108 h 118"/>
                <a:gd name="T20" fmla="*/ 264 w 268"/>
                <a:gd name="T21" fmla="*/ 90 h 118"/>
                <a:gd name="T22" fmla="*/ 256 w 268"/>
                <a:gd name="T23" fmla="*/ 70 h 118"/>
                <a:gd name="T24" fmla="*/ 250 w 268"/>
                <a:gd name="T25" fmla="*/ 54 h 118"/>
                <a:gd name="T26" fmla="*/ 252 w 268"/>
                <a:gd name="T27" fmla="*/ 46 h 118"/>
                <a:gd name="T28" fmla="*/ 244 w 268"/>
                <a:gd name="T29" fmla="*/ 32 h 118"/>
                <a:gd name="T30" fmla="*/ 210 w 268"/>
                <a:gd name="T31" fmla="*/ 14 h 118"/>
                <a:gd name="T32" fmla="*/ 204 w 268"/>
                <a:gd name="T33" fmla="*/ 24 h 118"/>
                <a:gd name="T34" fmla="*/ 182 w 268"/>
                <a:gd name="T35" fmla="*/ 24 h 118"/>
                <a:gd name="T36" fmla="*/ 164 w 268"/>
                <a:gd name="T37" fmla="*/ 26 h 118"/>
                <a:gd name="T38" fmla="*/ 152 w 268"/>
                <a:gd name="T39" fmla="*/ 20 h 118"/>
                <a:gd name="T40" fmla="*/ 140 w 268"/>
                <a:gd name="T41" fmla="*/ 18 h 118"/>
                <a:gd name="T42" fmla="*/ 134 w 268"/>
                <a:gd name="T43" fmla="*/ 16 h 118"/>
                <a:gd name="T44" fmla="*/ 124 w 268"/>
                <a:gd name="T45" fmla="*/ 4 h 118"/>
                <a:gd name="T46" fmla="*/ 114 w 268"/>
                <a:gd name="T47" fmla="*/ 0 h 118"/>
                <a:gd name="T48" fmla="*/ 106 w 268"/>
                <a:gd name="T49" fmla="*/ 2 h 118"/>
                <a:gd name="T50" fmla="*/ 88 w 268"/>
                <a:gd name="T51" fmla="*/ 8 h 118"/>
                <a:gd name="T52" fmla="*/ 68 w 268"/>
                <a:gd name="T53" fmla="*/ 12 h 118"/>
                <a:gd name="T54" fmla="*/ 44 w 268"/>
                <a:gd name="T55" fmla="*/ 16 h 118"/>
                <a:gd name="T56" fmla="*/ 30 w 268"/>
                <a:gd name="T57" fmla="*/ 14 h 118"/>
                <a:gd name="T58" fmla="*/ 20 w 268"/>
                <a:gd name="T59" fmla="*/ 18 h 118"/>
                <a:gd name="T60" fmla="*/ 20 w 268"/>
                <a:gd name="T61" fmla="*/ 22 h 118"/>
                <a:gd name="T62" fmla="*/ 28 w 268"/>
                <a:gd name="T63" fmla="*/ 24 h 118"/>
                <a:gd name="T64" fmla="*/ 28 w 268"/>
                <a:gd name="T65" fmla="*/ 28 h 118"/>
                <a:gd name="T66" fmla="*/ 18 w 268"/>
                <a:gd name="T67" fmla="*/ 32 h 118"/>
                <a:gd name="T68" fmla="*/ 16 w 268"/>
                <a:gd name="T69" fmla="*/ 38 h 118"/>
                <a:gd name="T70" fmla="*/ 6 w 268"/>
                <a:gd name="T71" fmla="*/ 46 h 118"/>
                <a:gd name="T72" fmla="*/ 2 w 268"/>
                <a:gd name="T73" fmla="*/ 58 h 118"/>
                <a:gd name="T74" fmla="*/ 0 w 268"/>
                <a:gd name="T75" fmla="*/ 64 h 118"/>
                <a:gd name="T76" fmla="*/ 6 w 268"/>
                <a:gd name="T77" fmla="*/ 64 h 118"/>
                <a:gd name="T78" fmla="*/ 6 w 268"/>
                <a:gd name="T79" fmla="*/ 70 h 118"/>
                <a:gd name="T80" fmla="*/ 6 w 268"/>
                <a:gd name="T81" fmla="*/ 76 h 118"/>
                <a:gd name="T82" fmla="*/ 12 w 268"/>
                <a:gd name="T83" fmla="*/ 80 h 118"/>
                <a:gd name="T84" fmla="*/ 10 w 268"/>
                <a:gd name="T85" fmla="*/ 88 h 118"/>
                <a:gd name="T86" fmla="*/ 16 w 268"/>
                <a:gd name="T87" fmla="*/ 96 h 118"/>
                <a:gd name="T88" fmla="*/ 22 w 268"/>
                <a:gd name="T89" fmla="*/ 94 h 118"/>
                <a:gd name="T90" fmla="*/ 24 w 268"/>
                <a:gd name="T91" fmla="*/ 100 h 118"/>
                <a:gd name="T92" fmla="*/ 28 w 268"/>
                <a:gd name="T93" fmla="*/ 104 h 118"/>
                <a:gd name="T94" fmla="*/ 38 w 268"/>
                <a:gd name="T95" fmla="*/ 106 h 118"/>
                <a:gd name="T96" fmla="*/ 44 w 268"/>
                <a:gd name="T97" fmla="*/ 116 h 118"/>
                <a:gd name="T98" fmla="*/ 50 w 268"/>
                <a:gd name="T99" fmla="*/ 114 h 118"/>
                <a:gd name="T100" fmla="*/ 62 w 268"/>
                <a:gd name="T101" fmla="*/ 106 h 118"/>
                <a:gd name="T102" fmla="*/ 68 w 268"/>
                <a:gd name="T103" fmla="*/ 102 h 118"/>
                <a:gd name="T104" fmla="*/ 80 w 268"/>
                <a:gd name="T105" fmla="*/ 110 h 118"/>
                <a:gd name="T106" fmla="*/ 92 w 268"/>
                <a:gd name="T107" fmla="*/ 114 h 118"/>
                <a:gd name="T108" fmla="*/ 112 w 268"/>
                <a:gd name="T109" fmla="*/ 112 h 118"/>
                <a:gd name="T110" fmla="*/ 134 w 268"/>
                <a:gd name="T111" fmla="*/ 11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8" h="118">
                  <a:moveTo>
                    <a:pt x="134" y="112"/>
                  </a:moveTo>
                  <a:lnTo>
                    <a:pt x="134" y="112"/>
                  </a:lnTo>
                  <a:lnTo>
                    <a:pt x="140" y="110"/>
                  </a:lnTo>
                  <a:lnTo>
                    <a:pt x="144" y="110"/>
                  </a:lnTo>
                  <a:lnTo>
                    <a:pt x="148" y="108"/>
                  </a:lnTo>
                  <a:lnTo>
                    <a:pt x="152" y="108"/>
                  </a:lnTo>
                  <a:lnTo>
                    <a:pt x="158" y="108"/>
                  </a:lnTo>
                  <a:lnTo>
                    <a:pt x="164" y="106"/>
                  </a:lnTo>
                  <a:lnTo>
                    <a:pt x="170" y="106"/>
                  </a:lnTo>
                  <a:lnTo>
                    <a:pt x="174" y="106"/>
                  </a:lnTo>
                  <a:lnTo>
                    <a:pt x="178" y="106"/>
                  </a:lnTo>
                  <a:lnTo>
                    <a:pt x="182" y="106"/>
                  </a:lnTo>
                  <a:lnTo>
                    <a:pt x="186" y="106"/>
                  </a:lnTo>
                  <a:lnTo>
                    <a:pt x="188" y="106"/>
                  </a:lnTo>
                  <a:lnTo>
                    <a:pt x="190" y="104"/>
                  </a:lnTo>
                  <a:lnTo>
                    <a:pt x="196" y="104"/>
                  </a:lnTo>
                  <a:lnTo>
                    <a:pt x="198" y="102"/>
                  </a:lnTo>
                  <a:lnTo>
                    <a:pt x="202" y="102"/>
                  </a:lnTo>
                  <a:lnTo>
                    <a:pt x="202" y="102"/>
                  </a:lnTo>
                  <a:lnTo>
                    <a:pt x="204" y="102"/>
                  </a:lnTo>
                  <a:lnTo>
                    <a:pt x="204" y="102"/>
                  </a:lnTo>
                  <a:lnTo>
                    <a:pt x="206" y="102"/>
                  </a:lnTo>
                  <a:lnTo>
                    <a:pt x="206" y="102"/>
                  </a:lnTo>
                  <a:lnTo>
                    <a:pt x="206" y="104"/>
                  </a:lnTo>
                  <a:lnTo>
                    <a:pt x="208" y="104"/>
                  </a:lnTo>
                  <a:lnTo>
                    <a:pt x="208" y="106"/>
                  </a:lnTo>
                  <a:lnTo>
                    <a:pt x="208" y="108"/>
                  </a:lnTo>
                  <a:lnTo>
                    <a:pt x="210" y="110"/>
                  </a:lnTo>
                  <a:lnTo>
                    <a:pt x="210" y="114"/>
                  </a:lnTo>
                  <a:lnTo>
                    <a:pt x="210" y="116"/>
                  </a:lnTo>
                  <a:lnTo>
                    <a:pt x="210" y="118"/>
                  </a:lnTo>
                  <a:lnTo>
                    <a:pt x="214" y="114"/>
                  </a:lnTo>
                  <a:lnTo>
                    <a:pt x="220" y="108"/>
                  </a:lnTo>
                  <a:lnTo>
                    <a:pt x="222" y="106"/>
                  </a:lnTo>
                  <a:lnTo>
                    <a:pt x="224" y="104"/>
                  </a:lnTo>
                  <a:lnTo>
                    <a:pt x="228" y="102"/>
                  </a:lnTo>
                  <a:lnTo>
                    <a:pt x="228" y="100"/>
                  </a:lnTo>
                  <a:lnTo>
                    <a:pt x="230" y="100"/>
                  </a:lnTo>
                  <a:lnTo>
                    <a:pt x="232" y="98"/>
                  </a:lnTo>
                  <a:lnTo>
                    <a:pt x="234" y="98"/>
                  </a:lnTo>
                  <a:lnTo>
                    <a:pt x="236" y="96"/>
                  </a:lnTo>
                  <a:lnTo>
                    <a:pt x="238" y="96"/>
                  </a:lnTo>
                  <a:lnTo>
                    <a:pt x="240" y="96"/>
                  </a:lnTo>
                  <a:lnTo>
                    <a:pt x="242" y="96"/>
                  </a:lnTo>
                  <a:lnTo>
                    <a:pt x="242" y="96"/>
                  </a:lnTo>
                  <a:lnTo>
                    <a:pt x="244" y="96"/>
                  </a:lnTo>
                  <a:lnTo>
                    <a:pt x="244" y="96"/>
                  </a:lnTo>
                  <a:lnTo>
                    <a:pt x="244" y="96"/>
                  </a:lnTo>
                  <a:lnTo>
                    <a:pt x="244" y="98"/>
                  </a:lnTo>
                  <a:lnTo>
                    <a:pt x="246" y="100"/>
                  </a:lnTo>
                  <a:lnTo>
                    <a:pt x="246" y="100"/>
                  </a:lnTo>
                  <a:lnTo>
                    <a:pt x="248" y="102"/>
                  </a:lnTo>
                  <a:lnTo>
                    <a:pt x="248" y="104"/>
                  </a:lnTo>
                  <a:lnTo>
                    <a:pt x="248" y="106"/>
                  </a:lnTo>
                  <a:lnTo>
                    <a:pt x="248" y="106"/>
                  </a:lnTo>
                  <a:lnTo>
                    <a:pt x="250" y="106"/>
                  </a:lnTo>
                  <a:lnTo>
                    <a:pt x="250" y="106"/>
                  </a:lnTo>
                  <a:lnTo>
                    <a:pt x="252" y="106"/>
                  </a:lnTo>
                  <a:lnTo>
                    <a:pt x="254" y="108"/>
                  </a:lnTo>
                  <a:lnTo>
                    <a:pt x="256" y="108"/>
                  </a:lnTo>
                  <a:lnTo>
                    <a:pt x="260" y="108"/>
                  </a:lnTo>
                  <a:lnTo>
                    <a:pt x="264" y="108"/>
                  </a:lnTo>
                  <a:lnTo>
                    <a:pt x="268" y="108"/>
                  </a:lnTo>
                  <a:lnTo>
                    <a:pt x="266" y="100"/>
                  </a:lnTo>
                  <a:lnTo>
                    <a:pt x="264" y="94"/>
                  </a:lnTo>
                  <a:lnTo>
                    <a:pt x="264" y="90"/>
                  </a:lnTo>
                  <a:lnTo>
                    <a:pt x="264" y="88"/>
                  </a:lnTo>
                  <a:lnTo>
                    <a:pt x="262" y="86"/>
                  </a:lnTo>
                  <a:lnTo>
                    <a:pt x="262" y="84"/>
                  </a:lnTo>
                  <a:lnTo>
                    <a:pt x="260" y="78"/>
                  </a:lnTo>
                  <a:lnTo>
                    <a:pt x="258" y="74"/>
                  </a:lnTo>
                  <a:lnTo>
                    <a:pt x="256" y="70"/>
                  </a:lnTo>
                  <a:lnTo>
                    <a:pt x="254" y="68"/>
                  </a:lnTo>
                  <a:lnTo>
                    <a:pt x="254" y="64"/>
                  </a:lnTo>
                  <a:lnTo>
                    <a:pt x="252" y="60"/>
                  </a:lnTo>
                  <a:lnTo>
                    <a:pt x="250" y="58"/>
                  </a:lnTo>
                  <a:lnTo>
                    <a:pt x="250" y="54"/>
                  </a:lnTo>
                  <a:lnTo>
                    <a:pt x="250" y="54"/>
                  </a:lnTo>
                  <a:lnTo>
                    <a:pt x="250" y="52"/>
                  </a:lnTo>
                  <a:lnTo>
                    <a:pt x="250" y="52"/>
                  </a:lnTo>
                  <a:lnTo>
                    <a:pt x="250" y="50"/>
                  </a:lnTo>
                  <a:lnTo>
                    <a:pt x="250" y="50"/>
                  </a:lnTo>
                  <a:lnTo>
                    <a:pt x="250" y="48"/>
                  </a:lnTo>
                  <a:lnTo>
                    <a:pt x="252" y="46"/>
                  </a:lnTo>
                  <a:lnTo>
                    <a:pt x="254" y="44"/>
                  </a:lnTo>
                  <a:lnTo>
                    <a:pt x="254" y="44"/>
                  </a:lnTo>
                  <a:lnTo>
                    <a:pt x="250" y="40"/>
                  </a:lnTo>
                  <a:lnTo>
                    <a:pt x="246" y="36"/>
                  </a:lnTo>
                  <a:lnTo>
                    <a:pt x="244" y="34"/>
                  </a:lnTo>
                  <a:lnTo>
                    <a:pt x="244" y="32"/>
                  </a:lnTo>
                  <a:lnTo>
                    <a:pt x="242" y="30"/>
                  </a:lnTo>
                  <a:lnTo>
                    <a:pt x="240" y="28"/>
                  </a:lnTo>
                  <a:lnTo>
                    <a:pt x="236" y="20"/>
                  </a:lnTo>
                  <a:lnTo>
                    <a:pt x="230" y="12"/>
                  </a:lnTo>
                  <a:lnTo>
                    <a:pt x="212" y="14"/>
                  </a:lnTo>
                  <a:lnTo>
                    <a:pt x="210" y="14"/>
                  </a:lnTo>
                  <a:lnTo>
                    <a:pt x="210" y="18"/>
                  </a:lnTo>
                  <a:lnTo>
                    <a:pt x="208" y="20"/>
                  </a:lnTo>
                  <a:lnTo>
                    <a:pt x="206" y="20"/>
                  </a:lnTo>
                  <a:lnTo>
                    <a:pt x="206" y="22"/>
                  </a:lnTo>
                  <a:lnTo>
                    <a:pt x="204" y="24"/>
                  </a:lnTo>
                  <a:lnTo>
                    <a:pt x="204" y="24"/>
                  </a:lnTo>
                  <a:lnTo>
                    <a:pt x="202" y="24"/>
                  </a:lnTo>
                  <a:lnTo>
                    <a:pt x="200" y="24"/>
                  </a:lnTo>
                  <a:lnTo>
                    <a:pt x="198" y="24"/>
                  </a:lnTo>
                  <a:lnTo>
                    <a:pt x="194" y="24"/>
                  </a:lnTo>
                  <a:lnTo>
                    <a:pt x="190" y="24"/>
                  </a:lnTo>
                  <a:lnTo>
                    <a:pt x="182" y="24"/>
                  </a:lnTo>
                  <a:lnTo>
                    <a:pt x="178" y="24"/>
                  </a:lnTo>
                  <a:lnTo>
                    <a:pt x="174" y="24"/>
                  </a:lnTo>
                  <a:lnTo>
                    <a:pt x="172" y="24"/>
                  </a:lnTo>
                  <a:lnTo>
                    <a:pt x="168" y="26"/>
                  </a:lnTo>
                  <a:lnTo>
                    <a:pt x="164" y="26"/>
                  </a:lnTo>
                  <a:lnTo>
                    <a:pt x="164" y="26"/>
                  </a:lnTo>
                  <a:lnTo>
                    <a:pt x="162" y="26"/>
                  </a:lnTo>
                  <a:lnTo>
                    <a:pt x="160" y="26"/>
                  </a:lnTo>
                  <a:lnTo>
                    <a:pt x="158" y="24"/>
                  </a:lnTo>
                  <a:lnTo>
                    <a:pt x="156" y="24"/>
                  </a:lnTo>
                  <a:lnTo>
                    <a:pt x="154" y="22"/>
                  </a:lnTo>
                  <a:lnTo>
                    <a:pt x="152" y="20"/>
                  </a:lnTo>
                  <a:lnTo>
                    <a:pt x="150" y="18"/>
                  </a:lnTo>
                  <a:lnTo>
                    <a:pt x="148" y="18"/>
                  </a:lnTo>
                  <a:lnTo>
                    <a:pt x="146" y="18"/>
                  </a:lnTo>
                  <a:lnTo>
                    <a:pt x="146" y="18"/>
                  </a:lnTo>
                  <a:lnTo>
                    <a:pt x="142" y="18"/>
                  </a:lnTo>
                  <a:lnTo>
                    <a:pt x="140" y="18"/>
                  </a:lnTo>
                  <a:lnTo>
                    <a:pt x="138" y="18"/>
                  </a:lnTo>
                  <a:lnTo>
                    <a:pt x="138" y="18"/>
                  </a:lnTo>
                  <a:lnTo>
                    <a:pt x="136" y="18"/>
                  </a:lnTo>
                  <a:lnTo>
                    <a:pt x="136" y="18"/>
                  </a:lnTo>
                  <a:lnTo>
                    <a:pt x="136" y="18"/>
                  </a:lnTo>
                  <a:lnTo>
                    <a:pt x="134" y="16"/>
                  </a:lnTo>
                  <a:lnTo>
                    <a:pt x="132" y="14"/>
                  </a:lnTo>
                  <a:lnTo>
                    <a:pt x="132" y="12"/>
                  </a:lnTo>
                  <a:lnTo>
                    <a:pt x="128" y="10"/>
                  </a:lnTo>
                  <a:lnTo>
                    <a:pt x="128" y="8"/>
                  </a:lnTo>
                  <a:lnTo>
                    <a:pt x="126" y="6"/>
                  </a:lnTo>
                  <a:lnTo>
                    <a:pt x="124" y="4"/>
                  </a:lnTo>
                  <a:lnTo>
                    <a:pt x="122" y="4"/>
                  </a:lnTo>
                  <a:lnTo>
                    <a:pt x="120" y="2"/>
                  </a:lnTo>
                  <a:lnTo>
                    <a:pt x="118" y="0"/>
                  </a:lnTo>
                  <a:lnTo>
                    <a:pt x="116" y="0"/>
                  </a:lnTo>
                  <a:lnTo>
                    <a:pt x="114" y="0"/>
                  </a:lnTo>
                  <a:lnTo>
                    <a:pt x="114" y="0"/>
                  </a:lnTo>
                  <a:lnTo>
                    <a:pt x="112" y="0"/>
                  </a:lnTo>
                  <a:lnTo>
                    <a:pt x="112" y="0"/>
                  </a:lnTo>
                  <a:lnTo>
                    <a:pt x="110" y="0"/>
                  </a:lnTo>
                  <a:lnTo>
                    <a:pt x="110" y="0"/>
                  </a:lnTo>
                  <a:lnTo>
                    <a:pt x="108" y="2"/>
                  </a:lnTo>
                  <a:lnTo>
                    <a:pt x="106" y="2"/>
                  </a:lnTo>
                  <a:lnTo>
                    <a:pt x="102" y="4"/>
                  </a:lnTo>
                  <a:lnTo>
                    <a:pt x="100" y="6"/>
                  </a:lnTo>
                  <a:lnTo>
                    <a:pt x="98" y="6"/>
                  </a:lnTo>
                  <a:lnTo>
                    <a:pt x="96" y="8"/>
                  </a:lnTo>
                  <a:lnTo>
                    <a:pt x="94" y="8"/>
                  </a:lnTo>
                  <a:lnTo>
                    <a:pt x="88" y="8"/>
                  </a:lnTo>
                  <a:lnTo>
                    <a:pt x="84" y="8"/>
                  </a:lnTo>
                  <a:lnTo>
                    <a:pt x="80" y="8"/>
                  </a:lnTo>
                  <a:lnTo>
                    <a:pt x="78" y="10"/>
                  </a:lnTo>
                  <a:lnTo>
                    <a:pt x="76" y="10"/>
                  </a:lnTo>
                  <a:lnTo>
                    <a:pt x="72" y="12"/>
                  </a:lnTo>
                  <a:lnTo>
                    <a:pt x="68" y="12"/>
                  </a:lnTo>
                  <a:lnTo>
                    <a:pt x="64" y="14"/>
                  </a:lnTo>
                  <a:lnTo>
                    <a:pt x="60" y="14"/>
                  </a:lnTo>
                  <a:lnTo>
                    <a:pt x="56" y="14"/>
                  </a:lnTo>
                  <a:lnTo>
                    <a:pt x="50" y="16"/>
                  </a:lnTo>
                  <a:lnTo>
                    <a:pt x="46" y="16"/>
                  </a:lnTo>
                  <a:lnTo>
                    <a:pt x="44" y="16"/>
                  </a:lnTo>
                  <a:lnTo>
                    <a:pt x="42" y="16"/>
                  </a:lnTo>
                  <a:lnTo>
                    <a:pt x="40" y="14"/>
                  </a:lnTo>
                  <a:lnTo>
                    <a:pt x="36" y="14"/>
                  </a:lnTo>
                  <a:lnTo>
                    <a:pt x="36" y="14"/>
                  </a:lnTo>
                  <a:lnTo>
                    <a:pt x="34" y="14"/>
                  </a:lnTo>
                  <a:lnTo>
                    <a:pt x="30" y="14"/>
                  </a:lnTo>
                  <a:lnTo>
                    <a:pt x="28" y="16"/>
                  </a:lnTo>
                  <a:lnTo>
                    <a:pt x="26" y="16"/>
                  </a:lnTo>
                  <a:lnTo>
                    <a:pt x="22" y="18"/>
                  </a:lnTo>
                  <a:lnTo>
                    <a:pt x="22" y="18"/>
                  </a:lnTo>
                  <a:lnTo>
                    <a:pt x="20" y="18"/>
                  </a:lnTo>
                  <a:lnTo>
                    <a:pt x="20" y="18"/>
                  </a:lnTo>
                  <a:lnTo>
                    <a:pt x="20" y="20"/>
                  </a:lnTo>
                  <a:lnTo>
                    <a:pt x="20" y="20"/>
                  </a:lnTo>
                  <a:lnTo>
                    <a:pt x="20" y="22"/>
                  </a:lnTo>
                  <a:lnTo>
                    <a:pt x="20" y="22"/>
                  </a:lnTo>
                  <a:lnTo>
                    <a:pt x="20" y="22"/>
                  </a:lnTo>
                  <a:lnTo>
                    <a:pt x="20" y="22"/>
                  </a:lnTo>
                  <a:lnTo>
                    <a:pt x="20" y="22"/>
                  </a:lnTo>
                  <a:lnTo>
                    <a:pt x="22" y="24"/>
                  </a:lnTo>
                  <a:lnTo>
                    <a:pt x="24" y="24"/>
                  </a:lnTo>
                  <a:lnTo>
                    <a:pt x="26" y="24"/>
                  </a:lnTo>
                  <a:lnTo>
                    <a:pt x="26" y="24"/>
                  </a:lnTo>
                  <a:lnTo>
                    <a:pt x="28" y="24"/>
                  </a:lnTo>
                  <a:lnTo>
                    <a:pt x="28" y="26"/>
                  </a:lnTo>
                  <a:lnTo>
                    <a:pt x="28" y="26"/>
                  </a:lnTo>
                  <a:lnTo>
                    <a:pt x="28" y="26"/>
                  </a:lnTo>
                  <a:lnTo>
                    <a:pt x="28" y="26"/>
                  </a:lnTo>
                  <a:lnTo>
                    <a:pt x="28" y="26"/>
                  </a:lnTo>
                  <a:lnTo>
                    <a:pt x="28" y="28"/>
                  </a:lnTo>
                  <a:lnTo>
                    <a:pt x="28" y="28"/>
                  </a:lnTo>
                  <a:lnTo>
                    <a:pt x="26" y="28"/>
                  </a:lnTo>
                  <a:lnTo>
                    <a:pt x="24" y="30"/>
                  </a:lnTo>
                  <a:lnTo>
                    <a:pt x="20" y="30"/>
                  </a:lnTo>
                  <a:lnTo>
                    <a:pt x="20" y="30"/>
                  </a:lnTo>
                  <a:lnTo>
                    <a:pt x="18" y="32"/>
                  </a:lnTo>
                  <a:lnTo>
                    <a:pt x="18" y="32"/>
                  </a:lnTo>
                  <a:lnTo>
                    <a:pt x="18" y="32"/>
                  </a:lnTo>
                  <a:lnTo>
                    <a:pt x="18" y="34"/>
                  </a:lnTo>
                  <a:lnTo>
                    <a:pt x="16" y="36"/>
                  </a:lnTo>
                  <a:lnTo>
                    <a:pt x="16" y="38"/>
                  </a:lnTo>
                  <a:lnTo>
                    <a:pt x="16" y="38"/>
                  </a:lnTo>
                  <a:lnTo>
                    <a:pt x="14" y="40"/>
                  </a:lnTo>
                  <a:lnTo>
                    <a:pt x="14" y="40"/>
                  </a:lnTo>
                  <a:lnTo>
                    <a:pt x="12" y="42"/>
                  </a:lnTo>
                  <a:lnTo>
                    <a:pt x="10" y="44"/>
                  </a:lnTo>
                  <a:lnTo>
                    <a:pt x="6" y="46"/>
                  </a:lnTo>
                  <a:lnTo>
                    <a:pt x="6" y="46"/>
                  </a:lnTo>
                  <a:lnTo>
                    <a:pt x="4" y="48"/>
                  </a:lnTo>
                  <a:lnTo>
                    <a:pt x="4" y="48"/>
                  </a:lnTo>
                  <a:lnTo>
                    <a:pt x="4" y="50"/>
                  </a:lnTo>
                  <a:lnTo>
                    <a:pt x="4" y="52"/>
                  </a:lnTo>
                  <a:lnTo>
                    <a:pt x="2" y="56"/>
                  </a:lnTo>
                  <a:lnTo>
                    <a:pt x="2" y="58"/>
                  </a:lnTo>
                  <a:lnTo>
                    <a:pt x="0" y="60"/>
                  </a:lnTo>
                  <a:lnTo>
                    <a:pt x="0" y="60"/>
                  </a:lnTo>
                  <a:lnTo>
                    <a:pt x="0" y="62"/>
                  </a:lnTo>
                  <a:lnTo>
                    <a:pt x="0" y="62"/>
                  </a:lnTo>
                  <a:lnTo>
                    <a:pt x="0" y="64"/>
                  </a:lnTo>
                  <a:lnTo>
                    <a:pt x="0" y="64"/>
                  </a:lnTo>
                  <a:lnTo>
                    <a:pt x="0" y="64"/>
                  </a:lnTo>
                  <a:lnTo>
                    <a:pt x="2" y="64"/>
                  </a:lnTo>
                  <a:lnTo>
                    <a:pt x="2" y="64"/>
                  </a:lnTo>
                  <a:lnTo>
                    <a:pt x="4" y="64"/>
                  </a:lnTo>
                  <a:lnTo>
                    <a:pt x="6" y="64"/>
                  </a:lnTo>
                  <a:lnTo>
                    <a:pt x="6" y="64"/>
                  </a:lnTo>
                  <a:lnTo>
                    <a:pt x="6" y="66"/>
                  </a:lnTo>
                  <a:lnTo>
                    <a:pt x="8" y="66"/>
                  </a:lnTo>
                  <a:lnTo>
                    <a:pt x="8" y="66"/>
                  </a:lnTo>
                  <a:lnTo>
                    <a:pt x="8" y="68"/>
                  </a:lnTo>
                  <a:lnTo>
                    <a:pt x="6" y="68"/>
                  </a:lnTo>
                  <a:lnTo>
                    <a:pt x="6" y="70"/>
                  </a:lnTo>
                  <a:lnTo>
                    <a:pt x="6" y="72"/>
                  </a:lnTo>
                  <a:lnTo>
                    <a:pt x="6" y="72"/>
                  </a:lnTo>
                  <a:lnTo>
                    <a:pt x="6" y="74"/>
                  </a:lnTo>
                  <a:lnTo>
                    <a:pt x="6" y="74"/>
                  </a:lnTo>
                  <a:lnTo>
                    <a:pt x="6" y="74"/>
                  </a:lnTo>
                  <a:lnTo>
                    <a:pt x="6" y="76"/>
                  </a:lnTo>
                  <a:lnTo>
                    <a:pt x="6" y="76"/>
                  </a:lnTo>
                  <a:lnTo>
                    <a:pt x="8" y="76"/>
                  </a:lnTo>
                  <a:lnTo>
                    <a:pt x="10" y="78"/>
                  </a:lnTo>
                  <a:lnTo>
                    <a:pt x="10" y="78"/>
                  </a:lnTo>
                  <a:lnTo>
                    <a:pt x="10" y="78"/>
                  </a:lnTo>
                  <a:lnTo>
                    <a:pt x="12" y="80"/>
                  </a:lnTo>
                  <a:lnTo>
                    <a:pt x="12" y="80"/>
                  </a:lnTo>
                  <a:lnTo>
                    <a:pt x="12" y="82"/>
                  </a:lnTo>
                  <a:lnTo>
                    <a:pt x="10" y="84"/>
                  </a:lnTo>
                  <a:lnTo>
                    <a:pt x="10" y="86"/>
                  </a:lnTo>
                  <a:lnTo>
                    <a:pt x="10" y="86"/>
                  </a:lnTo>
                  <a:lnTo>
                    <a:pt x="10" y="88"/>
                  </a:lnTo>
                  <a:lnTo>
                    <a:pt x="10" y="88"/>
                  </a:lnTo>
                  <a:lnTo>
                    <a:pt x="12" y="90"/>
                  </a:lnTo>
                  <a:lnTo>
                    <a:pt x="12" y="92"/>
                  </a:lnTo>
                  <a:lnTo>
                    <a:pt x="14" y="94"/>
                  </a:lnTo>
                  <a:lnTo>
                    <a:pt x="14" y="94"/>
                  </a:lnTo>
                  <a:lnTo>
                    <a:pt x="16" y="96"/>
                  </a:lnTo>
                  <a:lnTo>
                    <a:pt x="16" y="96"/>
                  </a:lnTo>
                  <a:lnTo>
                    <a:pt x="16" y="96"/>
                  </a:lnTo>
                  <a:lnTo>
                    <a:pt x="18" y="96"/>
                  </a:lnTo>
                  <a:lnTo>
                    <a:pt x="20" y="94"/>
                  </a:lnTo>
                  <a:lnTo>
                    <a:pt x="22" y="94"/>
                  </a:lnTo>
                  <a:lnTo>
                    <a:pt x="22" y="94"/>
                  </a:lnTo>
                  <a:lnTo>
                    <a:pt x="22" y="94"/>
                  </a:lnTo>
                  <a:lnTo>
                    <a:pt x="22" y="96"/>
                  </a:lnTo>
                  <a:lnTo>
                    <a:pt x="24" y="96"/>
                  </a:lnTo>
                  <a:lnTo>
                    <a:pt x="24" y="96"/>
                  </a:lnTo>
                  <a:lnTo>
                    <a:pt x="24" y="98"/>
                  </a:lnTo>
                  <a:lnTo>
                    <a:pt x="24" y="100"/>
                  </a:lnTo>
                  <a:lnTo>
                    <a:pt x="24" y="100"/>
                  </a:lnTo>
                  <a:lnTo>
                    <a:pt x="24" y="102"/>
                  </a:lnTo>
                  <a:lnTo>
                    <a:pt x="24" y="102"/>
                  </a:lnTo>
                  <a:lnTo>
                    <a:pt x="24" y="102"/>
                  </a:lnTo>
                  <a:lnTo>
                    <a:pt x="26" y="102"/>
                  </a:lnTo>
                  <a:lnTo>
                    <a:pt x="28" y="104"/>
                  </a:lnTo>
                  <a:lnTo>
                    <a:pt x="30" y="104"/>
                  </a:lnTo>
                  <a:lnTo>
                    <a:pt x="34" y="104"/>
                  </a:lnTo>
                  <a:lnTo>
                    <a:pt x="36" y="104"/>
                  </a:lnTo>
                  <a:lnTo>
                    <a:pt x="36" y="106"/>
                  </a:lnTo>
                  <a:lnTo>
                    <a:pt x="36" y="106"/>
                  </a:lnTo>
                  <a:lnTo>
                    <a:pt x="38" y="106"/>
                  </a:lnTo>
                  <a:lnTo>
                    <a:pt x="38" y="108"/>
                  </a:lnTo>
                  <a:lnTo>
                    <a:pt x="40" y="110"/>
                  </a:lnTo>
                  <a:lnTo>
                    <a:pt x="42" y="112"/>
                  </a:lnTo>
                  <a:lnTo>
                    <a:pt x="42" y="114"/>
                  </a:lnTo>
                  <a:lnTo>
                    <a:pt x="42" y="114"/>
                  </a:lnTo>
                  <a:lnTo>
                    <a:pt x="44" y="116"/>
                  </a:lnTo>
                  <a:lnTo>
                    <a:pt x="44" y="116"/>
                  </a:lnTo>
                  <a:lnTo>
                    <a:pt x="44" y="116"/>
                  </a:lnTo>
                  <a:lnTo>
                    <a:pt x="44" y="116"/>
                  </a:lnTo>
                  <a:lnTo>
                    <a:pt x="46" y="116"/>
                  </a:lnTo>
                  <a:lnTo>
                    <a:pt x="48" y="114"/>
                  </a:lnTo>
                  <a:lnTo>
                    <a:pt x="50" y="114"/>
                  </a:lnTo>
                  <a:lnTo>
                    <a:pt x="52" y="112"/>
                  </a:lnTo>
                  <a:lnTo>
                    <a:pt x="54" y="112"/>
                  </a:lnTo>
                  <a:lnTo>
                    <a:pt x="56" y="110"/>
                  </a:lnTo>
                  <a:lnTo>
                    <a:pt x="58" y="108"/>
                  </a:lnTo>
                  <a:lnTo>
                    <a:pt x="60" y="106"/>
                  </a:lnTo>
                  <a:lnTo>
                    <a:pt x="62" y="106"/>
                  </a:lnTo>
                  <a:lnTo>
                    <a:pt x="64" y="104"/>
                  </a:lnTo>
                  <a:lnTo>
                    <a:pt x="64" y="102"/>
                  </a:lnTo>
                  <a:lnTo>
                    <a:pt x="66" y="102"/>
                  </a:lnTo>
                  <a:lnTo>
                    <a:pt x="68" y="102"/>
                  </a:lnTo>
                  <a:lnTo>
                    <a:pt x="68" y="102"/>
                  </a:lnTo>
                  <a:lnTo>
                    <a:pt x="68" y="102"/>
                  </a:lnTo>
                  <a:lnTo>
                    <a:pt x="70" y="102"/>
                  </a:lnTo>
                  <a:lnTo>
                    <a:pt x="70" y="102"/>
                  </a:lnTo>
                  <a:lnTo>
                    <a:pt x="72" y="102"/>
                  </a:lnTo>
                  <a:lnTo>
                    <a:pt x="74" y="104"/>
                  </a:lnTo>
                  <a:lnTo>
                    <a:pt x="76" y="106"/>
                  </a:lnTo>
                  <a:lnTo>
                    <a:pt x="80" y="110"/>
                  </a:lnTo>
                  <a:lnTo>
                    <a:pt x="82" y="112"/>
                  </a:lnTo>
                  <a:lnTo>
                    <a:pt x="84" y="112"/>
                  </a:lnTo>
                  <a:lnTo>
                    <a:pt x="84" y="112"/>
                  </a:lnTo>
                  <a:lnTo>
                    <a:pt x="86" y="112"/>
                  </a:lnTo>
                  <a:lnTo>
                    <a:pt x="88" y="112"/>
                  </a:lnTo>
                  <a:lnTo>
                    <a:pt x="92" y="114"/>
                  </a:lnTo>
                  <a:lnTo>
                    <a:pt x="94" y="114"/>
                  </a:lnTo>
                  <a:lnTo>
                    <a:pt x="98" y="114"/>
                  </a:lnTo>
                  <a:lnTo>
                    <a:pt x="102" y="114"/>
                  </a:lnTo>
                  <a:lnTo>
                    <a:pt x="104" y="114"/>
                  </a:lnTo>
                  <a:lnTo>
                    <a:pt x="108" y="112"/>
                  </a:lnTo>
                  <a:lnTo>
                    <a:pt x="112" y="112"/>
                  </a:lnTo>
                  <a:lnTo>
                    <a:pt x="118" y="112"/>
                  </a:lnTo>
                  <a:lnTo>
                    <a:pt x="122" y="110"/>
                  </a:lnTo>
                  <a:lnTo>
                    <a:pt x="126" y="110"/>
                  </a:lnTo>
                  <a:lnTo>
                    <a:pt x="130" y="110"/>
                  </a:lnTo>
                  <a:lnTo>
                    <a:pt x="132" y="112"/>
                  </a:lnTo>
                  <a:lnTo>
                    <a:pt x="134" y="11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3" name="Freeform 151">
              <a:extLst>
                <a:ext uri="{FF2B5EF4-FFF2-40B4-BE49-F238E27FC236}">
                  <a16:creationId xmlns:a16="http://schemas.microsoft.com/office/drawing/2014/main" id="{8005566F-1A6F-4196-BA5C-A2A574A8454A}"/>
                </a:ext>
              </a:extLst>
            </p:cNvPr>
            <p:cNvSpPr>
              <a:spLocks/>
            </p:cNvSpPr>
            <p:nvPr/>
          </p:nvSpPr>
          <p:spPr bwMode="auto">
            <a:xfrm>
              <a:off x="5343098" y="3336762"/>
              <a:ext cx="131638" cy="152423"/>
            </a:xfrm>
            <a:custGeom>
              <a:avLst/>
              <a:gdLst>
                <a:gd name="T0" fmla="*/ 0 w 76"/>
                <a:gd name="T1" fmla="*/ 8 h 88"/>
                <a:gd name="T2" fmla="*/ 4 w 76"/>
                <a:gd name="T3" fmla="*/ 24 h 88"/>
                <a:gd name="T4" fmla="*/ 6 w 76"/>
                <a:gd name="T5" fmla="*/ 30 h 88"/>
                <a:gd name="T6" fmla="*/ 8 w 76"/>
                <a:gd name="T7" fmla="*/ 36 h 88"/>
                <a:gd name="T8" fmla="*/ 14 w 76"/>
                <a:gd name="T9" fmla="*/ 46 h 88"/>
                <a:gd name="T10" fmla="*/ 18 w 76"/>
                <a:gd name="T11" fmla="*/ 54 h 88"/>
                <a:gd name="T12" fmla="*/ 22 w 76"/>
                <a:gd name="T13" fmla="*/ 62 h 88"/>
                <a:gd name="T14" fmla="*/ 28 w 76"/>
                <a:gd name="T15" fmla="*/ 68 h 88"/>
                <a:gd name="T16" fmla="*/ 28 w 76"/>
                <a:gd name="T17" fmla="*/ 72 h 88"/>
                <a:gd name="T18" fmla="*/ 30 w 76"/>
                <a:gd name="T19" fmla="*/ 76 h 88"/>
                <a:gd name="T20" fmla="*/ 30 w 76"/>
                <a:gd name="T21" fmla="*/ 78 h 88"/>
                <a:gd name="T22" fmla="*/ 28 w 76"/>
                <a:gd name="T23" fmla="*/ 80 h 88"/>
                <a:gd name="T24" fmla="*/ 28 w 76"/>
                <a:gd name="T25" fmla="*/ 80 h 88"/>
                <a:gd name="T26" fmla="*/ 24 w 76"/>
                <a:gd name="T27" fmla="*/ 84 h 88"/>
                <a:gd name="T28" fmla="*/ 18 w 76"/>
                <a:gd name="T29" fmla="*/ 86 h 88"/>
                <a:gd name="T30" fmla="*/ 24 w 76"/>
                <a:gd name="T31" fmla="*/ 86 h 88"/>
                <a:gd name="T32" fmla="*/ 30 w 76"/>
                <a:gd name="T33" fmla="*/ 88 h 88"/>
                <a:gd name="T34" fmla="*/ 34 w 76"/>
                <a:gd name="T35" fmla="*/ 86 h 88"/>
                <a:gd name="T36" fmla="*/ 36 w 76"/>
                <a:gd name="T37" fmla="*/ 86 h 88"/>
                <a:gd name="T38" fmla="*/ 38 w 76"/>
                <a:gd name="T39" fmla="*/ 86 h 88"/>
                <a:gd name="T40" fmla="*/ 38 w 76"/>
                <a:gd name="T41" fmla="*/ 84 h 88"/>
                <a:gd name="T42" fmla="*/ 40 w 76"/>
                <a:gd name="T43" fmla="*/ 80 h 88"/>
                <a:gd name="T44" fmla="*/ 40 w 76"/>
                <a:gd name="T45" fmla="*/ 76 h 88"/>
                <a:gd name="T46" fmla="*/ 40 w 76"/>
                <a:gd name="T47" fmla="*/ 74 h 88"/>
                <a:gd name="T48" fmla="*/ 42 w 76"/>
                <a:gd name="T49" fmla="*/ 72 h 88"/>
                <a:gd name="T50" fmla="*/ 44 w 76"/>
                <a:gd name="T51" fmla="*/ 70 h 88"/>
                <a:gd name="T52" fmla="*/ 46 w 76"/>
                <a:gd name="T53" fmla="*/ 70 h 88"/>
                <a:gd name="T54" fmla="*/ 48 w 76"/>
                <a:gd name="T55" fmla="*/ 68 h 88"/>
                <a:gd name="T56" fmla="*/ 50 w 76"/>
                <a:gd name="T57" fmla="*/ 68 h 88"/>
                <a:gd name="T58" fmla="*/ 52 w 76"/>
                <a:gd name="T59" fmla="*/ 70 h 88"/>
                <a:gd name="T60" fmla="*/ 52 w 76"/>
                <a:gd name="T61" fmla="*/ 72 h 88"/>
                <a:gd name="T62" fmla="*/ 54 w 76"/>
                <a:gd name="T63" fmla="*/ 76 h 88"/>
                <a:gd name="T64" fmla="*/ 54 w 76"/>
                <a:gd name="T65" fmla="*/ 82 h 88"/>
                <a:gd name="T66" fmla="*/ 54 w 76"/>
                <a:gd name="T67" fmla="*/ 88 h 88"/>
                <a:gd name="T68" fmla="*/ 58 w 76"/>
                <a:gd name="T69" fmla="*/ 84 h 88"/>
                <a:gd name="T70" fmla="*/ 62 w 76"/>
                <a:gd name="T71" fmla="*/ 82 h 88"/>
                <a:gd name="T72" fmla="*/ 64 w 76"/>
                <a:gd name="T73" fmla="*/ 80 h 88"/>
                <a:gd name="T74" fmla="*/ 64 w 76"/>
                <a:gd name="T75" fmla="*/ 80 h 88"/>
                <a:gd name="T76" fmla="*/ 64 w 76"/>
                <a:gd name="T77" fmla="*/ 76 h 88"/>
                <a:gd name="T78" fmla="*/ 64 w 76"/>
                <a:gd name="T79" fmla="*/ 70 h 88"/>
                <a:gd name="T80" fmla="*/ 66 w 76"/>
                <a:gd name="T81" fmla="*/ 68 h 88"/>
                <a:gd name="T82" fmla="*/ 66 w 76"/>
                <a:gd name="T83" fmla="*/ 66 h 88"/>
                <a:gd name="T84" fmla="*/ 66 w 76"/>
                <a:gd name="T85" fmla="*/ 66 h 88"/>
                <a:gd name="T86" fmla="*/ 70 w 76"/>
                <a:gd name="T87" fmla="*/ 64 h 88"/>
                <a:gd name="T88" fmla="*/ 72 w 76"/>
                <a:gd name="T89" fmla="*/ 64 h 88"/>
                <a:gd name="T90" fmla="*/ 76 w 76"/>
                <a:gd name="T91" fmla="*/ 62 h 88"/>
                <a:gd name="T92" fmla="*/ 76 w 76"/>
                <a:gd name="T93" fmla="*/ 62 h 88"/>
                <a:gd name="T94" fmla="*/ 76 w 76"/>
                <a:gd name="T95" fmla="*/ 60 h 88"/>
                <a:gd name="T96" fmla="*/ 76 w 76"/>
                <a:gd name="T97" fmla="*/ 58 h 88"/>
                <a:gd name="T98" fmla="*/ 74 w 76"/>
                <a:gd name="T99" fmla="*/ 56 h 88"/>
                <a:gd name="T100" fmla="*/ 74 w 76"/>
                <a:gd name="T101" fmla="*/ 52 h 88"/>
                <a:gd name="T102" fmla="*/ 70 w 76"/>
                <a:gd name="T103" fmla="*/ 50 h 88"/>
                <a:gd name="T104" fmla="*/ 66 w 76"/>
                <a:gd name="T105" fmla="*/ 48 h 88"/>
                <a:gd name="T106" fmla="*/ 60 w 76"/>
                <a:gd name="T107" fmla="*/ 44 h 88"/>
                <a:gd name="T108" fmla="*/ 56 w 76"/>
                <a:gd name="T109" fmla="*/ 40 h 88"/>
                <a:gd name="T110" fmla="*/ 48 w 76"/>
                <a:gd name="T111" fmla="*/ 32 h 88"/>
                <a:gd name="T112" fmla="*/ 42 w 76"/>
                <a:gd name="T113" fmla="*/ 26 h 88"/>
                <a:gd name="T114" fmla="*/ 36 w 76"/>
                <a:gd name="T115" fmla="*/ 12 h 88"/>
                <a:gd name="T116" fmla="*/ 30 w 76"/>
                <a:gd name="T11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6" h="88">
                  <a:moveTo>
                    <a:pt x="0" y="8"/>
                  </a:moveTo>
                  <a:lnTo>
                    <a:pt x="0" y="8"/>
                  </a:lnTo>
                  <a:lnTo>
                    <a:pt x="2" y="18"/>
                  </a:lnTo>
                  <a:lnTo>
                    <a:pt x="4" y="24"/>
                  </a:lnTo>
                  <a:lnTo>
                    <a:pt x="4" y="28"/>
                  </a:lnTo>
                  <a:lnTo>
                    <a:pt x="6" y="30"/>
                  </a:lnTo>
                  <a:lnTo>
                    <a:pt x="6" y="32"/>
                  </a:lnTo>
                  <a:lnTo>
                    <a:pt x="8" y="36"/>
                  </a:lnTo>
                  <a:lnTo>
                    <a:pt x="10" y="42"/>
                  </a:lnTo>
                  <a:lnTo>
                    <a:pt x="14" y="46"/>
                  </a:lnTo>
                  <a:lnTo>
                    <a:pt x="16" y="52"/>
                  </a:lnTo>
                  <a:lnTo>
                    <a:pt x="18" y="54"/>
                  </a:lnTo>
                  <a:lnTo>
                    <a:pt x="20" y="58"/>
                  </a:lnTo>
                  <a:lnTo>
                    <a:pt x="22" y="62"/>
                  </a:lnTo>
                  <a:lnTo>
                    <a:pt x="24" y="64"/>
                  </a:lnTo>
                  <a:lnTo>
                    <a:pt x="28" y="68"/>
                  </a:lnTo>
                  <a:lnTo>
                    <a:pt x="28" y="70"/>
                  </a:lnTo>
                  <a:lnTo>
                    <a:pt x="28" y="72"/>
                  </a:lnTo>
                  <a:lnTo>
                    <a:pt x="30" y="74"/>
                  </a:lnTo>
                  <a:lnTo>
                    <a:pt x="30" y="76"/>
                  </a:lnTo>
                  <a:lnTo>
                    <a:pt x="30" y="76"/>
                  </a:lnTo>
                  <a:lnTo>
                    <a:pt x="30" y="78"/>
                  </a:lnTo>
                  <a:lnTo>
                    <a:pt x="30" y="78"/>
                  </a:lnTo>
                  <a:lnTo>
                    <a:pt x="28" y="80"/>
                  </a:lnTo>
                  <a:lnTo>
                    <a:pt x="28" y="80"/>
                  </a:lnTo>
                  <a:lnTo>
                    <a:pt x="28" y="80"/>
                  </a:lnTo>
                  <a:lnTo>
                    <a:pt x="26" y="82"/>
                  </a:lnTo>
                  <a:lnTo>
                    <a:pt x="24" y="84"/>
                  </a:lnTo>
                  <a:lnTo>
                    <a:pt x="20" y="86"/>
                  </a:lnTo>
                  <a:lnTo>
                    <a:pt x="18" y="86"/>
                  </a:lnTo>
                  <a:lnTo>
                    <a:pt x="20" y="86"/>
                  </a:lnTo>
                  <a:lnTo>
                    <a:pt x="24" y="86"/>
                  </a:lnTo>
                  <a:lnTo>
                    <a:pt x="26" y="86"/>
                  </a:lnTo>
                  <a:lnTo>
                    <a:pt x="30" y="88"/>
                  </a:lnTo>
                  <a:lnTo>
                    <a:pt x="32" y="88"/>
                  </a:lnTo>
                  <a:lnTo>
                    <a:pt x="34" y="86"/>
                  </a:lnTo>
                  <a:lnTo>
                    <a:pt x="36" y="86"/>
                  </a:lnTo>
                  <a:lnTo>
                    <a:pt x="36" y="86"/>
                  </a:lnTo>
                  <a:lnTo>
                    <a:pt x="38" y="86"/>
                  </a:lnTo>
                  <a:lnTo>
                    <a:pt x="38" y="86"/>
                  </a:lnTo>
                  <a:lnTo>
                    <a:pt x="38" y="84"/>
                  </a:lnTo>
                  <a:lnTo>
                    <a:pt x="38" y="84"/>
                  </a:lnTo>
                  <a:lnTo>
                    <a:pt x="38" y="82"/>
                  </a:lnTo>
                  <a:lnTo>
                    <a:pt x="40" y="80"/>
                  </a:lnTo>
                  <a:lnTo>
                    <a:pt x="40" y="78"/>
                  </a:lnTo>
                  <a:lnTo>
                    <a:pt x="40" y="76"/>
                  </a:lnTo>
                  <a:lnTo>
                    <a:pt x="40" y="74"/>
                  </a:lnTo>
                  <a:lnTo>
                    <a:pt x="40" y="74"/>
                  </a:lnTo>
                  <a:lnTo>
                    <a:pt x="40" y="74"/>
                  </a:lnTo>
                  <a:lnTo>
                    <a:pt x="42" y="72"/>
                  </a:lnTo>
                  <a:lnTo>
                    <a:pt x="42" y="72"/>
                  </a:lnTo>
                  <a:lnTo>
                    <a:pt x="44" y="70"/>
                  </a:lnTo>
                  <a:lnTo>
                    <a:pt x="44" y="70"/>
                  </a:lnTo>
                  <a:lnTo>
                    <a:pt x="46" y="70"/>
                  </a:lnTo>
                  <a:lnTo>
                    <a:pt x="48" y="68"/>
                  </a:lnTo>
                  <a:lnTo>
                    <a:pt x="48" y="68"/>
                  </a:lnTo>
                  <a:lnTo>
                    <a:pt x="50" y="68"/>
                  </a:lnTo>
                  <a:lnTo>
                    <a:pt x="50" y="68"/>
                  </a:lnTo>
                  <a:lnTo>
                    <a:pt x="50" y="68"/>
                  </a:lnTo>
                  <a:lnTo>
                    <a:pt x="52" y="70"/>
                  </a:lnTo>
                  <a:lnTo>
                    <a:pt x="52" y="70"/>
                  </a:lnTo>
                  <a:lnTo>
                    <a:pt x="52" y="72"/>
                  </a:lnTo>
                  <a:lnTo>
                    <a:pt x="52" y="74"/>
                  </a:lnTo>
                  <a:lnTo>
                    <a:pt x="54" y="76"/>
                  </a:lnTo>
                  <a:lnTo>
                    <a:pt x="54" y="78"/>
                  </a:lnTo>
                  <a:lnTo>
                    <a:pt x="54" y="82"/>
                  </a:lnTo>
                  <a:lnTo>
                    <a:pt x="54" y="84"/>
                  </a:lnTo>
                  <a:lnTo>
                    <a:pt x="54" y="88"/>
                  </a:lnTo>
                  <a:lnTo>
                    <a:pt x="56" y="86"/>
                  </a:lnTo>
                  <a:lnTo>
                    <a:pt x="58" y="84"/>
                  </a:lnTo>
                  <a:lnTo>
                    <a:pt x="60" y="84"/>
                  </a:lnTo>
                  <a:lnTo>
                    <a:pt x="62" y="82"/>
                  </a:lnTo>
                  <a:lnTo>
                    <a:pt x="62" y="82"/>
                  </a:lnTo>
                  <a:lnTo>
                    <a:pt x="64" y="80"/>
                  </a:lnTo>
                  <a:lnTo>
                    <a:pt x="64" y="80"/>
                  </a:lnTo>
                  <a:lnTo>
                    <a:pt x="64" y="80"/>
                  </a:lnTo>
                  <a:lnTo>
                    <a:pt x="64" y="78"/>
                  </a:lnTo>
                  <a:lnTo>
                    <a:pt x="64" y="76"/>
                  </a:lnTo>
                  <a:lnTo>
                    <a:pt x="64" y="74"/>
                  </a:lnTo>
                  <a:lnTo>
                    <a:pt x="64" y="70"/>
                  </a:lnTo>
                  <a:lnTo>
                    <a:pt x="64" y="70"/>
                  </a:lnTo>
                  <a:lnTo>
                    <a:pt x="66" y="68"/>
                  </a:lnTo>
                  <a:lnTo>
                    <a:pt x="66" y="66"/>
                  </a:lnTo>
                  <a:lnTo>
                    <a:pt x="66" y="66"/>
                  </a:lnTo>
                  <a:lnTo>
                    <a:pt x="66" y="66"/>
                  </a:lnTo>
                  <a:lnTo>
                    <a:pt x="66" y="66"/>
                  </a:lnTo>
                  <a:lnTo>
                    <a:pt x="68" y="64"/>
                  </a:lnTo>
                  <a:lnTo>
                    <a:pt x="70" y="64"/>
                  </a:lnTo>
                  <a:lnTo>
                    <a:pt x="72" y="64"/>
                  </a:lnTo>
                  <a:lnTo>
                    <a:pt x="72" y="64"/>
                  </a:lnTo>
                  <a:lnTo>
                    <a:pt x="74" y="64"/>
                  </a:lnTo>
                  <a:lnTo>
                    <a:pt x="76" y="62"/>
                  </a:lnTo>
                  <a:lnTo>
                    <a:pt x="76" y="62"/>
                  </a:lnTo>
                  <a:lnTo>
                    <a:pt x="76" y="62"/>
                  </a:lnTo>
                  <a:lnTo>
                    <a:pt x="76" y="62"/>
                  </a:lnTo>
                  <a:lnTo>
                    <a:pt x="76" y="60"/>
                  </a:lnTo>
                  <a:lnTo>
                    <a:pt x="76" y="60"/>
                  </a:lnTo>
                  <a:lnTo>
                    <a:pt x="76" y="58"/>
                  </a:lnTo>
                  <a:lnTo>
                    <a:pt x="76" y="56"/>
                  </a:lnTo>
                  <a:lnTo>
                    <a:pt x="74" y="56"/>
                  </a:lnTo>
                  <a:lnTo>
                    <a:pt x="74" y="54"/>
                  </a:lnTo>
                  <a:lnTo>
                    <a:pt x="74" y="52"/>
                  </a:lnTo>
                  <a:lnTo>
                    <a:pt x="72" y="52"/>
                  </a:lnTo>
                  <a:lnTo>
                    <a:pt x="70" y="50"/>
                  </a:lnTo>
                  <a:lnTo>
                    <a:pt x="68" y="50"/>
                  </a:lnTo>
                  <a:lnTo>
                    <a:pt x="66" y="48"/>
                  </a:lnTo>
                  <a:lnTo>
                    <a:pt x="62" y="46"/>
                  </a:lnTo>
                  <a:lnTo>
                    <a:pt x="60" y="44"/>
                  </a:lnTo>
                  <a:lnTo>
                    <a:pt x="58" y="44"/>
                  </a:lnTo>
                  <a:lnTo>
                    <a:pt x="56" y="40"/>
                  </a:lnTo>
                  <a:lnTo>
                    <a:pt x="52" y="36"/>
                  </a:lnTo>
                  <a:lnTo>
                    <a:pt x="48" y="32"/>
                  </a:lnTo>
                  <a:lnTo>
                    <a:pt x="44" y="28"/>
                  </a:lnTo>
                  <a:lnTo>
                    <a:pt x="42" y="26"/>
                  </a:lnTo>
                  <a:lnTo>
                    <a:pt x="40" y="22"/>
                  </a:lnTo>
                  <a:lnTo>
                    <a:pt x="36" y="12"/>
                  </a:lnTo>
                  <a:lnTo>
                    <a:pt x="32" y="4"/>
                  </a:lnTo>
                  <a:lnTo>
                    <a:pt x="30" y="0"/>
                  </a:lnTo>
                  <a:lnTo>
                    <a:pt x="0" y="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4" name="Freeform 152">
              <a:extLst>
                <a:ext uri="{FF2B5EF4-FFF2-40B4-BE49-F238E27FC236}">
                  <a16:creationId xmlns:a16="http://schemas.microsoft.com/office/drawing/2014/main" id="{453757F5-732B-4673-9FBD-E96DB171F4BE}"/>
                </a:ext>
              </a:extLst>
            </p:cNvPr>
            <p:cNvSpPr>
              <a:spLocks/>
            </p:cNvSpPr>
            <p:nvPr/>
          </p:nvSpPr>
          <p:spPr bwMode="auto">
            <a:xfrm>
              <a:off x="5343098" y="3336762"/>
              <a:ext cx="131638" cy="152423"/>
            </a:xfrm>
            <a:custGeom>
              <a:avLst/>
              <a:gdLst>
                <a:gd name="T0" fmla="*/ 0 w 76"/>
                <a:gd name="T1" fmla="*/ 8 h 88"/>
                <a:gd name="T2" fmla="*/ 4 w 76"/>
                <a:gd name="T3" fmla="*/ 24 h 88"/>
                <a:gd name="T4" fmla="*/ 6 w 76"/>
                <a:gd name="T5" fmla="*/ 30 h 88"/>
                <a:gd name="T6" fmla="*/ 8 w 76"/>
                <a:gd name="T7" fmla="*/ 36 h 88"/>
                <a:gd name="T8" fmla="*/ 14 w 76"/>
                <a:gd name="T9" fmla="*/ 46 h 88"/>
                <a:gd name="T10" fmla="*/ 18 w 76"/>
                <a:gd name="T11" fmla="*/ 54 h 88"/>
                <a:gd name="T12" fmla="*/ 22 w 76"/>
                <a:gd name="T13" fmla="*/ 62 h 88"/>
                <a:gd name="T14" fmla="*/ 28 w 76"/>
                <a:gd name="T15" fmla="*/ 68 h 88"/>
                <a:gd name="T16" fmla="*/ 28 w 76"/>
                <a:gd name="T17" fmla="*/ 72 h 88"/>
                <a:gd name="T18" fmla="*/ 30 w 76"/>
                <a:gd name="T19" fmla="*/ 76 h 88"/>
                <a:gd name="T20" fmla="*/ 30 w 76"/>
                <a:gd name="T21" fmla="*/ 78 h 88"/>
                <a:gd name="T22" fmla="*/ 28 w 76"/>
                <a:gd name="T23" fmla="*/ 80 h 88"/>
                <a:gd name="T24" fmla="*/ 28 w 76"/>
                <a:gd name="T25" fmla="*/ 80 h 88"/>
                <a:gd name="T26" fmla="*/ 24 w 76"/>
                <a:gd name="T27" fmla="*/ 84 h 88"/>
                <a:gd name="T28" fmla="*/ 18 w 76"/>
                <a:gd name="T29" fmla="*/ 86 h 88"/>
                <a:gd name="T30" fmla="*/ 24 w 76"/>
                <a:gd name="T31" fmla="*/ 86 h 88"/>
                <a:gd name="T32" fmla="*/ 30 w 76"/>
                <a:gd name="T33" fmla="*/ 88 h 88"/>
                <a:gd name="T34" fmla="*/ 34 w 76"/>
                <a:gd name="T35" fmla="*/ 86 h 88"/>
                <a:gd name="T36" fmla="*/ 36 w 76"/>
                <a:gd name="T37" fmla="*/ 86 h 88"/>
                <a:gd name="T38" fmla="*/ 38 w 76"/>
                <a:gd name="T39" fmla="*/ 86 h 88"/>
                <a:gd name="T40" fmla="*/ 38 w 76"/>
                <a:gd name="T41" fmla="*/ 84 h 88"/>
                <a:gd name="T42" fmla="*/ 40 w 76"/>
                <a:gd name="T43" fmla="*/ 80 h 88"/>
                <a:gd name="T44" fmla="*/ 40 w 76"/>
                <a:gd name="T45" fmla="*/ 76 h 88"/>
                <a:gd name="T46" fmla="*/ 40 w 76"/>
                <a:gd name="T47" fmla="*/ 74 h 88"/>
                <a:gd name="T48" fmla="*/ 42 w 76"/>
                <a:gd name="T49" fmla="*/ 72 h 88"/>
                <a:gd name="T50" fmla="*/ 44 w 76"/>
                <a:gd name="T51" fmla="*/ 70 h 88"/>
                <a:gd name="T52" fmla="*/ 46 w 76"/>
                <a:gd name="T53" fmla="*/ 70 h 88"/>
                <a:gd name="T54" fmla="*/ 48 w 76"/>
                <a:gd name="T55" fmla="*/ 68 h 88"/>
                <a:gd name="T56" fmla="*/ 50 w 76"/>
                <a:gd name="T57" fmla="*/ 68 h 88"/>
                <a:gd name="T58" fmla="*/ 52 w 76"/>
                <a:gd name="T59" fmla="*/ 70 h 88"/>
                <a:gd name="T60" fmla="*/ 52 w 76"/>
                <a:gd name="T61" fmla="*/ 72 h 88"/>
                <a:gd name="T62" fmla="*/ 54 w 76"/>
                <a:gd name="T63" fmla="*/ 76 h 88"/>
                <a:gd name="T64" fmla="*/ 54 w 76"/>
                <a:gd name="T65" fmla="*/ 82 h 88"/>
                <a:gd name="T66" fmla="*/ 54 w 76"/>
                <a:gd name="T67" fmla="*/ 88 h 88"/>
                <a:gd name="T68" fmla="*/ 58 w 76"/>
                <a:gd name="T69" fmla="*/ 84 h 88"/>
                <a:gd name="T70" fmla="*/ 62 w 76"/>
                <a:gd name="T71" fmla="*/ 82 h 88"/>
                <a:gd name="T72" fmla="*/ 64 w 76"/>
                <a:gd name="T73" fmla="*/ 80 h 88"/>
                <a:gd name="T74" fmla="*/ 64 w 76"/>
                <a:gd name="T75" fmla="*/ 80 h 88"/>
                <a:gd name="T76" fmla="*/ 64 w 76"/>
                <a:gd name="T77" fmla="*/ 76 h 88"/>
                <a:gd name="T78" fmla="*/ 64 w 76"/>
                <a:gd name="T79" fmla="*/ 70 h 88"/>
                <a:gd name="T80" fmla="*/ 66 w 76"/>
                <a:gd name="T81" fmla="*/ 68 h 88"/>
                <a:gd name="T82" fmla="*/ 66 w 76"/>
                <a:gd name="T83" fmla="*/ 66 h 88"/>
                <a:gd name="T84" fmla="*/ 66 w 76"/>
                <a:gd name="T85" fmla="*/ 66 h 88"/>
                <a:gd name="T86" fmla="*/ 70 w 76"/>
                <a:gd name="T87" fmla="*/ 64 h 88"/>
                <a:gd name="T88" fmla="*/ 72 w 76"/>
                <a:gd name="T89" fmla="*/ 64 h 88"/>
                <a:gd name="T90" fmla="*/ 76 w 76"/>
                <a:gd name="T91" fmla="*/ 62 h 88"/>
                <a:gd name="T92" fmla="*/ 76 w 76"/>
                <a:gd name="T93" fmla="*/ 62 h 88"/>
                <a:gd name="T94" fmla="*/ 76 w 76"/>
                <a:gd name="T95" fmla="*/ 60 h 88"/>
                <a:gd name="T96" fmla="*/ 76 w 76"/>
                <a:gd name="T97" fmla="*/ 58 h 88"/>
                <a:gd name="T98" fmla="*/ 74 w 76"/>
                <a:gd name="T99" fmla="*/ 56 h 88"/>
                <a:gd name="T100" fmla="*/ 74 w 76"/>
                <a:gd name="T101" fmla="*/ 52 h 88"/>
                <a:gd name="T102" fmla="*/ 70 w 76"/>
                <a:gd name="T103" fmla="*/ 50 h 88"/>
                <a:gd name="T104" fmla="*/ 66 w 76"/>
                <a:gd name="T105" fmla="*/ 48 h 88"/>
                <a:gd name="T106" fmla="*/ 60 w 76"/>
                <a:gd name="T107" fmla="*/ 44 h 88"/>
                <a:gd name="T108" fmla="*/ 56 w 76"/>
                <a:gd name="T109" fmla="*/ 40 h 88"/>
                <a:gd name="T110" fmla="*/ 48 w 76"/>
                <a:gd name="T111" fmla="*/ 32 h 88"/>
                <a:gd name="T112" fmla="*/ 42 w 76"/>
                <a:gd name="T113" fmla="*/ 26 h 88"/>
                <a:gd name="T114" fmla="*/ 36 w 76"/>
                <a:gd name="T115" fmla="*/ 12 h 88"/>
                <a:gd name="T116" fmla="*/ 30 w 76"/>
                <a:gd name="T11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6" h="88">
                  <a:moveTo>
                    <a:pt x="0" y="8"/>
                  </a:moveTo>
                  <a:lnTo>
                    <a:pt x="0" y="8"/>
                  </a:lnTo>
                  <a:lnTo>
                    <a:pt x="2" y="18"/>
                  </a:lnTo>
                  <a:lnTo>
                    <a:pt x="4" y="24"/>
                  </a:lnTo>
                  <a:lnTo>
                    <a:pt x="4" y="28"/>
                  </a:lnTo>
                  <a:lnTo>
                    <a:pt x="6" y="30"/>
                  </a:lnTo>
                  <a:lnTo>
                    <a:pt x="6" y="32"/>
                  </a:lnTo>
                  <a:lnTo>
                    <a:pt x="8" y="36"/>
                  </a:lnTo>
                  <a:lnTo>
                    <a:pt x="10" y="42"/>
                  </a:lnTo>
                  <a:lnTo>
                    <a:pt x="14" y="46"/>
                  </a:lnTo>
                  <a:lnTo>
                    <a:pt x="16" y="52"/>
                  </a:lnTo>
                  <a:lnTo>
                    <a:pt x="18" y="54"/>
                  </a:lnTo>
                  <a:lnTo>
                    <a:pt x="20" y="58"/>
                  </a:lnTo>
                  <a:lnTo>
                    <a:pt x="22" y="62"/>
                  </a:lnTo>
                  <a:lnTo>
                    <a:pt x="24" y="64"/>
                  </a:lnTo>
                  <a:lnTo>
                    <a:pt x="28" y="68"/>
                  </a:lnTo>
                  <a:lnTo>
                    <a:pt x="28" y="70"/>
                  </a:lnTo>
                  <a:lnTo>
                    <a:pt x="28" y="72"/>
                  </a:lnTo>
                  <a:lnTo>
                    <a:pt x="30" y="74"/>
                  </a:lnTo>
                  <a:lnTo>
                    <a:pt x="30" y="76"/>
                  </a:lnTo>
                  <a:lnTo>
                    <a:pt x="30" y="76"/>
                  </a:lnTo>
                  <a:lnTo>
                    <a:pt x="30" y="78"/>
                  </a:lnTo>
                  <a:lnTo>
                    <a:pt x="30" y="78"/>
                  </a:lnTo>
                  <a:lnTo>
                    <a:pt x="28" y="80"/>
                  </a:lnTo>
                  <a:lnTo>
                    <a:pt x="28" y="80"/>
                  </a:lnTo>
                  <a:lnTo>
                    <a:pt x="28" y="80"/>
                  </a:lnTo>
                  <a:lnTo>
                    <a:pt x="26" y="82"/>
                  </a:lnTo>
                  <a:lnTo>
                    <a:pt x="24" y="84"/>
                  </a:lnTo>
                  <a:lnTo>
                    <a:pt x="20" y="86"/>
                  </a:lnTo>
                  <a:lnTo>
                    <a:pt x="18" y="86"/>
                  </a:lnTo>
                  <a:lnTo>
                    <a:pt x="20" y="86"/>
                  </a:lnTo>
                  <a:lnTo>
                    <a:pt x="24" y="86"/>
                  </a:lnTo>
                  <a:lnTo>
                    <a:pt x="26" y="86"/>
                  </a:lnTo>
                  <a:lnTo>
                    <a:pt x="30" y="88"/>
                  </a:lnTo>
                  <a:lnTo>
                    <a:pt x="32" y="88"/>
                  </a:lnTo>
                  <a:lnTo>
                    <a:pt x="34" y="86"/>
                  </a:lnTo>
                  <a:lnTo>
                    <a:pt x="36" y="86"/>
                  </a:lnTo>
                  <a:lnTo>
                    <a:pt x="36" y="86"/>
                  </a:lnTo>
                  <a:lnTo>
                    <a:pt x="38" y="86"/>
                  </a:lnTo>
                  <a:lnTo>
                    <a:pt x="38" y="86"/>
                  </a:lnTo>
                  <a:lnTo>
                    <a:pt x="38" y="84"/>
                  </a:lnTo>
                  <a:lnTo>
                    <a:pt x="38" y="84"/>
                  </a:lnTo>
                  <a:lnTo>
                    <a:pt x="38" y="82"/>
                  </a:lnTo>
                  <a:lnTo>
                    <a:pt x="40" y="80"/>
                  </a:lnTo>
                  <a:lnTo>
                    <a:pt x="40" y="78"/>
                  </a:lnTo>
                  <a:lnTo>
                    <a:pt x="40" y="76"/>
                  </a:lnTo>
                  <a:lnTo>
                    <a:pt x="40" y="74"/>
                  </a:lnTo>
                  <a:lnTo>
                    <a:pt x="40" y="74"/>
                  </a:lnTo>
                  <a:lnTo>
                    <a:pt x="40" y="74"/>
                  </a:lnTo>
                  <a:lnTo>
                    <a:pt x="42" y="72"/>
                  </a:lnTo>
                  <a:lnTo>
                    <a:pt x="42" y="72"/>
                  </a:lnTo>
                  <a:lnTo>
                    <a:pt x="44" y="70"/>
                  </a:lnTo>
                  <a:lnTo>
                    <a:pt x="44" y="70"/>
                  </a:lnTo>
                  <a:lnTo>
                    <a:pt x="46" y="70"/>
                  </a:lnTo>
                  <a:lnTo>
                    <a:pt x="48" y="68"/>
                  </a:lnTo>
                  <a:lnTo>
                    <a:pt x="48" y="68"/>
                  </a:lnTo>
                  <a:lnTo>
                    <a:pt x="50" y="68"/>
                  </a:lnTo>
                  <a:lnTo>
                    <a:pt x="50" y="68"/>
                  </a:lnTo>
                  <a:lnTo>
                    <a:pt x="50" y="68"/>
                  </a:lnTo>
                  <a:lnTo>
                    <a:pt x="52" y="70"/>
                  </a:lnTo>
                  <a:lnTo>
                    <a:pt x="52" y="70"/>
                  </a:lnTo>
                  <a:lnTo>
                    <a:pt x="52" y="72"/>
                  </a:lnTo>
                  <a:lnTo>
                    <a:pt x="52" y="74"/>
                  </a:lnTo>
                  <a:lnTo>
                    <a:pt x="54" y="76"/>
                  </a:lnTo>
                  <a:lnTo>
                    <a:pt x="54" y="78"/>
                  </a:lnTo>
                  <a:lnTo>
                    <a:pt x="54" y="82"/>
                  </a:lnTo>
                  <a:lnTo>
                    <a:pt x="54" y="84"/>
                  </a:lnTo>
                  <a:lnTo>
                    <a:pt x="54" y="88"/>
                  </a:lnTo>
                  <a:lnTo>
                    <a:pt x="56" y="86"/>
                  </a:lnTo>
                  <a:lnTo>
                    <a:pt x="58" y="84"/>
                  </a:lnTo>
                  <a:lnTo>
                    <a:pt x="60" y="84"/>
                  </a:lnTo>
                  <a:lnTo>
                    <a:pt x="62" y="82"/>
                  </a:lnTo>
                  <a:lnTo>
                    <a:pt x="62" y="82"/>
                  </a:lnTo>
                  <a:lnTo>
                    <a:pt x="64" y="80"/>
                  </a:lnTo>
                  <a:lnTo>
                    <a:pt x="64" y="80"/>
                  </a:lnTo>
                  <a:lnTo>
                    <a:pt x="64" y="80"/>
                  </a:lnTo>
                  <a:lnTo>
                    <a:pt x="64" y="78"/>
                  </a:lnTo>
                  <a:lnTo>
                    <a:pt x="64" y="76"/>
                  </a:lnTo>
                  <a:lnTo>
                    <a:pt x="64" y="74"/>
                  </a:lnTo>
                  <a:lnTo>
                    <a:pt x="64" y="70"/>
                  </a:lnTo>
                  <a:lnTo>
                    <a:pt x="64" y="70"/>
                  </a:lnTo>
                  <a:lnTo>
                    <a:pt x="66" y="68"/>
                  </a:lnTo>
                  <a:lnTo>
                    <a:pt x="66" y="66"/>
                  </a:lnTo>
                  <a:lnTo>
                    <a:pt x="66" y="66"/>
                  </a:lnTo>
                  <a:lnTo>
                    <a:pt x="66" y="66"/>
                  </a:lnTo>
                  <a:lnTo>
                    <a:pt x="66" y="66"/>
                  </a:lnTo>
                  <a:lnTo>
                    <a:pt x="68" y="64"/>
                  </a:lnTo>
                  <a:lnTo>
                    <a:pt x="70" y="64"/>
                  </a:lnTo>
                  <a:lnTo>
                    <a:pt x="72" y="64"/>
                  </a:lnTo>
                  <a:lnTo>
                    <a:pt x="72" y="64"/>
                  </a:lnTo>
                  <a:lnTo>
                    <a:pt x="74" y="64"/>
                  </a:lnTo>
                  <a:lnTo>
                    <a:pt x="76" y="62"/>
                  </a:lnTo>
                  <a:lnTo>
                    <a:pt x="76" y="62"/>
                  </a:lnTo>
                  <a:lnTo>
                    <a:pt x="76" y="62"/>
                  </a:lnTo>
                  <a:lnTo>
                    <a:pt x="76" y="62"/>
                  </a:lnTo>
                  <a:lnTo>
                    <a:pt x="76" y="60"/>
                  </a:lnTo>
                  <a:lnTo>
                    <a:pt x="76" y="60"/>
                  </a:lnTo>
                  <a:lnTo>
                    <a:pt x="76" y="58"/>
                  </a:lnTo>
                  <a:lnTo>
                    <a:pt x="76" y="56"/>
                  </a:lnTo>
                  <a:lnTo>
                    <a:pt x="74" y="56"/>
                  </a:lnTo>
                  <a:lnTo>
                    <a:pt x="74" y="54"/>
                  </a:lnTo>
                  <a:lnTo>
                    <a:pt x="74" y="52"/>
                  </a:lnTo>
                  <a:lnTo>
                    <a:pt x="72" y="52"/>
                  </a:lnTo>
                  <a:lnTo>
                    <a:pt x="70" y="50"/>
                  </a:lnTo>
                  <a:lnTo>
                    <a:pt x="68" y="50"/>
                  </a:lnTo>
                  <a:lnTo>
                    <a:pt x="66" y="48"/>
                  </a:lnTo>
                  <a:lnTo>
                    <a:pt x="62" y="46"/>
                  </a:lnTo>
                  <a:lnTo>
                    <a:pt x="60" y="44"/>
                  </a:lnTo>
                  <a:lnTo>
                    <a:pt x="58" y="44"/>
                  </a:lnTo>
                  <a:lnTo>
                    <a:pt x="56" y="40"/>
                  </a:lnTo>
                  <a:lnTo>
                    <a:pt x="52" y="36"/>
                  </a:lnTo>
                  <a:lnTo>
                    <a:pt x="48" y="32"/>
                  </a:lnTo>
                  <a:lnTo>
                    <a:pt x="44" y="28"/>
                  </a:lnTo>
                  <a:lnTo>
                    <a:pt x="42" y="26"/>
                  </a:lnTo>
                  <a:lnTo>
                    <a:pt x="40" y="22"/>
                  </a:lnTo>
                  <a:lnTo>
                    <a:pt x="36" y="12"/>
                  </a:lnTo>
                  <a:lnTo>
                    <a:pt x="32" y="4"/>
                  </a:lnTo>
                  <a:lnTo>
                    <a:pt x="30" y="0"/>
                  </a:lnTo>
                  <a:lnTo>
                    <a:pt x="0" y="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5" name="Freeform 153">
              <a:extLst>
                <a:ext uri="{FF2B5EF4-FFF2-40B4-BE49-F238E27FC236}">
                  <a16:creationId xmlns:a16="http://schemas.microsoft.com/office/drawing/2014/main" id="{F967286D-6ADB-423C-AF5E-F857BCB14A08}"/>
                </a:ext>
              </a:extLst>
            </p:cNvPr>
            <p:cNvSpPr>
              <a:spLocks/>
            </p:cNvSpPr>
            <p:nvPr/>
          </p:nvSpPr>
          <p:spPr bwMode="auto">
            <a:xfrm>
              <a:off x="5190676" y="3284800"/>
              <a:ext cx="152423" cy="114317"/>
            </a:xfrm>
            <a:custGeom>
              <a:avLst/>
              <a:gdLst>
                <a:gd name="T0" fmla="*/ 0 w 88"/>
                <a:gd name="T1" fmla="*/ 18 h 66"/>
                <a:gd name="T2" fmla="*/ 8 w 88"/>
                <a:gd name="T3" fmla="*/ 12 h 66"/>
                <a:gd name="T4" fmla="*/ 18 w 88"/>
                <a:gd name="T5" fmla="*/ 6 h 66"/>
                <a:gd name="T6" fmla="*/ 22 w 88"/>
                <a:gd name="T7" fmla="*/ 2 h 66"/>
                <a:gd name="T8" fmla="*/ 28 w 88"/>
                <a:gd name="T9" fmla="*/ 0 h 66"/>
                <a:gd name="T10" fmla="*/ 32 w 88"/>
                <a:gd name="T11" fmla="*/ 0 h 66"/>
                <a:gd name="T12" fmla="*/ 34 w 88"/>
                <a:gd name="T13" fmla="*/ 0 h 66"/>
                <a:gd name="T14" fmla="*/ 36 w 88"/>
                <a:gd name="T15" fmla="*/ 2 h 66"/>
                <a:gd name="T16" fmla="*/ 40 w 88"/>
                <a:gd name="T17" fmla="*/ 4 h 66"/>
                <a:gd name="T18" fmla="*/ 44 w 88"/>
                <a:gd name="T19" fmla="*/ 8 h 66"/>
                <a:gd name="T20" fmla="*/ 48 w 88"/>
                <a:gd name="T21" fmla="*/ 10 h 66"/>
                <a:gd name="T22" fmla="*/ 50 w 88"/>
                <a:gd name="T23" fmla="*/ 10 h 66"/>
                <a:gd name="T24" fmla="*/ 56 w 88"/>
                <a:gd name="T25" fmla="*/ 10 h 66"/>
                <a:gd name="T26" fmla="*/ 60 w 88"/>
                <a:gd name="T27" fmla="*/ 10 h 66"/>
                <a:gd name="T28" fmla="*/ 62 w 88"/>
                <a:gd name="T29" fmla="*/ 10 h 66"/>
                <a:gd name="T30" fmla="*/ 66 w 88"/>
                <a:gd name="T31" fmla="*/ 14 h 66"/>
                <a:gd name="T32" fmla="*/ 72 w 88"/>
                <a:gd name="T33" fmla="*/ 18 h 66"/>
                <a:gd name="T34" fmla="*/ 78 w 88"/>
                <a:gd name="T35" fmla="*/ 26 h 66"/>
                <a:gd name="T36" fmla="*/ 88 w 88"/>
                <a:gd name="T37" fmla="*/ 38 h 66"/>
                <a:gd name="T38" fmla="*/ 86 w 88"/>
                <a:gd name="T39" fmla="*/ 46 h 66"/>
                <a:gd name="T40" fmla="*/ 82 w 88"/>
                <a:gd name="T41" fmla="*/ 52 h 66"/>
                <a:gd name="T42" fmla="*/ 80 w 88"/>
                <a:gd name="T43" fmla="*/ 56 h 66"/>
                <a:gd name="T44" fmla="*/ 78 w 88"/>
                <a:gd name="T45" fmla="*/ 58 h 66"/>
                <a:gd name="T46" fmla="*/ 72 w 88"/>
                <a:gd name="T47" fmla="*/ 60 h 66"/>
                <a:gd name="T48" fmla="*/ 66 w 88"/>
                <a:gd name="T49" fmla="*/ 64 h 66"/>
                <a:gd name="T50" fmla="*/ 44 w 88"/>
                <a:gd name="T51" fmla="*/ 66 h 66"/>
                <a:gd name="T52" fmla="*/ 44 w 88"/>
                <a:gd name="T53" fmla="*/ 56 h 66"/>
                <a:gd name="T54" fmla="*/ 42 w 88"/>
                <a:gd name="T55" fmla="*/ 52 h 66"/>
                <a:gd name="T56" fmla="*/ 38 w 88"/>
                <a:gd name="T57" fmla="*/ 44 h 66"/>
                <a:gd name="T58" fmla="*/ 36 w 88"/>
                <a:gd name="T59" fmla="*/ 40 h 66"/>
                <a:gd name="T60" fmla="*/ 34 w 88"/>
                <a:gd name="T61" fmla="*/ 38 h 66"/>
                <a:gd name="T62" fmla="*/ 32 w 88"/>
                <a:gd name="T63" fmla="*/ 38 h 66"/>
                <a:gd name="T64" fmla="*/ 28 w 88"/>
                <a:gd name="T65" fmla="*/ 36 h 66"/>
                <a:gd name="T66" fmla="*/ 22 w 88"/>
                <a:gd name="T67" fmla="*/ 34 h 66"/>
                <a:gd name="T68" fmla="*/ 16 w 88"/>
                <a:gd name="T69" fmla="*/ 34 h 66"/>
                <a:gd name="T70" fmla="*/ 14 w 88"/>
                <a:gd name="T71" fmla="*/ 32 h 66"/>
                <a:gd name="T72" fmla="*/ 10 w 88"/>
                <a:gd name="T73" fmla="*/ 28 h 66"/>
                <a:gd name="T74" fmla="*/ 6 w 88"/>
                <a:gd name="T75" fmla="*/ 24 h 66"/>
                <a:gd name="T76" fmla="*/ 0 w 88"/>
                <a:gd name="T77" fmla="*/ 1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 h="66">
                  <a:moveTo>
                    <a:pt x="0" y="18"/>
                  </a:moveTo>
                  <a:lnTo>
                    <a:pt x="0" y="18"/>
                  </a:lnTo>
                  <a:lnTo>
                    <a:pt x="4" y="16"/>
                  </a:lnTo>
                  <a:lnTo>
                    <a:pt x="8" y="12"/>
                  </a:lnTo>
                  <a:lnTo>
                    <a:pt x="12" y="10"/>
                  </a:lnTo>
                  <a:lnTo>
                    <a:pt x="18" y="6"/>
                  </a:lnTo>
                  <a:lnTo>
                    <a:pt x="20" y="4"/>
                  </a:lnTo>
                  <a:lnTo>
                    <a:pt x="22" y="2"/>
                  </a:lnTo>
                  <a:lnTo>
                    <a:pt x="24" y="2"/>
                  </a:lnTo>
                  <a:lnTo>
                    <a:pt x="28" y="0"/>
                  </a:lnTo>
                  <a:lnTo>
                    <a:pt x="30" y="0"/>
                  </a:lnTo>
                  <a:lnTo>
                    <a:pt x="32" y="0"/>
                  </a:lnTo>
                  <a:lnTo>
                    <a:pt x="32" y="0"/>
                  </a:lnTo>
                  <a:lnTo>
                    <a:pt x="34" y="0"/>
                  </a:lnTo>
                  <a:lnTo>
                    <a:pt x="34" y="0"/>
                  </a:lnTo>
                  <a:lnTo>
                    <a:pt x="36" y="2"/>
                  </a:lnTo>
                  <a:lnTo>
                    <a:pt x="38" y="2"/>
                  </a:lnTo>
                  <a:lnTo>
                    <a:pt x="40" y="4"/>
                  </a:lnTo>
                  <a:lnTo>
                    <a:pt x="42" y="6"/>
                  </a:lnTo>
                  <a:lnTo>
                    <a:pt x="44" y="8"/>
                  </a:lnTo>
                  <a:lnTo>
                    <a:pt x="48" y="8"/>
                  </a:lnTo>
                  <a:lnTo>
                    <a:pt x="48" y="10"/>
                  </a:lnTo>
                  <a:lnTo>
                    <a:pt x="50" y="10"/>
                  </a:lnTo>
                  <a:lnTo>
                    <a:pt x="50" y="10"/>
                  </a:lnTo>
                  <a:lnTo>
                    <a:pt x="52" y="10"/>
                  </a:lnTo>
                  <a:lnTo>
                    <a:pt x="56" y="10"/>
                  </a:lnTo>
                  <a:lnTo>
                    <a:pt x="58" y="10"/>
                  </a:lnTo>
                  <a:lnTo>
                    <a:pt x="60" y="10"/>
                  </a:lnTo>
                  <a:lnTo>
                    <a:pt x="62" y="10"/>
                  </a:lnTo>
                  <a:lnTo>
                    <a:pt x="62" y="10"/>
                  </a:lnTo>
                  <a:lnTo>
                    <a:pt x="64" y="12"/>
                  </a:lnTo>
                  <a:lnTo>
                    <a:pt x="66" y="14"/>
                  </a:lnTo>
                  <a:lnTo>
                    <a:pt x="68" y="16"/>
                  </a:lnTo>
                  <a:lnTo>
                    <a:pt x="72" y="18"/>
                  </a:lnTo>
                  <a:lnTo>
                    <a:pt x="74" y="22"/>
                  </a:lnTo>
                  <a:lnTo>
                    <a:pt x="78" y="26"/>
                  </a:lnTo>
                  <a:lnTo>
                    <a:pt x="84" y="32"/>
                  </a:lnTo>
                  <a:lnTo>
                    <a:pt x="88" y="38"/>
                  </a:lnTo>
                  <a:lnTo>
                    <a:pt x="88" y="42"/>
                  </a:lnTo>
                  <a:lnTo>
                    <a:pt x="86" y="46"/>
                  </a:lnTo>
                  <a:lnTo>
                    <a:pt x="84" y="50"/>
                  </a:lnTo>
                  <a:lnTo>
                    <a:pt x="82" y="52"/>
                  </a:lnTo>
                  <a:lnTo>
                    <a:pt x="80" y="56"/>
                  </a:lnTo>
                  <a:lnTo>
                    <a:pt x="80" y="56"/>
                  </a:lnTo>
                  <a:lnTo>
                    <a:pt x="80" y="58"/>
                  </a:lnTo>
                  <a:lnTo>
                    <a:pt x="78" y="58"/>
                  </a:lnTo>
                  <a:lnTo>
                    <a:pt x="76" y="60"/>
                  </a:lnTo>
                  <a:lnTo>
                    <a:pt x="72" y="60"/>
                  </a:lnTo>
                  <a:lnTo>
                    <a:pt x="70" y="62"/>
                  </a:lnTo>
                  <a:lnTo>
                    <a:pt x="66" y="64"/>
                  </a:lnTo>
                  <a:lnTo>
                    <a:pt x="64" y="64"/>
                  </a:lnTo>
                  <a:lnTo>
                    <a:pt x="44" y="66"/>
                  </a:lnTo>
                  <a:lnTo>
                    <a:pt x="44" y="60"/>
                  </a:lnTo>
                  <a:lnTo>
                    <a:pt x="44" y="56"/>
                  </a:lnTo>
                  <a:lnTo>
                    <a:pt x="42" y="52"/>
                  </a:lnTo>
                  <a:lnTo>
                    <a:pt x="42" y="52"/>
                  </a:lnTo>
                  <a:lnTo>
                    <a:pt x="40" y="48"/>
                  </a:lnTo>
                  <a:lnTo>
                    <a:pt x="38" y="44"/>
                  </a:lnTo>
                  <a:lnTo>
                    <a:pt x="38" y="42"/>
                  </a:lnTo>
                  <a:lnTo>
                    <a:pt x="36" y="40"/>
                  </a:lnTo>
                  <a:lnTo>
                    <a:pt x="36" y="40"/>
                  </a:lnTo>
                  <a:lnTo>
                    <a:pt x="34" y="38"/>
                  </a:lnTo>
                  <a:lnTo>
                    <a:pt x="34" y="38"/>
                  </a:lnTo>
                  <a:lnTo>
                    <a:pt x="32" y="38"/>
                  </a:lnTo>
                  <a:lnTo>
                    <a:pt x="30" y="36"/>
                  </a:lnTo>
                  <a:lnTo>
                    <a:pt x="28" y="36"/>
                  </a:lnTo>
                  <a:lnTo>
                    <a:pt x="24" y="36"/>
                  </a:lnTo>
                  <a:lnTo>
                    <a:pt x="22" y="34"/>
                  </a:lnTo>
                  <a:lnTo>
                    <a:pt x="18" y="34"/>
                  </a:lnTo>
                  <a:lnTo>
                    <a:pt x="16" y="34"/>
                  </a:lnTo>
                  <a:lnTo>
                    <a:pt x="16" y="32"/>
                  </a:lnTo>
                  <a:lnTo>
                    <a:pt x="14" y="32"/>
                  </a:lnTo>
                  <a:lnTo>
                    <a:pt x="12" y="30"/>
                  </a:lnTo>
                  <a:lnTo>
                    <a:pt x="10" y="28"/>
                  </a:lnTo>
                  <a:lnTo>
                    <a:pt x="8" y="26"/>
                  </a:lnTo>
                  <a:lnTo>
                    <a:pt x="6" y="24"/>
                  </a:lnTo>
                  <a:lnTo>
                    <a:pt x="2" y="20"/>
                  </a:lnTo>
                  <a:lnTo>
                    <a:pt x="0" y="1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6" name="Freeform 154">
              <a:extLst>
                <a:ext uri="{FF2B5EF4-FFF2-40B4-BE49-F238E27FC236}">
                  <a16:creationId xmlns:a16="http://schemas.microsoft.com/office/drawing/2014/main" id="{EFBDD461-ADD7-4DCD-8A08-BDB352CBDE35}"/>
                </a:ext>
              </a:extLst>
            </p:cNvPr>
            <p:cNvSpPr>
              <a:spLocks/>
            </p:cNvSpPr>
            <p:nvPr/>
          </p:nvSpPr>
          <p:spPr bwMode="auto">
            <a:xfrm>
              <a:off x="5190676" y="3284800"/>
              <a:ext cx="152423" cy="114317"/>
            </a:xfrm>
            <a:custGeom>
              <a:avLst/>
              <a:gdLst>
                <a:gd name="T0" fmla="*/ 0 w 88"/>
                <a:gd name="T1" fmla="*/ 18 h 66"/>
                <a:gd name="T2" fmla="*/ 8 w 88"/>
                <a:gd name="T3" fmla="*/ 12 h 66"/>
                <a:gd name="T4" fmla="*/ 18 w 88"/>
                <a:gd name="T5" fmla="*/ 6 h 66"/>
                <a:gd name="T6" fmla="*/ 22 w 88"/>
                <a:gd name="T7" fmla="*/ 2 h 66"/>
                <a:gd name="T8" fmla="*/ 28 w 88"/>
                <a:gd name="T9" fmla="*/ 0 h 66"/>
                <a:gd name="T10" fmla="*/ 32 w 88"/>
                <a:gd name="T11" fmla="*/ 0 h 66"/>
                <a:gd name="T12" fmla="*/ 34 w 88"/>
                <a:gd name="T13" fmla="*/ 0 h 66"/>
                <a:gd name="T14" fmla="*/ 36 w 88"/>
                <a:gd name="T15" fmla="*/ 2 h 66"/>
                <a:gd name="T16" fmla="*/ 40 w 88"/>
                <a:gd name="T17" fmla="*/ 4 h 66"/>
                <a:gd name="T18" fmla="*/ 44 w 88"/>
                <a:gd name="T19" fmla="*/ 8 h 66"/>
                <a:gd name="T20" fmla="*/ 48 w 88"/>
                <a:gd name="T21" fmla="*/ 10 h 66"/>
                <a:gd name="T22" fmla="*/ 50 w 88"/>
                <a:gd name="T23" fmla="*/ 10 h 66"/>
                <a:gd name="T24" fmla="*/ 56 w 88"/>
                <a:gd name="T25" fmla="*/ 10 h 66"/>
                <a:gd name="T26" fmla="*/ 60 w 88"/>
                <a:gd name="T27" fmla="*/ 10 h 66"/>
                <a:gd name="T28" fmla="*/ 62 w 88"/>
                <a:gd name="T29" fmla="*/ 10 h 66"/>
                <a:gd name="T30" fmla="*/ 66 w 88"/>
                <a:gd name="T31" fmla="*/ 14 h 66"/>
                <a:gd name="T32" fmla="*/ 72 w 88"/>
                <a:gd name="T33" fmla="*/ 18 h 66"/>
                <a:gd name="T34" fmla="*/ 78 w 88"/>
                <a:gd name="T35" fmla="*/ 26 h 66"/>
                <a:gd name="T36" fmla="*/ 88 w 88"/>
                <a:gd name="T37" fmla="*/ 38 h 66"/>
                <a:gd name="T38" fmla="*/ 86 w 88"/>
                <a:gd name="T39" fmla="*/ 46 h 66"/>
                <a:gd name="T40" fmla="*/ 82 w 88"/>
                <a:gd name="T41" fmla="*/ 52 h 66"/>
                <a:gd name="T42" fmla="*/ 80 w 88"/>
                <a:gd name="T43" fmla="*/ 56 h 66"/>
                <a:gd name="T44" fmla="*/ 78 w 88"/>
                <a:gd name="T45" fmla="*/ 58 h 66"/>
                <a:gd name="T46" fmla="*/ 72 w 88"/>
                <a:gd name="T47" fmla="*/ 60 h 66"/>
                <a:gd name="T48" fmla="*/ 66 w 88"/>
                <a:gd name="T49" fmla="*/ 64 h 66"/>
                <a:gd name="T50" fmla="*/ 44 w 88"/>
                <a:gd name="T51" fmla="*/ 66 h 66"/>
                <a:gd name="T52" fmla="*/ 44 w 88"/>
                <a:gd name="T53" fmla="*/ 56 h 66"/>
                <a:gd name="T54" fmla="*/ 42 w 88"/>
                <a:gd name="T55" fmla="*/ 52 h 66"/>
                <a:gd name="T56" fmla="*/ 38 w 88"/>
                <a:gd name="T57" fmla="*/ 44 h 66"/>
                <a:gd name="T58" fmla="*/ 36 w 88"/>
                <a:gd name="T59" fmla="*/ 40 h 66"/>
                <a:gd name="T60" fmla="*/ 34 w 88"/>
                <a:gd name="T61" fmla="*/ 38 h 66"/>
                <a:gd name="T62" fmla="*/ 32 w 88"/>
                <a:gd name="T63" fmla="*/ 38 h 66"/>
                <a:gd name="T64" fmla="*/ 28 w 88"/>
                <a:gd name="T65" fmla="*/ 36 h 66"/>
                <a:gd name="T66" fmla="*/ 22 w 88"/>
                <a:gd name="T67" fmla="*/ 34 h 66"/>
                <a:gd name="T68" fmla="*/ 16 w 88"/>
                <a:gd name="T69" fmla="*/ 34 h 66"/>
                <a:gd name="T70" fmla="*/ 14 w 88"/>
                <a:gd name="T71" fmla="*/ 32 h 66"/>
                <a:gd name="T72" fmla="*/ 10 w 88"/>
                <a:gd name="T73" fmla="*/ 28 h 66"/>
                <a:gd name="T74" fmla="*/ 6 w 88"/>
                <a:gd name="T75" fmla="*/ 24 h 66"/>
                <a:gd name="T76" fmla="*/ 0 w 88"/>
                <a:gd name="T77" fmla="*/ 1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 h="66">
                  <a:moveTo>
                    <a:pt x="0" y="18"/>
                  </a:moveTo>
                  <a:lnTo>
                    <a:pt x="0" y="18"/>
                  </a:lnTo>
                  <a:lnTo>
                    <a:pt x="4" y="16"/>
                  </a:lnTo>
                  <a:lnTo>
                    <a:pt x="8" y="12"/>
                  </a:lnTo>
                  <a:lnTo>
                    <a:pt x="12" y="10"/>
                  </a:lnTo>
                  <a:lnTo>
                    <a:pt x="18" y="6"/>
                  </a:lnTo>
                  <a:lnTo>
                    <a:pt x="20" y="4"/>
                  </a:lnTo>
                  <a:lnTo>
                    <a:pt x="22" y="2"/>
                  </a:lnTo>
                  <a:lnTo>
                    <a:pt x="24" y="2"/>
                  </a:lnTo>
                  <a:lnTo>
                    <a:pt x="28" y="0"/>
                  </a:lnTo>
                  <a:lnTo>
                    <a:pt x="30" y="0"/>
                  </a:lnTo>
                  <a:lnTo>
                    <a:pt x="32" y="0"/>
                  </a:lnTo>
                  <a:lnTo>
                    <a:pt x="32" y="0"/>
                  </a:lnTo>
                  <a:lnTo>
                    <a:pt x="34" y="0"/>
                  </a:lnTo>
                  <a:lnTo>
                    <a:pt x="34" y="0"/>
                  </a:lnTo>
                  <a:lnTo>
                    <a:pt x="36" y="2"/>
                  </a:lnTo>
                  <a:lnTo>
                    <a:pt x="38" y="2"/>
                  </a:lnTo>
                  <a:lnTo>
                    <a:pt x="40" y="4"/>
                  </a:lnTo>
                  <a:lnTo>
                    <a:pt x="42" y="6"/>
                  </a:lnTo>
                  <a:lnTo>
                    <a:pt x="44" y="8"/>
                  </a:lnTo>
                  <a:lnTo>
                    <a:pt x="48" y="8"/>
                  </a:lnTo>
                  <a:lnTo>
                    <a:pt x="48" y="10"/>
                  </a:lnTo>
                  <a:lnTo>
                    <a:pt x="50" y="10"/>
                  </a:lnTo>
                  <a:lnTo>
                    <a:pt x="50" y="10"/>
                  </a:lnTo>
                  <a:lnTo>
                    <a:pt x="52" y="10"/>
                  </a:lnTo>
                  <a:lnTo>
                    <a:pt x="56" y="10"/>
                  </a:lnTo>
                  <a:lnTo>
                    <a:pt x="58" y="10"/>
                  </a:lnTo>
                  <a:lnTo>
                    <a:pt x="60" y="10"/>
                  </a:lnTo>
                  <a:lnTo>
                    <a:pt x="62" y="10"/>
                  </a:lnTo>
                  <a:lnTo>
                    <a:pt x="62" y="10"/>
                  </a:lnTo>
                  <a:lnTo>
                    <a:pt x="64" y="12"/>
                  </a:lnTo>
                  <a:lnTo>
                    <a:pt x="66" y="14"/>
                  </a:lnTo>
                  <a:lnTo>
                    <a:pt x="68" y="16"/>
                  </a:lnTo>
                  <a:lnTo>
                    <a:pt x="72" y="18"/>
                  </a:lnTo>
                  <a:lnTo>
                    <a:pt x="74" y="22"/>
                  </a:lnTo>
                  <a:lnTo>
                    <a:pt x="78" y="26"/>
                  </a:lnTo>
                  <a:lnTo>
                    <a:pt x="84" y="32"/>
                  </a:lnTo>
                  <a:lnTo>
                    <a:pt x="88" y="38"/>
                  </a:lnTo>
                  <a:lnTo>
                    <a:pt x="88" y="42"/>
                  </a:lnTo>
                  <a:lnTo>
                    <a:pt x="86" y="46"/>
                  </a:lnTo>
                  <a:lnTo>
                    <a:pt x="84" y="50"/>
                  </a:lnTo>
                  <a:lnTo>
                    <a:pt x="82" y="52"/>
                  </a:lnTo>
                  <a:lnTo>
                    <a:pt x="80" y="56"/>
                  </a:lnTo>
                  <a:lnTo>
                    <a:pt x="80" y="56"/>
                  </a:lnTo>
                  <a:lnTo>
                    <a:pt x="80" y="58"/>
                  </a:lnTo>
                  <a:lnTo>
                    <a:pt x="78" y="58"/>
                  </a:lnTo>
                  <a:lnTo>
                    <a:pt x="76" y="60"/>
                  </a:lnTo>
                  <a:lnTo>
                    <a:pt x="72" y="60"/>
                  </a:lnTo>
                  <a:lnTo>
                    <a:pt x="70" y="62"/>
                  </a:lnTo>
                  <a:lnTo>
                    <a:pt x="66" y="64"/>
                  </a:lnTo>
                  <a:lnTo>
                    <a:pt x="64" y="64"/>
                  </a:lnTo>
                  <a:lnTo>
                    <a:pt x="44" y="66"/>
                  </a:lnTo>
                  <a:lnTo>
                    <a:pt x="44" y="60"/>
                  </a:lnTo>
                  <a:lnTo>
                    <a:pt x="44" y="56"/>
                  </a:lnTo>
                  <a:lnTo>
                    <a:pt x="42" y="52"/>
                  </a:lnTo>
                  <a:lnTo>
                    <a:pt x="42" y="52"/>
                  </a:lnTo>
                  <a:lnTo>
                    <a:pt x="40" y="48"/>
                  </a:lnTo>
                  <a:lnTo>
                    <a:pt x="38" y="44"/>
                  </a:lnTo>
                  <a:lnTo>
                    <a:pt x="38" y="42"/>
                  </a:lnTo>
                  <a:lnTo>
                    <a:pt x="36" y="40"/>
                  </a:lnTo>
                  <a:lnTo>
                    <a:pt x="36" y="40"/>
                  </a:lnTo>
                  <a:lnTo>
                    <a:pt x="34" y="38"/>
                  </a:lnTo>
                  <a:lnTo>
                    <a:pt x="34" y="38"/>
                  </a:lnTo>
                  <a:lnTo>
                    <a:pt x="32" y="38"/>
                  </a:lnTo>
                  <a:lnTo>
                    <a:pt x="30" y="36"/>
                  </a:lnTo>
                  <a:lnTo>
                    <a:pt x="28" y="36"/>
                  </a:lnTo>
                  <a:lnTo>
                    <a:pt x="24" y="36"/>
                  </a:lnTo>
                  <a:lnTo>
                    <a:pt x="22" y="34"/>
                  </a:lnTo>
                  <a:lnTo>
                    <a:pt x="18" y="34"/>
                  </a:lnTo>
                  <a:lnTo>
                    <a:pt x="16" y="34"/>
                  </a:lnTo>
                  <a:lnTo>
                    <a:pt x="16" y="32"/>
                  </a:lnTo>
                  <a:lnTo>
                    <a:pt x="14" y="32"/>
                  </a:lnTo>
                  <a:lnTo>
                    <a:pt x="12" y="30"/>
                  </a:lnTo>
                  <a:lnTo>
                    <a:pt x="10" y="28"/>
                  </a:lnTo>
                  <a:lnTo>
                    <a:pt x="8" y="26"/>
                  </a:lnTo>
                  <a:lnTo>
                    <a:pt x="6" y="24"/>
                  </a:lnTo>
                  <a:lnTo>
                    <a:pt x="2" y="20"/>
                  </a:lnTo>
                  <a:lnTo>
                    <a:pt x="0" y="1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7" name="Freeform 155">
              <a:extLst>
                <a:ext uri="{FF2B5EF4-FFF2-40B4-BE49-F238E27FC236}">
                  <a16:creationId xmlns:a16="http://schemas.microsoft.com/office/drawing/2014/main" id="{C0945090-1E1F-4B35-8F7B-9AC66B63814A}"/>
                </a:ext>
              </a:extLst>
            </p:cNvPr>
            <p:cNvSpPr>
              <a:spLocks/>
            </p:cNvSpPr>
            <p:nvPr/>
          </p:nvSpPr>
          <p:spPr bwMode="auto">
            <a:xfrm>
              <a:off x="5301528" y="3350619"/>
              <a:ext cx="93532" cy="135102"/>
            </a:xfrm>
            <a:custGeom>
              <a:avLst/>
              <a:gdLst>
                <a:gd name="T0" fmla="*/ 54 w 54"/>
                <a:gd name="T1" fmla="*/ 70 h 78"/>
                <a:gd name="T2" fmla="*/ 54 w 54"/>
                <a:gd name="T3" fmla="*/ 70 h 78"/>
                <a:gd name="T4" fmla="*/ 54 w 54"/>
                <a:gd name="T5" fmla="*/ 70 h 78"/>
                <a:gd name="T6" fmla="*/ 54 w 54"/>
                <a:gd name="T7" fmla="*/ 72 h 78"/>
                <a:gd name="T8" fmla="*/ 52 w 54"/>
                <a:gd name="T9" fmla="*/ 72 h 78"/>
                <a:gd name="T10" fmla="*/ 52 w 54"/>
                <a:gd name="T11" fmla="*/ 72 h 78"/>
                <a:gd name="T12" fmla="*/ 50 w 54"/>
                <a:gd name="T13" fmla="*/ 74 h 78"/>
                <a:gd name="T14" fmla="*/ 48 w 54"/>
                <a:gd name="T15" fmla="*/ 76 h 78"/>
                <a:gd name="T16" fmla="*/ 44 w 54"/>
                <a:gd name="T17" fmla="*/ 78 h 78"/>
                <a:gd name="T18" fmla="*/ 42 w 54"/>
                <a:gd name="T19" fmla="*/ 78 h 78"/>
                <a:gd name="T20" fmla="*/ 42 w 54"/>
                <a:gd name="T21" fmla="*/ 76 h 78"/>
                <a:gd name="T22" fmla="*/ 40 w 54"/>
                <a:gd name="T23" fmla="*/ 72 h 78"/>
                <a:gd name="T24" fmla="*/ 38 w 54"/>
                <a:gd name="T25" fmla="*/ 68 h 78"/>
                <a:gd name="T26" fmla="*/ 38 w 54"/>
                <a:gd name="T27" fmla="*/ 66 h 78"/>
                <a:gd name="T28" fmla="*/ 36 w 54"/>
                <a:gd name="T29" fmla="*/ 66 h 78"/>
                <a:gd name="T30" fmla="*/ 36 w 54"/>
                <a:gd name="T31" fmla="*/ 64 h 78"/>
                <a:gd name="T32" fmla="*/ 34 w 54"/>
                <a:gd name="T33" fmla="*/ 62 h 78"/>
                <a:gd name="T34" fmla="*/ 30 w 54"/>
                <a:gd name="T35" fmla="*/ 60 h 78"/>
                <a:gd name="T36" fmla="*/ 26 w 54"/>
                <a:gd name="T37" fmla="*/ 58 h 78"/>
                <a:gd name="T38" fmla="*/ 24 w 54"/>
                <a:gd name="T39" fmla="*/ 58 h 78"/>
                <a:gd name="T40" fmla="*/ 20 w 54"/>
                <a:gd name="T41" fmla="*/ 54 h 78"/>
                <a:gd name="T42" fmla="*/ 16 w 54"/>
                <a:gd name="T43" fmla="*/ 50 h 78"/>
                <a:gd name="T44" fmla="*/ 14 w 54"/>
                <a:gd name="T45" fmla="*/ 48 h 78"/>
                <a:gd name="T46" fmla="*/ 14 w 54"/>
                <a:gd name="T47" fmla="*/ 46 h 78"/>
                <a:gd name="T48" fmla="*/ 12 w 54"/>
                <a:gd name="T49" fmla="*/ 44 h 78"/>
                <a:gd name="T50" fmla="*/ 10 w 54"/>
                <a:gd name="T51" fmla="*/ 42 h 78"/>
                <a:gd name="T52" fmla="*/ 6 w 54"/>
                <a:gd name="T53" fmla="*/ 34 h 78"/>
                <a:gd name="T54" fmla="*/ 0 w 54"/>
                <a:gd name="T55" fmla="*/ 26 h 78"/>
                <a:gd name="T56" fmla="*/ 2 w 54"/>
                <a:gd name="T57" fmla="*/ 26 h 78"/>
                <a:gd name="T58" fmla="*/ 8 w 54"/>
                <a:gd name="T59" fmla="*/ 24 h 78"/>
                <a:gd name="T60" fmla="*/ 10 w 54"/>
                <a:gd name="T61" fmla="*/ 22 h 78"/>
                <a:gd name="T62" fmla="*/ 12 w 54"/>
                <a:gd name="T63" fmla="*/ 22 h 78"/>
                <a:gd name="T64" fmla="*/ 14 w 54"/>
                <a:gd name="T65" fmla="*/ 20 h 78"/>
                <a:gd name="T66" fmla="*/ 16 w 54"/>
                <a:gd name="T67" fmla="*/ 18 h 78"/>
                <a:gd name="T68" fmla="*/ 16 w 54"/>
                <a:gd name="T69" fmla="*/ 18 h 78"/>
                <a:gd name="T70" fmla="*/ 18 w 54"/>
                <a:gd name="T71" fmla="*/ 18 h 78"/>
                <a:gd name="T72" fmla="*/ 18 w 54"/>
                <a:gd name="T73" fmla="*/ 14 h 78"/>
                <a:gd name="T74" fmla="*/ 20 w 54"/>
                <a:gd name="T75" fmla="*/ 12 h 78"/>
                <a:gd name="T76" fmla="*/ 22 w 54"/>
                <a:gd name="T77" fmla="*/ 8 h 78"/>
                <a:gd name="T78" fmla="*/ 24 w 54"/>
                <a:gd name="T79" fmla="*/ 4 h 78"/>
                <a:gd name="T80" fmla="*/ 26 w 54"/>
                <a:gd name="T81" fmla="*/ 0 h 78"/>
                <a:gd name="T82" fmla="*/ 28 w 54"/>
                <a:gd name="T83" fmla="*/ 10 h 78"/>
                <a:gd name="T84" fmla="*/ 28 w 54"/>
                <a:gd name="T85" fmla="*/ 16 h 78"/>
                <a:gd name="T86" fmla="*/ 30 w 54"/>
                <a:gd name="T87" fmla="*/ 20 h 78"/>
                <a:gd name="T88" fmla="*/ 30 w 54"/>
                <a:gd name="T89" fmla="*/ 22 h 78"/>
                <a:gd name="T90" fmla="*/ 32 w 54"/>
                <a:gd name="T91" fmla="*/ 24 h 78"/>
                <a:gd name="T92" fmla="*/ 32 w 54"/>
                <a:gd name="T93" fmla="*/ 28 h 78"/>
                <a:gd name="T94" fmla="*/ 36 w 54"/>
                <a:gd name="T95" fmla="*/ 34 h 78"/>
                <a:gd name="T96" fmla="*/ 38 w 54"/>
                <a:gd name="T97" fmla="*/ 40 h 78"/>
                <a:gd name="T98" fmla="*/ 42 w 54"/>
                <a:gd name="T99" fmla="*/ 44 h 78"/>
                <a:gd name="T100" fmla="*/ 42 w 54"/>
                <a:gd name="T101" fmla="*/ 46 h 78"/>
                <a:gd name="T102" fmla="*/ 44 w 54"/>
                <a:gd name="T103" fmla="*/ 50 h 78"/>
                <a:gd name="T104" fmla="*/ 48 w 54"/>
                <a:gd name="T105" fmla="*/ 54 h 78"/>
                <a:gd name="T106" fmla="*/ 50 w 54"/>
                <a:gd name="T107" fmla="*/ 56 h 78"/>
                <a:gd name="T108" fmla="*/ 52 w 54"/>
                <a:gd name="T109" fmla="*/ 60 h 78"/>
                <a:gd name="T110" fmla="*/ 52 w 54"/>
                <a:gd name="T111" fmla="*/ 62 h 78"/>
                <a:gd name="T112" fmla="*/ 54 w 54"/>
                <a:gd name="T113" fmla="*/ 64 h 78"/>
                <a:gd name="T114" fmla="*/ 54 w 54"/>
                <a:gd name="T115" fmla="*/ 66 h 78"/>
                <a:gd name="T116" fmla="*/ 54 w 54"/>
                <a:gd name="T117" fmla="*/ 68 h 78"/>
                <a:gd name="T118" fmla="*/ 54 w 54"/>
                <a:gd name="T119" fmla="*/ 68 h 78"/>
                <a:gd name="T120" fmla="*/ 54 w 54"/>
                <a:gd name="T121" fmla="*/ 7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 h="78">
                  <a:moveTo>
                    <a:pt x="54" y="70"/>
                  </a:moveTo>
                  <a:lnTo>
                    <a:pt x="54" y="70"/>
                  </a:lnTo>
                  <a:lnTo>
                    <a:pt x="54" y="70"/>
                  </a:lnTo>
                  <a:lnTo>
                    <a:pt x="54" y="72"/>
                  </a:lnTo>
                  <a:lnTo>
                    <a:pt x="52" y="72"/>
                  </a:lnTo>
                  <a:lnTo>
                    <a:pt x="52" y="72"/>
                  </a:lnTo>
                  <a:lnTo>
                    <a:pt x="50" y="74"/>
                  </a:lnTo>
                  <a:lnTo>
                    <a:pt x="48" y="76"/>
                  </a:lnTo>
                  <a:lnTo>
                    <a:pt x="44" y="78"/>
                  </a:lnTo>
                  <a:lnTo>
                    <a:pt x="42" y="78"/>
                  </a:lnTo>
                  <a:lnTo>
                    <a:pt x="42" y="76"/>
                  </a:lnTo>
                  <a:lnTo>
                    <a:pt x="40" y="72"/>
                  </a:lnTo>
                  <a:lnTo>
                    <a:pt x="38" y="68"/>
                  </a:lnTo>
                  <a:lnTo>
                    <a:pt x="38" y="66"/>
                  </a:lnTo>
                  <a:lnTo>
                    <a:pt x="36" y="66"/>
                  </a:lnTo>
                  <a:lnTo>
                    <a:pt x="36" y="64"/>
                  </a:lnTo>
                  <a:lnTo>
                    <a:pt x="34" y="62"/>
                  </a:lnTo>
                  <a:lnTo>
                    <a:pt x="30" y="60"/>
                  </a:lnTo>
                  <a:lnTo>
                    <a:pt x="26" y="58"/>
                  </a:lnTo>
                  <a:lnTo>
                    <a:pt x="24" y="58"/>
                  </a:lnTo>
                  <a:lnTo>
                    <a:pt x="20" y="54"/>
                  </a:lnTo>
                  <a:lnTo>
                    <a:pt x="16" y="50"/>
                  </a:lnTo>
                  <a:lnTo>
                    <a:pt x="14" y="48"/>
                  </a:lnTo>
                  <a:lnTo>
                    <a:pt x="14" y="46"/>
                  </a:lnTo>
                  <a:lnTo>
                    <a:pt x="12" y="44"/>
                  </a:lnTo>
                  <a:lnTo>
                    <a:pt x="10" y="42"/>
                  </a:lnTo>
                  <a:lnTo>
                    <a:pt x="6" y="34"/>
                  </a:lnTo>
                  <a:lnTo>
                    <a:pt x="0" y="26"/>
                  </a:lnTo>
                  <a:lnTo>
                    <a:pt x="2" y="26"/>
                  </a:lnTo>
                  <a:lnTo>
                    <a:pt x="8" y="24"/>
                  </a:lnTo>
                  <a:lnTo>
                    <a:pt x="10" y="22"/>
                  </a:lnTo>
                  <a:lnTo>
                    <a:pt x="12" y="22"/>
                  </a:lnTo>
                  <a:lnTo>
                    <a:pt x="14" y="20"/>
                  </a:lnTo>
                  <a:lnTo>
                    <a:pt x="16" y="18"/>
                  </a:lnTo>
                  <a:lnTo>
                    <a:pt x="16" y="18"/>
                  </a:lnTo>
                  <a:lnTo>
                    <a:pt x="18" y="18"/>
                  </a:lnTo>
                  <a:lnTo>
                    <a:pt x="18" y="14"/>
                  </a:lnTo>
                  <a:lnTo>
                    <a:pt x="20" y="12"/>
                  </a:lnTo>
                  <a:lnTo>
                    <a:pt x="22" y="8"/>
                  </a:lnTo>
                  <a:lnTo>
                    <a:pt x="24" y="4"/>
                  </a:lnTo>
                  <a:lnTo>
                    <a:pt x="26" y="0"/>
                  </a:lnTo>
                  <a:lnTo>
                    <a:pt x="28" y="10"/>
                  </a:lnTo>
                  <a:lnTo>
                    <a:pt x="28" y="16"/>
                  </a:lnTo>
                  <a:lnTo>
                    <a:pt x="30" y="20"/>
                  </a:lnTo>
                  <a:lnTo>
                    <a:pt x="30" y="22"/>
                  </a:lnTo>
                  <a:lnTo>
                    <a:pt x="32" y="24"/>
                  </a:lnTo>
                  <a:lnTo>
                    <a:pt x="32" y="28"/>
                  </a:lnTo>
                  <a:lnTo>
                    <a:pt x="36" y="34"/>
                  </a:lnTo>
                  <a:lnTo>
                    <a:pt x="38" y="40"/>
                  </a:lnTo>
                  <a:lnTo>
                    <a:pt x="42" y="44"/>
                  </a:lnTo>
                  <a:lnTo>
                    <a:pt x="42" y="46"/>
                  </a:lnTo>
                  <a:lnTo>
                    <a:pt x="44" y="50"/>
                  </a:lnTo>
                  <a:lnTo>
                    <a:pt x="48" y="54"/>
                  </a:lnTo>
                  <a:lnTo>
                    <a:pt x="50" y="56"/>
                  </a:lnTo>
                  <a:lnTo>
                    <a:pt x="52" y="60"/>
                  </a:lnTo>
                  <a:lnTo>
                    <a:pt x="52" y="62"/>
                  </a:lnTo>
                  <a:lnTo>
                    <a:pt x="54" y="64"/>
                  </a:lnTo>
                  <a:lnTo>
                    <a:pt x="54" y="66"/>
                  </a:lnTo>
                  <a:lnTo>
                    <a:pt x="54" y="68"/>
                  </a:lnTo>
                  <a:lnTo>
                    <a:pt x="54" y="68"/>
                  </a:lnTo>
                  <a:lnTo>
                    <a:pt x="54" y="7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8" name="Freeform 156">
              <a:extLst>
                <a:ext uri="{FF2B5EF4-FFF2-40B4-BE49-F238E27FC236}">
                  <a16:creationId xmlns:a16="http://schemas.microsoft.com/office/drawing/2014/main" id="{C9885117-92F3-4242-A750-46A6FD75B47F}"/>
                </a:ext>
              </a:extLst>
            </p:cNvPr>
            <p:cNvSpPr>
              <a:spLocks/>
            </p:cNvSpPr>
            <p:nvPr/>
          </p:nvSpPr>
          <p:spPr bwMode="auto">
            <a:xfrm>
              <a:off x="5301528" y="3350619"/>
              <a:ext cx="93532" cy="135102"/>
            </a:xfrm>
            <a:custGeom>
              <a:avLst/>
              <a:gdLst>
                <a:gd name="T0" fmla="*/ 54 w 54"/>
                <a:gd name="T1" fmla="*/ 70 h 78"/>
                <a:gd name="T2" fmla="*/ 54 w 54"/>
                <a:gd name="T3" fmla="*/ 70 h 78"/>
                <a:gd name="T4" fmla="*/ 54 w 54"/>
                <a:gd name="T5" fmla="*/ 70 h 78"/>
                <a:gd name="T6" fmla="*/ 54 w 54"/>
                <a:gd name="T7" fmla="*/ 72 h 78"/>
                <a:gd name="T8" fmla="*/ 52 w 54"/>
                <a:gd name="T9" fmla="*/ 72 h 78"/>
                <a:gd name="T10" fmla="*/ 52 w 54"/>
                <a:gd name="T11" fmla="*/ 72 h 78"/>
                <a:gd name="T12" fmla="*/ 50 w 54"/>
                <a:gd name="T13" fmla="*/ 74 h 78"/>
                <a:gd name="T14" fmla="*/ 48 w 54"/>
                <a:gd name="T15" fmla="*/ 76 h 78"/>
                <a:gd name="T16" fmla="*/ 44 w 54"/>
                <a:gd name="T17" fmla="*/ 78 h 78"/>
                <a:gd name="T18" fmla="*/ 42 w 54"/>
                <a:gd name="T19" fmla="*/ 78 h 78"/>
                <a:gd name="T20" fmla="*/ 42 w 54"/>
                <a:gd name="T21" fmla="*/ 76 h 78"/>
                <a:gd name="T22" fmla="*/ 40 w 54"/>
                <a:gd name="T23" fmla="*/ 72 h 78"/>
                <a:gd name="T24" fmla="*/ 38 w 54"/>
                <a:gd name="T25" fmla="*/ 68 h 78"/>
                <a:gd name="T26" fmla="*/ 38 w 54"/>
                <a:gd name="T27" fmla="*/ 66 h 78"/>
                <a:gd name="T28" fmla="*/ 36 w 54"/>
                <a:gd name="T29" fmla="*/ 66 h 78"/>
                <a:gd name="T30" fmla="*/ 36 w 54"/>
                <a:gd name="T31" fmla="*/ 64 h 78"/>
                <a:gd name="T32" fmla="*/ 34 w 54"/>
                <a:gd name="T33" fmla="*/ 62 h 78"/>
                <a:gd name="T34" fmla="*/ 30 w 54"/>
                <a:gd name="T35" fmla="*/ 60 h 78"/>
                <a:gd name="T36" fmla="*/ 26 w 54"/>
                <a:gd name="T37" fmla="*/ 58 h 78"/>
                <a:gd name="T38" fmla="*/ 24 w 54"/>
                <a:gd name="T39" fmla="*/ 58 h 78"/>
                <a:gd name="T40" fmla="*/ 20 w 54"/>
                <a:gd name="T41" fmla="*/ 54 h 78"/>
                <a:gd name="T42" fmla="*/ 16 w 54"/>
                <a:gd name="T43" fmla="*/ 50 h 78"/>
                <a:gd name="T44" fmla="*/ 14 w 54"/>
                <a:gd name="T45" fmla="*/ 48 h 78"/>
                <a:gd name="T46" fmla="*/ 14 w 54"/>
                <a:gd name="T47" fmla="*/ 46 h 78"/>
                <a:gd name="T48" fmla="*/ 12 w 54"/>
                <a:gd name="T49" fmla="*/ 44 h 78"/>
                <a:gd name="T50" fmla="*/ 10 w 54"/>
                <a:gd name="T51" fmla="*/ 42 h 78"/>
                <a:gd name="T52" fmla="*/ 6 w 54"/>
                <a:gd name="T53" fmla="*/ 34 h 78"/>
                <a:gd name="T54" fmla="*/ 0 w 54"/>
                <a:gd name="T55" fmla="*/ 26 h 78"/>
                <a:gd name="T56" fmla="*/ 2 w 54"/>
                <a:gd name="T57" fmla="*/ 26 h 78"/>
                <a:gd name="T58" fmla="*/ 8 w 54"/>
                <a:gd name="T59" fmla="*/ 24 h 78"/>
                <a:gd name="T60" fmla="*/ 10 w 54"/>
                <a:gd name="T61" fmla="*/ 22 h 78"/>
                <a:gd name="T62" fmla="*/ 12 w 54"/>
                <a:gd name="T63" fmla="*/ 22 h 78"/>
                <a:gd name="T64" fmla="*/ 14 w 54"/>
                <a:gd name="T65" fmla="*/ 20 h 78"/>
                <a:gd name="T66" fmla="*/ 16 w 54"/>
                <a:gd name="T67" fmla="*/ 18 h 78"/>
                <a:gd name="T68" fmla="*/ 16 w 54"/>
                <a:gd name="T69" fmla="*/ 18 h 78"/>
                <a:gd name="T70" fmla="*/ 18 w 54"/>
                <a:gd name="T71" fmla="*/ 18 h 78"/>
                <a:gd name="T72" fmla="*/ 18 w 54"/>
                <a:gd name="T73" fmla="*/ 14 h 78"/>
                <a:gd name="T74" fmla="*/ 20 w 54"/>
                <a:gd name="T75" fmla="*/ 12 h 78"/>
                <a:gd name="T76" fmla="*/ 22 w 54"/>
                <a:gd name="T77" fmla="*/ 8 h 78"/>
                <a:gd name="T78" fmla="*/ 24 w 54"/>
                <a:gd name="T79" fmla="*/ 4 h 78"/>
                <a:gd name="T80" fmla="*/ 26 w 54"/>
                <a:gd name="T81" fmla="*/ 0 h 78"/>
                <a:gd name="T82" fmla="*/ 28 w 54"/>
                <a:gd name="T83" fmla="*/ 10 h 78"/>
                <a:gd name="T84" fmla="*/ 28 w 54"/>
                <a:gd name="T85" fmla="*/ 16 h 78"/>
                <a:gd name="T86" fmla="*/ 30 w 54"/>
                <a:gd name="T87" fmla="*/ 20 h 78"/>
                <a:gd name="T88" fmla="*/ 30 w 54"/>
                <a:gd name="T89" fmla="*/ 22 h 78"/>
                <a:gd name="T90" fmla="*/ 32 w 54"/>
                <a:gd name="T91" fmla="*/ 24 h 78"/>
                <a:gd name="T92" fmla="*/ 32 w 54"/>
                <a:gd name="T93" fmla="*/ 28 h 78"/>
                <a:gd name="T94" fmla="*/ 36 w 54"/>
                <a:gd name="T95" fmla="*/ 34 h 78"/>
                <a:gd name="T96" fmla="*/ 38 w 54"/>
                <a:gd name="T97" fmla="*/ 40 h 78"/>
                <a:gd name="T98" fmla="*/ 42 w 54"/>
                <a:gd name="T99" fmla="*/ 44 h 78"/>
                <a:gd name="T100" fmla="*/ 42 w 54"/>
                <a:gd name="T101" fmla="*/ 46 h 78"/>
                <a:gd name="T102" fmla="*/ 44 w 54"/>
                <a:gd name="T103" fmla="*/ 50 h 78"/>
                <a:gd name="T104" fmla="*/ 48 w 54"/>
                <a:gd name="T105" fmla="*/ 54 h 78"/>
                <a:gd name="T106" fmla="*/ 50 w 54"/>
                <a:gd name="T107" fmla="*/ 56 h 78"/>
                <a:gd name="T108" fmla="*/ 52 w 54"/>
                <a:gd name="T109" fmla="*/ 60 h 78"/>
                <a:gd name="T110" fmla="*/ 52 w 54"/>
                <a:gd name="T111" fmla="*/ 62 h 78"/>
                <a:gd name="T112" fmla="*/ 54 w 54"/>
                <a:gd name="T113" fmla="*/ 64 h 78"/>
                <a:gd name="T114" fmla="*/ 54 w 54"/>
                <a:gd name="T115" fmla="*/ 66 h 78"/>
                <a:gd name="T116" fmla="*/ 54 w 54"/>
                <a:gd name="T117" fmla="*/ 68 h 78"/>
                <a:gd name="T118" fmla="*/ 54 w 54"/>
                <a:gd name="T119" fmla="*/ 68 h 78"/>
                <a:gd name="T120" fmla="*/ 54 w 54"/>
                <a:gd name="T121" fmla="*/ 7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 h="78">
                  <a:moveTo>
                    <a:pt x="54" y="70"/>
                  </a:moveTo>
                  <a:lnTo>
                    <a:pt x="54" y="70"/>
                  </a:lnTo>
                  <a:lnTo>
                    <a:pt x="54" y="70"/>
                  </a:lnTo>
                  <a:lnTo>
                    <a:pt x="54" y="72"/>
                  </a:lnTo>
                  <a:lnTo>
                    <a:pt x="52" y="72"/>
                  </a:lnTo>
                  <a:lnTo>
                    <a:pt x="52" y="72"/>
                  </a:lnTo>
                  <a:lnTo>
                    <a:pt x="50" y="74"/>
                  </a:lnTo>
                  <a:lnTo>
                    <a:pt x="48" y="76"/>
                  </a:lnTo>
                  <a:lnTo>
                    <a:pt x="44" y="78"/>
                  </a:lnTo>
                  <a:lnTo>
                    <a:pt x="42" y="78"/>
                  </a:lnTo>
                  <a:lnTo>
                    <a:pt x="42" y="76"/>
                  </a:lnTo>
                  <a:lnTo>
                    <a:pt x="40" y="72"/>
                  </a:lnTo>
                  <a:lnTo>
                    <a:pt x="38" y="68"/>
                  </a:lnTo>
                  <a:lnTo>
                    <a:pt x="38" y="66"/>
                  </a:lnTo>
                  <a:lnTo>
                    <a:pt x="36" y="66"/>
                  </a:lnTo>
                  <a:lnTo>
                    <a:pt x="36" y="64"/>
                  </a:lnTo>
                  <a:lnTo>
                    <a:pt x="34" y="62"/>
                  </a:lnTo>
                  <a:lnTo>
                    <a:pt x="30" y="60"/>
                  </a:lnTo>
                  <a:lnTo>
                    <a:pt x="26" y="58"/>
                  </a:lnTo>
                  <a:lnTo>
                    <a:pt x="24" y="58"/>
                  </a:lnTo>
                  <a:lnTo>
                    <a:pt x="20" y="54"/>
                  </a:lnTo>
                  <a:lnTo>
                    <a:pt x="16" y="50"/>
                  </a:lnTo>
                  <a:lnTo>
                    <a:pt x="14" y="48"/>
                  </a:lnTo>
                  <a:lnTo>
                    <a:pt x="14" y="46"/>
                  </a:lnTo>
                  <a:lnTo>
                    <a:pt x="12" y="44"/>
                  </a:lnTo>
                  <a:lnTo>
                    <a:pt x="10" y="42"/>
                  </a:lnTo>
                  <a:lnTo>
                    <a:pt x="6" y="34"/>
                  </a:lnTo>
                  <a:lnTo>
                    <a:pt x="0" y="26"/>
                  </a:lnTo>
                  <a:lnTo>
                    <a:pt x="2" y="26"/>
                  </a:lnTo>
                  <a:lnTo>
                    <a:pt x="8" y="24"/>
                  </a:lnTo>
                  <a:lnTo>
                    <a:pt x="10" y="22"/>
                  </a:lnTo>
                  <a:lnTo>
                    <a:pt x="12" y="22"/>
                  </a:lnTo>
                  <a:lnTo>
                    <a:pt x="14" y="20"/>
                  </a:lnTo>
                  <a:lnTo>
                    <a:pt x="16" y="18"/>
                  </a:lnTo>
                  <a:lnTo>
                    <a:pt x="16" y="18"/>
                  </a:lnTo>
                  <a:lnTo>
                    <a:pt x="18" y="18"/>
                  </a:lnTo>
                  <a:lnTo>
                    <a:pt x="18" y="14"/>
                  </a:lnTo>
                  <a:lnTo>
                    <a:pt x="20" y="12"/>
                  </a:lnTo>
                  <a:lnTo>
                    <a:pt x="22" y="8"/>
                  </a:lnTo>
                  <a:lnTo>
                    <a:pt x="24" y="4"/>
                  </a:lnTo>
                  <a:lnTo>
                    <a:pt x="26" y="0"/>
                  </a:lnTo>
                  <a:lnTo>
                    <a:pt x="28" y="10"/>
                  </a:lnTo>
                  <a:lnTo>
                    <a:pt x="28" y="16"/>
                  </a:lnTo>
                  <a:lnTo>
                    <a:pt x="30" y="20"/>
                  </a:lnTo>
                  <a:lnTo>
                    <a:pt x="30" y="22"/>
                  </a:lnTo>
                  <a:lnTo>
                    <a:pt x="32" y="24"/>
                  </a:lnTo>
                  <a:lnTo>
                    <a:pt x="32" y="28"/>
                  </a:lnTo>
                  <a:lnTo>
                    <a:pt x="36" y="34"/>
                  </a:lnTo>
                  <a:lnTo>
                    <a:pt x="38" y="40"/>
                  </a:lnTo>
                  <a:lnTo>
                    <a:pt x="42" y="44"/>
                  </a:lnTo>
                  <a:lnTo>
                    <a:pt x="42" y="46"/>
                  </a:lnTo>
                  <a:lnTo>
                    <a:pt x="44" y="50"/>
                  </a:lnTo>
                  <a:lnTo>
                    <a:pt x="48" y="54"/>
                  </a:lnTo>
                  <a:lnTo>
                    <a:pt x="50" y="56"/>
                  </a:lnTo>
                  <a:lnTo>
                    <a:pt x="52" y="60"/>
                  </a:lnTo>
                  <a:lnTo>
                    <a:pt x="52" y="62"/>
                  </a:lnTo>
                  <a:lnTo>
                    <a:pt x="54" y="64"/>
                  </a:lnTo>
                  <a:lnTo>
                    <a:pt x="54" y="66"/>
                  </a:lnTo>
                  <a:lnTo>
                    <a:pt x="54" y="68"/>
                  </a:lnTo>
                  <a:lnTo>
                    <a:pt x="54" y="68"/>
                  </a:lnTo>
                  <a:lnTo>
                    <a:pt x="54" y="7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9" name="Freeform 183">
              <a:extLst>
                <a:ext uri="{FF2B5EF4-FFF2-40B4-BE49-F238E27FC236}">
                  <a16:creationId xmlns:a16="http://schemas.microsoft.com/office/drawing/2014/main" id="{817D68F1-86A1-4BC9-AA30-1B2E7220B991}"/>
                </a:ext>
              </a:extLst>
            </p:cNvPr>
            <p:cNvSpPr>
              <a:spLocks/>
            </p:cNvSpPr>
            <p:nvPr/>
          </p:nvSpPr>
          <p:spPr bwMode="auto">
            <a:xfrm>
              <a:off x="6046321" y="2990347"/>
              <a:ext cx="1423766" cy="1060030"/>
            </a:xfrm>
            <a:custGeom>
              <a:avLst/>
              <a:gdLst>
                <a:gd name="T0" fmla="*/ 626 w 822"/>
                <a:gd name="T1" fmla="*/ 296 h 612"/>
                <a:gd name="T2" fmla="*/ 664 w 822"/>
                <a:gd name="T3" fmla="*/ 304 h 612"/>
                <a:gd name="T4" fmla="*/ 696 w 822"/>
                <a:gd name="T5" fmla="*/ 318 h 612"/>
                <a:gd name="T6" fmla="*/ 660 w 822"/>
                <a:gd name="T7" fmla="*/ 342 h 612"/>
                <a:gd name="T8" fmla="*/ 696 w 822"/>
                <a:gd name="T9" fmla="*/ 402 h 612"/>
                <a:gd name="T10" fmla="*/ 710 w 822"/>
                <a:gd name="T11" fmla="*/ 470 h 612"/>
                <a:gd name="T12" fmla="*/ 698 w 822"/>
                <a:gd name="T13" fmla="*/ 494 h 612"/>
                <a:gd name="T14" fmla="*/ 684 w 822"/>
                <a:gd name="T15" fmla="*/ 526 h 612"/>
                <a:gd name="T16" fmla="*/ 658 w 822"/>
                <a:gd name="T17" fmla="*/ 544 h 612"/>
                <a:gd name="T18" fmla="*/ 644 w 822"/>
                <a:gd name="T19" fmla="*/ 566 h 612"/>
                <a:gd name="T20" fmla="*/ 594 w 822"/>
                <a:gd name="T21" fmla="*/ 578 h 612"/>
                <a:gd name="T22" fmla="*/ 542 w 822"/>
                <a:gd name="T23" fmla="*/ 610 h 612"/>
                <a:gd name="T24" fmla="*/ 526 w 822"/>
                <a:gd name="T25" fmla="*/ 588 h 612"/>
                <a:gd name="T26" fmla="*/ 484 w 822"/>
                <a:gd name="T27" fmla="*/ 566 h 612"/>
                <a:gd name="T28" fmla="*/ 430 w 822"/>
                <a:gd name="T29" fmla="*/ 586 h 612"/>
                <a:gd name="T30" fmla="*/ 410 w 822"/>
                <a:gd name="T31" fmla="*/ 592 h 612"/>
                <a:gd name="T32" fmla="*/ 390 w 822"/>
                <a:gd name="T33" fmla="*/ 566 h 612"/>
                <a:gd name="T34" fmla="*/ 366 w 822"/>
                <a:gd name="T35" fmla="*/ 544 h 612"/>
                <a:gd name="T36" fmla="*/ 384 w 822"/>
                <a:gd name="T37" fmla="*/ 510 h 612"/>
                <a:gd name="T38" fmla="*/ 350 w 822"/>
                <a:gd name="T39" fmla="*/ 480 h 612"/>
                <a:gd name="T40" fmla="*/ 296 w 822"/>
                <a:gd name="T41" fmla="*/ 472 h 612"/>
                <a:gd name="T42" fmla="*/ 224 w 822"/>
                <a:gd name="T43" fmla="*/ 490 h 612"/>
                <a:gd name="T44" fmla="*/ 164 w 822"/>
                <a:gd name="T45" fmla="*/ 470 h 612"/>
                <a:gd name="T46" fmla="*/ 156 w 822"/>
                <a:gd name="T47" fmla="*/ 466 h 612"/>
                <a:gd name="T48" fmla="*/ 112 w 822"/>
                <a:gd name="T49" fmla="*/ 446 h 612"/>
                <a:gd name="T50" fmla="*/ 78 w 822"/>
                <a:gd name="T51" fmla="*/ 418 h 612"/>
                <a:gd name="T52" fmla="*/ 50 w 822"/>
                <a:gd name="T53" fmla="*/ 394 h 612"/>
                <a:gd name="T54" fmla="*/ 20 w 822"/>
                <a:gd name="T55" fmla="*/ 378 h 612"/>
                <a:gd name="T56" fmla="*/ 18 w 822"/>
                <a:gd name="T57" fmla="*/ 318 h 612"/>
                <a:gd name="T58" fmla="*/ 0 w 822"/>
                <a:gd name="T59" fmla="*/ 302 h 612"/>
                <a:gd name="T60" fmla="*/ 30 w 822"/>
                <a:gd name="T61" fmla="*/ 286 h 612"/>
                <a:gd name="T62" fmla="*/ 56 w 822"/>
                <a:gd name="T63" fmla="*/ 270 h 612"/>
                <a:gd name="T64" fmla="*/ 86 w 822"/>
                <a:gd name="T65" fmla="*/ 246 h 612"/>
                <a:gd name="T66" fmla="*/ 72 w 822"/>
                <a:gd name="T67" fmla="*/ 210 h 612"/>
                <a:gd name="T68" fmla="*/ 112 w 822"/>
                <a:gd name="T69" fmla="*/ 186 h 612"/>
                <a:gd name="T70" fmla="*/ 134 w 822"/>
                <a:gd name="T71" fmla="*/ 162 h 612"/>
                <a:gd name="T72" fmla="*/ 152 w 822"/>
                <a:gd name="T73" fmla="*/ 132 h 612"/>
                <a:gd name="T74" fmla="*/ 176 w 822"/>
                <a:gd name="T75" fmla="*/ 110 h 612"/>
                <a:gd name="T76" fmla="*/ 214 w 822"/>
                <a:gd name="T77" fmla="*/ 134 h 612"/>
                <a:gd name="T78" fmla="*/ 260 w 822"/>
                <a:gd name="T79" fmla="*/ 174 h 612"/>
                <a:gd name="T80" fmla="*/ 312 w 822"/>
                <a:gd name="T81" fmla="*/ 214 h 612"/>
                <a:gd name="T82" fmla="*/ 420 w 822"/>
                <a:gd name="T83" fmla="*/ 232 h 612"/>
                <a:gd name="T84" fmla="*/ 464 w 822"/>
                <a:gd name="T85" fmla="*/ 222 h 612"/>
                <a:gd name="T86" fmla="*/ 516 w 822"/>
                <a:gd name="T87" fmla="*/ 206 h 612"/>
                <a:gd name="T88" fmla="*/ 528 w 822"/>
                <a:gd name="T89" fmla="*/ 176 h 612"/>
                <a:gd name="T90" fmla="*/ 586 w 822"/>
                <a:gd name="T91" fmla="*/ 142 h 612"/>
                <a:gd name="T92" fmla="*/ 596 w 822"/>
                <a:gd name="T93" fmla="*/ 116 h 612"/>
                <a:gd name="T94" fmla="*/ 558 w 822"/>
                <a:gd name="T95" fmla="*/ 112 h 612"/>
                <a:gd name="T96" fmla="*/ 586 w 822"/>
                <a:gd name="T97" fmla="*/ 84 h 612"/>
                <a:gd name="T98" fmla="*/ 602 w 822"/>
                <a:gd name="T99" fmla="*/ 50 h 612"/>
                <a:gd name="T100" fmla="*/ 600 w 822"/>
                <a:gd name="T101" fmla="*/ 12 h 612"/>
                <a:gd name="T102" fmla="*/ 668 w 822"/>
                <a:gd name="T103" fmla="*/ 6 h 612"/>
                <a:gd name="T104" fmla="*/ 710 w 822"/>
                <a:gd name="T105" fmla="*/ 68 h 612"/>
                <a:gd name="T106" fmla="*/ 756 w 822"/>
                <a:gd name="T107" fmla="*/ 94 h 612"/>
                <a:gd name="T108" fmla="*/ 796 w 822"/>
                <a:gd name="T109" fmla="*/ 112 h 612"/>
                <a:gd name="T110" fmla="*/ 820 w 822"/>
                <a:gd name="T111" fmla="*/ 130 h 612"/>
                <a:gd name="T112" fmla="*/ 812 w 822"/>
                <a:gd name="T113" fmla="*/ 172 h 612"/>
                <a:gd name="T114" fmla="*/ 790 w 822"/>
                <a:gd name="T115" fmla="*/ 184 h 612"/>
                <a:gd name="T116" fmla="*/ 798 w 822"/>
                <a:gd name="T117" fmla="*/ 208 h 612"/>
                <a:gd name="T118" fmla="*/ 758 w 822"/>
                <a:gd name="T119" fmla="*/ 238 h 612"/>
                <a:gd name="T120" fmla="*/ 728 w 822"/>
                <a:gd name="T121" fmla="*/ 252 h 612"/>
                <a:gd name="T122" fmla="*/ 674 w 822"/>
                <a:gd name="T123" fmla="*/ 284 h 612"/>
                <a:gd name="T124" fmla="*/ 664 w 822"/>
                <a:gd name="T125" fmla="*/ 248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2" h="612">
                  <a:moveTo>
                    <a:pt x="648" y="266"/>
                  </a:moveTo>
                  <a:lnTo>
                    <a:pt x="648" y="266"/>
                  </a:lnTo>
                  <a:lnTo>
                    <a:pt x="648" y="268"/>
                  </a:lnTo>
                  <a:lnTo>
                    <a:pt x="646" y="268"/>
                  </a:lnTo>
                  <a:lnTo>
                    <a:pt x="646" y="268"/>
                  </a:lnTo>
                  <a:lnTo>
                    <a:pt x="646" y="270"/>
                  </a:lnTo>
                  <a:lnTo>
                    <a:pt x="644" y="272"/>
                  </a:lnTo>
                  <a:lnTo>
                    <a:pt x="642" y="272"/>
                  </a:lnTo>
                  <a:lnTo>
                    <a:pt x="642" y="272"/>
                  </a:lnTo>
                  <a:lnTo>
                    <a:pt x="638" y="274"/>
                  </a:lnTo>
                  <a:lnTo>
                    <a:pt x="634" y="276"/>
                  </a:lnTo>
                  <a:lnTo>
                    <a:pt x="630" y="278"/>
                  </a:lnTo>
                  <a:lnTo>
                    <a:pt x="628" y="278"/>
                  </a:lnTo>
                  <a:lnTo>
                    <a:pt x="628" y="280"/>
                  </a:lnTo>
                  <a:lnTo>
                    <a:pt x="626" y="280"/>
                  </a:lnTo>
                  <a:lnTo>
                    <a:pt x="626" y="282"/>
                  </a:lnTo>
                  <a:lnTo>
                    <a:pt x="626" y="284"/>
                  </a:lnTo>
                  <a:lnTo>
                    <a:pt x="626" y="286"/>
                  </a:lnTo>
                  <a:lnTo>
                    <a:pt x="624" y="288"/>
                  </a:lnTo>
                  <a:lnTo>
                    <a:pt x="626" y="290"/>
                  </a:lnTo>
                  <a:lnTo>
                    <a:pt x="626" y="292"/>
                  </a:lnTo>
                  <a:lnTo>
                    <a:pt x="626" y="294"/>
                  </a:lnTo>
                  <a:lnTo>
                    <a:pt x="626" y="296"/>
                  </a:lnTo>
                  <a:lnTo>
                    <a:pt x="626" y="296"/>
                  </a:lnTo>
                  <a:lnTo>
                    <a:pt x="628" y="298"/>
                  </a:lnTo>
                  <a:lnTo>
                    <a:pt x="630" y="300"/>
                  </a:lnTo>
                  <a:lnTo>
                    <a:pt x="632" y="302"/>
                  </a:lnTo>
                  <a:lnTo>
                    <a:pt x="634" y="304"/>
                  </a:lnTo>
                  <a:lnTo>
                    <a:pt x="636" y="306"/>
                  </a:lnTo>
                  <a:lnTo>
                    <a:pt x="638" y="308"/>
                  </a:lnTo>
                  <a:lnTo>
                    <a:pt x="640" y="308"/>
                  </a:lnTo>
                  <a:lnTo>
                    <a:pt x="642" y="310"/>
                  </a:lnTo>
                  <a:lnTo>
                    <a:pt x="644" y="310"/>
                  </a:lnTo>
                  <a:lnTo>
                    <a:pt x="646" y="310"/>
                  </a:lnTo>
                  <a:lnTo>
                    <a:pt x="648" y="312"/>
                  </a:lnTo>
                  <a:lnTo>
                    <a:pt x="650" y="312"/>
                  </a:lnTo>
                  <a:lnTo>
                    <a:pt x="652" y="312"/>
                  </a:lnTo>
                  <a:lnTo>
                    <a:pt x="654" y="312"/>
                  </a:lnTo>
                  <a:lnTo>
                    <a:pt x="656" y="312"/>
                  </a:lnTo>
                  <a:lnTo>
                    <a:pt x="658" y="310"/>
                  </a:lnTo>
                  <a:lnTo>
                    <a:pt x="658" y="310"/>
                  </a:lnTo>
                  <a:lnTo>
                    <a:pt x="658" y="310"/>
                  </a:lnTo>
                  <a:lnTo>
                    <a:pt x="660" y="308"/>
                  </a:lnTo>
                  <a:lnTo>
                    <a:pt x="662" y="308"/>
                  </a:lnTo>
                  <a:lnTo>
                    <a:pt x="662" y="306"/>
                  </a:lnTo>
                  <a:lnTo>
                    <a:pt x="664" y="304"/>
                  </a:lnTo>
                  <a:lnTo>
                    <a:pt x="666" y="302"/>
                  </a:lnTo>
                  <a:lnTo>
                    <a:pt x="668" y="300"/>
                  </a:lnTo>
                  <a:lnTo>
                    <a:pt x="668" y="300"/>
                  </a:lnTo>
                  <a:lnTo>
                    <a:pt x="668" y="300"/>
                  </a:lnTo>
                  <a:lnTo>
                    <a:pt x="670" y="300"/>
                  </a:lnTo>
                  <a:lnTo>
                    <a:pt x="674" y="298"/>
                  </a:lnTo>
                  <a:lnTo>
                    <a:pt x="676" y="298"/>
                  </a:lnTo>
                  <a:lnTo>
                    <a:pt x="680" y="298"/>
                  </a:lnTo>
                  <a:lnTo>
                    <a:pt x="682" y="300"/>
                  </a:lnTo>
                  <a:lnTo>
                    <a:pt x="686" y="300"/>
                  </a:lnTo>
                  <a:lnTo>
                    <a:pt x="686" y="300"/>
                  </a:lnTo>
                  <a:lnTo>
                    <a:pt x="688" y="300"/>
                  </a:lnTo>
                  <a:lnTo>
                    <a:pt x="690" y="302"/>
                  </a:lnTo>
                  <a:lnTo>
                    <a:pt x="690" y="302"/>
                  </a:lnTo>
                  <a:lnTo>
                    <a:pt x="690" y="302"/>
                  </a:lnTo>
                  <a:lnTo>
                    <a:pt x="692" y="304"/>
                  </a:lnTo>
                  <a:lnTo>
                    <a:pt x="692" y="304"/>
                  </a:lnTo>
                  <a:lnTo>
                    <a:pt x="692" y="306"/>
                  </a:lnTo>
                  <a:lnTo>
                    <a:pt x="694" y="308"/>
                  </a:lnTo>
                  <a:lnTo>
                    <a:pt x="694" y="312"/>
                  </a:lnTo>
                  <a:lnTo>
                    <a:pt x="696" y="314"/>
                  </a:lnTo>
                  <a:lnTo>
                    <a:pt x="696" y="316"/>
                  </a:lnTo>
                  <a:lnTo>
                    <a:pt x="696" y="318"/>
                  </a:lnTo>
                  <a:lnTo>
                    <a:pt x="696" y="318"/>
                  </a:lnTo>
                  <a:lnTo>
                    <a:pt x="696" y="320"/>
                  </a:lnTo>
                  <a:lnTo>
                    <a:pt x="696" y="322"/>
                  </a:lnTo>
                  <a:lnTo>
                    <a:pt x="696" y="322"/>
                  </a:lnTo>
                  <a:lnTo>
                    <a:pt x="694" y="322"/>
                  </a:lnTo>
                  <a:lnTo>
                    <a:pt x="694" y="324"/>
                  </a:lnTo>
                  <a:lnTo>
                    <a:pt x="692" y="324"/>
                  </a:lnTo>
                  <a:lnTo>
                    <a:pt x="692" y="324"/>
                  </a:lnTo>
                  <a:lnTo>
                    <a:pt x="690" y="326"/>
                  </a:lnTo>
                  <a:lnTo>
                    <a:pt x="686" y="326"/>
                  </a:lnTo>
                  <a:lnTo>
                    <a:pt x="680" y="328"/>
                  </a:lnTo>
                  <a:lnTo>
                    <a:pt x="678" y="328"/>
                  </a:lnTo>
                  <a:lnTo>
                    <a:pt x="676" y="328"/>
                  </a:lnTo>
                  <a:lnTo>
                    <a:pt x="676" y="328"/>
                  </a:lnTo>
                  <a:lnTo>
                    <a:pt x="672" y="330"/>
                  </a:lnTo>
                  <a:lnTo>
                    <a:pt x="670" y="332"/>
                  </a:lnTo>
                  <a:lnTo>
                    <a:pt x="666" y="334"/>
                  </a:lnTo>
                  <a:lnTo>
                    <a:pt x="664" y="336"/>
                  </a:lnTo>
                  <a:lnTo>
                    <a:pt x="662" y="338"/>
                  </a:lnTo>
                  <a:lnTo>
                    <a:pt x="662" y="340"/>
                  </a:lnTo>
                  <a:lnTo>
                    <a:pt x="660" y="340"/>
                  </a:lnTo>
                  <a:lnTo>
                    <a:pt x="660" y="342"/>
                  </a:lnTo>
                  <a:lnTo>
                    <a:pt x="660" y="342"/>
                  </a:lnTo>
                  <a:lnTo>
                    <a:pt x="660" y="344"/>
                  </a:lnTo>
                  <a:lnTo>
                    <a:pt x="660" y="344"/>
                  </a:lnTo>
                  <a:lnTo>
                    <a:pt x="660" y="346"/>
                  </a:lnTo>
                  <a:lnTo>
                    <a:pt x="660" y="346"/>
                  </a:lnTo>
                  <a:lnTo>
                    <a:pt x="660" y="350"/>
                  </a:lnTo>
                  <a:lnTo>
                    <a:pt x="662" y="352"/>
                  </a:lnTo>
                  <a:lnTo>
                    <a:pt x="662" y="354"/>
                  </a:lnTo>
                  <a:lnTo>
                    <a:pt x="664" y="356"/>
                  </a:lnTo>
                  <a:lnTo>
                    <a:pt x="666" y="362"/>
                  </a:lnTo>
                  <a:lnTo>
                    <a:pt x="668" y="368"/>
                  </a:lnTo>
                  <a:lnTo>
                    <a:pt x="672" y="374"/>
                  </a:lnTo>
                  <a:lnTo>
                    <a:pt x="674" y="378"/>
                  </a:lnTo>
                  <a:lnTo>
                    <a:pt x="676" y="380"/>
                  </a:lnTo>
                  <a:lnTo>
                    <a:pt x="676" y="384"/>
                  </a:lnTo>
                  <a:lnTo>
                    <a:pt x="678" y="386"/>
                  </a:lnTo>
                  <a:lnTo>
                    <a:pt x="680" y="388"/>
                  </a:lnTo>
                  <a:lnTo>
                    <a:pt x="680" y="388"/>
                  </a:lnTo>
                  <a:lnTo>
                    <a:pt x="682" y="390"/>
                  </a:lnTo>
                  <a:lnTo>
                    <a:pt x="688" y="396"/>
                  </a:lnTo>
                  <a:lnTo>
                    <a:pt x="692" y="398"/>
                  </a:lnTo>
                  <a:lnTo>
                    <a:pt x="694" y="400"/>
                  </a:lnTo>
                  <a:lnTo>
                    <a:pt x="696" y="402"/>
                  </a:lnTo>
                  <a:lnTo>
                    <a:pt x="696" y="402"/>
                  </a:lnTo>
                  <a:lnTo>
                    <a:pt x="696" y="404"/>
                  </a:lnTo>
                  <a:lnTo>
                    <a:pt x="698" y="406"/>
                  </a:lnTo>
                  <a:lnTo>
                    <a:pt x="698" y="406"/>
                  </a:lnTo>
                  <a:lnTo>
                    <a:pt x="698" y="406"/>
                  </a:lnTo>
                  <a:lnTo>
                    <a:pt x="698" y="408"/>
                  </a:lnTo>
                  <a:lnTo>
                    <a:pt x="698" y="412"/>
                  </a:lnTo>
                  <a:lnTo>
                    <a:pt x="698" y="414"/>
                  </a:lnTo>
                  <a:lnTo>
                    <a:pt x="698" y="418"/>
                  </a:lnTo>
                  <a:lnTo>
                    <a:pt x="698" y="420"/>
                  </a:lnTo>
                  <a:lnTo>
                    <a:pt x="698" y="422"/>
                  </a:lnTo>
                  <a:lnTo>
                    <a:pt x="698" y="424"/>
                  </a:lnTo>
                  <a:lnTo>
                    <a:pt x="698" y="426"/>
                  </a:lnTo>
                  <a:lnTo>
                    <a:pt x="700" y="430"/>
                  </a:lnTo>
                  <a:lnTo>
                    <a:pt x="700" y="436"/>
                  </a:lnTo>
                  <a:lnTo>
                    <a:pt x="702" y="440"/>
                  </a:lnTo>
                  <a:lnTo>
                    <a:pt x="702" y="442"/>
                  </a:lnTo>
                  <a:lnTo>
                    <a:pt x="702" y="444"/>
                  </a:lnTo>
                  <a:lnTo>
                    <a:pt x="704" y="448"/>
                  </a:lnTo>
                  <a:lnTo>
                    <a:pt x="706" y="454"/>
                  </a:lnTo>
                  <a:lnTo>
                    <a:pt x="708" y="460"/>
                  </a:lnTo>
                  <a:lnTo>
                    <a:pt x="708" y="464"/>
                  </a:lnTo>
                  <a:lnTo>
                    <a:pt x="710" y="466"/>
                  </a:lnTo>
                  <a:lnTo>
                    <a:pt x="710" y="470"/>
                  </a:lnTo>
                  <a:lnTo>
                    <a:pt x="710" y="472"/>
                  </a:lnTo>
                  <a:lnTo>
                    <a:pt x="710" y="474"/>
                  </a:lnTo>
                  <a:lnTo>
                    <a:pt x="710" y="476"/>
                  </a:lnTo>
                  <a:lnTo>
                    <a:pt x="710" y="478"/>
                  </a:lnTo>
                  <a:lnTo>
                    <a:pt x="710" y="478"/>
                  </a:lnTo>
                  <a:lnTo>
                    <a:pt x="710" y="480"/>
                  </a:lnTo>
                  <a:lnTo>
                    <a:pt x="708" y="480"/>
                  </a:lnTo>
                  <a:lnTo>
                    <a:pt x="708" y="482"/>
                  </a:lnTo>
                  <a:lnTo>
                    <a:pt x="708" y="482"/>
                  </a:lnTo>
                  <a:lnTo>
                    <a:pt x="708" y="482"/>
                  </a:lnTo>
                  <a:lnTo>
                    <a:pt x="706" y="482"/>
                  </a:lnTo>
                  <a:lnTo>
                    <a:pt x="704" y="482"/>
                  </a:lnTo>
                  <a:lnTo>
                    <a:pt x="702" y="482"/>
                  </a:lnTo>
                  <a:lnTo>
                    <a:pt x="700" y="482"/>
                  </a:lnTo>
                  <a:lnTo>
                    <a:pt x="700" y="482"/>
                  </a:lnTo>
                  <a:lnTo>
                    <a:pt x="700" y="482"/>
                  </a:lnTo>
                  <a:lnTo>
                    <a:pt x="698" y="484"/>
                  </a:lnTo>
                  <a:lnTo>
                    <a:pt x="698" y="484"/>
                  </a:lnTo>
                  <a:lnTo>
                    <a:pt x="698" y="484"/>
                  </a:lnTo>
                  <a:lnTo>
                    <a:pt x="698" y="486"/>
                  </a:lnTo>
                  <a:lnTo>
                    <a:pt x="698" y="488"/>
                  </a:lnTo>
                  <a:lnTo>
                    <a:pt x="698" y="490"/>
                  </a:lnTo>
                  <a:lnTo>
                    <a:pt x="698" y="494"/>
                  </a:lnTo>
                  <a:lnTo>
                    <a:pt x="696" y="496"/>
                  </a:lnTo>
                  <a:lnTo>
                    <a:pt x="696" y="496"/>
                  </a:lnTo>
                  <a:lnTo>
                    <a:pt x="696" y="498"/>
                  </a:lnTo>
                  <a:lnTo>
                    <a:pt x="696" y="498"/>
                  </a:lnTo>
                  <a:lnTo>
                    <a:pt x="696" y="498"/>
                  </a:lnTo>
                  <a:lnTo>
                    <a:pt x="694" y="500"/>
                  </a:lnTo>
                  <a:lnTo>
                    <a:pt x="692" y="502"/>
                  </a:lnTo>
                  <a:lnTo>
                    <a:pt x="690" y="504"/>
                  </a:lnTo>
                  <a:lnTo>
                    <a:pt x="686" y="506"/>
                  </a:lnTo>
                  <a:lnTo>
                    <a:pt x="686" y="506"/>
                  </a:lnTo>
                  <a:lnTo>
                    <a:pt x="684" y="508"/>
                  </a:lnTo>
                  <a:lnTo>
                    <a:pt x="682" y="508"/>
                  </a:lnTo>
                  <a:lnTo>
                    <a:pt x="682" y="510"/>
                  </a:lnTo>
                  <a:lnTo>
                    <a:pt x="682" y="510"/>
                  </a:lnTo>
                  <a:lnTo>
                    <a:pt x="682" y="512"/>
                  </a:lnTo>
                  <a:lnTo>
                    <a:pt x="682" y="512"/>
                  </a:lnTo>
                  <a:lnTo>
                    <a:pt x="682" y="514"/>
                  </a:lnTo>
                  <a:lnTo>
                    <a:pt x="682" y="516"/>
                  </a:lnTo>
                  <a:lnTo>
                    <a:pt x="684" y="520"/>
                  </a:lnTo>
                  <a:lnTo>
                    <a:pt x="684" y="522"/>
                  </a:lnTo>
                  <a:lnTo>
                    <a:pt x="684" y="524"/>
                  </a:lnTo>
                  <a:lnTo>
                    <a:pt x="684" y="526"/>
                  </a:lnTo>
                  <a:lnTo>
                    <a:pt x="684" y="526"/>
                  </a:lnTo>
                  <a:lnTo>
                    <a:pt x="684" y="528"/>
                  </a:lnTo>
                  <a:lnTo>
                    <a:pt x="684" y="528"/>
                  </a:lnTo>
                  <a:lnTo>
                    <a:pt x="684" y="530"/>
                  </a:lnTo>
                  <a:lnTo>
                    <a:pt x="682" y="530"/>
                  </a:lnTo>
                  <a:lnTo>
                    <a:pt x="682" y="532"/>
                  </a:lnTo>
                  <a:lnTo>
                    <a:pt x="680" y="532"/>
                  </a:lnTo>
                  <a:lnTo>
                    <a:pt x="678" y="534"/>
                  </a:lnTo>
                  <a:lnTo>
                    <a:pt x="676" y="536"/>
                  </a:lnTo>
                  <a:lnTo>
                    <a:pt x="674" y="538"/>
                  </a:lnTo>
                  <a:lnTo>
                    <a:pt x="672" y="538"/>
                  </a:lnTo>
                  <a:lnTo>
                    <a:pt x="670" y="538"/>
                  </a:lnTo>
                  <a:lnTo>
                    <a:pt x="668" y="538"/>
                  </a:lnTo>
                  <a:lnTo>
                    <a:pt x="668" y="538"/>
                  </a:lnTo>
                  <a:lnTo>
                    <a:pt x="664" y="538"/>
                  </a:lnTo>
                  <a:lnTo>
                    <a:pt x="664" y="538"/>
                  </a:lnTo>
                  <a:lnTo>
                    <a:pt x="662" y="540"/>
                  </a:lnTo>
                  <a:lnTo>
                    <a:pt x="660" y="540"/>
                  </a:lnTo>
                  <a:lnTo>
                    <a:pt x="660" y="540"/>
                  </a:lnTo>
                  <a:lnTo>
                    <a:pt x="660" y="540"/>
                  </a:lnTo>
                  <a:lnTo>
                    <a:pt x="660" y="540"/>
                  </a:lnTo>
                  <a:lnTo>
                    <a:pt x="658" y="542"/>
                  </a:lnTo>
                  <a:lnTo>
                    <a:pt x="658" y="542"/>
                  </a:lnTo>
                  <a:lnTo>
                    <a:pt x="658" y="544"/>
                  </a:lnTo>
                  <a:lnTo>
                    <a:pt x="658" y="546"/>
                  </a:lnTo>
                  <a:lnTo>
                    <a:pt x="658" y="548"/>
                  </a:lnTo>
                  <a:lnTo>
                    <a:pt x="658" y="550"/>
                  </a:lnTo>
                  <a:lnTo>
                    <a:pt x="658" y="552"/>
                  </a:lnTo>
                  <a:lnTo>
                    <a:pt x="658" y="552"/>
                  </a:lnTo>
                  <a:lnTo>
                    <a:pt x="658" y="554"/>
                  </a:lnTo>
                  <a:lnTo>
                    <a:pt x="658" y="554"/>
                  </a:lnTo>
                  <a:lnTo>
                    <a:pt x="658" y="554"/>
                  </a:lnTo>
                  <a:lnTo>
                    <a:pt x="656" y="556"/>
                  </a:lnTo>
                  <a:lnTo>
                    <a:pt x="656" y="556"/>
                  </a:lnTo>
                  <a:lnTo>
                    <a:pt x="654" y="556"/>
                  </a:lnTo>
                  <a:lnTo>
                    <a:pt x="654" y="556"/>
                  </a:lnTo>
                  <a:lnTo>
                    <a:pt x="652" y="556"/>
                  </a:lnTo>
                  <a:lnTo>
                    <a:pt x="650" y="558"/>
                  </a:lnTo>
                  <a:lnTo>
                    <a:pt x="648" y="558"/>
                  </a:lnTo>
                  <a:lnTo>
                    <a:pt x="646" y="558"/>
                  </a:lnTo>
                  <a:lnTo>
                    <a:pt x="646" y="558"/>
                  </a:lnTo>
                  <a:lnTo>
                    <a:pt x="646" y="558"/>
                  </a:lnTo>
                  <a:lnTo>
                    <a:pt x="646" y="560"/>
                  </a:lnTo>
                  <a:lnTo>
                    <a:pt x="646" y="560"/>
                  </a:lnTo>
                  <a:lnTo>
                    <a:pt x="644" y="562"/>
                  </a:lnTo>
                  <a:lnTo>
                    <a:pt x="644" y="564"/>
                  </a:lnTo>
                  <a:lnTo>
                    <a:pt x="644" y="566"/>
                  </a:lnTo>
                  <a:lnTo>
                    <a:pt x="644" y="568"/>
                  </a:lnTo>
                  <a:lnTo>
                    <a:pt x="644" y="570"/>
                  </a:lnTo>
                  <a:lnTo>
                    <a:pt x="644" y="572"/>
                  </a:lnTo>
                  <a:lnTo>
                    <a:pt x="644" y="572"/>
                  </a:lnTo>
                  <a:lnTo>
                    <a:pt x="644" y="572"/>
                  </a:lnTo>
                  <a:lnTo>
                    <a:pt x="642" y="574"/>
                  </a:lnTo>
                  <a:lnTo>
                    <a:pt x="642" y="574"/>
                  </a:lnTo>
                  <a:lnTo>
                    <a:pt x="640" y="576"/>
                  </a:lnTo>
                  <a:lnTo>
                    <a:pt x="638" y="576"/>
                  </a:lnTo>
                  <a:lnTo>
                    <a:pt x="636" y="576"/>
                  </a:lnTo>
                  <a:lnTo>
                    <a:pt x="632" y="578"/>
                  </a:lnTo>
                  <a:lnTo>
                    <a:pt x="628" y="578"/>
                  </a:lnTo>
                  <a:lnTo>
                    <a:pt x="624" y="580"/>
                  </a:lnTo>
                  <a:lnTo>
                    <a:pt x="620" y="580"/>
                  </a:lnTo>
                  <a:lnTo>
                    <a:pt x="618" y="580"/>
                  </a:lnTo>
                  <a:lnTo>
                    <a:pt x="616" y="580"/>
                  </a:lnTo>
                  <a:lnTo>
                    <a:pt x="614" y="580"/>
                  </a:lnTo>
                  <a:lnTo>
                    <a:pt x="608" y="578"/>
                  </a:lnTo>
                  <a:lnTo>
                    <a:pt x="604" y="578"/>
                  </a:lnTo>
                  <a:lnTo>
                    <a:pt x="602" y="578"/>
                  </a:lnTo>
                  <a:lnTo>
                    <a:pt x="600" y="578"/>
                  </a:lnTo>
                  <a:lnTo>
                    <a:pt x="596" y="578"/>
                  </a:lnTo>
                  <a:lnTo>
                    <a:pt x="594" y="578"/>
                  </a:lnTo>
                  <a:lnTo>
                    <a:pt x="590" y="580"/>
                  </a:lnTo>
                  <a:lnTo>
                    <a:pt x="588" y="580"/>
                  </a:lnTo>
                  <a:lnTo>
                    <a:pt x="584" y="582"/>
                  </a:lnTo>
                  <a:lnTo>
                    <a:pt x="582" y="582"/>
                  </a:lnTo>
                  <a:lnTo>
                    <a:pt x="578" y="584"/>
                  </a:lnTo>
                  <a:lnTo>
                    <a:pt x="576" y="586"/>
                  </a:lnTo>
                  <a:lnTo>
                    <a:pt x="574" y="586"/>
                  </a:lnTo>
                  <a:lnTo>
                    <a:pt x="572" y="588"/>
                  </a:lnTo>
                  <a:lnTo>
                    <a:pt x="568" y="592"/>
                  </a:lnTo>
                  <a:lnTo>
                    <a:pt x="564" y="594"/>
                  </a:lnTo>
                  <a:lnTo>
                    <a:pt x="560" y="598"/>
                  </a:lnTo>
                  <a:lnTo>
                    <a:pt x="554" y="602"/>
                  </a:lnTo>
                  <a:lnTo>
                    <a:pt x="552" y="604"/>
                  </a:lnTo>
                  <a:lnTo>
                    <a:pt x="552" y="606"/>
                  </a:lnTo>
                  <a:lnTo>
                    <a:pt x="550" y="608"/>
                  </a:lnTo>
                  <a:lnTo>
                    <a:pt x="548" y="610"/>
                  </a:lnTo>
                  <a:lnTo>
                    <a:pt x="546" y="610"/>
                  </a:lnTo>
                  <a:lnTo>
                    <a:pt x="546" y="612"/>
                  </a:lnTo>
                  <a:lnTo>
                    <a:pt x="546" y="612"/>
                  </a:lnTo>
                  <a:lnTo>
                    <a:pt x="544" y="612"/>
                  </a:lnTo>
                  <a:lnTo>
                    <a:pt x="544" y="612"/>
                  </a:lnTo>
                  <a:lnTo>
                    <a:pt x="542" y="612"/>
                  </a:lnTo>
                  <a:lnTo>
                    <a:pt x="542" y="610"/>
                  </a:lnTo>
                  <a:lnTo>
                    <a:pt x="542" y="610"/>
                  </a:lnTo>
                  <a:lnTo>
                    <a:pt x="542" y="608"/>
                  </a:lnTo>
                  <a:lnTo>
                    <a:pt x="540" y="608"/>
                  </a:lnTo>
                  <a:lnTo>
                    <a:pt x="540" y="606"/>
                  </a:lnTo>
                  <a:lnTo>
                    <a:pt x="540" y="602"/>
                  </a:lnTo>
                  <a:lnTo>
                    <a:pt x="540" y="600"/>
                  </a:lnTo>
                  <a:lnTo>
                    <a:pt x="540" y="596"/>
                  </a:lnTo>
                  <a:lnTo>
                    <a:pt x="540" y="594"/>
                  </a:lnTo>
                  <a:lnTo>
                    <a:pt x="538" y="594"/>
                  </a:lnTo>
                  <a:lnTo>
                    <a:pt x="538" y="592"/>
                  </a:lnTo>
                  <a:lnTo>
                    <a:pt x="538" y="592"/>
                  </a:lnTo>
                  <a:lnTo>
                    <a:pt x="536" y="590"/>
                  </a:lnTo>
                  <a:lnTo>
                    <a:pt x="536" y="590"/>
                  </a:lnTo>
                  <a:lnTo>
                    <a:pt x="534" y="588"/>
                  </a:lnTo>
                  <a:lnTo>
                    <a:pt x="534" y="588"/>
                  </a:lnTo>
                  <a:lnTo>
                    <a:pt x="532" y="588"/>
                  </a:lnTo>
                  <a:lnTo>
                    <a:pt x="532" y="586"/>
                  </a:lnTo>
                  <a:lnTo>
                    <a:pt x="530" y="586"/>
                  </a:lnTo>
                  <a:lnTo>
                    <a:pt x="530" y="586"/>
                  </a:lnTo>
                  <a:lnTo>
                    <a:pt x="528" y="586"/>
                  </a:lnTo>
                  <a:lnTo>
                    <a:pt x="528" y="588"/>
                  </a:lnTo>
                  <a:lnTo>
                    <a:pt x="528" y="588"/>
                  </a:lnTo>
                  <a:lnTo>
                    <a:pt x="526" y="588"/>
                  </a:lnTo>
                  <a:lnTo>
                    <a:pt x="526" y="590"/>
                  </a:lnTo>
                  <a:lnTo>
                    <a:pt x="526" y="592"/>
                  </a:lnTo>
                  <a:lnTo>
                    <a:pt x="524" y="592"/>
                  </a:lnTo>
                  <a:lnTo>
                    <a:pt x="524" y="596"/>
                  </a:lnTo>
                  <a:lnTo>
                    <a:pt x="524" y="598"/>
                  </a:lnTo>
                  <a:lnTo>
                    <a:pt x="522" y="602"/>
                  </a:lnTo>
                  <a:lnTo>
                    <a:pt x="522" y="604"/>
                  </a:lnTo>
                  <a:lnTo>
                    <a:pt x="520" y="600"/>
                  </a:lnTo>
                  <a:lnTo>
                    <a:pt x="518" y="596"/>
                  </a:lnTo>
                  <a:lnTo>
                    <a:pt x="514" y="590"/>
                  </a:lnTo>
                  <a:lnTo>
                    <a:pt x="512" y="586"/>
                  </a:lnTo>
                  <a:lnTo>
                    <a:pt x="508" y="580"/>
                  </a:lnTo>
                  <a:lnTo>
                    <a:pt x="506" y="578"/>
                  </a:lnTo>
                  <a:lnTo>
                    <a:pt x="504" y="576"/>
                  </a:lnTo>
                  <a:lnTo>
                    <a:pt x="502" y="574"/>
                  </a:lnTo>
                  <a:lnTo>
                    <a:pt x="502" y="572"/>
                  </a:lnTo>
                  <a:lnTo>
                    <a:pt x="500" y="572"/>
                  </a:lnTo>
                  <a:lnTo>
                    <a:pt x="498" y="572"/>
                  </a:lnTo>
                  <a:lnTo>
                    <a:pt x="496" y="570"/>
                  </a:lnTo>
                  <a:lnTo>
                    <a:pt x="494" y="568"/>
                  </a:lnTo>
                  <a:lnTo>
                    <a:pt x="490" y="568"/>
                  </a:lnTo>
                  <a:lnTo>
                    <a:pt x="488" y="566"/>
                  </a:lnTo>
                  <a:lnTo>
                    <a:pt x="484" y="566"/>
                  </a:lnTo>
                  <a:lnTo>
                    <a:pt x="478" y="566"/>
                  </a:lnTo>
                  <a:lnTo>
                    <a:pt x="476" y="564"/>
                  </a:lnTo>
                  <a:lnTo>
                    <a:pt x="470" y="564"/>
                  </a:lnTo>
                  <a:lnTo>
                    <a:pt x="466" y="564"/>
                  </a:lnTo>
                  <a:lnTo>
                    <a:pt x="464" y="564"/>
                  </a:lnTo>
                  <a:lnTo>
                    <a:pt x="464" y="566"/>
                  </a:lnTo>
                  <a:lnTo>
                    <a:pt x="462" y="566"/>
                  </a:lnTo>
                  <a:lnTo>
                    <a:pt x="460" y="566"/>
                  </a:lnTo>
                  <a:lnTo>
                    <a:pt x="458" y="568"/>
                  </a:lnTo>
                  <a:lnTo>
                    <a:pt x="454" y="570"/>
                  </a:lnTo>
                  <a:lnTo>
                    <a:pt x="450" y="572"/>
                  </a:lnTo>
                  <a:lnTo>
                    <a:pt x="444" y="576"/>
                  </a:lnTo>
                  <a:lnTo>
                    <a:pt x="440" y="578"/>
                  </a:lnTo>
                  <a:lnTo>
                    <a:pt x="440" y="578"/>
                  </a:lnTo>
                  <a:lnTo>
                    <a:pt x="436" y="580"/>
                  </a:lnTo>
                  <a:lnTo>
                    <a:pt x="434" y="580"/>
                  </a:lnTo>
                  <a:lnTo>
                    <a:pt x="432" y="580"/>
                  </a:lnTo>
                  <a:lnTo>
                    <a:pt x="430" y="582"/>
                  </a:lnTo>
                  <a:lnTo>
                    <a:pt x="430" y="582"/>
                  </a:lnTo>
                  <a:lnTo>
                    <a:pt x="430" y="582"/>
                  </a:lnTo>
                  <a:lnTo>
                    <a:pt x="430" y="584"/>
                  </a:lnTo>
                  <a:lnTo>
                    <a:pt x="428" y="584"/>
                  </a:lnTo>
                  <a:lnTo>
                    <a:pt x="430" y="586"/>
                  </a:lnTo>
                  <a:lnTo>
                    <a:pt x="430" y="586"/>
                  </a:lnTo>
                  <a:lnTo>
                    <a:pt x="430" y="588"/>
                  </a:lnTo>
                  <a:lnTo>
                    <a:pt x="430" y="590"/>
                  </a:lnTo>
                  <a:lnTo>
                    <a:pt x="432" y="592"/>
                  </a:lnTo>
                  <a:lnTo>
                    <a:pt x="432" y="594"/>
                  </a:lnTo>
                  <a:lnTo>
                    <a:pt x="432" y="596"/>
                  </a:lnTo>
                  <a:lnTo>
                    <a:pt x="432" y="596"/>
                  </a:lnTo>
                  <a:lnTo>
                    <a:pt x="432" y="598"/>
                  </a:lnTo>
                  <a:lnTo>
                    <a:pt x="432" y="598"/>
                  </a:lnTo>
                  <a:lnTo>
                    <a:pt x="432" y="598"/>
                  </a:lnTo>
                  <a:lnTo>
                    <a:pt x="430" y="600"/>
                  </a:lnTo>
                  <a:lnTo>
                    <a:pt x="428" y="600"/>
                  </a:lnTo>
                  <a:lnTo>
                    <a:pt x="428" y="600"/>
                  </a:lnTo>
                  <a:lnTo>
                    <a:pt x="426" y="600"/>
                  </a:lnTo>
                  <a:lnTo>
                    <a:pt x="424" y="600"/>
                  </a:lnTo>
                  <a:lnTo>
                    <a:pt x="420" y="600"/>
                  </a:lnTo>
                  <a:lnTo>
                    <a:pt x="418" y="600"/>
                  </a:lnTo>
                  <a:lnTo>
                    <a:pt x="414" y="600"/>
                  </a:lnTo>
                  <a:lnTo>
                    <a:pt x="412" y="600"/>
                  </a:lnTo>
                  <a:lnTo>
                    <a:pt x="412" y="600"/>
                  </a:lnTo>
                  <a:lnTo>
                    <a:pt x="410" y="596"/>
                  </a:lnTo>
                  <a:lnTo>
                    <a:pt x="410" y="594"/>
                  </a:lnTo>
                  <a:lnTo>
                    <a:pt x="410" y="592"/>
                  </a:lnTo>
                  <a:lnTo>
                    <a:pt x="408" y="592"/>
                  </a:lnTo>
                  <a:lnTo>
                    <a:pt x="408" y="590"/>
                  </a:lnTo>
                  <a:lnTo>
                    <a:pt x="408" y="590"/>
                  </a:lnTo>
                  <a:lnTo>
                    <a:pt x="408" y="590"/>
                  </a:lnTo>
                  <a:lnTo>
                    <a:pt x="406" y="590"/>
                  </a:lnTo>
                  <a:lnTo>
                    <a:pt x="406" y="590"/>
                  </a:lnTo>
                  <a:lnTo>
                    <a:pt x="404" y="590"/>
                  </a:lnTo>
                  <a:lnTo>
                    <a:pt x="400" y="590"/>
                  </a:lnTo>
                  <a:lnTo>
                    <a:pt x="398" y="588"/>
                  </a:lnTo>
                  <a:lnTo>
                    <a:pt x="396" y="588"/>
                  </a:lnTo>
                  <a:lnTo>
                    <a:pt x="396" y="588"/>
                  </a:lnTo>
                  <a:lnTo>
                    <a:pt x="396" y="588"/>
                  </a:lnTo>
                  <a:lnTo>
                    <a:pt x="394" y="588"/>
                  </a:lnTo>
                  <a:lnTo>
                    <a:pt x="394" y="588"/>
                  </a:lnTo>
                  <a:lnTo>
                    <a:pt x="394" y="586"/>
                  </a:lnTo>
                  <a:lnTo>
                    <a:pt x="392" y="586"/>
                  </a:lnTo>
                  <a:lnTo>
                    <a:pt x="392" y="584"/>
                  </a:lnTo>
                  <a:lnTo>
                    <a:pt x="392" y="582"/>
                  </a:lnTo>
                  <a:lnTo>
                    <a:pt x="392" y="580"/>
                  </a:lnTo>
                  <a:lnTo>
                    <a:pt x="392" y="576"/>
                  </a:lnTo>
                  <a:lnTo>
                    <a:pt x="392" y="570"/>
                  </a:lnTo>
                  <a:lnTo>
                    <a:pt x="390" y="566"/>
                  </a:lnTo>
                  <a:lnTo>
                    <a:pt x="390" y="566"/>
                  </a:lnTo>
                  <a:lnTo>
                    <a:pt x="390" y="564"/>
                  </a:lnTo>
                  <a:lnTo>
                    <a:pt x="390" y="560"/>
                  </a:lnTo>
                  <a:lnTo>
                    <a:pt x="388" y="558"/>
                  </a:lnTo>
                  <a:lnTo>
                    <a:pt x="388" y="556"/>
                  </a:lnTo>
                  <a:lnTo>
                    <a:pt x="386" y="554"/>
                  </a:lnTo>
                  <a:lnTo>
                    <a:pt x="386" y="552"/>
                  </a:lnTo>
                  <a:lnTo>
                    <a:pt x="384" y="550"/>
                  </a:lnTo>
                  <a:lnTo>
                    <a:pt x="384" y="550"/>
                  </a:lnTo>
                  <a:lnTo>
                    <a:pt x="382" y="548"/>
                  </a:lnTo>
                  <a:lnTo>
                    <a:pt x="382" y="548"/>
                  </a:lnTo>
                  <a:lnTo>
                    <a:pt x="382" y="548"/>
                  </a:lnTo>
                  <a:lnTo>
                    <a:pt x="380" y="548"/>
                  </a:lnTo>
                  <a:lnTo>
                    <a:pt x="380" y="548"/>
                  </a:lnTo>
                  <a:lnTo>
                    <a:pt x="376" y="548"/>
                  </a:lnTo>
                  <a:lnTo>
                    <a:pt x="374" y="548"/>
                  </a:lnTo>
                  <a:lnTo>
                    <a:pt x="372" y="548"/>
                  </a:lnTo>
                  <a:lnTo>
                    <a:pt x="370" y="548"/>
                  </a:lnTo>
                  <a:lnTo>
                    <a:pt x="368" y="548"/>
                  </a:lnTo>
                  <a:lnTo>
                    <a:pt x="368" y="548"/>
                  </a:lnTo>
                  <a:lnTo>
                    <a:pt x="368" y="546"/>
                  </a:lnTo>
                  <a:lnTo>
                    <a:pt x="366" y="546"/>
                  </a:lnTo>
                  <a:lnTo>
                    <a:pt x="366" y="546"/>
                  </a:lnTo>
                  <a:lnTo>
                    <a:pt x="366" y="544"/>
                  </a:lnTo>
                  <a:lnTo>
                    <a:pt x="366" y="544"/>
                  </a:lnTo>
                  <a:lnTo>
                    <a:pt x="366" y="542"/>
                  </a:lnTo>
                  <a:lnTo>
                    <a:pt x="366" y="540"/>
                  </a:lnTo>
                  <a:lnTo>
                    <a:pt x="366" y="538"/>
                  </a:lnTo>
                  <a:lnTo>
                    <a:pt x="366" y="536"/>
                  </a:lnTo>
                  <a:lnTo>
                    <a:pt x="368" y="534"/>
                  </a:lnTo>
                  <a:lnTo>
                    <a:pt x="368" y="534"/>
                  </a:lnTo>
                  <a:lnTo>
                    <a:pt x="368" y="532"/>
                  </a:lnTo>
                  <a:lnTo>
                    <a:pt x="370" y="532"/>
                  </a:lnTo>
                  <a:lnTo>
                    <a:pt x="372" y="530"/>
                  </a:lnTo>
                  <a:lnTo>
                    <a:pt x="372" y="530"/>
                  </a:lnTo>
                  <a:lnTo>
                    <a:pt x="376" y="528"/>
                  </a:lnTo>
                  <a:lnTo>
                    <a:pt x="376" y="528"/>
                  </a:lnTo>
                  <a:lnTo>
                    <a:pt x="378" y="526"/>
                  </a:lnTo>
                  <a:lnTo>
                    <a:pt x="380" y="524"/>
                  </a:lnTo>
                  <a:lnTo>
                    <a:pt x="382" y="520"/>
                  </a:lnTo>
                  <a:lnTo>
                    <a:pt x="382" y="518"/>
                  </a:lnTo>
                  <a:lnTo>
                    <a:pt x="384" y="516"/>
                  </a:lnTo>
                  <a:lnTo>
                    <a:pt x="384" y="516"/>
                  </a:lnTo>
                  <a:lnTo>
                    <a:pt x="384" y="514"/>
                  </a:lnTo>
                  <a:lnTo>
                    <a:pt x="384" y="512"/>
                  </a:lnTo>
                  <a:lnTo>
                    <a:pt x="384" y="512"/>
                  </a:lnTo>
                  <a:lnTo>
                    <a:pt x="384" y="510"/>
                  </a:lnTo>
                  <a:lnTo>
                    <a:pt x="382" y="508"/>
                  </a:lnTo>
                  <a:lnTo>
                    <a:pt x="382" y="506"/>
                  </a:lnTo>
                  <a:lnTo>
                    <a:pt x="380" y="500"/>
                  </a:lnTo>
                  <a:lnTo>
                    <a:pt x="378" y="498"/>
                  </a:lnTo>
                  <a:lnTo>
                    <a:pt x="378" y="494"/>
                  </a:lnTo>
                  <a:lnTo>
                    <a:pt x="376" y="492"/>
                  </a:lnTo>
                  <a:lnTo>
                    <a:pt x="376" y="492"/>
                  </a:lnTo>
                  <a:lnTo>
                    <a:pt x="376" y="490"/>
                  </a:lnTo>
                  <a:lnTo>
                    <a:pt x="374" y="488"/>
                  </a:lnTo>
                  <a:lnTo>
                    <a:pt x="374" y="488"/>
                  </a:lnTo>
                  <a:lnTo>
                    <a:pt x="374" y="488"/>
                  </a:lnTo>
                  <a:lnTo>
                    <a:pt x="372" y="488"/>
                  </a:lnTo>
                  <a:lnTo>
                    <a:pt x="372" y="488"/>
                  </a:lnTo>
                  <a:lnTo>
                    <a:pt x="370" y="488"/>
                  </a:lnTo>
                  <a:lnTo>
                    <a:pt x="368" y="488"/>
                  </a:lnTo>
                  <a:lnTo>
                    <a:pt x="364" y="488"/>
                  </a:lnTo>
                  <a:lnTo>
                    <a:pt x="362" y="490"/>
                  </a:lnTo>
                  <a:lnTo>
                    <a:pt x="360" y="490"/>
                  </a:lnTo>
                  <a:lnTo>
                    <a:pt x="358" y="490"/>
                  </a:lnTo>
                  <a:lnTo>
                    <a:pt x="356" y="488"/>
                  </a:lnTo>
                  <a:lnTo>
                    <a:pt x="354" y="484"/>
                  </a:lnTo>
                  <a:lnTo>
                    <a:pt x="352" y="482"/>
                  </a:lnTo>
                  <a:lnTo>
                    <a:pt x="350" y="480"/>
                  </a:lnTo>
                  <a:lnTo>
                    <a:pt x="350" y="478"/>
                  </a:lnTo>
                  <a:lnTo>
                    <a:pt x="348" y="476"/>
                  </a:lnTo>
                  <a:lnTo>
                    <a:pt x="346" y="474"/>
                  </a:lnTo>
                  <a:lnTo>
                    <a:pt x="344" y="474"/>
                  </a:lnTo>
                  <a:lnTo>
                    <a:pt x="342" y="472"/>
                  </a:lnTo>
                  <a:lnTo>
                    <a:pt x="340" y="470"/>
                  </a:lnTo>
                  <a:lnTo>
                    <a:pt x="338" y="470"/>
                  </a:lnTo>
                  <a:lnTo>
                    <a:pt x="336" y="468"/>
                  </a:lnTo>
                  <a:lnTo>
                    <a:pt x="334" y="468"/>
                  </a:lnTo>
                  <a:lnTo>
                    <a:pt x="332" y="466"/>
                  </a:lnTo>
                  <a:lnTo>
                    <a:pt x="328" y="466"/>
                  </a:lnTo>
                  <a:lnTo>
                    <a:pt x="326" y="466"/>
                  </a:lnTo>
                  <a:lnTo>
                    <a:pt x="322" y="466"/>
                  </a:lnTo>
                  <a:lnTo>
                    <a:pt x="320" y="466"/>
                  </a:lnTo>
                  <a:lnTo>
                    <a:pt x="316" y="466"/>
                  </a:lnTo>
                  <a:lnTo>
                    <a:pt x="314" y="466"/>
                  </a:lnTo>
                  <a:lnTo>
                    <a:pt x="310" y="466"/>
                  </a:lnTo>
                  <a:lnTo>
                    <a:pt x="308" y="466"/>
                  </a:lnTo>
                  <a:lnTo>
                    <a:pt x="306" y="468"/>
                  </a:lnTo>
                  <a:lnTo>
                    <a:pt x="304" y="468"/>
                  </a:lnTo>
                  <a:lnTo>
                    <a:pt x="302" y="470"/>
                  </a:lnTo>
                  <a:lnTo>
                    <a:pt x="300" y="472"/>
                  </a:lnTo>
                  <a:lnTo>
                    <a:pt x="296" y="472"/>
                  </a:lnTo>
                  <a:lnTo>
                    <a:pt x="294" y="474"/>
                  </a:lnTo>
                  <a:lnTo>
                    <a:pt x="292" y="476"/>
                  </a:lnTo>
                  <a:lnTo>
                    <a:pt x="290" y="476"/>
                  </a:lnTo>
                  <a:lnTo>
                    <a:pt x="290" y="478"/>
                  </a:lnTo>
                  <a:lnTo>
                    <a:pt x="288" y="480"/>
                  </a:lnTo>
                  <a:lnTo>
                    <a:pt x="286" y="484"/>
                  </a:lnTo>
                  <a:lnTo>
                    <a:pt x="284" y="488"/>
                  </a:lnTo>
                  <a:lnTo>
                    <a:pt x="280" y="488"/>
                  </a:lnTo>
                  <a:lnTo>
                    <a:pt x="274" y="488"/>
                  </a:lnTo>
                  <a:lnTo>
                    <a:pt x="270" y="488"/>
                  </a:lnTo>
                  <a:lnTo>
                    <a:pt x="266" y="488"/>
                  </a:lnTo>
                  <a:lnTo>
                    <a:pt x="262" y="488"/>
                  </a:lnTo>
                  <a:lnTo>
                    <a:pt x="260" y="488"/>
                  </a:lnTo>
                  <a:lnTo>
                    <a:pt x="260" y="488"/>
                  </a:lnTo>
                  <a:lnTo>
                    <a:pt x="258" y="488"/>
                  </a:lnTo>
                  <a:lnTo>
                    <a:pt x="254" y="486"/>
                  </a:lnTo>
                  <a:lnTo>
                    <a:pt x="250" y="484"/>
                  </a:lnTo>
                  <a:lnTo>
                    <a:pt x="246" y="482"/>
                  </a:lnTo>
                  <a:lnTo>
                    <a:pt x="244" y="480"/>
                  </a:lnTo>
                  <a:lnTo>
                    <a:pt x="236" y="494"/>
                  </a:lnTo>
                  <a:lnTo>
                    <a:pt x="230" y="492"/>
                  </a:lnTo>
                  <a:lnTo>
                    <a:pt x="226" y="490"/>
                  </a:lnTo>
                  <a:lnTo>
                    <a:pt x="224" y="490"/>
                  </a:lnTo>
                  <a:lnTo>
                    <a:pt x="222" y="490"/>
                  </a:lnTo>
                  <a:lnTo>
                    <a:pt x="218" y="490"/>
                  </a:lnTo>
                  <a:lnTo>
                    <a:pt x="214" y="488"/>
                  </a:lnTo>
                  <a:lnTo>
                    <a:pt x="206" y="488"/>
                  </a:lnTo>
                  <a:lnTo>
                    <a:pt x="202" y="488"/>
                  </a:lnTo>
                  <a:lnTo>
                    <a:pt x="196" y="488"/>
                  </a:lnTo>
                  <a:lnTo>
                    <a:pt x="194" y="488"/>
                  </a:lnTo>
                  <a:lnTo>
                    <a:pt x="192" y="488"/>
                  </a:lnTo>
                  <a:lnTo>
                    <a:pt x="190" y="488"/>
                  </a:lnTo>
                  <a:lnTo>
                    <a:pt x="188" y="486"/>
                  </a:lnTo>
                  <a:lnTo>
                    <a:pt x="186" y="486"/>
                  </a:lnTo>
                  <a:lnTo>
                    <a:pt x="182" y="484"/>
                  </a:lnTo>
                  <a:lnTo>
                    <a:pt x="176" y="480"/>
                  </a:lnTo>
                  <a:lnTo>
                    <a:pt x="172" y="478"/>
                  </a:lnTo>
                  <a:lnTo>
                    <a:pt x="170" y="476"/>
                  </a:lnTo>
                  <a:lnTo>
                    <a:pt x="168" y="476"/>
                  </a:lnTo>
                  <a:lnTo>
                    <a:pt x="166" y="476"/>
                  </a:lnTo>
                  <a:lnTo>
                    <a:pt x="164" y="474"/>
                  </a:lnTo>
                  <a:lnTo>
                    <a:pt x="164" y="474"/>
                  </a:lnTo>
                  <a:lnTo>
                    <a:pt x="164" y="472"/>
                  </a:lnTo>
                  <a:lnTo>
                    <a:pt x="164" y="472"/>
                  </a:lnTo>
                  <a:lnTo>
                    <a:pt x="164" y="470"/>
                  </a:lnTo>
                  <a:lnTo>
                    <a:pt x="164" y="470"/>
                  </a:lnTo>
                  <a:lnTo>
                    <a:pt x="164" y="466"/>
                  </a:lnTo>
                  <a:lnTo>
                    <a:pt x="164" y="464"/>
                  </a:lnTo>
                  <a:lnTo>
                    <a:pt x="164" y="462"/>
                  </a:lnTo>
                  <a:lnTo>
                    <a:pt x="164" y="460"/>
                  </a:lnTo>
                  <a:lnTo>
                    <a:pt x="164" y="460"/>
                  </a:lnTo>
                  <a:lnTo>
                    <a:pt x="164" y="458"/>
                  </a:lnTo>
                  <a:lnTo>
                    <a:pt x="164" y="458"/>
                  </a:lnTo>
                  <a:lnTo>
                    <a:pt x="164" y="456"/>
                  </a:lnTo>
                  <a:lnTo>
                    <a:pt x="162" y="456"/>
                  </a:lnTo>
                  <a:lnTo>
                    <a:pt x="162" y="456"/>
                  </a:lnTo>
                  <a:lnTo>
                    <a:pt x="162" y="456"/>
                  </a:lnTo>
                  <a:lnTo>
                    <a:pt x="162" y="458"/>
                  </a:lnTo>
                  <a:lnTo>
                    <a:pt x="160" y="458"/>
                  </a:lnTo>
                  <a:lnTo>
                    <a:pt x="160" y="460"/>
                  </a:lnTo>
                  <a:lnTo>
                    <a:pt x="160" y="462"/>
                  </a:lnTo>
                  <a:lnTo>
                    <a:pt x="160" y="464"/>
                  </a:lnTo>
                  <a:lnTo>
                    <a:pt x="160" y="464"/>
                  </a:lnTo>
                  <a:lnTo>
                    <a:pt x="158" y="466"/>
                  </a:lnTo>
                  <a:lnTo>
                    <a:pt x="158" y="466"/>
                  </a:lnTo>
                  <a:lnTo>
                    <a:pt x="158" y="466"/>
                  </a:lnTo>
                  <a:lnTo>
                    <a:pt x="158" y="466"/>
                  </a:lnTo>
                  <a:lnTo>
                    <a:pt x="156" y="466"/>
                  </a:lnTo>
                  <a:lnTo>
                    <a:pt x="156" y="466"/>
                  </a:lnTo>
                  <a:lnTo>
                    <a:pt x="156" y="466"/>
                  </a:lnTo>
                  <a:lnTo>
                    <a:pt x="154" y="466"/>
                  </a:lnTo>
                  <a:lnTo>
                    <a:pt x="152" y="466"/>
                  </a:lnTo>
                  <a:lnTo>
                    <a:pt x="150" y="464"/>
                  </a:lnTo>
                  <a:lnTo>
                    <a:pt x="148" y="464"/>
                  </a:lnTo>
                  <a:lnTo>
                    <a:pt x="146" y="462"/>
                  </a:lnTo>
                  <a:lnTo>
                    <a:pt x="142" y="460"/>
                  </a:lnTo>
                  <a:lnTo>
                    <a:pt x="140" y="458"/>
                  </a:lnTo>
                  <a:lnTo>
                    <a:pt x="140" y="456"/>
                  </a:lnTo>
                  <a:lnTo>
                    <a:pt x="136" y="454"/>
                  </a:lnTo>
                  <a:lnTo>
                    <a:pt x="134" y="452"/>
                  </a:lnTo>
                  <a:lnTo>
                    <a:pt x="132" y="450"/>
                  </a:lnTo>
                  <a:lnTo>
                    <a:pt x="132" y="448"/>
                  </a:lnTo>
                  <a:lnTo>
                    <a:pt x="130" y="448"/>
                  </a:lnTo>
                  <a:lnTo>
                    <a:pt x="130" y="448"/>
                  </a:lnTo>
                  <a:lnTo>
                    <a:pt x="130" y="448"/>
                  </a:lnTo>
                  <a:lnTo>
                    <a:pt x="128" y="448"/>
                  </a:lnTo>
                  <a:lnTo>
                    <a:pt x="126" y="446"/>
                  </a:lnTo>
                  <a:lnTo>
                    <a:pt x="124" y="446"/>
                  </a:lnTo>
                  <a:lnTo>
                    <a:pt x="120" y="446"/>
                  </a:lnTo>
                  <a:lnTo>
                    <a:pt x="116" y="446"/>
                  </a:lnTo>
                  <a:lnTo>
                    <a:pt x="114" y="446"/>
                  </a:lnTo>
                  <a:lnTo>
                    <a:pt x="112" y="446"/>
                  </a:lnTo>
                  <a:lnTo>
                    <a:pt x="108" y="442"/>
                  </a:lnTo>
                  <a:lnTo>
                    <a:pt x="106" y="440"/>
                  </a:lnTo>
                  <a:lnTo>
                    <a:pt x="104" y="438"/>
                  </a:lnTo>
                  <a:lnTo>
                    <a:pt x="102" y="436"/>
                  </a:lnTo>
                  <a:lnTo>
                    <a:pt x="100" y="434"/>
                  </a:lnTo>
                  <a:lnTo>
                    <a:pt x="100" y="434"/>
                  </a:lnTo>
                  <a:lnTo>
                    <a:pt x="98" y="434"/>
                  </a:lnTo>
                  <a:lnTo>
                    <a:pt x="96" y="434"/>
                  </a:lnTo>
                  <a:lnTo>
                    <a:pt x="92" y="434"/>
                  </a:lnTo>
                  <a:lnTo>
                    <a:pt x="90" y="432"/>
                  </a:lnTo>
                  <a:lnTo>
                    <a:pt x="86" y="432"/>
                  </a:lnTo>
                  <a:lnTo>
                    <a:pt x="84" y="432"/>
                  </a:lnTo>
                  <a:lnTo>
                    <a:pt x="82" y="432"/>
                  </a:lnTo>
                  <a:lnTo>
                    <a:pt x="82" y="432"/>
                  </a:lnTo>
                  <a:lnTo>
                    <a:pt x="80" y="430"/>
                  </a:lnTo>
                  <a:lnTo>
                    <a:pt x="80" y="430"/>
                  </a:lnTo>
                  <a:lnTo>
                    <a:pt x="78" y="428"/>
                  </a:lnTo>
                  <a:lnTo>
                    <a:pt x="78" y="428"/>
                  </a:lnTo>
                  <a:lnTo>
                    <a:pt x="78" y="426"/>
                  </a:lnTo>
                  <a:lnTo>
                    <a:pt x="78" y="424"/>
                  </a:lnTo>
                  <a:lnTo>
                    <a:pt x="78" y="422"/>
                  </a:lnTo>
                  <a:lnTo>
                    <a:pt x="78" y="422"/>
                  </a:lnTo>
                  <a:lnTo>
                    <a:pt x="78" y="418"/>
                  </a:lnTo>
                  <a:lnTo>
                    <a:pt x="80" y="414"/>
                  </a:lnTo>
                  <a:lnTo>
                    <a:pt x="80" y="410"/>
                  </a:lnTo>
                  <a:lnTo>
                    <a:pt x="80" y="408"/>
                  </a:lnTo>
                  <a:lnTo>
                    <a:pt x="80" y="406"/>
                  </a:lnTo>
                  <a:lnTo>
                    <a:pt x="80" y="406"/>
                  </a:lnTo>
                  <a:lnTo>
                    <a:pt x="80" y="404"/>
                  </a:lnTo>
                  <a:lnTo>
                    <a:pt x="78" y="402"/>
                  </a:lnTo>
                  <a:lnTo>
                    <a:pt x="78" y="402"/>
                  </a:lnTo>
                  <a:lnTo>
                    <a:pt x="76" y="400"/>
                  </a:lnTo>
                  <a:lnTo>
                    <a:pt x="74" y="398"/>
                  </a:lnTo>
                  <a:lnTo>
                    <a:pt x="72" y="398"/>
                  </a:lnTo>
                  <a:lnTo>
                    <a:pt x="72" y="396"/>
                  </a:lnTo>
                  <a:lnTo>
                    <a:pt x="70" y="396"/>
                  </a:lnTo>
                  <a:lnTo>
                    <a:pt x="68" y="396"/>
                  </a:lnTo>
                  <a:lnTo>
                    <a:pt x="66" y="394"/>
                  </a:lnTo>
                  <a:lnTo>
                    <a:pt x="64" y="394"/>
                  </a:lnTo>
                  <a:lnTo>
                    <a:pt x="62" y="394"/>
                  </a:lnTo>
                  <a:lnTo>
                    <a:pt x="60" y="394"/>
                  </a:lnTo>
                  <a:lnTo>
                    <a:pt x="58" y="394"/>
                  </a:lnTo>
                  <a:lnTo>
                    <a:pt x="56" y="394"/>
                  </a:lnTo>
                  <a:lnTo>
                    <a:pt x="54" y="394"/>
                  </a:lnTo>
                  <a:lnTo>
                    <a:pt x="52" y="394"/>
                  </a:lnTo>
                  <a:lnTo>
                    <a:pt x="50" y="394"/>
                  </a:lnTo>
                  <a:lnTo>
                    <a:pt x="50" y="394"/>
                  </a:lnTo>
                  <a:lnTo>
                    <a:pt x="46" y="396"/>
                  </a:lnTo>
                  <a:lnTo>
                    <a:pt x="42" y="398"/>
                  </a:lnTo>
                  <a:lnTo>
                    <a:pt x="40" y="400"/>
                  </a:lnTo>
                  <a:lnTo>
                    <a:pt x="34" y="404"/>
                  </a:lnTo>
                  <a:lnTo>
                    <a:pt x="32" y="406"/>
                  </a:lnTo>
                  <a:lnTo>
                    <a:pt x="30" y="406"/>
                  </a:lnTo>
                  <a:lnTo>
                    <a:pt x="26" y="402"/>
                  </a:lnTo>
                  <a:lnTo>
                    <a:pt x="22" y="402"/>
                  </a:lnTo>
                  <a:lnTo>
                    <a:pt x="20" y="400"/>
                  </a:lnTo>
                  <a:lnTo>
                    <a:pt x="18" y="398"/>
                  </a:lnTo>
                  <a:lnTo>
                    <a:pt x="18" y="398"/>
                  </a:lnTo>
                  <a:lnTo>
                    <a:pt x="18" y="396"/>
                  </a:lnTo>
                  <a:lnTo>
                    <a:pt x="18" y="396"/>
                  </a:lnTo>
                  <a:lnTo>
                    <a:pt x="18" y="394"/>
                  </a:lnTo>
                  <a:lnTo>
                    <a:pt x="18" y="394"/>
                  </a:lnTo>
                  <a:lnTo>
                    <a:pt x="18" y="392"/>
                  </a:lnTo>
                  <a:lnTo>
                    <a:pt x="18" y="390"/>
                  </a:lnTo>
                  <a:lnTo>
                    <a:pt x="18" y="386"/>
                  </a:lnTo>
                  <a:lnTo>
                    <a:pt x="18" y="384"/>
                  </a:lnTo>
                  <a:lnTo>
                    <a:pt x="20" y="380"/>
                  </a:lnTo>
                  <a:lnTo>
                    <a:pt x="20" y="378"/>
                  </a:lnTo>
                  <a:lnTo>
                    <a:pt x="20" y="378"/>
                  </a:lnTo>
                  <a:lnTo>
                    <a:pt x="20" y="376"/>
                  </a:lnTo>
                  <a:lnTo>
                    <a:pt x="18" y="376"/>
                  </a:lnTo>
                  <a:lnTo>
                    <a:pt x="18" y="374"/>
                  </a:lnTo>
                  <a:lnTo>
                    <a:pt x="16" y="372"/>
                  </a:lnTo>
                  <a:lnTo>
                    <a:pt x="14" y="370"/>
                  </a:lnTo>
                  <a:lnTo>
                    <a:pt x="12" y="368"/>
                  </a:lnTo>
                  <a:lnTo>
                    <a:pt x="12" y="368"/>
                  </a:lnTo>
                  <a:lnTo>
                    <a:pt x="12" y="366"/>
                  </a:lnTo>
                  <a:lnTo>
                    <a:pt x="12" y="366"/>
                  </a:lnTo>
                  <a:lnTo>
                    <a:pt x="12" y="366"/>
                  </a:lnTo>
                  <a:lnTo>
                    <a:pt x="12" y="364"/>
                  </a:lnTo>
                  <a:lnTo>
                    <a:pt x="12" y="362"/>
                  </a:lnTo>
                  <a:lnTo>
                    <a:pt x="12" y="360"/>
                  </a:lnTo>
                  <a:lnTo>
                    <a:pt x="12" y="358"/>
                  </a:lnTo>
                  <a:lnTo>
                    <a:pt x="14" y="354"/>
                  </a:lnTo>
                  <a:lnTo>
                    <a:pt x="14" y="352"/>
                  </a:lnTo>
                  <a:lnTo>
                    <a:pt x="18" y="328"/>
                  </a:lnTo>
                  <a:lnTo>
                    <a:pt x="18" y="328"/>
                  </a:lnTo>
                  <a:lnTo>
                    <a:pt x="18" y="326"/>
                  </a:lnTo>
                  <a:lnTo>
                    <a:pt x="18" y="322"/>
                  </a:lnTo>
                  <a:lnTo>
                    <a:pt x="20" y="320"/>
                  </a:lnTo>
                  <a:lnTo>
                    <a:pt x="20" y="318"/>
                  </a:lnTo>
                  <a:lnTo>
                    <a:pt x="18" y="318"/>
                  </a:lnTo>
                  <a:lnTo>
                    <a:pt x="18" y="316"/>
                  </a:lnTo>
                  <a:lnTo>
                    <a:pt x="18" y="316"/>
                  </a:lnTo>
                  <a:lnTo>
                    <a:pt x="18" y="316"/>
                  </a:lnTo>
                  <a:lnTo>
                    <a:pt x="18" y="316"/>
                  </a:lnTo>
                  <a:lnTo>
                    <a:pt x="18" y="316"/>
                  </a:lnTo>
                  <a:lnTo>
                    <a:pt x="16" y="316"/>
                  </a:lnTo>
                  <a:lnTo>
                    <a:pt x="16" y="318"/>
                  </a:lnTo>
                  <a:lnTo>
                    <a:pt x="16" y="318"/>
                  </a:lnTo>
                  <a:lnTo>
                    <a:pt x="16" y="318"/>
                  </a:lnTo>
                  <a:lnTo>
                    <a:pt x="14" y="318"/>
                  </a:lnTo>
                  <a:lnTo>
                    <a:pt x="14" y="318"/>
                  </a:lnTo>
                  <a:lnTo>
                    <a:pt x="12" y="316"/>
                  </a:lnTo>
                  <a:lnTo>
                    <a:pt x="8" y="316"/>
                  </a:lnTo>
                  <a:lnTo>
                    <a:pt x="6" y="314"/>
                  </a:lnTo>
                  <a:lnTo>
                    <a:pt x="4" y="312"/>
                  </a:lnTo>
                  <a:lnTo>
                    <a:pt x="2" y="312"/>
                  </a:lnTo>
                  <a:lnTo>
                    <a:pt x="2" y="310"/>
                  </a:lnTo>
                  <a:lnTo>
                    <a:pt x="0" y="308"/>
                  </a:lnTo>
                  <a:lnTo>
                    <a:pt x="0" y="308"/>
                  </a:lnTo>
                  <a:lnTo>
                    <a:pt x="0" y="306"/>
                  </a:lnTo>
                  <a:lnTo>
                    <a:pt x="0" y="306"/>
                  </a:lnTo>
                  <a:lnTo>
                    <a:pt x="0" y="304"/>
                  </a:lnTo>
                  <a:lnTo>
                    <a:pt x="0" y="302"/>
                  </a:lnTo>
                  <a:lnTo>
                    <a:pt x="0" y="300"/>
                  </a:lnTo>
                  <a:lnTo>
                    <a:pt x="0" y="296"/>
                  </a:lnTo>
                  <a:lnTo>
                    <a:pt x="0" y="292"/>
                  </a:lnTo>
                  <a:lnTo>
                    <a:pt x="0" y="290"/>
                  </a:lnTo>
                  <a:lnTo>
                    <a:pt x="2" y="288"/>
                  </a:lnTo>
                  <a:lnTo>
                    <a:pt x="2" y="284"/>
                  </a:lnTo>
                  <a:lnTo>
                    <a:pt x="4" y="284"/>
                  </a:lnTo>
                  <a:lnTo>
                    <a:pt x="4" y="282"/>
                  </a:lnTo>
                  <a:lnTo>
                    <a:pt x="6" y="280"/>
                  </a:lnTo>
                  <a:lnTo>
                    <a:pt x="8" y="280"/>
                  </a:lnTo>
                  <a:lnTo>
                    <a:pt x="10" y="278"/>
                  </a:lnTo>
                  <a:lnTo>
                    <a:pt x="10" y="278"/>
                  </a:lnTo>
                  <a:lnTo>
                    <a:pt x="12" y="276"/>
                  </a:lnTo>
                  <a:lnTo>
                    <a:pt x="14" y="276"/>
                  </a:lnTo>
                  <a:lnTo>
                    <a:pt x="14" y="276"/>
                  </a:lnTo>
                  <a:lnTo>
                    <a:pt x="16" y="276"/>
                  </a:lnTo>
                  <a:lnTo>
                    <a:pt x="16" y="276"/>
                  </a:lnTo>
                  <a:lnTo>
                    <a:pt x="18" y="278"/>
                  </a:lnTo>
                  <a:lnTo>
                    <a:pt x="20" y="278"/>
                  </a:lnTo>
                  <a:lnTo>
                    <a:pt x="22" y="280"/>
                  </a:lnTo>
                  <a:lnTo>
                    <a:pt x="24" y="280"/>
                  </a:lnTo>
                  <a:lnTo>
                    <a:pt x="26" y="284"/>
                  </a:lnTo>
                  <a:lnTo>
                    <a:pt x="30" y="286"/>
                  </a:lnTo>
                  <a:lnTo>
                    <a:pt x="32" y="288"/>
                  </a:lnTo>
                  <a:lnTo>
                    <a:pt x="36" y="290"/>
                  </a:lnTo>
                  <a:lnTo>
                    <a:pt x="36" y="290"/>
                  </a:lnTo>
                  <a:lnTo>
                    <a:pt x="38" y="288"/>
                  </a:lnTo>
                  <a:lnTo>
                    <a:pt x="40" y="284"/>
                  </a:lnTo>
                  <a:lnTo>
                    <a:pt x="42" y="284"/>
                  </a:lnTo>
                  <a:lnTo>
                    <a:pt x="42" y="282"/>
                  </a:lnTo>
                  <a:lnTo>
                    <a:pt x="42" y="282"/>
                  </a:lnTo>
                  <a:lnTo>
                    <a:pt x="42" y="280"/>
                  </a:lnTo>
                  <a:lnTo>
                    <a:pt x="40" y="278"/>
                  </a:lnTo>
                  <a:lnTo>
                    <a:pt x="40" y="276"/>
                  </a:lnTo>
                  <a:lnTo>
                    <a:pt x="40" y="276"/>
                  </a:lnTo>
                  <a:lnTo>
                    <a:pt x="40" y="274"/>
                  </a:lnTo>
                  <a:lnTo>
                    <a:pt x="40" y="274"/>
                  </a:lnTo>
                  <a:lnTo>
                    <a:pt x="40" y="274"/>
                  </a:lnTo>
                  <a:lnTo>
                    <a:pt x="42" y="272"/>
                  </a:lnTo>
                  <a:lnTo>
                    <a:pt x="42" y="272"/>
                  </a:lnTo>
                  <a:lnTo>
                    <a:pt x="44" y="272"/>
                  </a:lnTo>
                  <a:lnTo>
                    <a:pt x="46" y="272"/>
                  </a:lnTo>
                  <a:lnTo>
                    <a:pt x="46" y="270"/>
                  </a:lnTo>
                  <a:lnTo>
                    <a:pt x="48" y="270"/>
                  </a:lnTo>
                  <a:lnTo>
                    <a:pt x="52" y="270"/>
                  </a:lnTo>
                  <a:lnTo>
                    <a:pt x="56" y="270"/>
                  </a:lnTo>
                  <a:lnTo>
                    <a:pt x="60" y="270"/>
                  </a:lnTo>
                  <a:lnTo>
                    <a:pt x="62" y="270"/>
                  </a:lnTo>
                  <a:lnTo>
                    <a:pt x="64" y="270"/>
                  </a:lnTo>
                  <a:lnTo>
                    <a:pt x="64" y="270"/>
                  </a:lnTo>
                  <a:lnTo>
                    <a:pt x="66" y="268"/>
                  </a:lnTo>
                  <a:lnTo>
                    <a:pt x="66" y="268"/>
                  </a:lnTo>
                  <a:lnTo>
                    <a:pt x="66" y="266"/>
                  </a:lnTo>
                  <a:lnTo>
                    <a:pt x="68" y="264"/>
                  </a:lnTo>
                  <a:lnTo>
                    <a:pt x="70" y="262"/>
                  </a:lnTo>
                  <a:lnTo>
                    <a:pt x="70" y="260"/>
                  </a:lnTo>
                  <a:lnTo>
                    <a:pt x="70" y="260"/>
                  </a:lnTo>
                  <a:lnTo>
                    <a:pt x="72" y="260"/>
                  </a:lnTo>
                  <a:lnTo>
                    <a:pt x="74" y="258"/>
                  </a:lnTo>
                  <a:lnTo>
                    <a:pt x="76" y="258"/>
                  </a:lnTo>
                  <a:lnTo>
                    <a:pt x="78" y="256"/>
                  </a:lnTo>
                  <a:lnTo>
                    <a:pt x="80" y="256"/>
                  </a:lnTo>
                  <a:lnTo>
                    <a:pt x="82" y="256"/>
                  </a:lnTo>
                  <a:lnTo>
                    <a:pt x="82" y="256"/>
                  </a:lnTo>
                  <a:lnTo>
                    <a:pt x="82" y="254"/>
                  </a:lnTo>
                  <a:lnTo>
                    <a:pt x="82" y="252"/>
                  </a:lnTo>
                  <a:lnTo>
                    <a:pt x="84" y="250"/>
                  </a:lnTo>
                  <a:lnTo>
                    <a:pt x="84" y="248"/>
                  </a:lnTo>
                  <a:lnTo>
                    <a:pt x="86" y="246"/>
                  </a:lnTo>
                  <a:lnTo>
                    <a:pt x="86" y="244"/>
                  </a:lnTo>
                  <a:lnTo>
                    <a:pt x="86" y="240"/>
                  </a:lnTo>
                  <a:lnTo>
                    <a:pt x="86" y="238"/>
                  </a:lnTo>
                  <a:lnTo>
                    <a:pt x="86" y="234"/>
                  </a:lnTo>
                  <a:lnTo>
                    <a:pt x="86" y="232"/>
                  </a:lnTo>
                  <a:lnTo>
                    <a:pt x="86" y="228"/>
                  </a:lnTo>
                  <a:lnTo>
                    <a:pt x="86" y="226"/>
                  </a:lnTo>
                  <a:lnTo>
                    <a:pt x="86" y="224"/>
                  </a:lnTo>
                  <a:lnTo>
                    <a:pt x="86" y="220"/>
                  </a:lnTo>
                  <a:lnTo>
                    <a:pt x="84" y="218"/>
                  </a:lnTo>
                  <a:lnTo>
                    <a:pt x="84" y="216"/>
                  </a:lnTo>
                  <a:lnTo>
                    <a:pt x="84" y="214"/>
                  </a:lnTo>
                  <a:lnTo>
                    <a:pt x="82" y="214"/>
                  </a:lnTo>
                  <a:lnTo>
                    <a:pt x="82" y="214"/>
                  </a:lnTo>
                  <a:lnTo>
                    <a:pt x="80" y="212"/>
                  </a:lnTo>
                  <a:lnTo>
                    <a:pt x="80" y="212"/>
                  </a:lnTo>
                  <a:lnTo>
                    <a:pt x="78" y="212"/>
                  </a:lnTo>
                  <a:lnTo>
                    <a:pt x="76" y="212"/>
                  </a:lnTo>
                  <a:lnTo>
                    <a:pt x="74" y="212"/>
                  </a:lnTo>
                  <a:lnTo>
                    <a:pt x="74" y="210"/>
                  </a:lnTo>
                  <a:lnTo>
                    <a:pt x="72" y="210"/>
                  </a:lnTo>
                  <a:lnTo>
                    <a:pt x="72" y="210"/>
                  </a:lnTo>
                  <a:lnTo>
                    <a:pt x="72" y="210"/>
                  </a:lnTo>
                  <a:lnTo>
                    <a:pt x="72" y="208"/>
                  </a:lnTo>
                  <a:lnTo>
                    <a:pt x="72" y="208"/>
                  </a:lnTo>
                  <a:lnTo>
                    <a:pt x="72" y="206"/>
                  </a:lnTo>
                  <a:lnTo>
                    <a:pt x="72" y="206"/>
                  </a:lnTo>
                  <a:lnTo>
                    <a:pt x="74" y="204"/>
                  </a:lnTo>
                  <a:lnTo>
                    <a:pt x="74" y="202"/>
                  </a:lnTo>
                  <a:lnTo>
                    <a:pt x="74" y="202"/>
                  </a:lnTo>
                  <a:lnTo>
                    <a:pt x="76" y="200"/>
                  </a:lnTo>
                  <a:lnTo>
                    <a:pt x="76" y="200"/>
                  </a:lnTo>
                  <a:lnTo>
                    <a:pt x="78" y="198"/>
                  </a:lnTo>
                  <a:lnTo>
                    <a:pt x="80" y="198"/>
                  </a:lnTo>
                  <a:lnTo>
                    <a:pt x="82" y="198"/>
                  </a:lnTo>
                  <a:lnTo>
                    <a:pt x="84" y="198"/>
                  </a:lnTo>
                  <a:lnTo>
                    <a:pt x="88" y="196"/>
                  </a:lnTo>
                  <a:lnTo>
                    <a:pt x="94" y="196"/>
                  </a:lnTo>
                  <a:lnTo>
                    <a:pt x="98" y="196"/>
                  </a:lnTo>
                  <a:lnTo>
                    <a:pt x="102" y="196"/>
                  </a:lnTo>
                  <a:lnTo>
                    <a:pt x="106" y="196"/>
                  </a:lnTo>
                  <a:lnTo>
                    <a:pt x="108" y="192"/>
                  </a:lnTo>
                  <a:lnTo>
                    <a:pt x="110" y="190"/>
                  </a:lnTo>
                  <a:lnTo>
                    <a:pt x="110" y="190"/>
                  </a:lnTo>
                  <a:lnTo>
                    <a:pt x="110" y="188"/>
                  </a:lnTo>
                  <a:lnTo>
                    <a:pt x="112" y="186"/>
                  </a:lnTo>
                  <a:lnTo>
                    <a:pt x="112" y="186"/>
                  </a:lnTo>
                  <a:lnTo>
                    <a:pt x="112" y="184"/>
                  </a:lnTo>
                  <a:lnTo>
                    <a:pt x="112" y="180"/>
                  </a:lnTo>
                  <a:lnTo>
                    <a:pt x="112" y="178"/>
                  </a:lnTo>
                  <a:lnTo>
                    <a:pt x="110" y="174"/>
                  </a:lnTo>
                  <a:lnTo>
                    <a:pt x="110" y="172"/>
                  </a:lnTo>
                  <a:lnTo>
                    <a:pt x="112" y="170"/>
                  </a:lnTo>
                  <a:lnTo>
                    <a:pt x="112" y="170"/>
                  </a:lnTo>
                  <a:lnTo>
                    <a:pt x="112" y="168"/>
                  </a:lnTo>
                  <a:lnTo>
                    <a:pt x="112" y="168"/>
                  </a:lnTo>
                  <a:lnTo>
                    <a:pt x="112" y="168"/>
                  </a:lnTo>
                  <a:lnTo>
                    <a:pt x="114" y="166"/>
                  </a:lnTo>
                  <a:lnTo>
                    <a:pt x="114" y="166"/>
                  </a:lnTo>
                  <a:lnTo>
                    <a:pt x="116" y="164"/>
                  </a:lnTo>
                  <a:lnTo>
                    <a:pt x="118" y="162"/>
                  </a:lnTo>
                  <a:lnTo>
                    <a:pt x="122" y="162"/>
                  </a:lnTo>
                  <a:lnTo>
                    <a:pt x="124" y="162"/>
                  </a:lnTo>
                  <a:lnTo>
                    <a:pt x="126" y="160"/>
                  </a:lnTo>
                  <a:lnTo>
                    <a:pt x="128" y="160"/>
                  </a:lnTo>
                  <a:lnTo>
                    <a:pt x="128" y="160"/>
                  </a:lnTo>
                  <a:lnTo>
                    <a:pt x="130" y="160"/>
                  </a:lnTo>
                  <a:lnTo>
                    <a:pt x="132" y="162"/>
                  </a:lnTo>
                  <a:lnTo>
                    <a:pt x="134" y="162"/>
                  </a:lnTo>
                  <a:lnTo>
                    <a:pt x="136" y="164"/>
                  </a:lnTo>
                  <a:lnTo>
                    <a:pt x="138" y="164"/>
                  </a:lnTo>
                  <a:lnTo>
                    <a:pt x="142" y="166"/>
                  </a:lnTo>
                  <a:lnTo>
                    <a:pt x="142" y="166"/>
                  </a:lnTo>
                  <a:lnTo>
                    <a:pt x="144" y="166"/>
                  </a:lnTo>
                  <a:lnTo>
                    <a:pt x="144" y="166"/>
                  </a:lnTo>
                  <a:lnTo>
                    <a:pt x="144" y="166"/>
                  </a:lnTo>
                  <a:lnTo>
                    <a:pt x="146" y="164"/>
                  </a:lnTo>
                  <a:lnTo>
                    <a:pt x="146" y="164"/>
                  </a:lnTo>
                  <a:lnTo>
                    <a:pt x="146" y="164"/>
                  </a:lnTo>
                  <a:lnTo>
                    <a:pt x="146" y="162"/>
                  </a:lnTo>
                  <a:lnTo>
                    <a:pt x="148" y="162"/>
                  </a:lnTo>
                  <a:lnTo>
                    <a:pt x="148" y="160"/>
                  </a:lnTo>
                  <a:lnTo>
                    <a:pt x="148" y="158"/>
                  </a:lnTo>
                  <a:lnTo>
                    <a:pt x="148" y="156"/>
                  </a:lnTo>
                  <a:lnTo>
                    <a:pt x="150" y="150"/>
                  </a:lnTo>
                  <a:lnTo>
                    <a:pt x="150" y="146"/>
                  </a:lnTo>
                  <a:lnTo>
                    <a:pt x="150" y="140"/>
                  </a:lnTo>
                  <a:lnTo>
                    <a:pt x="150" y="138"/>
                  </a:lnTo>
                  <a:lnTo>
                    <a:pt x="150" y="136"/>
                  </a:lnTo>
                  <a:lnTo>
                    <a:pt x="150" y="134"/>
                  </a:lnTo>
                  <a:lnTo>
                    <a:pt x="152" y="132"/>
                  </a:lnTo>
                  <a:lnTo>
                    <a:pt x="152" y="132"/>
                  </a:lnTo>
                  <a:lnTo>
                    <a:pt x="152" y="130"/>
                  </a:lnTo>
                  <a:lnTo>
                    <a:pt x="154" y="128"/>
                  </a:lnTo>
                  <a:lnTo>
                    <a:pt x="156" y="126"/>
                  </a:lnTo>
                  <a:lnTo>
                    <a:pt x="158" y="126"/>
                  </a:lnTo>
                  <a:lnTo>
                    <a:pt x="158" y="126"/>
                  </a:lnTo>
                  <a:lnTo>
                    <a:pt x="160" y="124"/>
                  </a:lnTo>
                  <a:lnTo>
                    <a:pt x="162" y="124"/>
                  </a:lnTo>
                  <a:lnTo>
                    <a:pt x="164" y="124"/>
                  </a:lnTo>
                  <a:lnTo>
                    <a:pt x="166" y="124"/>
                  </a:lnTo>
                  <a:lnTo>
                    <a:pt x="168" y="124"/>
                  </a:lnTo>
                  <a:lnTo>
                    <a:pt x="170" y="124"/>
                  </a:lnTo>
                  <a:lnTo>
                    <a:pt x="170" y="122"/>
                  </a:lnTo>
                  <a:lnTo>
                    <a:pt x="170" y="122"/>
                  </a:lnTo>
                  <a:lnTo>
                    <a:pt x="170" y="122"/>
                  </a:lnTo>
                  <a:lnTo>
                    <a:pt x="170" y="122"/>
                  </a:lnTo>
                  <a:lnTo>
                    <a:pt x="172" y="120"/>
                  </a:lnTo>
                  <a:lnTo>
                    <a:pt x="172" y="118"/>
                  </a:lnTo>
                  <a:lnTo>
                    <a:pt x="172" y="118"/>
                  </a:lnTo>
                  <a:lnTo>
                    <a:pt x="172" y="114"/>
                  </a:lnTo>
                  <a:lnTo>
                    <a:pt x="174" y="112"/>
                  </a:lnTo>
                  <a:lnTo>
                    <a:pt x="174" y="112"/>
                  </a:lnTo>
                  <a:lnTo>
                    <a:pt x="174" y="110"/>
                  </a:lnTo>
                  <a:lnTo>
                    <a:pt x="176" y="110"/>
                  </a:lnTo>
                  <a:lnTo>
                    <a:pt x="178" y="108"/>
                  </a:lnTo>
                  <a:lnTo>
                    <a:pt x="182" y="106"/>
                  </a:lnTo>
                  <a:lnTo>
                    <a:pt x="182" y="104"/>
                  </a:lnTo>
                  <a:lnTo>
                    <a:pt x="186" y="110"/>
                  </a:lnTo>
                  <a:lnTo>
                    <a:pt x="188" y="114"/>
                  </a:lnTo>
                  <a:lnTo>
                    <a:pt x="190" y="114"/>
                  </a:lnTo>
                  <a:lnTo>
                    <a:pt x="190" y="116"/>
                  </a:lnTo>
                  <a:lnTo>
                    <a:pt x="192" y="116"/>
                  </a:lnTo>
                  <a:lnTo>
                    <a:pt x="192" y="118"/>
                  </a:lnTo>
                  <a:lnTo>
                    <a:pt x="194" y="118"/>
                  </a:lnTo>
                  <a:lnTo>
                    <a:pt x="198" y="120"/>
                  </a:lnTo>
                  <a:lnTo>
                    <a:pt x="202" y="122"/>
                  </a:lnTo>
                  <a:lnTo>
                    <a:pt x="204" y="122"/>
                  </a:lnTo>
                  <a:lnTo>
                    <a:pt x="208" y="124"/>
                  </a:lnTo>
                  <a:lnTo>
                    <a:pt x="208" y="124"/>
                  </a:lnTo>
                  <a:lnTo>
                    <a:pt x="210" y="126"/>
                  </a:lnTo>
                  <a:lnTo>
                    <a:pt x="210" y="126"/>
                  </a:lnTo>
                  <a:lnTo>
                    <a:pt x="212" y="128"/>
                  </a:lnTo>
                  <a:lnTo>
                    <a:pt x="212" y="128"/>
                  </a:lnTo>
                  <a:lnTo>
                    <a:pt x="212" y="128"/>
                  </a:lnTo>
                  <a:lnTo>
                    <a:pt x="214" y="130"/>
                  </a:lnTo>
                  <a:lnTo>
                    <a:pt x="214" y="132"/>
                  </a:lnTo>
                  <a:lnTo>
                    <a:pt x="214" y="134"/>
                  </a:lnTo>
                  <a:lnTo>
                    <a:pt x="216" y="140"/>
                  </a:lnTo>
                  <a:lnTo>
                    <a:pt x="216" y="142"/>
                  </a:lnTo>
                  <a:lnTo>
                    <a:pt x="216" y="144"/>
                  </a:lnTo>
                  <a:lnTo>
                    <a:pt x="218" y="146"/>
                  </a:lnTo>
                  <a:lnTo>
                    <a:pt x="218" y="150"/>
                  </a:lnTo>
                  <a:lnTo>
                    <a:pt x="220" y="152"/>
                  </a:lnTo>
                  <a:lnTo>
                    <a:pt x="220" y="156"/>
                  </a:lnTo>
                  <a:lnTo>
                    <a:pt x="222" y="160"/>
                  </a:lnTo>
                  <a:lnTo>
                    <a:pt x="224" y="162"/>
                  </a:lnTo>
                  <a:lnTo>
                    <a:pt x="224" y="164"/>
                  </a:lnTo>
                  <a:lnTo>
                    <a:pt x="224" y="166"/>
                  </a:lnTo>
                  <a:lnTo>
                    <a:pt x="226" y="166"/>
                  </a:lnTo>
                  <a:lnTo>
                    <a:pt x="226" y="168"/>
                  </a:lnTo>
                  <a:lnTo>
                    <a:pt x="228" y="168"/>
                  </a:lnTo>
                  <a:lnTo>
                    <a:pt x="230" y="170"/>
                  </a:lnTo>
                  <a:lnTo>
                    <a:pt x="232" y="170"/>
                  </a:lnTo>
                  <a:lnTo>
                    <a:pt x="234" y="170"/>
                  </a:lnTo>
                  <a:lnTo>
                    <a:pt x="236" y="170"/>
                  </a:lnTo>
                  <a:lnTo>
                    <a:pt x="238" y="172"/>
                  </a:lnTo>
                  <a:lnTo>
                    <a:pt x="242" y="172"/>
                  </a:lnTo>
                  <a:lnTo>
                    <a:pt x="252" y="172"/>
                  </a:lnTo>
                  <a:lnTo>
                    <a:pt x="256" y="174"/>
                  </a:lnTo>
                  <a:lnTo>
                    <a:pt x="260" y="174"/>
                  </a:lnTo>
                  <a:lnTo>
                    <a:pt x="268" y="176"/>
                  </a:lnTo>
                  <a:lnTo>
                    <a:pt x="272" y="176"/>
                  </a:lnTo>
                  <a:lnTo>
                    <a:pt x="274" y="178"/>
                  </a:lnTo>
                  <a:lnTo>
                    <a:pt x="278" y="180"/>
                  </a:lnTo>
                  <a:lnTo>
                    <a:pt x="284" y="182"/>
                  </a:lnTo>
                  <a:lnTo>
                    <a:pt x="286" y="182"/>
                  </a:lnTo>
                  <a:lnTo>
                    <a:pt x="288" y="184"/>
                  </a:lnTo>
                  <a:lnTo>
                    <a:pt x="290" y="184"/>
                  </a:lnTo>
                  <a:lnTo>
                    <a:pt x="290" y="186"/>
                  </a:lnTo>
                  <a:lnTo>
                    <a:pt x="292" y="186"/>
                  </a:lnTo>
                  <a:lnTo>
                    <a:pt x="292" y="188"/>
                  </a:lnTo>
                  <a:lnTo>
                    <a:pt x="294" y="190"/>
                  </a:lnTo>
                  <a:lnTo>
                    <a:pt x="294" y="192"/>
                  </a:lnTo>
                  <a:lnTo>
                    <a:pt x="296" y="194"/>
                  </a:lnTo>
                  <a:lnTo>
                    <a:pt x="298" y="200"/>
                  </a:lnTo>
                  <a:lnTo>
                    <a:pt x="300" y="202"/>
                  </a:lnTo>
                  <a:lnTo>
                    <a:pt x="300" y="204"/>
                  </a:lnTo>
                  <a:lnTo>
                    <a:pt x="302" y="206"/>
                  </a:lnTo>
                  <a:lnTo>
                    <a:pt x="306" y="210"/>
                  </a:lnTo>
                  <a:lnTo>
                    <a:pt x="306" y="210"/>
                  </a:lnTo>
                  <a:lnTo>
                    <a:pt x="308" y="212"/>
                  </a:lnTo>
                  <a:lnTo>
                    <a:pt x="310" y="214"/>
                  </a:lnTo>
                  <a:lnTo>
                    <a:pt x="312" y="214"/>
                  </a:lnTo>
                  <a:lnTo>
                    <a:pt x="312" y="214"/>
                  </a:lnTo>
                  <a:lnTo>
                    <a:pt x="314" y="216"/>
                  </a:lnTo>
                  <a:lnTo>
                    <a:pt x="316" y="216"/>
                  </a:lnTo>
                  <a:lnTo>
                    <a:pt x="318" y="216"/>
                  </a:lnTo>
                  <a:lnTo>
                    <a:pt x="324" y="218"/>
                  </a:lnTo>
                  <a:lnTo>
                    <a:pt x="328" y="218"/>
                  </a:lnTo>
                  <a:lnTo>
                    <a:pt x="334" y="218"/>
                  </a:lnTo>
                  <a:lnTo>
                    <a:pt x="340" y="218"/>
                  </a:lnTo>
                  <a:lnTo>
                    <a:pt x="344" y="218"/>
                  </a:lnTo>
                  <a:lnTo>
                    <a:pt x="350" y="218"/>
                  </a:lnTo>
                  <a:lnTo>
                    <a:pt x="362" y="218"/>
                  </a:lnTo>
                  <a:lnTo>
                    <a:pt x="374" y="218"/>
                  </a:lnTo>
                  <a:lnTo>
                    <a:pt x="378" y="220"/>
                  </a:lnTo>
                  <a:lnTo>
                    <a:pt x="384" y="220"/>
                  </a:lnTo>
                  <a:lnTo>
                    <a:pt x="388" y="220"/>
                  </a:lnTo>
                  <a:lnTo>
                    <a:pt x="392" y="220"/>
                  </a:lnTo>
                  <a:lnTo>
                    <a:pt x="396" y="222"/>
                  </a:lnTo>
                  <a:lnTo>
                    <a:pt x="400" y="222"/>
                  </a:lnTo>
                  <a:lnTo>
                    <a:pt x="406" y="224"/>
                  </a:lnTo>
                  <a:lnTo>
                    <a:pt x="410" y="226"/>
                  </a:lnTo>
                  <a:lnTo>
                    <a:pt x="412" y="226"/>
                  </a:lnTo>
                  <a:lnTo>
                    <a:pt x="414" y="228"/>
                  </a:lnTo>
                  <a:lnTo>
                    <a:pt x="420" y="232"/>
                  </a:lnTo>
                  <a:lnTo>
                    <a:pt x="422" y="234"/>
                  </a:lnTo>
                  <a:lnTo>
                    <a:pt x="426" y="234"/>
                  </a:lnTo>
                  <a:lnTo>
                    <a:pt x="428" y="236"/>
                  </a:lnTo>
                  <a:lnTo>
                    <a:pt x="428" y="236"/>
                  </a:lnTo>
                  <a:lnTo>
                    <a:pt x="430" y="236"/>
                  </a:lnTo>
                  <a:lnTo>
                    <a:pt x="430" y="236"/>
                  </a:lnTo>
                  <a:lnTo>
                    <a:pt x="432" y="236"/>
                  </a:lnTo>
                  <a:lnTo>
                    <a:pt x="432" y="236"/>
                  </a:lnTo>
                  <a:lnTo>
                    <a:pt x="436" y="236"/>
                  </a:lnTo>
                  <a:lnTo>
                    <a:pt x="438" y="236"/>
                  </a:lnTo>
                  <a:lnTo>
                    <a:pt x="442" y="234"/>
                  </a:lnTo>
                  <a:lnTo>
                    <a:pt x="444" y="234"/>
                  </a:lnTo>
                  <a:lnTo>
                    <a:pt x="448" y="232"/>
                  </a:lnTo>
                  <a:lnTo>
                    <a:pt x="450" y="232"/>
                  </a:lnTo>
                  <a:lnTo>
                    <a:pt x="452" y="230"/>
                  </a:lnTo>
                  <a:lnTo>
                    <a:pt x="454" y="230"/>
                  </a:lnTo>
                  <a:lnTo>
                    <a:pt x="454" y="228"/>
                  </a:lnTo>
                  <a:lnTo>
                    <a:pt x="458" y="226"/>
                  </a:lnTo>
                  <a:lnTo>
                    <a:pt x="460" y="224"/>
                  </a:lnTo>
                  <a:lnTo>
                    <a:pt x="460" y="222"/>
                  </a:lnTo>
                  <a:lnTo>
                    <a:pt x="462" y="222"/>
                  </a:lnTo>
                  <a:lnTo>
                    <a:pt x="462" y="222"/>
                  </a:lnTo>
                  <a:lnTo>
                    <a:pt x="464" y="222"/>
                  </a:lnTo>
                  <a:lnTo>
                    <a:pt x="464" y="222"/>
                  </a:lnTo>
                  <a:lnTo>
                    <a:pt x="466" y="222"/>
                  </a:lnTo>
                  <a:lnTo>
                    <a:pt x="468" y="222"/>
                  </a:lnTo>
                  <a:lnTo>
                    <a:pt x="470" y="222"/>
                  </a:lnTo>
                  <a:lnTo>
                    <a:pt x="474" y="222"/>
                  </a:lnTo>
                  <a:lnTo>
                    <a:pt x="478" y="224"/>
                  </a:lnTo>
                  <a:lnTo>
                    <a:pt x="482" y="224"/>
                  </a:lnTo>
                  <a:lnTo>
                    <a:pt x="486" y="226"/>
                  </a:lnTo>
                  <a:lnTo>
                    <a:pt x="488" y="226"/>
                  </a:lnTo>
                  <a:lnTo>
                    <a:pt x="490" y="226"/>
                  </a:lnTo>
                  <a:lnTo>
                    <a:pt x="490" y="226"/>
                  </a:lnTo>
                  <a:lnTo>
                    <a:pt x="492" y="226"/>
                  </a:lnTo>
                  <a:lnTo>
                    <a:pt x="494" y="224"/>
                  </a:lnTo>
                  <a:lnTo>
                    <a:pt x="496" y="224"/>
                  </a:lnTo>
                  <a:lnTo>
                    <a:pt x="496" y="224"/>
                  </a:lnTo>
                  <a:lnTo>
                    <a:pt x="498" y="222"/>
                  </a:lnTo>
                  <a:lnTo>
                    <a:pt x="502" y="220"/>
                  </a:lnTo>
                  <a:lnTo>
                    <a:pt x="504" y="218"/>
                  </a:lnTo>
                  <a:lnTo>
                    <a:pt x="508" y="214"/>
                  </a:lnTo>
                  <a:lnTo>
                    <a:pt x="510" y="212"/>
                  </a:lnTo>
                  <a:lnTo>
                    <a:pt x="514" y="208"/>
                  </a:lnTo>
                  <a:lnTo>
                    <a:pt x="514" y="208"/>
                  </a:lnTo>
                  <a:lnTo>
                    <a:pt x="516" y="206"/>
                  </a:lnTo>
                  <a:lnTo>
                    <a:pt x="516" y="204"/>
                  </a:lnTo>
                  <a:lnTo>
                    <a:pt x="516" y="202"/>
                  </a:lnTo>
                  <a:lnTo>
                    <a:pt x="516" y="200"/>
                  </a:lnTo>
                  <a:lnTo>
                    <a:pt x="518" y="198"/>
                  </a:lnTo>
                  <a:lnTo>
                    <a:pt x="518" y="192"/>
                  </a:lnTo>
                  <a:lnTo>
                    <a:pt x="518" y="188"/>
                  </a:lnTo>
                  <a:lnTo>
                    <a:pt x="518" y="186"/>
                  </a:lnTo>
                  <a:lnTo>
                    <a:pt x="516" y="184"/>
                  </a:lnTo>
                  <a:lnTo>
                    <a:pt x="516" y="180"/>
                  </a:lnTo>
                  <a:lnTo>
                    <a:pt x="516" y="178"/>
                  </a:lnTo>
                  <a:lnTo>
                    <a:pt x="516" y="176"/>
                  </a:lnTo>
                  <a:lnTo>
                    <a:pt x="516" y="174"/>
                  </a:lnTo>
                  <a:lnTo>
                    <a:pt x="516" y="174"/>
                  </a:lnTo>
                  <a:lnTo>
                    <a:pt x="516" y="174"/>
                  </a:lnTo>
                  <a:lnTo>
                    <a:pt x="516" y="172"/>
                  </a:lnTo>
                  <a:lnTo>
                    <a:pt x="518" y="172"/>
                  </a:lnTo>
                  <a:lnTo>
                    <a:pt x="518" y="172"/>
                  </a:lnTo>
                  <a:lnTo>
                    <a:pt x="520" y="172"/>
                  </a:lnTo>
                  <a:lnTo>
                    <a:pt x="520" y="172"/>
                  </a:lnTo>
                  <a:lnTo>
                    <a:pt x="522" y="172"/>
                  </a:lnTo>
                  <a:lnTo>
                    <a:pt x="524" y="174"/>
                  </a:lnTo>
                  <a:lnTo>
                    <a:pt x="526" y="174"/>
                  </a:lnTo>
                  <a:lnTo>
                    <a:pt x="528" y="176"/>
                  </a:lnTo>
                  <a:lnTo>
                    <a:pt x="532" y="178"/>
                  </a:lnTo>
                  <a:lnTo>
                    <a:pt x="532" y="178"/>
                  </a:lnTo>
                  <a:lnTo>
                    <a:pt x="534" y="178"/>
                  </a:lnTo>
                  <a:lnTo>
                    <a:pt x="536" y="178"/>
                  </a:lnTo>
                  <a:lnTo>
                    <a:pt x="536" y="178"/>
                  </a:lnTo>
                  <a:lnTo>
                    <a:pt x="538" y="178"/>
                  </a:lnTo>
                  <a:lnTo>
                    <a:pt x="538" y="178"/>
                  </a:lnTo>
                  <a:lnTo>
                    <a:pt x="540" y="178"/>
                  </a:lnTo>
                  <a:lnTo>
                    <a:pt x="540" y="176"/>
                  </a:lnTo>
                  <a:lnTo>
                    <a:pt x="542" y="174"/>
                  </a:lnTo>
                  <a:lnTo>
                    <a:pt x="544" y="172"/>
                  </a:lnTo>
                  <a:lnTo>
                    <a:pt x="548" y="168"/>
                  </a:lnTo>
                  <a:lnTo>
                    <a:pt x="548" y="166"/>
                  </a:lnTo>
                  <a:lnTo>
                    <a:pt x="550" y="164"/>
                  </a:lnTo>
                  <a:lnTo>
                    <a:pt x="554" y="162"/>
                  </a:lnTo>
                  <a:lnTo>
                    <a:pt x="556" y="160"/>
                  </a:lnTo>
                  <a:lnTo>
                    <a:pt x="560" y="156"/>
                  </a:lnTo>
                  <a:lnTo>
                    <a:pt x="562" y="154"/>
                  </a:lnTo>
                  <a:lnTo>
                    <a:pt x="568" y="152"/>
                  </a:lnTo>
                  <a:lnTo>
                    <a:pt x="574" y="148"/>
                  </a:lnTo>
                  <a:lnTo>
                    <a:pt x="580" y="144"/>
                  </a:lnTo>
                  <a:lnTo>
                    <a:pt x="584" y="142"/>
                  </a:lnTo>
                  <a:lnTo>
                    <a:pt x="586" y="142"/>
                  </a:lnTo>
                  <a:lnTo>
                    <a:pt x="588" y="142"/>
                  </a:lnTo>
                  <a:lnTo>
                    <a:pt x="590" y="140"/>
                  </a:lnTo>
                  <a:lnTo>
                    <a:pt x="594" y="140"/>
                  </a:lnTo>
                  <a:lnTo>
                    <a:pt x="598" y="138"/>
                  </a:lnTo>
                  <a:lnTo>
                    <a:pt x="602" y="136"/>
                  </a:lnTo>
                  <a:lnTo>
                    <a:pt x="604" y="136"/>
                  </a:lnTo>
                  <a:lnTo>
                    <a:pt x="606" y="134"/>
                  </a:lnTo>
                  <a:lnTo>
                    <a:pt x="608" y="134"/>
                  </a:lnTo>
                  <a:lnTo>
                    <a:pt x="608" y="134"/>
                  </a:lnTo>
                  <a:lnTo>
                    <a:pt x="608" y="132"/>
                  </a:lnTo>
                  <a:lnTo>
                    <a:pt x="610" y="130"/>
                  </a:lnTo>
                  <a:lnTo>
                    <a:pt x="610" y="130"/>
                  </a:lnTo>
                  <a:lnTo>
                    <a:pt x="610" y="128"/>
                  </a:lnTo>
                  <a:lnTo>
                    <a:pt x="610" y="128"/>
                  </a:lnTo>
                  <a:lnTo>
                    <a:pt x="608" y="126"/>
                  </a:lnTo>
                  <a:lnTo>
                    <a:pt x="608" y="126"/>
                  </a:lnTo>
                  <a:lnTo>
                    <a:pt x="608" y="124"/>
                  </a:lnTo>
                  <a:lnTo>
                    <a:pt x="606" y="122"/>
                  </a:lnTo>
                  <a:lnTo>
                    <a:pt x="604" y="120"/>
                  </a:lnTo>
                  <a:lnTo>
                    <a:pt x="602" y="118"/>
                  </a:lnTo>
                  <a:lnTo>
                    <a:pt x="600" y="116"/>
                  </a:lnTo>
                  <a:lnTo>
                    <a:pt x="598" y="116"/>
                  </a:lnTo>
                  <a:lnTo>
                    <a:pt x="596" y="116"/>
                  </a:lnTo>
                  <a:lnTo>
                    <a:pt x="596" y="116"/>
                  </a:lnTo>
                  <a:lnTo>
                    <a:pt x="594" y="114"/>
                  </a:lnTo>
                  <a:lnTo>
                    <a:pt x="592" y="114"/>
                  </a:lnTo>
                  <a:lnTo>
                    <a:pt x="590" y="116"/>
                  </a:lnTo>
                  <a:lnTo>
                    <a:pt x="586" y="116"/>
                  </a:lnTo>
                  <a:lnTo>
                    <a:pt x="584" y="116"/>
                  </a:lnTo>
                  <a:lnTo>
                    <a:pt x="580" y="118"/>
                  </a:lnTo>
                  <a:lnTo>
                    <a:pt x="574" y="118"/>
                  </a:lnTo>
                  <a:lnTo>
                    <a:pt x="574" y="118"/>
                  </a:lnTo>
                  <a:lnTo>
                    <a:pt x="572" y="120"/>
                  </a:lnTo>
                  <a:lnTo>
                    <a:pt x="568" y="120"/>
                  </a:lnTo>
                  <a:lnTo>
                    <a:pt x="568" y="122"/>
                  </a:lnTo>
                  <a:lnTo>
                    <a:pt x="566" y="122"/>
                  </a:lnTo>
                  <a:lnTo>
                    <a:pt x="564" y="122"/>
                  </a:lnTo>
                  <a:lnTo>
                    <a:pt x="564" y="122"/>
                  </a:lnTo>
                  <a:lnTo>
                    <a:pt x="562" y="122"/>
                  </a:lnTo>
                  <a:lnTo>
                    <a:pt x="562" y="122"/>
                  </a:lnTo>
                  <a:lnTo>
                    <a:pt x="562" y="120"/>
                  </a:lnTo>
                  <a:lnTo>
                    <a:pt x="562" y="120"/>
                  </a:lnTo>
                  <a:lnTo>
                    <a:pt x="560" y="118"/>
                  </a:lnTo>
                  <a:lnTo>
                    <a:pt x="560" y="118"/>
                  </a:lnTo>
                  <a:lnTo>
                    <a:pt x="560" y="116"/>
                  </a:lnTo>
                  <a:lnTo>
                    <a:pt x="558" y="112"/>
                  </a:lnTo>
                  <a:lnTo>
                    <a:pt x="558" y="108"/>
                  </a:lnTo>
                  <a:lnTo>
                    <a:pt x="558" y="104"/>
                  </a:lnTo>
                  <a:lnTo>
                    <a:pt x="558" y="100"/>
                  </a:lnTo>
                  <a:lnTo>
                    <a:pt x="558" y="96"/>
                  </a:lnTo>
                  <a:lnTo>
                    <a:pt x="558" y="90"/>
                  </a:lnTo>
                  <a:lnTo>
                    <a:pt x="558" y="88"/>
                  </a:lnTo>
                  <a:lnTo>
                    <a:pt x="558" y="84"/>
                  </a:lnTo>
                  <a:lnTo>
                    <a:pt x="558" y="82"/>
                  </a:lnTo>
                  <a:lnTo>
                    <a:pt x="558" y="80"/>
                  </a:lnTo>
                  <a:lnTo>
                    <a:pt x="560" y="76"/>
                  </a:lnTo>
                  <a:lnTo>
                    <a:pt x="562" y="72"/>
                  </a:lnTo>
                  <a:lnTo>
                    <a:pt x="562" y="74"/>
                  </a:lnTo>
                  <a:lnTo>
                    <a:pt x="566" y="76"/>
                  </a:lnTo>
                  <a:lnTo>
                    <a:pt x="568" y="78"/>
                  </a:lnTo>
                  <a:lnTo>
                    <a:pt x="570" y="80"/>
                  </a:lnTo>
                  <a:lnTo>
                    <a:pt x="572" y="82"/>
                  </a:lnTo>
                  <a:lnTo>
                    <a:pt x="572" y="82"/>
                  </a:lnTo>
                  <a:lnTo>
                    <a:pt x="572" y="84"/>
                  </a:lnTo>
                  <a:lnTo>
                    <a:pt x="574" y="84"/>
                  </a:lnTo>
                  <a:lnTo>
                    <a:pt x="578" y="84"/>
                  </a:lnTo>
                  <a:lnTo>
                    <a:pt x="580" y="84"/>
                  </a:lnTo>
                  <a:lnTo>
                    <a:pt x="582" y="84"/>
                  </a:lnTo>
                  <a:lnTo>
                    <a:pt x="586" y="84"/>
                  </a:lnTo>
                  <a:lnTo>
                    <a:pt x="588" y="84"/>
                  </a:lnTo>
                  <a:lnTo>
                    <a:pt x="590" y="84"/>
                  </a:lnTo>
                  <a:lnTo>
                    <a:pt x="590" y="84"/>
                  </a:lnTo>
                  <a:lnTo>
                    <a:pt x="590" y="84"/>
                  </a:lnTo>
                  <a:lnTo>
                    <a:pt x="592" y="84"/>
                  </a:lnTo>
                  <a:lnTo>
                    <a:pt x="592" y="82"/>
                  </a:lnTo>
                  <a:lnTo>
                    <a:pt x="594" y="80"/>
                  </a:lnTo>
                  <a:lnTo>
                    <a:pt x="594" y="80"/>
                  </a:lnTo>
                  <a:lnTo>
                    <a:pt x="594" y="78"/>
                  </a:lnTo>
                  <a:lnTo>
                    <a:pt x="594" y="76"/>
                  </a:lnTo>
                  <a:lnTo>
                    <a:pt x="594" y="74"/>
                  </a:lnTo>
                  <a:lnTo>
                    <a:pt x="594" y="70"/>
                  </a:lnTo>
                  <a:lnTo>
                    <a:pt x="594" y="66"/>
                  </a:lnTo>
                  <a:lnTo>
                    <a:pt x="594" y="62"/>
                  </a:lnTo>
                  <a:lnTo>
                    <a:pt x="594" y="60"/>
                  </a:lnTo>
                  <a:lnTo>
                    <a:pt x="594" y="58"/>
                  </a:lnTo>
                  <a:lnTo>
                    <a:pt x="596" y="56"/>
                  </a:lnTo>
                  <a:lnTo>
                    <a:pt x="596" y="56"/>
                  </a:lnTo>
                  <a:lnTo>
                    <a:pt x="596" y="54"/>
                  </a:lnTo>
                  <a:lnTo>
                    <a:pt x="596" y="54"/>
                  </a:lnTo>
                  <a:lnTo>
                    <a:pt x="598" y="52"/>
                  </a:lnTo>
                  <a:lnTo>
                    <a:pt x="600" y="52"/>
                  </a:lnTo>
                  <a:lnTo>
                    <a:pt x="602" y="50"/>
                  </a:lnTo>
                  <a:lnTo>
                    <a:pt x="604" y="50"/>
                  </a:lnTo>
                  <a:lnTo>
                    <a:pt x="604" y="48"/>
                  </a:lnTo>
                  <a:lnTo>
                    <a:pt x="606" y="48"/>
                  </a:lnTo>
                  <a:lnTo>
                    <a:pt x="606" y="46"/>
                  </a:lnTo>
                  <a:lnTo>
                    <a:pt x="606" y="46"/>
                  </a:lnTo>
                  <a:lnTo>
                    <a:pt x="606" y="46"/>
                  </a:lnTo>
                  <a:lnTo>
                    <a:pt x="608" y="44"/>
                  </a:lnTo>
                  <a:lnTo>
                    <a:pt x="606" y="42"/>
                  </a:lnTo>
                  <a:lnTo>
                    <a:pt x="606" y="42"/>
                  </a:lnTo>
                  <a:lnTo>
                    <a:pt x="606" y="40"/>
                  </a:lnTo>
                  <a:lnTo>
                    <a:pt x="606" y="38"/>
                  </a:lnTo>
                  <a:lnTo>
                    <a:pt x="604" y="36"/>
                  </a:lnTo>
                  <a:lnTo>
                    <a:pt x="602" y="32"/>
                  </a:lnTo>
                  <a:lnTo>
                    <a:pt x="600" y="30"/>
                  </a:lnTo>
                  <a:lnTo>
                    <a:pt x="598" y="26"/>
                  </a:lnTo>
                  <a:lnTo>
                    <a:pt x="598" y="24"/>
                  </a:lnTo>
                  <a:lnTo>
                    <a:pt x="598" y="22"/>
                  </a:lnTo>
                  <a:lnTo>
                    <a:pt x="596" y="22"/>
                  </a:lnTo>
                  <a:lnTo>
                    <a:pt x="596" y="20"/>
                  </a:lnTo>
                  <a:lnTo>
                    <a:pt x="598" y="18"/>
                  </a:lnTo>
                  <a:lnTo>
                    <a:pt x="598" y="16"/>
                  </a:lnTo>
                  <a:lnTo>
                    <a:pt x="598" y="14"/>
                  </a:lnTo>
                  <a:lnTo>
                    <a:pt x="600" y="12"/>
                  </a:lnTo>
                  <a:lnTo>
                    <a:pt x="600" y="10"/>
                  </a:lnTo>
                  <a:lnTo>
                    <a:pt x="602" y="8"/>
                  </a:lnTo>
                  <a:lnTo>
                    <a:pt x="604" y="6"/>
                  </a:lnTo>
                  <a:lnTo>
                    <a:pt x="604" y="6"/>
                  </a:lnTo>
                  <a:lnTo>
                    <a:pt x="604" y="4"/>
                  </a:lnTo>
                  <a:lnTo>
                    <a:pt x="606" y="4"/>
                  </a:lnTo>
                  <a:lnTo>
                    <a:pt x="608" y="4"/>
                  </a:lnTo>
                  <a:lnTo>
                    <a:pt x="610" y="2"/>
                  </a:lnTo>
                  <a:lnTo>
                    <a:pt x="614" y="2"/>
                  </a:lnTo>
                  <a:lnTo>
                    <a:pt x="618" y="0"/>
                  </a:lnTo>
                  <a:lnTo>
                    <a:pt x="622" y="0"/>
                  </a:lnTo>
                  <a:lnTo>
                    <a:pt x="626" y="0"/>
                  </a:lnTo>
                  <a:lnTo>
                    <a:pt x="630" y="0"/>
                  </a:lnTo>
                  <a:lnTo>
                    <a:pt x="634" y="0"/>
                  </a:lnTo>
                  <a:lnTo>
                    <a:pt x="640" y="0"/>
                  </a:lnTo>
                  <a:lnTo>
                    <a:pt x="644" y="2"/>
                  </a:lnTo>
                  <a:lnTo>
                    <a:pt x="648" y="2"/>
                  </a:lnTo>
                  <a:lnTo>
                    <a:pt x="652" y="2"/>
                  </a:lnTo>
                  <a:lnTo>
                    <a:pt x="656" y="4"/>
                  </a:lnTo>
                  <a:lnTo>
                    <a:pt x="660" y="4"/>
                  </a:lnTo>
                  <a:lnTo>
                    <a:pt x="664" y="6"/>
                  </a:lnTo>
                  <a:lnTo>
                    <a:pt x="666" y="6"/>
                  </a:lnTo>
                  <a:lnTo>
                    <a:pt x="668" y="6"/>
                  </a:lnTo>
                  <a:lnTo>
                    <a:pt x="668" y="8"/>
                  </a:lnTo>
                  <a:lnTo>
                    <a:pt x="670" y="10"/>
                  </a:lnTo>
                  <a:lnTo>
                    <a:pt x="672" y="12"/>
                  </a:lnTo>
                  <a:lnTo>
                    <a:pt x="674" y="14"/>
                  </a:lnTo>
                  <a:lnTo>
                    <a:pt x="678" y="18"/>
                  </a:lnTo>
                  <a:lnTo>
                    <a:pt x="680" y="20"/>
                  </a:lnTo>
                  <a:lnTo>
                    <a:pt x="682" y="22"/>
                  </a:lnTo>
                  <a:lnTo>
                    <a:pt x="684" y="26"/>
                  </a:lnTo>
                  <a:lnTo>
                    <a:pt x="688" y="28"/>
                  </a:lnTo>
                  <a:lnTo>
                    <a:pt x="692" y="32"/>
                  </a:lnTo>
                  <a:lnTo>
                    <a:pt x="696" y="36"/>
                  </a:lnTo>
                  <a:lnTo>
                    <a:pt x="698" y="38"/>
                  </a:lnTo>
                  <a:lnTo>
                    <a:pt x="700" y="42"/>
                  </a:lnTo>
                  <a:lnTo>
                    <a:pt x="704" y="44"/>
                  </a:lnTo>
                  <a:lnTo>
                    <a:pt x="704" y="46"/>
                  </a:lnTo>
                  <a:lnTo>
                    <a:pt x="706" y="48"/>
                  </a:lnTo>
                  <a:lnTo>
                    <a:pt x="706" y="50"/>
                  </a:lnTo>
                  <a:lnTo>
                    <a:pt x="706" y="52"/>
                  </a:lnTo>
                  <a:lnTo>
                    <a:pt x="708" y="56"/>
                  </a:lnTo>
                  <a:lnTo>
                    <a:pt x="708" y="62"/>
                  </a:lnTo>
                  <a:lnTo>
                    <a:pt x="708" y="64"/>
                  </a:lnTo>
                  <a:lnTo>
                    <a:pt x="708" y="66"/>
                  </a:lnTo>
                  <a:lnTo>
                    <a:pt x="710" y="68"/>
                  </a:lnTo>
                  <a:lnTo>
                    <a:pt x="710" y="68"/>
                  </a:lnTo>
                  <a:lnTo>
                    <a:pt x="712" y="70"/>
                  </a:lnTo>
                  <a:lnTo>
                    <a:pt x="714" y="74"/>
                  </a:lnTo>
                  <a:lnTo>
                    <a:pt x="716" y="74"/>
                  </a:lnTo>
                  <a:lnTo>
                    <a:pt x="718" y="76"/>
                  </a:lnTo>
                  <a:lnTo>
                    <a:pt x="718" y="78"/>
                  </a:lnTo>
                  <a:lnTo>
                    <a:pt x="720" y="80"/>
                  </a:lnTo>
                  <a:lnTo>
                    <a:pt x="722" y="80"/>
                  </a:lnTo>
                  <a:lnTo>
                    <a:pt x="722" y="80"/>
                  </a:lnTo>
                  <a:lnTo>
                    <a:pt x="724" y="80"/>
                  </a:lnTo>
                  <a:lnTo>
                    <a:pt x="726" y="82"/>
                  </a:lnTo>
                  <a:lnTo>
                    <a:pt x="730" y="82"/>
                  </a:lnTo>
                  <a:lnTo>
                    <a:pt x="732" y="82"/>
                  </a:lnTo>
                  <a:lnTo>
                    <a:pt x="736" y="82"/>
                  </a:lnTo>
                  <a:lnTo>
                    <a:pt x="740" y="82"/>
                  </a:lnTo>
                  <a:lnTo>
                    <a:pt x="742" y="84"/>
                  </a:lnTo>
                  <a:lnTo>
                    <a:pt x="744" y="84"/>
                  </a:lnTo>
                  <a:lnTo>
                    <a:pt x="746" y="84"/>
                  </a:lnTo>
                  <a:lnTo>
                    <a:pt x="746" y="86"/>
                  </a:lnTo>
                  <a:lnTo>
                    <a:pt x="748" y="86"/>
                  </a:lnTo>
                  <a:lnTo>
                    <a:pt x="752" y="90"/>
                  </a:lnTo>
                  <a:lnTo>
                    <a:pt x="754" y="92"/>
                  </a:lnTo>
                  <a:lnTo>
                    <a:pt x="756" y="94"/>
                  </a:lnTo>
                  <a:lnTo>
                    <a:pt x="756" y="94"/>
                  </a:lnTo>
                  <a:lnTo>
                    <a:pt x="760" y="96"/>
                  </a:lnTo>
                  <a:lnTo>
                    <a:pt x="764" y="98"/>
                  </a:lnTo>
                  <a:lnTo>
                    <a:pt x="766" y="102"/>
                  </a:lnTo>
                  <a:lnTo>
                    <a:pt x="768" y="102"/>
                  </a:lnTo>
                  <a:lnTo>
                    <a:pt x="770" y="104"/>
                  </a:lnTo>
                  <a:lnTo>
                    <a:pt x="770" y="104"/>
                  </a:lnTo>
                  <a:lnTo>
                    <a:pt x="770" y="106"/>
                  </a:lnTo>
                  <a:lnTo>
                    <a:pt x="772" y="108"/>
                  </a:lnTo>
                  <a:lnTo>
                    <a:pt x="772" y="110"/>
                  </a:lnTo>
                  <a:lnTo>
                    <a:pt x="772" y="110"/>
                  </a:lnTo>
                  <a:lnTo>
                    <a:pt x="774" y="112"/>
                  </a:lnTo>
                  <a:lnTo>
                    <a:pt x="774" y="112"/>
                  </a:lnTo>
                  <a:lnTo>
                    <a:pt x="774" y="112"/>
                  </a:lnTo>
                  <a:lnTo>
                    <a:pt x="776" y="112"/>
                  </a:lnTo>
                  <a:lnTo>
                    <a:pt x="778" y="114"/>
                  </a:lnTo>
                  <a:lnTo>
                    <a:pt x="780" y="114"/>
                  </a:lnTo>
                  <a:lnTo>
                    <a:pt x="782" y="114"/>
                  </a:lnTo>
                  <a:lnTo>
                    <a:pt x="786" y="114"/>
                  </a:lnTo>
                  <a:lnTo>
                    <a:pt x="790" y="114"/>
                  </a:lnTo>
                  <a:lnTo>
                    <a:pt x="790" y="114"/>
                  </a:lnTo>
                  <a:lnTo>
                    <a:pt x="792" y="112"/>
                  </a:lnTo>
                  <a:lnTo>
                    <a:pt x="796" y="112"/>
                  </a:lnTo>
                  <a:lnTo>
                    <a:pt x="802" y="110"/>
                  </a:lnTo>
                  <a:lnTo>
                    <a:pt x="806" y="108"/>
                  </a:lnTo>
                  <a:lnTo>
                    <a:pt x="808" y="108"/>
                  </a:lnTo>
                  <a:lnTo>
                    <a:pt x="808" y="108"/>
                  </a:lnTo>
                  <a:lnTo>
                    <a:pt x="810" y="108"/>
                  </a:lnTo>
                  <a:lnTo>
                    <a:pt x="812" y="108"/>
                  </a:lnTo>
                  <a:lnTo>
                    <a:pt x="814" y="108"/>
                  </a:lnTo>
                  <a:lnTo>
                    <a:pt x="814" y="108"/>
                  </a:lnTo>
                  <a:lnTo>
                    <a:pt x="816" y="108"/>
                  </a:lnTo>
                  <a:lnTo>
                    <a:pt x="816" y="110"/>
                  </a:lnTo>
                  <a:lnTo>
                    <a:pt x="816" y="110"/>
                  </a:lnTo>
                  <a:lnTo>
                    <a:pt x="818" y="112"/>
                  </a:lnTo>
                  <a:lnTo>
                    <a:pt x="818" y="114"/>
                  </a:lnTo>
                  <a:lnTo>
                    <a:pt x="820" y="116"/>
                  </a:lnTo>
                  <a:lnTo>
                    <a:pt x="820" y="118"/>
                  </a:lnTo>
                  <a:lnTo>
                    <a:pt x="822" y="122"/>
                  </a:lnTo>
                  <a:lnTo>
                    <a:pt x="822" y="124"/>
                  </a:lnTo>
                  <a:lnTo>
                    <a:pt x="822" y="126"/>
                  </a:lnTo>
                  <a:lnTo>
                    <a:pt x="822" y="128"/>
                  </a:lnTo>
                  <a:lnTo>
                    <a:pt x="822" y="128"/>
                  </a:lnTo>
                  <a:lnTo>
                    <a:pt x="822" y="128"/>
                  </a:lnTo>
                  <a:lnTo>
                    <a:pt x="822" y="130"/>
                  </a:lnTo>
                  <a:lnTo>
                    <a:pt x="820" y="130"/>
                  </a:lnTo>
                  <a:lnTo>
                    <a:pt x="818" y="132"/>
                  </a:lnTo>
                  <a:lnTo>
                    <a:pt x="818" y="132"/>
                  </a:lnTo>
                  <a:lnTo>
                    <a:pt x="816" y="134"/>
                  </a:lnTo>
                  <a:lnTo>
                    <a:pt x="814" y="134"/>
                  </a:lnTo>
                  <a:lnTo>
                    <a:pt x="812" y="134"/>
                  </a:lnTo>
                  <a:lnTo>
                    <a:pt x="812" y="136"/>
                  </a:lnTo>
                  <a:lnTo>
                    <a:pt x="812" y="136"/>
                  </a:lnTo>
                  <a:lnTo>
                    <a:pt x="812" y="136"/>
                  </a:lnTo>
                  <a:lnTo>
                    <a:pt x="812" y="138"/>
                  </a:lnTo>
                  <a:lnTo>
                    <a:pt x="812" y="140"/>
                  </a:lnTo>
                  <a:lnTo>
                    <a:pt x="812" y="142"/>
                  </a:lnTo>
                  <a:lnTo>
                    <a:pt x="812" y="144"/>
                  </a:lnTo>
                  <a:lnTo>
                    <a:pt x="812" y="146"/>
                  </a:lnTo>
                  <a:lnTo>
                    <a:pt x="812" y="150"/>
                  </a:lnTo>
                  <a:lnTo>
                    <a:pt x="812" y="156"/>
                  </a:lnTo>
                  <a:lnTo>
                    <a:pt x="814" y="160"/>
                  </a:lnTo>
                  <a:lnTo>
                    <a:pt x="814" y="164"/>
                  </a:lnTo>
                  <a:lnTo>
                    <a:pt x="814" y="166"/>
                  </a:lnTo>
                  <a:lnTo>
                    <a:pt x="814" y="168"/>
                  </a:lnTo>
                  <a:lnTo>
                    <a:pt x="812" y="170"/>
                  </a:lnTo>
                  <a:lnTo>
                    <a:pt x="812" y="170"/>
                  </a:lnTo>
                  <a:lnTo>
                    <a:pt x="812" y="172"/>
                  </a:lnTo>
                  <a:lnTo>
                    <a:pt x="812" y="172"/>
                  </a:lnTo>
                  <a:lnTo>
                    <a:pt x="810" y="172"/>
                  </a:lnTo>
                  <a:lnTo>
                    <a:pt x="810" y="172"/>
                  </a:lnTo>
                  <a:lnTo>
                    <a:pt x="810" y="172"/>
                  </a:lnTo>
                  <a:lnTo>
                    <a:pt x="808" y="172"/>
                  </a:lnTo>
                  <a:lnTo>
                    <a:pt x="808" y="172"/>
                  </a:lnTo>
                  <a:lnTo>
                    <a:pt x="806" y="172"/>
                  </a:lnTo>
                  <a:lnTo>
                    <a:pt x="804" y="172"/>
                  </a:lnTo>
                  <a:lnTo>
                    <a:pt x="802" y="170"/>
                  </a:lnTo>
                  <a:lnTo>
                    <a:pt x="800" y="170"/>
                  </a:lnTo>
                  <a:lnTo>
                    <a:pt x="800" y="170"/>
                  </a:lnTo>
                  <a:lnTo>
                    <a:pt x="798" y="170"/>
                  </a:lnTo>
                  <a:lnTo>
                    <a:pt x="798" y="170"/>
                  </a:lnTo>
                  <a:lnTo>
                    <a:pt x="796" y="170"/>
                  </a:lnTo>
                  <a:lnTo>
                    <a:pt x="796" y="170"/>
                  </a:lnTo>
                  <a:lnTo>
                    <a:pt x="796" y="170"/>
                  </a:lnTo>
                  <a:lnTo>
                    <a:pt x="794" y="172"/>
                  </a:lnTo>
                  <a:lnTo>
                    <a:pt x="794" y="172"/>
                  </a:lnTo>
                  <a:lnTo>
                    <a:pt x="794" y="174"/>
                  </a:lnTo>
                  <a:lnTo>
                    <a:pt x="792" y="176"/>
                  </a:lnTo>
                  <a:lnTo>
                    <a:pt x="792" y="178"/>
                  </a:lnTo>
                  <a:lnTo>
                    <a:pt x="790" y="182"/>
                  </a:lnTo>
                  <a:lnTo>
                    <a:pt x="790" y="184"/>
                  </a:lnTo>
                  <a:lnTo>
                    <a:pt x="790" y="184"/>
                  </a:lnTo>
                  <a:lnTo>
                    <a:pt x="790" y="186"/>
                  </a:lnTo>
                  <a:lnTo>
                    <a:pt x="788" y="188"/>
                  </a:lnTo>
                  <a:lnTo>
                    <a:pt x="788" y="192"/>
                  </a:lnTo>
                  <a:lnTo>
                    <a:pt x="788" y="194"/>
                  </a:lnTo>
                  <a:lnTo>
                    <a:pt x="788" y="196"/>
                  </a:lnTo>
                  <a:lnTo>
                    <a:pt x="790" y="198"/>
                  </a:lnTo>
                  <a:lnTo>
                    <a:pt x="790" y="200"/>
                  </a:lnTo>
                  <a:lnTo>
                    <a:pt x="790" y="200"/>
                  </a:lnTo>
                  <a:lnTo>
                    <a:pt x="790" y="200"/>
                  </a:lnTo>
                  <a:lnTo>
                    <a:pt x="790" y="202"/>
                  </a:lnTo>
                  <a:lnTo>
                    <a:pt x="792" y="202"/>
                  </a:lnTo>
                  <a:lnTo>
                    <a:pt x="792" y="202"/>
                  </a:lnTo>
                  <a:lnTo>
                    <a:pt x="794" y="202"/>
                  </a:lnTo>
                  <a:lnTo>
                    <a:pt x="796" y="202"/>
                  </a:lnTo>
                  <a:lnTo>
                    <a:pt x="798" y="204"/>
                  </a:lnTo>
                  <a:lnTo>
                    <a:pt x="802" y="204"/>
                  </a:lnTo>
                  <a:lnTo>
                    <a:pt x="804" y="204"/>
                  </a:lnTo>
                  <a:lnTo>
                    <a:pt x="804" y="204"/>
                  </a:lnTo>
                  <a:lnTo>
                    <a:pt x="804" y="204"/>
                  </a:lnTo>
                  <a:lnTo>
                    <a:pt x="804" y="204"/>
                  </a:lnTo>
                  <a:lnTo>
                    <a:pt x="802" y="204"/>
                  </a:lnTo>
                  <a:lnTo>
                    <a:pt x="800" y="206"/>
                  </a:lnTo>
                  <a:lnTo>
                    <a:pt x="798" y="208"/>
                  </a:lnTo>
                  <a:lnTo>
                    <a:pt x="796" y="210"/>
                  </a:lnTo>
                  <a:lnTo>
                    <a:pt x="792" y="212"/>
                  </a:lnTo>
                  <a:lnTo>
                    <a:pt x="790" y="214"/>
                  </a:lnTo>
                  <a:lnTo>
                    <a:pt x="790" y="216"/>
                  </a:lnTo>
                  <a:lnTo>
                    <a:pt x="788" y="216"/>
                  </a:lnTo>
                  <a:lnTo>
                    <a:pt x="786" y="216"/>
                  </a:lnTo>
                  <a:lnTo>
                    <a:pt x="782" y="218"/>
                  </a:lnTo>
                  <a:lnTo>
                    <a:pt x="778" y="218"/>
                  </a:lnTo>
                  <a:lnTo>
                    <a:pt x="776" y="220"/>
                  </a:lnTo>
                  <a:lnTo>
                    <a:pt x="776" y="220"/>
                  </a:lnTo>
                  <a:lnTo>
                    <a:pt x="774" y="220"/>
                  </a:lnTo>
                  <a:lnTo>
                    <a:pt x="774" y="222"/>
                  </a:lnTo>
                  <a:lnTo>
                    <a:pt x="772" y="224"/>
                  </a:lnTo>
                  <a:lnTo>
                    <a:pt x="770" y="226"/>
                  </a:lnTo>
                  <a:lnTo>
                    <a:pt x="768" y="228"/>
                  </a:lnTo>
                  <a:lnTo>
                    <a:pt x="766" y="232"/>
                  </a:lnTo>
                  <a:lnTo>
                    <a:pt x="764" y="234"/>
                  </a:lnTo>
                  <a:lnTo>
                    <a:pt x="764" y="234"/>
                  </a:lnTo>
                  <a:lnTo>
                    <a:pt x="762" y="236"/>
                  </a:lnTo>
                  <a:lnTo>
                    <a:pt x="762" y="236"/>
                  </a:lnTo>
                  <a:lnTo>
                    <a:pt x="760" y="236"/>
                  </a:lnTo>
                  <a:lnTo>
                    <a:pt x="758" y="236"/>
                  </a:lnTo>
                  <a:lnTo>
                    <a:pt x="758" y="238"/>
                  </a:lnTo>
                  <a:lnTo>
                    <a:pt x="756" y="238"/>
                  </a:lnTo>
                  <a:lnTo>
                    <a:pt x="754" y="238"/>
                  </a:lnTo>
                  <a:lnTo>
                    <a:pt x="750" y="238"/>
                  </a:lnTo>
                  <a:lnTo>
                    <a:pt x="746" y="236"/>
                  </a:lnTo>
                  <a:lnTo>
                    <a:pt x="746" y="236"/>
                  </a:lnTo>
                  <a:lnTo>
                    <a:pt x="744" y="236"/>
                  </a:lnTo>
                  <a:lnTo>
                    <a:pt x="740" y="234"/>
                  </a:lnTo>
                  <a:lnTo>
                    <a:pt x="738" y="232"/>
                  </a:lnTo>
                  <a:lnTo>
                    <a:pt x="736" y="232"/>
                  </a:lnTo>
                  <a:lnTo>
                    <a:pt x="736" y="232"/>
                  </a:lnTo>
                  <a:lnTo>
                    <a:pt x="736" y="232"/>
                  </a:lnTo>
                  <a:lnTo>
                    <a:pt x="734" y="232"/>
                  </a:lnTo>
                  <a:lnTo>
                    <a:pt x="734" y="232"/>
                  </a:lnTo>
                  <a:lnTo>
                    <a:pt x="734" y="232"/>
                  </a:lnTo>
                  <a:lnTo>
                    <a:pt x="732" y="234"/>
                  </a:lnTo>
                  <a:lnTo>
                    <a:pt x="732" y="234"/>
                  </a:lnTo>
                  <a:lnTo>
                    <a:pt x="730" y="236"/>
                  </a:lnTo>
                  <a:lnTo>
                    <a:pt x="730" y="238"/>
                  </a:lnTo>
                  <a:lnTo>
                    <a:pt x="730" y="240"/>
                  </a:lnTo>
                  <a:lnTo>
                    <a:pt x="730" y="242"/>
                  </a:lnTo>
                  <a:lnTo>
                    <a:pt x="730" y="246"/>
                  </a:lnTo>
                  <a:lnTo>
                    <a:pt x="728" y="250"/>
                  </a:lnTo>
                  <a:lnTo>
                    <a:pt x="728" y="252"/>
                  </a:lnTo>
                  <a:lnTo>
                    <a:pt x="728" y="254"/>
                  </a:lnTo>
                  <a:lnTo>
                    <a:pt x="728" y="254"/>
                  </a:lnTo>
                  <a:lnTo>
                    <a:pt x="726" y="256"/>
                  </a:lnTo>
                  <a:lnTo>
                    <a:pt x="726" y="256"/>
                  </a:lnTo>
                  <a:lnTo>
                    <a:pt x="724" y="258"/>
                  </a:lnTo>
                  <a:lnTo>
                    <a:pt x="722" y="260"/>
                  </a:lnTo>
                  <a:lnTo>
                    <a:pt x="720" y="260"/>
                  </a:lnTo>
                  <a:lnTo>
                    <a:pt x="716" y="262"/>
                  </a:lnTo>
                  <a:lnTo>
                    <a:pt x="712" y="264"/>
                  </a:lnTo>
                  <a:lnTo>
                    <a:pt x="704" y="270"/>
                  </a:lnTo>
                  <a:lnTo>
                    <a:pt x="700" y="274"/>
                  </a:lnTo>
                  <a:lnTo>
                    <a:pt x="696" y="274"/>
                  </a:lnTo>
                  <a:lnTo>
                    <a:pt x="696" y="276"/>
                  </a:lnTo>
                  <a:lnTo>
                    <a:pt x="692" y="276"/>
                  </a:lnTo>
                  <a:lnTo>
                    <a:pt x="690" y="278"/>
                  </a:lnTo>
                  <a:lnTo>
                    <a:pt x="688" y="280"/>
                  </a:lnTo>
                  <a:lnTo>
                    <a:pt x="684" y="282"/>
                  </a:lnTo>
                  <a:lnTo>
                    <a:pt x="680" y="282"/>
                  </a:lnTo>
                  <a:lnTo>
                    <a:pt x="680" y="284"/>
                  </a:lnTo>
                  <a:lnTo>
                    <a:pt x="678" y="284"/>
                  </a:lnTo>
                  <a:lnTo>
                    <a:pt x="676" y="284"/>
                  </a:lnTo>
                  <a:lnTo>
                    <a:pt x="676" y="284"/>
                  </a:lnTo>
                  <a:lnTo>
                    <a:pt x="674" y="284"/>
                  </a:lnTo>
                  <a:lnTo>
                    <a:pt x="674" y="284"/>
                  </a:lnTo>
                  <a:lnTo>
                    <a:pt x="674" y="282"/>
                  </a:lnTo>
                  <a:lnTo>
                    <a:pt x="672" y="282"/>
                  </a:lnTo>
                  <a:lnTo>
                    <a:pt x="672" y="280"/>
                  </a:lnTo>
                  <a:lnTo>
                    <a:pt x="672" y="280"/>
                  </a:lnTo>
                  <a:lnTo>
                    <a:pt x="672" y="278"/>
                  </a:lnTo>
                  <a:lnTo>
                    <a:pt x="672" y="278"/>
                  </a:lnTo>
                  <a:lnTo>
                    <a:pt x="672" y="276"/>
                  </a:lnTo>
                  <a:lnTo>
                    <a:pt x="672" y="270"/>
                  </a:lnTo>
                  <a:lnTo>
                    <a:pt x="672" y="268"/>
                  </a:lnTo>
                  <a:lnTo>
                    <a:pt x="672" y="266"/>
                  </a:lnTo>
                  <a:lnTo>
                    <a:pt x="672" y="262"/>
                  </a:lnTo>
                  <a:lnTo>
                    <a:pt x="672" y="256"/>
                  </a:lnTo>
                  <a:lnTo>
                    <a:pt x="670" y="254"/>
                  </a:lnTo>
                  <a:lnTo>
                    <a:pt x="670" y="252"/>
                  </a:lnTo>
                  <a:lnTo>
                    <a:pt x="670" y="250"/>
                  </a:lnTo>
                  <a:lnTo>
                    <a:pt x="670" y="250"/>
                  </a:lnTo>
                  <a:lnTo>
                    <a:pt x="668" y="250"/>
                  </a:lnTo>
                  <a:lnTo>
                    <a:pt x="668" y="248"/>
                  </a:lnTo>
                  <a:lnTo>
                    <a:pt x="668" y="248"/>
                  </a:lnTo>
                  <a:lnTo>
                    <a:pt x="666" y="248"/>
                  </a:lnTo>
                  <a:lnTo>
                    <a:pt x="664" y="248"/>
                  </a:lnTo>
                  <a:lnTo>
                    <a:pt x="664" y="248"/>
                  </a:lnTo>
                  <a:lnTo>
                    <a:pt x="662" y="248"/>
                  </a:lnTo>
                  <a:lnTo>
                    <a:pt x="662" y="248"/>
                  </a:lnTo>
                  <a:lnTo>
                    <a:pt x="660" y="250"/>
                  </a:lnTo>
                  <a:lnTo>
                    <a:pt x="658" y="250"/>
                  </a:lnTo>
                  <a:lnTo>
                    <a:pt x="658" y="252"/>
                  </a:lnTo>
                  <a:lnTo>
                    <a:pt x="656" y="254"/>
                  </a:lnTo>
                  <a:lnTo>
                    <a:pt x="654" y="256"/>
                  </a:lnTo>
                  <a:lnTo>
                    <a:pt x="652" y="258"/>
                  </a:lnTo>
                  <a:lnTo>
                    <a:pt x="650" y="260"/>
                  </a:lnTo>
                  <a:lnTo>
                    <a:pt x="648" y="262"/>
                  </a:lnTo>
                  <a:lnTo>
                    <a:pt x="648" y="264"/>
                  </a:lnTo>
                  <a:lnTo>
                    <a:pt x="648" y="266"/>
                  </a:lnTo>
                  <a:lnTo>
                    <a:pt x="648" y="26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0" name="Freeform 184">
              <a:extLst>
                <a:ext uri="{FF2B5EF4-FFF2-40B4-BE49-F238E27FC236}">
                  <a16:creationId xmlns:a16="http://schemas.microsoft.com/office/drawing/2014/main" id="{67387BC4-B1B9-46A5-8818-00D23C3557A4}"/>
                </a:ext>
              </a:extLst>
            </p:cNvPr>
            <p:cNvSpPr>
              <a:spLocks/>
            </p:cNvSpPr>
            <p:nvPr/>
          </p:nvSpPr>
          <p:spPr bwMode="auto">
            <a:xfrm>
              <a:off x="6046321" y="2990347"/>
              <a:ext cx="1423766" cy="1060030"/>
            </a:xfrm>
            <a:custGeom>
              <a:avLst/>
              <a:gdLst>
                <a:gd name="T0" fmla="*/ 626 w 822"/>
                <a:gd name="T1" fmla="*/ 296 h 612"/>
                <a:gd name="T2" fmla="*/ 664 w 822"/>
                <a:gd name="T3" fmla="*/ 304 h 612"/>
                <a:gd name="T4" fmla="*/ 696 w 822"/>
                <a:gd name="T5" fmla="*/ 318 h 612"/>
                <a:gd name="T6" fmla="*/ 660 w 822"/>
                <a:gd name="T7" fmla="*/ 342 h 612"/>
                <a:gd name="T8" fmla="*/ 696 w 822"/>
                <a:gd name="T9" fmla="*/ 402 h 612"/>
                <a:gd name="T10" fmla="*/ 710 w 822"/>
                <a:gd name="T11" fmla="*/ 470 h 612"/>
                <a:gd name="T12" fmla="*/ 698 w 822"/>
                <a:gd name="T13" fmla="*/ 494 h 612"/>
                <a:gd name="T14" fmla="*/ 684 w 822"/>
                <a:gd name="T15" fmla="*/ 526 h 612"/>
                <a:gd name="T16" fmla="*/ 658 w 822"/>
                <a:gd name="T17" fmla="*/ 544 h 612"/>
                <a:gd name="T18" fmla="*/ 644 w 822"/>
                <a:gd name="T19" fmla="*/ 566 h 612"/>
                <a:gd name="T20" fmla="*/ 594 w 822"/>
                <a:gd name="T21" fmla="*/ 578 h 612"/>
                <a:gd name="T22" fmla="*/ 542 w 822"/>
                <a:gd name="T23" fmla="*/ 610 h 612"/>
                <a:gd name="T24" fmla="*/ 526 w 822"/>
                <a:gd name="T25" fmla="*/ 588 h 612"/>
                <a:gd name="T26" fmla="*/ 484 w 822"/>
                <a:gd name="T27" fmla="*/ 566 h 612"/>
                <a:gd name="T28" fmla="*/ 430 w 822"/>
                <a:gd name="T29" fmla="*/ 586 h 612"/>
                <a:gd name="T30" fmla="*/ 410 w 822"/>
                <a:gd name="T31" fmla="*/ 592 h 612"/>
                <a:gd name="T32" fmla="*/ 390 w 822"/>
                <a:gd name="T33" fmla="*/ 566 h 612"/>
                <a:gd name="T34" fmla="*/ 366 w 822"/>
                <a:gd name="T35" fmla="*/ 544 h 612"/>
                <a:gd name="T36" fmla="*/ 384 w 822"/>
                <a:gd name="T37" fmla="*/ 510 h 612"/>
                <a:gd name="T38" fmla="*/ 350 w 822"/>
                <a:gd name="T39" fmla="*/ 480 h 612"/>
                <a:gd name="T40" fmla="*/ 296 w 822"/>
                <a:gd name="T41" fmla="*/ 472 h 612"/>
                <a:gd name="T42" fmla="*/ 224 w 822"/>
                <a:gd name="T43" fmla="*/ 490 h 612"/>
                <a:gd name="T44" fmla="*/ 164 w 822"/>
                <a:gd name="T45" fmla="*/ 470 h 612"/>
                <a:gd name="T46" fmla="*/ 156 w 822"/>
                <a:gd name="T47" fmla="*/ 466 h 612"/>
                <a:gd name="T48" fmla="*/ 112 w 822"/>
                <a:gd name="T49" fmla="*/ 446 h 612"/>
                <a:gd name="T50" fmla="*/ 78 w 822"/>
                <a:gd name="T51" fmla="*/ 418 h 612"/>
                <a:gd name="T52" fmla="*/ 50 w 822"/>
                <a:gd name="T53" fmla="*/ 394 h 612"/>
                <a:gd name="T54" fmla="*/ 20 w 822"/>
                <a:gd name="T55" fmla="*/ 378 h 612"/>
                <a:gd name="T56" fmla="*/ 18 w 822"/>
                <a:gd name="T57" fmla="*/ 318 h 612"/>
                <a:gd name="T58" fmla="*/ 0 w 822"/>
                <a:gd name="T59" fmla="*/ 302 h 612"/>
                <a:gd name="T60" fmla="*/ 30 w 822"/>
                <a:gd name="T61" fmla="*/ 286 h 612"/>
                <a:gd name="T62" fmla="*/ 56 w 822"/>
                <a:gd name="T63" fmla="*/ 270 h 612"/>
                <a:gd name="T64" fmla="*/ 86 w 822"/>
                <a:gd name="T65" fmla="*/ 246 h 612"/>
                <a:gd name="T66" fmla="*/ 72 w 822"/>
                <a:gd name="T67" fmla="*/ 210 h 612"/>
                <a:gd name="T68" fmla="*/ 112 w 822"/>
                <a:gd name="T69" fmla="*/ 186 h 612"/>
                <a:gd name="T70" fmla="*/ 134 w 822"/>
                <a:gd name="T71" fmla="*/ 162 h 612"/>
                <a:gd name="T72" fmla="*/ 152 w 822"/>
                <a:gd name="T73" fmla="*/ 132 h 612"/>
                <a:gd name="T74" fmla="*/ 176 w 822"/>
                <a:gd name="T75" fmla="*/ 110 h 612"/>
                <a:gd name="T76" fmla="*/ 214 w 822"/>
                <a:gd name="T77" fmla="*/ 134 h 612"/>
                <a:gd name="T78" fmla="*/ 260 w 822"/>
                <a:gd name="T79" fmla="*/ 174 h 612"/>
                <a:gd name="T80" fmla="*/ 312 w 822"/>
                <a:gd name="T81" fmla="*/ 214 h 612"/>
                <a:gd name="T82" fmla="*/ 420 w 822"/>
                <a:gd name="T83" fmla="*/ 232 h 612"/>
                <a:gd name="T84" fmla="*/ 464 w 822"/>
                <a:gd name="T85" fmla="*/ 222 h 612"/>
                <a:gd name="T86" fmla="*/ 516 w 822"/>
                <a:gd name="T87" fmla="*/ 206 h 612"/>
                <a:gd name="T88" fmla="*/ 528 w 822"/>
                <a:gd name="T89" fmla="*/ 176 h 612"/>
                <a:gd name="T90" fmla="*/ 586 w 822"/>
                <a:gd name="T91" fmla="*/ 142 h 612"/>
                <a:gd name="T92" fmla="*/ 596 w 822"/>
                <a:gd name="T93" fmla="*/ 116 h 612"/>
                <a:gd name="T94" fmla="*/ 558 w 822"/>
                <a:gd name="T95" fmla="*/ 112 h 612"/>
                <a:gd name="T96" fmla="*/ 586 w 822"/>
                <a:gd name="T97" fmla="*/ 84 h 612"/>
                <a:gd name="T98" fmla="*/ 602 w 822"/>
                <a:gd name="T99" fmla="*/ 50 h 612"/>
                <a:gd name="T100" fmla="*/ 600 w 822"/>
                <a:gd name="T101" fmla="*/ 12 h 612"/>
                <a:gd name="T102" fmla="*/ 668 w 822"/>
                <a:gd name="T103" fmla="*/ 6 h 612"/>
                <a:gd name="T104" fmla="*/ 710 w 822"/>
                <a:gd name="T105" fmla="*/ 68 h 612"/>
                <a:gd name="T106" fmla="*/ 756 w 822"/>
                <a:gd name="T107" fmla="*/ 94 h 612"/>
                <a:gd name="T108" fmla="*/ 796 w 822"/>
                <a:gd name="T109" fmla="*/ 112 h 612"/>
                <a:gd name="T110" fmla="*/ 820 w 822"/>
                <a:gd name="T111" fmla="*/ 130 h 612"/>
                <a:gd name="T112" fmla="*/ 812 w 822"/>
                <a:gd name="T113" fmla="*/ 172 h 612"/>
                <a:gd name="T114" fmla="*/ 790 w 822"/>
                <a:gd name="T115" fmla="*/ 184 h 612"/>
                <a:gd name="T116" fmla="*/ 798 w 822"/>
                <a:gd name="T117" fmla="*/ 208 h 612"/>
                <a:gd name="T118" fmla="*/ 758 w 822"/>
                <a:gd name="T119" fmla="*/ 238 h 612"/>
                <a:gd name="T120" fmla="*/ 728 w 822"/>
                <a:gd name="T121" fmla="*/ 252 h 612"/>
                <a:gd name="T122" fmla="*/ 674 w 822"/>
                <a:gd name="T123" fmla="*/ 284 h 612"/>
                <a:gd name="T124" fmla="*/ 664 w 822"/>
                <a:gd name="T125" fmla="*/ 248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2" h="612">
                  <a:moveTo>
                    <a:pt x="648" y="266"/>
                  </a:moveTo>
                  <a:lnTo>
                    <a:pt x="648" y="266"/>
                  </a:lnTo>
                  <a:lnTo>
                    <a:pt x="648" y="268"/>
                  </a:lnTo>
                  <a:lnTo>
                    <a:pt x="646" y="268"/>
                  </a:lnTo>
                  <a:lnTo>
                    <a:pt x="646" y="268"/>
                  </a:lnTo>
                  <a:lnTo>
                    <a:pt x="646" y="270"/>
                  </a:lnTo>
                  <a:lnTo>
                    <a:pt x="644" y="272"/>
                  </a:lnTo>
                  <a:lnTo>
                    <a:pt x="642" y="272"/>
                  </a:lnTo>
                  <a:lnTo>
                    <a:pt x="642" y="272"/>
                  </a:lnTo>
                  <a:lnTo>
                    <a:pt x="638" y="274"/>
                  </a:lnTo>
                  <a:lnTo>
                    <a:pt x="634" y="276"/>
                  </a:lnTo>
                  <a:lnTo>
                    <a:pt x="630" y="278"/>
                  </a:lnTo>
                  <a:lnTo>
                    <a:pt x="628" y="278"/>
                  </a:lnTo>
                  <a:lnTo>
                    <a:pt x="628" y="280"/>
                  </a:lnTo>
                  <a:lnTo>
                    <a:pt x="626" y="280"/>
                  </a:lnTo>
                  <a:lnTo>
                    <a:pt x="626" y="282"/>
                  </a:lnTo>
                  <a:lnTo>
                    <a:pt x="626" y="284"/>
                  </a:lnTo>
                  <a:lnTo>
                    <a:pt x="626" y="286"/>
                  </a:lnTo>
                  <a:lnTo>
                    <a:pt x="624" y="288"/>
                  </a:lnTo>
                  <a:lnTo>
                    <a:pt x="626" y="290"/>
                  </a:lnTo>
                  <a:lnTo>
                    <a:pt x="626" y="292"/>
                  </a:lnTo>
                  <a:lnTo>
                    <a:pt x="626" y="294"/>
                  </a:lnTo>
                  <a:lnTo>
                    <a:pt x="626" y="296"/>
                  </a:lnTo>
                  <a:lnTo>
                    <a:pt x="626" y="296"/>
                  </a:lnTo>
                  <a:lnTo>
                    <a:pt x="628" y="298"/>
                  </a:lnTo>
                  <a:lnTo>
                    <a:pt x="630" y="300"/>
                  </a:lnTo>
                  <a:lnTo>
                    <a:pt x="632" y="302"/>
                  </a:lnTo>
                  <a:lnTo>
                    <a:pt x="634" y="304"/>
                  </a:lnTo>
                  <a:lnTo>
                    <a:pt x="636" y="306"/>
                  </a:lnTo>
                  <a:lnTo>
                    <a:pt x="638" y="308"/>
                  </a:lnTo>
                  <a:lnTo>
                    <a:pt x="640" y="308"/>
                  </a:lnTo>
                  <a:lnTo>
                    <a:pt x="642" y="310"/>
                  </a:lnTo>
                  <a:lnTo>
                    <a:pt x="644" y="310"/>
                  </a:lnTo>
                  <a:lnTo>
                    <a:pt x="646" y="310"/>
                  </a:lnTo>
                  <a:lnTo>
                    <a:pt x="648" y="312"/>
                  </a:lnTo>
                  <a:lnTo>
                    <a:pt x="650" y="312"/>
                  </a:lnTo>
                  <a:lnTo>
                    <a:pt x="652" y="312"/>
                  </a:lnTo>
                  <a:lnTo>
                    <a:pt x="654" y="312"/>
                  </a:lnTo>
                  <a:lnTo>
                    <a:pt x="656" y="312"/>
                  </a:lnTo>
                  <a:lnTo>
                    <a:pt x="658" y="310"/>
                  </a:lnTo>
                  <a:lnTo>
                    <a:pt x="658" y="310"/>
                  </a:lnTo>
                  <a:lnTo>
                    <a:pt x="658" y="310"/>
                  </a:lnTo>
                  <a:lnTo>
                    <a:pt x="660" y="308"/>
                  </a:lnTo>
                  <a:lnTo>
                    <a:pt x="662" y="308"/>
                  </a:lnTo>
                  <a:lnTo>
                    <a:pt x="662" y="306"/>
                  </a:lnTo>
                  <a:lnTo>
                    <a:pt x="664" y="304"/>
                  </a:lnTo>
                  <a:lnTo>
                    <a:pt x="666" y="302"/>
                  </a:lnTo>
                  <a:lnTo>
                    <a:pt x="668" y="300"/>
                  </a:lnTo>
                  <a:lnTo>
                    <a:pt x="668" y="300"/>
                  </a:lnTo>
                  <a:lnTo>
                    <a:pt x="668" y="300"/>
                  </a:lnTo>
                  <a:lnTo>
                    <a:pt x="670" y="300"/>
                  </a:lnTo>
                  <a:lnTo>
                    <a:pt x="674" y="298"/>
                  </a:lnTo>
                  <a:lnTo>
                    <a:pt x="676" y="298"/>
                  </a:lnTo>
                  <a:lnTo>
                    <a:pt x="680" y="298"/>
                  </a:lnTo>
                  <a:lnTo>
                    <a:pt x="682" y="300"/>
                  </a:lnTo>
                  <a:lnTo>
                    <a:pt x="686" y="300"/>
                  </a:lnTo>
                  <a:lnTo>
                    <a:pt x="686" y="300"/>
                  </a:lnTo>
                  <a:lnTo>
                    <a:pt x="688" y="300"/>
                  </a:lnTo>
                  <a:lnTo>
                    <a:pt x="690" y="302"/>
                  </a:lnTo>
                  <a:lnTo>
                    <a:pt x="690" y="302"/>
                  </a:lnTo>
                  <a:lnTo>
                    <a:pt x="690" y="302"/>
                  </a:lnTo>
                  <a:lnTo>
                    <a:pt x="692" y="304"/>
                  </a:lnTo>
                  <a:lnTo>
                    <a:pt x="692" y="304"/>
                  </a:lnTo>
                  <a:lnTo>
                    <a:pt x="692" y="306"/>
                  </a:lnTo>
                  <a:lnTo>
                    <a:pt x="694" y="308"/>
                  </a:lnTo>
                  <a:lnTo>
                    <a:pt x="694" y="312"/>
                  </a:lnTo>
                  <a:lnTo>
                    <a:pt x="696" y="314"/>
                  </a:lnTo>
                  <a:lnTo>
                    <a:pt x="696" y="316"/>
                  </a:lnTo>
                  <a:lnTo>
                    <a:pt x="696" y="318"/>
                  </a:lnTo>
                  <a:lnTo>
                    <a:pt x="696" y="318"/>
                  </a:lnTo>
                  <a:lnTo>
                    <a:pt x="696" y="320"/>
                  </a:lnTo>
                  <a:lnTo>
                    <a:pt x="696" y="322"/>
                  </a:lnTo>
                  <a:lnTo>
                    <a:pt x="696" y="322"/>
                  </a:lnTo>
                  <a:lnTo>
                    <a:pt x="694" y="322"/>
                  </a:lnTo>
                  <a:lnTo>
                    <a:pt x="694" y="324"/>
                  </a:lnTo>
                  <a:lnTo>
                    <a:pt x="692" y="324"/>
                  </a:lnTo>
                  <a:lnTo>
                    <a:pt x="692" y="324"/>
                  </a:lnTo>
                  <a:lnTo>
                    <a:pt x="690" y="326"/>
                  </a:lnTo>
                  <a:lnTo>
                    <a:pt x="686" y="326"/>
                  </a:lnTo>
                  <a:lnTo>
                    <a:pt x="680" y="328"/>
                  </a:lnTo>
                  <a:lnTo>
                    <a:pt x="678" y="328"/>
                  </a:lnTo>
                  <a:lnTo>
                    <a:pt x="676" y="328"/>
                  </a:lnTo>
                  <a:lnTo>
                    <a:pt x="676" y="328"/>
                  </a:lnTo>
                  <a:lnTo>
                    <a:pt x="672" y="330"/>
                  </a:lnTo>
                  <a:lnTo>
                    <a:pt x="670" y="332"/>
                  </a:lnTo>
                  <a:lnTo>
                    <a:pt x="666" y="334"/>
                  </a:lnTo>
                  <a:lnTo>
                    <a:pt x="664" y="336"/>
                  </a:lnTo>
                  <a:lnTo>
                    <a:pt x="662" y="338"/>
                  </a:lnTo>
                  <a:lnTo>
                    <a:pt x="662" y="340"/>
                  </a:lnTo>
                  <a:lnTo>
                    <a:pt x="660" y="340"/>
                  </a:lnTo>
                  <a:lnTo>
                    <a:pt x="660" y="342"/>
                  </a:lnTo>
                  <a:lnTo>
                    <a:pt x="660" y="342"/>
                  </a:lnTo>
                  <a:lnTo>
                    <a:pt x="660" y="344"/>
                  </a:lnTo>
                  <a:lnTo>
                    <a:pt x="660" y="344"/>
                  </a:lnTo>
                  <a:lnTo>
                    <a:pt x="660" y="346"/>
                  </a:lnTo>
                  <a:lnTo>
                    <a:pt x="660" y="346"/>
                  </a:lnTo>
                  <a:lnTo>
                    <a:pt x="660" y="350"/>
                  </a:lnTo>
                  <a:lnTo>
                    <a:pt x="662" y="352"/>
                  </a:lnTo>
                  <a:lnTo>
                    <a:pt x="662" y="354"/>
                  </a:lnTo>
                  <a:lnTo>
                    <a:pt x="664" y="356"/>
                  </a:lnTo>
                  <a:lnTo>
                    <a:pt x="666" y="362"/>
                  </a:lnTo>
                  <a:lnTo>
                    <a:pt x="668" y="368"/>
                  </a:lnTo>
                  <a:lnTo>
                    <a:pt x="672" y="374"/>
                  </a:lnTo>
                  <a:lnTo>
                    <a:pt x="674" y="378"/>
                  </a:lnTo>
                  <a:lnTo>
                    <a:pt x="676" y="380"/>
                  </a:lnTo>
                  <a:lnTo>
                    <a:pt x="676" y="384"/>
                  </a:lnTo>
                  <a:lnTo>
                    <a:pt x="678" y="386"/>
                  </a:lnTo>
                  <a:lnTo>
                    <a:pt x="680" y="388"/>
                  </a:lnTo>
                  <a:lnTo>
                    <a:pt x="680" y="388"/>
                  </a:lnTo>
                  <a:lnTo>
                    <a:pt x="682" y="390"/>
                  </a:lnTo>
                  <a:lnTo>
                    <a:pt x="688" y="396"/>
                  </a:lnTo>
                  <a:lnTo>
                    <a:pt x="692" y="398"/>
                  </a:lnTo>
                  <a:lnTo>
                    <a:pt x="694" y="400"/>
                  </a:lnTo>
                  <a:lnTo>
                    <a:pt x="696" y="402"/>
                  </a:lnTo>
                  <a:lnTo>
                    <a:pt x="696" y="402"/>
                  </a:lnTo>
                  <a:lnTo>
                    <a:pt x="696" y="404"/>
                  </a:lnTo>
                  <a:lnTo>
                    <a:pt x="698" y="406"/>
                  </a:lnTo>
                  <a:lnTo>
                    <a:pt x="698" y="406"/>
                  </a:lnTo>
                  <a:lnTo>
                    <a:pt x="698" y="406"/>
                  </a:lnTo>
                  <a:lnTo>
                    <a:pt x="698" y="408"/>
                  </a:lnTo>
                  <a:lnTo>
                    <a:pt x="698" y="412"/>
                  </a:lnTo>
                  <a:lnTo>
                    <a:pt x="698" y="414"/>
                  </a:lnTo>
                  <a:lnTo>
                    <a:pt x="698" y="418"/>
                  </a:lnTo>
                  <a:lnTo>
                    <a:pt x="698" y="420"/>
                  </a:lnTo>
                  <a:lnTo>
                    <a:pt x="698" y="422"/>
                  </a:lnTo>
                  <a:lnTo>
                    <a:pt x="698" y="424"/>
                  </a:lnTo>
                  <a:lnTo>
                    <a:pt x="698" y="426"/>
                  </a:lnTo>
                  <a:lnTo>
                    <a:pt x="700" y="430"/>
                  </a:lnTo>
                  <a:lnTo>
                    <a:pt x="700" y="436"/>
                  </a:lnTo>
                  <a:lnTo>
                    <a:pt x="702" y="440"/>
                  </a:lnTo>
                  <a:lnTo>
                    <a:pt x="702" y="442"/>
                  </a:lnTo>
                  <a:lnTo>
                    <a:pt x="702" y="444"/>
                  </a:lnTo>
                  <a:lnTo>
                    <a:pt x="704" y="448"/>
                  </a:lnTo>
                  <a:lnTo>
                    <a:pt x="706" y="454"/>
                  </a:lnTo>
                  <a:lnTo>
                    <a:pt x="708" y="460"/>
                  </a:lnTo>
                  <a:lnTo>
                    <a:pt x="708" y="464"/>
                  </a:lnTo>
                  <a:lnTo>
                    <a:pt x="710" y="466"/>
                  </a:lnTo>
                  <a:lnTo>
                    <a:pt x="710" y="470"/>
                  </a:lnTo>
                  <a:lnTo>
                    <a:pt x="710" y="472"/>
                  </a:lnTo>
                  <a:lnTo>
                    <a:pt x="710" y="474"/>
                  </a:lnTo>
                  <a:lnTo>
                    <a:pt x="710" y="476"/>
                  </a:lnTo>
                  <a:lnTo>
                    <a:pt x="710" y="478"/>
                  </a:lnTo>
                  <a:lnTo>
                    <a:pt x="710" y="478"/>
                  </a:lnTo>
                  <a:lnTo>
                    <a:pt x="710" y="480"/>
                  </a:lnTo>
                  <a:lnTo>
                    <a:pt x="708" y="480"/>
                  </a:lnTo>
                  <a:lnTo>
                    <a:pt x="708" y="482"/>
                  </a:lnTo>
                  <a:lnTo>
                    <a:pt x="708" y="482"/>
                  </a:lnTo>
                  <a:lnTo>
                    <a:pt x="708" y="482"/>
                  </a:lnTo>
                  <a:lnTo>
                    <a:pt x="706" y="482"/>
                  </a:lnTo>
                  <a:lnTo>
                    <a:pt x="704" y="482"/>
                  </a:lnTo>
                  <a:lnTo>
                    <a:pt x="702" y="482"/>
                  </a:lnTo>
                  <a:lnTo>
                    <a:pt x="700" y="482"/>
                  </a:lnTo>
                  <a:lnTo>
                    <a:pt x="700" y="482"/>
                  </a:lnTo>
                  <a:lnTo>
                    <a:pt x="700" y="482"/>
                  </a:lnTo>
                  <a:lnTo>
                    <a:pt x="698" y="484"/>
                  </a:lnTo>
                  <a:lnTo>
                    <a:pt x="698" y="484"/>
                  </a:lnTo>
                  <a:lnTo>
                    <a:pt x="698" y="484"/>
                  </a:lnTo>
                  <a:lnTo>
                    <a:pt x="698" y="486"/>
                  </a:lnTo>
                  <a:lnTo>
                    <a:pt x="698" y="488"/>
                  </a:lnTo>
                  <a:lnTo>
                    <a:pt x="698" y="490"/>
                  </a:lnTo>
                  <a:lnTo>
                    <a:pt x="698" y="494"/>
                  </a:lnTo>
                  <a:lnTo>
                    <a:pt x="696" y="496"/>
                  </a:lnTo>
                  <a:lnTo>
                    <a:pt x="696" y="496"/>
                  </a:lnTo>
                  <a:lnTo>
                    <a:pt x="696" y="498"/>
                  </a:lnTo>
                  <a:lnTo>
                    <a:pt x="696" y="498"/>
                  </a:lnTo>
                  <a:lnTo>
                    <a:pt x="696" y="498"/>
                  </a:lnTo>
                  <a:lnTo>
                    <a:pt x="694" y="500"/>
                  </a:lnTo>
                  <a:lnTo>
                    <a:pt x="692" y="502"/>
                  </a:lnTo>
                  <a:lnTo>
                    <a:pt x="690" y="504"/>
                  </a:lnTo>
                  <a:lnTo>
                    <a:pt x="686" y="506"/>
                  </a:lnTo>
                  <a:lnTo>
                    <a:pt x="686" y="506"/>
                  </a:lnTo>
                  <a:lnTo>
                    <a:pt x="684" y="508"/>
                  </a:lnTo>
                  <a:lnTo>
                    <a:pt x="682" y="508"/>
                  </a:lnTo>
                  <a:lnTo>
                    <a:pt x="682" y="510"/>
                  </a:lnTo>
                  <a:lnTo>
                    <a:pt x="682" y="510"/>
                  </a:lnTo>
                  <a:lnTo>
                    <a:pt x="682" y="512"/>
                  </a:lnTo>
                  <a:lnTo>
                    <a:pt x="682" y="512"/>
                  </a:lnTo>
                  <a:lnTo>
                    <a:pt x="682" y="514"/>
                  </a:lnTo>
                  <a:lnTo>
                    <a:pt x="682" y="516"/>
                  </a:lnTo>
                  <a:lnTo>
                    <a:pt x="684" y="520"/>
                  </a:lnTo>
                  <a:lnTo>
                    <a:pt x="684" y="522"/>
                  </a:lnTo>
                  <a:lnTo>
                    <a:pt x="684" y="524"/>
                  </a:lnTo>
                  <a:lnTo>
                    <a:pt x="684" y="526"/>
                  </a:lnTo>
                  <a:lnTo>
                    <a:pt x="684" y="526"/>
                  </a:lnTo>
                  <a:lnTo>
                    <a:pt x="684" y="528"/>
                  </a:lnTo>
                  <a:lnTo>
                    <a:pt x="684" y="528"/>
                  </a:lnTo>
                  <a:lnTo>
                    <a:pt x="684" y="530"/>
                  </a:lnTo>
                  <a:lnTo>
                    <a:pt x="682" y="530"/>
                  </a:lnTo>
                  <a:lnTo>
                    <a:pt x="682" y="532"/>
                  </a:lnTo>
                  <a:lnTo>
                    <a:pt x="680" y="532"/>
                  </a:lnTo>
                  <a:lnTo>
                    <a:pt x="678" y="534"/>
                  </a:lnTo>
                  <a:lnTo>
                    <a:pt x="676" y="536"/>
                  </a:lnTo>
                  <a:lnTo>
                    <a:pt x="674" y="538"/>
                  </a:lnTo>
                  <a:lnTo>
                    <a:pt x="672" y="538"/>
                  </a:lnTo>
                  <a:lnTo>
                    <a:pt x="670" y="538"/>
                  </a:lnTo>
                  <a:lnTo>
                    <a:pt x="668" y="538"/>
                  </a:lnTo>
                  <a:lnTo>
                    <a:pt x="668" y="538"/>
                  </a:lnTo>
                  <a:lnTo>
                    <a:pt x="664" y="538"/>
                  </a:lnTo>
                  <a:lnTo>
                    <a:pt x="664" y="538"/>
                  </a:lnTo>
                  <a:lnTo>
                    <a:pt x="662" y="540"/>
                  </a:lnTo>
                  <a:lnTo>
                    <a:pt x="660" y="540"/>
                  </a:lnTo>
                  <a:lnTo>
                    <a:pt x="660" y="540"/>
                  </a:lnTo>
                  <a:lnTo>
                    <a:pt x="660" y="540"/>
                  </a:lnTo>
                  <a:lnTo>
                    <a:pt x="660" y="540"/>
                  </a:lnTo>
                  <a:lnTo>
                    <a:pt x="658" y="542"/>
                  </a:lnTo>
                  <a:lnTo>
                    <a:pt x="658" y="542"/>
                  </a:lnTo>
                  <a:lnTo>
                    <a:pt x="658" y="544"/>
                  </a:lnTo>
                  <a:lnTo>
                    <a:pt x="658" y="546"/>
                  </a:lnTo>
                  <a:lnTo>
                    <a:pt x="658" y="548"/>
                  </a:lnTo>
                  <a:lnTo>
                    <a:pt x="658" y="550"/>
                  </a:lnTo>
                  <a:lnTo>
                    <a:pt x="658" y="552"/>
                  </a:lnTo>
                  <a:lnTo>
                    <a:pt x="658" y="552"/>
                  </a:lnTo>
                  <a:lnTo>
                    <a:pt x="658" y="554"/>
                  </a:lnTo>
                  <a:lnTo>
                    <a:pt x="658" y="554"/>
                  </a:lnTo>
                  <a:lnTo>
                    <a:pt x="658" y="554"/>
                  </a:lnTo>
                  <a:lnTo>
                    <a:pt x="656" y="556"/>
                  </a:lnTo>
                  <a:lnTo>
                    <a:pt x="656" y="556"/>
                  </a:lnTo>
                  <a:lnTo>
                    <a:pt x="654" y="556"/>
                  </a:lnTo>
                  <a:lnTo>
                    <a:pt x="654" y="556"/>
                  </a:lnTo>
                  <a:lnTo>
                    <a:pt x="652" y="556"/>
                  </a:lnTo>
                  <a:lnTo>
                    <a:pt x="650" y="558"/>
                  </a:lnTo>
                  <a:lnTo>
                    <a:pt x="648" y="558"/>
                  </a:lnTo>
                  <a:lnTo>
                    <a:pt x="646" y="558"/>
                  </a:lnTo>
                  <a:lnTo>
                    <a:pt x="646" y="558"/>
                  </a:lnTo>
                  <a:lnTo>
                    <a:pt x="646" y="558"/>
                  </a:lnTo>
                  <a:lnTo>
                    <a:pt x="646" y="560"/>
                  </a:lnTo>
                  <a:lnTo>
                    <a:pt x="646" y="560"/>
                  </a:lnTo>
                  <a:lnTo>
                    <a:pt x="644" y="562"/>
                  </a:lnTo>
                  <a:lnTo>
                    <a:pt x="644" y="564"/>
                  </a:lnTo>
                  <a:lnTo>
                    <a:pt x="644" y="566"/>
                  </a:lnTo>
                  <a:lnTo>
                    <a:pt x="644" y="568"/>
                  </a:lnTo>
                  <a:lnTo>
                    <a:pt x="644" y="570"/>
                  </a:lnTo>
                  <a:lnTo>
                    <a:pt x="644" y="572"/>
                  </a:lnTo>
                  <a:lnTo>
                    <a:pt x="644" y="572"/>
                  </a:lnTo>
                  <a:lnTo>
                    <a:pt x="644" y="572"/>
                  </a:lnTo>
                  <a:lnTo>
                    <a:pt x="642" y="574"/>
                  </a:lnTo>
                  <a:lnTo>
                    <a:pt x="642" y="574"/>
                  </a:lnTo>
                  <a:lnTo>
                    <a:pt x="640" y="576"/>
                  </a:lnTo>
                  <a:lnTo>
                    <a:pt x="638" y="576"/>
                  </a:lnTo>
                  <a:lnTo>
                    <a:pt x="636" y="576"/>
                  </a:lnTo>
                  <a:lnTo>
                    <a:pt x="632" y="578"/>
                  </a:lnTo>
                  <a:lnTo>
                    <a:pt x="628" y="578"/>
                  </a:lnTo>
                  <a:lnTo>
                    <a:pt x="624" y="580"/>
                  </a:lnTo>
                  <a:lnTo>
                    <a:pt x="620" y="580"/>
                  </a:lnTo>
                  <a:lnTo>
                    <a:pt x="618" y="580"/>
                  </a:lnTo>
                  <a:lnTo>
                    <a:pt x="616" y="580"/>
                  </a:lnTo>
                  <a:lnTo>
                    <a:pt x="614" y="580"/>
                  </a:lnTo>
                  <a:lnTo>
                    <a:pt x="608" y="578"/>
                  </a:lnTo>
                  <a:lnTo>
                    <a:pt x="604" y="578"/>
                  </a:lnTo>
                  <a:lnTo>
                    <a:pt x="602" y="578"/>
                  </a:lnTo>
                  <a:lnTo>
                    <a:pt x="600" y="578"/>
                  </a:lnTo>
                  <a:lnTo>
                    <a:pt x="596" y="578"/>
                  </a:lnTo>
                  <a:lnTo>
                    <a:pt x="594" y="578"/>
                  </a:lnTo>
                  <a:lnTo>
                    <a:pt x="590" y="580"/>
                  </a:lnTo>
                  <a:lnTo>
                    <a:pt x="588" y="580"/>
                  </a:lnTo>
                  <a:lnTo>
                    <a:pt x="584" y="582"/>
                  </a:lnTo>
                  <a:lnTo>
                    <a:pt x="582" y="582"/>
                  </a:lnTo>
                  <a:lnTo>
                    <a:pt x="578" y="584"/>
                  </a:lnTo>
                  <a:lnTo>
                    <a:pt x="576" y="586"/>
                  </a:lnTo>
                  <a:lnTo>
                    <a:pt x="574" y="586"/>
                  </a:lnTo>
                  <a:lnTo>
                    <a:pt x="572" y="588"/>
                  </a:lnTo>
                  <a:lnTo>
                    <a:pt x="568" y="592"/>
                  </a:lnTo>
                  <a:lnTo>
                    <a:pt x="564" y="594"/>
                  </a:lnTo>
                  <a:lnTo>
                    <a:pt x="560" y="598"/>
                  </a:lnTo>
                  <a:lnTo>
                    <a:pt x="554" y="602"/>
                  </a:lnTo>
                  <a:lnTo>
                    <a:pt x="552" y="604"/>
                  </a:lnTo>
                  <a:lnTo>
                    <a:pt x="552" y="606"/>
                  </a:lnTo>
                  <a:lnTo>
                    <a:pt x="550" y="608"/>
                  </a:lnTo>
                  <a:lnTo>
                    <a:pt x="548" y="610"/>
                  </a:lnTo>
                  <a:lnTo>
                    <a:pt x="546" y="610"/>
                  </a:lnTo>
                  <a:lnTo>
                    <a:pt x="546" y="612"/>
                  </a:lnTo>
                  <a:lnTo>
                    <a:pt x="546" y="612"/>
                  </a:lnTo>
                  <a:lnTo>
                    <a:pt x="544" y="612"/>
                  </a:lnTo>
                  <a:lnTo>
                    <a:pt x="544" y="612"/>
                  </a:lnTo>
                  <a:lnTo>
                    <a:pt x="542" y="612"/>
                  </a:lnTo>
                  <a:lnTo>
                    <a:pt x="542" y="610"/>
                  </a:lnTo>
                  <a:lnTo>
                    <a:pt x="542" y="610"/>
                  </a:lnTo>
                  <a:lnTo>
                    <a:pt x="542" y="608"/>
                  </a:lnTo>
                  <a:lnTo>
                    <a:pt x="540" y="608"/>
                  </a:lnTo>
                  <a:lnTo>
                    <a:pt x="540" y="606"/>
                  </a:lnTo>
                  <a:lnTo>
                    <a:pt x="540" y="602"/>
                  </a:lnTo>
                  <a:lnTo>
                    <a:pt x="540" y="600"/>
                  </a:lnTo>
                  <a:lnTo>
                    <a:pt x="540" y="596"/>
                  </a:lnTo>
                  <a:lnTo>
                    <a:pt x="540" y="594"/>
                  </a:lnTo>
                  <a:lnTo>
                    <a:pt x="538" y="594"/>
                  </a:lnTo>
                  <a:lnTo>
                    <a:pt x="538" y="592"/>
                  </a:lnTo>
                  <a:lnTo>
                    <a:pt x="538" y="592"/>
                  </a:lnTo>
                  <a:lnTo>
                    <a:pt x="536" y="590"/>
                  </a:lnTo>
                  <a:lnTo>
                    <a:pt x="536" y="590"/>
                  </a:lnTo>
                  <a:lnTo>
                    <a:pt x="534" y="588"/>
                  </a:lnTo>
                  <a:lnTo>
                    <a:pt x="534" y="588"/>
                  </a:lnTo>
                  <a:lnTo>
                    <a:pt x="532" y="588"/>
                  </a:lnTo>
                  <a:lnTo>
                    <a:pt x="532" y="586"/>
                  </a:lnTo>
                  <a:lnTo>
                    <a:pt x="530" y="586"/>
                  </a:lnTo>
                  <a:lnTo>
                    <a:pt x="530" y="586"/>
                  </a:lnTo>
                  <a:lnTo>
                    <a:pt x="528" y="586"/>
                  </a:lnTo>
                  <a:lnTo>
                    <a:pt x="528" y="588"/>
                  </a:lnTo>
                  <a:lnTo>
                    <a:pt x="528" y="588"/>
                  </a:lnTo>
                  <a:lnTo>
                    <a:pt x="526" y="588"/>
                  </a:lnTo>
                  <a:lnTo>
                    <a:pt x="526" y="590"/>
                  </a:lnTo>
                  <a:lnTo>
                    <a:pt x="526" y="592"/>
                  </a:lnTo>
                  <a:lnTo>
                    <a:pt x="524" y="592"/>
                  </a:lnTo>
                  <a:lnTo>
                    <a:pt x="524" y="596"/>
                  </a:lnTo>
                  <a:lnTo>
                    <a:pt x="524" y="598"/>
                  </a:lnTo>
                  <a:lnTo>
                    <a:pt x="522" y="602"/>
                  </a:lnTo>
                  <a:lnTo>
                    <a:pt x="522" y="604"/>
                  </a:lnTo>
                  <a:lnTo>
                    <a:pt x="520" y="600"/>
                  </a:lnTo>
                  <a:lnTo>
                    <a:pt x="518" y="596"/>
                  </a:lnTo>
                  <a:lnTo>
                    <a:pt x="514" y="590"/>
                  </a:lnTo>
                  <a:lnTo>
                    <a:pt x="512" y="586"/>
                  </a:lnTo>
                  <a:lnTo>
                    <a:pt x="508" y="580"/>
                  </a:lnTo>
                  <a:lnTo>
                    <a:pt x="506" y="578"/>
                  </a:lnTo>
                  <a:lnTo>
                    <a:pt x="504" y="576"/>
                  </a:lnTo>
                  <a:lnTo>
                    <a:pt x="502" y="574"/>
                  </a:lnTo>
                  <a:lnTo>
                    <a:pt x="502" y="572"/>
                  </a:lnTo>
                  <a:lnTo>
                    <a:pt x="500" y="572"/>
                  </a:lnTo>
                  <a:lnTo>
                    <a:pt x="498" y="572"/>
                  </a:lnTo>
                  <a:lnTo>
                    <a:pt x="496" y="570"/>
                  </a:lnTo>
                  <a:lnTo>
                    <a:pt x="494" y="568"/>
                  </a:lnTo>
                  <a:lnTo>
                    <a:pt x="490" y="568"/>
                  </a:lnTo>
                  <a:lnTo>
                    <a:pt x="488" y="566"/>
                  </a:lnTo>
                  <a:lnTo>
                    <a:pt x="484" y="566"/>
                  </a:lnTo>
                  <a:lnTo>
                    <a:pt x="478" y="566"/>
                  </a:lnTo>
                  <a:lnTo>
                    <a:pt x="476" y="564"/>
                  </a:lnTo>
                  <a:lnTo>
                    <a:pt x="470" y="564"/>
                  </a:lnTo>
                  <a:lnTo>
                    <a:pt x="466" y="564"/>
                  </a:lnTo>
                  <a:lnTo>
                    <a:pt x="464" y="564"/>
                  </a:lnTo>
                  <a:lnTo>
                    <a:pt x="464" y="566"/>
                  </a:lnTo>
                  <a:lnTo>
                    <a:pt x="462" y="566"/>
                  </a:lnTo>
                  <a:lnTo>
                    <a:pt x="460" y="566"/>
                  </a:lnTo>
                  <a:lnTo>
                    <a:pt x="458" y="568"/>
                  </a:lnTo>
                  <a:lnTo>
                    <a:pt x="454" y="570"/>
                  </a:lnTo>
                  <a:lnTo>
                    <a:pt x="450" y="572"/>
                  </a:lnTo>
                  <a:lnTo>
                    <a:pt x="444" y="576"/>
                  </a:lnTo>
                  <a:lnTo>
                    <a:pt x="440" y="578"/>
                  </a:lnTo>
                  <a:lnTo>
                    <a:pt x="440" y="578"/>
                  </a:lnTo>
                  <a:lnTo>
                    <a:pt x="436" y="580"/>
                  </a:lnTo>
                  <a:lnTo>
                    <a:pt x="434" y="580"/>
                  </a:lnTo>
                  <a:lnTo>
                    <a:pt x="432" y="580"/>
                  </a:lnTo>
                  <a:lnTo>
                    <a:pt x="430" y="582"/>
                  </a:lnTo>
                  <a:lnTo>
                    <a:pt x="430" y="582"/>
                  </a:lnTo>
                  <a:lnTo>
                    <a:pt x="430" y="582"/>
                  </a:lnTo>
                  <a:lnTo>
                    <a:pt x="430" y="584"/>
                  </a:lnTo>
                  <a:lnTo>
                    <a:pt x="428" y="584"/>
                  </a:lnTo>
                  <a:lnTo>
                    <a:pt x="430" y="586"/>
                  </a:lnTo>
                  <a:lnTo>
                    <a:pt x="430" y="586"/>
                  </a:lnTo>
                  <a:lnTo>
                    <a:pt x="430" y="588"/>
                  </a:lnTo>
                  <a:lnTo>
                    <a:pt x="430" y="590"/>
                  </a:lnTo>
                  <a:lnTo>
                    <a:pt x="432" y="592"/>
                  </a:lnTo>
                  <a:lnTo>
                    <a:pt x="432" y="594"/>
                  </a:lnTo>
                  <a:lnTo>
                    <a:pt x="432" y="596"/>
                  </a:lnTo>
                  <a:lnTo>
                    <a:pt x="432" y="596"/>
                  </a:lnTo>
                  <a:lnTo>
                    <a:pt x="432" y="598"/>
                  </a:lnTo>
                  <a:lnTo>
                    <a:pt x="432" y="598"/>
                  </a:lnTo>
                  <a:lnTo>
                    <a:pt x="432" y="598"/>
                  </a:lnTo>
                  <a:lnTo>
                    <a:pt x="430" y="600"/>
                  </a:lnTo>
                  <a:lnTo>
                    <a:pt x="428" y="600"/>
                  </a:lnTo>
                  <a:lnTo>
                    <a:pt x="428" y="600"/>
                  </a:lnTo>
                  <a:lnTo>
                    <a:pt x="426" y="600"/>
                  </a:lnTo>
                  <a:lnTo>
                    <a:pt x="424" y="600"/>
                  </a:lnTo>
                  <a:lnTo>
                    <a:pt x="420" y="600"/>
                  </a:lnTo>
                  <a:lnTo>
                    <a:pt x="418" y="600"/>
                  </a:lnTo>
                  <a:lnTo>
                    <a:pt x="414" y="600"/>
                  </a:lnTo>
                  <a:lnTo>
                    <a:pt x="412" y="600"/>
                  </a:lnTo>
                  <a:lnTo>
                    <a:pt x="412" y="600"/>
                  </a:lnTo>
                  <a:lnTo>
                    <a:pt x="410" y="596"/>
                  </a:lnTo>
                  <a:lnTo>
                    <a:pt x="410" y="594"/>
                  </a:lnTo>
                  <a:lnTo>
                    <a:pt x="410" y="592"/>
                  </a:lnTo>
                  <a:lnTo>
                    <a:pt x="408" y="592"/>
                  </a:lnTo>
                  <a:lnTo>
                    <a:pt x="408" y="590"/>
                  </a:lnTo>
                  <a:lnTo>
                    <a:pt x="408" y="590"/>
                  </a:lnTo>
                  <a:lnTo>
                    <a:pt x="408" y="590"/>
                  </a:lnTo>
                  <a:lnTo>
                    <a:pt x="406" y="590"/>
                  </a:lnTo>
                  <a:lnTo>
                    <a:pt x="406" y="590"/>
                  </a:lnTo>
                  <a:lnTo>
                    <a:pt x="404" y="590"/>
                  </a:lnTo>
                  <a:lnTo>
                    <a:pt x="400" y="590"/>
                  </a:lnTo>
                  <a:lnTo>
                    <a:pt x="398" y="588"/>
                  </a:lnTo>
                  <a:lnTo>
                    <a:pt x="396" y="588"/>
                  </a:lnTo>
                  <a:lnTo>
                    <a:pt x="396" y="588"/>
                  </a:lnTo>
                  <a:lnTo>
                    <a:pt x="396" y="588"/>
                  </a:lnTo>
                  <a:lnTo>
                    <a:pt x="394" y="588"/>
                  </a:lnTo>
                  <a:lnTo>
                    <a:pt x="394" y="588"/>
                  </a:lnTo>
                  <a:lnTo>
                    <a:pt x="394" y="586"/>
                  </a:lnTo>
                  <a:lnTo>
                    <a:pt x="392" y="586"/>
                  </a:lnTo>
                  <a:lnTo>
                    <a:pt x="392" y="584"/>
                  </a:lnTo>
                  <a:lnTo>
                    <a:pt x="392" y="582"/>
                  </a:lnTo>
                  <a:lnTo>
                    <a:pt x="392" y="580"/>
                  </a:lnTo>
                  <a:lnTo>
                    <a:pt x="392" y="576"/>
                  </a:lnTo>
                  <a:lnTo>
                    <a:pt x="392" y="570"/>
                  </a:lnTo>
                  <a:lnTo>
                    <a:pt x="390" y="566"/>
                  </a:lnTo>
                  <a:lnTo>
                    <a:pt x="390" y="566"/>
                  </a:lnTo>
                  <a:lnTo>
                    <a:pt x="390" y="564"/>
                  </a:lnTo>
                  <a:lnTo>
                    <a:pt x="390" y="560"/>
                  </a:lnTo>
                  <a:lnTo>
                    <a:pt x="388" y="558"/>
                  </a:lnTo>
                  <a:lnTo>
                    <a:pt x="388" y="556"/>
                  </a:lnTo>
                  <a:lnTo>
                    <a:pt x="386" y="554"/>
                  </a:lnTo>
                  <a:lnTo>
                    <a:pt x="386" y="552"/>
                  </a:lnTo>
                  <a:lnTo>
                    <a:pt x="384" y="550"/>
                  </a:lnTo>
                  <a:lnTo>
                    <a:pt x="384" y="550"/>
                  </a:lnTo>
                  <a:lnTo>
                    <a:pt x="382" y="548"/>
                  </a:lnTo>
                  <a:lnTo>
                    <a:pt x="382" y="548"/>
                  </a:lnTo>
                  <a:lnTo>
                    <a:pt x="382" y="548"/>
                  </a:lnTo>
                  <a:lnTo>
                    <a:pt x="380" y="548"/>
                  </a:lnTo>
                  <a:lnTo>
                    <a:pt x="380" y="548"/>
                  </a:lnTo>
                  <a:lnTo>
                    <a:pt x="376" y="548"/>
                  </a:lnTo>
                  <a:lnTo>
                    <a:pt x="374" y="548"/>
                  </a:lnTo>
                  <a:lnTo>
                    <a:pt x="372" y="548"/>
                  </a:lnTo>
                  <a:lnTo>
                    <a:pt x="370" y="548"/>
                  </a:lnTo>
                  <a:lnTo>
                    <a:pt x="368" y="548"/>
                  </a:lnTo>
                  <a:lnTo>
                    <a:pt x="368" y="548"/>
                  </a:lnTo>
                  <a:lnTo>
                    <a:pt x="368" y="546"/>
                  </a:lnTo>
                  <a:lnTo>
                    <a:pt x="366" y="546"/>
                  </a:lnTo>
                  <a:lnTo>
                    <a:pt x="366" y="546"/>
                  </a:lnTo>
                  <a:lnTo>
                    <a:pt x="366" y="544"/>
                  </a:lnTo>
                  <a:lnTo>
                    <a:pt x="366" y="544"/>
                  </a:lnTo>
                  <a:lnTo>
                    <a:pt x="366" y="542"/>
                  </a:lnTo>
                  <a:lnTo>
                    <a:pt x="366" y="540"/>
                  </a:lnTo>
                  <a:lnTo>
                    <a:pt x="366" y="538"/>
                  </a:lnTo>
                  <a:lnTo>
                    <a:pt x="366" y="536"/>
                  </a:lnTo>
                  <a:lnTo>
                    <a:pt x="368" y="534"/>
                  </a:lnTo>
                  <a:lnTo>
                    <a:pt x="368" y="534"/>
                  </a:lnTo>
                  <a:lnTo>
                    <a:pt x="368" y="532"/>
                  </a:lnTo>
                  <a:lnTo>
                    <a:pt x="370" y="532"/>
                  </a:lnTo>
                  <a:lnTo>
                    <a:pt x="372" y="530"/>
                  </a:lnTo>
                  <a:lnTo>
                    <a:pt x="372" y="530"/>
                  </a:lnTo>
                  <a:lnTo>
                    <a:pt x="376" y="528"/>
                  </a:lnTo>
                  <a:lnTo>
                    <a:pt x="376" y="528"/>
                  </a:lnTo>
                  <a:lnTo>
                    <a:pt x="378" y="526"/>
                  </a:lnTo>
                  <a:lnTo>
                    <a:pt x="380" y="524"/>
                  </a:lnTo>
                  <a:lnTo>
                    <a:pt x="382" y="520"/>
                  </a:lnTo>
                  <a:lnTo>
                    <a:pt x="382" y="518"/>
                  </a:lnTo>
                  <a:lnTo>
                    <a:pt x="384" y="516"/>
                  </a:lnTo>
                  <a:lnTo>
                    <a:pt x="384" y="516"/>
                  </a:lnTo>
                  <a:lnTo>
                    <a:pt x="384" y="514"/>
                  </a:lnTo>
                  <a:lnTo>
                    <a:pt x="384" y="512"/>
                  </a:lnTo>
                  <a:lnTo>
                    <a:pt x="384" y="512"/>
                  </a:lnTo>
                  <a:lnTo>
                    <a:pt x="384" y="510"/>
                  </a:lnTo>
                  <a:lnTo>
                    <a:pt x="382" y="508"/>
                  </a:lnTo>
                  <a:lnTo>
                    <a:pt x="382" y="506"/>
                  </a:lnTo>
                  <a:lnTo>
                    <a:pt x="380" y="500"/>
                  </a:lnTo>
                  <a:lnTo>
                    <a:pt x="378" y="498"/>
                  </a:lnTo>
                  <a:lnTo>
                    <a:pt x="378" y="494"/>
                  </a:lnTo>
                  <a:lnTo>
                    <a:pt x="376" y="492"/>
                  </a:lnTo>
                  <a:lnTo>
                    <a:pt x="376" y="492"/>
                  </a:lnTo>
                  <a:lnTo>
                    <a:pt x="376" y="490"/>
                  </a:lnTo>
                  <a:lnTo>
                    <a:pt x="374" y="488"/>
                  </a:lnTo>
                  <a:lnTo>
                    <a:pt x="374" y="488"/>
                  </a:lnTo>
                  <a:lnTo>
                    <a:pt x="374" y="488"/>
                  </a:lnTo>
                  <a:lnTo>
                    <a:pt x="372" y="488"/>
                  </a:lnTo>
                  <a:lnTo>
                    <a:pt x="372" y="488"/>
                  </a:lnTo>
                  <a:lnTo>
                    <a:pt x="370" y="488"/>
                  </a:lnTo>
                  <a:lnTo>
                    <a:pt x="368" y="488"/>
                  </a:lnTo>
                  <a:lnTo>
                    <a:pt x="364" y="488"/>
                  </a:lnTo>
                  <a:lnTo>
                    <a:pt x="362" y="490"/>
                  </a:lnTo>
                  <a:lnTo>
                    <a:pt x="360" y="490"/>
                  </a:lnTo>
                  <a:lnTo>
                    <a:pt x="358" y="490"/>
                  </a:lnTo>
                  <a:lnTo>
                    <a:pt x="356" y="488"/>
                  </a:lnTo>
                  <a:lnTo>
                    <a:pt x="354" y="484"/>
                  </a:lnTo>
                  <a:lnTo>
                    <a:pt x="352" y="482"/>
                  </a:lnTo>
                  <a:lnTo>
                    <a:pt x="350" y="480"/>
                  </a:lnTo>
                  <a:lnTo>
                    <a:pt x="350" y="478"/>
                  </a:lnTo>
                  <a:lnTo>
                    <a:pt x="348" y="476"/>
                  </a:lnTo>
                  <a:lnTo>
                    <a:pt x="346" y="474"/>
                  </a:lnTo>
                  <a:lnTo>
                    <a:pt x="344" y="474"/>
                  </a:lnTo>
                  <a:lnTo>
                    <a:pt x="342" y="472"/>
                  </a:lnTo>
                  <a:lnTo>
                    <a:pt x="340" y="470"/>
                  </a:lnTo>
                  <a:lnTo>
                    <a:pt x="338" y="470"/>
                  </a:lnTo>
                  <a:lnTo>
                    <a:pt x="336" y="468"/>
                  </a:lnTo>
                  <a:lnTo>
                    <a:pt x="334" y="468"/>
                  </a:lnTo>
                  <a:lnTo>
                    <a:pt x="332" y="466"/>
                  </a:lnTo>
                  <a:lnTo>
                    <a:pt x="328" y="466"/>
                  </a:lnTo>
                  <a:lnTo>
                    <a:pt x="326" y="466"/>
                  </a:lnTo>
                  <a:lnTo>
                    <a:pt x="322" y="466"/>
                  </a:lnTo>
                  <a:lnTo>
                    <a:pt x="320" y="466"/>
                  </a:lnTo>
                  <a:lnTo>
                    <a:pt x="316" y="466"/>
                  </a:lnTo>
                  <a:lnTo>
                    <a:pt x="314" y="466"/>
                  </a:lnTo>
                  <a:lnTo>
                    <a:pt x="310" y="466"/>
                  </a:lnTo>
                  <a:lnTo>
                    <a:pt x="308" y="466"/>
                  </a:lnTo>
                  <a:lnTo>
                    <a:pt x="306" y="468"/>
                  </a:lnTo>
                  <a:lnTo>
                    <a:pt x="304" y="468"/>
                  </a:lnTo>
                  <a:lnTo>
                    <a:pt x="302" y="470"/>
                  </a:lnTo>
                  <a:lnTo>
                    <a:pt x="300" y="472"/>
                  </a:lnTo>
                  <a:lnTo>
                    <a:pt x="296" y="472"/>
                  </a:lnTo>
                  <a:lnTo>
                    <a:pt x="294" y="474"/>
                  </a:lnTo>
                  <a:lnTo>
                    <a:pt x="292" y="476"/>
                  </a:lnTo>
                  <a:lnTo>
                    <a:pt x="290" y="476"/>
                  </a:lnTo>
                  <a:lnTo>
                    <a:pt x="290" y="478"/>
                  </a:lnTo>
                  <a:lnTo>
                    <a:pt x="288" y="480"/>
                  </a:lnTo>
                  <a:lnTo>
                    <a:pt x="286" y="484"/>
                  </a:lnTo>
                  <a:lnTo>
                    <a:pt x="284" y="488"/>
                  </a:lnTo>
                  <a:lnTo>
                    <a:pt x="280" y="488"/>
                  </a:lnTo>
                  <a:lnTo>
                    <a:pt x="274" y="488"/>
                  </a:lnTo>
                  <a:lnTo>
                    <a:pt x="270" y="488"/>
                  </a:lnTo>
                  <a:lnTo>
                    <a:pt x="266" y="488"/>
                  </a:lnTo>
                  <a:lnTo>
                    <a:pt x="262" y="488"/>
                  </a:lnTo>
                  <a:lnTo>
                    <a:pt x="260" y="488"/>
                  </a:lnTo>
                  <a:lnTo>
                    <a:pt x="260" y="488"/>
                  </a:lnTo>
                  <a:lnTo>
                    <a:pt x="258" y="488"/>
                  </a:lnTo>
                  <a:lnTo>
                    <a:pt x="254" y="486"/>
                  </a:lnTo>
                  <a:lnTo>
                    <a:pt x="250" y="484"/>
                  </a:lnTo>
                  <a:lnTo>
                    <a:pt x="246" y="482"/>
                  </a:lnTo>
                  <a:lnTo>
                    <a:pt x="244" y="480"/>
                  </a:lnTo>
                  <a:lnTo>
                    <a:pt x="236" y="494"/>
                  </a:lnTo>
                  <a:lnTo>
                    <a:pt x="230" y="492"/>
                  </a:lnTo>
                  <a:lnTo>
                    <a:pt x="226" y="490"/>
                  </a:lnTo>
                  <a:lnTo>
                    <a:pt x="224" y="490"/>
                  </a:lnTo>
                  <a:lnTo>
                    <a:pt x="222" y="490"/>
                  </a:lnTo>
                  <a:lnTo>
                    <a:pt x="218" y="490"/>
                  </a:lnTo>
                  <a:lnTo>
                    <a:pt x="214" y="488"/>
                  </a:lnTo>
                  <a:lnTo>
                    <a:pt x="206" y="488"/>
                  </a:lnTo>
                  <a:lnTo>
                    <a:pt x="202" y="488"/>
                  </a:lnTo>
                  <a:lnTo>
                    <a:pt x="196" y="488"/>
                  </a:lnTo>
                  <a:lnTo>
                    <a:pt x="194" y="488"/>
                  </a:lnTo>
                  <a:lnTo>
                    <a:pt x="192" y="488"/>
                  </a:lnTo>
                  <a:lnTo>
                    <a:pt x="190" y="488"/>
                  </a:lnTo>
                  <a:lnTo>
                    <a:pt x="188" y="486"/>
                  </a:lnTo>
                  <a:lnTo>
                    <a:pt x="186" y="486"/>
                  </a:lnTo>
                  <a:lnTo>
                    <a:pt x="182" y="484"/>
                  </a:lnTo>
                  <a:lnTo>
                    <a:pt x="176" y="480"/>
                  </a:lnTo>
                  <a:lnTo>
                    <a:pt x="172" y="478"/>
                  </a:lnTo>
                  <a:lnTo>
                    <a:pt x="170" y="476"/>
                  </a:lnTo>
                  <a:lnTo>
                    <a:pt x="168" y="476"/>
                  </a:lnTo>
                  <a:lnTo>
                    <a:pt x="166" y="476"/>
                  </a:lnTo>
                  <a:lnTo>
                    <a:pt x="164" y="474"/>
                  </a:lnTo>
                  <a:lnTo>
                    <a:pt x="164" y="474"/>
                  </a:lnTo>
                  <a:lnTo>
                    <a:pt x="164" y="472"/>
                  </a:lnTo>
                  <a:lnTo>
                    <a:pt x="164" y="472"/>
                  </a:lnTo>
                  <a:lnTo>
                    <a:pt x="164" y="470"/>
                  </a:lnTo>
                  <a:lnTo>
                    <a:pt x="164" y="470"/>
                  </a:lnTo>
                  <a:lnTo>
                    <a:pt x="164" y="466"/>
                  </a:lnTo>
                  <a:lnTo>
                    <a:pt x="164" y="464"/>
                  </a:lnTo>
                  <a:lnTo>
                    <a:pt x="164" y="462"/>
                  </a:lnTo>
                  <a:lnTo>
                    <a:pt x="164" y="460"/>
                  </a:lnTo>
                  <a:lnTo>
                    <a:pt x="164" y="460"/>
                  </a:lnTo>
                  <a:lnTo>
                    <a:pt x="164" y="458"/>
                  </a:lnTo>
                  <a:lnTo>
                    <a:pt x="164" y="458"/>
                  </a:lnTo>
                  <a:lnTo>
                    <a:pt x="164" y="456"/>
                  </a:lnTo>
                  <a:lnTo>
                    <a:pt x="162" y="456"/>
                  </a:lnTo>
                  <a:lnTo>
                    <a:pt x="162" y="456"/>
                  </a:lnTo>
                  <a:lnTo>
                    <a:pt x="162" y="456"/>
                  </a:lnTo>
                  <a:lnTo>
                    <a:pt x="162" y="458"/>
                  </a:lnTo>
                  <a:lnTo>
                    <a:pt x="160" y="458"/>
                  </a:lnTo>
                  <a:lnTo>
                    <a:pt x="160" y="460"/>
                  </a:lnTo>
                  <a:lnTo>
                    <a:pt x="160" y="462"/>
                  </a:lnTo>
                  <a:lnTo>
                    <a:pt x="160" y="464"/>
                  </a:lnTo>
                  <a:lnTo>
                    <a:pt x="160" y="464"/>
                  </a:lnTo>
                  <a:lnTo>
                    <a:pt x="158" y="466"/>
                  </a:lnTo>
                  <a:lnTo>
                    <a:pt x="158" y="466"/>
                  </a:lnTo>
                  <a:lnTo>
                    <a:pt x="158" y="466"/>
                  </a:lnTo>
                  <a:lnTo>
                    <a:pt x="158" y="466"/>
                  </a:lnTo>
                  <a:lnTo>
                    <a:pt x="156" y="466"/>
                  </a:lnTo>
                  <a:lnTo>
                    <a:pt x="156" y="466"/>
                  </a:lnTo>
                  <a:lnTo>
                    <a:pt x="156" y="466"/>
                  </a:lnTo>
                  <a:lnTo>
                    <a:pt x="154" y="466"/>
                  </a:lnTo>
                  <a:lnTo>
                    <a:pt x="152" y="466"/>
                  </a:lnTo>
                  <a:lnTo>
                    <a:pt x="150" y="464"/>
                  </a:lnTo>
                  <a:lnTo>
                    <a:pt x="148" y="464"/>
                  </a:lnTo>
                  <a:lnTo>
                    <a:pt x="146" y="462"/>
                  </a:lnTo>
                  <a:lnTo>
                    <a:pt x="142" y="460"/>
                  </a:lnTo>
                  <a:lnTo>
                    <a:pt x="140" y="458"/>
                  </a:lnTo>
                  <a:lnTo>
                    <a:pt x="140" y="456"/>
                  </a:lnTo>
                  <a:lnTo>
                    <a:pt x="136" y="454"/>
                  </a:lnTo>
                  <a:lnTo>
                    <a:pt x="134" y="452"/>
                  </a:lnTo>
                  <a:lnTo>
                    <a:pt x="132" y="450"/>
                  </a:lnTo>
                  <a:lnTo>
                    <a:pt x="132" y="448"/>
                  </a:lnTo>
                  <a:lnTo>
                    <a:pt x="130" y="448"/>
                  </a:lnTo>
                  <a:lnTo>
                    <a:pt x="130" y="448"/>
                  </a:lnTo>
                  <a:lnTo>
                    <a:pt x="130" y="448"/>
                  </a:lnTo>
                  <a:lnTo>
                    <a:pt x="128" y="448"/>
                  </a:lnTo>
                  <a:lnTo>
                    <a:pt x="126" y="446"/>
                  </a:lnTo>
                  <a:lnTo>
                    <a:pt x="124" y="446"/>
                  </a:lnTo>
                  <a:lnTo>
                    <a:pt x="120" y="446"/>
                  </a:lnTo>
                  <a:lnTo>
                    <a:pt x="116" y="446"/>
                  </a:lnTo>
                  <a:lnTo>
                    <a:pt x="114" y="446"/>
                  </a:lnTo>
                  <a:lnTo>
                    <a:pt x="112" y="446"/>
                  </a:lnTo>
                  <a:lnTo>
                    <a:pt x="108" y="442"/>
                  </a:lnTo>
                  <a:lnTo>
                    <a:pt x="106" y="440"/>
                  </a:lnTo>
                  <a:lnTo>
                    <a:pt x="104" y="438"/>
                  </a:lnTo>
                  <a:lnTo>
                    <a:pt x="102" y="436"/>
                  </a:lnTo>
                  <a:lnTo>
                    <a:pt x="100" y="434"/>
                  </a:lnTo>
                  <a:lnTo>
                    <a:pt x="100" y="434"/>
                  </a:lnTo>
                  <a:lnTo>
                    <a:pt x="98" y="434"/>
                  </a:lnTo>
                  <a:lnTo>
                    <a:pt x="96" y="434"/>
                  </a:lnTo>
                  <a:lnTo>
                    <a:pt x="92" y="434"/>
                  </a:lnTo>
                  <a:lnTo>
                    <a:pt x="90" y="432"/>
                  </a:lnTo>
                  <a:lnTo>
                    <a:pt x="86" y="432"/>
                  </a:lnTo>
                  <a:lnTo>
                    <a:pt x="84" y="432"/>
                  </a:lnTo>
                  <a:lnTo>
                    <a:pt x="82" y="432"/>
                  </a:lnTo>
                  <a:lnTo>
                    <a:pt x="82" y="432"/>
                  </a:lnTo>
                  <a:lnTo>
                    <a:pt x="80" y="430"/>
                  </a:lnTo>
                  <a:lnTo>
                    <a:pt x="80" y="430"/>
                  </a:lnTo>
                  <a:lnTo>
                    <a:pt x="78" y="428"/>
                  </a:lnTo>
                  <a:lnTo>
                    <a:pt x="78" y="428"/>
                  </a:lnTo>
                  <a:lnTo>
                    <a:pt x="78" y="426"/>
                  </a:lnTo>
                  <a:lnTo>
                    <a:pt x="78" y="424"/>
                  </a:lnTo>
                  <a:lnTo>
                    <a:pt x="78" y="422"/>
                  </a:lnTo>
                  <a:lnTo>
                    <a:pt x="78" y="422"/>
                  </a:lnTo>
                  <a:lnTo>
                    <a:pt x="78" y="418"/>
                  </a:lnTo>
                  <a:lnTo>
                    <a:pt x="80" y="414"/>
                  </a:lnTo>
                  <a:lnTo>
                    <a:pt x="80" y="410"/>
                  </a:lnTo>
                  <a:lnTo>
                    <a:pt x="80" y="408"/>
                  </a:lnTo>
                  <a:lnTo>
                    <a:pt x="80" y="406"/>
                  </a:lnTo>
                  <a:lnTo>
                    <a:pt x="80" y="406"/>
                  </a:lnTo>
                  <a:lnTo>
                    <a:pt x="80" y="404"/>
                  </a:lnTo>
                  <a:lnTo>
                    <a:pt x="78" y="402"/>
                  </a:lnTo>
                  <a:lnTo>
                    <a:pt x="78" y="402"/>
                  </a:lnTo>
                  <a:lnTo>
                    <a:pt x="76" y="400"/>
                  </a:lnTo>
                  <a:lnTo>
                    <a:pt x="74" y="398"/>
                  </a:lnTo>
                  <a:lnTo>
                    <a:pt x="72" y="398"/>
                  </a:lnTo>
                  <a:lnTo>
                    <a:pt x="72" y="396"/>
                  </a:lnTo>
                  <a:lnTo>
                    <a:pt x="70" y="396"/>
                  </a:lnTo>
                  <a:lnTo>
                    <a:pt x="68" y="396"/>
                  </a:lnTo>
                  <a:lnTo>
                    <a:pt x="66" y="394"/>
                  </a:lnTo>
                  <a:lnTo>
                    <a:pt x="64" y="394"/>
                  </a:lnTo>
                  <a:lnTo>
                    <a:pt x="62" y="394"/>
                  </a:lnTo>
                  <a:lnTo>
                    <a:pt x="60" y="394"/>
                  </a:lnTo>
                  <a:lnTo>
                    <a:pt x="58" y="394"/>
                  </a:lnTo>
                  <a:lnTo>
                    <a:pt x="56" y="394"/>
                  </a:lnTo>
                  <a:lnTo>
                    <a:pt x="54" y="394"/>
                  </a:lnTo>
                  <a:lnTo>
                    <a:pt x="52" y="394"/>
                  </a:lnTo>
                  <a:lnTo>
                    <a:pt x="50" y="394"/>
                  </a:lnTo>
                  <a:lnTo>
                    <a:pt x="50" y="394"/>
                  </a:lnTo>
                  <a:lnTo>
                    <a:pt x="46" y="396"/>
                  </a:lnTo>
                  <a:lnTo>
                    <a:pt x="42" y="398"/>
                  </a:lnTo>
                  <a:lnTo>
                    <a:pt x="40" y="400"/>
                  </a:lnTo>
                  <a:lnTo>
                    <a:pt x="34" y="404"/>
                  </a:lnTo>
                  <a:lnTo>
                    <a:pt x="32" y="406"/>
                  </a:lnTo>
                  <a:lnTo>
                    <a:pt x="30" y="406"/>
                  </a:lnTo>
                  <a:lnTo>
                    <a:pt x="26" y="402"/>
                  </a:lnTo>
                  <a:lnTo>
                    <a:pt x="22" y="402"/>
                  </a:lnTo>
                  <a:lnTo>
                    <a:pt x="20" y="400"/>
                  </a:lnTo>
                  <a:lnTo>
                    <a:pt x="18" y="398"/>
                  </a:lnTo>
                  <a:lnTo>
                    <a:pt x="18" y="398"/>
                  </a:lnTo>
                  <a:lnTo>
                    <a:pt x="18" y="396"/>
                  </a:lnTo>
                  <a:lnTo>
                    <a:pt x="18" y="396"/>
                  </a:lnTo>
                  <a:lnTo>
                    <a:pt x="18" y="394"/>
                  </a:lnTo>
                  <a:lnTo>
                    <a:pt x="18" y="394"/>
                  </a:lnTo>
                  <a:lnTo>
                    <a:pt x="18" y="392"/>
                  </a:lnTo>
                  <a:lnTo>
                    <a:pt x="18" y="390"/>
                  </a:lnTo>
                  <a:lnTo>
                    <a:pt x="18" y="386"/>
                  </a:lnTo>
                  <a:lnTo>
                    <a:pt x="18" y="384"/>
                  </a:lnTo>
                  <a:lnTo>
                    <a:pt x="20" y="380"/>
                  </a:lnTo>
                  <a:lnTo>
                    <a:pt x="20" y="378"/>
                  </a:lnTo>
                  <a:lnTo>
                    <a:pt x="20" y="378"/>
                  </a:lnTo>
                  <a:lnTo>
                    <a:pt x="20" y="376"/>
                  </a:lnTo>
                  <a:lnTo>
                    <a:pt x="18" y="376"/>
                  </a:lnTo>
                  <a:lnTo>
                    <a:pt x="18" y="374"/>
                  </a:lnTo>
                  <a:lnTo>
                    <a:pt x="16" y="372"/>
                  </a:lnTo>
                  <a:lnTo>
                    <a:pt x="14" y="370"/>
                  </a:lnTo>
                  <a:lnTo>
                    <a:pt x="12" y="368"/>
                  </a:lnTo>
                  <a:lnTo>
                    <a:pt x="12" y="368"/>
                  </a:lnTo>
                  <a:lnTo>
                    <a:pt x="12" y="366"/>
                  </a:lnTo>
                  <a:lnTo>
                    <a:pt x="12" y="366"/>
                  </a:lnTo>
                  <a:lnTo>
                    <a:pt x="12" y="366"/>
                  </a:lnTo>
                  <a:lnTo>
                    <a:pt x="12" y="364"/>
                  </a:lnTo>
                  <a:lnTo>
                    <a:pt x="12" y="362"/>
                  </a:lnTo>
                  <a:lnTo>
                    <a:pt x="12" y="360"/>
                  </a:lnTo>
                  <a:lnTo>
                    <a:pt x="12" y="358"/>
                  </a:lnTo>
                  <a:lnTo>
                    <a:pt x="14" y="354"/>
                  </a:lnTo>
                  <a:lnTo>
                    <a:pt x="14" y="352"/>
                  </a:lnTo>
                  <a:lnTo>
                    <a:pt x="18" y="328"/>
                  </a:lnTo>
                  <a:lnTo>
                    <a:pt x="18" y="328"/>
                  </a:lnTo>
                  <a:lnTo>
                    <a:pt x="18" y="326"/>
                  </a:lnTo>
                  <a:lnTo>
                    <a:pt x="18" y="322"/>
                  </a:lnTo>
                  <a:lnTo>
                    <a:pt x="20" y="320"/>
                  </a:lnTo>
                  <a:lnTo>
                    <a:pt x="20" y="318"/>
                  </a:lnTo>
                  <a:lnTo>
                    <a:pt x="18" y="318"/>
                  </a:lnTo>
                  <a:lnTo>
                    <a:pt x="18" y="316"/>
                  </a:lnTo>
                  <a:lnTo>
                    <a:pt x="18" y="316"/>
                  </a:lnTo>
                  <a:lnTo>
                    <a:pt x="18" y="316"/>
                  </a:lnTo>
                  <a:lnTo>
                    <a:pt x="18" y="316"/>
                  </a:lnTo>
                  <a:lnTo>
                    <a:pt x="18" y="316"/>
                  </a:lnTo>
                  <a:lnTo>
                    <a:pt x="16" y="316"/>
                  </a:lnTo>
                  <a:lnTo>
                    <a:pt x="16" y="318"/>
                  </a:lnTo>
                  <a:lnTo>
                    <a:pt x="16" y="318"/>
                  </a:lnTo>
                  <a:lnTo>
                    <a:pt x="16" y="318"/>
                  </a:lnTo>
                  <a:lnTo>
                    <a:pt x="14" y="318"/>
                  </a:lnTo>
                  <a:lnTo>
                    <a:pt x="14" y="318"/>
                  </a:lnTo>
                  <a:lnTo>
                    <a:pt x="12" y="316"/>
                  </a:lnTo>
                  <a:lnTo>
                    <a:pt x="8" y="316"/>
                  </a:lnTo>
                  <a:lnTo>
                    <a:pt x="6" y="314"/>
                  </a:lnTo>
                  <a:lnTo>
                    <a:pt x="4" y="312"/>
                  </a:lnTo>
                  <a:lnTo>
                    <a:pt x="2" y="312"/>
                  </a:lnTo>
                  <a:lnTo>
                    <a:pt x="2" y="310"/>
                  </a:lnTo>
                  <a:lnTo>
                    <a:pt x="0" y="308"/>
                  </a:lnTo>
                  <a:lnTo>
                    <a:pt x="0" y="308"/>
                  </a:lnTo>
                  <a:lnTo>
                    <a:pt x="0" y="306"/>
                  </a:lnTo>
                  <a:lnTo>
                    <a:pt x="0" y="306"/>
                  </a:lnTo>
                  <a:lnTo>
                    <a:pt x="0" y="304"/>
                  </a:lnTo>
                  <a:lnTo>
                    <a:pt x="0" y="302"/>
                  </a:lnTo>
                  <a:lnTo>
                    <a:pt x="0" y="300"/>
                  </a:lnTo>
                  <a:lnTo>
                    <a:pt x="0" y="296"/>
                  </a:lnTo>
                  <a:lnTo>
                    <a:pt x="0" y="292"/>
                  </a:lnTo>
                  <a:lnTo>
                    <a:pt x="0" y="290"/>
                  </a:lnTo>
                  <a:lnTo>
                    <a:pt x="2" y="288"/>
                  </a:lnTo>
                  <a:lnTo>
                    <a:pt x="2" y="284"/>
                  </a:lnTo>
                  <a:lnTo>
                    <a:pt x="4" y="284"/>
                  </a:lnTo>
                  <a:lnTo>
                    <a:pt x="4" y="282"/>
                  </a:lnTo>
                  <a:lnTo>
                    <a:pt x="6" y="280"/>
                  </a:lnTo>
                  <a:lnTo>
                    <a:pt x="8" y="280"/>
                  </a:lnTo>
                  <a:lnTo>
                    <a:pt x="10" y="278"/>
                  </a:lnTo>
                  <a:lnTo>
                    <a:pt x="10" y="278"/>
                  </a:lnTo>
                  <a:lnTo>
                    <a:pt x="12" y="276"/>
                  </a:lnTo>
                  <a:lnTo>
                    <a:pt x="14" y="276"/>
                  </a:lnTo>
                  <a:lnTo>
                    <a:pt x="14" y="276"/>
                  </a:lnTo>
                  <a:lnTo>
                    <a:pt x="16" y="276"/>
                  </a:lnTo>
                  <a:lnTo>
                    <a:pt x="16" y="276"/>
                  </a:lnTo>
                  <a:lnTo>
                    <a:pt x="18" y="278"/>
                  </a:lnTo>
                  <a:lnTo>
                    <a:pt x="20" y="278"/>
                  </a:lnTo>
                  <a:lnTo>
                    <a:pt x="22" y="280"/>
                  </a:lnTo>
                  <a:lnTo>
                    <a:pt x="24" y="280"/>
                  </a:lnTo>
                  <a:lnTo>
                    <a:pt x="26" y="284"/>
                  </a:lnTo>
                  <a:lnTo>
                    <a:pt x="30" y="286"/>
                  </a:lnTo>
                  <a:lnTo>
                    <a:pt x="32" y="288"/>
                  </a:lnTo>
                  <a:lnTo>
                    <a:pt x="36" y="290"/>
                  </a:lnTo>
                  <a:lnTo>
                    <a:pt x="36" y="290"/>
                  </a:lnTo>
                  <a:lnTo>
                    <a:pt x="38" y="288"/>
                  </a:lnTo>
                  <a:lnTo>
                    <a:pt x="40" y="284"/>
                  </a:lnTo>
                  <a:lnTo>
                    <a:pt x="42" y="284"/>
                  </a:lnTo>
                  <a:lnTo>
                    <a:pt x="42" y="282"/>
                  </a:lnTo>
                  <a:lnTo>
                    <a:pt x="42" y="282"/>
                  </a:lnTo>
                  <a:lnTo>
                    <a:pt x="42" y="280"/>
                  </a:lnTo>
                  <a:lnTo>
                    <a:pt x="40" y="278"/>
                  </a:lnTo>
                  <a:lnTo>
                    <a:pt x="40" y="276"/>
                  </a:lnTo>
                  <a:lnTo>
                    <a:pt x="40" y="276"/>
                  </a:lnTo>
                  <a:lnTo>
                    <a:pt x="40" y="274"/>
                  </a:lnTo>
                  <a:lnTo>
                    <a:pt x="40" y="274"/>
                  </a:lnTo>
                  <a:lnTo>
                    <a:pt x="40" y="274"/>
                  </a:lnTo>
                  <a:lnTo>
                    <a:pt x="42" y="272"/>
                  </a:lnTo>
                  <a:lnTo>
                    <a:pt x="42" y="272"/>
                  </a:lnTo>
                  <a:lnTo>
                    <a:pt x="44" y="272"/>
                  </a:lnTo>
                  <a:lnTo>
                    <a:pt x="46" y="272"/>
                  </a:lnTo>
                  <a:lnTo>
                    <a:pt x="46" y="270"/>
                  </a:lnTo>
                  <a:lnTo>
                    <a:pt x="48" y="270"/>
                  </a:lnTo>
                  <a:lnTo>
                    <a:pt x="52" y="270"/>
                  </a:lnTo>
                  <a:lnTo>
                    <a:pt x="56" y="270"/>
                  </a:lnTo>
                  <a:lnTo>
                    <a:pt x="60" y="270"/>
                  </a:lnTo>
                  <a:lnTo>
                    <a:pt x="62" y="270"/>
                  </a:lnTo>
                  <a:lnTo>
                    <a:pt x="64" y="270"/>
                  </a:lnTo>
                  <a:lnTo>
                    <a:pt x="64" y="270"/>
                  </a:lnTo>
                  <a:lnTo>
                    <a:pt x="66" y="268"/>
                  </a:lnTo>
                  <a:lnTo>
                    <a:pt x="66" y="268"/>
                  </a:lnTo>
                  <a:lnTo>
                    <a:pt x="66" y="266"/>
                  </a:lnTo>
                  <a:lnTo>
                    <a:pt x="68" y="264"/>
                  </a:lnTo>
                  <a:lnTo>
                    <a:pt x="70" y="262"/>
                  </a:lnTo>
                  <a:lnTo>
                    <a:pt x="70" y="260"/>
                  </a:lnTo>
                  <a:lnTo>
                    <a:pt x="70" y="260"/>
                  </a:lnTo>
                  <a:lnTo>
                    <a:pt x="72" y="260"/>
                  </a:lnTo>
                  <a:lnTo>
                    <a:pt x="74" y="258"/>
                  </a:lnTo>
                  <a:lnTo>
                    <a:pt x="76" y="258"/>
                  </a:lnTo>
                  <a:lnTo>
                    <a:pt x="78" y="256"/>
                  </a:lnTo>
                  <a:lnTo>
                    <a:pt x="80" y="256"/>
                  </a:lnTo>
                  <a:lnTo>
                    <a:pt x="82" y="256"/>
                  </a:lnTo>
                  <a:lnTo>
                    <a:pt x="82" y="256"/>
                  </a:lnTo>
                  <a:lnTo>
                    <a:pt x="82" y="254"/>
                  </a:lnTo>
                  <a:lnTo>
                    <a:pt x="82" y="252"/>
                  </a:lnTo>
                  <a:lnTo>
                    <a:pt x="84" y="250"/>
                  </a:lnTo>
                  <a:lnTo>
                    <a:pt x="84" y="248"/>
                  </a:lnTo>
                  <a:lnTo>
                    <a:pt x="86" y="246"/>
                  </a:lnTo>
                  <a:lnTo>
                    <a:pt x="86" y="244"/>
                  </a:lnTo>
                  <a:lnTo>
                    <a:pt x="86" y="240"/>
                  </a:lnTo>
                  <a:lnTo>
                    <a:pt x="86" y="238"/>
                  </a:lnTo>
                  <a:lnTo>
                    <a:pt x="86" y="234"/>
                  </a:lnTo>
                  <a:lnTo>
                    <a:pt x="86" y="232"/>
                  </a:lnTo>
                  <a:lnTo>
                    <a:pt x="86" y="228"/>
                  </a:lnTo>
                  <a:lnTo>
                    <a:pt x="86" y="226"/>
                  </a:lnTo>
                  <a:lnTo>
                    <a:pt x="86" y="224"/>
                  </a:lnTo>
                  <a:lnTo>
                    <a:pt x="86" y="220"/>
                  </a:lnTo>
                  <a:lnTo>
                    <a:pt x="84" y="218"/>
                  </a:lnTo>
                  <a:lnTo>
                    <a:pt x="84" y="216"/>
                  </a:lnTo>
                  <a:lnTo>
                    <a:pt x="84" y="214"/>
                  </a:lnTo>
                  <a:lnTo>
                    <a:pt x="82" y="214"/>
                  </a:lnTo>
                  <a:lnTo>
                    <a:pt x="82" y="214"/>
                  </a:lnTo>
                  <a:lnTo>
                    <a:pt x="80" y="212"/>
                  </a:lnTo>
                  <a:lnTo>
                    <a:pt x="80" y="212"/>
                  </a:lnTo>
                  <a:lnTo>
                    <a:pt x="78" y="212"/>
                  </a:lnTo>
                  <a:lnTo>
                    <a:pt x="76" y="212"/>
                  </a:lnTo>
                  <a:lnTo>
                    <a:pt x="74" y="212"/>
                  </a:lnTo>
                  <a:lnTo>
                    <a:pt x="74" y="210"/>
                  </a:lnTo>
                  <a:lnTo>
                    <a:pt x="72" y="210"/>
                  </a:lnTo>
                  <a:lnTo>
                    <a:pt x="72" y="210"/>
                  </a:lnTo>
                  <a:lnTo>
                    <a:pt x="72" y="210"/>
                  </a:lnTo>
                  <a:lnTo>
                    <a:pt x="72" y="208"/>
                  </a:lnTo>
                  <a:lnTo>
                    <a:pt x="72" y="208"/>
                  </a:lnTo>
                  <a:lnTo>
                    <a:pt x="72" y="206"/>
                  </a:lnTo>
                  <a:lnTo>
                    <a:pt x="72" y="206"/>
                  </a:lnTo>
                  <a:lnTo>
                    <a:pt x="74" y="204"/>
                  </a:lnTo>
                  <a:lnTo>
                    <a:pt x="74" y="202"/>
                  </a:lnTo>
                  <a:lnTo>
                    <a:pt x="74" y="202"/>
                  </a:lnTo>
                  <a:lnTo>
                    <a:pt x="76" y="200"/>
                  </a:lnTo>
                  <a:lnTo>
                    <a:pt x="76" y="200"/>
                  </a:lnTo>
                  <a:lnTo>
                    <a:pt x="78" y="198"/>
                  </a:lnTo>
                  <a:lnTo>
                    <a:pt x="80" y="198"/>
                  </a:lnTo>
                  <a:lnTo>
                    <a:pt x="82" y="198"/>
                  </a:lnTo>
                  <a:lnTo>
                    <a:pt x="84" y="198"/>
                  </a:lnTo>
                  <a:lnTo>
                    <a:pt x="88" y="196"/>
                  </a:lnTo>
                  <a:lnTo>
                    <a:pt x="94" y="196"/>
                  </a:lnTo>
                  <a:lnTo>
                    <a:pt x="98" y="196"/>
                  </a:lnTo>
                  <a:lnTo>
                    <a:pt x="102" y="196"/>
                  </a:lnTo>
                  <a:lnTo>
                    <a:pt x="106" y="196"/>
                  </a:lnTo>
                  <a:lnTo>
                    <a:pt x="108" y="192"/>
                  </a:lnTo>
                  <a:lnTo>
                    <a:pt x="110" y="190"/>
                  </a:lnTo>
                  <a:lnTo>
                    <a:pt x="110" y="190"/>
                  </a:lnTo>
                  <a:lnTo>
                    <a:pt x="110" y="188"/>
                  </a:lnTo>
                  <a:lnTo>
                    <a:pt x="112" y="186"/>
                  </a:lnTo>
                  <a:lnTo>
                    <a:pt x="112" y="186"/>
                  </a:lnTo>
                  <a:lnTo>
                    <a:pt x="112" y="184"/>
                  </a:lnTo>
                  <a:lnTo>
                    <a:pt x="112" y="180"/>
                  </a:lnTo>
                  <a:lnTo>
                    <a:pt x="112" y="178"/>
                  </a:lnTo>
                  <a:lnTo>
                    <a:pt x="110" y="174"/>
                  </a:lnTo>
                  <a:lnTo>
                    <a:pt x="110" y="172"/>
                  </a:lnTo>
                  <a:lnTo>
                    <a:pt x="112" y="170"/>
                  </a:lnTo>
                  <a:lnTo>
                    <a:pt x="112" y="170"/>
                  </a:lnTo>
                  <a:lnTo>
                    <a:pt x="112" y="168"/>
                  </a:lnTo>
                  <a:lnTo>
                    <a:pt x="112" y="168"/>
                  </a:lnTo>
                  <a:lnTo>
                    <a:pt x="112" y="168"/>
                  </a:lnTo>
                  <a:lnTo>
                    <a:pt x="114" y="166"/>
                  </a:lnTo>
                  <a:lnTo>
                    <a:pt x="114" y="166"/>
                  </a:lnTo>
                  <a:lnTo>
                    <a:pt x="116" y="164"/>
                  </a:lnTo>
                  <a:lnTo>
                    <a:pt x="118" y="162"/>
                  </a:lnTo>
                  <a:lnTo>
                    <a:pt x="122" y="162"/>
                  </a:lnTo>
                  <a:lnTo>
                    <a:pt x="124" y="162"/>
                  </a:lnTo>
                  <a:lnTo>
                    <a:pt x="126" y="160"/>
                  </a:lnTo>
                  <a:lnTo>
                    <a:pt x="128" y="160"/>
                  </a:lnTo>
                  <a:lnTo>
                    <a:pt x="128" y="160"/>
                  </a:lnTo>
                  <a:lnTo>
                    <a:pt x="130" y="160"/>
                  </a:lnTo>
                  <a:lnTo>
                    <a:pt x="132" y="162"/>
                  </a:lnTo>
                  <a:lnTo>
                    <a:pt x="134" y="162"/>
                  </a:lnTo>
                  <a:lnTo>
                    <a:pt x="136" y="164"/>
                  </a:lnTo>
                  <a:lnTo>
                    <a:pt x="138" y="164"/>
                  </a:lnTo>
                  <a:lnTo>
                    <a:pt x="142" y="166"/>
                  </a:lnTo>
                  <a:lnTo>
                    <a:pt x="142" y="166"/>
                  </a:lnTo>
                  <a:lnTo>
                    <a:pt x="144" y="166"/>
                  </a:lnTo>
                  <a:lnTo>
                    <a:pt x="144" y="166"/>
                  </a:lnTo>
                  <a:lnTo>
                    <a:pt x="144" y="166"/>
                  </a:lnTo>
                  <a:lnTo>
                    <a:pt x="146" y="164"/>
                  </a:lnTo>
                  <a:lnTo>
                    <a:pt x="146" y="164"/>
                  </a:lnTo>
                  <a:lnTo>
                    <a:pt x="146" y="164"/>
                  </a:lnTo>
                  <a:lnTo>
                    <a:pt x="146" y="162"/>
                  </a:lnTo>
                  <a:lnTo>
                    <a:pt x="148" y="162"/>
                  </a:lnTo>
                  <a:lnTo>
                    <a:pt x="148" y="160"/>
                  </a:lnTo>
                  <a:lnTo>
                    <a:pt x="148" y="158"/>
                  </a:lnTo>
                  <a:lnTo>
                    <a:pt x="148" y="156"/>
                  </a:lnTo>
                  <a:lnTo>
                    <a:pt x="150" y="150"/>
                  </a:lnTo>
                  <a:lnTo>
                    <a:pt x="150" y="146"/>
                  </a:lnTo>
                  <a:lnTo>
                    <a:pt x="150" y="140"/>
                  </a:lnTo>
                  <a:lnTo>
                    <a:pt x="150" y="138"/>
                  </a:lnTo>
                  <a:lnTo>
                    <a:pt x="150" y="136"/>
                  </a:lnTo>
                  <a:lnTo>
                    <a:pt x="150" y="134"/>
                  </a:lnTo>
                  <a:lnTo>
                    <a:pt x="152" y="132"/>
                  </a:lnTo>
                  <a:lnTo>
                    <a:pt x="152" y="132"/>
                  </a:lnTo>
                  <a:lnTo>
                    <a:pt x="152" y="130"/>
                  </a:lnTo>
                  <a:lnTo>
                    <a:pt x="154" y="128"/>
                  </a:lnTo>
                  <a:lnTo>
                    <a:pt x="156" y="126"/>
                  </a:lnTo>
                  <a:lnTo>
                    <a:pt x="158" y="126"/>
                  </a:lnTo>
                  <a:lnTo>
                    <a:pt x="158" y="126"/>
                  </a:lnTo>
                  <a:lnTo>
                    <a:pt x="160" y="124"/>
                  </a:lnTo>
                  <a:lnTo>
                    <a:pt x="162" y="124"/>
                  </a:lnTo>
                  <a:lnTo>
                    <a:pt x="164" y="124"/>
                  </a:lnTo>
                  <a:lnTo>
                    <a:pt x="166" y="124"/>
                  </a:lnTo>
                  <a:lnTo>
                    <a:pt x="168" y="124"/>
                  </a:lnTo>
                  <a:lnTo>
                    <a:pt x="170" y="124"/>
                  </a:lnTo>
                  <a:lnTo>
                    <a:pt x="170" y="122"/>
                  </a:lnTo>
                  <a:lnTo>
                    <a:pt x="170" y="122"/>
                  </a:lnTo>
                  <a:lnTo>
                    <a:pt x="170" y="122"/>
                  </a:lnTo>
                  <a:lnTo>
                    <a:pt x="170" y="122"/>
                  </a:lnTo>
                  <a:lnTo>
                    <a:pt x="172" y="120"/>
                  </a:lnTo>
                  <a:lnTo>
                    <a:pt x="172" y="118"/>
                  </a:lnTo>
                  <a:lnTo>
                    <a:pt x="172" y="118"/>
                  </a:lnTo>
                  <a:lnTo>
                    <a:pt x="172" y="114"/>
                  </a:lnTo>
                  <a:lnTo>
                    <a:pt x="174" y="112"/>
                  </a:lnTo>
                  <a:lnTo>
                    <a:pt x="174" y="112"/>
                  </a:lnTo>
                  <a:lnTo>
                    <a:pt x="174" y="110"/>
                  </a:lnTo>
                  <a:lnTo>
                    <a:pt x="176" y="110"/>
                  </a:lnTo>
                  <a:lnTo>
                    <a:pt x="178" y="108"/>
                  </a:lnTo>
                  <a:lnTo>
                    <a:pt x="182" y="106"/>
                  </a:lnTo>
                  <a:lnTo>
                    <a:pt x="182" y="104"/>
                  </a:lnTo>
                  <a:lnTo>
                    <a:pt x="186" y="110"/>
                  </a:lnTo>
                  <a:lnTo>
                    <a:pt x="188" y="114"/>
                  </a:lnTo>
                  <a:lnTo>
                    <a:pt x="190" y="114"/>
                  </a:lnTo>
                  <a:lnTo>
                    <a:pt x="190" y="116"/>
                  </a:lnTo>
                  <a:lnTo>
                    <a:pt x="192" y="116"/>
                  </a:lnTo>
                  <a:lnTo>
                    <a:pt x="192" y="118"/>
                  </a:lnTo>
                  <a:lnTo>
                    <a:pt x="194" y="118"/>
                  </a:lnTo>
                  <a:lnTo>
                    <a:pt x="198" y="120"/>
                  </a:lnTo>
                  <a:lnTo>
                    <a:pt x="202" y="122"/>
                  </a:lnTo>
                  <a:lnTo>
                    <a:pt x="204" y="122"/>
                  </a:lnTo>
                  <a:lnTo>
                    <a:pt x="208" y="124"/>
                  </a:lnTo>
                  <a:lnTo>
                    <a:pt x="208" y="124"/>
                  </a:lnTo>
                  <a:lnTo>
                    <a:pt x="210" y="126"/>
                  </a:lnTo>
                  <a:lnTo>
                    <a:pt x="210" y="126"/>
                  </a:lnTo>
                  <a:lnTo>
                    <a:pt x="212" y="128"/>
                  </a:lnTo>
                  <a:lnTo>
                    <a:pt x="212" y="128"/>
                  </a:lnTo>
                  <a:lnTo>
                    <a:pt x="212" y="128"/>
                  </a:lnTo>
                  <a:lnTo>
                    <a:pt x="214" y="130"/>
                  </a:lnTo>
                  <a:lnTo>
                    <a:pt x="214" y="132"/>
                  </a:lnTo>
                  <a:lnTo>
                    <a:pt x="214" y="134"/>
                  </a:lnTo>
                  <a:lnTo>
                    <a:pt x="216" y="140"/>
                  </a:lnTo>
                  <a:lnTo>
                    <a:pt x="216" y="142"/>
                  </a:lnTo>
                  <a:lnTo>
                    <a:pt x="216" y="144"/>
                  </a:lnTo>
                  <a:lnTo>
                    <a:pt x="218" y="146"/>
                  </a:lnTo>
                  <a:lnTo>
                    <a:pt x="218" y="150"/>
                  </a:lnTo>
                  <a:lnTo>
                    <a:pt x="220" y="152"/>
                  </a:lnTo>
                  <a:lnTo>
                    <a:pt x="220" y="156"/>
                  </a:lnTo>
                  <a:lnTo>
                    <a:pt x="222" y="160"/>
                  </a:lnTo>
                  <a:lnTo>
                    <a:pt x="224" y="162"/>
                  </a:lnTo>
                  <a:lnTo>
                    <a:pt x="224" y="164"/>
                  </a:lnTo>
                  <a:lnTo>
                    <a:pt x="224" y="166"/>
                  </a:lnTo>
                  <a:lnTo>
                    <a:pt x="226" y="166"/>
                  </a:lnTo>
                  <a:lnTo>
                    <a:pt x="226" y="168"/>
                  </a:lnTo>
                  <a:lnTo>
                    <a:pt x="228" y="168"/>
                  </a:lnTo>
                  <a:lnTo>
                    <a:pt x="230" y="170"/>
                  </a:lnTo>
                  <a:lnTo>
                    <a:pt x="232" y="170"/>
                  </a:lnTo>
                  <a:lnTo>
                    <a:pt x="234" y="170"/>
                  </a:lnTo>
                  <a:lnTo>
                    <a:pt x="236" y="170"/>
                  </a:lnTo>
                  <a:lnTo>
                    <a:pt x="238" y="172"/>
                  </a:lnTo>
                  <a:lnTo>
                    <a:pt x="242" y="172"/>
                  </a:lnTo>
                  <a:lnTo>
                    <a:pt x="252" y="172"/>
                  </a:lnTo>
                  <a:lnTo>
                    <a:pt x="256" y="174"/>
                  </a:lnTo>
                  <a:lnTo>
                    <a:pt x="260" y="174"/>
                  </a:lnTo>
                  <a:lnTo>
                    <a:pt x="268" y="176"/>
                  </a:lnTo>
                  <a:lnTo>
                    <a:pt x="272" y="176"/>
                  </a:lnTo>
                  <a:lnTo>
                    <a:pt x="274" y="178"/>
                  </a:lnTo>
                  <a:lnTo>
                    <a:pt x="278" y="180"/>
                  </a:lnTo>
                  <a:lnTo>
                    <a:pt x="284" y="182"/>
                  </a:lnTo>
                  <a:lnTo>
                    <a:pt x="286" y="182"/>
                  </a:lnTo>
                  <a:lnTo>
                    <a:pt x="288" y="184"/>
                  </a:lnTo>
                  <a:lnTo>
                    <a:pt x="290" y="184"/>
                  </a:lnTo>
                  <a:lnTo>
                    <a:pt x="290" y="186"/>
                  </a:lnTo>
                  <a:lnTo>
                    <a:pt x="292" y="186"/>
                  </a:lnTo>
                  <a:lnTo>
                    <a:pt x="292" y="188"/>
                  </a:lnTo>
                  <a:lnTo>
                    <a:pt x="294" y="190"/>
                  </a:lnTo>
                  <a:lnTo>
                    <a:pt x="294" y="192"/>
                  </a:lnTo>
                  <a:lnTo>
                    <a:pt x="296" y="194"/>
                  </a:lnTo>
                  <a:lnTo>
                    <a:pt x="298" y="200"/>
                  </a:lnTo>
                  <a:lnTo>
                    <a:pt x="300" y="202"/>
                  </a:lnTo>
                  <a:lnTo>
                    <a:pt x="300" y="204"/>
                  </a:lnTo>
                  <a:lnTo>
                    <a:pt x="302" y="206"/>
                  </a:lnTo>
                  <a:lnTo>
                    <a:pt x="306" y="210"/>
                  </a:lnTo>
                  <a:lnTo>
                    <a:pt x="306" y="210"/>
                  </a:lnTo>
                  <a:lnTo>
                    <a:pt x="308" y="212"/>
                  </a:lnTo>
                  <a:lnTo>
                    <a:pt x="310" y="214"/>
                  </a:lnTo>
                  <a:lnTo>
                    <a:pt x="312" y="214"/>
                  </a:lnTo>
                  <a:lnTo>
                    <a:pt x="312" y="214"/>
                  </a:lnTo>
                  <a:lnTo>
                    <a:pt x="314" y="216"/>
                  </a:lnTo>
                  <a:lnTo>
                    <a:pt x="316" y="216"/>
                  </a:lnTo>
                  <a:lnTo>
                    <a:pt x="318" y="216"/>
                  </a:lnTo>
                  <a:lnTo>
                    <a:pt x="324" y="218"/>
                  </a:lnTo>
                  <a:lnTo>
                    <a:pt x="328" y="218"/>
                  </a:lnTo>
                  <a:lnTo>
                    <a:pt x="334" y="218"/>
                  </a:lnTo>
                  <a:lnTo>
                    <a:pt x="340" y="218"/>
                  </a:lnTo>
                  <a:lnTo>
                    <a:pt x="344" y="218"/>
                  </a:lnTo>
                  <a:lnTo>
                    <a:pt x="350" y="218"/>
                  </a:lnTo>
                  <a:lnTo>
                    <a:pt x="362" y="218"/>
                  </a:lnTo>
                  <a:lnTo>
                    <a:pt x="374" y="218"/>
                  </a:lnTo>
                  <a:lnTo>
                    <a:pt x="378" y="220"/>
                  </a:lnTo>
                  <a:lnTo>
                    <a:pt x="384" y="220"/>
                  </a:lnTo>
                  <a:lnTo>
                    <a:pt x="388" y="220"/>
                  </a:lnTo>
                  <a:lnTo>
                    <a:pt x="392" y="220"/>
                  </a:lnTo>
                  <a:lnTo>
                    <a:pt x="396" y="222"/>
                  </a:lnTo>
                  <a:lnTo>
                    <a:pt x="400" y="222"/>
                  </a:lnTo>
                  <a:lnTo>
                    <a:pt x="406" y="224"/>
                  </a:lnTo>
                  <a:lnTo>
                    <a:pt x="410" y="226"/>
                  </a:lnTo>
                  <a:lnTo>
                    <a:pt x="412" y="226"/>
                  </a:lnTo>
                  <a:lnTo>
                    <a:pt x="414" y="228"/>
                  </a:lnTo>
                  <a:lnTo>
                    <a:pt x="420" y="232"/>
                  </a:lnTo>
                  <a:lnTo>
                    <a:pt x="422" y="234"/>
                  </a:lnTo>
                  <a:lnTo>
                    <a:pt x="426" y="234"/>
                  </a:lnTo>
                  <a:lnTo>
                    <a:pt x="428" y="236"/>
                  </a:lnTo>
                  <a:lnTo>
                    <a:pt x="428" y="236"/>
                  </a:lnTo>
                  <a:lnTo>
                    <a:pt x="430" y="236"/>
                  </a:lnTo>
                  <a:lnTo>
                    <a:pt x="430" y="236"/>
                  </a:lnTo>
                  <a:lnTo>
                    <a:pt x="432" y="236"/>
                  </a:lnTo>
                  <a:lnTo>
                    <a:pt x="432" y="236"/>
                  </a:lnTo>
                  <a:lnTo>
                    <a:pt x="436" y="236"/>
                  </a:lnTo>
                  <a:lnTo>
                    <a:pt x="438" y="236"/>
                  </a:lnTo>
                  <a:lnTo>
                    <a:pt x="442" y="234"/>
                  </a:lnTo>
                  <a:lnTo>
                    <a:pt x="444" y="234"/>
                  </a:lnTo>
                  <a:lnTo>
                    <a:pt x="448" y="232"/>
                  </a:lnTo>
                  <a:lnTo>
                    <a:pt x="450" y="232"/>
                  </a:lnTo>
                  <a:lnTo>
                    <a:pt x="452" y="230"/>
                  </a:lnTo>
                  <a:lnTo>
                    <a:pt x="454" y="230"/>
                  </a:lnTo>
                  <a:lnTo>
                    <a:pt x="454" y="228"/>
                  </a:lnTo>
                  <a:lnTo>
                    <a:pt x="458" y="226"/>
                  </a:lnTo>
                  <a:lnTo>
                    <a:pt x="460" y="224"/>
                  </a:lnTo>
                  <a:lnTo>
                    <a:pt x="460" y="222"/>
                  </a:lnTo>
                  <a:lnTo>
                    <a:pt x="462" y="222"/>
                  </a:lnTo>
                  <a:lnTo>
                    <a:pt x="462" y="222"/>
                  </a:lnTo>
                  <a:lnTo>
                    <a:pt x="464" y="222"/>
                  </a:lnTo>
                  <a:lnTo>
                    <a:pt x="464" y="222"/>
                  </a:lnTo>
                  <a:lnTo>
                    <a:pt x="466" y="222"/>
                  </a:lnTo>
                  <a:lnTo>
                    <a:pt x="468" y="222"/>
                  </a:lnTo>
                  <a:lnTo>
                    <a:pt x="470" y="222"/>
                  </a:lnTo>
                  <a:lnTo>
                    <a:pt x="474" y="222"/>
                  </a:lnTo>
                  <a:lnTo>
                    <a:pt x="478" y="224"/>
                  </a:lnTo>
                  <a:lnTo>
                    <a:pt x="482" y="224"/>
                  </a:lnTo>
                  <a:lnTo>
                    <a:pt x="486" y="226"/>
                  </a:lnTo>
                  <a:lnTo>
                    <a:pt x="488" y="226"/>
                  </a:lnTo>
                  <a:lnTo>
                    <a:pt x="490" y="226"/>
                  </a:lnTo>
                  <a:lnTo>
                    <a:pt x="490" y="226"/>
                  </a:lnTo>
                  <a:lnTo>
                    <a:pt x="492" y="226"/>
                  </a:lnTo>
                  <a:lnTo>
                    <a:pt x="494" y="224"/>
                  </a:lnTo>
                  <a:lnTo>
                    <a:pt x="496" y="224"/>
                  </a:lnTo>
                  <a:lnTo>
                    <a:pt x="496" y="224"/>
                  </a:lnTo>
                  <a:lnTo>
                    <a:pt x="498" y="222"/>
                  </a:lnTo>
                  <a:lnTo>
                    <a:pt x="502" y="220"/>
                  </a:lnTo>
                  <a:lnTo>
                    <a:pt x="504" y="218"/>
                  </a:lnTo>
                  <a:lnTo>
                    <a:pt x="508" y="214"/>
                  </a:lnTo>
                  <a:lnTo>
                    <a:pt x="510" y="212"/>
                  </a:lnTo>
                  <a:lnTo>
                    <a:pt x="514" y="208"/>
                  </a:lnTo>
                  <a:lnTo>
                    <a:pt x="514" y="208"/>
                  </a:lnTo>
                  <a:lnTo>
                    <a:pt x="516" y="206"/>
                  </a:lnTo>
                  <a:lnTo>
                    <a:pt x="516" y="204"/>
                  </a:lnTo>
                  <a:lnTo>
                    <a:pt x="516" y="202"/>
                  </a:lnTo>
                  <a:lnTo>
                    <a:pt x="516" y="200"/>
                  </a:lnTo>
                  <a:lnTo>
                    <a:pt x="518" y="198"/>
                  </a:lnTo>
                  <a:lnTo>
                    <a:pt x="518" y="192"/>
                  </a:lnTo>
                  <a:lnTo>
                    <a:pt x="518" y="188"/>
                  </a:lnTo>
                  <a:lnTo>
                    <a:pt x="518" y="186"/>
                  </a:lnTo>
                  <a:lnTo>
                    <a:pt x="516" y="184"/>
                  </a:lnTo>
                  <a:lnTo>
                    <a:pt x="516" y="180"/>
                  </a:lnTo>
                  <a:lnTo>
                    <a:pt x="516" y="178"/>
                  </a:lnTo>
                  <a:lnTo>
                    <a:pt x="516" y="176"/>
                  </a:lnTo>
                  <a:lnTo>
                    <a:pt x="516" y="174"/>
                  </a:lnTo>
                  <a:lnTo>
                    <a:pt x="516" y="174"/>
                  </a:lnTo>
                  <a:lnTo>
                    <a:pt x="516" y="174"/>
                  </a:lnTo>
                  <a:lnTo>
                    <a:pt x="516" y="172"/>
                  </a:lnTo>
                  <a:lnTo>
                    <a:pt x="518" y="172"/>
                  </a:lnTo>
                  <a:lnTo>
                    <a:pt x="518" y="172"/>
                  </a:lnTo>
                  <a:lnTo>
                    <a:pt x="520" y="172"/>
                  </a:lnTo>
                  <a:lnTo>
                    <a:pt x="520" y="172"/>
                  </a:lnTo>
                  <a:lnTo>
                    <a:pt x="522" y="172"/>
                  </a:lnTo>
                  <a:lnTo>
                    <a:pt x="524" y="174"/>
                  </a:lnTo>
                  <a:lnTo>
                    <a:pt x="526" y="174"/>
                  </a:lnTo>
                  <a:lnTo>
                    <a:pt x="528" y="176"/>
                  </a:lnTo>
                  <a:lnTo>
                    <a:pt x="532" y="178"/>
                  </a:lnTo>
                  <a:lnTo>
                    <a:pt x="532" y="178"/>
                  </a:lnTo>
                  <a:lnTo>
                    <a:pt x="534" y="178"/>
                  </a:lnTo>
                  <a:lnTo>
                    <a:pt x="536" y="178"/>
                  </a:lnTo>
                  <a:lnTo>
                    <a:pt x="536" y="178"/>
                  </a:lnTo>
                  <a:lnTo>
                    <a:pt x="538" y="178"/>
                  </a:lnTo>
                  <a:lnTo>
                    <a:pt x="538" y="178"/>
                  </a:lnTo>
                  <a:lnTo>
                    <a:pt x="540" y="178"/>
                  </a:lnTo>
                  <a:lnTo>
                    <a:pt x="540" y="176"/>
                  </a:lnTo>
                  <a:lnTo>
                    <a:pt x="542" y="174"/>
                  </a:lnTo>
                  <a:lnTo>
                    <a:pt x="544" y="172"/>
                  </a:lnTo>
                  <a:lnTo>
                    <a:pt x="548" y="168"/>
                  </a:lnTo>
                  <a:lnTo>
                    <a:pt x="548" y="166"/>
                  </a:lnTo>
                  <a:lnTo>
                    <a:pt x="550" y="164"/>
                  </a:lnTo>
                  <a:lnTo>
                    <a:pt x="554" y="162"/>
                  </a:lnTo>
                  <a:lnTo>
                    <a:pt x="556" y="160"/>
                  </a:lnTo>
                  <a:lnTo>
                    <a:pt x="560" y="156"/>
                  </a:lnTo>
                  <a:lnTo>
                    <a:pt x="562" y="154"/>
                  </a:lnTo>
                  <a:lnTo>
                    <a:pt x="568" y="152"/>
                  </a:lnTo>
                  <a:lnTo>
                    <a:pt x="574" y="148"/>
                  </a:lnTo>
                  <a:lnTo>
                    <a:pt x="580" y="144"/>
                  </a:lnTo>
                  <a:lnTo>
                    <a:pt x="584" y="142"/>
                  </a:lnTo>
                  <a:lnTo>
                    <a:pt x="586" y="142"/>
                  </a:lnTo>
                  <a:lnTo>
                    <a:pt x="588" y="142"/>
                  </a:lnTo>
                  <a:lnTo>
                    <a:pt x="590" y="140"/>
                  </a:lnTo>
                  <a:lnTo>
                    <a:pt x="594" y="140"/>
                  </a:lnTo>
                  <a:lnTo>
                    <a:pt x="598" y="138"/>
                  </a:lnTo>
                  <a:lnTo>
                    <a:pt x="602" y="136"/>
                  </a:lnTo>
                  <a:lnTo>
                    <a:pt x="604" y="136"/>
                  </a:lnTo>
                  <a:lnTo>
                    <a:pt x="606" y="134"/>
                  </a:lnTo>
                  <a:lnTo>
                    <a:pt x="608" y="134"/>
                  </a:lnTo>
                  <a:lnTo>
                    <a:pt x="608" y="134"/>
                  </a:lnTo>
                  <a:lnTo>
                    <a:pt x="608" y="132"/>
                  </a:lnTo>
                  <a:lnTo>
                    <a:pt x="610" y="130"/>
                  </a:lnTo>
                  <a:lnTo>
                    <a:pt x="610" y="130"/>
                  </a:lnTo>
                  <a:lnTo>
                    <a:pt x="610" y="128"/>
                  </a:lnTo>
                  <a:lnTo>
                    <a:pt x="610" y="128"/>
                  </a:lnTo>
                  <a:lnTo>
                    <a:pt x="608" y="126"/>
                  </a:lnTo>
                  <a:lnTo>
                    <a:pt x="608" y="126"/>
                  </a:lnTo>
                  <a:lnTo>
                    <a:pt x="608" y="124"/>
                  </a:lnTo>
                  <a:lnTo>
                    <a:pt x="606" y="122"/>
                  </a:lnTo>
                  <a:lnTo>
                    <a:pt x="604" y="120"/>
                  </a:lnTo>
                  <a:lnTo>
                    <a:pt x="602" y="118"/>
                  </a:lnTo>
                  <a:lnTo>
                    <a:pt x="600" y="116"/>
                  </a:lnTo>
                  <a:lnTo>
                    <a:pt x="598" y="116"/>
                  </a:lnTo>
                  <a:lnTo>
                    <a:pt x="596" y="116"/>
                  </a:lnTo>
                  <a:lnTo>
                    <a:pt x="596" y="116"/>
                  </a:lnTo>
                  <a:lnTo>
                    <a:pt x="594" y="114"/>
                  </a:lnTo>
                  <a:lnTo>
                    <a:pt x="592" y="114"/>
                  </a:lnTo>
                  <a:lnTo>
                    <a:pt x="590" y="116"/>
                  </a:lnTo>
                  <a:lnTo>
                    <a:pt x="586" y="116"/>
                  </a:lnTo>
                  <a:lnTo>
                    <a:pt x="584" y="116"/>
                  </a:lnTo>
                  <a:lnTo>
                    <a:pt x="580" y="118"/>
                  </a:lnTo>
                  <a:lnTo>
                    <a:pt x="574" y="118"/>
                  </a:lnTo>
                  <a:lnTo>
                    <a:pt x="574" y="118"/>
                  </a:lnTo>
                  <a:lnTo>
                    <a:pt x="572" y="120"/>
                  </a:lnTo>
                  <a:lnTo>
                    <a:pt x="568" y="120"/>
                  </a:lnTo>
                  <a:lnTo>
                    <a:pt x="568" y="122"/>
                  </a:lnTo>
                  <a:lnTo>
                    <a:pt x="566" y="122"/>
                  </a:lnTo>
                  <a:lnTo>
                    <a:pt x="564" y="122"/>
                  </a:lnTo>
                  <a:lnTo>
                    <a:pt x="564" y="122"/>
                  </a:lnTo>
                  <a:lnTo>
                    <a:pt x="562" y="122"/>
                  </a:lnTo>
                  <a:lnTo>
                    <a:pt x="562" y="122"/>
                  </a:lnTo>
                  <a:lnTo>
                    <a:pt x="562" y="120"/>
                  </a:lnTo>
                  <a:lnTo>
                    <a:pt x="562" y="120"/>
                  </a:lnTo>
                  <a:lnTo>
                    <a:pt x="560" y="118"/>
                  </a:lnTo>
                  <a:lnTo>
                    <a:pt x="560" y="118"/>
                  </a:lnTo>
                  <a:lnTo>
                    <a:pt x="560" y="116"/>
                  </a:lnTo>
                  <a:lnTo>
                    <a:pt x="558" y="112"/>
                  </a:lnTo>
                  <a:lnTo>
                    <a:pt x="558" y="108"/>
                  </a:lnTo>
                  <a:lnTo>
                    <a:pt x="558" y="104"/>
                  </a:lnTo>
                  <a:lnTo>
                    <a:pt x="558" y="100"/>
                  </a:lnTo>
                  <a:lnTo>
                    <a:pt x="558" y="96"/>
                  </a:lnTo>
                  <a:lnTo>
                    <a:pt x="558" y="90"/>
                  </a:lnTo>
                  <a:lnTo>
                    <a:pt x="558" y="88"/>
                  </a:lnTo>
                  <a:lnTo>
                    <a:pt x="558" y="84"/>
                  </a:lnTo>
                  <a:lnTo>
                    <a:pt x="558" y="82"/>
                  </a:lnTo>
                  <a:lnTo>
                    <a:pt x="558" y="80"/>
                  </a:lnTo>
                  <a:lnTo>
                    <a:pt x="560" y="76"/>
                  </a:lnTo>
                  <a:lnTo>
                    <a:pt x="562" y="72"/>
                  </a:lnTo>
                  <a:lnTo>
                    <a:pt x="562" y="74"/>
                  </a:lnTo>
                  <a:lnTo>
                    <a:pt x="566" y="76"/>
                  </a:lnTo>
                  <a:lnTo>
                    <a:pt x="568" y="78"/>
                  </a:lnTo>
                  <a:lnTo>
                    <a:pt x="570" y="80"/>
                  </a:lnTo>
                  <a:lnTo>
                    <a:pt x="572" y="82"/>
                  </a:lnTo>
                  <a:lnTo>
                    <a:pt x="572" y="82"/>
                  </a:lnTo>
                  <a:lnTo>
                    <a:pt x="572" y="84"/>
                  </a:lnTo>
                  <a:lnTo>
                    <a:pt x="574" y="84"/>
                  </a:lnTo>
                  <a:lnTo>
                    <a:pt x="578" y="84"/>
                  </a:lnTo>
                  <a:lnTo>
                    <a:pt x="580" y="84"/>
                  </a:lnTo>
                  <a:lnTo>
                    <a:pt x="582" y="84"/>
                  </a:lnTo>
                  <a:lnTo>
                    <a:pt x="586" y="84"/>
                  </a:lnTo>
                  <a:lnTo>
                    <a:pt x="588" y="84"/>
                  </a:lnTo>
                  <a:lnTo>
                    <a:pt x="590" y="84"/>
                  </a:lnTo>
                  <a:lnTo>
                    <a:pt x="590" y="84"/>
                  </a:lnTo>
                  <a:lnTo>
                    <a:pt x="590" y="84"/>
                  </a:lnTo>
                  <a:lnTo>
                    <a:pt x="592" y="84"/>
                  </a:lnTo>
                  <a:lnTo>
                    <a:pt x="592" y="82"/>
                  </a:lnTo>
                  <a:lnTo>
                    <a:pt x="594" y="80"/>
                  </a:lnTo>
                  <a:lnTo>
                    <a:pt x="594" y="80"/>
                  </a:lnTo>
                  <a:lnTo>
                    <a:pt x="594" y="78"/>
                  </a:lnTo>
                  <a:lnTo>
                    <a:pt x="594" y="76"/>
                  </a:lnTo>
                  <a:lnTo>
                    <a:pt x="594" y="74"/>
                  </a:lnTo>
                  <a:lnTo>
                    <a:pt x="594" y="70"/>
                  </a:lnTo>
                  <a:lnTo>
                    <a:pt x="594" y="66"/>
                  </a:lnTo>
                  <a:lnTo>
                    <a:pt x="594" y="62"/>
                  </a:lnTo>
                  <a:lnTo>
                    <a:pt x="594" y="60"/>
                  </a:lnTo>
                  <a:lnTo>
                    <a:pt x="594" y="58"/>
                  </a:lnTo>
                  <a:lnTo>
                    <a:pt x="596" y="56"/>
                  </a:lnTo>
                  <a:lnTo>
                    <a:pt x="596" y="56"/>
                  </a:lnTo>
                  <a:lnTo>
                    <a:pt x="596" y="54"/>
                  </a:lnTo>
                  <a:lnTo>
                    <a:pt x="596" y="54"/>
                  </a:lnTo>
                  <a:lnTo>
                    <a:pt x="598" y="52"/>
                  </a:lnTo>
                  <a:lnTo>
                    <a:pt x="600" y="52"/>
                  </a:lnTo>
                  <a:lnTo>
                    <a:pt x="602" y="50"/>
                  </a:lnTo>
                  <a:lnTo>
                    <a:pt x="604" y="50"/>
                  </a:lnTo>
                  <a:lnTo>
                    <a:pt x="604" y="48"/>
                  </a:lnTo>
                  <a:lnTo>
                    <a:pt x="606" y="48"/>
                  </a:lnTo>
                  <a:lnTo>
                    <a:pt x="606" y="46"/>
                  </a:lnTo>
                  <a:lnTo>
                    <a:pt x="606" y="46"/>
                  </a:lnTo>
                  <a:lnTo>
                    <a:pt x="606" y="46"/>
                  </a:lnTo>
                  <a:lnTo>
                    <a:pt x="608" y="44"/>
                  </a:lnTo>
                  <a:lnTo>
                    <a:pt x="606" y="42"/>
                  </a:lnTo>
                  <a:lnTo>
                    <a:pt x="606" y="42"/>
                  </a:lnTo>
                  <a:lnTo>
                    <a:pt x="606" y="40"/>
                  </a:lnTo>
                  <a:lnTo>
                    <a:pt x="606" y="38"/>
                  </a:lnTo>
                  <a:lnTo>
                    <a:pt x="604" y="36"/>
                  </a:lnTo>
                  <a:lnTo>
                    <a:pt x="602" y="32"/>
                  </a:lnTo>
                  <a:lnTo>
                    <a:pt x="600" y="30"/>
                  </a:lnTo>
                  <a:lnTo>
                    <a:pt x="598" y="26"/>
                  </a:lnTo>
                  <a:lnTo>
                    <a:pt x="598" y="24"/>
                  </a:lnTo>
                  <a:lnTo>
                    <a:pt x="598" y="22"/>
                  </a:lnTo>
                  <a:lnTo>
                    <a:pt x="596" y="22"/>
                  </a:lnTo>
                  <a:lnTo>
                    <a:pt x="596" y="20"/>
                  </a:lnTo>
                  <a:lnTo>
                    <a:pt x="598" y="18"/>
                  </a:lnTo>
                  <a:lnTo>
                    <a:pt x="598" y="16"/>
                  </a:lnTo>
                  <a:lnTo>
                    <a:pt x="598" y="14"/>
                  </a:lnTo>
                  <a:lnTo>
                    <a:pt x="600" y="12"/>
                  </a:lnTo>
                  <a:lnTo>
                    <a:pt x="600" y="10"/>
                  </a:lnTo>
                  <a:lnTo>
                    <a:pt x="602" y="8"/>
                  </a:lnTo>
                  <a:lnTo>
                    <a:pt x="604" y="6"/>
                  </a:lnTo>
                  <a:lnTo>
                    <a:pt x="604" y="6"/>
                  </a:lnTo>
                  <a:lnTo>
                    <a:pt x="604" y="4"/>
                  </a:lnTo>
                  <a:lnTo>
                    <a:pt x="606" y="4"/>
                  </a:lnTo>
                  <a:lnTo>
                    <a:pt x="608" y="4"/>
                  </a:lnTo>
                  <a:lnTo>
                    <a:pt x="610" y="2"/>
                  </a:lnTo>
                  <a:lnTo>
                    <a:pt x="614" y="2"/>
                  </a:lnTo>
                  <a:lnTo>
                    <a:pt x="618" y="0"/>
                  </a:lnTo>
                  <a:lnTo>
                    <a:pt x="622" y="0"/>
                  </a:lnTo>
                  <a:lnTo>
                    <a:pt x="626" y="0"/>
                  </a:lnTo>
                  <a:lnTo>
                    <a:pt x="630" y="0"/>
                  </a:lnTo>
                  <a:lnTo>
                    <a:pt x="634" y="0"/>
                  </a:lnTo>
                  <a:lnTo>
                    <a:pt x="640" y="0"/>
                  </a:lnTo>
                  <a:lnTo>
                    <a:pt x="644" y="2"/>
                  </a:lnTo>
                  <a:lnTo>
                    <a:pt x="648" y="2"/>
                  </a:lnTo>
                  <a:lnTo>
                    <a:pt x="652" y="2"/>
                  </a:lnTo>
                  <a:lnTo>
                    <a:pt x="656" y="4"/>
                  </a:lnTo>
                  <a:lnTo>
                    <a:pt x="660" y="4"/>
                  </a:lnTo>
                  <a:lnTo>
                    <a:pt x="664" y="6"/>
                  </a:lnTo>
                  <a:lnTo>
                    <a:pt x="666" y="6"/>
                  </a:lnTo>
                  <a:lnTo>
                    <a:pt x="668" y="6"/>
                  </a:lnTo>
                  <a:lnTo>
                    <a:pt x="668" y="8"/>
                  </a:lnTo>
                  <a:lnTo>
                    <a:pt x="670" y="10"/>
                  </a:lnTo>
                  <a:lnTo>
                    <a:pt x="672" y="12"/>
                  </a:lnTo>
                  <a:lnTo>
                    <a:pt x="674" y="14"/>
                  </a:lnTo>
                  <a:lnTo>
                    <a:pt x="678" y="18"/>
                  </a:lnTo>
                  <a:lnTo>
                    <a:pt x="680" y="20"/>
                  </a:lnTo>
                  <a:lnTo>
                    <a:pt x="682" y="22"/>
                  </a:lnTo>
                  <a:lnTo>
                    <a:pt x="684" y="26"/>
                  </a:lnTo>
                  <a:lnTo>
                    <a:pt x="688" y="28"/>
                  </a:lnTo>
                  <a:lnTo>
                    <a:pt x="692" y="32"/>
                  </a:lnTo>
                  <a:lnTo>
                    <a:pt x="696" y="36"/>
                  </a:lnTo>
                  <a:lnTo>
                    <a:pt x="698" y="38"/>
                  </a:lnTo>
                  <a:lnTo>
                    <a:pt x="700" y="42"/>
                  </a:lnTo>
                  <a:lnTo>
                    <a:pt x="704" y="44"/>
                  </a:lnTo>
                  <a:lnTo>
                    <a:pt x="704" y="46"/>
                  </a:lnTo>
                  <a:lnTo>
                    <a:pt x="706" y="48"/>
                  </a:lnTo>
                  <a:lnTo>
                    <a:pt x="706" y="50"/>
                  </a:lnTo>
                  <a:lnTo>
                    <a:pt x="706" y="52"/>
                  </a:lnTo>
                  <a:lnTo>
                    <a:pt x="708" y="56"/>
                  </a:lnTo>
                  <a:lnTo>
                    <a:pt x="708" y="62"/>
                  </a:lnTo>
                  <a:lnTo>
                    <a:pt x="708" y="64"/>
                  </a:lnTo>
                  <a:lnTo>
                    <a:pt x="708" y="66"/>
                  </a:lnTo>
                  <a:lnTo>
                    <a:pt x="710" y="68"/>
                  </a:lnTo>
                  <a:lnTo>
                    <a:pt x="710" y="68"/>
                  </a:lnTo>
                  <a:lnTo>
                    <a:pt x="712" y="70"/>
                  </a:lnTo>
                  <a:lnTo>
                    <a:pt x="714" y="74"/>
                  </a:lnTo>
                  <a:lnTo>
                    <a:pt x="716" y="74"/>
                  </a:lnTo>
                  <a:lnTo>
                    <a:pt x="718" y="76"/>
                  </a:lnTo>
                  <a:lnTo>
                    <a:pt x="718" y="78"/>
                  </a:lnTo>
                  <a:lnTo>
                    <a:pt x="720" y="80"/>
                  </a:lnTo>
                  <a:lnTo>
                    <a:pt x="722" y="80"/>
                  </a:lnTo>
                  <a:lnTo>
                    <a:pt x="722" y="80"/>
                  </a:lnTo>
                  <a:lnTo>
                    <a:pt x="724" y="80"/>
                  </a:lnTo>
                  <a:lnTo>
                    <a:pt x="726" y="82"/>
                  </a:lnTo>
                  <a:lnTo>
                    <a:pt x="730" y="82"/>
                  </a:lnTo>
                  <a:lnTo>
                    <a:pt x="732" y="82"/>
                  </a:lnTo>
                  <a:lnTo>
                    <a:pt x="736" y="82"/>
                  </a:lnTo>
                  <a:lnTo>
                    <a:pt x="740" y="82"/>
                  </a:lnTo>
                  <a:lnTo>
                    <a:pt x="742" y="84"/>
                  </a:lnTo>
                  <a:lnTo>
                    <a:pt x="744" y="84"/>
                  </a:lnTo>
                  <a:lnTo>
                    <a:pt x="746" y="84"/>
                  </a:lnTo>
                  <a:lnTo>
                    <a:pt x="746" y="86"/>
                  </a:lnTo>
                  <a:lnTo>
                    <a:pt x="748" y="86"/>
                  </a:lnTo>
                  <a:lnTo>
                    <a:pt x="752" y="90"/>
                  </a:lnTo>
                  <a:lnTo>
                    <a:pt x="754" y="92"/>
                  </a:lnTo>
                  <a:lnTo>
                    <a:pt x="756" y="94"/>
                  </a:lnTo>
                  <a:lnTo>
                    <a:pt x="756" y="94"/>
                  </a:lnTo>
                  <a:lnTo>
                    <a:pt x="760" y="96"/>
                  </a:lnTo>
                  <a:lnTo>
                    <a:pt x="764" y="98"/>
                  </a:lnTo>
                  <a:lnTo>
                    <a:pt x="766" y="102"/>
                  </a:lnTo>
                  <a:lnTo>
                    <a:pt x="768" y="102"/>
                  </a:lnTo>
                  <a:lnTo>
                    <a:pt x="770" y="104"/>
                  </a:lnTo>
                  <a:lnTo>
                    <a:pt x="770" y="104"/>
                  </a:lnTo>
                  <a:lnTo>
                    <a:pt x="770" y="106"/>
                  </a:lnTo>
                  <a:lnTo>
                    <a:pt x="772" y="108"/>
                  </a:lnTo>
                  <a:lnTo>
                    <a:pt x="772" y="110"/>
                  </a:lnTo>
                  <a:lnTo>
                    <a:pt x="772" y="110"/>
                  </a:lnTo>
                  <a:lnTo>
                    <a:pt x="774" y="112"/>
                  </a:lnTo>
                  <a:lnTo>
                    <a:pt x="774" y="112"/>
                  </a:lnTo>
                  <a:lnTo>
                    <a:pt x="774" y="112"/>
                  </a:lnTo>
                  <a:lnTo>
                    <a:pt x="776" y="112"/>
                  </a:lnTo>
                  <a:lnTo>
                    <a:pt x="778" y="114"/>
                  </a:lnTo>
                  <a:lnTo>
                    <a:pt x="780" y="114"/>
                  </a:lnTo>
                  <a:lnTo>
                    <a:pt x="782" y="114"/>
                  </a:lnTo>
                  <a:lnTo>
                    <a:pt x="786" y="114"/>
                  </a:lnTo>
                  <a:lnTo>
                    <a:pt x="790" y="114"/>
                  </a:lnTo>
                  <a:lnTo>
                    <a:pt x="790" y="114"/>
                  </a:lnTo>
                  <a:lnTo>
                    <a:pt x="792" y="112"/>
                  </a:lnTo>
                  <a:lnTo>
                    <a:pt x="796" y="112"/>
                  </a:lnTo>
                  <a:lnTo>
                    <a:pt x="802" y="110"/>
                  </a:lnTo>
                  <a:lnTo>
                    <a:pt x="806" y="108"/>
                  </a:lnTo>
                  <a:lnTo>
                    <a:pt x="808" y="108"/>
                  </a:lnTo>
                  <a:lnTo>
                    <a:pt x="808" y="108"/>
                  </a:lnTo>
                  <a:lnTo>
                    <a:pt x="810" y="108"/>
                  </a:lnTo>
                  <a:lnTo>
                    <a:pt x="812" y="108"/>
                  </a:lnTo>
                  <a:lnTo>
                    <a:pt x="814" y="108"/>
                  </a:lnTo>
                  <a:lnTo>
                    <a:pt x="814" y="108"/>
                  </a:lnTo>
                  <a:lnTo>
                    <a:pt x="816" y="108"/>
                  </a:lnTo>
                  <a:lnTo>
                    <a:pt x="816" y="110"/>
                  </a:lnTo>
                  <a:lnTo>
                    <a:pt x="816" y="110"/>
                  </a:lnTo>
                  <a:lnTo>
                    <a:pt x="818" y="112"/>
                  </a:lnTo>
                  <a:lnTo>
                    <a:pt x="818" y="114"/>
                  </a:lnTo>
                  <a:lnTo>
                    <a:pt x="820" y="116"/>
                  </a:lnTo>
                  <a:lnTo>
                    <a:pt x="820" y="118"/>
                  </a:lnTo>
                  <a:lnTo>
                    <a:pt x="822" y="122"/>
                  </a:lnTo>
                  <a:lnTo>
                    <a:pt x="822" y="124"/>
                  </a:lnTo>
                  <a:lnTo>
                    <a:pt x="822" y="126"/>
                  </a:lnTo>
                  <a:lnTo>
                    <a:pt x="822" y="128"/>
                  </a:lnTo>
                  <a:lnTo>
                    <a:pt x="822" y="128"/>
                  </a:lnTo>
                  <a:lnTo>
                    <a:pt x="822" y="128"/>
                  </a:lnTo>
                  <a:lnTo>
                    <a:pt x="822" y="130"/>
                  </a:lnTo>
                  <a:lnTo>
                    <a:pt x="820" y="130"/>
                  </a:lnTo>
                  <a:lnTo>
                    <a:pt x="818" y="132"/>
                  </a:lnTo>
                  <a:lnTo>
                    <a:pt x="818" y="132"/>
                  </a:lnTo>
                  <a:lnTo>
                    <a:pt x="816" y="134"/>
                  </a:lnTo>
                  <a:lnTo>
                    <a:pt x="814" y="134"/>
                  </a:lnTo>
                  <a:lnTo>
                    <a:pt x="812" y="134"/>
                  </a:lnTo>
                  <a:lnTo>
                    <a:pt x="812" y="136"/>
                  </a:lnTo>
                  <a:lnTo>
                    <a:pt x="812" y="136"/>
                  </a:lnTo>
                  <a:lnTo>
                    <a:pt x="812" y="136"/>
                  </a:lnTo>
                  <a:lnTo>
                    <a:pt x="812" y="138"/>
                  </a:lnTo>
                  <a:lnTo>
                    <a:pt x="812" y="140"/>
                  </a:lnTo>
                  <a:lnTo>
                    <a:pt x="812" y="142"/>
                  </a:lnTo>
                  <a:lnTo>
                    <a:pt x="812" y="144"/>
                  </a:lnTo>
                  <a:lnTo>
                    <a:pt x="812" y="146"/>
                  </a:lnTo>
                  <a:lnTo>
                    <a:pt x="812" y="150"/>
                  </a:lnTo>
                  <a:lnTo>
                    <a:pt x="812" y="156"/>
                  </a:lnTo>
                  <a:lnTo>
                    <a:pt x="814" y="160"/>
                  </a:lnTo>
                  <a:lnTo>
                    <a:pt x="814" y="164"/>
                  </a:lnTo>
                  <a:lnTo>
                    <a:pt x="814" y="166"/>
                  </a:lnTo>
                  <a:lnTo>
                    <a:pt x="814" y="168"/>
                  </a:lnTo>
                  <a:lnTo>
                    <a:pt x="812" y="170"/>
                  </a:lnTo>
                  <a:lnTo>
                    <a:pt x="812" y="170"/>
                  </a:lnTo>
                  <a:lnTo>
                    <a:pt x="812" y="172"/>
                  </a:lnTo>
                  <a:lnTo>
                    <a:pt x="812" y="172"/>
                  </a:lnTo>
                  <a:lnTo>
                    <a:pt x="810" y="172"/>
                  </a:lnTo>
                  <a:lnTo>
                    <a:pt x="810" y="172"/>
                  </a:lnTo>
                  <a:lnTo>
                    <a:pt x="810" y="172"/>
                  </a:lnTo>
                  <a:lnTo>
                    <a:pt x="808" y="172"/>
                  </a:lnTo>
                  <a:lnTo>
                    <a:pt x="808" y="172"/>
                  </a:lnTo>
                  <a:lnTo>
                    <a:pt x="806" y="172"/>
                  </a:lnTo>
                  <a:lnTo>
                    <a:pt x="804" y="172"/>
                  </a:lnTo>
                  <a:lnTo>
                    <a:pt x="802" y="170"/>
                  </a:lnTo>
                  <a:lnTo>
                    <a:pt x="800" y="170"/>
                  </a:lnTo>
                  <a:lnTo>
                    <a:pt x="800" y="170"/>
                  </a:lnTo>
                  <a:lnTo>
                    <a:pt x="798" y="170"/>
                  </a:lnTo>
                  <a:lnTo>
                    <a:pt x="798" y="170"/>
                  </a:lnTo>
                  <a:lnTo>
                    <a:pt x="796" y="170"/>
                  </a:lnTo>
                  <a:lnTo>
                    <a:pt x="796" y="170"/>
                  </a:lnTo>
                  <a:lnTo>
                    <a:pt x="796" y="170"/>
                  </a:lnTo>
                  <a:lnTo>
                    <a:pt x="794" y="172"/>
                  </a:lnTo>
                  <a:lnTo>
                    <a:pt x="794" y="172"/>
                  </a:lnTo>
                  <a:lnTo>
                    <a:pt x="794" y="174"/>
                  </a:lnTo>
                  <a:lnTo>
                    <a:pt x="792" y="176"/>
                  </a:lnTo>
                  <a:lnTo>
                    <a:pt x="792" y="178"/>
                  </a:lnTo>
                  <a:lnTo>
                    <a:pt x="790" y="182"/>
                  </a:lnTo>
                  <a:lnTo>
                    <a:pt x="790" y="184"/>
                  </a:lnTo>
                  <a:lnTo>
                    <a:pt x="790" y="184"/>
                  </a:lnTo>
                  <a:lnTo>
                    <a:pt x="790" y="186"/>
                  </a:lnTo>
                  <a:lnTo>
                    <a:pt x="788" y="188"/>
                  </a:lnTo>
                  <a:lnTo>
                    <a:pt x="788" y="192"/>
                  </a:lnTo>
                  <a:lnTo>
                    <a:pt x="788" y="194"/>
                  </a:lnTo>
                  <a:lnTo>
                    <a:pt x="788" y="196"/>
                  </a:lnTo>
                  <a:lnTo>
                    <a:pt x="790" y="198"/>
                  </a:lnTo>
                  <a:lnTo>
                    <a:pt x="790" y="200"/>
                  </a:lnTo>
                  <a:lnTo>
                    <a:pt x="790" y="200"/>
                  </a:lnTo>
                  <a:lnTo>
                    <a:pt x="790" y="200"/>
                  </a:lnTo>
                  <a:lnTo>
                    <a:pt x="790" y="202"/>
                  </a:lnTo>
                  <a:lnTo>
                    <a:pt x="792" y="202"/>
                  </a:lnTo>
                  <a:lnTo>
                    <a:pt x="792" y="202"/>
                  </a:lnTo>
                  <a:lnTo>
                    <a:pt x="794" y="202"/>
                  </a:lnTo>
                  <a:lnTo>
                    <a:pt x="796" y="202"/>
                  </a:lnTo>
                  <a:lnTo>
                    <a:pt x="798" y="204"/>
                  </a:lnTo>
                  <a:lnTo>
                    <a:pt x="802" y="204"/>
                  </a:lnTo>
                  <a:lnTo>
                    <a:pt x="804" y="204"/>
                  </a:lnTo>
                  <a:lnTo>
                    <a:pt x="804" y="204"/>
                  </a:lnTo>
                  <a:lnTo>
                    <a:pt x="804" y="204"/>
                  </a:lnTo>
                  <a:lnTo>
                    <a:pt x="804" y="204"/>
                  </a:lnTo>
                  <a:lnTo>
                    <a:pt x="802" y="204"/>
                  </a:lnTo>
                  <a:lnTo>
                    <a:pt x="800" y="206"/>
                  </a:lnTo>
                  <a:lnTo>
                    <a:pt x="798" y="208"/>
                  </a:lnTo>
                  <a:lnTo>
                    <a:pt x="796" y="210"/>
                  </a:lnTo>
                  <a:lnTo>
                    <a:pt x="792" y="212"/>
                  </a:lnTo>
                  <a:lnTo>
                    <a:pt x="790" y="214"/>
                  </a:lnTo>
                  <a:lnTo>
                    <a:pt x="790" y="216"/>
                  </a:lnTo>
                  <a:lnTo>
                    <a:pt x="788" y="216"/>
                  </a:lnTo>
                  <a:lnTo>
                    <a:pt x="786" y="216"/>
                  </a:lnTo>
                  <a:lnTo>
                    <a:pt x="782" y="218"/>
                  </a:lnTo>
                  <a:lnTo>
                    <a:pt x="778" y="218"/>
                  </a:lnTo>
                  <a:lnTo>
                    <a:pt x="776" y="220"/>
                  </a:lnTo>
                  <a:lnTo>
                    <a:pt x="776" y="220"/>
                  </a:lnTo>
                  <a:lnTo>
                    <a:pt x="774" y="220"/>
                  </a:lnTo>
                  <a:lnTo>
                    <a:pt x="774" y="222"/>
                  </a:lnTo>
                  <a:lnTo>
                    <a:pt x="772" y="224"/>
                  </a:lnTo>
                  <a:lnTo>
                    <a:pt x="770" y="226"/>
                  </a:lnTo>
                  <a:lnTo>
                    <a:pt x="768" y="228"/>
                  </a:lnTo>
                  <a:lnTo>
                    <a:pt x="766" y="232"/>
                  </a:lnTo>
                  <a:lnTo>
                    <a:pt x="764" y="234"/>
                  </a:lnTo>
                  <a:lnTo>
                    <a:pt x="764" y="234"/>
                  </a:lnTo>
                  <a:lnTo>
                    <a:pt x="762" y="236"/>
                  </a:lnTo>
                  <a:lnTo>
                    <a:pt x="762" y="236"/>
                  </a:lnTo>
                  <a:lnTo>
                    <a:pt x="760" y="236"/>
                  </a:lnTo>
                  <a:lnTo>
                    <a:pt x="758" y="236"/>
                  </a:lnTo>
                  <a:lnTo>
                    <a:pt x="758" y="238"/>
                  </a:lnTo>
                  <a:lnTo>
                    <a:pt x="756" y="238"/>
                  </a:lnTo>
                  <a:lnTo>
                    <a:pt x="754" y="238"/>
                  </a:lnTo>
                  <a:lnTo>
                    <a:pt x="750" y="238"/>
                  </a:lnTo>
                  <a:lnTo>
                    <a:pt x="746" y="236"/>
                  </a:lnTo>
                  <a:lnTo>
                    <a:pt x="746" y="236"/>
                  </a:lnTo>
                  <a:lnTo>
                    <a:pt x="744" y="236"/>
                  </a:lnTo>
                  <a:lnTo>
                    <a:pt x="740" y="234"/>
                  </a:lnTo>
                  <a:lnTo>
                    <a:pt x="738" y="232"/>
                  </a:lnTo>
                  <a:lnTo>
                    <a:pt x="736" y="232"/>
                  </a:lnTo>
                  <a:lnTo>
                    <a:pt x="736" y="232"/>
                  </a:lnTo>
                  <a:lnTo>
                    <a:pt x="736" y="232"/>
                  </a:lnTo>
                  <a:lnTo>
                    <a:pt x="734" y="232"/>
                  </a:lnTo>
                  <a:lnTo>
                    <a:pt x="734" y="232"/>
                  </a:lnTo>
                  <a:lnTo>
                    <a:pt x="734" y="232"/>
                  </a:lnTo>
                  <a:lnTo>
                    <a:pt x="732" y="234"/>
                  </a:lnTo>
                  <a:lnTo>
                    <a:pt x="732" y="234"/>
                  </a:lnTo>
                  <a:lnTo>
                    <a:pt x="730" y="236"/>
                  </a:lnTo>
                  <a:lnTo>
                    <a:pt x="730" y="238"/>
                  </a:lnTo>
                  <a:lnTo>
                    <a:pt x="730" y="240"/>
                  </a:lnTo>
                  <a:lnTo>
                    <a:pt x="730" y="242"/>
                  </a:lnTo>
                  <a:lnTo>
                    <a:pt x="730" y="246"/>
                  </a:lnTo>
                  <a:lnTo>
                    <a:pt x="728" y="250"/>
                  </a:lnTo>
                  <a:lnTo>
                    <a:pt x="728" y="252"/>
                  </a:lnTo>
                  <a:lnTo>
                    <a:pt x="728" y="254"/>
                  </a:lnTo>
                  <a:lnTo>
                    <a:pt x="728" y="254"/>
                  </a:lnTo>
                  <a:lnTo>
                    <a:pt x="726" y="256"/>
                  </a:lnTo>
                  <a:lnTo>
                    <a:pt x="726" y="256"/>
                  </a:lnTo>
                  <a:lnTo>
                    <a:pt x="724" y="258"/>
                  </a:lnTo>
                  <a:lnTo>
                    <a:pt x="722" y="260"/>
                  </a:lnTo>
                  <a:lnTo>
                    <a:pt x="720" y="260"/>
                  </a:lnTo>
                  <a:lnTo>
                    <a:pt x="716" y="262"/>
                  </a:lnTo>
                  <a:lnTo>
                    <a:pt x="712" y="264"/>
                  </a:lnTo>
                  <a:lnTo>
                    <a:pt x="704" y="270"/>
                  </a:lnTo>
                  <a:lnTo>
                    <a:pt x="700" y="274"/>
                  </a:lnTo>
                  <a:lnTo>
                    <a:pt x="696" y="274"/>
                  </a:lnTo>
                  <a:lnTo>
                    <a:pt x="696" y="276"/>
                  </a:lnTo>
                  <a:lnTo>
                    <a:pt x="692" y="276"/>
                  </a:lnTo>
                  <a:lnTo>
                    <a:pt x="690" y="278"/>
                  </a:lnTo>
                  <a:lnTo>
                    <a:pt x="688" y="280"/>
                  </a:lnTo>
                  <a:lnTo>
                    <a:pt x="684" y="282"/>
                  </a:lnTo>
                  <a:lnTo>
                    <a:pt x="680" y="282"/>
                  </a:lnTo>
                  <a:lnTo>
                    <a:pt x="680" y="284"/>
                  </a:lnTo>
                  <a:lnTo>
                    <a:pt x="678" y="284"/>
                  </a:lnTo>
                  <a:lnTo>
                    <a:pt x="676" y="284"/>
                  </a:lnTo>
                  <a:lnTo>
                    <a:pt x="676" y="284"/>
                  </a:lnTo>
                  <a:lnTo>
                    <a:pt x="674" y="284"/>
                  </a:lnTo>
                  <a:lnTo>
                    <a:pt x="674" y="284"/>
                  </a:lnTo>
                  <a:lnTo>
                    <a:pt x="674" y="282"/>
                  </a:lnTo>
                  <a:lnTo>
                    <a:pt x="672" y="282"/>
                  </a:lnTo>
                  <a:lnTo>
                    <a:pt x="672" y="280"/>
                  </a:lnTo>
                  <a:lnTo>
                    <a:pt x="672" y="280"/>
                  </a:lnTo>
                  <a:lnTo>
                    <a:pt x="672" y="278"/>
                  </a:lnTo>
                  <a:lnTo>
                    <a:pt x="672" y="278"/>
                  </a:lnTo>
                  <a:lnTo>
                    <a:pt x="672" y="276"/>
                  </a:lnTo>
                  <a:lnTo>
                    <a:pt x="672" y="270"/>
                  </a:lnTo>
                  <a:lnTo>
                    <a:pt x="672" y="268"/>
                  </a:lnTo>
                  <a:lnTo>
                    <a:pt x="672" y="266"/>
                  </a:lnTo>
                  <a:lnTo>
                    <a:pt x="672" y="262"/>
                  </a:lnTo>
                  <a:lnTo>
                    <a:pt x="672" y="256"/>
                  </a:lnTo>
                  <a:lnTo>
                    <a:pt x="670" y="254"/>
                  </a:lnTo>
                  <a:lnTo>
                    <a:pt x="670" y="252"/>
                  </a:lnTo>
                  <a:lnTo>
                    <a:pt x="670" y="250"/>
                  </a:lnTo>
                  <a:lnTo>
                    <a:pt x="670" y="250"/>
                  </a:lnTo>
                  <a:lnTo>
                    <a:pt x="668" y="250"/>
                  </a:lnTo>
                  <a:lnTo>
                    <a:pt x="668" y="248"/>
                  </a:lnTo>
                  <a:lnTo>
                    <a:pt x="668" y="248"/>
                  </a:lnTo>
                  <a:lnTo>
                    <a:pt x="666" y="248"/>
                  </a:lnTo>
                  <a:lnTo>
                    <a:pt x="664" y="248"/>
                  </a:lnTo>
                  <a:lnTo>
                    <a:pt x="664" y="248"/>
                  </a:lnTo>
                  <a:lnTo>
                    <a:pt x="662" y="248"/>
                  </a:lnTo>
                  <a:lnTo>
                    <a:pt x="662" y="248"/>
                  </a:lnTo>
                  <a:lnTo>
                    <a:pt x="660" y="250"/>
                  </a:lnTo>
                  <a:lnTo>
                    <a:pt x="658" y="250"/>
                  </a:lnTo>
                  <a:lnTo>
                    <a:pt x="658" y="252"/>
                  </a:lnTo>
                  <a:lnTo>
                    <a:pt x="656" y="254"/>
                  </a:lnTo>
                  <a:lnTo>
                    <a:pt x="654" y="256"/>
                  </a:lnTo>
                  <a:lnTo>
                    <a:pt x="652" y="258"/>
                  </a:lnTo>
                  <a:lnTo>
                    <a:pt x="650" y="260"/>
                  </a:lnTo>
                  <a:lnTo>
                    <a:pt x="648" y="262"/>
                  </a:lnTo>
                  <a:lnTo>
                    <a:pt x="648" y="264"/>
                  </a:lnTo>
                  <a:lnTo>
                    <a:pt x="648" y="266"/>
                  </a:lnTo>
                  <a:lnTo>
                    <a:pt x="648" y="26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1" name="Freeform 185">
              <a:extLst>
                <a:ext uri="{FF2B5EF4-FFF2-40B4-BE49-F238E27FC236}">
                  <a16:creationId xmlns:a16="http://schemas.microsoft.com/office/drawing/2014/main" id="{A8523999-1392-43F9-9D0E-B4F209E95BF3}"/>
                </a:ext>
              </a:extLst>
            </p:cNvPr>
            <p:cNvSpPr>
              <a:spLocks/>
            </p:cNvSpPr>
            <p:nvPr/>
          </p:nvSpPr>
          <p:spPr bwMode="auto">
            <a:xfrm>
              <a:off x="6046321" y="2990347"/>
              <a:ext cx="1423766" cy="1060030"/>
            </a:xfrm>
            <a:custGeom>
              <a:avLst/>
              <a:gdLst>
                <a:gd name="T0" fmla="*/ 626 w 822"/>
                <a:gd name="T1" fmla="*/ 296 h 612"/>
                <a:gd name="T2" fmla="*/ 664 w 822"/>
                <a:gd name="T3" fmla="*/ 304 h 612"/>
                <a:gd name="T4" fmla="*/ 696 w 822"/>
                <a:gd name="T5" fmla="*/ 318 h 612"/>
                <a:gd name="T6" fmla="*/ 660 w 822"/>
                <a:gd name="T7" fmla="*/ 342 h 612"/>
                <a:gd name="T8" fmla="*/ 696 w 822"/>
                <a:gd name="T9" fmla="*/ 402 h 612"/>
                <a:gd name="T10" fmla="*/ 710 w 822"/>
                <a:gd name="T11" fmla="*/ 470 h 612"/>
                <a:gd name="T12" fmla="*/ 698 w 822"/>
                <a:gd name="T13" fmla="*/ 494 h 612"/>
                <a:gd name="T14" fmla="*/ 684 w 822"/>
                <a:gd name="T15" fmla="*/ 526 h 612"/>
                <a:gd name="T16" fmla="*/ 658 w 822"/>
                <a:gd name="T17" fmla="*/ 544 h 612"/>
                <a:gd name="T18" fmla="*/ 644 w 822"/>
                <a:gd name="T19" fmla="*/ 566 h 612"/>
                <a:gd name="T20" fmla="*/ 594 w 822"/>
                <a:gd name="T21" fmla="*/ 578 h 612"/>
                <a:gd name="T22" fmla="*/ 542 w 822"/>
                <a:gd name="T23" fmla="*/ 610 h 612"/>
                <a:gd name="T24" fmla="*/ 526 w 822"/>
                <a:gd name="T25" fmla="*/ 588 h 612"/>
                <a:gd name="T26" fmla="*/ 484 w 822"/>
                <a:gd name="T27" fmla="*/ 566 h 612"/>
                <a:gd name="T28" fmla="*/ 430 w 822"/>
                <a:gd name="T29" fmla="*/ 586 h 612"/>
                <a:gd name="T30" fmla="*/ 410 w 822"/>
                <a:gd name="T31" fmla="*/ 592 h 612"/>
                <a:gd name="T32" fmla="*/ 390 w 822"/>
                <a:gd name="T33" fmla="*/ 566 h 612"/>
                <a:gd name="T34" fmla="*/ 366 w 822"/>
                <a:gd name="T35" fmla="*/ 544 h 612"/>
                <a:gd name="T36" fmla="*/ 384 w 822"/>
                <a:gd name="T37" fmla="*/ 510 h 612"/>
                <a:gd name="T38" fmla="*/ 350 w 822"/>
                <a:gd name="T39" fmla="*/ 480 h 612"/>
                <a:gd name="T40" fmla="*/ 296 w 822"/>
                <a:gd name="T41" fmla="*/ 472 h 612"/>
                <a:gd name="T42" fmla="*/ 224 w 822"/>
                <a:gd name="T43" fmla="*/ 490 h 612"/>
                <a:gd name="T44" fmla="*/ 164 w 822"/>
                <a:gd name="T45" fmla="*/ 470 h 612"/>
                <a:gd name="T46" fmla="*/ 156 w 822"/>
                <a:gd name="T47" fmla="*/ 466 h 612"/>
                <a:gd name="T48" fmla="*/ 112 w 822"/>
                <a:gd name="T49" fmla="*/ 446 h 612"/>
                <a:gd name="T50" fmla="*/ 78 w 822"/>
                <a:gd name="T51" fmla="*/ 418 h 612"/>
                <a:gd name="T52" fmla="*/ 50 w 822"/>
                <a:gd name="T53" fmla="*/ 394 h 612"/>
                <a:gd name="T54" fmla="*/ 20 w 822"/>
                <a:gd name="T55" fmla="*/ 378 h 612"/>
                <a:gd name="T56" fmla="*/ 18 w 822"/>
                <a:gd name="T57" fmla="*/ 318 h 612"/>
                <a:gd name="T58" fmla="*/ 0 w 822"/>
                <a:gd name="T59" fmla="*/ 302 h 612"/>
                <a:gd name="T60" fmla="*/ 30 w 822"/>
                <a:gd name="T61" fmla="*/ 286 h 612"/>
                <a:gd name="T62" fmla="*/ 56 w 822"/>
                <a:gd name="T63" fmla="*/ 270 h 612"/>
                <a:gd name="T64" fmla="*/ 86 w 822"/>
                <a:gd name="T65" fmla="*/ 246 h 612"/>
                <a:gd name="T66" fmla="*/ 72 w 822"/>
                <a:gd name="T67" fmla="*/ 210 h 612"/>
                <a:gd name="T68" fmla="*/ 112 w 822"/>
                <a:gd name="T69" fmla="*/ 186 h 612"/>
                <a:gd name="T70" fmla="*/ 134 w 822"/>
                <a:gd name="T71" fmla="*/ 162 h 612"/>
                <a:gd name="T72" fmla="*/ 152 w 822"/>
                <a:gd name="T73" fmla="*/ 132 h 612"/>
                <a:gd name="T74" fmla="*/ 176 w 822"/>
                <a:gd name="T75" fmla="*/ 110 h 612"/>
                <a:gd name="T76" fmla="*/ 214 w 822"/>
                <a:gd name="T77" fmla="*/ 134 h 612"/>
                <a:gd name="T78" fmla="*/ 260 w 822"/>
                <a:gd name="T79" fmla="*/ 174 h 612"/>
                <a:gd name="T80" fmla="*/ 312 w 822"/>
                <a:gd name="T81" fmla="*/ 214 h 612"/>
                <a:gd name="T82" fmla="*/ 420 w 822"/>
                <a:gd name="T83" fmla="*/ 232 h 612"/>
                <a:gd name="T84" fmla="*/ 464 w 822"/>
                <a:gd name="T85" fmla="*/ 222 h 612"/>
                <a:gd name="T86" fmla="*/ 516 w 822"/>
                <a:gd name="T87" fmla="*/ 206 h 612"/>
                <a:gd name="T88" fmla="*/ 528 w 822"/>
                <a:gd name="T89" fmla="*/ 176 h 612"/>
                <a:gd name="T90" fmla="*/ 586 w 822"/>
                <a:gd name="T91" fmla="*/ 142 h 612"/>
                <a:gd name="T92" fmla="*/ 596 w 822"/>
                <a:gd name="T93" fmla="*/ 116 h 612"/>
                <a:gd name="T94" fmla="*/ 558 w 822"/>
                <a:gd name="T95" fmla="*/ 112 h 612"/>
                <a:gd name="T96" fmla="*/ 586 w 822"/>
                <a:gd name="T97" fmla="*/ 84 h 612"/>
                <a:gd name="T98" fmla="*/ 602 w 822"/>
                <a:gd name="T99" fmla="*/ 50 h 612"/>
                <a:gd name="T100" fmla="*/ 600 w 822"/>
                <a:gd name="T101" fmla="*/ 12 h 612"/>
                <a:gd name="T102" fmla="*/ 668 w 822"/>
                <a:gd name="T103" fmla="*/ 6 h 612"/>
                <a:gd name="T104" fmla="*/ 710 w 822"/>
                <a:gd name="T105" fmla="*/ 68 h 612"/>
                <a:gd name="T106" fmla="*/ 756 w 822"/>
                <a:gd name="T107" fmla="*/ 94 h 612"/>
                <a:gd name="T108" fmla="*/ 796 w 822"/>
                <a:gd name="T109" fmla="*/ 112 h 612"/>
                <a:gd name="T110" fmla="*/ 820 w 822"/>
                <a:gd name="T111" fmla="*/ 130 h 612"/>
                <a:gd name="T112" fmla="*/ 812 w 822"/>
                <a:gd name="T113" fmla="*/ 172 h 612"/>
                <a:gd name="T114" fmla="*/ 790 w 822"/>
                <a:gd name="T115" fmla="*/ 184 h 612"/>
                <a:gd name="T116" fmla="*/ 798 w 822"/>
                <a:gd name="T117" fmla="*/ 208 h 612"/>
                <a:gd name="T118" fmla="*/ 758 w 822"/>
                <a:gd name="T119" fmla="*/ 238 h 612"/>
                <a:gd name="T120" fmla="*/ 728 w 822"/>
                <a:gd name="T121" fmla="*/ 252 h 612"/>
                <a:gd name="T122" fmla="*/ 674 w 822"/>
                <a:gd name="T123" fmla="*/ 284 h 612"/>
                <a:gd name="T124" fmla="*/ 664 w 822"/>
                <a:gd name="T125" fmla="*/ 248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2" h="612">
                  <a:moveTo>
                    <a:pt x="648" y="266"/>
                  </a:moveTo>
                  <a:lnTo>
                    <a:pt x="648" y="266"/>
                  </a:lnTo>
                  <a:lnTo>
                    <a:pt x="648" y="268"/>
                  </a:lnTo>
                  <a:lnTo>
                    <a:pt x="646" y="268"/>
                  </a:lnTo>
                  <a:lnTo>
                    <a:pt x="646" y="268"/>
                  </a:lnTo>
                  <a:lnTo>
                    <a:pt x="646" y="270"/>
                  </a:lnTo>
                  <a:lnTo>
                    <a:pt x="644" y="272"/>
                  </a:lnTo>
                  <a:lnTo>
                    <a:pt x="642" y="272"/>
                  </a:lnTo>
                  <a:lnTo>
                    <a:pt x="642" y="272"/>
                  </a:lnTo>
                  <a:lnTo>
                    <a:pt x="638" y="274"/>
                  </a:lnTo>
                  <a:lnTo>
                    <a:pt x="634" y="276"/>
                  </a:lnTo>
                  <a:lnTo>
                    <a:pt x="630" y="278"/>
                  </a:lnTo>
                  <a:lnTo>
                    <a:pt x="628" y="278"/>
                  </a:lnTo>
                  <a:lnTo>
                    <a:pt x="628" y="280"/>
                  </a:lnTo>
                  <a:lnTo>
                    <a:pt x="626" y="280"/>
                  </a:lnTo>
                  <a:lnTo>
                    <a:pt x="626" y="282"/>
                  </a:lnTo>
                  <a:lnTo>
                    <a:pt x="626" y="284"/>
                  </a:lnTo>
                  <a:lnTo>
                    <a:pt x="626" y="286"/>
                  </a:lnTo>
                  <a:lnTo>
                    <a:pt x="624" y="288"/>
                  </a:lnTo>
                  <a:lnTo>
                    <a:pt x="626" y="290"/>
                  </a:lnTo>
                  <a:lnTo>
                    <a:pt x="626" y="292"/>
                  </a:lnTo>
                  <a:lnTo>
                    <a:pt x="626" y="294"/>
                  </a:lnTo>
                  <a:lnTo>
                    <a:pt x="626" y="296"/>
                  </a:lnTo>
                  <a:lnTo>
                    <a:pt x="626" y="296"/>
                  </a:lnTo>
                  <a:lnTo>
                    <a:pt x="628" y="298"/>
                  </a:lnTo>
                  <a:lnTo>
                    <a:pt x="630" y="300"/>
                  </a:lnTo>
                  <a:lnTo>
                    <a:pt x="632" y="302"/>
                  </a:lnTo>
                  <a:lnTo>
                    <a:pt x="634" y="304"/>
                  </a:lnTo>
                  <a:lnTo>
                    <a:pt x="636" y="306"/>
                  </a:lnTo>
                  <a:lnTo>
                    <a:pt x="638" y="308"/>
                  </a:lnTo>
                  <a:lnTo>
                    <a:pt x="640" y="308"/>
                  </a:lnTo>
                  <a:lnTo>
                    <a:pt x="642" y="310"/>
                  </a:lnTo>
                  <a:lnTo>
                    <a:pt x="644" y="310"/>
                  </a:lnTo>
                  <a:lnTo>
                    <a:pt x="646" y="310"/>
                  </a:lnTo>
                  <a:lnTo>
                    <a:pt x="648" y="312"/>
                  </a:lnTo>
                  <a:lnTo>
                    <a:pt x="650" y="312"/>
                  </a:lnTo>
                  <a:lnTo>
                    <a:pt x="652" y="312"/>
                  </a:lnTo>
                  <a:lnTo>
                    <a:pt x="654" y="312"/>
                  </a:lnTo>
                  <a:lnTo>
                    <a:pt x="656" y="312"/>
                  </a:lnTo>
                  <a:lnTo>
                    <a:pt x="658" y="310"/>
                  </a:lnTo>
                  <a:lnTo>
                    <a:pt x="658" y="310"/>
                  </a:lnTo>
                  <a:lnTo>
                    <a:pt x="658" y="310"/>
                  </a:lnTo>
                  <a:lnTo>
                    <a:pt x="660" y="308"/>
                  </a:lnTo>
                  <a:lnTo>
                    <a:pt x="662" y="308"/>
                  </a:lnTo>
                  <a:lnTo>
                    <a:pt x="662" y="306"/>
                  </a:lnTo>
                  <a:lnTo>
                    <a:pt x="664" y="304"/>
                  </a:lnTo>
                  <a:lnTo>
                    <a:pt x="666" y="302"/>
                  </a:lnTo>
                  <a:lnTo>
                    <a:pt x="668" y="300"/>
                  </a:lnTo>
                  <a:lnTo>
                    <a:pt x="668" y="300"/>
                  </a:lnTo>
                  <a:lnTo>
                    <a:pt x="668" y="300"/>
                  </a:lnTo>
                  <a:lnTo>
                    <a:pt x="670" y="300"/>
                  </a:lnTo>
                  <a:lnTo>
                    <a:pt x="674" y="298"/>
                  </a:lnTo>
                  <a:lnTo>
                    <a:pt x="676" y="298"/>
                  </a:lnTo>
                  <a:lnTo>
                    <a:pt x="680" y="298"/>
                  </a:lnTo>
                  <a:lnTo>
                    <a:pt x="682" y="300"/>
                  </a:lnTo>
                  <a:lnTo>
                    <a:pt x="686" y="300"/>
                  </a:lnTo>
                  <a:lnTo>
                    <a:pt x="686" y="300"/>
                  </a:lnTo>
                  <a:lnTo>
                    <a:pt x="688" y="300"/>
                  </a:lnTo>
                  <a:lnTo>
                    <a:pt x="690" y="302"/>
                  </a:lnTo>
                  <a:lnTo>
                    <a:pt x="690" y="302"/>
                  </a:lnTo>
                  <a:lnTo>
                    <a:pt x="690" y="302"/>
                  </a:lnTo>
                  <a:lnTo>
                    <a:pt x="692" y="304"/>
                  </a:lnTo>
                  <a:lnTo>
                    <a:pt x="692" y="304"/>
                  </a:lnTo>
                  <a:lnTo>
                    <a:pt x="692" y="306"/>
                  </a:lnTo>
                  <a:lnTo>
                    <a:pt x="694" y="308"/>
                  </a:lnTo>
                  <a:lnTo>
                    <a:pt x="694" y="312"/>
                  </a:lnTo>
                  <a:lnTo>
                    <a:pt x="696" y="314"/>
                  </a:lnTo>
                  <a:lnTo>
                    <a:pt x="696" y="316"/>
                  </a:lnTo>
                  <a:lnTo>
                    <a:pt x="696" y="318"/>
                  </a:lnTo>
                  <a:lnTo>
                    <a:pt x="696" y="318"/>
                  </a:lnTo>
                  <a:lnTo>
                    <a:pt x="696" y="320"/>
                  </a:lnTo>
                  <a:lnTo>
                    <a:pt x="696" y="322"/>
                  </a:lnTo>
                  <a:lnTo>
                    <a:pt x="696" y="322"/>
                  </a:lnTo>
                  <a:lnTo>
                    <a:pt x="694" y="322"/>
                  </a:lnTo>
                  <a:lnTo>
                    <a:pt x="694" y="324"/>
                  </a:lnTo>
                  <a:lnTo>
                    <a:pt x="692" y="324"/>
                  </a:lnTo>
                  <a:lnTo>
                    <a:pt x="692" y="324"/>
                  </a:lnTo>
                  <a:lnTo>
                    <a:pt x="690" y="326"/>
                  </a:lnTo>
                  <a:lnTo>
                    <a:pt x="686" y="326"/>
                  </a:lnTo>
                  <a:lnTo>
                    <a:pt x="680" y="328"/>
                  </a:lnTo>
                  <a:lnTo>
                    <a:pt x="678" y="328"/>
                  </a:lnTo>
                  <a:lnTo>
                    <a:pt x="676" y="328"/>
                  </a:lnTo>
                  <a:lnTo>
                    <a:pt x="676" y="328"/>
                  </a:lnTo>
                  <a:lnTo>
                    <a:pt x="672" y="330"/>
                  </a:lnTo>
                  <a:lnTo>
                    <a:pt x="670" y="332"/>
                  </a:lnTo>
                  <a:lnTo>
                    <a:pt x="666" y="334"/>
                  </a:lnTo>
                  <a:lnTo>
                    <a:pt x="664" y="336"/>
                  </a:lnTo>
                  <a:lnTo>
                    <a:pt x="662" y="338"/>
                  </a:lnTo>
                  <a:lnTo>
                    <a:pt x="662" y="340"/>
                  </a:lnTo>
                  <a:lnTo>
                    <a:pt x="660" y="340"/>
                  </a:lnTo>
                  <a:lnTo>
                    <a:pt x="660" y="342"/>
                  </a:lnTo>
                  <a:lnTo>
                    <a:pt x="660" y="342"/>
                  </a:lnTo>
                  <a:lnTo>
                    <a:pt x="660" y="344"/>
                  </a:lnTo>
                  <a:lnTo>
                    <a:pt x="660" y="344"/>
                  </a:lnTo>
                  <a:lnTo>
                    <a:pt x="660" y="346"/>
                  </a:lnTo>
                  <a:lnTo>
                    <a:pt x="660" y="346"/>
                  </a:lnTo>
                  <a:lnTo>
                    <a:pt x="660" y="350"/>
                  </a:lnTo>
                  <a:lnTo>
                    <a:pt x="662" y="352"/>
                  </a:lnTo>
                  <a:lnTo>
                    <a:pt x="662" y="354"/>
                  </a:lnTo>
                  <a:lnTo>
                    <a:pt x="664" y="356"/>
                  </a:lnTo>
                  <a:lnTo>
                    <a:pt x="666" y="362"/>
                  </a:lnTo>
                  <a:lnTo>
                    <a:pt x="668" y="368"/>
                  </a:lnTo>
                  <a:lnTo>
                    <a:pt x="672" y="374"/>
                  </a:lnTo>
                  <a:lnTo>
                    <a:pt x="674" y="378"/>
                  </a:lnTo>
                  <a:lnTo>
                    <a:pt x="676" y="380"/>
                  </a:lnTo>
                  <a:lnTo>
                    <a:pt x="676" y="384"/>
                  </a:lnTo>
                  <a:lnTo>
                    <a:pt x="678" y="386"/>
                  </a:lnTo>
                  <a:lnTo>
                    <a:pt x="680" y="388"/>
                  </a:lnTo>
                  <a:lnTo>
                    <a:pt x="680" y="388"/>
                  </a:lnTo>
                  <a:lnTo>
                    <a:pt x="682" y="390"/>
                  </a:lnTo>
                  <a:lnTo>
                    <a:pt x="688" y="396"/>
                  </a:lnTo>
                  <a:lnTo>
                    <a:pt x="692" y="398"/>
                  </a:lnTo>
                  <a:lnTo>
                    <a:pt x="694" y="400"/>
                  </a:lnTo>
                  <a:lnTo>
                    <a:pt x="696" y="402"/>
                  </a:lnTo>
                  <a:lnTo>
                    <a:pt x="696" y="402"/>
                  </a:lnTo>
                  <a:lnTo>
                    <a:pt x="696" y="404"/>
                  </a:lnTo>
                  <a:lnTo>
                    <a:pt x="698" y="406"/>
                  </a:lnTo>
                  <a:lnTo>
                    <a:pt x="698" y="406"/>
                  </a:lnTo>
                  <a:lnTo>
                    <a:pt x="698" y="406"/>
                  </a:lnTo>
                  <a:lnTo>
                    <a:pt x="698" y="408"/>
                  </a:lnTo>
                  <a:lnTo>
                    <a:pt x="698" y="412"/>
                  </a:lnTo>
                  <a:lnTo>
                    <a:pt x="698" y="414"/>
                  </a:lnTo>
                  <a:lnTo>
                    <a:pt x="698" y="418"/>
                  </a:lnTo>
                  <a:lnTo>
                    <a:pt x="698" y="420"/>
                  </a:lnTo>
                  <a:lnTo>
                    <a:pt x="698" y="422"/>
                  </a:lnTo>
                  <a:lnTo>
                    <a:pt x="698" y="424"/>
                  </a:lnTo>
                  <a:lnTo>
                    <a:pt x="698" y="426"/>
                  </a:lnTo>
                  <a:lnTo>
                    <a:pt x="700" y="430"/>
                  </a:lnTo>
                  <a:lnTo>
                    <a:pt x="700" y="436"/>
                  </a:lnTo>
                  <a:lnTo>
                    <a:pt x="702" y="440"/>
                  </a:lnTo>
                  <a:lnTo>
                    <a:pt x="702" y="442"/>
                  </a:lnTo>
                  <a:lnTo>
                    <a:pt x="702" y="444"/>
                  </a:lnTo>
                  <a:lnTo>
                    <a:pt x="704" y="448"/>
                  </a:lnTo>
                  <a:lnTo>
                    <a:pt x="706" y="454"/>
                  </a:lnTo>
                  <a:lnTo>
                    <a:pt x="708" y="460"/>
                  </a:lnTo>
                  <a:lnTo>
                    <a:pt x="708" y="464"/>
                  </a:lnTo>
                  <a:lnTo>
                    <a:pt x="710" y="466"/>
                  </a:lnTo>
                  <a:lnTo>
                    <a:pt x="710" y="470"/>
                  </a:lnTo>
                  <a:lnTo>
                    <a:pt x="710" y="472"/>
                  </a:lnTo>
                  <a:lnTo>
                    <a:pt x="710" y="474"/>
                  </a:lnTo>
                  <a:lnTo>
                    <a:pt x="710" y="476"/>
                  </a:lnTo>
                  <a:lnTo>
                    <a:pt x="710" y="478"/>
                  </a:lnTo>
                  <a:lnTo>
                    <a:pt x="710" y="478"/>
                  </a:lnTo>
                  <a:lnTo>
                    <a:pt x="710" y="480"/>
                  </a:lnTo>
                  <a:lnTo>
                    <a:pt x="708" y="480"/>
                  </a:lnTo>
                  <a:lnTo>
                    <a:pt x="708" y="482"/>
                  </a:lnTo>
                  <a:lnTo>
                    <a:pt x="708" y="482"/>
                  </a:lnTo>
                  <a:lnTo>
                    <a:pt x="708" y="482"/>
                  </a:lnTo>
                  <a:lnTo>
                    <a:pt x="706" y="482"/>
                  </a:lnTo>
                  <a:lnTo>
                    <a:pt x="704" y="482"/>
                  </a:lnTo>
                  <a:lnTo>
                    <a:pt x="702" y="482"/>
                  </a:lnTo>
                  <a:lnTo>
                    <a:pt x="700" y="482"/>
                  </a:lnTo>
                  <a:lnTo>
                    <a:pt x="700" y="482"/>
                  </a:lnTo>
                  <a:lnTo>
                    <a:pt x="700" y="482"/>
                  </a:lnTo>
                  <a:lnTo>
                    <a:pt x="698" y="484"/>
                  </a:lnTo>
                  <a:lnTo>
                    <a:pt x="698" y="484"/>
                  </a:lnTo>
                  <a:lnTo>
                    <a:pt x="698" y="484"/>
                  </a:lnTo>
                  <a:lnTo>
                    <a:pt x="698" y="486"/>
                  </a:lnTo>
                  <a:lnTo>
                    <a:pt x="698" y="488"/>
                  </a:lnTo>
                  <a:lnTo>
                    <a:pt x="698" y="490"/>
                  </a:lnTo>
                  <a:lnTo>
                    <a:pt x="698" y="494"/>
                  </a:lnTo>
                  <a:lnTo>
                    <a:pt x="696" y="496"/>
                  </a:lnTo>
                  <a:lnTo>
                    <a:pt x="696" y="496"/>
                  </a:lnTo>
                  <a:lnTo>
                    <a:pt x="696" y="498"/>
                  </a:lnTo>
                  <a:lnTo>
                    <a:pt x="696" y="498"/>
                  </a:lnTo>
                  <a:lnTo>
                    <a:pt x="696" y="498"/>
                  </a:lnTo>
                  <a:lnTo>
                    <a:pt x="694" y="500"/>
                  </a:lnTo>
                  <a:lnTo>
                    <a:pt x="692" y="502"/>
                  </a:lnTo>
                  <a:lnTo>
                    <a:pt x="690" y="504"/>
                  </a:lnTo>
                  <a:lnTo>
                    <a:pt x="686" y="506"/>
                  </a:lnTo>
                  <a:lnTo>
                    <a:pt x="686" y="506"/>
                  </a:lnTo>
                  <a:lnTo>
                    <a:pt x="684" y="508"/>
                  </a:lnTo>
                  <a:lnTo>
                    <a:pt x="682" y="508"/>
                  </a:lnTo>
                  <a:lnTo>
                    <a:pt x="682" y="510"/>
                  </a:lnTo>
                  <a:lnTo>
                    <a:pt x="682" y="510"/>
                  </a:lnTo>
                  <a:lnTo>
                    <a:pt x="682" y="512"/>
                  </a:lnTo>
                  <a:lnTo>
                    <a:pt x="682" y="512"/>
                  </a:lnTo>
                  <a:lnTo>
                    <a:pt x="682" y="514"/>
                  </a:lnTo>
                  <a:lnTo>
                    <a:pt x="682" y="516"/>
                  </a:lnTo>
                  <a:lnTo>
                    <a:pt x="684" y="520"/>
                  </a:lnTo>
                  <a:lnTo>
                    <a:pt x="684" y="522"/>
                  </a:lnTo>
                  <a:lnTo>
                    <a:pt x="684" y="524"/>
                  </a:lnTo>
                  <a:lnTo>
                    <a:pt x="684" y="526"/>
                  </a:lnTo>
                  <a:lnTo>
                    <a:pt x="684" y="526"/>
                  </a:lnTo>
                  <a:lnTo>
                    <a:pt x="684" y="528"/>
                  </a:lnTo>
                  <a:lnTo>
                    <a:pt x="684" y="528"/>
                  </a:lnTo>
                  <a:lnTo>
                    <a:pt x="684" y="530"/>
                  </a:lnTo>
                  <a:lnTo>
                    <a:pt x="682" y="530"/>
                  </a:lnTo>
                  <a:lnTo>
                    <a:pt x="682" y="532"/>
                  </a:lnTo>
                  <a:lnTo>
                    <a:pt x="680" y="532"/>
                  </a:lnTo>
                  <a:lnTo>
                    <a:pt x="678" y="534"/>
                  </a:lnTo>
                  <a:lnTo>
                    <a:pt x="676" y="536"/>
                  </a:lnTo>
                  <a:lnTo>
                    <a:pt x="674" y="538"/>
                  </a:lnTo>
                  <a:lnTo>
                    <a:pt x="672" y="538"/>
                  </a:lnTo>
                  <a:lnTo>
                    <a:pt x="670" y="538"/>
                  </a:lnTo>
                  <a:lnTo>
                    <a:pt x="668" y="538"/>
                  </a:lnTo>
                  <a:lnTo>
                    <a:pt x="668" y="538"/>
                  </a:lnTo>
                  <a:lnTo>
                    <a:pt x="664" y="538"/>
                  </a:lnTo>
                  <a:lnTo>
                    <a:pt x="664" y="538"/>
                  </a:lnTo>
                  <a:lnTo>
                    <a:pt x="662" y="540"/>
                  </a:lnTo>
                  <a:lnTo>
                    <a:pt x="660" y="540"/>
                  </a:lnTo>
                  <a:lnTo>
                    <a:pt x="660" y="540"/>
                  </a:lnTo>
                  <a:lnTo>
                    <a:pt x="660" y="540"/>
                  </a:lnTo>
                  <a:lnTo>
                    <a:pt x="660" y="540"/>
                  </a:lnTo>
                  <a:lnTo>
                    <a:pt x="658" y="542"/>
                  </a:lnTo>
                  <a:lnTo>
                    <a:pt x="658" y="542"/>
                  </a:lnTo>
                  <a:lnTo>
                    <a:pt x="658" y="544"/>
                  </a:lnTo>
                  <a:lnTo>
                    <a:pt x="658" y="546"/>
                  </a:lnTo>
                  <a:lnTo>
                    <a:pt x="658" y="548"/>
                  </a:lnTo>
                  <a:lnTo>
                    <a:pt x="658" y="550"/>
                  </a:lnTo>
                  <a:lnTo>
                    <a:pt x="658" y="552"/>
                  </a:lnTo>
                  <a:lnTo>
                    <a:pt x="658" y="552"/>
                  </a:lnTo>
                  <a:lnTo>
                    <a:pt x="658" y="554"/>
                  </a:lnTo>
                  <a:lnTo>
                    <a:pt x="658" y="554"/>
                  </a:lnTo>
                  <a:lnTo>
                    <a:pt x="658" y="554"/>
                  </a:lnTo>
                  <a:lnTo>
                    <a:pt x="656" y="556"/>
                  </a:lnTo>
                  <a:lnTo>
                    <a:pt x="656" y="556"/>
                  </a:lnTo>
                  <a:lnTo>
                    <a:pt x="654" y="556"/>
                  </a:lnTo>
                  <a:lnTo>
                    <a:pt x="654" y="556"/>
                  </a:lnTo>
                  <a:lnTo>
                    <a:pt x="652" y="556"/>
                  </a:lnTo>
                  <a:lnTo>
                    <a:pt x="650" y="558"/>
                  </a:lnTo>
                  <a:lnTo>
                    <a:pt x="648" y="558"/>
                  </a:lnTo>
                  <a:lnTo>
                    <a:pt x="646" y="558"/>
                  </a:lnTo>
                  <a:lnTo>
                    <a:pt x="646" y="558"/>
                  </a:lnTo>
                  <a:lnTo>
                    <a:pt x="646" y="558"/>
                  </a:lnTo>
                  <a:lnTo>
                    <a:pt x="646" y="560"/>
                  </a:lnTo>
                  <a:lnTo>
                    <a:pt x="646" y="560"/>
                  </a:lnTo>
                  <a:lnTo>
                    <a:pt x="644" y="562"/>
                  </a:lnTo>
                  <a:lnTo>
                    <a:pt x="644" y="564"/>
                  </a:lnTo>
                  <a:lnTo>
                    <a:pt x="644" y="566"/>
                  </a:lnTo>
                  <a:lnTo>
                    <a:pt x="644" y="568"/>
                  </a:lnTo>
                  <a:lnTo>
                    <a:pt x="644" y="570"/>
                  </a:lnTo>
                  <a:lnTo>
                    <a:pt x="644" y="572"/>
                  </a:lnTo>
                  <a:lnTo>
                    <a:pt x="644" y="572"/>
                  </a:lnTo>
                  <a:lnTo>
                    <a:pt x="644" y="572"/>
                  </a:lnTo>
                  <a:lnTo>
                    <a:pt x="642" y="574"/>
                  </a:lnTo>
                  <a:lnTo>
                    <a:pt x="642" y="574"/>
                  </a:lnTo>
                  <a:lnTo>
                    <a:pt x="640" y="576"/>
                  </a:lnTo>
                  <a:lnTo>
                    <a:pt x="638" y="576"/>
                  </a:lnTo>
                  <a:lnTo>
                    <a:pt x="636" y="576"/>
                  </a:lnTo>
                  <a:lnTo>
                    <a:pt x="632" y="578"/>
                  </a:lnTo>
                  <a:lnTo>
                    <a:pt x="628" y="578"/>
                  </a:lnTo>
                  <a:lnTo>
                    <a:pt x="624" y="580"/>
                  </a:lnTo>
                  <a:lnTo>
                    <a:pt x="620" y="580"/>
                  </a:lnTo>
                  <a:lnTo>
                    <a:pt x="618" y="580"/>
                  </a:lnTo>
                  <a:lnTo>
                    <a:pt x="616" y="580"/>
                  </a:lnTo>
                  <a:lnTo>
                    <a:pt x="614" y="580"/>
                  </a:lnTo>
                  <a:lnTo>
                    <a:pt x="608" y="578"/>
                  </a:lnTo>
                  <a:lnTo>
                    <a:pt x="604" y="578"/>
                  </a:lnTo>
                  <a:lnTo>
                    <a:pt x="602" y="578"/>
                  </a:lnTo>
                  <a:lnTo>
                    <a:pt x="600" y="578"/>
                  </a:lnTo>
                  <a:lnTo>
                    <a:pt x="596" y="578"/>
                  </a:lnTo>
                  <a:lnTo>
                    <a:pt x="594" y="578"/>
                  </a:lnTo>
                  <a:lnTo>
                    <a:pt x="590" y="580"/>
                  </a:lnTo>
                  <a:lnTo>
                    <a:pt x="588" y="580"/>
                  </a:lnTo>
                  <a:lnTo>
                    <a:pt x="584" y="582"/>
                  </a:lnTo>
                  <a:lnTo>
                    <a:pt x="582" y="582"/>
                  </a:lnTo>
                  <a:lnTo>
                    <a:pt x="578" y="584"/>
                  </a:lnTo>
                  <a:lnTo>
                    <a:pt x="576" y="586"/>
                  </a:lnTo>
                  <a:lnTo>
                    <a:pt x="574" y="586"/>
                  </a:lnTo>
                  <a:lnTo>
                    <a:pt x="572" y="588"/>
                  </a:lnTo>
                  <a:lnTo>
                    <a:pt x="568" y="592"/>
                  </a:lnTo>
                  <a:lnTo>
                    <a:pt x="564" y="594"/>
                  </a:lnTo>
                  <a:lnTo>
                    <a:pt x="560" y="598"/>
                  </a:lnTo>
                  <a:lnTo>
                    <a:pt x="554" y="602"/>
                  </a:lnTo>
                  <a:lnTo>
                    <a:pt x="552" y="604"/>
                  </a:lnTo>
                  <a:lnTo>
                    <a:pt x="552" y="606"/>
                  </a:lnTo>
                  <a:lnTo>
                    <a:pt x="550" y="608"/>
                  </a:lnTo>
                  <a:lnTo>
                    <a:pt x="548" y="610"/>
                  </a:lnTo>
                  <a:lnTo>
                    <a:pt x="546" y="610"/>
                  </a:lnTo>
                  <a:lnTo>
                    <a:pt x="546" y="612"/>
                  </a:lnTo>
                  <a:lnTo>
                    <a:pt x="546" y="612"/>
                  </a:lnTo>
                  <a:lnTo>
                    <a:pt x="544" y="612"/>
                  </a:lnTo>
                  <a:lnTo>
                    <a:pt x="544" y="612"/>
                  </a:lnTo>
                  <a:lnTo>
                    <a:pt x="542" y="612"/>
                  </a:lnTo>
                  <a:lnTo>
                    <a:pt x="542" y="610"/>
                  </a:lnTo>
                  <a:lnTo>
                    <a:pt x="542" y="610"/>
                  </a:lnTo>
                  <a:lnTo>
                    <a:pt x="542" y="608"/>
                  </a:lnTo>
                  <a:lnTo>
                    <a:pt x="540" y="608"/>
                  </a:lnTo>
                  <a:lnTo>
                    <a:pt x="540" y="606"/>
                  </a:lnTo>
                  <a:lnTo>
                    <a:pt x="540" y="602"/>
                  </a:lnTo>
                  <a:lnTo>
                    <a:pt x="540" y="600"/>
                  </a:lnTo>
                  <a:lnTo>
                    <a:pt x="540" y="596"/>
                  </a:lnTo>
                  <a:lnTo>
                    <a:pt x="540" y="594"/>
                  </a:lnTo>
                  <a:lnTo>
                    <a:pt x="538" y="594"/>
                  </a:lnTo>
                  <a:lnTo>
                    <a:pt x="538" y="592"/>
                  </a:lnTo>
                  <a:lnTo>
                    <a:pt x="538" y="592"/>
                  </a:lnTo>
                  <a:lnTo>
                    <a:pt x="536" y="590"/>
                  </a:lnTo>
                  <a:lnTo>
                    <a:pt x="536" y="590"/>
                  </a:lnTo>
                  <a:lnTo>
                    <a:pt x="534" y="588"/>
                  </a:lnTo>
                  <a:lnTo>
                    <a:pt x="534" y="588"/>
                  </a:lnTo>
                  <a:lnTo>
                    <a:pt x="532" y="588"/>
                  </a:lnTo>
                  <a:lnTo>
                    <a:pt x="532" y="586"/>
                  </a:lnTo>
                  <a:lnTo>
                    <a:pt x="530" y="586"/>
                  </a:lnTo>
                  <a:lnTo>
                    <a:pt x="530" y="586"/>
                  </a:lnTo>
                  <a:lnTo>
                    <a:pt x="528" y="586"/>
                  </a:lnTo>
                  <a:lnTo>
                    <a:pt x="528" y="588"/>
                  </a:lnTo>
                  <a:lnTo>
                    <a:pt x="528" y="588"/>
                  </a:lnTo>
                  <a:lnTo>
                    <a:pt x="526" y="588"/>
                  </a:lnTo>
                  <a:lnTo>
                    <a:pt x="526" y="590"/>
                  </a:lnTo>
                  <a:lnTo>
                    <a:pt x="526" y="592"/>
                  </a:lnTo>
                  <a:lnTo>
                    <a:pt x="524" y="592"/>
                  </a:lnTo>
                  <a:lnTo>
                    <a:pt x="524" y="596"/>
                  </a:lnTo>
                  <a:lnTo>
                    <a:pt x="524" y="598"/>
                  </a:lnTo>
                  <a:lnTo>
                    <a:pt x="522" y="602"/>
                  </a:lnTo>
                  <a:lnTo>
                    <a:pt x="522" y="604"/>
                  </a:lnTo>
                  <a:lnTo>
                    <a:pt x="520" y="600"/>
                  </a:lnTo>
                  <a:lnTo>
                    <a:pt x="518" y="596"/>
                  </a:lnTo>
                  <a:lnTo>
                    <a:pt x="514" y="590"/>
                  </a:lnTo>
                  <a:lnTo>
                    <a:pt x="512" y="586"/>
                  </a:lnTo>
                  <a:lnTo>
                    <a:pt x="508" y="580"/>
                  </a:lnTo>
                  <a:lnTo>
                    <a:pt x="506" y="578"/>
                  </a:lnTo>
                  <a:lnTo>
                    <a:pt x="504" y="576"/>
                  </a:lnTo>
                  <a:lnTo>
                    <a:pt x="502" y="574"/>
                  </a:lnTo>
                  <a:lnTo>
                    <a:pt x="502" y="572"/>
                  </a:lnTo>
                  <a:lnTo>
                    <a:pt x="500" y="572"/>
                  </a:lnTo>
                  <a:lnTo>
                    <a:pt x="498" y="572"/>
                  </a:lnTo>
                  <a:lnTo>
                    <a:pt x="496" y="570"/>
                  </a:lnTo>
                  <a:lnTo>
                    <a:pt x="494" y="568"/>
                  </a:lnTo>
                  <a:lnTo>
                    <a:pt x="490" y="568"/>
                  </a:lnTo>
                  <a:lnTo>
                    <a:pt x="488" y="566"/>
                  </a:lnTo>
                  <a:lnTo>
                    <a:pt x="484" y="566"/>
                  </a:lnTo>
                  <a:lnTo>
                    <a:pt x="478" y="566"/>
                  </a:lnTo>
                  <a:lnTo>
                    <a:pt x="476" y="564"/>
                  </a:lnTo>
                  <a:lnTo>
                    <a:pt x="470" y="564"/>
                  </a:lnTo>
                  <a:lnTo>
                    <a:pt x="466" y="564"/>
                  </a:lnTo>
                  <a:lnTo>
                    <a:pt x="464" y="564"/>
                  </a:lnTo>
                  <a:lnTo>
                    <a:pt x="464" y="566"/>
                  </a:lnTo>
                  <a:lnTo>
                    <a:pt x="462" y="566"/>
                  </a:lnTo>
                  <a:lnTo>
                    <a:pt x="460" y="566"/>
                  </a:lnTo>
                  <a:lnTo>
                    <a:pt x="458" y="568"/>
                  </a:lnTo>
                  <a:lnTo>
                    <a:pt x="454" y="570"/>
                  </a:lnTo>
                  <a:lnTo>
                    <a:pt x="450" y="572"/>
                  </a:lnTo>
                  <a:lnTo>
                    <a:pt x="444" y="576"/>
                  </a:lnTo>
                  <a:lnTo>
                    <a:pt x="440" y="578"/>
                  </a:lnTo>
                  <a:lnTo>
                    <a:pt x="440" y="578"/>
                  </a:lnTo>
                  <a:lnTo>
                    <a:pt x="436" y="580"/>
                  </a:lnTo>
                  <a:lnTo>
                    <a:pt x="434" y="580"/>
                  </a:lnTo>
                  <a:lnTo>
                    <a:pt x="432" y="580"/>
                  </a:lnTo>
                  <a:lnTo>
                    <a:pt x="430" y="582"/>
                  </a:lnTo>
                  <a:lnTo>
                    <a:pt x="430" y="582"/>
                  </a:lnTo>
                  <a:lnTo>
                    <a:pt x="430" y="582"/>
                  </a:lnTo>
                  <a:lnTo>
                    <a:pt x="430" y="584"/>
                  </a:lnTo>
                  <a:lnTo>
                    <a:pt x="428" y="584"/>
                  </a:lnTo>
                  <a:lnTo>
                    <a:pt x="430" y="586"/>
                  </a:lnTo>
                  <a:lnTo>
                    <a:pt x="430" y="586"/>
                  </a:lnTo>
                  <a:lnTo>
                    <a:pt x="430" y="588"/>
                  </a:lnTo>
                  <a:lnTo>
                    <a:pt x="430" y="590"/>
                  </a:lnTo>
                  <a:lnTo>
                    <a:pt x="432" y="592"/>
                  </a:lnTo>
                  <a:lnTo>
                    <a:pt x="432" y="594"/>
                  </a:lnTo>
                  <a:lnTo>
                    <a:pt x="432" y="596"/>
                  </a:lnTo>
                  <a:lnTo>
                    <a:pt x="432" y="596"/>
                  </a:lnTo>
                  <a:lnTo>
                    <a:pt x="432" y="598"/>
                  </a:lnTo>
                  <a:lnTo>
                    <a:pt x="432" y="598"/>
                  </a:lnTo>
                  <a:lnTo>
                    <a:pt x="432" y="598"/>
                  </a:lnTo>
                  <a:lnTo>
                    <a:pt x="430" y="600"/>
                  </a:lnTo>
                  <a:lnTo>
                    <a:pt x="428" y="600"/>
                  </a:lnTo>
                  <a:lnTo>
                    <a:pt x="428" y="600"/>
                  </a:lnTo>
                  <a:lnTo>
                    <a:pt x="426" y="600"/>
                  </a:lnTo>
                  <a:lnTo>
                    <a:pt x="424" y="600"/>
                  </a:lnTo>
                  <a:lnTo>
                    <a:pt x="420" y="600"/>
                  </a:lnTo>
                  <a:lnTo>
                    <a:pt x="418" y="600"/>
                  </a:lnTo>
                  <a:lnTo>
                    <a:pt x="414" y="600"/>
                  </a:lnTo>
                  <a:lnTo>
                    <a:pt x="412" y="600"/>
                  </a:lnTo>
                  <a:lnTo>
                    <a:pt x="412" y="600"/>
                  </a:lnTo>
                  <a:lnTo>
                    <a:pt x="410" y="596"/>
                  </a:lnTo>
                  <a:lnTo>
                    <a:pt x="410" y="594"/>
                  </a:lnTo>
                  <a:lnTo>
                    <a:pt x="410" y="592"/>
                  </a:lnTo>
                  <a:lnTo>
                    <a:pt x="408" y="592"/>
                  </a:lnTo>
                  <a:lnTo>
                    <a:pt x="408" y="590"/>
                  </a:lnTo>
                  <a:lnTo>
                    <a:pt x="408" y="590"/>
                  </a:lnTo>
                  <a:lnTo>
                    <a:pt x="408" y="590"/>
                  </a:lnTo>
                  <a:lnTo>
                    <a:pt x="406" y="590"/>
                  </a:lnTo>
                  <a:lnTo>
                    <a:pt x="406" y="590"/>
                  </a:lnTo>
                  <a:lnTo>
                    <a:pt x="404" y="590"/>
                  </a:lnTo>
                  <a:lnTo>
                    <a:pt x="400" y="590"/>
                  </a:lnTo>
                  <a:lnTo>
                    <a:pt x="398" y="588"/>
                  </a:lnTo>
                  <a:lnTo>
                    <a:pt x="396" y="588"/>
                  </a:lnTo>
                  <a:lnTo>
                    <a:pt x="396" y="588"/>
                  </a:lnTo>
                  <a:lnTo>
                    <a:pt x="396" y="588"/>
                  </a:lnTo>
                  <a:lnTo>
                    <a:pt x="394" y="588"/>
                  </a:lnTo>
                  <a:lnTo>
                    <a:pt x="394" y="588"/>
                  </a:lnTo>
                  <a:lnTo>
                    <a:pt x="394" y="586"/>
                  </a:lnTo>
                  <a:lnTo>
                    <a:pt x="392" y="586"/>
                  </a:lnTo>
                  <a:lnTo>
                    <a:pt x="392" y="584"/>
                  </a:lnTo>
                  <a:lnTo>
                    <a:pt x="392" y="582"/>
                  </a:lnTo>
                  <a:lnTo>
                    <a:pt x="392" y="580"/>
                  </a:lnTo>
                  <a:lnTo>
                    <a:pt x="392" y="576"/>
                  </a:lnTo>
                  <a:lnTo>
                    <a:pt x="392" y="570"/>
                  </a:lnTo>
                  <a:lnTo>
                    <a:pt x="390" y="566"/>
                  </a:lnTo>
                  <a:lnTo>
                    <a:pt x="390" y="566"/>
                  </a:lnTo>
                  <a:lnTo>
                    <a:pt x="390" y="564"/>
                  </a:lnTo>
                  <a:lnTo>
                    <a:pt x="390" y="560"/>
                  </a:lnTo>
                  <a:lnTo>
                    <a:pt x="388" y="558"/>
                  </a:lnTo>
                  <a:lnTo>
                    <a:pt x="388" y="556"/>
                  </a:lnTo>
                  <a:lnTo>
                    <a:pt x="386" y="554"/>
                  </a:lnTo>
                  <a:lnTo>
                    <a:pt x="386" y="552"/>
                  </a:lnTo>
                  <a:lnTo>
                    <a:pt x="384" y="550"/>
                  </a:lnTo>
                  <a:lnTo>
                    <a:pt x="384" y="550"/>
                  </a:lnTo>
                  <a:lnTo>
                    <a:pt x="382" y="548"/>
                  </a:lnTo>
                  <a:lnTo>
                    <a:pt x="382" y="548"/>
                  </a:lnTo>
                  <a:lnTo>
                    <a:pt x="382" y="548"/>
                  </a:lnTo>
                  <a:lnTo>
                    <a:pt x="380" y="548"/>
                  </a:lnTo>
                  <a:lnTo>
                    <a:pt x="380" y="548"/>
                  </a:lnTo>
                  <a:lnTo>
                    <a:pt x="376" y="548"/>
                  </a:lnTo>
                  <a:lnTo>
                    <a:pt x="374" y="548"/>
                  </a:lnTo>
                  <a:lnTo>
                    <a:pt x="372" y="548"/>
                  </a:lnTo>
                  <a:lnTo>
                    <a:pt x="370" y="548"/>
                  </a:lnTo>
                  <a:lnTo>
                    <a:pt x="368" y="548"/>
                  </a:lnTo>
                  <a:lnTo>
                    <a:pt x="368" y="548"/>
                  </a:lnTo>
                  <a:lnTo>
                    <a:pt x="368" y="546"/>
                  </a:lnTo>
                  <a:lnTo>
                    <a:pt x="366" y="546"/>
                  </a:lnTo>
                  <a:lnTo>
                    <a:pt x="366" y="546"/>
                  </a:lnTo>
                  <a:lnTo>
                    <a:pt x="366" y="544"/>
                  </a:lnTo>
                  <a:lnTo>
                    <a:pt x="366" y="544"/>
                  </a:lnTo>
                  <a:lnTo>
                    <a:pt x="366" y="542"/>
                  </a:lnTo>
                  <a:lnTo>
                    <a:pt x="366" y="540"/>
                  </a:lnTo>
                  <a:lnTo>
                    <a:pt x="366" y="538"/>
                  </a:lnTo>
                  <a:lnTo>
                    <a:pt x="366" y="536"/>
                  </a:lnTo>
                  <a:lnTo>
                    <a:pt x="368" y="534"/>
                  </a:lnTo>
                  <a:lnTo>
                    <a:pt x="368" y="534"/>
                  </a:lnTo>
                  <a:lnTo>
                    <a:pt x="368" y="532"/>
                  </a:lnTo>
                  <a:lnTo>
                    <a:pt x="370" y="532"/>
                  </a:lnTo>
                  <a:lnTo>
                    <a:pt x="372" y="530"/>
                  </a:lnTo>
                  <a:lnTo>
                    <a:pt x="372" y="530"/>
                  </a:lnTo>
                  <a:lnTo>
                    <a:pt x="376" y="528"/>
                  </a:lnTo>
                  <a:lnTo>
                    <a:pt x="376" y="528"/>
                  </a:lnTo>
                  <a:lnTo>
                    <a:pt x="378" y="526"/>
                  </a:lnTo>
                  <a:lnTo>
                    <a:pt x="380" y="524"/>
                  </a:lnTo>
                  <a:lnTo>
                    <a:pt x="382" y="520"/>
                  </a:lnTo>
                  <a:lnTo>
                    <a:pt x="382" y="518"/>
                  </a:lnTo>
                  <a:lnTo>
                    <a:pt x="384" y="516"/>
                  </a:lnTo>
                  <a:lnTo>
                    <a:pt x="384" y="516"/>
                  </a:lnTo>
                  <a:lnTo>
                    <a:pt x="384" y="514"/>
                  </a:lnTo>
                  <a:lnTo>
                    <a:pt x="384" y="512"/>
                  </a:lnTo>
                  <a:lnTo>
                    <a:pt x="384" y="512"/>
                  </a:lnTo>
                  <a:lnTo>
                    <a:pt x="384" y="510"/>
                  </a:lnTo>
                  <a:lnTo>
                    <a:pt x="382" y="508"/>
                  </a:lnTo>
                  <a:lnTo>
                    <a:pt x="382" y="506"/>
                  </a:lnTo>
                  <a:lnTo>
                    <a:pt x="380" y="500"/>
                  </a:lnTo>
                  <a:lnTo>
                    <a:pt x="378" y="498"/>
                  </a:lnTo>
                  <a:lnTo>
                    <a:pt x="378" y="494"/>
                  </a:lnTo>
                  <a:lnTo>
                    <a:pt x="376" y="492"/>
                  </a:lnTo>
                  <a:lnTo>
                    <a:pt x="376" y="492"/>
                  </a:lnTo>
                  <a:lnTo>
                    <a:pt x="376" y="490"/>
                  </a:lnTo>
                  <a:lnTo>
                    <a:pt x="374" y="488"/>
                  </a:lnTo>
                  <a:lnTo>
                    <a:pt x="374" y="488"/>
                  </a:lnTo>
                  <a:lnTo>
                    <a:pt x="374" y="488"/>
                  </a:lnTo>
                  <a:lnTo>
                    <a:pt x="372" y="488"/>
                  </a:lnTo>
                  <a:lnTo>
                    <a:pt x="372" y="488"/>
                  </a:lnTo>
                  <a:lnTo>
                    <a:pt x="370" y="488"/>
                  </a:lnTo>
                  <a:lnTo>
                    <a:pt x="368" y="488"/>
                  </a:lnTo>
                  <a:lnTo>
                    <a:pt x="364" y="488"/>
                  </a:lnTo>
                  <a:lnTo>
                    <a:pt x="362" y="490"/>
                  </a:lnTo>
                  <a:lnTo>
                    <a:pt x="360" y="490"/>
                  </a:lnTo>
                  <a:lnTo>
                    <a:pt x="358" y="490"/>
                  </a:lnTo>
                  <a:lnTo>
                    <a:pt x="356" y="488"/>
                  </a:lnTo>
                  <a:lnTo>
                    <a:pt x="354" y="484"/>
                  </a:lnTo>
                  <a:lnTo>
                    <a:pt x="352" y="482"/>
                  </a:lnTo>
                  <a:lnTo>
                    <a:pt x="350" y="480"/>
                  </a:lnTo>
                  <a:lnTo>
                    <a:pt x="350" y="478"/>
                  </a:lnTo>
                  <a:lnTo>
                    <a:pt x="348" y="476"/>
                  </a:lnTo>
                  <a:lnTo>
                    <a:pt x="346" y="474"/>
                  </a:lnTo>
                  <a:lnTo>
                    <a:pt x="344" y="474"/>
                  </a:lnTo>
                  <a:lnTo>
                    <a:pt x="342" y="472"/>
                  </a:lnTo>
                  <a:lnTo>
                    <a:pt x="340" y="470"/>
                  </a:lnTo>
                  <a:lnTo>
                    <a:pt x="338" y="470"/>
                  </a:lnTo>
                  <a:lnTo>
                    <a:pt x="336" y="468"/>
                  </a:lnTo>
                  <a:lnTo>
                    <a:pt x="334" y="468"/>
                  </a:lnTo>
                  <a:lnTo>
                    <a:pt x="332" y="466"/>
                  </a:lnTo>
                  <a:lnTo>
                    <a:pt x="328" y="466"/>
                  </a:lnTo>
                  <a:lnTo>
                    <a:pt x="326" y="466"/>
                  </a:lnTo>
                  <a:lnTo>
                    <a:pt x="322" y="466"/>
                  </a:lnTo>
                  <a:lnTo>
                    <a:pt x="320" y="466"/>
                  </a:lnTo>
                  <a:lnTo>
                    <a:pt x="316" y="466"/>
                  </a:lnTo>
                  <a:lnTo>
                    <a:pt x="314" y="466"/>
                  </a:lnTo>
                  <a:lnTo>
                    <a:pt x="310" y="466"/>
                  </a:lnTo>
                  <a:lnTo>
                    <a:pt x="308" y="466"/>
                  </a:lnTo>
                  <a:lnTo>
                    <a:pt x="306" y="468"/>
                  </a:lnTo>
                  <a:lnTo>
                    <a:pt x="304" y="468"/>
                  </a:lnTo>
                  <a:lnTo>
                    <a:pt x="302" y="470"/>
                  </a:lnTo>
                  <a:lnTo>
                    <a:pt x="300" y="472"/>
                  </a:lnTo>
                  <a:lnTo>
                    <a:pt x="296" y="472"/>
                  </a:lnTo>
                  <a:lnTo>
                    <a:pt x="294" y="474"/>
                  </a:lnTo>
                  <a:lnTo>
                    <a:pt x="292" y="476"/>
                  </a:lnTo>
                  <a:lnTo>
                    <a:pt x="290" y="476"/>
                  </a:lnTo>
                  <a:lnTo>
                    <a:pt x="290" y="478"/>
                  </a:lnTo>
                  <a:lnTo>
                    <a:pt x="288" y="480"/>
                  </a:lnTo>
                  <a:lnTo>
                    <a:pt x="286" y="484"/>
                  </a:lnTo>
                  <a:lnTo>
                    <a:pt x="284" y="488"/>
                  </a:lnTo>
                  <a:lnTo>
                    <a:pt x="280" y="488"/>
                  </a:lnTo>
                  <a:lnTo>
                    <a:pt x="274" y="488"/>
                  </a:lnTo>
                  <a:lnTo>
                    <a:pt x="270" y="488"/>
                  </a:lnTo>
                  <a:lnTo>
                    <a:pt x="266" y="488"/>
                  </a:lnTo>
                  <a:lnTo>
                    <a:pt x="262" y="488"/>
                  </a:lnTo>
                  <a:lnTo>
                    <a:pt x="260" y="488"/>
                  </a:lnTo>
                  <a:lnTo>
                    <a:pt x="260" y="488"/>
                  </a:lnTo>
                  <a:lnTo>
                    <a:pt x="258" y="488"/>
                  </a:lnTo>
                  <a:lnTo>
                    <a:pt x="254" y="486"/>
                  </a:lnTo>
                  <a:lnTo>
                    <a:pt x="250" y="484"/>
                  </a:lnTo>
                  <a:lnTo>
                    <a:pt x="246" y="482"/>
                  </a:lnTo>
                  <a:lnTo>
                    <a:pt x="244" y="480"/>
                  </a:lnTo>
                  <a:lnTo>
                    <a:pt x="236" y="494"/>
                  </a:lnTo>
                  <a:lnTo>
                    <a:pt x="230" y="492"/>
                  </a:lnTo>
                  <a:lnTo>
                    <a:pt x="226" y="490"/>
                  </a:lnTo>
                  <a:lnTo>
                    <a:pt x="224" y="490"/>
                  </a:lnTo>
                  <a:lnTo>
                    <a:pt x="222" y="490"/>
                  </a:lnTo>
                  <a:lnTo>
                    <a:pt x="218" y="490"/>
                  </a:lnTo>
                  <a:lnTo>
                    <a:pt x="214" y="488"/>
                  </a:lnTo>
                  <a:lnTo>
                    <a:pt x="206" y="488"/>
                  </a:lnTo>
                  <a:lnTo>
                    <a:pt x="202" y="488"/>
                  </a:lnTo>
                  <a:lnTo>
                    <a:pt x="196" y="488"/>
                  </a:lnTo>
                  <a:lnTo>
                    <a:pt x="194" y="488"/>
                  </a:lnTo>
                  <a:lnTo>
                    <a:pt x="192" y="488"/>
                  </a:lnTo>
                  <a:lnTo>
                    <a:pt x="190" y="488"/>
                  </a:lnTo>
                  <a:lnTo>
                    <a:pt x="188" y="486"/>
                  </a:lnTo>
                  <a:lnTo>
                    <a:pt x="186" y="486"/>
                  </a:lnTo>
                  <a:lnTo>
                    <a:pt x="182" y="484"/>
                  </a:lnTo>
                  <a:lnTo>
                    <a:pt x="176" y="480"/>
                  </a:lnTo>
                  <a:lnTo>
                    <a:pt x="172" y="478"/>
                  </a:lnTo>
                  <a:lnTo>
                    <a:pt x="170" y="476"/>
                  </a:lnTo>
                  <a:lnTo>
                    <a:pt x="168" y="476"/>
                  </a:lnTo>
                  <a:lnTo>
                    <a:pt x="166" y="476"/>
                  </a:lnTo>
                  <a:lnTo>
                    <a:pt x="164" y="474"/>
                  </a:lnTo>
                  <a:lnTo>
                    <a:pt x="164" y="474"/>
                  </a:lnTo>
                  <a:lnTo>
                    <a:pt x="164" y="472"/>
                  </a:lnTo>
                  <a:lnTo>
                    <a:pt x="164" y="472"/>
                  </a:lnTo>
                  <a:lnTo>
                    <a:pt x="164" y="470"/>
                  </a:lnTo>
                  <a:lnTo>
                    <a:pt x="164" y="470"/>
                  </a:lnTo>
                  <a:lnTo>
                    <a:pt x="164" y="466"/>
                  </a:lnTo>
                  <a:lnTo>
                    <a:pt x="164" y="464"/>
                  </a:lnTo>
                  <a:lnTo>
                    <a:pt x="164" y="462"/>
                  </a:lnTo>
                  <a:lnTo>
                    <a:pt x="164" y="460"/>
                  </a:lnTo>
                  <a:lnTo>
                    <a:pt x="164" y="460"/>
                  </a:lnTo>
                  <a:lnTo>
                    <a:pt x="164" y="458"/>
                  </a:lnTo>
                  <a:lnTo>
                    <a:pt x="164" y="458"/>
                  </a:lnTo>
                  <a:lnTo>
                    <a:pt x="164" y="456"/>
                  </a:lnTo>
                  <a:lnTo>
                    <a:pt x="162" y="456"/>
                  </a:lnTo>
                  <a:lnTo>
                    <a:pt x="162" y="456"/>
                  </a:lnTo>
                  <a:lnTo>
                    <a:pt x="162" y="456"/>
                  </a:lnTo>
                  <a:lnTo>
                    <a:pt x="162" y="458"/>
                  </a:lnTo>
                  <a:lnTo>
                    <a:pt x="160" y="458"/>
                  </a:lnTo>
                  <a:lnTo>
                    <a:pt x="160" y="460"/>
                  </a:lnTo>
                  <a:lnTo>
                    <a:pt x="160" y="462"/>
                  </a:lnTo>
                  <a:lnTo>
                    <a:pt x="160" y="464"/>
                  </a:lnTo>
                  <a:lnTo>
                    <a:pt x="160" y="464"/>
                  </a:lnTo>
                  <a:lnTo>
                    <a:pt x="158" y="466"/>
                  </a:lnTo>
                  <a:lnTo>
                    <a:pt x="158" y="466"/>
                  </a:lnTo>
                  <a:lnTo>
                    <a:pt x="158" y="466"/>
                  </a:lnTo>
                  <a:lnTo>
                    <a:pt x="158" y="466"/>
                  </a:lnTo>
                  <a:lnTo>
                    <a:pt x="156" y="466"/>
                  </a:lnTo>
                  <a:lnTo>
                    <a:pt x="156" y="466"/>
                  </a:lnTo>
                  <a:lnTo>
                    <a:pt x="156" y="466"/>
                  </a:lnTo>
                  <a:lnTo>
                    <a:pt x="154" y="466"/>
                  </a:lnTo>
                  <a:lnTo>
                    <a:pt x="152" y="466"/>
                  </a:lnTo>
                  <a:lnTo>
                    <a:pt x="150" y="464"/>
                  </a:lnTo>
                  <a:lnTo>
                    <a:pt x="148" y="464"/>
                  </a:lnTo>
                  <a:lnTo>
                    <a:pt x="146" y="462"/>
                  </a:lnTo>
                  <a:lnTo>
                    <a:pt x="142" y="460"/>
                  </a:lnTo>
                  <a:lnTo>
                    <a:pt x="140" y="458"/>
                  </a:lnTo>
                  <a:lnTo>
                    <a:pt x="140" y="456"/>
                  </a:lnTo>
                  <a:lnTo>
                    <a:pt x="136" y="454"/>
                  </a:lnTo>
                  <a:lnTo>
                    <a:pt x="134" y="452"/>
                  </a:lnTo>
                  <a:lnTo>
                    <a:pt x="132" y="450"/>
                  </a:lnTo>
                  <a:lnTo>
                    <a:pt x="132" y="448"/>
                  </a:lnTo>
                  <a:lnTo>
                    <a:pt x="130" y="448"/>
                  </a:lnTo>
                  <a:lnTo>
                    <a:pt x="130" y="448"/>
                  </a:lnTo>
                  <a:lnTo>
                    <a:pt x="130" y="448"/>
                  </a:lnTo>
                  <a:lnTo>
                    <a:pt x="128" y="448"/>
                  </a:lnTo>
                  <a:lnTo>
                    <a:pt x="126" y="446"/>
                  </a:lnTo>
                  <a:lnTo>
                    <a:pt x="124" y="446"/>
                  </a:lnTo>
                  <a:lnTo>
                    <a:pt x="120" y="446"/>
                  </a:lnTo>
                  <a:lnTo>
                    <a:pt x="116" y="446"/>
                  </a:lnTo>
                  <a:lnTo>
                    <a:pt x="114" y="446"/>
                  </a:lnTo>
                  <a:lnTo>
                    <a:pt x="112" y="446"/>
                  </a:lnTo>
                  <a:lnTo>
                    <a:pt x="108" y="442"/>
                  </a:lnTo>
                  <a:lnTo>
                    <a:pt x="106" y="440"/>
                  </a:lnTo>
                  <a:lnTo>
                    <a:pt x="104" y="438"/>
                  </a:lnTo>
                  <a:lnTo>
                    <a:pt x="102" y="436"/>
                  </a:lnTo>
                  <a:lnTo>
                    <a:pt x="100" y="434"/>
                  </a:lnTo>
                  <a:lnTo>
                    <a:pt x="100" y="434"/>
                  </a:lnTo>
                  <a:lnTo>
                    <a:pt x="98" y="434"/>
                  </a:lnTo>
                  <a:lnTo>
                    <a:pt x="96" y="434"/>
                  </a:lnTo>
                  <a:lnTo>
                    <a:pt x="92" y="434"/>
                  </a:lnTo>
                  <a:lnTo>
                    <a:pt x="90" y="432"/>
                  </a:lnTo>
                  <a:lnTo>
                    <a:pt x="86" y="432"/>
                  </a:lnTo>
                  <a:lnTo>
                    <a:pt x="84" y="432"/>
                  </a:lnTo>
                  <a:lnTo>
                    <a:pt x="82" y="432"/>
                  </a:lnTo>
                  <a:lnTo>
                    <a:pt x="82" y="432"/>
                  </a:lnTo>
                  <a:lnTo>
                    <a:pt x="80" y="430"/>
                  </a:lnTo>
                  <a:lnTo>
                    <a:pt x="80" y="430"/>
                  </a:lnTo>
                  <a:lnTo>
                    <a:pt x="78" y="428"/>
                  </a:lnTo>
                  <a:lnTo>
                    <a:pt x="78" y="428"/>
                  </a:lnTo>
                  <a:lnTo>
                    <a:pt x="78" y="426"/>
                  </a:lnTo>
                  <a:lnTo>
                    <a:pt x="78" y="424"/>
                  </a:lnTo>
                  <a:lnTo>
                    <a:pt x="78" y="422"/>
                  </a:lnTo>
                  <a:lnTo>
                    <a:pt x="78" y="422"/>
                  </a:lnTo>
                  <a:lnTo>
                    <a:pt x="78" y="418"/>
                  </a:lnTo>
                  <a:lnTo>
                    <a:pt x="80" y="414"/>
                  </a:lnTo>
                  <a:lnTo>
                    <a:pt x="80" y="410"/>
                  </a:lnTo>
                  <a:lnTo>
                    <a:pt x="80" y="408"/>
                  </a:lnTo>
                  <a:lnTo>
                    <a:pt x="80" y="406"/>
                  </a:lnTo>
                  <a:lnTo>
                    <a:pt x="80" y="406"/>
                  </a:lnTo>
                  <a:lnTo>
                    <a:pt x="80" y="404"/>
                  </a:lnTo>
                  <a:lnTo>
                    <a:pt x="78" y="402"/>
                  </a:lnTo>
                  <a:lnTo>
                    <a:pt x="78" y="402"/>
                  </a:lnTo>
                  <a:lnTo>
                    <a:pt x="76" y="400"/>
                  </a:lnTo>
                  <a:lnTo>
                    <a:pt x="74" y="398"/>
                  </a:lnTo>
                  <a:lnTo>
                    <a:pt x="72" y="398"/>
                  </a:lnTo>
                  <a:lnTo>
                    <a:pt x="72" y="396"/>
                  </a:lnTo>
                  <a:lnTo>
                    <a:pt x="70" y="396"/>
                  </a:lnTo>
                  <a:lnTo>
                    <a:pt x="68" y="396"/>
                  </a:lnTo>
                  <a:lnTo>
                    <a:pt x="66" y="394"/>
                  </a:lnTo>
                  <a:lnTo>
                    <a:pt x="64" y="394"/>
                  </a:lnTo>
                  <a:lnTo>
                    <a:pt x="62" y="394"/>
                  </a:lnTo>
                  <a:lnTo>
                    <a:pt x="60" y="394"/>
                  </a:lnTo>
                  <a:lnTo>
                    <a:pt x="58" y="394"/>
                  </a:lnTo>
                  <a:lnTo>
                    <a:pt x="56" y="394"/>
                  </a:lnTo>
                  <a:lnTo>
                    <a:pt x="54" y="394"/>
                  </a:lnTo>
                  <a:lnTo>
                    <a:pt x="52" y="394"/>
                  </a:lnTo>
                  <a:lnTo>
                    <a:pt x="50" y="394"/>
                  </a:lnTo>
                  <a:lnTo>
                    <a:pt x="50" y="394"/>
                  </a:lnTo>
                  <a:lnTo>
                    <a:pt x="46" y="396"/>
                  </a:lnTo>
                  <a:lnTo>
                    <a:pt x="42" y="398"/>
                  </a:lnTo>
                  <a:lnTo>
                    <a:pt x="40" y="400"/>
                  </a:lnTo>
                  <a:lnTo>
                    <a:pt x="34" y="404"/>
                  </a:lnTo>
                  <a:lnTo>
                    <a:pt x="32" y="406"/>
                  </a:lnTo>
                  <a:lnTo>
                    <a:pt x="30" y="406"/>
                  </a:lnTo>
                  <a:lnTo>
                    <a:pt x="26" y="402"/>
                  </a:lnTo>
                  <a:lnTo>
                    <a:pt x="22" y="402"/>
                  </a:lnTo>
                  <a:lnTo>
                    <a:pt x="20" y="400"/>
                  </a:lnTo>
                  <a:lnTo>
                    <a:pt x="18" y="398"/>
                  </a:lnTo>
                  <a:lnTo>
                    <a:pt x="18" y="398"/>
                  </a:lnTo>
                  <a:lnTo>
                    <a:pt x="18" y="396"/>
                  </a:lnTo>
                  <a:lnTo>
                    <a:pt x="18" y="396"/>
                  </a:lnTo>
                  <a:lnTo>
                    <a:pt x="18" y="394"/>
                  </a:lnTo>
                  <a:lnTo>
                    <a:pt x="18" y="394"/>
                  </a:lnTo>
                  <a:lnTo>
                    <a:pt x="18" y="392"/>
                  </a:lnTo>
                  <a:lnTo>
                    <a:pt x="18" y="390"/>
                  </a:lnTo>
                  <a:lnTo>
                    <a:pt x="18" y="386"/>
                  </a:lnTo>
                  <a:lnTo>
                    <a:pt x="18" y="384"/>
                  </a:lnTo>
                  <a:lnTo>
                    <a:pt x="20" y="380"/>
                  </a:lnTo>
                  <a:lnTo>
                    <a:pt x="20" y="378"/>
                  </a:lnTo>
                  <a:lnTo>
                    <a:pt x="20" y="378"/>
                  </a:lnTo>
                  <a:lnTo>
                    <a:pt x="20" y="376"/>
                  </a:lnTo>
                  <a:lnTo>
                    <a:pt x="18" y="376"/>
                  </a:lnTo>
                  <a:lnTo>
                    <a:pt x="18" y="374"/>
                  </a:lnTo>
                  <a:lnTo>
                    <a:pt x="16" y="372"/>
                  </a:lnTo>
                  <a:lnTo>
                    <a:pt x="14" y="370"/>
                  </a:lnTo>
                  <a:lnTo>
                    <a:pt x="12" y="368"/>
                  </a:lnTo>
                  <a:lnTo>
                    <a:pt x="12" y="368"/>
                  </a:lnTo>
                  <a:lnTo>
                    <a:pt x="12" y="366"/>
                  </a:lnTo>
                  <a:lnTo>
                    <a:pt x="12" y="366"/>
                  </a:lnTo>
                  <a:lnTo>
                    <a:pt x="12" y="366"/>
                  </a:lnTo>
                  <a:lnTo>
                    <a:pt x="12" y="364"/>
                  </a:lnTo>
                  <a:lnTo>
                    <a:pt x="12" y="362"/>
                  </a:lnTo>
                  <a:lnTo>
                    <a:pt x="12" y="360"/>
                  </a:lnTo>
                  <a:lnTo>
                    <a:pt x="12" y="358"/>
                  </a:lnTo>
                  <a:lnTo>
                    <a:pt x="14" y="354"/>
                  </a:lnTo>
                  <a:lnTo>
                    <a:pt x="14" y="352"/>
                  </a:lnTo>
                  <a:lnTo>
                    <a:pt x="18" y="328"/>
                  </a:lnTo>
                  <a:lnTo>
                    <a:pt x="18" y="328"/>
                  </a:lnTo>
                  <a:lnTo>
                    <a:pt x="18" y="326"/>
                  </a:lnTo>
                  <a:lnTo>
                    <a:pt x="18" y="322"/>
                  </a:lnTo>
                  <a:lnTo>
                    <a:pt x="20" y="320"/>
                  </a:lnTo>
                  <a:lnTo>
                    <a:pt x="20" y="318"/>
                  </a:lnTo>
                  <a:lnTo>
                    <a:pt x="18" y="318"/>
                  </a:lnTo>
                  <a:lnTo>
                    <a:pt x="18" y="316"/>
                  </a:lnTo>
                  <a:lnTo>
                    <a:pt x="18" y="316"/>
                  </a:lnTo>
                  <a:lnTo>
                    <a:pt x="18" y="316"/>
                  </a:lnTo>
                  <a:lnTo>
                    <a:pt x="18" y="316"/>
                  </a:lnTo>
                  <a:lnTo>
                    <a:pt x="18" y="316"/>
                  </a:lnTo>
                  <a:lnTo>
                    <a:pt x="16" y="316"/>
                  </a:lnTo>
                  <a:lnTo>
                    <a:pt x="16" y="318"/>
                  </a:lnTo>
                  <a:lnTo>
                    <a:pt x="16" y="318"/>
                  </a:lnTo>
                  <a:lnTo>
                    <a:pt x="16" y="318"/>
                  </a:lnTo>
                  <a:lnTo>
                    <a:pt x="14" y="318"/>
                  </a:lnTo>
                  <a:lnTo>
                    <a:pt x="14" y="318"/>
                  </a:lnTo>
                  <a:lnTo>
                    <a:pt x="12" y="316"/>
                  </a:lnTo>
                  <a:lnTo>
                    <a:pt x="8" y="316"/>
                  </a:lnTo>
                  <a:lnTo>
                    <a:pt x="6" y="314"/>
                  </a:lnTo>
                  <a:lnTo>
                    <a:pt x="4" y="312"/>
                  </a:lnTo>
                  <a:lnTo>
                    <a:pt x="2" y="312"/>
                  </a:lnTo>
                  <a:lnTo>
                    <a:pt x="2" y="310"/>
                  </a:lnTo>
                  <a:lnTo>
                    <a:pt x="0" y="308"/>
                  </a:lnTo>
                  <a:lnTo>
                    <a:pt x="0" y="308"/>
                  </a:lnTo>
                  <a:lnTo>
                    <a:pt x="0" y="306"/>
                  </a:lnTo>
                  <a:lnTo>
                    <a:pt x="0" y="306"/>
                  </a:lnTo>
                  <a:lnTo>
                    <a:pt x="0" y="304"/>
                  </a:lnTo>
                  <a:lnTo>
                    <a:pt x="0" y="302"/>
                  </a:lnTo>
                  <a:lnTo>
                    <a:pt x="0" y="300"/>
                  </a:lnTo>
                  <a:lnTo>
                    <a:pt x="0" y="296"/>
                  </a:lnTo>
                  <a:lnTo>
                    <a:pt x="0" y="292"/>
                  </a:lnTo>
                  <a:lnTo>
                    <a:pt x="0" y="290"/>
                  </a:lnTo>
                  <a:lnTo>
                    <a:pt x="2" y="288"/>
                  </a:lnTo>
                  <a:lnTo>
                    <a:pt x="2" y="284"/>
                  </a:lnTo>
                  <a:lnTo>
                    <a:pt x="4" y="284"/>
                  </a:lnTo>
                  <a:lnTo>
                    <a:pt x="4" y="282"/>
                  </a:lnTo>
                  <a:lnTo>
                    <a:pt x="6" y="280"/>
                  </a:lnTo>
                  <a:lnTo>
                    <a:pt x="8" y="280"/>
                  </a:lnTo>
                  <a:lnTo>
                    <a:pt x="10" y="278"/>
                  </a:lnTo>
                  <a:lnTo>
                    <a:pt x="10" y="278"/>
                  </a:lnTo>
                  <a:lnTo>
                    <a:pt x="12" y="276"/>
                  </a:lnTo>
                  <a:lnTo>
                    <a:pt x="14" y="276"/>
                  </a:lnTo>
                  <a:lnTo>
                    <a:pt x="14" y="276"/>
                  </a:lnTo>
                  <a:lnTo>
                    <a:pt x="16" y="276"/>
                  </a:lnTo>
                  <a:lnTo>
                    <a:pt x="16" y="276"/>
                  </a:lnTo>
                  <a:lnTo>
                    <a:pt x="18" y="278"/>
                  </a:lnTo>
                  <a:lnTo>
                    <a:pt x="20" y="278"/>
                  </a:lnTo>
                  <a:lnTo>
                    <a:pt x="22" y="280"/>
                  </a:lnTo>
                  <a:lnTo>
                    <a:pt x="24" y="280"/>
                  </a:lnTo>
                  <a:lnTo>
                    <a:pt x="26" y="284"/>
                  </a:lnTo>
                  <a:lnTo>
                    <a:pt x="30" y="286"/>
                  </a:lnTo>
                  <a:lnTo>
                    <a:pt x="32" y="288"/>
                  </a:lnTo>
                  <a:lnTo>
                    <a:pt x="36" y="290"/>
                  </a:lnTo>
                  <a:lnTo>
                    <a:pt x="36" y="290"/>
                  </a:lnTo>
                  <a:lnTo>
                    <a:pt x="38" y="288"/>
                  </a:lnTo>
                  <a:lnTo>
                    <a:pt x="40" y="284"/>
                  </a:lnTo>
                  <a:lnTo>
                    <a:pt x="42" y="284"/>
                  </a:lnTo>
                  <a:lnTo>
                    <a:pt x="42" y="282"/>
                  </a:lnTo>
                  <a:lnTo>
                    <a:pt x="42" y="282"/>
                  </a:lnTo>
                  <a:lnTo>
                    <a:pt x="42" y="280"/>
                  </a:lnTo>
                  <a:lnTo>
                    <a:pt x="40" y="278"/>
                  </a:lnTo>
                  <a:lnTo>
                    <a:pt x="40" y="276"/>
                  </a:lnTo>
                  <a:lnTo>
                    <a:pt x="40" y="276"/>
                  </a:lnTo>
                  <a:lnTo>
                    <a:pt x="40" y="274"/>
                  </a:lnTo>
                  <a:lnTo>
                    <a:pt x="40" y="274"/>
                  </a:lnTo>
                  <a:lnTo>
                    <a:pt x="40" y="274"/>
                  </a:lnTo>
                  <a:lnTo>
                    <a:pt x="42" y="272"/>
                  </a:lnTo>
                  <a:lnTo>
                    <a:pt x="42" y="272"/>
                  </a:lnTo>
                  <a:lnTo>
                    <a:pt x="44" y="272"/>
                  </a:lnTo>
                  <a:lnTo>
                    <a:pt x="46" y="272"/>
                  </a:lnTo>
                  <a:lnTo>
                    <a:pt x="46" y="270"/>
                  </a:lnTo>
                  <a:lnTo>
                    <a:pt x="48" y="270"/>
                  </a:lnTo>
                  <a:lnTo>
                    <a:pt x="52" y="270"/>
                  </a:lnTo>
                  <a:lnTo>
                    <a:pt x="56" y="270"/>
                  </a:lnTo>
                  <a:lnTo>
                    <a:pt x="60" y="270"/>
                  </a:lnTo>
                  <a:lnTo>
                    <a:pt x="62" y="270"/>
                  </a:lnTo>
                  <a:lnTo>
                    <a:pt x="64" y="270"/>
                  </a:lnTo>
                  <a:lnTo>
                    <a:pt x="64" y="270"/>
                  </a:lnTo>
                  <a:lnTo>
                    <a:pt x="66" y="268"/>
                  </a:lnTo>
                  <a:lnTo>
                    <a:pt x="66" y="268"/>
                  </a:lnTo>
                  <a:lnTo>
                    <a:pt x="66" y="266"/>
                  </a:lnTo>
                  <a:lnTo>
                    <a:pt x="68" y="264"/>
                  </a:lnTo>
                  <a:lnTo>
                    <a:pt x="70" y="262"/>
                  </a:lnTo>
                  <a:lnTo>
                    <a:pt x="70" y="260"/>
                  </a:lnTo>
                  <a:lnTo>
                    <a:pt x="70" y="260"/>
                  </a:lnTo>
                  <a:lnTo>
                    <a:pt x="72" y="260"/>
                  </a:lnTo>
                  <a:lnTo>
                    <a:pt x="74" y="258"/>
                  </a:lnTo>
                  <a:lnTo>
                    <a:pt x="76" y="258"/>
                  </a:lnTo>
                  <a:lnTo>
                    <a:pt x="78" y="256"/>
                  </a:lnTo>
                  <a:lnTo>
                    <a:pt x="80" y="256"/>
                  </a:lnTo>
                  <a:lnTo>
                    <a:pt x="82" y="256"/>
                  </a:lnTo>
                  <a:lnTo>
                    <a:pt x="82" y="256"/>
                  </a:lnTo>
                  <a:lnTo>
                    <a:pt x="82" y="254"/>
                  </a:lnTo>
                  <a:lnTo>
                    <a:pt x="82" y="252"/>
                  </a:lnTo>
                  <a:lnTo>
                    <a:pt x="84" y="250"/>
                  </a:lnTo>
                  <a:lnTo>
                    <a:pt x="84" y="248"/>
                  </a:lnTo>
                  <a:lnTo>
                    <a:pt x="86" y="246"/>
                  </a:lnTo>
                  <a:lnTo>
                    <a:pt x="86" y="244"/>
                  </a:lnTo>
                  <a:lnTo>
                    <a:pt x="86" y="240"/>
                  </a:lnTo>
                  <a:lnTo>
                    <a:pt x="86" y="238"/>
                  </a:lnTo>
                  <a:lnTo>
                    <a:pt x="86" y="234"/>
                  </a:lnTo>
                  <a:lnTo>
                    <a:pt x="86" y="232"/>
                  </a:lnTo>
                  <a:lnTo>
                    <a:pt x="86" y="228"/>
                  </a:lnTo>
                  <a:lnTo>
                    <a:pt x="86" y="226"/>
                  </a:lnTo>
                  <a:lnTo>
                    <a:pt x="86" y="224"/>
                  </a:lnTo>
                  <a:lnTo>
                    <a:pt x="86" y="220"/>
                  </a:lnTo>
                  <a:lnTo>
                    <a:pt x="84" y="218"/>
                  </a:lnTo>
                  <a:lnTo>
                    <a:pt x="84" y="216"/>
                  </a:lnTo>
                  <a:lnTo>
                    <a:pt x="84" y="214"/>
                  </a:lnTo>
                  <a:lnTo>
                    <a:pt x="82" y="214"/>
                  </a:lnTo>
                  <a:lnTo>
                    <a:pt x="82" y="214"/>
                  </a:lnTo>
                  <a:lnTo>
                    <a:pt x="80" y="212"/>
                  </a:lnTo>
                  <a:lnTo>
                    <a:pt x="80" y="212"/>
                  </a:lnTo>
                  <a:lnTo>
                    <a:pt x="78" y="212"/>
                  </a:lnTo>
                  <a:lnTo>
                    <a:pt x="76" y="212"/>
                  </a:lnTo>
                  <a:lnTo>
                    <a:pt x="74" y="212"/>
                  </a:lnTo>
                  <a:lnTo>
                    <a:pt x="74" y="210"/>
                  </a:lnTo>
                  <a:lnTo>
                    <a:pt x="72" y="210"/>
                  </a:lnTo>
                  <a:lnTo>
                    <a:pt x="72" y="210"/>
                  </a:lnTo>
                  <a:lnTo>
                    <a:pt x="72" y="210"/>
                  </a:lnTo>
                  <a:lnTo>
                    <a:pt x="72" y="208"/>
                  </a:lnTo>
                  <a:lnTo>
                    <a:pt x="72" y="208"/>
                  </a:lnTo>
                  <a:lnTo>
                    <a:pt x="72" y="206"/>
                  </a:lnTo>
                  <a:lnTo>
                    <a:pt x="72" y="206"/>
                  </a:lnTo>
                  <a:lnTo>
                    <a:pt x="74" y="204"/>
                  </a:lnTo>
                  <a:lnTo>
                    <a:pt x="74" y="202"/>
                  </a:lnTo>
                  <a:lnTo>
                    <a:pt x="74" y="202"/>
                  </a:lnTo>
                  <a:lnTo>
                    <a:pt x="76" y="200"/>
                  </a:lnTo>
                  <a:lnTo>
                    <a:pt x="76" y="200"/>
                  </a:lnTo>
                  <a:lnTo>
                    <a:pt x="78" y="198"/>
                  </a:lnTo>
                  <a:lnTo>
                    <a:pt x="80" y="198"/>
                  </a:lnTo>
                  <a:lnTo>
                    <a:pt x="82" y="198"/>
                  </a:lnTo>
                  <a:lnTo>
                    <a:pt x="84" y="198"/>
                  </a:lnTo>
                  <a:lnTo>
                    <a:pt x="88" y="196"/>
                  </a:lnTo>
                  <a:lnTo>
                    <a:pt x="94" y="196"/>
                  </a:lnTo>
                  <a:lnTo>
                    <a:pt x="98" y="196"/>
                  </a:lnTo>
                  <a:lnTo>
                    <a:pt x="102" y="196"/>
                  </a:lnTo>
                  <a:lnTo>
                    <a:pt x="106" y="196"/>
                  </a:lnTo>
                  <a:lnTo>
                    <a:pt x="108" y="192"/>
                  </a:lnTo>
                  <a:lnTo>
                    <a:pt x="110" y="190"/>
                  </a:lnTo>
                  <a:lnTo>
                    <a:pt x="110" y="190"/>
                  </a:lnTo>
                  <a:lnTo>
                    <a:pt x="110" y="188"/>
                  </a:lnTo>
                  <a:lnTo>
                    <a:pt x="112" y="186"/>
                  </a:lnTo>
                  <a:lnTo>
                    <a:pt x="112" y="186"/>
                  </a:lnTo>
                  <a:lnTo>
                    <a:pt x="112" y="184"/>
                  </a:lnTo>
                  <a:lnTo>
                    <a:pt x="112" y="180"/>
                  </a:lnTo>
                  <a:lnTo>
                    <a:pt x="112" y="178"/>
                  </a:lnTo>
                  <a:lnTo>
                    <a:pt x="110" y="174"/>
                  </a:lnTo>
                  <a:lnTo>
                    <a:pt x="110" y="172"/>
                  </a:lnTo>
                  <a:lnTo>
                    <a:pt x="112" y="170"/>
                  </a:lnTo>
                  <a:lnTo>
                    <a:pt x="112" y="170"/>
                  </a:lnTo>
                  <a:lnTo>
                    <a:pt x="112" y="168"/>
                  </a:lnTo>
                  <a:lnTo>
                    <a:pt x="112" y="168"/>
                  </a:lnTo>
                  <a:lnTo>
                    <a:pt x="112" y="168"/>
                  </a:lnTo>
                  <a:lnTo>
                    <a:pt x="114" y="166"/>
                  </a:lnTo>
                  <a:lnTo>
                    <a:pt x="114" y="166"/>
                  </a:lnTo>
                  <a:lnTo>
                    <a:pt x="116" y="164"/>
                  </a:lnTo>
                  <a:lnTo>
                    <a:pt x="118" y="162"/>
                  </a:lnTo>
                  <a:lnTo>
                    <a:pt x="122" y="162"/>
                  </a:lnTo>
                  <a:lnTo>
                    <a:pt x="124" y="162"/>
                  </a:lnTo>
                  <a:lnTo>
                    <a:pt x="126" y="160"/>
                  </a:lnTo>
                  <a:lnTo>
                    <a:pt x="128" y="160"/>
                  </a:lnTo>
                  <a:lnTo>
                    <a:pt x="128" y="160"/>
                  </a:lnTo>
                  <a:lnTo>
                    <a:pt x="130" y="160"/>
                  </a:lnTo>
                  <a:lnTo>
                    <a:pt x="132" y="162"/>
                  </a:lnTo>
                  <a:lnTo>
                    <a:pt x="134" y="162"/>
                  </a:lnTo>
                  <a:lnTo>
                    <a:pt x="136" y="164"/>
                  </a:lnTo>
                  <a:lnTo>
                    <a:pt x="138" y="164"/>
                  </a:lnTo>
                  <a:lnTo>
                    <a:pt x="142" y="166"/>
                  </a:lnTo>
                  <a:lnTo>
                    <a:pt x="142" y="166"/>
                  </a:lnTo>
                  <a:lnTo>
                    <a:pt x="144" y="166"/>
                  </a:lnTo>
                  <a:lnTo>
                    <a:pt x="144" y="166"/>
                  </a:lnTo>
                  <a:lnTo>
                    <a:pt x="144" y="166"/>
                  </a:lnTo>
                  <a:lnTo>
                    <a:pt x="146" y="164"/>
                  </a:lnTo>
                  <a:lnTo>
                    <a:pt x="146" y="164"/>
                  </a:lnTo>
                  <a:lnTo>
                    <a:pt x="146" y="164"/>
                  </a:lnTo>
                  <a:lnTo>
                    <a:pt x="146" y="162"/>
                  </a:lnTo>
                  <a:lnTo>
                    <a:pt x="148" y="162"/>
                  </a:lnTo>
                  <a:lnTo>
                    <a:pt x="148" y="160"/>
                  </a:lnTo>
                  <a:lnTo>
                    <a:pt x="148" y="158"/>
                  </a:lnTo>
                  <a:lnTo>
                    <a:pt x="148" y="156"/>
                  </a:lnTo>
                  <a:lnTo>
                    <a:pt x="150" y="150"/>
                  </a:lnTo>
                  <a:lnTo>
                    <a:pt x="150" y="146"/>
                  </a:lnTo>
                  <a:lnTo>
                    <a:pt x="150" y="140"/>
                  </a:lnTo>
                  <a:lnTo>
                    <a:pt x="150" y="138"/>
                  </a:lnTo>
                  <a:lnTo>
                    <a:pt x="150" y="136"/>
                  </a:lnTo>
                  <a:lnTo>
                    <a:pt x="150" y="134"/>
                  </a:lnTo>
                  <a:lnTo>
                    <a:pt x="152" y="132"/>
                  </a:lnTo>
                  <a:lnTo>
                    <a:pt x="152" y="132"/>
                  </a:lnTo>
                  <a:lnTo>
                    <a:pt x="152" y="130"/>
                  </a:lnTo>
                  <a:lnTo>
                    <a:pt x="154" y="128"/>
                  </a:lnTo>
                  <a:lnTo>
                    <a:pt x="156" y="126"/>
                  </a:lnTo>
                  <a:lnTo>
                    <a:pt x="158" y="126"/>
                  </a:lnTo>
                  <a:lnTo>
                    <a:pt x="158" y="126"/>
                  </a:lnTo>
                  <a:lnTo>
                    <a:pt x="160" y="124"/>
                  </a:lnTo>
                  <a:lnTo>
                    <a:pt x="162" y="124"/>
                  </a:lnTo>
                  <a:lnTo>
                    <a:pt x="164" y="124"/>
                  </a:lnTo>
                  <a:lnTo>
                    <a:pt x="166" y="124"/>
                  </a:lnTo>
                  <a:lnTo>
                    <a:pt x="168" y="124"/>
                  </a:lnTo>
                  <a:lnTo>
                    <a:pt x="170" y="124"/>
                  </a:lnTo>
                  <a:lnTo>
                    <a:pt x="170" y="122"/>
                  </a:lnTo>
                  <a:lnTo>
                    <a:pt x="170" y="122"/>
                  </a:lnTo>
                  <a:lnTo>
                    <a:pt x="170" y="122"/>
                  </a:lnTo>
                  <a:lnTo>
                    <a:pt x="170" y="122"/>
                  </a:lnTo>
                  <a:lnTo>
                    <a:pt x="172" y="120"/>
                  </a:lnTo>
                  <a:lnTo>
                    <a:pt x="172" y="118"/>
                  </a:lnTo>
                  <a:lnTo>
                    <a:pt x="172" y="118"/>
                  </a:lnTo>
                  <a:lnTo>
                    <a:pt x="172" y="114"/>
                  </a:lnTo>
                  <a:lnTo>
                    <a:pt x="174" y="112"/>
                  </a:lnTo>
                  <a:lnTo>
                    <a:pt x="174" y="112"/>
                  </a:lnTo>
                  <a:lnTo>
                    <a:pt x="174" y="110"/>
                  </a:lnTo>
                  <a:lnTo>
                    <a:pt x="176" y="110"/>
                  </a:lnTo>
                  <a:lnTo>
                    <a:pt x="178" y="108"/>
                  </a:lnTo>
                  <a:lnTo>
                    <a:pt x="182" y="106"/>
                  </a:lnTo>
                  <a:lnTo>
                    <a:pt x="182" y="104"/>
                  </a:lnTo>
                  <a:lnTo>
                    <a:pt x="186" y="110"/>
                  </a:lnTo>
                  <a:lnTo>
                    <a:pt x="188" y="114"/>
                  </a:lnTo>
                  <a:lnTo>
                    <a:pt x="190" y="114"/>
                  </a:lnTo>
                  <a:lnTo>
                    <a:pt x="190" y="116"/>
                  </a:lnTo>
                  <a:lnTo>
                    <a:pt x="192" y="116"/>
                  </a:lnTo>
                  <a:lnTo>
                    <a:pt x="192" y="118"/>
                  </a:lnTo>
                  <a:lnTo>
                    <a:pt x="194" y="118"/>
                  </a:lnTo>
                  <a:lnTo>
                    <a:pt x="198" y="120"/>
                  </a:lnTo>
                  <a:lnTo>
                    <a:pt x="202" y="122"/>
                  </a:lnTo>
                  <a:lnTo>
                    <a:pt x="204" y="122"/>
                  </a:lnTo>
                  <a:lnTo>
                    <a:pt x="208" y="124"/>
                  </a:lnTo>
                  <a:lnTo>
                    <a:pt x="208" y="124"/>
                  </a:lnTo>
                  <a:lnTo>
                    <a:pt x="210" y="126"/>
                  </a:lnTo>
                  <a:lnTo>
                    <a:pt x="210" y="126"/>
                  </a:lnTo>
                  <a:lnTo>
                    <a:pt x="212" y="128"/>
                  </a:lnTo>
                  <a:lnTo>
                    <a:pt x="212" y="128"/>
                  </a:lnTo>
                  <a:lnTo>
                    <a:pt x="212" y="128"/>
                  </a:lnTo>
                  <a:lnTo>
                    <a:pt x="214" y="130"/>
                  </a:lnTo>
                  <a:lnTo>
                    <a:pt x="214" y="132"/>
                  </a:lnTo>
                  <a:lnTo>
                    <a:pt x="214" y="134"/>
                  </a:lnTo>
                  <a:lnTo>
                    <a:pt x="216" y="140"/>
                  </a:lnTo>
                  <a:lnTo>
                    <a:pt x="216" y="142"/>
                  </a:lnTo>
                  <a:lnTo>
                    <a:pt x="216" y="144"/>
                  </a:lnTo>
                  <a:lnTo>
                    <a:pt x="218" y="146"/>
                  </a:lnTo>
                  <a:lnTo>
                    <a:pt x="218" y="150"/>
                  </a:lnTo>
                  <a:lnTo>
                    <a:pt x="220" y="152"/>
                  </a:lnTo>
                  <a:lnTo>
                    <a:pt x="220" y="156"/>
                  </a:lnTo>
                  <a:lnTo>
                    <a:pt x="222" y="160"/>
                  </a:lnTo>
                  <a:lnTo>
                    <a:pt x="224" y="162"/>
                  </a:lnTo>
                  <a:lnTo>
                    <a:pt x="224" y="164"/>
                  </a:lnTo>
                  <a:lnTo>
                    <a:pt x="224" y="166"/>
                  </a:lnTo>
                  <a:lnTo>
                    <a:pt x="226" y="166"/>
                  </a:lnTo>
                  <a:lnTo>
                    <a:pt x="226" y="168"/>
                  </a:lnTo>
                  <a:lnTo>
                    <a:pt x="228" y="168"/>
                  </a:lnTo>
                  <a:lnTo>
                    <a:pt x="230" y="170"/>
                  </a:lnTo>
                  <a:lnTo>
                    <a:pt x="232" y="170"/>
                  </a:lnTo>
                  <a:lnTo>
                    <a:pt x="234" y="170"/>
                  </a:lnTo>
                  <a:lnTo>
                    <a:pt x="236" y="170"/>
                  </a:lnTo>
                  <a:lnTo>
                    <a:pt x="238" y="172"/>
                  </a:lnTo>
                  <a:lnTo>
                    <a:pt x="242" y="172"/>
                  </a:lnTo>
                  <a:lnTo>
                    <a:pt x="252" y="172"/>
                  </a:lnTo>
                  <a:lnTo>
                    <a:pt x="256" y="174"/>
                  </a:lnTo>
                  <a:lnTo>
                    <a:pt x="260" y="174"/>
                  </a:lnTo>
                  <a:lnTo>
                    <a:pt x="268" y="176"/>
                  </a:lnTo>
                  <a:lnTo>
                    <a:pt x="272" y="176"/>
                  </a:lnTo>
                  <a:lnTo>
                    <a:pt x="274" y="178"/>
                  </a:lnTo>
                  <a:lnTo>
                    <a:pt x="278" y="180"/>
                  </a:lnTo>
                  <a:lnTo>
                    <a:pt x="284" y="182"/>
                  </a:lnTo>
                  <a:lnTo>
                    <a:pt x="286" y="182"/>
                  </a:lnTo>
                  <a:lnTo>
                    <a:pt x="288" y="184"/>
                  </a:lnTo>
                  <a:lnTo>
                    <a:pt x="290" y="184"/>
                  </a:lnTo>
                  <a:lnTo>
                    <a:pt x="290" y="186"/>
                  </a:lnTo>
                  <a:lnTo>
                    <a:pt x="292" y="186"/>
                  </a:lnTo>
                  <a:lnTo>
                    <a:pt x="292" y="188"/>
                  </a:lnTo>
                  <a:lnTo>
                    <a:pt x="294" y="190"/>
                  </a:lnTo>
                  <a:lnTo>
                    <a:pt x="294" y="192"/>
                  </a:lnTo>
                  <a:lnTo>
                    <a:pt x="296" y="194"/>
                  </a:lnTo>
                  <a:lnTo>
                    <a:pt x="298" y="200"/>
                  </a:lnTo>
                  <a:lnTo>
                    <a:pt x="300" y="202"/>
                  </a:lnTo>
                  <a:lnTo>
                    <a:pt x="300" y="204"/>
                  </a:lnTo>
                  <a:lnTo>
                    <a:pt x="302" y="206"/>
                  </a:lnTo>
                  <a:lnTo>
                    <a:pt x="306" y="210"/>
                  </a:lnTo>
                  <a:lnTo>
                    <a:pt x="306" y="210"/>
                  </a:lnTo>
                  <a:lnTo>
                    <a:pt x="308" y="212"/>
                  </a:lnTo>
                  <a:lnTo>
                    <a:pt x="310" y="214"/>
                  </a:lnTo>
                  <a:lnTo>
                    <a:pt x="312" y="214"/>
                  </a:lnTo>
                  <a:lnTo>
                    <a:pt x="312" y="214"/>
                  </a:lnTo>
                  <a:lnTo>
                    <a:pt x="314" y="216"/>
                  </a:lnTo>
                  <a:lnTo>
                    <a:pt x="316" y="216"/>
                  </a:lnTo>
                  <a:lnTo>
                    <a:pt x="318" y="216"/>
                  </a:lnTo>
                  <a:lnTo>
                    <a:pt x="324" y="218"/>
                  </a:lnTo>
                  <a:lnTo>
                    <a:pt x="328" y="218"/>
                  </a:lnTo>
                  <a:lnTo>
                    <a:pt x="334" y="218"/>
                  </a:lnTo>
                  <a:lnTo>
                    <a:pt x="340" y="218"/>
                  </a:lnTo>
                  <a:lnTo>
                    <a:pt x="344" y="218"/>
                  </a:lnTo>
                  <a:lnTo>
                    <a:pt x="350" y="218"/>
                  </a:lnTo>
                  <a:lnTo>
                    <a:pt x="362" y="218"/>
                  </a:lnTo>
                  <a:lnTo>
                    <a:pt x="374" y="218"/>
                  </a:lnTo>
                  <a:lnTo>
                    <a:pt x="378" y="220"/>
                  </a:lnTo>
                  <a:lnTo>
                    <a:pt x="384" y="220"/>
                  </a:lnTo>
                  <a:lnTo>
                    <a:pt x="388" y="220"/>
                  </a:lnTo>
                  <a:lnTo>
                    <a:pt x="392" y="220"/>
                  </a:lnTo>
                  <a:lnTo>
                    <a:pt x="396" y="222"/>
                  </a:lnTo>
                  <a:lnTo>
                    <a:pt x="400" y="222"/>
                  </a:lnTo>
                  <a:lnTo>
                    <a:pt x="406" y="224"/>
                  </a:lnTo>
                  <a:lnTo>
                    <a:pt x="410" y="226"/>
                  </a:lnTo>
                  <a:lnTo>
                    <a:pt x="412" y="226"/>
                  </a:lnTo>
                  <a:lnTo>
                    <a:pt x="414" y="228"/>
                  </a:lnTo>
                  <a:lnTo>
                    <a:pt x="420" y="232"/>
                  </a:lnTo>
                  <a:lnTo>
                    <a:pt x="422" y="234"/>
                  </a:lnTo>
                  <a:lnTo>
                    <a:pt x="426" y="234"/>
                  </a:lnTo>
                  <a:lnTo>
                    <a:pt x="428" y="236"/>
                  </a:lnTo>
                  <a:lnTo>
                    <a:pt x="428" y="236"/>
                  </a:lnTo>
                  <a:lnTo>
                    <a:pt x="430" y="236"/>
                  </a:lnTo>
                  <a:lnTo>
                    <a:pt x="430" y="236"/>
                  </a:lnTo>
                  <a:lnTo>
                    <a:pt x="432" y="236"/>
                  </a:lnTo>
                  <a:lnTo>
                    <a:pt x="432" y="236"/>
                  </a:lnTo>
                  <a:lnTo>
                    <a:pt x="436" y="236"/>
                  </a:lnTo>
                  <a:lnTo>
                    <a:pt x="438" y="236"/>
                  </a:lnTo>
                  <a:lnTo>
                    <a:pt x="442" y="234"/>
                  </a:lnTo>
                  <a:lnTo>
                    <a:pt x="444" y="234"/>
                  </a:lnTo>
                  <a:lnTo>
                    <a:pt x="448" y="232"/>
                  </a:lnTo>
                  <a:lnTo>
                    <a:pt x="450" y="232"/>
                  </a:lnTo>
                  <a:lnTo>
                    <a:pt x="452" y="230"/>
                  </a:lnTo>
                  <a:lnTo>
                    <a:pt x="454" y="230"/>
                  </a:lnTo>
                  <a:lnTo>
                    <a:pt x="454" y="228"/>
                  </a:lnTo>
                  <a:lnTo>
                    <a:pt x="458" y="226"/>
                  </a:lnTo>
                  <a:lnTo>
                    <a:pt x="460" y="224"/>
                  </a:lnTo>
                  <a:lnTo>
                    <a:pt x="460" y="222"/>
                  </a:lnTo>
                  <a:lnTo>
                    <a:pt x="462" y="222"/>
                  </a:lnTo>
                  <a:lnTo>
                    <a:pt x="462" y="222"/>
                  </a:lnTo>
                  <a:lnTo>
                    <a:pt x="464" y="222"/>
                  </a:lnTo>
                  <a:lnTo>
                    <a:pt x="464" y="222"/>
                  </a:lnTo>
                  <a:lnTo>
                    <a:pt x="466" y="222"/>
                  </a:lnTo>
                  <a:lnTo>
                    <a:pt x="468" y="222"/>
                  </a:lnTo>
                  <a:lnTo>
                    <a:pt x="470" y="222"/>
                  </a:lnTo>
                  <a:lnTo>
                    <a:pt x="474" y="222"/>
                  </a:lnTo>
                  <a:lnTo>
                    <a:pt x="478" y="224"/>
                  </a:lnTo>
                  <a:lnTo>
                    <a:pt x="482" y="224"/>
                  </a:lnTo>
                  <a:lnTo>
                    <a:pt x="486" y="226"/>
                  </a:lnTo>
                  <a:lnTo>
                    <a:pt x="488" y="226"/>
                  </a:lnTo>
                  <a:lnTo>
                    <a:pt x="490" y="226"/>
                  </a:lnTo>
                  <a:lnTo>
                    <a:pt x="490" y="226"/>
                  </a:lnTo>
                  <a:lnTo>
                    <a:pt x="492" y="226"/>
                  </a:lnTo>
                  <a:lnTo>
                    <a:pt x="494" y="224"/>
                  </a:lnTo>
                  <a:lnTo>
                    <a:pt x="496" y="224"/>
                  </a:lnTo>
                  <a:lnTo>
                    <a:pt x="496" y="224"/>
                  </a:lnTo>
                  <a:lnTo>
                    <a:pt x="498" y="222"/>
                  </a:lnTo>
                  <a:lnTo>
                    <a:pt x="502" y="220"/>
                  </a:lnTo>
                  <a:lnTo>
                    <a:pt x="504" y="218"/>
                  </a:lnTo>
                  <a:lnTo>
                    <a:pt x="508" y="214"/>
                  </a:lnTo>
                  <a:lnTo>
                    <a:pt x="510" y="212"/>
                  </a:lnTo>
                  <a:lnTo>
                    <a:pt x="514" y="208"/>
                  </a:lnTo>
                  <a:lnTo>
                    <a:pt x="514" y="208"/>
                  </a:lnTo>
                  <a:lnTo>
                    <a:pt x="516" y="206"/>
                  </a:lnTo>
                  <a:lnTo>
                    <a:pt x="516" y="204"/>
                  </a:lnTo>
                  <a:lnTo>
                    <a:pt x="516" y="202"/>
                  </a:lnTo>
                  <a:lnTo>
                    <a:pt x="516" y="200"/>
                  </a:lnTo>
                  <a:lnTo>
                    <a:pt x="518" y="198"/>
                  </a:lnTo>
                  <a:lnTo>
                    <a:pt x="518" y="192"/>
                  </a:lnTo>
                  <a:lnTo>
                    <a:pt x="518" y="188"/>
                  </a:lnTo>
                  <a:lnTo>
                    <a:pt x="518" y="186"/>
                  </a:lnTo>
                  <a:lnTo>
                    <a:pt x="516" y="184"/>
                  </a:lnTo>
                  <a:lnTo>
                    <a:pt x="516" y="180"/>
                  </a:lnTo>
                  <a:lnTo>
                    <a:pt x="516" y="178"/>
                  </a:lnTo>
                  <a:lnTo>
                    <a:pt x="516" y="176"/>
                  </a:lnTo>
                  <a:lnTo>
                    <a:pt x="516" y="174"/>
                  </a:lnTo>
                  <a:lnTo>
                    <a:pt x="516" y="174"/>
                  </a:lnTo>
                  <a:lnTo>
                    <a:pt x="516" y="174"/>
                  </a:lnTo>
                  <a:lnTo>
                    <a:pt x="516" y="172"/>
                  </a:lnTo>
                  <a:lnTo>
                    <a:pt x="518" y="172"/>
                  </a:lnTo>
                  <a:lnTo>
                    <a:pt x="518" y="172"/>
                  </a:lnTo>
                  <a:lnTo>
                    <a:pt x="520" y="172"/>
                  </a:lnTo>
                  <a:lnTo>
                    <a:pt x="520" y="172"/>
                  </a:lnTo>
                  <a:lnTo>
                    <a:pt x="522" y="172"/>
                  </a:lnTo>
                  <a:lnTo>
                    <a:pt x="524" y="174"/>
                  </a:lnTo>
                  <a:lnTo>
                    <a:pt x="526" y="174"/>
                  </a:lnTo>
                  <a:lnTo>
                    <a:pt x="528" y="176"/>
                  </a:lnTo>
                  <a:lnTo>
                    <a:pt x="532" y="178"/>
                  </a:lnTo>
                  <a:lnTo>
                    <a:pt x="532" y="178"/>
                  </a:lnTo>
                  <a:lnTo>
                    <a:pt x="534" y="178"/>
                  </a:lnTo>
                  <a:lnTo>
                    <a:pt x="536" y="178"/>
                  </a:lnTo>
                  <a:lnTo>
                    <a:pt x="536" y="178"/>
                  </a:lnTo>
                  <a:lnTo>
                    <a:pt x="538" y="178"/>
                  </a:lnTo>
                  <a:lnTo>
                    <a:pt x="538" y="178"/>
                  </a:lnTo>
                  <a:lnTo>
                    <a:pt x="540" y="178"/>
                  </a:lnTo>
                  <a:lnTo>
                    <a:pt x="540" y="176"/>
                  </a:lnTo>
                  <a:lnTo>
                    <a:pt x="542" y="174"/>
                  </a:lnTo>
                  <a:lnTo>
                    <a:pt x="544" y="172"/>
                  </a:lnTo>
                  <a:lnTo>
                    <a:pt x="548" y="168"/>
                  </a:lnTo>
                  <a:lnTo>
                    <a:pt x="548" y="166"/>
                  </a:lnTo>
                  <a:lnTo>
                    <a:pt x="550" y="164"/>
                  </a:lnTo>
                  <a:lnTo>
                    <a:pt x="554" y="162"/>
                  </a:lnTo>
                  <a:lnTo>
                    <a:pt x="556" y="160"/>
                  </a:lnTo>
                  <a:lnTo>
                    <a:pt x="560" y="156"/>
                  </a:lnTo>
                  <a:lnTo>
                    <a:pt x="562" y="154"/>
                  </a:lnTo>
                  <a:lnTo>
                    <a:pt x="568" y="152"/>
                  </a:lnTo>
                  <a:lnTo>
                    <a:pt x="574" y="148"/>
                  </a:lnTo>
                  <a:lnTo>
                    <a:pt x="580" y="144"/>
                  </a:lnTo>
                  <a:lnTo>
                    <a:pt x="584" y="142"/>
                  </a:lnTo>
                  <a:lnTo>
                    <a:pt x="586" y="142"/>
                  </a:lnTo>
                  <a:lnTo>
                    <a:pt x="588" y="142"/>
                  </a:lnTo>
                  <a:lnTo>
                    <a:pt x="590" y="140"/>
                  </a:lnTo>
                  <a:lnTo>
                    <a:pt x="594" y="140"/>
                  </a:lnTo>
                  <a:lnTo>
                    <a:pt x="598" y="138"/>
                  </a:lnTo>
                  <a:lnTo>
                    <a:pt x="602" y="136"/>
                  </a:lnTo>
                  <a:lnTo>
                    <a:pt x="604" y="136"/>
                  </a:lnTo>
                  <a:lnTo>
                    <a:pt x="606" y="134"/>
                  </a:lnTo>
                  <a:lnTo>
                    <a:pt x="608" y="134"/>
                  </a:lnTo>
                  <a:lnTo>
                    <a:pt x="608" y="134"/>
                  </a:lnTo>
                  <a:lnTo>
                    <a:pt x="608" y="132"/>
                  </a:lnTo>
                  <a:lnTo>
                    <a:pt x="610" y="130"/>
                  </a:lnTo>
                  <a:lnTo>
                    <a:pt x="610" y="130"/>
                  </a:lnTo>
                  <a:lnTo>
                    <a:pt x="610" y="128"/>
                  </a:lnTo>
                  <a:lnTo>
                    <a:pt x="610" y="128"/>
                  </a:lnTo>
                  <a:lnTo>
                    <a:pt x="608" y="126"/>
                  </a:lnTo>
                  <a:lnTo>
                    <a:pt x="608" y="126"/>
                  </a:lnTo>
                  <a:lnTo>
                    <a:pt x="608" y="124"/>
                  </a:lnTo>
                  <a:lnTo>
                    <a:pt x="606" y="122"/>
                  </a:lnTo>
                  <a:lnTo>
                    <a:pt x="604" y="120"/>
                  </a:lnTo>
                  <a:lnTo>
                    <a:pt x="602" y="118"/>
                  </a:lnTo>
                  <a:lnTo>
                    <a:pt x="600" y="116"/>
                  </a:lnTo>
                  <a:lnTo>
                    <a:pt x="598" y="116"/>
                  </a:lnTo>
                  <a:lnTo>
                    <a:pt x="596" y="116"/>
                  </a:lnTo>
                  <a:lnTo>
                    <a:pt x="596" y="116"/>
                  </a:lnTo>
                  <a:lnTo>
                    <a:pt x="594" y="114"/>
                  </a:lnTo>
                  <a:lnTo>
                    <a:pt x="592" y="114"/>
                  </a:lnTo>
                  <a:lnTo>
                    <a:pt x="590" y="116"/>
                  </a:lnTo>
                  <a:lnTo>
                    <a:pt x="586" y="116"/>
                  </a:lnTo>
                  <a:lnTo>
                    <a:pt x="584" y="116"/>
                  </a:lnTo>
                  <a:lnTo>
                    <a:pt x="580" y="118"/>
                  </a:lnTo>
                  <a:lnTo>
                    <a:pt x="574" y="118"/>
                  </a:lnTo>
                  <a:lnTo>
                    <a:pt x="574" y="118"/>
                  </a:lnTo>
                  <a:lnTo>
                    <a:pt x="572" y="120"/>
                  </a:lnTo>
                  <a:lnTo>
                    <a:pt x="568" y="120"/>
                  </a:lnTo>
                  <a:lnTo>
                    <a:pt x="568" y="122"/>
                  </a:lnTo>
                  <a:lnTo>
                    <a:pt x="566" y="122"/>
                  </a:lnTo>
                  <a:lnTo>
                    <a:pt x="564" y="122"/>
                  </a:lnTo>
                  <a:lnTo>
                    <a:pt x="564" y="122"/>
                  </a:lnTo>
                  <a:lnTo>
                    <a:pt x="562" y="122"/>
                  </a:lnTo>
                  <a:lnTo>
                    <a:pt x="562" y="122"/>
                  </a:lnTo>
                  <a:lnTo>
                    <a:pt x="562" y="120"/>
                  </a:lnTo>
                  <a:lnTo>
                    <a:pt x="562" y="120"/>
                  </a:lnTo>
                  <a:lnTo>
                    <a:pt x="560" y="118"/>
                  </a:lnTo>
                  <a:lnTo>
                    <a:pt x="560" y="118"/>
                  </a:lnTo>
                  <a:lnTo>
                    <a:pt x="560" y="116"/>
                  </a:lnTo>
                  <a:lnTo>
                    <a:pt x="558" y="112"/>
                  </a:lnTo>
                  <a:lnTo>
                    <a:pt x="558" y="108"/>
                  </a:lnTo>
                  <a:lnTo>
                    <a:pt x="558" y="104"/>
                  </a:lnTo>
                  <a:lnTo>
                    <a:pt x="558" y="100"/>
                  </a:lnTo>
                  <a:lnTo>
                    <a:pt x="558" y="96"/>
                  </a:lnTo>
                  <a:lnTo>
                    <a:pt x="558" y="90"/>
                  </a:lnTo>
                  <a:lnTo>
                    <a:pt x="558" y="88"/>
                  </a:lnTo>
                  <a:lnTo>
                    <a:pt x="558" y="84"/>
                  </a:lnTo>
                  <a:lnTo>
                    <a:pt x="558" y="82"/>
                  </a:lnTo>
                  <a:lnTo>
                    <a:pt x="558" y="80"/>
                  </a:lnTo>
                  <a:lnTo>
                    <a:pt x="560" y="76"/>
                  </a:lnTo>
                  <a:lnTo>
                    <a:pt x="562" y="72"/>
                  </a:lnTo>
                  <a:lnTo>
                    <a:pt x="562" y="74"/>
                  </a:lnTo>
                  <a:lnTo>
                    <a:pt x="566" y="76"/>
                  </a:lnTo>
                  <a:lnTo>
                    <a:pt x="568" y="78"/>
                  </a:lnTo>
                  <a:lnTo>
                    <a:pt x="570" y="80"/>
                  </a:lnTo>
                  <a:lnTo>
                    <a:pt x="572" y="82"/>
                  </a:lnTo>
                  <a:lnTo>
                    <a:pt x="572" y="82"/>
                  </a:lnTo>
                  <a:lnTo>
                    <a:pt x="572" y="84"/>
                  </a:lnTo>
                  <a:lnTo>
                    <a:pt x="574" y="84"/>
                  </a:lnTo>
                  <a:lnTo>
                    <a:pt x="578" y="84"/>
                  </a:lnTo>
                  <a:lnTo>
                    <a:pt x="580" y="84"/>
                  </a:lnTo>
                  <a:lnTo>
                    <a:pt x="582" y="84"/>
                  </a:lnTo>
                  <a:lnTo>
                    <a:pt x="586" y="84"/>
                  </a:lnTo>
                  <a:lnTo>
                    <a:pt x="588" y="84"/>
                  </a:lnTo>
                  <a:lnTo>
                    <a:pt x="590" y="84"/>
                  </a:lnTo>
                  <a:lnTo>
                    <a:pt x="590" y="84"/>
                  </a:lnTo>
                  <a:lnTo>
                    <a:pt x="590" y="84"/>
                  </a:lnTo>
                  <a:lnTo>
                    <a:pt x="592" y="84"/>
                  </a:lnTo>
                  <a:lnTo>
                    <a:pt x="592" y="82"/>
                  </a:lnTo>
                  <a:lnTo>
                    <a:pt x="594" y="80"/>
                  </a:lnTo>
                  <a:lnTo>
                    <a:pt x="594" y="80"/>
                  </a:lnTo>
                  <a:lnTo>
                    <a:pt x="594" y="78"/>
                  </a:lnTo>
                  <a:lnTo>
                    <a:pt x="594" y="76"/>
                  </a:lnTo>
                  <a:lnTo>
                    <a:pt x="594" y="74"/>
                  </a:lnTo>
                  <a:lnTo>
                    <a:pt x="594" y="70"/>
                  </a:lnTo>
                  <a:lnTo>
                    <a:pt x="594" y="66"/>
                  </a:lnTo>
                  <a:lnTo>
                    <a:pt x="594" y="62"/>
                  </a:lnTo>
                  <a:lnTo>
                    <a:pt x="594" y="60"/>
                  </a:lnTo>
                  <a:lnTo>
                    <a:pt x="594" y="58"/>
                  </a:lnTo>
                  <a:lnTo>
                    <a:pt x="596" y="56"/>
                  </a:lnTo>
                  <a:lnTo>
                    <a:pt x="596" y="56"/>
                  </a:lnTo>
                  <a:lnTo>
                    <a:pt x="596" y="54"/>
                  </a:lnTo>
                  <a:lnTo>
                    <a:pt x="596" y="54"/>
                  </a:lnTo>
                  <a:lnTo>
                    <a:pt x="598" y="52"/>
                  </a:lnTo>
                  <a:lnTo>
                    <a:pt x="600" y="52"/>
                  </a:lnTo>
                  <a:lnTo>
                    <a:pt x="602" y="50"/>
                  </a:lnTo>
                  <a:lnTo>
                    <a:pt x="604" y="50"/>
                  </a:lnTo>
                  <a:lnTo>
                    <a:pt x="604" y="48"/>
                  </a:lnTo>
                  <a:lnTo>
                    <a:pt x="606" y="48"/>
                  </a:lnTo>
                  <a:lnTo>
                    <a:pt x="606" y="46"/>
                  </a:lnTo>
                  <a:lnTo>
                    <a:pt x="606" y="46"/>
                  </a:lnTo>
                  <a:lnTo>
                    <a:pt x="606" y="46"/>
                  </a:lnTo>
                  <a:lnTo>
                    <a:pt x="608" y="44"/>
                  </a:lnTo>
                  <a:lnTo>
                    <a:pt x="606" y="42"/>
                  </a:lnTo>
                  <a:lnTo>
                    <a:pt x="606" y="42"/>
                  </a:lnTo>
                  <a:lnTo>
                    <a:pt x="606" y="40"/>
                  </a:lnTo>
                  <a:lnTo>
                    <a:pt x="606" y="38"/>
                  </a:lnTo>
                  <a:lnTo>
                    <a:pt x="604" y="36"/>
                  </a:lnTo>
                  <a:lnTo>
                    <a:pt x="602" y="32"/>
                  </a:lnTo>
                  <a:lnTo>
                    <a:pt x="600" y="30"/>
                  </a:lnTo>
                  <a:lnTo>
                    <a:pt x="598" y="26"/>
                  </a:lnTo>
                  <a:lnTo>
                    <a:pt x="598" y="24"/>
                  </a:lnTo>
                  <a:lnTo>
                    <a:pt x="598" y="22"/>
                  </a:lnTo>
                  <a:lnTo>
                    <a:pt x="596" y="22"/>
                  </a:lnTo>
                  <a:lnTo>
                    <a:pt x="596" y="20"/>
                  </a:lnTo>
                  <a:lnTo>
                    <a:pt x="598" y="18"/>
                  </a:lnTo>
                  <a:lnTo>
                    <a:pt x="598" y="16"/>
                  </a:lnTo>
                  <a:lnTo>
                    <a:pt x="598" y="14"/>
                  </a:lnTo>
                  <a:lnTo>
                    <a:pt x="600" y="12"/>
                  </a:lnTo>
                  <a:lnTo>
                    <a:pt x="600" y="10"/>
                  </a:lnTo>
                  <a:lnTo>
                    <a:pt x="602" y="8"/>
                  </a:lnTo>
                  <a:lnTo>
                    <a:pt x="604" y="6"/>
                  </a:lnTo>
                  <a:lnTo>
                    <a:pt x="604" y="6"/>
                  </a:lnTo>
                  <a:lnTo>
                    <a:pt x="604" y="4"/>
                  </a:lnTo>
                  <a:lnTo>
                    <a:pt x="606" y="4"/>
                  </a:lnTo>
                  <a:lnTo>
                    <a:pt x="608" y="4"/>
                  </a:lnTo>
                  <a:lnTo>
                    <a:pt x="610" y="2"/>
                  </a:lnTo>
                  <a:lnTo>
                    <a:pt x="614" y="2"/>
                  </a:lnTo>
                  <a:lnTo>
                    <a:pt x="618" y="0"/>
                  </a:lnTo>
                  <a:lnTo>
                    <a:pt x="622" y="0"/>
                  </a:lnTo>
                  <a:lnTo>
                    <a:pt x="626" y="0"/>
                  </a:lnTo>
                  <a:lnTo>
                    <a:pt x="630" y="0"/>
                  </a:lnTo>
                  <a:lnTo>
                    <a:pt x="634" y="0"/>
                  </a:lnTo>
                  <a:lnTo>
                    <a:pt x="640" y="0"/>
                  </a:lnTo>
                  <a:lnTo>
                    <a:pt x="644" y="2"/>
                  </a:lnTo>
                  <a:lnTo>
                    <a:pt x="648" y="2"/>
                  </a:lnTo>
                  <a:lnTo>
                    <a:pt x="652" y="2"/>
                  </a:lnTo>
                  <a:lnTo>
                    <a:pt x="656" y="4"/>
                  </a:lnTo>
                  <a:lnTo>
                    <a:pt x="660" y="4"/>
                  </a:lnTo>
                  <a:lnTo>
                    <a:pt x="664" y="6"/>
                  </a:lnTo>
                  <a:lnTo>
                    <a:pt x="666" y="6"/>
                  </a:lnTo>
                  <a:lnTo>
                    <a:pt x="668" y="6"/>
                  </a:lnTo>
                  <a:lnTo>
                    <a:pt x="668" y="8"/>
                  </a:lnTo>
                  <a:lnTo>
                    <a:pt x="670" y="10"/>
                  </a:lnTo>
                  <a:lnTo>
                    <a:pt x="672" y="12"/>
                  </a:lnTo>
                  <a:lnTo>
                    <a:pt x="674" y="14"/>
                  </a:lnTo>
                  <a:lnTo>
                    <a:pt x="678" y="18"/>
                  </a:lnTo>
                  <a:lnTo>
                    <a:pt x="680" y="20"/>
                  </a:lnTo>
                  <a:lnTo>
                    <a:pt x="682" y="22"/>
                  </a:lnTo>
                  <a:lnTo>
                    <a:pt x="684" y="26"/>
                  </a:lnTo>
                  <a:lnTo>
                    <a:pt x="688" y="28"/>
                  </a:lnTo>
                  <a:lnTo>
                    <a:pt x="692" y="32"/>
                  </a:lnTo>
                  <a:lnTo>
                    <a:pt x="696" y="36"/>
                  </a:lnTo>
                  <a:lnTo>
                    <a:pt x="698" y="38"/>
                  </a:lnTo>
                  <a:lnTo>
                    <a:pt x="700" y="42"/>
                  </a:lnTo>
                  <a:lnTo>
                    <a:pt x="704" y="44"/>
                  </a:lnTo>
                  <a:lnTo>
                    <a:pt x="704" y="46"/>
                  </a:lnTo>
                  <a:lnTo>
                    <a:pt x="706" y="48"/>
                  </a:lnTo>
                  <a:lnTo>
                    <a:pt x="706" y="50"/>
                  </a:lnTo>
                  <a:lnTo>
                    <a:pt x="706" y="52"/>
                  </a:lnTo>
                  <a:lnTo>
                    <a:pt x="708" y="56"/>
                  </a:lnTo>
                  <a:lnTo>
                    <a:pt x="708" y="62"/>
                  </a:lnTo>
                  <a:lnTo>
                    <a:pt x="708" y="64"/>
                  </a:lnTo>
                  <a:lnTo>
                    <a:pt x="708" y="66"/>
                  </a:lnTo>
                  <a:lnTo>
                    <a:pt x="710" y="68"/>
                  </a:lnTo>
                  <a:lnTo>
                    <a:pt x="710" y="68"/>
                  </a:lnTo>
                  <a:lnTo>
                    <a:pt x="712" y="70"/>
                  </a:lnTo>
                  <a:lnTo>
                    <a:pt x="714" y="74"/>
                  </a:lnTo>
                  <a:lnTo>
                    <a:pt x="716" y="74"/>
                  </a:lnTo>
                  <a:lnTo>
                    <a:pt x="718" y="76"/>
                  </a:lnTo>
                  <a:lnTo>
                    <a:pt x="718" y="78"/>
                  </a:lnTo>
                  <a:lnTo>
                    <a:pt x="720" y="80"/>
                  </a:lnTo>
                  <a:lnTo>
                    <a:pt x="722" y="80"/>
                  </a:lnTo>
                  <a:lnTo>
                    <a:pt x="722" y="80"/>
                  </a:lnTo>
                  <a:lnTo>
                    <a:pt x="724" y="80"/>
                  </a:lnTo>
                  <a:lnTo>
                    <a:pt x="726" y="82"/>
                  </a:lnTo>
                  <a:lnTo>
                    <a:pt x="730" y="82"/>
                  </a:lnTo>
                  <a:lnTo>
                    <a:pt x="732" y="82"/>
                  </a:lnTo>
                  <a:lnTo>
                    <a:pt x="736" y="82"/>
                  </a:lnTo>
                  <a:lnTo>
                    <a:pt x="740" y="82"/>
                  </a:lnTo>
                  <a:lnTo>
                    <a:pt x="742" y="84"/>
                  </a:lnTo>
                  <a:lnTo>
                    <a:pt x="744" y="84"/>
                  </a:lnTo>
                  <a:lnTo>
                    <a:pt x="746" y="84"/>
                  </a:lnTo>
                  <a:lnTo>
                    <a:pt x="746" y="86"/>
                  </a:lnTo>
                  <a:lnTo>
                    <a:pt x="748" y="86"/>
                  </a:lnTo>
                  <a:lnTo>
                    <a:pt x="752" y="90"/>
                  </a:lnTo>
                  <a:lnTo>
                    <a:pt x="754" y="92"/>
                  </a:lnTo>
                  <a:lnTo>
                    <a:pt x="756" y="94"/>
                  </a:lnTo>
                  <a:lnTo>
                    <a:pt x="756" y="94"/>
                  </a:lnTo>
                  <a:lnTo>
                    <a:pt x="760" y="96"/>
                  </a:lnTo>
                  <a:lnTo>
                    <a:pt x="764" y="98"/>
                  </a:lnTo>
                  <a:lnTo>
                    <a:pt x="766" y="102"/>
                  </a:lnTo>
                  <a:lnTo>
                    <a:pt x="768" y="102"/>
                  </a:lnTo>
                  <a:lnTo>
                    <a:pt x="770" y="104"/>
                  </a:lnTo>
                  <a:lnTo>
                    <a:pt x="770" y="104"/>
                  </a:lnTo>
                  <a:lnTo>
                    <a:pt x="770" y="106"/>
                  </a:lnTo>
                  <a:lnTo>
                    <a:pt x="772" y="108"/>
                  </a:lnTo>
                  <a:lnTo>
                    <a:pt x="772" y="110"/>
                  </a:lnTo>
                  <a:lnTo>
                    <a:pt x="772" y="110"/>
                  </a:lnTo>
                  <a:lnTo>
                    <a:pt x="774" y="112"/>
                  </a:lnTo>
                  <a:lnTo>
                    <a:pt x="774" y="112"/>
                  </a:lnTo>
                  <a:lnTo>
                    <a:pt x="774" y="112"/>
                  </a:lnTo>
                  <a:lnTo>
                    <a:pt x="776" y="112"/>
                  </a:lnTo>
                  <a:lnTo>
                    <a:pt x="778" y="114"/>
                  </a:lnTo>
                  <a:lnTo>
                    <a:pt x="780" y="114"/>
                  </a:lnTo>
                  <a:lnTo>
                    <a:pt x="782" y="114"/>
                  </a:lnTo>
                  <a:lnTo>
                    <a:pt x="786" y="114"/>
                  </a:lnTo>
                  <a:lnTo>
                    <a:pt x="790" y="114"/>
                  </a:lnTo>
                  <a:lnTo>
                    <a:pt x="790" y="114"/>
                  </a:lnTo>
                  <a:lnTo>
                    <a:pt x="792" y="112"/>
                  </a:lnTo>
                  <a:lnTo>
                    <a:pt x="796" y="112"/>
                  </a:lnTo>
                  <a:lnTo>
                    <a:pt x="802" y="110"/>
                  </a:lnTo>
                  <a:lnTo>
                    <a:pt x="806" y="108"/>
                  </a:lnTo>
                  <a:lnTo>
                    <a:pt x="808" y="108"/>
                  </a:lnTo>
                  <a:lnTo>
                    <a:pt x="808" y="108"/>
                  </a:lnTo>
                  <a:lnTo>
                    <a:pt x="810" y="108"/>
                  </a:lnTo>
                  <a:lnTo>
                    <a:pt x="812" y="108"/>
                  </a:lnTo>
                  <a:lnTo>
                    <a:pt x="814" y="108"/>
                  </a:lnTo>
                  <a:lnTo>
                    <a:pt x="814" y="108"/>
                  </a:lnTo>
                  <a:lnTo>
                    <a:pt x="816" y="108"/>
                  </a:lnTo>
                  <a:lnTo>
                    <a:pt x="816" y="110"/>
                  </a:lnTo>
                  <a:lnTo>
                    <a:pt x="816" y="110"/>
                  </a:lnTo>
                  <a:lnTo>
                    <a:pt x="818" y="112"/>
                  </a:lnTo>
                  <a:lnTo>
                    <a:pt x="818" y="114"/>
                  </a:lnTo>
                  <a:lnTo>
                    <a:pt x="820" y="116"/>
                  </a:lnTo>
                  <a:lnTo>
                    <a:pt x="820" y="118"/>
                  </a:lnTo>
                  <a:lnTo>
                    <a:pt x="822" y="122"/>
                  </a:lnTo>
                  <a:lnTo>
                    <a:pt x="822" y="124"/>
                  </a:lnTo>
                  <a:lnTo>
                    <a:pt x="822" y="126"/>
                  </a:lnTo>
                  <a:lnTo>
                    <a:pt x="822" y="128"/>
                  </a:lnTo>
                  <a:lnTo>
                    <a:pt x="822" y="128"/>
                  </a:lnTo>
                  <a:lnTo>
                    <a:pt x="822" y="128"/>
                  </a:lnTo>
                  <a:lnTo>
                    <a:pt x="822" y="130"/>
                  </a:lnTo>
                  <a:lnTo>
                    <a:pt x="820" y="130"/>
                  </a:lnTo>
                  <a:lnTo>
                    <a:pt x="818" y="132"/>
                  </a:lnTo>
                  <a:lnTo>
                    <a:pt x="818" y="132"/>
                  </a:lnTo>
                  <a:lnTo>
                    <a:pt x="816" y="134"/>
                  </a:lnTo>
                  <a:lnTo>
                    <a:pt x="814" y="134"/>
                  </a:lnTo>
                  <a:lnTo>
                    <a:pt x="812" y="134"/>
                  </a:lnTo>
                  <a:lnTo>
                    <a:pt x="812" y="136"/>
                  </a:lnTo>
                  <a:lnTo>
                    <a:pt x="812" y="136"/>
                  </a:lnTo>
                  <a:lnTo>
                    <a:pt x="812" y="136"/>
                  </a:lnTo>
                  <a:lnTo>
                    <a:pt x="812" y="138"/>
                  </a:lnTo>
                  <a:lnTo>
                    <a:pt x="812" y="140"/>
                  </a:lnTo>
                  <a:lnTo>
                    <a:pt x="812" y="142"/>
                  </a:lnTo>
                  <a:lnTo>
                    <a:pt x="812" y="144"/>
                  </a:lnTo>
                  <a:lnTo>
                    <a:pt x="812" y="146"/>
                  </a:lnTo>
                  <a:lnTo>
                    <a:pt x="812" y="150"/>
                  </a:lnTo>
                  <a:lnTo>
                    <a:pt x="812" y="156"/>
                  </a:lnTo>
                  <a:lnTo>
                    <a:pt x="814" y="160"/>
                  </a:lnTo>
                  <a:lnTo>
                    <a:pt x="814" y="164"/>
                  </a:lnTo>
                  <a:lnTo>
                    <a:pt x="814" y="166"/>
                  </a:lnTo>
                  <a:lnTo>
                    <a:pt x="814" y="168"/>
                  </a:lnTo>
                  <a:lnTo>
                    <a:pt x="812" y="170"/>
                  </a:lnTo>
                  <a:lnTo>
                    <a:pt x="812" y="170"/>
                  </a:lnTo>
                  <a:lnTo>
                    <a:pt x="812" y="172"/>
                  </a:lnTo>
                  <a:lnTo>
                    <a:pt x="812" y="172"/>
                  </a:lnTo>
                  <a:lnTo>
                    <a:pt x="810" y="172"/>
                  </a:lnTo>
                  <a:lnTo>
                    <a:pt x="810" y="172"/>
                  </a:lnTo>
                  <a:lnTo>
                    <a:pt x="810" y="172"/>
                  </a:lnTo>
                  <a:lnTo>
                    <a:pt x="808" y="172"/>
                  </a:lnTo>
                  <a:lnTo>
                    <a:pt x="808" y="172"/>
                  </a:lnTo>
                  <a:lnTo>
                    <a:pt x="806" y="172"/>
                  </a:lnTo>
                  <a:lnTo>
                    <a:pt x="804" y="172"/>
                  </a:lnTo>
                  <a:lnTo>
                    <a:pt x="802" y="170"/>
                  </a:lnTo>
                  <a:lnTo>
                    <a:pt x="800" y="170"/>
                  </a:lnTo>
                  <a:lnTo>
                    <a:pt x="800" y="170"/>
                  </a:lnTo>
                  <a:lnTo>
                    <a:pt x="798" y="170"/>
                  </a:lnTo>
                  <a:lnTo>
                    <a:pt x="798" y="170"/>
                  </a:lnTo>
                  <a:lnTo>
                    <a:pt x="796" y="170"/>
                  </a:lnTo>
                  <a:lnTo>
                    <a:pt x="796" y="170"/>
                  </a:lnTo>
                  <a:lnTo>
                    <a:pt x="796" y="170"/>
                  </a:lnTo>
                  <a:lnTo>
                    <a:pt x="794" y="172"/>
                  </a:lnTo>
                  <a:lnTo>
                    <a:pt x="794" y="172"/>
                  </a:lnTo>
                  <a:lnTo>
                    <a:pt x="794" y="174"/>
                  </a:lnTo>
                  <a:lnTo>
                    <a:pt x="792" y="176"/>
                  </a:lnTo>
                  <a:lnTo>
                    <a:pt x="792" y="178"/>
                  </a:lnTo>
                  <a:lnTo>
                    <a:pt x="790" y="182"/>
                  </a:lnTo>
                  <a:lnTo>
                    <a:pt x="790" y="184"/>
                  </a:lnTo>
                  <a:lnTo>
                    <a:pt x="790" y="184"/>
                  </a:lnTo>
                  <a:lnTo>
                    <a:pt x="790" y="186"/>
                  </a:lnTo>
                  <a:lnTo>
                    <a:pt x="788" y="188"/>
                  </a:lnTo>
                  <a:lnTo>
                    <a:pt x="788" y="192"/>
                  </a:lnTo>
                  <a:lnTo>
                    <a:pt x="788" y="194"/>
                  </a:lnTo>
                  <a:lnTo>
                    <a:pt x="788" y="196"/>
                  </a:lnTo>
                  <a:lnTo>
                    <a:pt x="790" y="198"/>
                  </a:lnTo>
                  <a:lnTo>
                    <a:pt x="790" y="200"/>
                  </a:lnTo>
                  <a:lnTo>
                    <a:pt x="790" y="200"/>
                  </a:lnTo>
                  <a:lnTo>
                    <a:pt x="790" y="200"/>
                  </a:lnTo>
                  <a:lnTo>
                    <a:pt x="790" y="202"/>
                  </a:lnTo>
                  <a:lnTo>
                    <a:pt x="792" y="202"/>
                  </a:lnTo>
                  <a:lnTo>
                    <a:pt x="792" y="202"/>
                  </a:lnTo>
                  <a:lnTo>
                    <a:pt x="794" y="202"/>
                  </a:lnTo>
                  <a:lnTo>
                    <a:pt x="796" y="202"/>
                  </a:lnTo>
                  <a:lnTo>
                    <a:pt x="798" y="204"/>
                  </a:lnTo>
                  <a:lnTo>
                    <a:pt x="802" y="204"/>
                  </a:lnTo>
                  <a:lnTo>
                    <a:pt x="804" y="204"/>
                  </a:lnTo>
                  <a:lnTo>
                    <a:pt x="804" y="204"/>
                  </a:lnTo>
                  <a:lnTo>
                    <a:pt x="804" y="204"/>
                  </a:lnTo>
                  <a:lnTo>
                    <a:pt x="804" y="204"/>
                  </a:lnTo>
                  <a:lnTo>
                    <a:pt x="802" y="204"/>
                  </a:lnTo>
                  <a:lnTo>
                    <a:pt x="800" y="206"/>
                  </a:lnTo>
                  <a:lnTo>
                    <a:pt x="798" y="208"/>
                  </a:lnTo>
                  <a:lnTo>
                    <a:pt x="796" y="210"/>
                  </a:lnTo>
                  <a:lnTo>
                    <a:pt x="792" y="212"/>
                  </a:lnTo>
                  <a:lnTo>
                    <a:pt x="790" y="214"/>
                  </a:lnTo>
                  <a:lnTo>
                    <a:pt x="790" y="216"/>
                  </a:lnTo>
                  <a:lnTo>
                    <a:pt x="788" y="216"/>
                  </a:lnTo>
                  <a:lnTo>
                    <a:pt x="786" y="216"/>
                  </a:lnTo>
                  <a:lnTo>
                    <a:pt x="782" y="218"/>
                  </a:lnTo>
                  <a:lnTo>
                    <a:pt x="778" y="218"/>
                  </a:lnTo>
                  <a:lnTo>
                    <a:pt x="776" y="220"/>
                  </a:lnTo>
                  <a:lnTo>
                    <a:pt x="776" y="220"/>
                  </a:lnTo>
                  <a:lnTo>
                    <a:pt x="774" y="220"/>
                  </a:lnTo>
                  <a:lnTo>
                    <a:pt x="774" y="222"/>
                  </a:lnTo>
                  <a:lnTo>
                    <a:pt x="772" y="224"/>
                  </a:lnTo>
                  <a:lnTo>
                    <a:pt x="770" y="226"/>
                  </a:lnTo>
                  <a:lnTo>
                    <a:pt x="768" y="228"/>
                  </a:lnTo>
                  <a:lnTo>
                    <a:pt x="766" y="232"/>
                  </a:lnTo>
                  <a:lnTo>
                    <a:pt x="764" y="234"/>
                  </a:lnTo>
                  <a:lnTo>
                    <a:pt x="764" y="234"/>
                  </a:lnTo>
                  <a:lnTo>
                    <a:pt x="762" y="236"/>
                  </a:lnTo>
                  <a:lnTo>
                    <a:pt x="762" y="236"/>
                  </a:lnTo>
                  <a:lnTo>
                    <a:pt x="760" y="236"/>
                  </a:lnTo>
                  <a:lnTo>
                    <a:pt x="758" y="236"/>
                  </a:lnTo>
                  <a:lnTo>
                    <a:pt x="758" y="238"/>
                  </a:lnTo>
                  <a:lnTo>
                    <a:pt x="756" y="238"/>
                  </a:lnTo>
                  <a:lnTo>
                    <a:pt x="754" y="238"/>
                  </a:lnTo>
                  <a:lnTo>
                    <a:pt x="750" y="238"/>
                  </a:lnTo>
                  <a:lnTo>
                    <a:pt x="746" y="236"/>
                  </a:lnTo>
                  <a:lnTo>
                    <a:pt x="746" y="236"/>
                  </a:lnTo>
                  <a:lnTo>
                    <a:pt x="744" y="236"/>
                  </a:lnTo>
                  <a:lnTo>
                    <a:pt x="740" y="234"/>
                  </a:lnTo>
                  <a:lnTo>
                    <a:pt x="738" y="232"/>
                  </a:lnTo>
                  <a:lnTo>
                    <a:pt x="736" y="232"/>
                  </a:lnTo>
                  <a:lnTo>
                    <a:pt x="736" y="232"/>
                  </a:lnTo>
                  <a:lnTo>
                    <a:pt x="736" y="232"/>
                  </a:lnTo>
                  <a:lnTo>
                    <a:pt x="734" y="232"/>
                  </a:lnTo>
                  <a:lnTo>
                    <a:pt x="734" y="232"/>
                  </a:lnTo>
                  <a:lnTo>
                    <a:pt x="734" y="232"/>
                  </a:lnTo>
                  <a:lnTo>
                    <a:pt x="732" y="234"/>
                  </a:lnTo>
                  <a:lnTo>
                    <a:pt x="732" y="234"/>
                  </a:lnTo>
                  <a:lnTo>
                    <a:pt x="730" y="236"/>
                  </a:lnTo>
                  <a:lnTo>
                    <a:pt x="730" y="238"/>
                  </a:lnTo>
                  <a:lnTo>
                    <a:pt x="730" y="240"/>
                  </a:lnTo>
                  <a:lnTo>
                    <a:pt x="730" y="242"/>
                  </a:lnTo>
                  <a:lnTo>
                    <a:pt x="730" y="246"/>
                  </a:lnTo>
                  <a:lnTo>
                    <a:pt x="728" y="250"/>
                  </a:lnTo>
                  <a:lnTo>
                    <a:pt x="728" y="252"/>
                  </a:lnTo>
                  <a:lnTo>
                    <a:pt x="728" y="254"/>
                  </a:lnTo>
                  <a:lnTo>
                    <a:pt x="728" y="254"/>
                  </a:lnTo>
                  <a:lnTo>
                    <a:pt x="726" y="256"/>
                  </a:lnTo>
                  <a:lnTo>
                    <a:pt x="726" y="256"/>
                  </a:lnTo>
                  <a:lnTo>
                    <a:pt x="724" y="258"/>
                  </a:lnTo>
                  <a:lnTo>
                    <a:pt x="722" y="260"/>
                  </a:lnTo>
                  <a:lnTo>
                    <a:pt x="720" y="260"/>
                  </a:lnTo>
                  <a:lnTo>
                    <a:pt x="716" y="262"/>
                  </a:lnTo>
                  <a:lnTo>
                    <a:pt x="712" y="264"/>
                  </a:lnTo>
                  <a:lnTo>
                    <a:pt x="704" y="270"/>
                  </a:lnTo>
                  <a:lnTo>
                    <a:pt x="700" y="274"/>
                  </a:lnTo>
                  <a:lnTo>
                    <a:pt x="696" y="274"/>
                  </a:lnTo>
                  <a:lnTo>
                    <a:pt x="696" y="276"/>
                  </a:lnTo>
                  <a:lnTo>
                    <a:pt x="692" y="276"/>
                  </a:lnTo>
                  <a:lnTo>
                    <a:pt x="690" y="278"/>
                  </a:lnTo>
                  <a:lnTo>
                    <a:pt x="688" y="280"/>
                  </a:lnTo>
                  <a:lnTo>
                    <a:pt x="684" y="282"/>
                  </a:lnTo>
                  <a:lnTo>
                    <a:pt x="680" y="282"/>
                  </a:lnTo>
                  <a:lnTo>
                    <a:pt x="680" y="284"/>
                  </a:lnTo>
                  <a:lnTo>
                    <a:pt x="678" y="284"/>
                  </a:lnTo>
                  <a:lnTo>
                    <a:pt x="676" y="284"/>
                  </a:lnTo>
                  <a:lnTo>
                    <a:pt x="676" y="284"/>
                  </a:lnTo>
                  <a:lnTo>
                    <a:pt x="674" y="284"/>
                  </a:lnTo>
                  <a:lnTo>
                    <a:pt x="674" y="284"/>
                  </a:lnTo>
                  <a:lnTo>
                    <a:pt x="674" y="282"/>
                  </a:lnTo>
                  <a:lnTo>
                    <a:pt x="672" y="282"/>
                  </a:lnTo>
                  <a:lnTo>
                    <a:pt x="672" y="280"/>
                  </a:lnTo>
                  <a:lnTo>
                    <a:pt x="672" y="280"/>
                  </a:lnTo>
                  <a:lnTo>
                    <a:pt x="672" y="278"/>
                  </a:lnTo>
                  <a:lnTo>
                    <a:pt x="672" y="278"/>
                  </a:lnTo>
                  <a:lnTo>
                    <a:pt x="672" y="276"/>
                  </a:lnTo>
                  <a:lnTo>
                    <a:pt x="672" y="270"/>
                  </a:lnTo>
                  <a:lnTo>
                    <a:pt x="672" y="268"/>
                  </a:lnTo>
                  <a:lnTo>
                    <a:pt x="672" y="266"/>
                  </a:lnTo>
                  <a:lnTo>
                    <a:pt x="672" y="262"/>
                  </a:lnTo>
                  <a:lnTo>
                    <a:pt x="672" y="256"/>
                  </a:lnTo>
                  <a:lnTo>
                    <a:pt x="670" y="254"/>
                  </a:lnTo>
                  <a:lnTo>
                    <a:pt x="670" y="252"/>
                  </a:lnTo>
                  <a:lnTo>
                    <a:pt x="670" y="250"/>
                  </a:lnTo>
                  <a:lnTo>
                    <a:pt x="670" y="250"/>
                  </a:lnTo>
                  <a:lnTo>
                    <a:pt x="668" y="250"/>
                  </a:lnTo>
                  <a:lnTo>
                    <a:pt x="668" y="248"/>
                  </a:lnTo>
                  <a:lnTo>
                    <a:pt x="668" y="248"/>
                  </a:lnTo>
                  <a:lnTo>
                    <a:pt x="666" y="248"/>
                  </a:lnTo>
                  <a:lnTo>
                    <a:pt x="664" y="248"/>
                  </a:lnTo>
                  <a:lnTo>
                    <a:pt x="664" y="248"/>
                  </a:lnTo>
                  <a:lnTo>
                    <a:pt x="662" y="248"/>
                  </a:lnTo>
                  <a:lnTo>
                    <a:pt x="662" y="248"/>
                  </a:lnTo>
                  <a:lnTo>
                    <a:pt x="660" y="250"/>
                  </a:lnTo>
                  <a:lnTo>
                    <a:pt x="658" y="250"/>
                  </a:lnTo>
                  <a:lnTo>
                    <a:pt x="658" y="252"/>
                  </a:lnTo>
                  <a:lnTo>
                    <a:pt x="656" y="254"/>
                  </a:lnTo>
                  <a:lnTo>
                    <a:pt x="654" y="256"/>
                  </a:lnTo>
                  <a:lnTo>
                    <a:pt x="652" y="258"/>
                  </a:lnTo>
                  <a:lnTo>
                    <a:pt x="650" y="260"/>
                  </a:lnTo>
                  <a:lnTo>
                    <a:pt x="648" y="262"/>
                  </a:lnTo>
                  <a:lnTo>
                    <a:pt x="648" y="264"/>
                  </a:lnTo>
                  <a:lnTo>
                    <a:pt x="648" y="266"/>
                  </a:lnTo>
                  <a:lnTo>
                    <a:pt x="648" y="26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2" name="Freeform 186">
              <a:extLst>
                <a:ext uri="{FF2B5EF4-FFF2-40B4-BE49-F238E27FC236}">
                  <a16:creationId xmlns:a16="http://schemas.microsoft.com/office/drawing/2014/main" id="{5E4D2056-C32F-4D56-B842-B67FA737B740}"/>
                </a:ext>
              </a:extLst>
            </p:cNvPr>
            <p:cNvSpPr>
              <a:spLocks/>
            </p:cNvSpPr>
            <p:nvPr/>
          </p:nvSpPr>
          <p:spPr bwMode="auto">
            <a:xfrm>
              <a:off x="6046321" y="2990347"/>
              <a:ext cx="1423766" cy="1060030"/>
            </a:xfrm>
            <a:custGeom>
              <a:avLst/>
              <a:gdLst>
                <a:gd name="T0" fmla="*/ 626 w 822"/>
                <a:gd name="T1" fmla="*/ 296 h 612"/>
                <a:gd name="T2" fmla="*/ 664 w 822"/>
                <a:gd name="T3" fmla="*/ 304 h 612"/>
                <a:gd name="T4" fmla="*/ 696 w 822"/>
                <a:gd name="T5" fmla="*/ 318 h 612"/>
                <a:gd name="T6" fmla="*/ 660 w 822"/>
                <a:gd name="T7" fmla="*/ 342 h 612"/>
                <a:gd name="T8" fmla="*/ 696 w 822"/>
                <a:gd name="T9" fmla="*/ 402 h 612"/>
                <a:gd name="T10" fmla="*/ 710 w 822"/>
                <a:gd name="T11" fmla="*/ 470 h 612"/>
                <a:gd name="T12" fmla="*/ 698 w 822"/>
                <a:gd name="T13" fmla="*/ 494 h 612"/>
                <a:gd name="T14" fmla="*/ 684 w 822"/>
                <a:gd name="T15" fmla="*/ 526 h 612"/>
                <a:gd name="T16" fmla="*/ 658 w 822"/>
                <a:gd name="T17" fmla="*/ 544 h 612"/>
                <a:gd name="T18" fmla="*/ 644 w 822"/>
                <a:gd name="T19" fmla="*/ 566 h 612"/>
                <a:gd name="T20" fmla="*/ 594 w 822"/>
                <a:gd name="T21" fmla="*/ 578 h 612"/>
                <a:gd name="T22" fmla="*/ 542 w 822"/>
                <a:gd name="T23" fmla="*/ 610 h 612"/>
                <a:gd name="T24" fmla="*/ 526 w 822"/>
                <a:gd name="T25" fmla="*/ 588 h 612"/>
                <a:gd name="T26" fmla="*/ 484 w 822"/>
                <a:gd name="T27" fmla="*/ 566 h 612"/>
                <a:gd name="T28" fmla="*/ 430 w 822"/>
                <a:gd name="T29" fmla="*/ 586 h 612"/>
                <a:gd name="T30" fmla="*/ 410 w 822"/>
                <a:gd name="T31" fmla="*/ 592 h 612"/>
                <a:gd name="T32" fmla="*/ 390 w 822"/>
                <a:gd name="T33" fmla="*/ 566 h 612"/>
                <a:gd name="T34" fmla="*/ 366 w 822"/>
                <a:gd name="T35" fmla="*/ 544 h 612"/>
                <a:gd name="T36" fmla="*/ 384 w 822"/>
                <a:gd name="T37" fmla="*/ 510 h 612"/>
                <a:gd name="T38" fmla="*/ 350 w 822"/>
                <a:gd name="T39" fmla="*/ 480 h 612"/>
                <a:gd name="T40" fmla="*/ 296 w 822"/>
                <a:gd name="T41" fmla="*/ 472 h 612"/>
                <a:gd name="T42" fmla="*/ 224 w 822"/>
                <a:gd name="T43" fmla="*/ 490 h 612"/>
                <a:gd name="T44" fmla="*/ 164 w 822"/>
                <a:gd name="T45" fmla="*/ 470 h 612"/>
                <a:gd name="T46" fmla="*/ 156 w 822"/>
                <a:gd name="T47" fmla="*/ 466 h 612"/>
                <a:gd name="T48" fmla="*/ 112 w 822"/>
                <a:gd name="T49" fmla="*/ 446 h 612"/>
                <a:gd name="T50" fmla="*/ 78 w 822"/>
                <a:gd name="T51" fmla="*/ 418 h 612"/>
                <a:gd name="T52" fmla="*/ 50 w 822"/>
                <a:gd name="T53" fmla="*/ 394 h 612"/>
                <a:gd name="T54" fmla="*/ 20 w 822"/>
                <a:gd name="T55" fmla="*/ 378 h 612"/>
                <a:gd name="T56" fmla="*/ 18 w 822"/>
                <a:gd name="T57" fmla="*/ 318 h 612"/>
                <a:gd name="T58" fmla="*/ 0 w 822"/>
                <a:gd name="T59" fmla="*/ 302 h 612"/>
                <a:gd name="T60" fmla="*/ 30 w 822"/>
                <a:gd name="T61" fmla="*/ 286 h 612"/>
                <a:gd name="T62" fmla="*/ 56 w 822"/>
                <a:gd name="T63" fmla="*/ 270 h 612"/>
                <a:gd name="T64" fmla="*/ 86 w 822"/>
                <a:gd name="T65" fmla="*/ 246 h 612"/>
                <a:gd name="T66" fmla="*/ 72 w 822"/>
                <a:gd name="T67" fmla="*/ 210 h 612"/>
                <a:gd name="T68" fmla="*/ 112 w 822"/>
                <a:gd name="T69" fmla="*/ 186 h 612"/>
                <a:gd name="T70" fmla="*/ 134 w 822"/>
                <a:gd name="T71" fmla="*/ 162 h 612"/>
                <a:gd name="T72" fmla="*/ 152 w 822"/>
                <a:gd name="T73" fmla="*/ 132 h 612"/>
                <a:gd name="T74" fmla="*/ 176 w 822"/>
                <a:gd name="T75" fmla="*/ 110 h 612"/>
                <a:gd name="T76" fmla="*/ 214 w 822"/>
                <a:gd name="T77" fmla="*/ 134 h 612"/>
                <a:gd name="T78" fmla="*/ 260 w 822"/>
                <a:gd name="T79" fmla="*/ 174 h 612"/>
                <a:gd name="T80" fmla="*/ 312 w 822"/>
                <a:gd name="T81" fmla="*/ 214 h 612"/>
                <a:gd name="T82" fmla="*/ 420 w 822"/>
                <a:gd name="T83" fmla="*/ 232 h 612"/>
                <a:gd name="T84" fmla="*/ 464 w 822"/>
                <a:gd name="T85" fmla="*/ 222 h 612"/>
                <a:gd name="T86" fmla="*/ 516 w 822"/>
                <a:gd name="T87" fmla="*/ 206 h 612"/>
                <a:gd name="T88" fmla="*/ 528 w 822"/>
                <a:gd name="T89" fmla="*/ 176 h 612"/>
                <a:gd name="T90" fmla="*/ 586 w 822"/>
                <a:gd name="T91" fmla="*/ 142 h 612"/>
                <a:gd name="T92" fmla="*/ 596 w 822"/>
                <a:gd name="T93" fmla="*/ 116 h 612"/>
                <a:gd name="T94" fmla="*/ 558 w 822"/>
                <a:gd name="T95" fmla="*/ 112 h 612"/>
                <a:gd name="T96" fmla="*/ 586 w 822"/>
                <a:gd name="T97" fmla="*/ 84 h 612"/>
                <a:gd name="T98" fmla="*/ 602 w 822"/>
                <a:gd name="T99" fmla="*/ 50 h 612"/>
                <a:gd name="T100" fmla="*/ 600 w 822"/>
                <a:gd name="T101" fmla="*/ 12 h 612"/>
                <a:gd name="T102" fmla="*/ 668 w 822"/>
                <a:gd name="T103" fmla="*/ 6 h 612"/>
                <a:gd name="T104" fmla="*/ 710 w 822"/>
                <a:gd name="T105" fmla="*/ 68 h 612"/>
                <a:gd name="T106" fmla="*/ 756 w 822"/>
                <a:gd name="T107" fmla="*/ 94 h 612"/>
                <a:gd name="T108" fmla="*/ 796 w 822"/>
                <a:gd name="T109" fmla="*/ 112 h 612"/>
                <a:gd name="T110" fmla="*/ 820 w 822"/>
                <a:gd name="T111" fmla="*/ 130 h 612"/>
                <a:gd name="T112" fmla="*/ 812 w 822"/>
                <a:gd name="T113" fmla="*/ 172 h 612"/>
                <a:gd name="T114" fmla="*/ 790 w 822"/>
                <a:gd name="T115" fmla="*/ 184 h 612"/>
                <a:gd name="T116" fmla="*/ 798 w 822"/>
                <a:gd name="T117" fmla="*/ 208 h 612"/>
                <a:gd name="T118" fmla="*/ 758 w 822"/>
                <a:gd name="T119" fmla="*/ 238 h 612"/>
                <a:gd name="T120" fmla="*/ 728 w 822"/>
                <a:gd name="T121" fmla="*/ 252 h 612"/>
                <a:gd name="T122" fmla="*/ 674 w 822"/>
                <a:gd name="T123" fmla="*/ 284 h 612"/>
                <a:gd name="T124" fmla="*/ 664 w 822"/>
                <a:gd name="T125" fmla="*/ 248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2" h="612">
                  <a:moveTo>
                    <a:pt x="648" y="266"/>
                  </a:moveTo>
                  <a:lnTo>
                    <a:pt x="648" y="266"/>
                  </a:lnTo>
                  <a:lnTo>
                    <a:pt x="648" y="268"/>
                  </a:lnTo>
                  <a:lnTo>
                    <a:pt x="646" y="268"/>
                  </a:lnTo>
                  <a:lnTo>
                    <a:pt x="646" y="268"/>
                  </a:lnTo>
                  <a:lnTo>
                    <a:pt x="646" y="270"/>
                  </a:lnTo>
                  <a:lnTo>
                    <a:pt x="644" y="272"/>
                  </a:lnTo>
                  <a:lnTo>
                    <a:pt x="642" y="272"/>
                  </a:lnTo>
                  <a:lnTo>
                    <a:pt x="642" y="272"/>
                  </a:lnTo>
                  <a:lnTo>
                    <a:pt x="638" y="274"/>
                  </a:lnTo>
                  <a:lnTo>
                    <a:pt x="634" y="276"/>
                  </a:lnTo>
                  <a:lnTo>
                    <a:pt x="630" y="278"/>
                  </a:lnTo>
                  <a:lnTo>
                    <a:pt x="628" y="278"/>
                  </a:lnTo>
                  <a:lnTo>
                    <a:pt x="628" y="280"/>
                  </a:lnTo>
                  <a:lnTo>
                    <a:pt x="626" y="280"/>
                  </a:lnTo>
                  <a:lnTo>
                    <a:pt x="626" y="282"/>
                  </a:lnTo>
                  <a:lnTo>
                    <a:pt x="626" y="284"/>
                  </a:lnTo>
                  <a:lnTo>
                    <a:pt x="626" y="286"/>
                  </a:lnTo>
                  <a:lnTo>
                    <a:pt x="624" y="288"/>
                  </a:lnTo>
                  <a:lnTo>
                    <a:pt x="626" y="290"/>
                  </a:lnTo>
                  <a:lnTo>
                    <a:pt x="626" y="292"/>
                  </a:lnTo>
                  <a:lnTo>
                    <a:pt x="626" y="294"/>
                  </a:lnTo>
                  <a:lnTo>
                    <a:pt x="626" y="296"/>
                  </a:lnTo>
                  <a:lnTo>
                    <a:pt x="626" y="296"/>
                  </a:lnTo>
                  <a:lnTo>
                    <a:pt x="628" y="298"/>
                  </a:lnTo>
                  <a:lnTo>
                    <a:pt x="630" y="300"/>
                  </a:lnTo>
                  <a:lnTo>
                    <a:pt x="632" y="302"/>
                  </a:lnTo>
                  <a:lnTo>
                    <a:pt x="634" y="304"/>
                  </a:lnTo>
                  <a:lnTo>
                    <a:pt x="636" y="306"/>
                  </a:lnTo>
                  <a:lnTo>
                    <a:pt x="638" y="308"/>
                  </a:lnTo>
                  <a:lnTo>
                    <a:pt x="640" y="308"/>
                  </a:lnTo>
                  <a:lnTo>
                    <a:pt x="642" y="310"/>
                  </a:lnTo>
                  <a:lnTo>
                    <a:pt x="644" y="310"/>
                  </a:lnTo>
                  <a:lnTo>
                    <a:pt x="646" y="310"/>
                  </a:lnTo>
                  <a:lnTo>
                    <a:pt x="648" y="312"/>
                  </a:lnTo>
                  <a:lnTo>
                    <a:pt x="650" y="312"/>
                  </a:lnTo>
                  <a:lnTo>
                    <a:pt x="652" y="312"/>
                  </a:lnTo>
                  <a:lnTo>
                    <a:pt x="654" y="312"/>
                  </a:lnTo>
                  <a:lnTo>
                    <a:pt x="656" y="312"/>
                  </a:lnTo>
                  <a:lnTo>
                    <a:pt x="658" y="310"/>
                  </a:lnTo>
                  <a:lnTo>
                    <a:pt x="658" y="310"/>
                  </a:lnTo>
                  <a:lnTo>
                    <a:pt x="658" y="310"/>
                  </a:lnTo>
                  <a:lnTo>
                    <a:pt x="660" y="308"/>
                  </a:lnTo>
                  <a:lnTo>
                    <a:pt x="662" y="308"/>
                  </a:lnTo>
                  <a:lnTo>
                    <a:pt x="662" y="306"/>
                  </a:lnTo>
                  <a:lnTo>
                    <a:pt x="664" y="304"/>
                  </a:lnTo>
                  <a:lnTo>
                    <a:pt x="666" y="302"/>
                  </a:lnTo>
                  <a:lnTo>
                    <a:pt x="668" y="300"/>
                  </a:lnTo>
                  <a:lnTo>
                    <a:pt x="668" y="300"/>
                  </a:lnTo>
                  <a:lnTo>
                    <a:pt x="668" y="300"/>
                  </a:lnTo>
                  <a:lnTo>
                    <a:pt x="670" y="300"/>
                  </a:lnTo>
                  <a:lnTo>
                    <a:pt x="674" y="298"/>
                  </a:lnTo>
                  <a:lnTo>
                    <a:pt x="676" y="298"/>
                  </a:lnTo>
                  <a:lnTo>
                    <a:pt x="680" y="298"/>
                  </a:lnTo>
                  <a:lnTo>
                    <a:pt x="682" y="300"/>
                  </a:lnTo>
                  <a:lnTo>
                    <a:pt x="686" y="300"/>
                  </a:lnTo>
                  <a:lnTo>
                    <a:pt x="686" y="300"/>
                  </a:lnTo>
                  <a:lnTo>
                    <a:pt x="688" y="300"/>
                  </a:lnTo>
                  <a:lnTo>
                    <a:pt x="690" y="302"/>
                  </a:lnTo>
                  <a:lnTo>
                    <a:pt x="690" y="302"/>
                  </a:lnTo>
                  <a:lnTo>
                    <a:pt x="690" y="302"/>
                  </a:lnTo>
                  <a:lnTo>
                    <a:pt x="692" y="304"/>
                  </a:lnTo>
                  <a:lnTo>
                    <a:pt x="692" y="304"/>
                  </a:lnTo>
                  <a:lnTo>
                    <a:pt x="692" y="306"/>
                  </a:lnTo>
                  <a:lnTo>
                    <a:pt x="694" y="308"/>
                  </a:lnTo>
                  <a:lnTo>
                    <a:pt x="694" y="312"/>
                  </a:lnTo>
                  <a:lnTo>
                    <a:pt x="696" y="314"/>
                  </a:lnTo>
                  <a:lnTo>
                    <a:pt x="696" y="316"/>
                  </a:lnTo>
                  <a:lnTo>
                    <a:pt x="696" y="318"/>
                  </a:lnTo>
                  <a:lnTo>
                    <a:pt x="696" y="318"/>
                  </a:lnTo>
                  <a:lnTo>
                    <a:pt x="696" y="320"/>
                  </a:lnTo>
                  <a:lnTo>
                    <a:pt x="696" y="322"/>
                  </a:lnTo>
                  <a:lnTo>
                    <a:pt x="696" y="322"/>
                  </a:lnTo>
                  <a:lnTo>
                    <a:pt x="694" y="322"/>
                  </a:lnTo>
                  <a:lnTo>
                    <a:pt x="694" y="324"/>
                  </a:lnTo>
                  <a:lnTo>
                    <a:pt x="692" y="324"/>
                  </a:lnTo>
                  <a:lnTo>
                    <a:pt x="692" y="324"/>
                  </a:lnTo>
                  <a:lnTo>
                    <a:pt x="690" y="326"/>
                  </a:lnTo>
                  <a:lnTo>
                    <a:pt x="686" y="326"/>
                  </a:lnTo>
                  <a:lnTo>
                    <a:pt x="680" y="328"/>
                  </a:lnTo>
                  <a:lnTo>
                    <a:pt x="678" y="328"/>
                  </a:lnTo>
                  <a:lnTo>
                    <a:pt x="676" y="328"/>
                  </a:lnTo>
                  <a:lnTo>
                    <a:pt x="676" y="328"/>
                  </a:lnTo>
                  <a:lnTo>
                    <a:pt x="672" y="330"/>
                  </a:lnTo>
                  <a:lnTo>
                    <a:pt x="670" y="332"/>
                  </a:lnTo>
                  <a:lnTo>
                    <a:pt x="666" y="334"/>
                  </a:lnTo>
                  <a:lnTo>
                    <a:pt x="664" y="336"/>
                  </a:lnTo>
                  <a:lnTo>
                    <a:pt x="662" y="338"/>
                  </a:lnTo>
                  <a:lnTo>
                    <a:pt x="662" y="340"/>
                  </a:lnTo>
                  <a:lnTo>
                    <a:pt x="660" y="340"/>
                  </a:lnTo>
                  <a:lnTo>
                    <a:pt x="660" y="342"/>
                  </a:lnTo>
                  <a:lnTo>
                    <a:pt x="660" y="342"/>
                  </a:lnTo>
                  <a:lnTo>
                    <a:pt x="660" y="344"/>
                  </a:lnTo>
                  <a:lnTo>
                    <a:pt x="660" y="344"/>
                  </a:lnTo>
                  <a:lnTo>
                    <a:pt x="660" y="346"/>
                  </a:lnTo>
                  <a:lnTo>
                    <a:pt x="660" y="346"/>
                  </a:lnTo>
                  <a:lnTo>
                    <a:pt x="660" y="350"/>
                  </a:lnTo>
                  <a:lnTo>
                    <a:pt x="662" y="352"/>
                  </a:lnTo>
                  <a:lnTo>
                    <a:pt x="662" y="354"/>
                  </a:lnTo>
                  <a:lnTo>
                    <a:pt x="664" y="356"/>
                  </a:lnTo>
                  <a:lnTo>
                    <a:pt x="666" y="362"/>
                  </a:lnTo>
                  <a:lnTo>
                    <a:pt x="668" y="368"/>
                  </a:lnTo>
                  <a:lnTo>
                    <a:pt x="672" y="374"/>
                  </a:lnTo>
                  <a:lnTo>
                    <a:pt x="674" y="378"/>
                  </a:lnTo>
                  <a:lnTo>
                    <a:pt x="676" y="380"/>
                  </a:lnTo>
                  <a:lnTo>
                    <a:pt x="676" y="384"/>
                  </a:lnTo>
                  <a:lnTo>
                    <a:pt x="678" y="386"/>
                  </a:lnTo>
                  <a:lnTo>
                    <a:pt x="680" y="388"/>
                  </a:lnTo>
                  <a:lnTo>
                    <a:pt x="680" y="388"/>
                  </a:lnTo>
                  <a:lnTo>
                    <a:pt x="682" y="390"/>
                  </a:lnTo>
                  <a:lnTo>
                    <a:pt x="688" y="396"/>
                  </a:lnTo>
                  <a:lnTo>
                    <a:pt x="692" y="398"/>
                  </a:lnTo>
                  <a:lnTo>
                    <a:pt x="694" y="400"/>
                  </a:lnTo>
                  <a:lnTo>
                    <a:pt x="696" y="402"/>
                  </a:lnTo>
                  <a:lnTo>
                    <a:pt x="696" y="402"/>
                  </a:lnTo>
                  <a:lnTo>
                    <a:pt x="696" y="404"/>
                  </a:lnTo>
                  <a:lnTo>
                    <a:pt x="698" y="406"/>
                  </a:lnTo>
                  <a:lnTo>
                    <a:pt x="698" y="406"/>
                  </a:lnTo>
                  <a:lnTo>
                    <a:pt x="698" y="406"/>
                  </a:lnTo>
                  <a:lnTo>
                    <a:pt x="698" y="408"/>
                  </a:lnTo>
                  <a:lnTo>
                    <a:pt x="698" y="412"/>
                  </a:lnTo>
                  <a:lnTo>
                    <a:pt x="698" y="414"/>
                  </a:lnTo>
                  <a:lnTo>
                    <a:pt x="698" y="418"/>
                  </a:lnTo>
                  <a:lnTo>
                    <a:pt x="698" y="420"/>
                  </a:lnTo>
                  <a:lnTo>
                    <a:pt x="698" y="422"/>
                  </a:lnTo>
                  <a:lnTo>
                    <a:pt x="698" y="424"/>
                  </a:lnTo>
                  <a:lnTo>
                    <a:pt x="698" y="426"/>
                  </a:lnTo>
                  <a:lnTo>
                    <a:pt x="700" y="430"/>
                  </a:lnTo>
                  <a:lnTo>
                    <a:pt x="700" y="436"/>
                  </a:lnTo>
                  <a:lnTo>
                    <a:pt x="702" y="440"/>
                  </a:lnTo>
                  <a:lnTo>
                    <a:pt x="702" y="442"/>
                  </a:lnTo>
                  <a:lnTo>
                    <a:pt x="702" y="444"/>
                  </a:lnTo>
                  <a:lnTo>
                    <a:pt x="704" y="448"/>
                  </a:lnTo>
                  <a:lnTo>
                    <a:pt x="706" y="454"/>
                  </a:lnTo>
                  <a:lnTo>
                    <a:pt x="708" y="460"/>
                  </a:lnTo>
                  <a:lnTo>
                    <a:pt x="708" y="464"/>
                  </a:lnTo>
                  <a:lnTo>
                    <a:pt x="710" y="466"/>
                  </a:lnTo>
                  <a:lnTo>
                    <a:pt x="710" y="470"/>
                  </a:lnTo>
                  <a:lnTo>
                    <a:pt x="710" y="472"/>
                  </a:lnTo>
                  <a:lnTo>
                    <a:pt x="710" y="474"/>
                  </a:lnTo>
                  <a:lnTo>
                    <a:pt x="710" y="476"/>
                  </a:lnTo>
                  <a:lnTo>
                    <a:pt x="710" y="478"/>
                  </a:lnTo>
                  <a:lnTo>
                    <a:pt x="710" y="478"/>
                  </a:lnTo>
                  <a:lnTo>
                    <a:pt x="710" y="480"/>
                  </a:lnTo>
                  <a:lnTo>
                    <a:pt x="708" y="480"/>
                  </a:lnTo>
                  <a:lnTo>
                    <a:pt x="708" y="482"/>
                  </a:lnTo>
                  <a:lnTo>
                    <a:pt x="708" y="482"/>
                  </a:lnTo>
                  <a:lnTo>
                    <a:pt x="708" y="482"/>
                  </a:lnTo>
                  <a:lnTo>
                    <a:pt x="706" y="482"/>
                  </a:lnTo>
                  <a:lnTo>
                    <a:pt x="704" y="482"/>
                  </a:lnTo>
                  <a:lnTo>
                    <a:pt x="702" y="482"/>
                  </a:lnTo>
                  <a:lnTo>
                    <a:pt x="700" y="482"/>
                  </a:lnTo>
                  <a:lnTo>
                    <a:pt x="700" y="482"/>
                  </a:lnTo>
                  <a:lnTo>
                    <a:pt x="700" y="482"/>
                  </a:lnTo>
                  <a:lnTo>
                    <a:pt x="698" y="484"/>
                  </a:lnTo>
                  <a:lnTo>
                    <a:pt x="698" y="484"/>
                  </a:lnTo>
                  <a:lnTo>
                    <a:pt x="698" y="484"/>
                  </a:lnTo>
                  <a:lnTo>
                    <a:pt x="698" y="486"/>
                  </a:lnTo>
                  <a:lnTo>
                    <a:pt x="698" y="488"/>
                  </a:lnTo>
                  <a:lnTo>
                    <a:pt x="698" y="490"/>
                  </a:lnTo>
                  <a:lnTo>
                    <a:pt x="698" y="494"/>
                  </a:lnTo>
                  <a:lnTo>
                    <a:pt x="696" y="496"/>
                  </a:lnTo>
                  <a:lnTo>
                    <a:pt x="696" y="496"/>
                  </a:lnTo>
                  <a:lnTo>
                    <a:pt x="696" y="498"/>
                  </a:lnTo>
                  <a:lnTo>
                    <a:pt x="696" y="498"/>
                  </a:lnTo>
                  <a:lnTo>
                    <a:pt x="696" y="498"/>
                  </a:lnTo>
                  <a:lnTo>
                    <a:pt x="694" y="500"/>
                  </a:lnTo>
                  <a:lnTo>
                    <a:pt x="692" y="502"/>
                  </a:lnTo>
                  <a:lnTo>
                    <a:pt x="690" y="504"/>
                  </a:lnTo>
                  <a:lnTo>
                    <a:pt x="686" y="506"/>
                  </a:lnTo>
                  <a:lnTo>
                    <a:pt x="686" y="506"/>
                  </a:lnTo>
                  <a:lnTo>
                    <a:pt x="684" y="508"/>
                  </a:lnTo>
                  <a:lnTo>
                    <a:pt x="682" y="508"/>
                  </a:lnTo>
                  <a:lnTo>
                    <a:pt x="682" y="510"/>
                  </a:lnTo>
                  <a:lnTo>
                    <a:pt x="682" y="510"/>
                  </a:lnTo>
                  <a:lnTo>
                    <a:pt x="682" y="512"/>
                  </a:lnTo>
                  <a:lnTo>
                    <a:pt x="682" y="512"/>
                  </a:lnTo>
                  <a:lnTo>
                    <a:pt x="682" y="514"/>
                  </a:lnTo>
                  <a:lnTo>
                    <a:pt x="682" y="516"/>
                  </a:lnTo>
                  <a:lnTo>
                    <a:pt x="684" y="520"/>
                  </a:lnTo>
                  <a:lnTo>
                    <a:pt x="684" y="522"/>
                  </a:lnTo>
                  <a:lnTo>
                    <a:pt x="684" y="524"/>
                  </a:lnTo>
                  <a:lnTo>
                    <a:pt x="684" y="526"/>
                  </a:lnTo>
                  <a:lnTo>
                    <a:pt x="684" y="526"/>
                  </a:lnTo>
                  <a:lnTo>
                    <a:pt x="684" y="528"/>
                  </a:lnTo>
                  <a:lnTo>
                    <a:pt x="684" y="528"/>
                  </a:lnTo>
                  <a:lnTo>
                    <a:pt x="684" y="530"/>
                  </a:lnTo>
                  <a:lnTo>
                    <a:pt x="682" y="530"/>
                  </a:lnTo>
                  <a:lnTo>
                    <a:pt x="682" y="532"/>
                  </a:lnTo>
                  <a:lnTo>
                    <a:pt x="680" y="532"/>
                  </a:lnTo>
                  <a:lnTo>
                    <a:pt x="678" y="534"/>
                  </a:lnTo>
                  <a:lnTo>
                    <a:pt x="676" y="536"/>
                  </a:lnTo>
                  <a:lnTo>
                    <a:pt x="674" y="538"/>
                  </a:lnTo>
                  <a:lnTo>
                    <a:pt x="672" y="538"/>
                  </a:lnTo>
                  <a:lnTo>
                    <a:pt x="670" y="538"/>
                  </a:lnTo>
                  <a:lnTo>
                    <a:pt x="668" y="538"/>
                  </a:lnTo>
                  <a:lnTo>
                    <a:pt x="668" y="538"/>
                  </a:lnTo>
                  <a:lnTo>
                    <a:pt x="664" y="538"/>
                  </a:lnTo>
                  <a:lnTo>
                    <a:pt x="664" y="538"/>
                  </a:lnTo>
                  <a:lnTo>
                    <a:pt x="662" y="540"/>
                  </a:lnTo>
                  <a:lnTo>
                    <a:pt x="660" y="540"/>
                  </a:lnTo>
                  <a:lnTo>
                    <a:pt x="660" y="540"/>
                  </a:lnTo>
                  <a:lnTo>
                    <a:pt x="660" y="540"/>
                  </a:lnTo>
                  <a:lnTo>
                    <a:pt x="660" y="540"/>
                  </a:lnTo>
                  <a:lnTo>
                    <a:pt x="658" y="542"/>
                  </a:lnTo>
                  <a:lnTo>
                    <a:pt x="658" y="542"/>
                  </a:lnTo>
                  <a:lnTo>
                    <a:pt x="658" y="544"/>
                  </a:lnTo>
                  <a:lnTo>
                    <a:pt x="658" y="546"/>
                  </a:lnTo>
                  <a:lnTo>
                    <a:pt x="658" y="548"/>
                  </a:lnTo>
                  <a:lnTo>
                    <a:pt x="658" y="550"/>
                  </a:lnTo>
                  <a:lnTo>
                    <a:pt x="658" y="552"/>
                  </a:lnTo>
                  <a:lnTo>
                    <a:pt x="658" y="552"/>
                  </a:lnTo>
                  <a:lnTo>
                    <a:pt x="658" y="554"/>
                  </a:lnTo>
                  <a:lnTo>
                    <a:pt x="658" y="554"/>
                  </a:lnTo>
                  <a:lnTo>
                    <a:pt x="658" y="554"/>
                  </a:lnTo>
                  <a:lnTo>
                    <a:pt x="656" y="556"/>
                  </a:lnTo>
                  <a:lnTo>
                    <a:pt x="656" y="556"/>
                  </a:lnTo>
                  <a:lnTo>
                    <a:pt x="654" y="556"/>
                  </a:lnTo>
                  <a:lnTo>
                    <a:pt x="654" y="556"/>
                  </a:lnTo>
                  <a:lnTo>
                    <a:pt x="652" y="556"/>
                  </a:lnTo>
                  <a:lnTo>
                    <a:pt x="650" y="558"/>
                  </a:lnTo>
                  <a:lnTo>
                    <a:pt x="648" y="558"/>
                  </a:lnTo>
                  <a:lnTo>
                    <a:pt x="646" y="558"/>
                  </a:lnTo>
                  <a:lnTo>
                    <a:pt x="646" y="558"/>
                  </a:lnTo>
                  <a:lnTo>
                    <a:pt x="646" y="558"/>
                  </a:lnTo>
                  <a:lnTo>
                    <a:pt x="646" y="560"/>
                  </a:lnTo>
                  <a:lnTo>
                    <a:pt x="646" y="560"/>
                  </a:lnTo>
                  <a:lnTo>
                    <a:pt x="644" y="562"/>
                  </a:lnTo>
                  <a:lnTo>
                    <a:pt x="644" y="564"/>
                  </a:lnTo>
                  <a:lnTo>
                    <a:pt x="644" y="566"/>
                  </a:lnTo>
                  <a:lnTo>
                    <a:pt x="644" y="568"/>
                  </a:lnTo>
                  <a:lnTo>
                    <a:pt x="644" y="570"/>
                  </a:lnTo>
                  <a:lnTo>
                    <a:pt x="644" y="572"/>
                  </a:lnTo>
                  <a:lnTo>
                    <a:pt x="644" y="572"/>
                  </a:lnTo>
                  <a:lnTo>
                    <a:pt x="644" y="572"/>
                  </a:lnTo>
                  <a:lnTo>
                    <a:pt x="642" y="574"/>
                  </a:lnTo>
                  <a:lnTo>
                    <a:pt x="642" y="574"/>
                  </a:lnTo>
                  <a:lnTo>
                    <a:pt x="640" y="576"/>
                  </a:lnTo>
                  <a:lnTo>
                    <a:pt x="638" y="576"/>
                  </a:lnTo>
                  <a:lnTo>
                    <a:pt x="636" y="576"/>
                  </a:lnTo>
                  <a:lnTo>
                    <a:pt x="632" y="578"/>
                  </a:lnTo>
                  <a:lnTo>
                    <a:pt x="628" y="578"/>
                  </a:lnTo>
                  <a:lnTo>
                    <a:pt x="624" y="580"/>
                  </a:lnTo>
                  <a:lnTo>
                    <a:pt x="620" y="580"/>
                  </a:lnTo>
                  <a:lnTo>
                    <a:pt x="618" y="580"/>
                  </a:lnTo>
                  <a:lnTo>
                    <a:pt x="616" y="580"/>
                  </a:lnTo>
                  <a:lnTo>
                    <a:pt x="614" y="580"/>
                  </a:lnTo>
                  <a:lnTo>
                    <a:pt x="608" y="578"/>
                  </a:lnTo>
                  <a:lnTo>
                    <a:pt x="604" y="578"/>
                  </a:lnTo>
                  <a:lnTo>
                    <a:pt x="602" y="578"/>
                  </a:lnTo>
                  <a:lnTo>
                    <a:pt x="600" y="578"/>
                  </a:lnTo>
                  <a:lnTo>
                    <a:pt x="596" y="578"/>
                  </a:lnTo>
                  <a:lnTo>
                    <a:pt x="594" y="578"/>
                  </a:lnTo>
                  <a:lnTo>
                    <a:pt x="590" y="580"/>
                  </a:lnTo>
                  <a:lnTo>
                    <a:pt x="588" y="580"/>
                  </a:lnTo>
                  <a:lnTo>
                    <a:pt x="584" y="582"/>
                  </a:lnTo>
                  <a:lnTo>
                    <a:pt x="582" y="582"/>
                  </a:lnTo>
                  <a:lnTo>
                    <a:pt x="578" y="584"/>
                  </a:lnTo>
                  <a:lnTo>
                    <a:pt x="576" y="586"/>
                  </a:lnTo>
                  <a:lnTo>
                    <a:pt x="574" y="586"/>
                  </a:lnTo>
                  <a:lnTo>
                    <a:pt x="572" y="588"/>
                  </a:lnTo>
                  <a:lnTo>
                    <a:pt x="568" y="592"/>
                  </a:lnTo>
                  <a:lnTo>
                    <a:pt x="564" y="594"/>
                  </a:lnTo>
                  <a:lnTo>
                    <a:pt x="560" y="598"/>
                  </a:lnTo>
                  <a:lnTo>
                    <a:pt x="554" y="602"/>
                  </a:lnTo>
                  <a:lnTo>
                    <a:pt x="552" y="604"/>
                  </a:lnTo>
                  <a:lnTo>
                    <a:pt x="552" y="606"/>
                  </a:lnTo>
                  <a:lnTo>
                    <a:pt x="550" y="608"/>
                  </a:lnTo>
                  <a:lnTo>
                    <a:pt x="548" y="610"/>
                  </a:lnTo>
                  <a:lnTo>
                    <a:pt x="546" y="610"/>
                  </a:lnTo>
                  <a:lnTo>
                    <a:pt x="546" y="612"/>
                  </a:lnTo>
                  <a:lnTo>
                    <a:pt x="546" y="612"/>
                  </a:lnTo>
                  <a:lnTo>
                    <a:pt x="544" y="612"/>
                  </a:lnTo>
                  <a:lnTo>
                    <a:pt x="544" y="612"/>
                  </a:lnTo>
                  <a:lnTo>
                    <a:pt x="542" y="612"/>
                  </a:lnTo>
                  <a:lnTo>
                    <a:pt x="542" y="610"/>
                  </a:lnTo>
                  <a:lnTo>
                    <a:pt x="542" y="610"/>
                  </a:lnTo>
                  <a:lnTo>
                    <a:pt x="542" y="608"/>
                  </a:lnTo>
                  <a:lnTo>
                    <a:pt x="540" y="608"/>
                  </a:lnTo>
                  <a:lnTo>
                    <a:pt x="540" y="606"/>
                  </a:lnTo>
                  <a:lnTo>
                    <a:pt x="540" y="602"/>
                  </a:lnTo>
                  <a:lnTo>
                    <a:pt x="540" y="600"/>
                  </a:lnTo>
                  <a:lnTo>
                    <a:pt x="540" y="596"/>
                  </a:lnTo>
                  <a:lnTo>
                    <a:pt x="540" y="594"/>
                  </a:lnTo>
                  <a:lnTo>
                    <a:pt x="538" y="594"/>
                  </a:lnTo>
                  <a:lnTo>
                    <a:pt x="538" y="592"/>
                  </a:lnTo>
                  <a:lnTo>
                    <a:pt x="538" y="592"/>
                  </a:lnTo>
                  <a:lnTo>
                    <a:pt x="536" y="590"/>
                  </a:lnTo>
                  <a:lnTo>
                    <a:pt x="536" y="590"/>
                  </a:lnTo>
                  <a:lnTo>
                    <a:pt x="534" y="588"/>
                  </a:lnTo>
                  <a:lnTo>
                    <a:pt x="534" y="588"/>
                  </a:lnTo>
                  <a:lnTo>
                    <a:pt x="532" y="588"/>
                  </a:lnTo>
                  <a:lnTo>
                    <a:pt x="532" y="586"/>
                  </a:lnTo>
                  <a:lnTo>
                    <a:pt x="530" y="586"/>
                  </a:lnTo>
                  <a:lnTo>
                    <a:pt x="530" y="586"/>
                  </a:lnTo>
                  <a:lnTo>
                    <a:pt x="528" y="586"/>
                  </a:lnTo>
                  <a:lnTo>
                    <a:pt x="528" y="588"/>
                  </a:lnTo>
                  <a:lnTo>
                    <a:pt x="528" y="588"/>
                  </a:lnTo>
                  <a:lnTo>
                    <a:pt x="526" y="588"/>
                  </a:lnTo>
                  <a:lnTo>
                    <a:pt x="526" y="590"/>
                  </a:lnTo>
                  <a:lnTo>
                    <a:pt x="526" y="592"/>
                  </a:lnTo>
                  <a:lnTo>
                    <a:pt x="524" y="592"/>
                  </a:lnTo>
                  <a:lnTo>
                    <a:pt x="524" y="596"/>
                  </a:lnTo>
                  <a:lnTo>
                    <a:pt x="524" y="598"/>
                  </a:lnTo>
                  <a:lnTo>
                    <a:pt x="522" y="602"/>
                  </a:lnTo>
                  <a:lnTo>
                    <a:pt x="522" y="604"/>
                  </a:lnTo>
                  <a:lnTo>
                    <a:pt x="520" y="600"/>
                  </a:lnTo>
                  <a:lnTo>
                    <a:pt x="518" y="596"/>
                  </a:lnTo>
                  <a:lnTo>
                    <a:pt x="514" y="590"/>
                  </a:lnTo>
                  <a:lnTo>
                    <a:pt x="512" y="586"/>
                  </a:lnTo>
                  <a:lnTo>
                    <a:pt x="508" y="580"/>
                  </a:lnTo>
                  <a:lnTo>
                    <a:pt x="506" y="578"/>
                  </a:lnTo>
                  <a:lnTo>
                    <a:pt x="504" y="576"/>
                  </a:lnTo>
                  <a:lnTo>
                    <a:pt x="502" y="574"/>
                  </a:lnTo>
                  <a:lnTo>
                    <a:pt x="502" y="572"/>
                  </a:lnTo>
                  <a:lnTo>
                    <a:pt x="500" y="572"/>
                  </a:lnTo>
                  <a:lnTo>
                    <a:pt x="498" y="572"/>
                  </a:lnTo>
                  <a:lnTo>
                    <a:pt x="496" y="570"/>
                  </a:lnTo>
                  <a:lnTo>
                    <a:pt x="494" y="568"/>
                  </a:lnTo>
                  <a:lnTo>
                    <a:pt x="490" y="568"/>
                  </a:lnTo>
                  <a:lnTo>
                    <a:pt x="488" y="566"/>
                  </a:lnTo>
                  <a:lnTo>
                    <a:pt x="484" y="566"/>
                  </a:lnTo>
                  <a:lnTo>
                    <a:pt x="478" y="566"/>
                  </a:lnTo>
                  <a:lnTo>
                    <a:pt x="476" y="564"/>
                  </a:lnTo>
                  <a:lnTo>
                    <a:pt x="470" y="564"/>
                  </a:lnTo>
                  <a:lnTo>
                    <a:pt x="466" y="564"/>
                  </a:lnTo>
                  <a:lnTo>
                    <a:pt x="464" y="564"/>
                  </a:lnTo>
                  <a:lnTo>
                    <a:pt x="464" y="566"/>
                  </a:lnTo>
                  <a:lnTo>
                    <a:pt x="462" y="566"/>
                  </a:lnTo>
                  <a:lnTo>
                    <a:pt x="460" y="566"/>
                  </a:lnTo>
                  <a:lnTo>
                    <a:pt x="458" y="568"/>
                  </a:lnTo>
                  <a:lnTo>
                    <a:pt x="454" y="570"/>
                  </a:lnTo>
                  <a:lnTo>
                    <a:pt x="450" y="572"/>
                  </a:lnTo>
                  <a:lnTo>
                    <a:pt x="444" y="576"/>
                  </a:lnTo>
                  <a:lnTo>
                    <a:pt x="440" y="578"/>
                  </a:lnTo>
                  <a:lnTo>
                    <a:pt x="440" y="578"/>
                  </a:lnTo>
                  <a:lnTo>
                    <a:pt x="436" y="580"/>
                  </a:lnTo>
                  <a:lnTo>
                    <a:pt x="434" y="580"/>
                  </a:lnTo>
                  <a:lnTo>
                    <a:pt x="432" y="580"/>
                  </a:lnTo>
                  <a:lnTo>
                    <a:pt x="430" y="582"/>
                  </a:lnTo>
                  <a:lnTo>
                    <a:pt x="430" y="582"/>
                  </a:lnTo>
                  <a:lnTo>
                    <a:pt x="430" y="582"/>
                  </a:lnTo>
                  <a:lnTo>
                    <a:pt x="430" y="584"/>
                  </a:lnTo>
                  <a:lnTo>
                    <a:pt x="428" y="584"/>
                  </a:lnTo>
                  <a:lnTo>
                    <a:pt x="430" y="586"/>
                  </a:lnTo>
                  <a:lnTo>
                    <a:pt x="430" y="586"/>
                  </a:lnTo>
                  <a:lnTo>
                    <a:pt x="430" y="588"/>
                  </a:lnTo>
                  <a:lnTo>
                    <a:pt x="430" y="590"/>
                  </a:lnTo>
                  <a:lnTo>
                    <a:pt x="432" y="592"/>
                  </a:lnTo>
                  <a:lnTo>
                    <a:pt x="432" y="594"/>
                  </a:lnTo>
                  <a:lnTo>
                    <a:pt x="432" y="596"/>
                  </a:lnTo>
                  <a:lnTo>
                    <a:pt x="432" y="596"/>
                  </a:lnTo>
                  <a:lnTo>
                    <a:pt x="432" y="598"/>
                  </a:lnTo>
                  <a:lnTo>
                    <a:pt x="432" y="598"/>
                  </a:lnTo>
                  <a:lnTo>
                    <a:pt x="432" y="598"/>
                  </a:lnTo>
                  <a:lnTo>
                    <a:pt x="430" y="600"/>
                  </a:lnTo>
                  <a:lnTo>
                    <a:pt x="428" y="600"/>
                  </a:lnTo>
                  <a:lnTo>
                    <a:pt x="428" y="600"/>
                  </a:lnTo>
                  <a:lnTo>
                    <a:pt x="426" y="600"/>
                  </a:lnTo>
                  <a:lnTo>
                    <a:pt x="424" y="600"/>
                  </a:lnTo>
                  <a:lnTo>
                    <a:pt x="420" y="600"/>
                  </a:lnTo>
                  <a:lnTo>
                    <a:pt x="418" y="600"/>
                  </a:lnTo>
                  <a:lnTo>
                    <a:pt x="414" y="600"/>
                  </a:lnTo>
                  <a:lnTo>
                    <a:pt x="412" y="600"/>
                  </a:lnTo>
                  <a:lnTo>
                    <a:pt x="412" y="600"/>
                  </a:lnTo>
                  <a:lnTo>
                    <a:pt x="410" y="596"/>
                  </a:lnTo>
                  <a:lnTo>
                    <a:pt x="410" y="594"/>
                  </a:lnTo>
                  <a:lnTo>
                    <a:pt x="410" y="592"/>
                  </a:lnTo>
                  <a:lnTo>
                    <a:pt x="408" y="592"/>
                  </a:lnTo>
                  <a:lnTo>
                    <a:pt x="408" y="590"/>
                  </a:lnTo>
                  <a:lnTo>
                    <a:pt x="408" y="590"/>
                  </a:lnTo>
                  <a:lnTo>
                    <a:pt x="408" y="590"/>
                  </a:lnTo>
                  <a:lnTo>
                    <a:pt x="406" y="590"/>
                  </a:lnTo>
                  <a:lnTo>
                    <a:pt x="406" y="590"/>
                  </a:lnTo>
                  <a:lnTo>
                    <a:pt x="404" y="590"/>
                  </a:lnTo>
                  <a:lnTo>
                    <a:pt x="400" y="590"/>
                  </a:lnTo>
                  <a:lnTo>
                    <a:pt x="398" y="588"/>
                  </a:lnTo>
                  <a:lnTo>
                    <a:pt x="396" y="588"/>
                  </a:lnTo>
                  <a:lnTo>
                    <a:pt x="396" y="588"/>
                  </a:lnTo>
                  <a:lnTo>
                    <a:pt x="396" y="588"/>
                  </a:lnTo>
                  <a:lnTo>
                    <a:pt x="394" y="588"/>
                  </a:lnTo>
                  <a:lnTo>
                    <a:pt x="394" y="588"/>
                  </a:lnTo>
                  <a:lnTo>
                    <a:pt x="394" y="586"/>
                  </a:lnTo>
                  <a:lnTo>
                    <a:pt x="392" y="586"/>
                  </a:lnTo>
                  <a:lnTo>
                    <a:pt x="392" y="584"/>
                  </a:lnTo>
                  <a:lnTo>
                    <a:pt x="392" y="582"/>
                  </a:lnTo>
                  <a:lnTo>
                    <a:pt x="392" y="580"/>
                  </a:lnTo>
                  <a:lnTo>
                    <a:pt x="392" y="576"/>
                  </a:lnTo>
                  <a:lnTo>
                    <a:pt x="392" y="570"/>
                  </a:lnTo>
                  <a:lnTo>
                    <a:pt x="390" y="566"/>
                  </a:lnTo>
                  <a:lnTo>
                    <a:pt x="390" y="566"/>
                  </a:lnTo>
                  <a:lnTo>
                    <a:pt x="390" y="564"/>
                  </a:lnTo>
                  <a:lnTo>
                    <a:pt x="390" y="560"/>
                  </a:lnTo>
                  <a:lnTo>
                    <a:pt x="388" y="558"/>
                  </a:lnTo>
                  <a:lnTo>
                    <a:pt x="388" y="556"/>
                  </a:lnTo>
                  <a:lnTo>
                    <a:pt x="386" y="554"/>
                  </a:lnTo>
                  <a:lnTo>
                    <a:pt x="386" y="552"/>
                  </a:lnTo>
                  <a:lnTo>
                    <a:pt x="384" y="550"/>
                  </a:lnTo>
                  <a:lnTo>
                    <a:pt x="384" y="550"/>
                  </a:lnTo>
                  <a:lnTo>
                    <a:pt x="382" y="548"/>
                  </a:lnTo>
                  <a:lnTo>
                    <a:pt x="382" y="548"/>
                  </a:lnTo>
                  <a:lnTo>
                    <a:pt x="382" y="548"/>
                  </a:lnTo>
                  <a:lnTo>
                    <a:pt x="380" y="548"/>
                  </a:lnTo>
                  <a:lnTo>
                    <a:pt x="380" y="548"/>
                  </a:lnTo>
                  <a:lnTo>
                    <a:pt x="376" y="548"/>
                  </a:lnTo>
                  <a:lnTo>
                    <a:pt x="374" y="548"/>
                  </a:lnTo>
                  <a:lnTo>
                    <a:pt x="372" y="548"/>
                  </a:lnTo>
                  <a:lnTo>
                    <a:pt x="370" y="548"/>
                  </a:lnTo>
                  <a:lnTo>
                    <a:pt x="368" y="548"/>
                  </a:lnTo>
                  <a:lnTo>
                    <a:pt x="368" y="548"/>
                  </a:lnTo>
                  <a:lnTo>
                    <a:pt x="368" y="546"/>
                  </a:lnTo>
                  <a:lnTo>
                    <a:pt x="366" y="546"/>
                  </a:lnTo>
                  <a:lnTo>
                    <a:pt x="366" y="546"/>
                  </a:lnTo>
                  <a:lnTo>
                    <a:pt x="366" y="544"/>
                  </a:lnTo>
                  <a:lnTo>
                    <a:pt x="366" y="544"/>
                  </a:lnTo>
                  <a:lnTo>
                    <a:pt x="366" y="542"/>
                  </a:lnTo>
                  <a:lnTo>
                    <a:pt x="366" y="540"/>
                  </a:lnTo>
                  <a:lnTo>
                    <a:pt x="366" y="538"/>
                  </a:lnTo>
                  <a:lnTo>
                    <a:pt x="366" y="536"/>
                  </a:lnTo>
                  <a:lnTo>
                    <a:pt x="368" y="534"/>
                  </a:lnTo>
                  <a:lnTo>
                    <a:pt x="368" y="534"/>
                  </a:lnTo>
                  <a:lnTo>
                    <a:pt x="368" y="532"/>
                  </a:lnTo>
                  <a:lnTo>
                    <a:pt x="370" y="532"/>
                  </a:lnTo>
                  <a:lnTo>
                    <a:pt x="372" y="530"/>
                  </a:lnTo>
                  <a:lnTo>
                    <a:pt x="372" y="530"/>
                  </a:lnTo>
                  <a:lnTo>
                    <a:pt x="376" y="528"/>
                  </a:lnTo>
                  <a:lnTo>
                    <a:pt x="376" y="528"/>
                  </a:lnTo>
                  <a:lnTo>
                    <a:pt x="378" y="526"/>
                  </a:lnTo>
                  <a:lnTo>
                    <a:pt x="380" y="524"/>
                  </a:lnTo>
                  <a:lnTo>
                    <a:pt x="382" y="520"/>
                  </a:lnTo>
                  <a:lnTo>
                    <a:pt x="382" y="518"/>
                  </a:lnTo>
                  <a:lnTo>
                    <a:pt x="384" y="516"/>
                  </a:lnTo>
                  <a:lnTo>
                    <a:pt x="384" y="516"/>
                  </a:lnTo>
                  <a:lnTo>
                    <a:pt x="384" y="514"/>
                  </a:lnTo>
                  <a:lnTo>
                    <a:pt x="384" y="512"/>
                  </a:lnTo>
                  <a:lnTo>
                    <a:pt x="384" y="512"/>
                  </a:lnTo>
                  <a:lnTo>
                    <a:pt x="384" y="510"/>
                  </a:lnTo>
                  <a:lnTo>
                    <a:pt x="382" y="508"/>
                  </a:lnTo>
                  <a:lnTo>
                    <a:pt x="382" y="506"/>
                  </a:lnTo>
                  <a:lnTo>
                    <a:pt x="380" y="500"/>
                  </a:lnTo>
                  <a:lnTo>
                    <a:pt x="378" y="498"/>
                  </a:lnTo>
                  <a:lnTo>
                    <a:pt x="378" y="494"/>
                  </a:lnTo>
                  <a:lnTo>
                    <a:pt x="376" y="492"/>
                  </a:lnTo>
                  <a:lnTo>
                    <a:pt x="376" y="492"/>
                  </a:lnTo>
                  <a:lnTo>
                    <a:pt x="376" y="490"/>
                  </a:lnTo>
                  <a:lnTo>
                    <a:pt x="374" y="488"/>
                  </a:lnTo>
                  <a:lnTo>
                    <a:pt x="374" y="488"/>
                  </a:lnTo>
                  <a:lnTo>
                    <a:pt x="374" y="488"/>
                  </a:lnTo>
                  <a:lnTo>
                    <a:pt x="372" y="488"/>
                  </a:lnTo>
                  <a:lnTo>
                    <a:pt x="372" y="488"/>
                  </a:lnTo>
                  <a:lnTo>
                    <a:pt x="370" y="488"/>
                  </a:lnTo>
                  <a:lnTo>
                    <a:pt x="368" y="488"/>
                  </a:lnTo>
                  <a:lnTo>
                    <a:pt x="364" y="488"/>
                  </a:lnTo>
                  <a:lnTo>
                    <a:pt x="362" y="490"/>
                  </a:lnTo>
                  <a:lnTo>
                    <a:pt x="360" y="490"/>
                  </a:lnTo>
                  <a:lnTo>
                    <a:pt x="358" y="490"/>
                  </a:lnTo>
                  <a:lnTo>
                    <a:pt x="356" y="488"/>
                  </a:lnTo>
                  <a:lnTo>
                    <a:pt x="354" y="484"/>
                  </a:lnTo>
                  <a:lnTo>
                    <a:pt x="352" y="482"/>
                  </a:lnTo>
                  <a:lnTo>
                    <a:pt x="350" y="480"/>
                  </a:lnTo>
                  <a:lnTo>
                    <a:pt x="350" y="478"/>
                  </a:lnTo>
                  <a:lnTo>
                    <a:pt x="348" y="476"/>
                  </a:lnTo>
                  <a:lnTo>
                    <a:pt x="346" y="474"/>
                  </a:lnTo>
                  <a:lnTo>
                    <a:pt x="344" y="474"/>
                  </a:lnTo>
                  <a:lnTo>
                    <a:pt x="342" y="472"/>
                  </a:lnTo>
                  <a:lnTo>
                    <a:pt x="340" y="470"/>
                  </a:lnTo>
                  <a:lnTo>
                    <a:pt x="338" y="470"/>
                  </a:lnTo>
                  <a:lnTo>
                    <a:pt x="336" y="468"/>
                  </a:lnTo>
                  <a:lnTo>
                    <a:pt x="334" y="468"/>
                  </a:lnTo>
                  <a:lnTo>
                    <a:pt x="332" y="466"/>
                  </a:lnTo>
                  <a:lnTo>
                    <a:pt x="328" y="466"/>
                  </a:lnTo>
                  <a:lnTo>
                    <a:pt x="326" y="466"/>
                  </a:lnTo>
                  <a:lnTo>
                    <a:pt x="322" y="466"/>
                  </a:lnTo>
                  <a:lnTo>
                    <a:pt x="320" y="466"/>
                  </a:lnTo>
                  <a:lnTo>
                    <a:pt x="316" y="466"/>
                  </a:lnTo>
                  <a:lnTo>
                    <a:pt x="314" y="466"/>
                  </a:lnTo>
                  <a:lnTo>
                    <a:pt x="310" y="466"/>
                  </a:lnTo>
                  <a:lnTo>
                    <a:pt x="308" y="466"/>
                  </a:lnTo>
                  <a:lnTo>
                    <a:pt x="306" y="468"/>
                  </a:lnTo>
                  <a:lnTo>
                    <a:pt x="304" y="468"/>
                  </a:lnTo>
                  <a:lnTo>
                    <a:pt x="302" y="470"/>
                  </a:lnTo>
                  <a:lnTo>
                    <a:pt x="300" y="472"/>
                  </a:lnTo>
                  <a:lnTo>
                    <a:pt x="296" y="472"/>
                  </a:lnTo>
                  <a:lnTo>
                    <a:pt x="294" y="474"/>
                  </a:lnTo>
                  <a:lnTo>
                    <a:pt x="292" y="476"/>
                  </a:lnTo>
                  <a:lnTo>
                    <a:pt x="290" y="476"/>
                  </a:lnTo>
                  <a:lnTo>
                    <a:pt x="290" y="478"/>
                  </a:lnTo>
                  <a:lnTo>
                    <a:pt x="288" y="480"/>
                  </a:lnTo>
                  <a:lnTo>
                    <a:pt x="286" y="484"/>
                  </a:lnTo>
                  <a:lnTo>
                    <a:pt x="284" y="488"/>
                  </a:lnTo>
                  <a:lnTo>
                    <a:pt x="280" y="488"/>
                  </a:lnTo>
                  <a:lnTo>
                    <a:pt x="274" y="488"/>
                  </a:lnTo>
                  <a:lnTo>
                    <a:pt x="270" y="488"/>
                  </a:lnTo>
                  <a:lnTo>
                    <a:pt x="266" y="488"/>
                  </a:lnTo>
                  <a:lnTo>
                    <a:pt x="262" y="488"/>
                  </a:lnTo>
                  <a:lnTo>
                    <a:pt x="260" y="488"/>
                  </a:lnTo>
                  <a:lnTo>
                    <a:pt x="260" y="488"/>
                  </a:lnTo>
                  <a:lnTo>
                    <a:pt x="258" y="488"/>
                  </a:lnTo>
                  <a:lnTo>
                    <a:pt x="254" y="486"/>
                  </a:lnTo>
                  <a:lnTo>
                    <a:pt x="250" y="484"/>
                  </a:lnTo>
                  <a:lnTo>
                    <a:pt x="246" y="482"/>
                  </a:lnTo>
                  <a:lnTo>
                    <a:pt x="244" y="480"/>
                  </a:lnTo>
                  <a:lnTo>
                    <a:pt x="236" y="494"/>
                  </a:lnTo>
                  <a:lnTo>
                    <a:pt x="230" y="492"/>
                  </a:lnTo>
                  <a:lnTo>
                    <a:pt x="226" y="490"/>
                  </a:lnTo>
                  <a:lnTo>
                    <a:pt x="224" y="490"/>
                  </a:lnTo>
                  <a:lnTo>
                    <a:pt x="222" y="490"/>
                  </a:lnTo>
                  <a:lnTo>
                    <a:pt x="218" y="490"/>
                  </a:lnTo>
                  <a:lnTo>
                    <a:pt x="214" y="488"/>
                  </a:lnTo>
                  <a:lnTo>
                    <a:pt x="206" y="488"/>
                  </a:lnTo>
                  <a:lnTo>
                    <a:pt x="202" y="488"/>
                  </a:lnTo>
                  <a:lnTo>
                    <a:pt x="196" y="488"/>
                  </a:lnTo>
                  <a:lnTo>
                    <a:pt x="194" y="488"/>
                  </a:lnTo>
                  <a:lnTo>
                    <a:pt x="192" y="488"/>
                  </a:lnTo>
                  <a:lnTo>
                    <a:pt x="190" y="488"/>
                  </a:lnTo>
                  <a:lnTo>
                    <a:pt x="188" y="486"/>
                  </a:lnTo>
                  <a:lnTo>
                    <a:pt x="186" y="486"/>
                  </a:lnTo>
                  <a:lnTo>
                    <a:pt x="182" y="484"/>
                  </a:lnTo>
                  <a:lnTo>
                    <a:pt x="176" y="480"/>
                  </a:lnTo>
                  <a:lnTo>
                    <a:pt x="172" y="478"/>
                  </a:lnTo>
                  <a:lnTo>
                    <a:pt x="170" y="476"/>
                  </a:lnTo>
                  <a:lnTo>
                    <a:pt x="168" y="476"/>
                  </a:lnTo>
                  <a:lnTo>
                    <a:pt x="166" y="476"/>
                  </a:lnTo>
                  <a:lnTo>
                    <a:pt x="164" y="474"/>
                  </a:lnTo>
                  <a:lnTo>
                    <a:pt x="164" y="474"/>
                  </a:lnTo>
                  <a:lnTo>
                    <a:pt x="164" y="472"/>
                  </a:lnTo>
                  <a:lnTo>
                    <a:pt x="164" y="472"/>
                  </a:lnTo>
                  <a:lnTo>
                    <a:pt x="164" y="470"/>
                  </a:lnTo>
                  <a:lnTo>
                    <a:pt x="164" y="470"/>
                  </a:lnTo>
                  <a:lnTo>
                    <a:pt x="164" y="466"/>
                  </a:lnTo>
                  <a:lnTo>
                    <a:pt x="164" y="464"/>
                  </a:lnTo>
                  <a:lnTo>
                    <a:pt x="164" y="462"/>
                  </a:lnTo>
                  <a:lnTo>
                    <a:pt x="164" y="460"/>
                  </a:lnTo>
                  <a:lnTo>
                    <a:pt x="164" y="460"/>
                  </a:lnTo>
                  <a:lnTo>
                    <a:pt x="164" y="458"/>
                  </a:lnTo>
                  <a:lnTo>
                    <a:pt x="164" y="458"/>
                  </a:lnTo>
                  <a:lnTo>
                    <a:pt x="164" y="456"/>
                  </a:lnTo>
                  <a:lnTo>
                    <a:pt x="162" y="456"/>
                  </a:lnTo>
                  <a:lnTo>
                    <a:pt x="162" y="456"/>
                  </a:lnTo>
                  <a:lnTo>
                    <a:pt x="162" y="456"/>
                  </a:lnTo>
                  <a:lnTo>
                    <a:pt x="162" y="458"/>
                  </a:lnTo>
                  <a:lnTo>
                    <a:pt x="160" y="458"/>
                  </a:lnTo>
                  <a:lnTo>
                    <a:pt x="160" y="460"/>
                  </a:lnTo>
                  <a:lnTo>
                    <a:pt x="160" y="462"/>
                  </a:lnTo>
                  <a:lnTo>
                    <a:pt x="160" y="464"/>
                  </a:lnTo>
                  <a:lnTo>
                    <a:pt x="160" y="464"/>
                  </a:lnTo>
                  <a:lnTo>
                    <a:pt x="158" y="466"/>
                  </a:lnTo>
                  <a:lnTo>
                    <a:pt x="158" y="466"/>
                  </a:lnTo>
                  <a:lnTo>
                    <a:pt x="158" y="466"/>
                  </a:lnTo>
                  <a:lnTo>
                    <a:pt x="158" y="466"/>
                  </a:lnTo>
                  <a:lnTo>
                    <a:pt x="156" y="466"/>
                  </a:lnTo>
                  <a:lnTo>
                    <a:pt x="156" y="466"/>
                  </a:lnTo>
                  <a:lnTo>
                    <a:pt x="156" y="466"/>
                  </a:lnTo>
                  <a:lnTo>
                    <a:pt x="154" y="466"/>
                  </a:lnTo>
                  <a:lnTo>
                    <a:pt x="152" y="466"/>
                  </a:lnTo>
                  <a:lnTo>
                    <a:pt x="150" y="464"/>
                  </a:lnTo>
                  <a:lnTo>
                    <a:pt x="148" y="464"/>
                  </a:lnTo>
                  <a:lnTo>
                    <a:pt x="146" y="462"/>
                  </a:lnTo>
                  <a:lnTo>
                    <a:pt x="142" y="460"/>
                  </a:lnTo>
                  <a:lnTo>
                    <a:pt x="140" y="458"/>
                  </a:lnTo>
                  <a:lnTo>
                    <a:pt x="140" y="456"/>
                  </a:lnTo>
                  <a:lnTo>
                    <a:pt x="136" y="454"/>
                  </a:lnTo>
                  <a:lnTo>
                    <a:pt x="134" y="452"/>
                  </a:lnTo>
                  <a:lnTo>
                    <a:pt x="132" y="450"/>
                  </a:lnTo>
                  <a:lnTo>
                    <a:pt x="132" y="448"/>
                  </a:lnTo>
                  <a:lnTo>
                    <a:pt x="130" y="448"/>
                  </a:lnTo>
                  <a:lnTo>
                    <a:pt x="130" y="448"/>
                  </a:lnTo>
                  <a:lnTo>
                    <a:pt x="130" y="448"/>
                  </a:lnTo>
                  <a:lnTo>
                    <a:pt x="128" y="448"/>
                  </a:lnTo>
                  <a:lnTo>
                    <a:pt x="126" y="446"/>
                  </a:lnTo>
                  <a:lnTo>
                    <a:pt x="124" y="446"/>
                  </a:lnTo>
                  <a:lnTo>
                    <a:pt x="120" y="446"/>
                  </a:lnTo>
                  <a:lnTo>
                    <a:pt x="116" y="446"/>
                  </a:lnTo>
                  <a:lnTo>
                    <a:pt x="114" y="446"/>
                  </a:lnTo>
                  <a:lnTo>
                    <a:pt x="112" y="446"/>
                  </a:lnTo>
                  <a:lnTo>
                    <a:pt x="108" y="442"/>
                  </a:lnTo>
                  <a:lnTo>
                    <a:pt x="106" y="440"/>
                  </a:lnTo>
                  <a:lnTo>
                    <a:pt x="104" y="438"/>
                  </a:lnTo>
                  <a:lnTo>
                    <a:pt x="102" y="436"/>
                  </a:lnTo>
                  <a:lnTo>
                    <a:pt x="100" y="434"/>
                  </a:lnTo>
                  <a:lnTo>
                    <a:pt x="100" y="434"/>
                  </a:lnTo>
                  <a:lnTo>
                    <a:pt x="98" y="434"/>
                  </a:lnTo>
                  <a:lnTo>
                    <a:pt x="96" y="434"/>
                  </a:lnTo>
                  <a:lnTo>
                    <a:pt x="92" y="434"/>
                  </a:lnTo>
                  <a:lnTo>
                    <a:pt x="90" y="432"/>
                  </a:lnTo>
                  <a:lnTo>
                    <a:pt x="86" y="432"/>
                  </a:lnTo>
                  <a:lnTo>
                    <a:pt x="84" y="432"/>
                  </a:lnTo>
                  <a:lnTo>
                    <a:pt x="82" y="432"/>
                  </a:lnTo>
                  <a:lnTo>
                    <a:pt x="82" y="432"/>
                  </a:lnTo>
                  <a:lnTo>
                    <a:pt x="80" y="430"/>
                  </a:lnTo>
                  <a:lnTo>
                    <a:pt x="80" y="430"/>
                  </a:lnTo>
                  <a:lnTo>
                    <a:pt x="78" y="428"/>
                  </a:lnTo>
                  <a:lnTo>
                    <a:pt x="78" y="428"/>
                  </a:lnTo>
                  <a:lnTo>
                    <a:pt x="78" y="426"/>
                  </a:lnTo>
                  <a:lnTo>
                    <a:pt x="78" y="424"/>
                  </a:lnTo>
                  <a:lnTo>
                    <a:pt x="78" y="422"/>
                  </a:lnTo>
                  <a:lnTo>
                    <a:pt x="78" y="422"/>
                  </a:lnTo>
                  <a:lnTo>
                    <a:pt x="78" y="418"/>
                  </a:lnTo>
                  <a:lnTo>
                    <a:pt x="80" y="414"/>
                  </a:lnTo>
                  <a:lnTo>
                    <a:pt x="80" y="410"/>
                  </a:lnTo>
                  <a:lnTo>
                    <a:pt x="80" y="408"/>
                  </a:lnTo>
                  <a:lnTo>
                    <a:pt x="80" y="406"/>
                  </a:lnTo>
                  <a:lnTo>
                    <a:pt x="80" y="406"/>
                  </a:lnTo>
                  <a:lnTo>
                    <a:pt x="80" y="404"/>
                  </a:lnTo>
                  <a:lnTo>
                    <a:pt x="78" y="402"/>
                  </a:lnTo>
                  <a:lnTo>
                    <a:pt x="78" y="402"/>
                  </a:lnTo>
                  <a:lnTo>
                    <a:pt x="76" y="400"/>
                  </a:lnTo>
                  <a:lnTo>
                    <a:pt x="74" y="398"/>
                  </a:lnTo>
                  <a:lnTo>
                    <a:pt x="72" y="398"/>
                  </a:lnTo>
                  <a:lnTo>
                    <a:pt x="72" y="396"/>
                  </a:lnTo>
                  <a:lnTo>
                    <a:pt x="70" y="396"/>
                  </a:lnTo>
                  <a:lnTo>
                    <a:pt x="68" y="396"/>
                  </a:lnTo>
                  <a:lnTo>
                    <a:pt x="66" y="394"/>
                  </a:lnTo>
                  <a:lnTo>
                    <a:pt x="64" y="394"/>
                  </a:lnTo>
                  <a:lnTo>
                    <a:pt x="62" y="394"/>
                  </a:lnTo>
                  <a:lnTo>
                    <a:pt x="60" y="394"/>
                  </a:lnTo>
                  <a:lnTo>
                    <a:pt x="58" y="394"/>
                  </a:lnTo>
                  <a:lnTo>
                    <a:pt x="56" y="394"/>
                  </a:lnTo>
                  <a:lnTo>
                    <a:pt x="54" y="394"/>
                  </a:lnTo>
                  <a:lnTo>
                    <a:pt x="52" y="394"/>
                  </a:lnTo>
                  <a:lnTo>
                    <a:pt x="50" y="394"/>
                  </a:lnTo>
                  <a:lnTo>
                    <a:pt x="50" y="394"/>
                  </a:lnTo>
                  <a:lnTo>
                    <a:pt x="46" y="396"/>
                  </a:lnTo>
                  <a:lnTo>
                    <a:pt x="42" y="398"/>
                  </a:lnTo>
                  <a:lnTo>
                    <a:pt x="40" y="400"/>
                  </a:lnTo>
                  <a:lnTo>
                    <a:pt x="34" y="404"/>
                  </a:lnTo>
                  <a:lnTo>
                    <a:pt x="32" y="406"/>
                  </a:lnTo>
                  <a:lnTo>
                    <a:pt x="30" y="406"/>
                  </a:lnTo>
                  <a:lnTo>
                    <a:pt x="26" y="402"/>
                  </a:lnTo>
                  <a:lnTo>
                    <a:pt x="22" y="402"/>
                  </a:lnTo>
                  <a:lnTo>
                    <a:pt x="20" y="400"/>
                  </a:lnTo>
                  <a:lnTo>
                    <a:pt x="18" y="398"/>
                  </a:lnTo>
                  <a:lnTo>
                    <a:pt x="18" y="398"/>
                  </a:lnTo>
                  <a:lnTo>
                    <a:pt x="18" y="396"/>
                  </a:lnTo>
                  <a:lnTo>
                    <a:pt x="18" y="396"/>
                  </a:lnTo>
                  <a:lnTo>
                    <a:pt x="18" y="394"/>
                  </a:lnTo>
                  <a:lnTo>
                    <a:pt x="18" y="394"/>
                  </a:lnTo>
                  <a:lnTo>
                    <a:pt x="18" y="392"/>
                  </a:lnTo>
                  <a:lnTo>
                    <a:pt x="18" y="390"/>
                  </a:lnTo>
                  <a:lnTo>
                    <a:pt x="18" y="386"/>
                  </a:lnTo>
                  <a:lnTo>
                    <a:pt x="18" y="384"/>
                  </a:lnTo>
                  <a:lnTo>
                    <a:pt x="20" y="380"/>
                  </a:lnTo>
                  <a:lnTo>
                    <a:pt x="20" y="378"/>
                  </a:lnTo>
                  <a:lnTo>
                    <a:pt x="20" y="378"/>
                  </a:lnTo>
                  <a:lnTo>
                    <a:pt x="20" y="376"/>
                  </a:lnTo>
                  <a:lnTo>
                    <a:pt x="18" y="376"/>
                  </a:lnTo>
                  <a:lnTo>
                    <a:pt x="18" y="374"/>
                  </a:lnTo>
                  <a:lnTo>
                    <a:pt x="16" y="372"/>
                  </a:lnTo>
                  <a:lnTo>
                    <a:pt x="14" y="370"/>
                  </a:lnTo>
                  <a:lnTo>
                    <a:pt x="12" y="368"/>
                  </a:lnTo>
                  <a:lnTo>
                    <a:pt x="12" y="368"/>
                  </a:lnTo>
                  <a:lnTo>
                    <a:pt x="12" y="366"/>
                  </a:lnTo>
                  <a:lnTo>
                    <a:pt x="12" y="366"/>
                  </a:lnTo>
                  <a:lnTo>
                    <a:pt x="12" y="366"/>
                  </a:lnTo>
                  <a:lnTo>
                    <a:pt x="12" y="364"/>
                  </a:lnTo>
                  <a:lnTo>
                    <a:pt x="12" y="362"/>
                  </a:lnTo>
                  <a:lnTo>
                    <a:pt x="12" y="360"/>
                  </a:lnTo>
                  <a:lnTo>
                    <a:pt x="12" y="358"/>
                  </a:lnTo>
                  <a:lnTo>
                    <a:pt x="14" y="354"/>
                  </a:lnTo>
                  <a:lnTo>
                    <a:pt x="14" y="352"/>
                  </a:lnTo>
                  <a:lnTo>
                    <a:pt x="18" y="328"/>
                  </a:lnTo>
                  <a:lnTo>
                    <a:pt x="18" y="328"/>
                  </a:lnTo>
                  <a:lnTo>
                    <a:pt x="18" y="326"/>
                  </a:lnTo>
                  <a:lnTo>
                    <a:pt x="18" y="322"/>
                  </a:lnTo>
                  <a:lnTo>
                    <a:pt x="20" y="320"/>
                  </a:lnTo>
                  <a:lnTo>
                    <a:pt x="20" y="318"/>
                  </a:lnTo>
                  <a:lnTo>
                    <a:pt x="18" y="318"/>
                  </a:lnTo>
                  <a:lnTo>
                    <a:pt x="18" y="316"/>
                  </a:lnTo>
                  <a:lnTo>
                    <a:pt x="18" y="316"/>
                  </a:lnTo>
                  <a:lnTo>
                    <a:pt x="18" y="316"/>
                  </a:lnTo>
                  <a:lnTo>
                    <a:pt x="18" y="316"/>
                  </a:lnTo>
                  <a:lnTo>
                    <a:pt x="18" y="316"/>
                  </a:lnTo>
                  <a:lnTo>
                    <a:pt x="16" y="316"/>
                  </a:lnTo>
                  <a:lnTo>
                    <a:pt x="16" y="318"/>
                  </a:lnTo>
                  <a:lnTo>
                    <a:pt x="16" y="318"/>
                  </a:lnTo>
                  <a:lnTo>
                    <a:pt x="16" y="318"/>
                  </a:lnTo>
                  <a:lnTo>
                    <a:pt x="14" y="318"/>
                  </a:lnTo>
                  <a:lnTo>
                    <a:pt x="14" y="318"/>
                  </a:lnTo>
                  <a:lnTo>
                    <a:pt x="12" y="316"/>
                  </a:lnTo>
                  <a:lnTo>
                    <a:pt x="8" y="316"/>
                  </a:lnTo>
                  <a:lnTo>
                    <a:pt x="6" y="314"/>
                  </a:lnTo>
                  <a:lnTo>
                    <a:pt x="4" y="312"/>
                  </a:lnTo>
                  <a:lnTo>
                    <a:pt x="2" y="312"/>
                  </a:lnTo>
                  <a:lnTo>
                    <a:pt x="2" y="310"/>
                  </a:lnTo>
                  <a:lnTo>
                    <a:pt x="0" y="308"/>
                  </a:lnTo>
                  <a:lnTo>
                    <a:pt x="0" y="308"/>
                  </a:lnTo>
                  <a:lnTo>
                    <a:pt x="0" y="306"/>
                  </a:lnTo>
                  <a:lnTo>
                    <a:pt x="0" y="306"/>
                  </a:lnTo>
                  <a:lnTo>
                    <a:pt x="0" y="304"/>
                  </a:lnTo>
                  <a:lnTo>
                    <a:pt x="0" y="302"/>
                  </a:lnTo>
                  <a:lnTo>
                    <a:pt x="0" y="300"/>
                  </a:lnTo>
                  <a:lnTo>
                    <a:pt x="0" y="296"/>
                  </a:lnTo>
                  <a:lnTo>
                    <a:pt x="0" y="292"/>
                  </a:lnTo>
                  <a:lnTo>
                    <a:pt x="0" y="290"/>
                  </a:lnTo>
                  <a:lnTo>
                    <a:pt x="2" y="288"/>
                  </a:lnTo>
                  <a:lnTo>
                    <a:pt x="2" y="284"/>
                  </a:lnTo>
                  <a:lnTo>
                    <a:pt x="4" y="284"/>
                  </a:lnTo>
                  <a:lnTo>
                    <a:pt x="4" y="282"/>
                  </a:lnTo>
                  <a:lnTo>
                    <a:pt x="6" y="280"/>
                  </a:lnTo>
                  <a:lnTo>
                    <a:pt x="8" y="280"/>
                  </a:lnTo>
                  <a:lnTo>
                    <a:pt x="10" y="278"/>
                  </a:lnTo>
                  <a:lnTo>
                    <a:pt x="10" y="278"/>
                  </a:lnTo>
                  <a:lnTo>
                    <a:pt x="12" y="276"/>
                  </a:lnTo>
                  <a:lnTo>
                    <a:pt x="14" y="276"/>
                  </a:lnTo>
                  <a:lnTo>
                    <a:pt x="14" y="276"/>
                  </a:lnTo>
                  <a:lnTo>
                    <a:pt x="16" y="276"/>
                  </a:lnTo>
                  <a:lnTo>
                    <a:pt x="16" y="276"/>
                  </a:lnTo>
                  <a:lnTo>
                    <a:pt x="18" y="278"/>
                  </a:lnTo>
                  <a:lnTo>
                    <a:pt x="20" y="278"/>
                  </a:lnTo>
                  <a:lnTo>
                    <a:pt x="22" y="280"/>
                  </a:lnTo>
                  <a:lnTo>
                    <a:pt x="24" y="280"/>
                  </a:lnTo>
                  <a:lnTo>
                    <a:pt x="26" y="284"/>
                  </a:lnTo>
                  <a:lnTo>
                    <a:pt x="30" y="286"/>
                  </a:lnTo>
                  <a:lnTo>
                    <a:pt x="32" y="288"/>
                  </a:lnTo>
                  <a:lnTo>
                    <a:pt x="36" y="290"/>
                  </a:lnTo>
                  <a:lnTo>
                    <a:pt x="36" y="290"/>
                  </a:lnTo>
                  <a:lnTo>
                    <a:pt x="38" y="288"/>
                  </a:lnTo>
                  <a:lnTo>
                    <a:pt x="40" y="284"/>
                  </a:lnTo>
                  <a:lnTo>
                    <a:pt x="42" y="284"/>
                  </a:lnTo>
                  <a:lnTo>
                    <a:pt x="42" y="282"/>
                  </a:lnTo>
                  <a:lnTo>
                    <a:pt x="42" y="282"/>
                  </a:lnTo>
                  <a:lnTo>
                    <a:pt x="42" y="280"/>
                  </a:lnTo>
                  <a:lnTo>
                    <a:pt x="40" y="278"/>
                  </a:lnTo>
                  <a:lnTo>
                    <a:pt x="40" y="276"/>
                  </a:lnTo>
                  <a:lnTo>
                    <a:pt x="40" y="276"/>
                  </a:lnTo>
                  <a:lnTo>
                    <a:pt x="40" y="274"/>
                  </a:lnTo>
                  <a:lnTo>
                    <a:pt x="40" y="274"/>
                  </a:lnTo>
                  <a:lnTo>
                    <a:pt x="40" y="274"/>
                  </a:lnTo>
                  <a:lnTo>
                    <a:pt x="42" y="272"/>
                  </a:lnTo>
                  <a:lnTo>
                    <a:pt x="42" y="272"/>
                  </a:lnTo>
                  <a:lnTo>
                    <a:pt x="44" y="272"/>
                  </a:lnTo>
                  <a:lnTo>
                    <a:pt x="46" y="272"/>
                  </a:lnTo>
                  <a:lnTo>
                    <a:pt x="46" y="270"/>
                  </a:lnTo>
                  <a:lnTo>
                    <a:pt x="48" y="270"/>
                  </a:lnTo>
                  <a:lnTo>
                    <a:pt x="52" y="270"/>
                  </a:lnTo>
                  <a:lnTo>
                    <a:pt x="56" y="270"/>
                  </a:lnTo>
                  <a:lnTo>
                    <a:pt x="60" y="270"/>
                  </a:lnTo>
                  <a:lnTo>
                    <a:pt x="62" y="270"/>
                  </a:lnTo>
                  <a:lnTo>
                    <a:pt x="64" y="270"/>
                  </a:lnTo>
                  <a:lnTo>
                    <a:pt x="64" y="270"/>
                  </a:lnTo>
                  <a:lnTo>
                    <a:pt x="66" y="268"/>
                  </a:lnTo>
                  <a:lnTo>
                    <a:pt x="66" y="268"/>
                  </a:lnTo>
                  <a:lnTo>
                    <a:pt x="66" y="266"/>
                  </a:lnTo>
                  <a:lnTo>
                    <a:pt x="68" y="264"/>
                  </a:lnTo>
                  <a:lnTo>
                    <a:pt x="70" y="262"/>
                  </a:lnTo>
                  <a:lnTo>
                    <a:pt x="70" y="260"/>
                  </a:lnTo>
                  <a:lnTo>
                    <a:pt x="70" y="260"/>
                  </a:lnTo>
                  <a:lnTo>
                    <a:pt x="72" y="260"/>
                  </a:lnTo>
                  <a:lnTo>
                    <a:pt x="74" y="258"/>
                  </a:lnTo>
                  <a:lnTo>
                    <a:pt x="76" y="258"/>
                  </a:lnTo>
                  <a:lnTo>
                    <a:pt x="78" y="256"/>
                  </a:lnTo>
                  <a:lnTo>
                    <a:pt x="80" y="256"/>
                  </a:lnTo>
                  <a:lnTo>
                    <a:pt x="82" y="256"/>
                  </a:lnTo>
                  <a:lnTo>
                    <a:pt x="82" y="256"/>
                  </a:lnTo>
                  <a:lnTo>
                    <a:pt x="82" y="254"/>
                  </a:lnTo>
                  <a:lnTo>
                    <a:pt x="82" y="252"/>
                  </a:lnTo>
                  <a:lnTo>
                    <a:pt x="84" y="250"/>
                  </a:lnTo>
                  <a:lnTo>
                    <a:pt x="84" y="248"/>
                  </a:lnTo>
                  <a:lnTo>
                    <a:pt x="86" y="246"/>
                  </a:lnTo>
                  <a:lnTo>
                    <a:pt x="86" y="244"/>
                  </a:lnTo>
                  <a:lnTo>
                    <a:pt x="86" y="240"/>
                  </a:lnTo>
                  <a:lnTo>
                    <a:pt x="86" y="238"/>
                  </a:lnTo>
                  <a:lnTo>
                    <a:pt x="86" y="234"/>
                  </a:lnTo>
                  <a:lnTo>
                    <a:pt x="86" y="232"/>
                  </a:lnTo>
                  <a:lnTo>
                    <a:pt x="86" y="228"/>
                  </a:lnTo>
                  <a:lnTo>
                    <a:pt x="86" y="226"/>
                  </a:lnTo>
                  <a:lnTo>
                    <a:pt x="86" y="224"/>
                  </a:lnTo>
                  <a:lnTo>
                    <a:pt x="86" y="220"/>
                  </a:lnTo>
                  <a:lnTo>
                    <a:pt x="84" y="218"/>
                  </a:lnTo>
                  <a:lnTo>
                    <a:pt x="84" y="216"/>
                  </a:lnTo>
                  <a:lnTo>
                    <a:pt x="84" y="214"/>
                  </a:lnTo>
                  <a:lnTo>
                    <a:pt x="82" y="214"/>
                  </a:lnTo>
                  <a:lnTo>
                    <a:pt x="82" y="214"/>
                  </a:lnTo>
                  <a:lnTo>
                    <a:pt x="80" y="212"/>
                  </a:lnTo>
                  <a:lnTo>
                    <a:pt x="80" y="212"/>
                  </a:lnTo>
                  <a:lnTo>
                    <a:pt x="78" y="212"/>
                  </a:lnTo>
                  <a:lnTo>
                    <a:pt x="76" y="212"/>
                  </a:lnTo>
                  <a:lnTo>
                    <a:pt x="74" y="212"/>
                  </a:lnTo>
                  <a:lnTo>
                    <a:pt x="74" y="210"/>
                  </a:lnTo>
                  <a:lnTo>
                    <a:pt x="72" y="210"/>
                  </a:lnTo>
                  <a:lnTo>
                    <a:pt x="72" y="210"/>
                  </a:lnTo>
                  <a:lnTo>
                    <a:pt x="72" y="210"/>
                  </a:lnTo>
                  <a:lnTo>
                    <a:pt x="72" y="208"/>
                  </a:lnTo>
                  <a:lnTo>
                    <a:pt x="72" y="208"/>
                  </a:lnTo>
                  <a:lnTo>
                    <a:pt x="72" y="206"/>
                  </a:lnTo>
                  <a:lnTo>
                    <a:pt x="72" y="206"/>
                  </a:lnTo>
                  <a:lnTo>
                    <a:pt x="74" y="204"/>
                  </a:lnTo>
                  <a:lnTo>
                    <a:pt x="74" y="202"/>
                  </a:lnTo>
                  <a:lnTo>
                    <a:pt x="74" y="202"/>
                  </a:lnTo>
                  <a:lnTo>
                    <a:pt x="76" y="200"/>
                  </a:lnTo>
                  <a:lnTo>
                    <a:pt x="76" y="200"/>
                  </a:lnTo>
                  <a:lnTo>
                    <a:pt x="78" y="198"/>
                  </a:lnTo>
                  <a:lnTo>
                    <a:pt x="80" y="198"/>
                  </a:lnTo>
                  <a:lnTo>
                    <a:pt x="82" y="198"/>
                  </a:lnTo>
                  <a:lnTo>
                    <a:pt x="84" y="198"/>
                  </a:lnTo>
                  <a:lnTo>
                    <a:pt x="88" y="196"/>
                  </a:lnTo>
                  <a:lnTo>
                    <a:pt x="94" y="196"/>
                  </a:lnTo>
                  <a:lnTo>
                    <a:pt x="98" y="196"/>
                  </a:lnTo>
                  <a:lnTo>
                    <a:pt x="102" y="196"/>
                  </a:lnTo>
                  <a:lnTo>
                    <a:pt x="106" y="196"/>
                  </a:lnTo>
                  <a:lnTo>
                    <a:pt x="108" y="192"/>
                  </a:lnTo>
                  <a:lnTo>
                    <a:pt x="110" y="190"/>
                  </a:lnTo>
                  <a:lnTo>
                    <a:pt x="110" y="190"/>
                  </a:lnTo>
                  <a:lnTo>
                    <a:pt x="110" y="188"/>
                  </a:lnTo>
                  <a:lnTo>
                    <a:pt x="112" y="186"/>
                  </a:lnTo>
                  <a:lnTo>
                    <a:pt x="112" y="186"/>
                  </a:lnTo>
                  <a:lnTo>
                    <a:pt x="112" y="184"/>
                  </a:lnTo>
                  <a:lnTo>
                    <a:pt x="112" y="180"/>
                  </a:lnTo>
                  <a:lnTo>
                    <a:pt x="112" y="178"/>
                  </a:lnTo>
                  <a:lnTo>
                    <a:pt x="110" y="174"/>
                  </a:lnTo>
                  <a:lnTo>
                    <a:pt x="110" y="172"/>
                  </a:lnTo>
                  <a:lnTo>
                    <a:pt x="112" y="170"/>
                  </a:lnTo>
                  <a:lnTo>
                    <a:pt x="112" y="170"/>
                  </a:lnTo>
                  <a:lnTo>
                    <a:pt x="112" y="168"/>
                  </a:lnTo>
                  <a:lnTo>
                    <a:pt x="112" y="168"/>
                  </a:lnTo>
                  <a:lnTo>
                    <a:pt x="112" y="168"/>
                  </a:lnTo>
                  <a:lnTo>
                    <a:pt x="114" y="166"/>
                  </a:lnTo>
                  <a:lnTo>
                    <a:pt x="114" y="166"/>
                  </a:lnTo>
                  <a:lnTo>
                    <a:pt x="116" y="164"/>
                  </a:lnTo>
                  <a:lnTo>
                    <a:pt x="118" y="162"/>
                  </a:lnTo>
                  <a:lnTo>
                    <a:pt x="122" y="162"/>
                  </a:lnTo>
                  <a:lnTo>
                    <a:pt x="124" y="162"/>
                  </a:lnTo>
                  <a:lnTo>
                    <a:pt x="126" y="160"/>
                  </a:lnTo>
                  <a:lnTo>
                    <a:pt x="128" y="160"/>
                  </a:lnTo>
                  <a:lnTo>
                    <a:pt x="128" y="160"/>
                  </a:lnTo>
                  <a:lnTo>
                    <a:pt x="130" y="160"/>
                  </a:lnTo>
                  <a:lnTo>
                    <a:pt x="132" y="162"/>
                  </a:lnTo>
                  <a:lnTo>
                    <a:pt x="134" y="162"/>
                  </a:lnTo>
                  <a:lnTo>
                    <a:pt x="136" y="164"/>
                  </a:lnTo>
                  <a:lnTo>
                    <a:pt x="138" y="164"/>
                  </a:lnTo>
                  <a:lnTo>
                    <a:pt x="142" y="166"/>
                  </a:lnTo>
                  <a:lnTo>
                    <a:pt x="142" y="166"/>
                  </a:lnTo>
                  <a:lnTo>
                    <a:pt x="144" y="166"/>
                  </a:lnTo>
                  <a:lnTo>
                    <a:pt x="144" y="166"/>
                  </a:lnTo>
                  <a:lnTo>
                    <a:pt x="144" y="166"/>
                  </a:lnTo>
                  <a:lnTo>
                    <a:pt x="146" y="164"/>
                  </a:lnTo>
                  <a:lnTo>
                    <a:pt x="146" y="164"/>
                  </a:lnTo>
                  <a:lnTo>
                    <a:pt x="146" y="164"/>
                  </a:lnTo>
                  <a:lnTo>
                    <a:pt x="146" y="162"/>
                  </a:lnTo>
                  <a:lnTo>
                    <a:pt x="148" y="162"/>
                  </a:lnTo>
                  <a:lnTo>
                    <a:pt x="148" y="160"/>
                  </a:lnTo>
                  <a:lnTo>
                    <a:pt x="148" y="158"/>
                  </a:lnTo>
                  <a:lnTo>
                    <a:pt x="148" y="156"/>
                  </a:lnTo>
                  <a:lnTo>
                    <a:pt x="150" y="150"/>
                  </a:lnTo>
                  <a:lnTo>
                    <a:pt x="150" y="146"/>
                  </a:lnTo>
                  <a:lnTo>
                    <a:pt x="150" y="140"/>
                  </a:lnTo>
                  <a:lnTo>
                    <a:pt x="150" y="138"/>
                  </a:lnTo>
                  <a:lnTo>
                    <a:pt x="150" y="136"/>
                  </a:lnTo>
                  <a:lnTo>
                    <a:pt x="150" y="134"/>
                  </a:lnTo>
                  <a:lnTo>
                    <a:pt x="152" y="132"/>
                  </a:lnTo>
                  <a:lnTo>
                    <a:pt x="152" y="132"/>
                  </a:lnTo>
                  <a:lnTo>
                    <a:pt x="152" y="130"/>
                  </a:lnTo>
                  <a:lnTo>
                    <a:pt x="154" y="128"/>
                  </a:lnTo>
                  <a:lnTo>
                    <a:pt x="156" y="126"/>
                  </a:lnTo>
                  <a:lnTo>
                    <a:pt x="158" y="126"/>
                  </a:lnTo>
                  <a:lnTo>
                    <a:pt x="158" y="126"/>
                  </a:lnTo>
                  <a:lnTo>
                    <a:pt x="160" y="124"/>
                  </a:lnTo>
                  <a:lnTo>
                    <a:pt x="162" y="124"/>
                  </a:lnTo>
                  <a:lnTo>
                    <a:pt x="164" y="124"/>
                  </a:lnTo>
                  <a:lnTo>
                    <a:pt x="166" y="124"/>
                  </a:lnTo>
                  <a:lnTo>
                    <a:pt x="168" y="124"/>
                  </a:lnTo>
                  <a:lnTo>
                    <a:pt x="170" y="124"/>
                  </a:lnTo>
                  <a:lnTo>
                    <a:pt x="170" y="122"/>
                  </a:lnTo>
                  <a:lnTo>
                    <a:pt x="170" y="122"/>
                  </a:lnTo>
                  <a:lnTo>
                    <a:pt x="170" y="122"/>
                  </a:lnTo>
                  <a:lnTo>
                    <a:pt x="170" y="122"/>
                  </a:lnTo>
                  <a:lnTo>
                    <a:pt x="172" y="120"/>
                  </a:lnTo>
                  <a:lnTo>
                    <a:pt x="172" y="118"/>
                  </a:lnTo>
                  <a:lnTo>
                    <a:pt x="172" y="118"/>
                  </a:lnTo>
                  <a:lnTo>
                    <a:pt x="172" y="114"/>
                  </a:lnTo>
                  <a:lnTo>
                    <a:pt x="174" y="112"/>
                  </a:lnTo>
                  <a:lnTo>
                    <a:pt x="174" y="112"/>
                  </a:lnTo>
                  <a:lnTo>
                    <a:pt x="174" y="110"/>
                  </a:lnTo>
                  <a:lnTo>
                    <a:pt x="176" y="110"/>
                  </a:lnTo>
                  <a:lnTo>
                    <a:pt x="178" y="108"/>
                  </a:lnTo>
                  <a:lnTo>
                    <a:pt x="182" y="106"/>
                  </a:lnTo>
                  <a:lnTo>
                    <a:pt x="182" y="104"/>
                  </a:lnTo>
                  <a:lnTo>
                    <a:pt x="186" y="110"/>
                  </a:lnTo>
                  <a:lnTo>
                    <a:pt x="188" y="114"/>
                  </a:lnTo>
                  <a:lnTo>
                    <a:pt x="190" y="114"/>
                  </a:lnTo>
                  <a:lnTo>
                    <a:pt x="190" y="116"/>
                  </a:lnTo>
                  <a:lnTo>
                    <a:pt x="192" y="116"/>
                  </a:lnTo>
                  <a:lnTo>
                    <a:pt x="192" y="118"/>
                  </a:lnTo>
                  <a:lnTo>
                    <a:pt x="194" y="118"/>
                  </a:lnTo>
                  <a:lnTo>
                    <a:pt x="198" y="120"/>
                  </a:lnTo>
                  <a:lnTo>
                    <a:pt x="202" y="122"/>
                  </a:lnTo>
                  <a:lnTo>
                    <a:pt x="204" y="122"/>
                  </a:lnTo>
                  <a:lnTo>
                    <a:pt x="208" y="124"/>
                  </a:lnTo>
                  <a:lnTo>
                    <a:pt x="208" y="124"/>
                  </a:lnTo>
                  <a:lnTo>
                    <a:pt x="210" y="126"/>
                  </a:lnTo>
                  <a:lnTo>
                    <a:pt x="210" y="126"/>
                  </a:lnTo>
                  <a:lnTo>
                    <a:pt x="212" y="128"/>
                  </a:lnTo>
                  <a:lnTo>
                    <a:pt x="212" y="128"/>
                  </a:lnTo>
                  <a:lnTo>
                    <a:pt x="212" y="128"/>
                  </a:lnTo>
                  <a:lnTo>
                    <a:pt x="214" y="130"/>
                  </a:lnTo>
                  <a:lnTo>
                    <a:pt x="214" y="132"/>
                  </a:lnTo>
                  <a:lnTo>
                    <a:pt x="214" y="134"/>
                  </a:lnTo>
                  <a:lnTo>
                    <a:pt x="216" y="140"/>
                  </a:lnTo>
                  <a:lnTo>
                    <a:pt x="216" y="142"/>
                  </a:lnTo>
                  <a:lnTo>
                    <a:pt x="216" y="144"/>
                  </a:lnTo>
                  <a:lnTo>
                    <a:pt x="218" y="146"/>
                  </a:lnTo>
                  <a:lnTo>
                    <a:pt x="218" y="150"/>
                  </a:lnTo>
                  <a:lnTo>
                    <a:pt x="220" y="152"/>
                  </a:lnTo>
                  <a:lnTo>
                    <a:pt x="220" y="156"/>
                  </a:lnTo>
                  <a:lnTo>
                    <a:pt x="222" y="160"/>
                  </a:lnTo>
                  <a:lnTo>
                    <a:pt x="224" y="162"/>
                  </a:lnTo>
                  <a:lnTo>
                    <a:pt x="224" y="164"/>
                  </a:lnTo>
                  <a:lnTo>
                    <a:pt x="224" y="166"/>
                  </a:lnTo>
                  <a:lnTo>
                    <a:pt x="226" y="166"/>
                  </a:lnTo>
                  <a:lnTo>
                    <a:pt x="226" y="168"/>
                  </a:lnTo>
                  <a:lnTo>
                    <a:pt x="228" y="168"/>
                  </a:lnTo>
                  <a:lnTo>
                    <a:pt x="230" y="170"/>
                  </a:lnTo>
                  <a:lnTo>
                    <a:pt x="232" y="170"/>
                  </a:lnTo>
                  <a:lnTo>
                    <a:pt x="234" y="170"/>
                  </a:lnTo>
                  <a:lnTo>
                    <a:pt x="236" y="170"/>
                  </a:lnTo>
                  <a:lnTo>
                    <a:pt x="238" y="172"/>
                  </a:lnTo>
                  <a:lnTo>
                    <a:pt x="242" y="172"/>
                  </a:lnTo>
                  <a:lnTo>
                    <a:pt x="252" y="172"/>
                  </a:lnTo>
                  <a:lnTo>
                    <a:pt x="256" y="174"/>
                  </a:lnTo>
                  <a:lnTo>
                    <a:pt x="260" y="174"/>
                  </a:lnTo>
                  <a:lnTo>
                    <a:pt x="268" y="176"/>
                  </a:lnTo>
                  <a:lnTo>
                    <a:pt x="272" y="176"/>
                  </a:lnTo>
                  <a:lnTo>
                    <a:pt x="274" y="178"/>
                  </a:lnTo>
                  <a:lnTo>
                    <a:pt x="278" y="180"/>
                  </a:lnTo>
                  <a:lnTo>
                    <a:pt x="284" y="182"/>
                  </a:lnTo>
                  <a:lnTo>
                    <a:pt x="286" y="182"/>
                  </a:lnTo>
                  <a:lnTo>
                    <a:pt x="288" y="184"/>
                  </a:lnTo>
                  <a:lnTo>
                    <a:pt x="290" y="184"/>
                  </a:lnTo>
                  <a:lnTo>
                    <a:pt x="290" y="186"/>
                  </a:lnTo>
                  <a:lnTo>
                    <a:pt x="292" y="186"/>
                  </a:lnTo>
                  <a:lnTo>
                    <a:pt x="292" y="188"/>
                  </a:lnTo>
                  <a:lnTo>
                    <a:pt x="294" y="190"/>
                  </a:lnTo>
                  <a:lnTo>
                    <a:pt x="294" y="192"/>
                  </a:lnTo>
                  <a:lnTo>
                    <a:pt x="296" y="194"/>
                  </a:lnTo>
                  <a:lnTo>
                    <a:pt x="298" y="200"/>
                  </a:lnTo>
                  <a:lnTo>
                    <a:pt x="300" y="202"/>
                  </a:lnTo>
                  <a:lnTo>
                    <a:pt x="300" y="204"/>
                  </a:lnTo>
                  <a:lnTo>
                    <a:pt x="302" y="206"/>
                  </a:lnTo>
                  <a:lnTo>
                    <a:pt x="306" y="210"/>
                  </a:lnTo>
                  <a:lnTo>
                    <a:pt x="306" y="210"/>
                  </a:lnTo>
                  <a:lnTo>
                    <a:pt x="308" y="212"/>
                  </a:lnTo>
                  <a:lnTo>
                    <a:pt x="310" y="214"/>
                  </a:lnTo>
                  <a:lnTo>
                    <a:pt x="312" y="214"/>
                  </a:lnTo>
                  <a:lnTo>
                    <a:pt x="312" y="214"/>
                  </a:lnTo>
                  <a:lnTo>
                    <a:pt x="314" y="216"/>
                  </a:lnTo>
                  <a:lnTo>
                    <a:pt x="316" y="216"/>
                  </a:lnTo>
                  <a:lnTo>
                    <a:pt x="318" y="216"/>
                  </a:lnTo>
                  <a:lnTo>
                    <a:pt x="324" y="218"/>
                  </a:lnTo>
                  <a:lnTo>
                    <a:pt x="328" y="218"/>
                  </a:lnTo>
                  <a:lnTo>
                    <a:pt x="334" y="218"/>
                  </a:lnTo>
                  <a:lnTo>
                    <a:pt x="340" y="218"/>
                  </a:lnTo>
                  <a:lnTo>
                    <a:pt x="344" y="218"/>
                  </a:lnTo>
                  <a:lnTo>
                    <a:pt x="350" y="218"/>
                  </a:lnTo>
                  <a:lnTo>
                    <a:pt x="362" y="218"/>
                  </a:lnTo>
                  <a:lnTo>
                    <a:pt x="374" y="218"/>
                  </a:lnTo>
                  <a:lnTo>
                    <a:pt x="378" y="220"/>
                  </a:lnTo>
                  <a:lnTo>
                    <a:pt x="384" y="220"/>
                  </a:lnTo>
                  <a:lnTo>
                    <a:pt x="388" y="220"/>
                  </a:lnTo>
                  <a:lnTo>
                    <a:pt x="392" y="220"/>
                  </a:lnTo>
                  <a:lnTo>
                    <a:pt x="396" y="222"/>
                  </a:lnTo>
                  <a:lnTo>
                    <a:pt x="400" y="222"/>
                  </a:lnTo>
                  <a:lnTo>
                    <a:pt x="406" y="224"/>
                  </a:lnTo>
                  <a:lnTo>
                    <a:pt x="410" y="226"/>
                  </a:lnTo>
                  <a:lnTo>
                    <a:pt x="412" y="226"/>
                  </a:lnTo>
                  <a:lnTo>
                    <a:pt x="414" y="228"/>
                  </a:lnTo>
                  <a:lnTo>
                    <a:pt x="420" y="232"/>
                  </a:lnTo>
                  <a:lnTo>
                    <a:pt x="422" y="234"/>
                  </a:lnTo>
                  <a:lnTo>
                    <a:pt x="426" y="234"/>
                  </a:lnTo>
                  <a:lnTo>
                    <a:pt x="428" y="236"/>
                  </a:lnTo>
                  <a:lnTo>
                    <a:pt x="428" y="236"/>
                  </a:lnTo>
                  <a:lnTo>
                    <a:pt x="430" y="236"/>
                  </a:lnTo>
                  <a:lnTo>
                    <a:pt x="430" y="236"/>
                  </a:lnTo>
                  <a:lnTo>
                    <a:pt x="432" y="236"/>
                  </a:lnTo>
                  <a:lnTo>
                    <a:pt x="432" y="236"/>
                  </a:lnTo>
                  <a:lnTo>
                    <a:pt x="436" y="236"/>
                  </a:lnTo>
                  <a:lnTo>
                    <a:pt x="438" y="236"/>
                  </a:lnTo>
                  <a:lnTo>
                    <a:pt x="442" y="234"/>
                  </a:lnTo>
                  <a:lnTo>
                    <a:pt x="444" y="234"/>
                  </a:lnTo>
                  <a:lnTo>
                    <a:pt x="448" y="232"/>
                  </a:lnTo>
                  <a:lnTo>
                    <a:pt x="450" y="232"/>
                  </a:lnTo>
                  <a:lnTo>
                    <a:pt x="452" y="230"/>
                  </a:lnTo>
                  <a:lnTo>
                    <a:pt x="454" y="230"/>
                  </a:lnTo>
                  <a:lnTo>
                    <a:pt x="454" y="228"/>
                  </a:lnTo>
                  <a:lnTo>
                    <a:pt x="458" y="226"/>
                  </a:lnTo>
                  <a:lnTo>
                    <a:pt x="460" y="224"/>
                  </a:lnTo>
                  <a:lnTo>
                    <a:pt x="460" y="222"/>
                  </a:lnTo>
                  <a:lnTo>
                    <a:pt x="462" y="222"/>
                  </a:lnTo>
                  <a:lnTo>
                    <a:pt x="462" y="222"/>
                  </a:lnTo>
                  <a:lnTo>
                    <a:pt x="464" y="222"/>
                  </a:lnTo>
                  <a:lnTo>
                    <a:pt x="464" y="222"/>
                  </a:lnTo>
                  <a:lnTo>
                    <a:pt x="466" y="222"/>
                  </a:lnTo>
                  <a:lnTo>
                    <a:pt x="468" y="222"/>
                  </a:lnTo>
                  <a:lnTo>
                    <a:pt x="470" y="222"/>
                  </a:lnTo>
                  <a:lnTo>
                    <a:pt x="474" y="222"/>
                  </a:lnTo>
                  <a:lnTo>
                    <a:pt x="478" y="224"/>
                  </a:lnTo>
                  <a:lnTo>
                    <a:pt x="482" y="224"/>
                  </a:lnTo>
                  <a:lnTo>
                    <a:pt x="486" y="226"/>
                  </a:lnTo>
                  <a:lnTo>
                    <a:pt x="488" y="226"/>
                  </a:lnTo>
                  <a:lnTo>
                    <a:pt x="490" y="226"/>
                  </a:lnTo>
                  <a:lnTo>
                    <a:pt x="490" y="226"/>
                  </a:lnTo>
                  <a:lnTo>
                    <a:pt x="492" y="226"/>
                  </a:lnTo>
                  <a:lnTo>
                    <a:pt x="494" y="224"/>
                  </a:lnTo>
                  <a:lnTo>
                    <a:pt x="496" y="224"/>
                  </a:lnTo>
                  <a:lnTo>
                    <a:pt x="496" y="224"/>
                  </a:lnTo>
                  <a:lnTo>
                    <a:pt x="498" y="222"/>
                  </a:lnTo>
                  <a:lnTo>
                    <a:pt x="502" y="220"/>
                  </a:lnTo>
                  <a:lnTo>
                    <a:pt x="504" y="218"/>
                  </a:lnTo>
                  <a:lnTo>
                    <a:pt x="508" y="214"/>
                  </a:lnTo>
                  <a:lnTo>
                    <a:pt x="510" y="212"/>
                  </a:lnTo>
                  <a:lnTo>
                    <a:pt x="514" y="208"/>
                  </a:lnTo>
                  <a:lnTo>
                    <a:pt x="514" y="208"/>
                  </a:lnTo>
                  <a:lnTo>
                    <a:pt x="516" y="206"/>
                  </a:lnTo>
                  <a:lnTo>
                    <a:pt x="516" y="204"/>
                  </a:lnTo>
                  <a:lnTo>
                    <a:pt x="516" y="202"/>
                  </a:lnTo>
                  <a:lnTo>
                    <a:pt x="516" y="200"/>
                  </a:lnTo>
                  <a:lnTo>
                    <a:pt x="518" y="198"/>
                  </a:lnTo>
                  <a:lnTo>
                    <a:pt x="518" y="192"/>
                  </a:lnTo>
                  <a:lnTo>
                    <a:pt x="518" y="188"/>
                  </a:lnTo>
                  <a:lnTo>
                    <a:pt x="518" y="186"/>
                  </a:lnTo>
                  <a:lnTo>
                    <a:pt x="516" y="184"/>
                  </a:lnTo>
                  <a:lnTo>
                    <a:pt x="516" y="180"/>
                  </a:lnTo>
                  <a:lnTo>
                    <a:pt x="516" y="178"/>
                  </a:lnTo>
                  <a:lnTo>
                    <a:pt x="516" y="176"/>
                  </a:lnTo>
                  <a:lnTo>
                    <a:pt x="516" y="174"/>
                  </a:lnTo>
                  <a:lnTo>
                    <a:pt x="516" y="174"/>
                  </a:lnTo>
                  <a:lnTo>
                    <a:pt x="516" y="174"/>
                  </a:lnTo>
                  <a:lnTo>
                    <a:pt x="516" y="172"/>
                  </a:lnTo>
                  <a:lnTo>
                    <a:pt x="518" y="172"/>
                  </a:lnTo>
                  <a:lnTo>
                    <a:pt x="518" y="172"/>
                  </a:lnTo>
                  <a:lnTo>
                    <a:pt x="520" y="172"/>
                  </a:lnTo>
                  <a:lnTo>
                    <a:pt x="520" y="172"/>
                  </a:lnTo>
                  <a:lnTo>
                    <a:pt x="522" y="172"/>
                  </a:lnTo>
                  <a:lnTo>
                    <a:pt x="524" y="174"/>
                  </a:lnTo>
                  <a:lnTo>
                    <a:pt x="526" y="174"/>
                  </a:lnTo>
                  <a:lnTo>
                    <a:pt x="528" y="176"/>
                  </a:lnTo>
                  <a:lnTo>
                    <a:pt x="532" y="178"/>
                  </a:lnTo>
                  <a:lnTo>
                    <a:pt x="532" y="178"/>
                  </a:lnTo>
                  <a:lnTo>
                    <a:pt x="534" y="178"/>
                  </a:lnTo>
                  <a:lnTo>
                    <a:pt x="536" y="178"/>
                  </a:lnTo>
                  <a:lnTo>
                    <a:pt x="536" y="178"/>
                  </a:lnTo>
                  <a:lnTo>
                    <a:pt x="538" y="178"/>
                  </a:lnTo>
                  <a:lnTo>
                    <a:pt x="538" y="178"/>
                  </a:lnTo>
                  <a:lnTo>
                    <a:pt x="540" y="178"/>
                  </a:lnTo>
                  <a:lnTo>
                    <a:pt x="540" y="176"/>
                  </a:lnTo>
                  <a:lnTo>
                    <a:pt x="542" y="174"/>
                  </a:lnTo>
                  <a:lnTo>
                    <a:pt x="544" y="172"/>
                  </a:lnTo>
                  <a:lnTo>
                    <a:pt x="548" y="168"/>
                  </a:lnTo>
                  <a:lnTo>
                    <a:pt x="548" y="166"/>
                  </a:lnTo>
                  <a:lnTo>
                    <a:pt x="550" y="164"/>
                  </a:lnTo>
                  <a:lnTo>
                    <a:pt x="554" y="162"/>
                  </a:lnTo>
                  <a:lnTo>
                    <a:pt x="556" y="160"/>
                  </a:lnTo>
                  <a:lnTo>
                    <a:pt x="560" y="156"/>
                  </a:lnTo>
                  <a:lnTo>
                    <a:pt x="562" y="154"/>
                  </a:lnTo>
                  <a:lnTo>
                    <a:pt x="568" y="152"/>
                  </a:lnTo>
                  <a:lnTo>
                    <a:pt x="574" y="148"/>
                  </a:lnTo>
                  <a:lnTo>
                    <a:pt x="580" y="144"/>
                  </a:lnTo>
                  <a:lnTo>
                    <a:pt x="584" y="142"/>
                  </a:lnTo>
                  <a:lnTo>
                    <a:pt x="586" y="142"/>
                  </a:lnTo>
                  <a:lnTo>
                    <a:pt x="588" y="142"/>
                  </a:lnTo>
                  <a:lnTo>
                    <a:pt x="590" y="140"/>
                  </a:lnTo>
                  <a:lnTo>
                    <a:pt x="594" y="140"/>
                  </a:lnTo>
                  <a:lnTo>
                    <a:pt x="598" y="138"/>
                  </a:lnTo>
                  <a:lnTo>
                    <a:pt x="602" y="136"/>
                  </a:lnTo>
                  <a:lnTo>
                    <a:pt x="604" y="136"/>
                  </a:lnTo>
                  <a:lnTo>
                    <a:pt x="606" y="134"/>
                  </a:lnTo>
                  <a:lnTo>
                    <a:pt x="608" y="134"/>
                  </a:lnTo>
                  <a:lnTo>
                    <a:pt x="608" y="134"/>
                  </a:lnTo>
                  <a:lnTo>
                    <a:pt x="608" y="132"/>
                  </a:lnTo>
                  <a:lnTo>
                    <a:pt x="610" y="130"/>
                  </a:lnTo>
                  <a:lnTo>
                    <a:pt x="610" y="130"/>
                  </a:lnTo>
                  <a:lnTo>
                    <a:pt x="610" y="128"/>
                  </a:lnTo>
                  <a:lnTo>
                    <a:pt x="610" y="128"/>
                  </a:lnTo>
                  <a:lnTo>
                    <a:pt x="608" y="126"/>
                  </a:lnTo>
                  <a:lnTo>
                    <a:pt x="608" y="126"/>
                  </a:lnTo>
                  <a:lnTo>
                    <a:pt x="608" y="124"/>
                  </a:lnTo>
                  <a:lnTo>
                    <a:pt x="606" y="122"/>
                  </a:lnTo>
                  <a:lnTo>
                    <a:pt x="604" y="120"/>
                  </a:lnTo>
                  <a:lnTo>
                    <a:pt x="602" y="118"/>
                  </a:lnTo>
                  <a:lnTo>
                    <a:pt x="600" y="116"/>
                  </a:lnTo>
                  <a:lnTo>
                    <a:pt x="598" y="116"/>
                  </a:lnTo>
                  <a:lnTo>
                    <a:pt x="596" y="116"/>
                  </a:lnTo>
                  <a:lnTo>
                    <a:pt x="596" y="116"/>
                  </a:lnTo>
                  <a:lnTo>
                    <a:pt x="594" y="114"/>
                  </a:lnTo>
                  <a:lnTo>
                    <a:pt x="592" y="114"/>
                  </a:lnTo>
                  <a:lnTo>
                    <a:pt x="590" y="116"/>
                  </a:lnTo>
                  <a:lnTo>
                    <a:pt x="586" y="116"/>
                  </a:lnTo>
                  <a:lnTo>
                    <a:pt x="584" y="116"/>
                  </a:lnTo>
                  <a:lnTo>
                    <a:pt x="580" y="118"/>
                  </a:lnTo>
                  <a:lnTo>
                    <a:pt x="574" y="118"/>
                  </a:lnTo>
                  <a:lnTo>
                    <a:pt x="574" y="118"/>
                  </a:lnTo>
                  <a:lnTo>
                    <a:pt x="572" y="120"/>
                  </a:lnTo>
                  <a:lnTo>
                    <a:pt x="568" y="120"/>
                  </a:lnTo>
                  <a:lnTo>
                    <a:pt x="568" y="122"/>
                  </a:lnTo>
                  <a:lnTo>
                    <a:pt x="566" y="122"/>
                  </a:lnTo>
                  <a:lnTo>
                    <a:pt x="564" y="122"/>
                  </a:lnTo>
                  <a:lnTo>
                    <a:pt x="564" y="122"/>
                  </a:lnTo>
                  <a:lnTo>
                    <a:pt x="562" y="122"/>
                  </a:lnTo>
                  <a:lnTo>
                    <a:pt x="562" y="122"/>
                  </a:lnTo>
                  <a:lnTo>
                    <a:pt x="562" y="120"/>
                  </a:lnTo>
                  <a:lnTo>
                    <a:pt x="562" y="120"/>
                  </a:lnTo>
                  <a:lnTo>
                    <a:pt x="560" y="118"/>
                  </a:lnTo>
                  <a:lnTo>
                    <a:pt x="560" y="118"/>
                  </a:lnTo>
                  <a:lnTo>
                    <a:pt x="560" y="116"/>
                  </a:lnTo>
                  <a:lnTo>
                    <a:pt x="558" y="112"/>
                  </a:lnTo>
                  <a:lnTo>
                    <a:pt x="558" y="108"/>
                  </a:lnTo>
                  <a:lnTo>
                    <a:pt x="558" y="104"/>
                  </a:lnTo>
                  <a:lnTo>
                    <a:pt x="558" y="100"/>
                  </a:lnTo>
                  <a:lnTo>
                    <a:pt x="558" y="96"/>
                  </a:lnTo>
                  <a:lnTo>
                    <a:pt x="558" y="90"/>
                  </a:lnTo>
                  <a:lnTo>
                    <a:pt x="558" y="88"/>
                  </a:lnTo>
                  <a:lnTo>
                    <a:pt x="558" y="84"/>
                  </a:lnTo>
                  <a:lnTo>
                    <a:pt x="558" y="82"/>
                  </a:lnTo>
                  <a:lnTo>
                    <a:pt x="558" y="80"/>
                  </a:lnTo>
                  <a:lnTo>
                    <a:pt x="560" y="76"/>
                  </a:lnTo>
                  <a:lnTo>
                    <a:pt x="562" y="72"/>
                  </a:lnTo>
                  <a:lnTo>
                    <a:pt x="562" y="74"/>
                  </a:lnTo>
                  <a:lnTo>
                    <a:pt x="566" y="76"/>
                  </a:lnTo>
                  <a:lnTo>
                    <a:pt x="568" y="78"/>
                  </a:lnTo>
                  <a:lnTo>
                    <a:pt x="570" y="80"/>
                  </a:lnTo>
                  <a:lnTo>
                    <a:pt x="572" y="82"/>
                  </a:lnTo>
                  <a:lnTo>
                    <a:pt x="572" y="82"/>
                  </a:lnTo>
                  <a:lnTo>
                    <a:pt x="572" y="84"/>
                  </a:lnTo>
                  <a:lnTo>
                    <a:pt x="574" y="84"/>
                  </a:lnTo>
                  <a:lnTo>
                    <a:pt x="578" y="84"/>
                  </a:lnTo>
                  <a:lnTo>
                    <a:pt x="580" y="84"/>
                  </a:lnTo>
                  <a:lnTo>
                    <a:pt x="582" y="84"/>
                  </a:lnTo>
                  <a:lnTo>
                    <a:pt x="586" y="84"/>
                  </a:lnTo>
                  <a:lnTo>
                    <a:pt x="588" y="84"/>
                  </a:lnTo>
                  <a:lnTo>
                    <a:pt x="590" y="84"/>
                  </a:lnTo>
                  <a:lnTo>
                    <a:pt x="590" y="84"/>
                  </a:lnTo>
                  <a:lnTo>
                    <a:pt x="590" y="84"/>
                  </a:lnTo>
                  <a:lnTo>
                    <a:pt x="592" y="84"/>
                  </a:lnTo>
                  <a:lnTo>
                    <a:pt x="592" y="82"/>
                  </a:lnTo>
                  <a:lnTo>
                    <a:pt x="594" y="80"/>
                  </a:lnTo>
                  <a:lnTo>
                    <a:pt x="594" y="80"/>
                  </a:lnTo>
                  <a:lnTo>
                    <a:pt x="594" y="78"/>
                  </a:lnTo>
                  <a:lnTo>
                    <a:pt x="594" y="76"/>
                  </a:lnTo>
                  <a:lnTo>
                    <a:pt x="594" y="74"/>
                  </a:lnTo>
                  <a:lnTo>
                    <a:pt x="594" y="70"/>
                  </a:lnTo>
                  <a:lnTo>
                    <a:pt x="594" y="66"/>
                  </a:lnTo>
                  <a:lnTo>
                    <a:pt x="594" y="62"/>
                  </a:lnTo>
                  <a:lnTo>
                    <a:pt x="594" y="60"/>
                  </a:lnTo>
                  <a:lnTo>
                    <a:pt x="594" y="58"/>
                  </a:lnTo>
                  <a:lnTo>
                    <a:pt x="596" y="56"/>
                  </a:lnTo>
                  <a:lnTo>
                    <a:pt x="596" y="56"/>
                  </a:lnTo>
                  <a:lnTo>
                    <a:pt x="596" y="54"/>
                  </a:lnTo>
                  <a:lnTo>
                    <a:pt x="596" y="54"/>
                  </a:lnTo>
                  <a:lnTo>
                    <a:pt x="598" y="52"/>
                  </a:lnTo>
                  <a:lnTo>
                    <a:pt x="600" y="52"/>
                  </a:lnTo>
                  <a:lnTo>
                    <a:pt x="602" y="50"/>
                  </a:lnTo>
                  <a:lnTo>
                    <a:pt x="604" y="50"/>
                  </a:lnTo>
                  <a:lnTo>
                    <a:pt x="604" y="48"/>
                  </a:lnTo>
                  <a:lnTo>
                    <a:pt x="606" y="48"/>
                  </a:lnTo>
                  <a:lnTo>
                    <a:pt x="606" y="46"/>
                  </a:lnTo>
                  <a:lnTo>
                    <a:pt x="606" y="46"/>
                  </a:lnTo>
                  <a:lnTo>
                    <a:pt x="606" y="46"/>
                  </a:lnTo>
                  <a:lnTo>
                    <a:pt x="608" y="44"/>
                  </a:lnTo>
                  <a:lnTo>
                    <a:pt x="606" y="42"/>
                  </a:lnTo>
                  <a:lnTo>
                    <a:pt x="606" y="42"/>
                  </a:lnTo>
                  <a:lnTo>
                    <a:pt x="606" y="40"/>
                  </a:lnTo>
                  <a:lnTo>
                    <a:pt x="606" y="38"/>
                  </a:lnTo>
                  <a:lnTo>
                    <a:pt x="604" y="36"/>
                  </a:lnTo>
                  <a:lnTo>
                    <a:pt x="602" y="32"/>
                  </a:lnTo>
                  <a:lnTo>
                    <a:pt x="600" y="30"/>
                  </a:lnTo>
                  <a:lnTo>
                    <a:pt x="598" y="26"/>
                  </a:lnTo>
                  <a:lnTo>
                    <a:pt x="598" y="24"/>
                  </a:lnTo>
                  <a:lnTo>
                    <a:pt x="598" y="22"/>
                  </a:lnTo>
                  <a:lnTo>
                    <a:pt x="596" y="22"/>
                  </a:lnTo>
                  <a:lnTo>
                    <a:pt x="596" y="20"/>
                  </a:lnTo>
                  <a:lnTo>
                    <a:pt x="598" y="18"/>
                  </a:lnTo>
                  <a:lnTo>
                    <a:pt x="598" y="16"/>
                  </a:lnTo>
                  <a:lnTo>
                    <a:pt x="598" y="14"/>
                  </a:lnTo>
                  <a:lnTo>
                    <a:pt x="600" y="12"/>
                  </a:lnTo>
                  <a:lnTo>
                    <a:pt x="600" y="10"/>
                  </a:lnTo>
                  <a:lnTo>
                    <a:pt x="602" y="8"/>
                  </a:lnTo>
                  <a:lnTo>
                    <a:pt x="604" y="6"/>
                  </a:lnTo>
                  <a:lnTo>
                    <a:pt x="604" y="6"/>
                  </a:lnTo>
                  <a:lnTo>
                    <a:pt x="604" y="4"/>
                  </a:lnTo>
                  <a:lnTo>
                    <a:pt x="606" y="4"/>
                  </a:lnTo>
                  <a:lnTo>
                    <a:pt x="608" y="4"/>
                  </a:lnTo>
                  <a:lnTo>
                    <a:pt x="610" y="2"/>
                  </a:lnTo>
                  <a:lnTo>
                    <a:pt x="614" y="2"/>
                  </a:lnTo>
                  <a:lnTo>
                    <a:pt x="618" y="0"/>
                  </a:lnTo>
                  <a:lnTo>
                    <a:pt x="622" y="0"/>
                  </a:lnTo>
                  <a:lnTo>
                    <a:pt x="626" y="0"/>
                  </a:lnTo>
                  <a:lnTo>
                    <a:pt x="630" y="0"/>
                  </a:lnTo>
                  <a:lnTo>
                    <a:pt x="634" y="0"/>
                  </a:lnTo>
                  <a:lnTo>
                    <a:pt x="640" y="0"/>
                  </a:lnTo>
                  <a:lnTo>
                    <a:pt x="644" y="2"/>
                  </a:lnTo>
                  <a:lnTo>
                    <a:pt x="648" y="2"/>
                  </a:lnTo>
                  <a:lnTo>
                    <a:pt x="652" y="2"/>
                  </a:lnTo>
                  <a:lnTo>
                    <a:pt x="656" y="4"/>
                  </a:lnTo>
                  <a:lnTo>
                    <a:pt x="660" y="4"/>
                  </a:lnTo>
                  <a:lnTo>
                    <a:pt x="664" y="6"/>
                  </a:lnTo>
                  <a:lnTo>
                    <a:pt x="666" y="6"/>
                  </a:lnTo>
                  <a:lnTo>
                    <a:pt x="668" y="6"/>
                  </a:lnTo>
                  <a:lnTo>
                    <a:pt x="668" y="8"/>
                  </a:lnTo>
                  <a:lnTo>
                    <a:pt x="670" y="10"/>
                  </a:lnTo>
                  <a:lnTo>
                    <a:pt x="672" y="12"/>
                  </a:lnTo>
                  <a:lnTo>
                    <a:pt x="674" y="14"/>
                  </a:lnTo>
                  <a:lnTo>
                    <a:pt x="678" y="18"/>
                  </a:lnTo>
                  <a:lnTo>
                    <a:pt x="680" y="20"/>
                  </a:lnTo>
                  <a:lnTo>
                    <a:pt x="682" y="22"/>
                  </a:lnTo>
                  <a:lnTo>
                    <a:pt x="684" y="26"/>
                  </a:lnTo>
                  <a:lnTo>
                    <a:pt x="688" y="28"/>
                  </a:lnTo>
                  <a:lnTo>
                    <a:pt x="692" y="32"/>
                  </a:lnTo>
                  <a:lnTo>
                    <a:pt x="696" y="36"/>
                  </a:lnTo>
                  <a:lnTo>
                    <a:pt x="698" y="38"/>
                  </a:lnTo>
                  <a:lnTo>
                    <a:pt x="700" y="42"/>
                  </a:lnTo>
                  <a:lnTo>
                    <a:pt x="704" y="44"/>
                  </a:lnTo>
                  <a:lnTo>
                    <a:pt x="704" y="46"/>
                  </a:lnTo>
                  <a:lnTo>
                    <a:pt x="706" y="48"/>
                  </a:lnTo>
                  <a:lnTo>
                    <a:pt x="706" y="50"/>
                  </a:lnTo>
                  <a:lnTo>
                    <a:pt x="706" y="52"/>
                  </a:lnTo>
                  <a:lnTo>
                    <a:pt x="708" y="56"/>
                  </a:lnTo>
                  <a:lnTo>
                    <a:pt x="708" y="62"/>
                  </a:lnTo>
                  <a:lnTo>
                    <a:pt x="708" y="64"/>
                  </a:lnTo>
                  <a:lnTo>
                    <a:pt x="708" y="66"/>
                  </a:lnTo>
                  <a:lnTo>
                    <a:pt x="710" y="68"/>
                  </a:lnTo>
                  <a:lnTo>
                    <a:pt x="710" y="68"/>
                  </a:lnTo>
                  <a:lnTo>
                    <a:pt x="712" y="70"/>
                  </a:lnTo>
                  <a:lnTo>
                    <a:pt x="714" y="74"/>
                  </a:lnTo>
                  <a:lnTo>
                    <a:pt x="716" y="74"/>
                  </a:lnTo>
                  <a:lnTo>
                    <a:pt x="718" y="76"/>
                  </a:lnTo>
                  <a:lnTo>
                    <a:pt x="718" y="78"/>
                  </a:lnTo>
                  <a:lnTo>
                    <a:pt x="720" y="80"/>
                  </a:lnTo>
                  <a:lnTo>
                    <a:pt x="722" y="80"/>
                  </a:lnTo>
                  <a:lnTo>
                    <a:pt x="722" y="80"/>
                  </a:lnTo>
                  <a:lnTo>
                    <a:pt x="724" y="80"/>
                  </a:lnTo>
                  <a:lnTo>
                    <a:pt x="726" y="82"/>
                  </a:lnTo>
                  <a:lnTo>
                    <a:pt x="730" y="82"/>
                  </a:lnTo>
                  <a:lnTo>
                    <a:pt x="732" y="82"/>
                  </a:lnTo>
                  <a:lnTo>
                    <a:pt x="736" y="82"/>
                  </a:lnTo>
                  <a:lnTo>
                    <a:pt x="740" y="82"/>
                  </a:lnTo>
                  <a:lnTo>
                    <a:pt x="742" y="84"/>
                  </a:lnTo>
                  <a:lnTo>
                    <a:pt x="744" y="84"/>
                  </a:lnTo>
                  <a:lnTo>
                    <a:pt x="746" y="84"/>
                  </a:lnTo>
                  <a:lnTo>
                    <a:pt x="746" y="86"/>
                  </a:lnTo>
                  <a:lnTo>
                    <a:pt x="748" y="86"/>
                  </a:lnTo>
                  <a:lnTo>
                    <a:pt x="752" y="90"/>
                  </a:lnTo>
                  <a:lnTo>
                    <a:pt x="754" y="92"/>
                  </a:lnTo>
                  <a:lnTo>
                    <a:pt x="756" y="94"/>
                  </a:lnTo>
                  <a:lnTo>
                    <a:pt x="756" y="94"/>
                  </a:lnTo>
                  <a:lnTo>
                    <a:pt x="760" y="96"/>
                  </a:lnTo>
                  <a:lnTo>
                    <a:pt x="764" y="98"/>
                  </a:lnTo>
                  <a:lnTo>
                    <a:pt x="766" y="102"/>
                  </a:lnTo>
                  <a:lnTo>
                    <a:pt x="768" y="102"/>
                  </a:lnTo>
                  <a:lnTo>
                    <a:pt x="770" y="104"/>
                  </a:lnTo>
                  <a:lnTo>
                    <a:pt x="770" y="104"/>
                  </a:lnTo>
                  <a:lnTo>
                    <a:pt x="770" y="106"/>
                  </a:lnTo>
                  <a:lnTo>
                    <a:pt x="772" y="108"/>
                  </a:lnTo>
                  <a:lnTo>
                    <a:pt x="772" y="110"/>
                  </a:lnTo>
                  <a:lnTo>
                    <a:pt x="772" y="110"/>
                  </a:lnTo>
                  <a:lnTo>
                    <a:pt x="774" y="112"/>
                  </a:lnTo>
                  <a:lnTo>
                    <a:pt x="774" y="112"/>
                  </a:lnTo>
                  <a:lnTo>
                    <a:pt x="774" y="112"/>
                  </a:lnTo>
                  <a:lnTo>
                    <a:pt x="776" y="112"/>
                  </a:lnTo>
                  <a:lnTo>
                    <a:pt x="778" y="114"/>
                  </a:lnTo>
                  <a:lnTo>
                    <a:pt x="780" y="114"/>
                  </a:lnTo>
                  <a:lnTo>
                    <a:pt x="782" y="114"/>
                  </a:lnTo>
                  <a:lnTo>
                    <a:pt x="786" y="114"/>
                  </a:lnTo>
                  <a:lnTo>
                    <a:pt x="790" y="114"/>
                  </a:lnTo>
                  <a:lnTo>
                    <a:pt x="790" y="114"/>
                  </a:lnTo>
                  <a:lnTo>
                    <a:pt x="792" y="112"/>
                  </a:lnTo>
                  <a:lnTo>
                    <a:pt x="796" y="112"/>
                  </a:lnTo>
                  <a:lnTo>
                    <a:pt x="802" y="110"/>
                  </a:lnTo>
                  <a:lnTo>
                    <a:pt x="806" y="108"/>
                  </a:lnTo>
                  <a:lnTo>
                    <a:pt x="808" y="108"/>
                  </a:lnTo>
                  <a:lnTo>
                    <a:pt x="808" y="108"/>
                  </a:lnTo>
                  <a:lnTo>
                    <a:pt x="810" y="108"/>
                  </a:lnTo>
                  <a:lnTo>
                    <a:pt x="812" y="108"/>
                  </a:lnTo>
                  <a:lnTo>
                    <a:pt x="814" y="108"/>
                  </a:lnTo>
                  <a:lnTo>
                    <a:pt x="814" y="108"/>
                  </a:lnTo>
                  <a:lnTo>
                    <a:pt x="816" y="108"/>
                  </a:lnTo>
                  <a:lnTo>
                    <a:pt x="816" y="110"/>
                  </a:lnTo>
                  <a:lnTo>
                    <a:pt x="816" y="110"/>
                  </a:lnTo>
                  <a:lnTo>
                    <a:pt x="818" y="112"/>
                  </a:lnTo>
                  <a:lnTo>
                    <a:pt x="818" y="114"/>
                  </a:lnTo>
                  <a:lnTo>
                    <a:pt x="820" y="116"/>
                  </a:lnTo>
                  <a:lnTo>
                    <a:pt x="820" y="118"/>
                  </a:lnTo>
                  <a:lnTo>
                    <a:pt x="822" y="122"/>
                  </a:lnTo>
                  <a:lnTo>
                    <a:pt x="822" y="124"/>
                  </a:lnTo>
                  <a:lnTo>
                    <a:pt x="822" y="126"/>
                  </a:lnTo>
                  <a:lnTo>
                    <a:pt x="822" y="128"/>
                  </a:lnTo>
                  <a:lnTo>
                    <a:pt x="822" y="128"/>
                  </a:lnTo>
                  <a:lnTo>
                    <a:pt x="822" y="128"/>
                  </a:lnTo>
                  <a:lnTo>
                    <a:pt x="822" y="130"/>
                  </a:lnTo>
                  <a:lnTo>
                    <a:pt x="820" y="130"/>
                  </a:lnTo>
                  <a:lnTo>
                    <a:pt x="818" y="132"/>
                  </a:lnTo>
                  <a:lnTo>
                    <a:pt x="818" y="132"/>
                  </a:lnTo>
                  <a:lnTo>
                    <a:pt x="816" y="134"/>
                  </a:lnTo>
                  <a:lnTo>
                    <a:pt x="814" y="134"/>
                  </a:lnTo>
                  <a:lnTo>
                    <a:pt x="812" y="134"/>
                  </a:lnTo>
                  <a:lnTo>
                    <a:pt x="812" y="136"/>
                  </a:lnTo>
                  <a:lnTo>
                    <a:pt x="812" y="136"/>
                  </a:lnTo>
                  <a:lnTo>
                    <a:pt x="812" y="136"/>
                  </a:lnTo>
                  <a:lnTo>
                    <a:pt x="812" y="138"/>
                  </a:lnTo>
                  <a:lnTo>
                    <a:pt x="812" y="140"/>
                  </a:lnTo>
                  <a:lnTo>
                    <a:pt x="812" y="142"/>
                  </a:lnTo>
                  <a:lnTo>
                    <a:pt x="812" y="144"/>
                  </a:lnTo>
                  <a:lnTo>
                    <a:pt x="812" y="146"/>
                  </a:lnTo>
                  <a:lnTo>
                    <a:pt x="812" y="150"/>
                  </a:lnTo>
                  <a:lnTo>
                    <a:pt x="812" y="156"/>
                  </a:lnTo>
                  <a:lnTo>
                    <a:pt x="814" y="160"/>
                  </a:lnTo>
                  <a:lnTo>
                    <a:pt x="814" y="164"/>
                  </a:lnTo>
                  <a:lnTo>
                    <a:pt x="814" y="166"/>
                  </a:lnTo>
                  <a:lnTo>
                    <a:pt x="814" y="168"/>
                  </a:lnTo>
                  <a:lnTo>
                    <a:pt x="812" y="170"/>
                  </a:lnTo>
                  <a:lnTo>
                    <a:pt x="812" y="170"/>
                  </a:lnTo>
                  <a:lnTo>
                    <a:pt x="812" y="172"/>
                  </a:lnTo>
                  <a:lnTo>
                    <a:pt x="812" y="172"/>
                  </a:lnTo>
                  <a:lnTo>
                    <a:pt x="810" y="172"/>
                  </a:lnTo>
                  <a:lnTo>
                    <a:pt x="810" y="172"/>
                  </a:lnTo>
                  <a:lnTo>
                    <a:pt x="810" y="172"/>
                  </a:lnTo>
                  <a:lnTo>
                    <a:pt x="808" y="172"/>
                  </a:lnTo>
                  <a:lnTo>
                    <a:pt x="808" y="172"/>
                  </a:lnTo>
                  <a:lnTo>
                    <a:pt x="806" y="172"/>
                  </a:lnTo>
                  <a:lnTo>
                    <a:pt x="804" y="172"/>
                  </a:lnTo>
                  <a:lnTo>
                    <a:pt x="802" y="170"/>
                  </a:lnTo>
                  <a:lnTo>
                    <a:pt x="800" y="170"/>
                  </a:lnTo>
                  <a:lnTo>
                    <a:pt x="800" y="170"/>
                  </a:lnTo>
                  <a:lnTo>
                    <a:pt x="798" y="170"/>
                  </a:lnTo>
                  <a:lnTo>
                    <a:pt x="798" y="170"/>
                  </a:lnTo>
                  <a:lnTo>
                    <a:pt x="796" y="170"/>
                  </a:lnTo>
                  <a:lnTo>
                    <a:pt x="796" y="170"/>
                  </a:lnTo>
                  <a:lnTo>
                    <a:pt x="796" y="170"/>
                  </a:lnTo>
                  <a:lnTo>
                    <a:pt x="794" y="172"/>
                  </a:lnTo>
                  <a:lnTo>
                    <a:pt x="794" y="172"/>
                  </a:lnTo>
                  <a:lnTo>
                    <a:pt x="794" y="174"/>
                  </a:lnTo>
                  <a:lnTo>
                    <a:pt x="792" y="176"/>
                  </a:lnTo>
                  <a:lnTo>
                    <a:pt x="792" y="178"/>
                  </a:lnTo>
                  <a:lnTo>
                    <a:pt x="790" y="182"/>
                  </a:lnTo>
                  <a:lnTo>
                    <a:pt x="790" y="184"/>
                  </a:lnTo>
                  <a:lnTo>
                    <a:pt x="790" y="184"/>
                  </a:lnTo>
                  <a:lnTo>
                    <a:pt x="790" y="186"/>
                  </a:lnTo>
                  <a:lnTo>
                    <a:pt x="788" y="188"/>
                  </a:lnTo>
                  <a:lnTo>
                    <a:pt x="788" y="192"/>
                  </a:lnTo>
                  <a:lnTo>
                    <a:pt x="788" y="194"/>
                  </a:lnTo>
                  <a:lnTo>
                    <a:pt x="788" y="196"/>
                  </a:lnTo>
                  <a:lnTo>
                    <a:pt x="790" y="198"/>
                  </a:lnTo>
                  <a:lnTo>
                    <a:pt x="790" y="200"/>
                  </a:lnTo>
                  <a:lnTo>
                    <a:pt x="790" y="200"/>
                  </a:lnTo>
                  <a:lnTo>
                    <a:pt x="790" y="200"/>
                  </a:lnTo>
                  <a:lnTo>
                    <a:pt x="790" y="202"/>
                  </a:lnTo>
                  <a:lnTo>
                    <a:pt x="792" y="202"/>
                  </a:lnTo>
                  <a:lnTo>
                    <a:pt x="792" y="202"/>
                  </a:lnTo>
                  <a:lnTo>
                    <a:pt x="794" y="202"/>
                  </a:lnTo>
                  <a:lnTo>
                    <a:pt x="796" y="202"/>
                  </a:lnTo>
                  <a:lnTo>
                    <a:pt x="798" y="204"/>
                  </a:lnTo>
                  <a:lnTo>
                    <a:pt x="802" y="204"/>
                  </a:lnTo>
                  <a:lnTo>
                    <a:pt x="804" y="204"/>
                  </a:lnTo>
                  <a:lnTo>
                    <a:pt x="804" y="204"/>
                  </a:lnTo>
                  <a:lnTo>
                    <a:pt x="804" y="204"/>
                  </a:lnTo>
                  <a:lnTo>
                    <a:pt x="804" y="204"/>
                  </a:lnTo>
                  <a:lnTo>
                    <a:pt x="802" y="204"/>
                  </a:lnTo>
                  <a:lnTo>
                    <a:pt x="800" y="206"/>
                  </a:lnTo>
                  <a:lnTo>
                    <a:pt x="798" y="208"/>
                  </a:lnTo>
                  <a:lnTo>
                    <a:pt x="796" y="210"/>
                  </a:lnTo>
                  <a:lnTo>
                    <a:pt x="792" y="212"/>
                  </a:lnTo>
                  <a:lnTo>
                    <a:pt x="790" y="214"/>
                  </a:lnTo>
                  <a:lnTo>
                    <a:pt x="790" y="216"/>
                  </a:lnTo>
                  <a:lnTo>
                    <a:pt x="788" y="216"/>
                  </a:lnTo>
                  <a:lnTo>
                    <a:pt x="786" y="216"/>
                  </a:lnTo>
                  <a:lnTo>
                    <a:pt x="782" y="218"/>
                  </a:lnTo>
                  <a:lnTo>
                    <a:pt x="778" y="218"/>
                  </a:lnTo>
                  <a:lnTo>
                    <a:pt x="776" y="220"/>
                  </a:lnTo>
                  <a:lnTo>
                    <a:pt x="776" y="220"/>
                  </a:lnTo>
                  <a:lnTo>
                    <a:pt x="774" y="220"/>
                  </a:lnTo>
                  <a:lnTo>
                    <a:pt x="774" y="222"/>
                  </a:lnTo>
                  <a:lnTo>
                    <a:pt x="772" y="224"/>
                  </a:lnTo>
                  <a:lnTo>
                    <a:pt x="770" y="226"/>
                  </a:lnTo>
                  <a:lnTo>
                    <a:pt x="768" y="228"/>
                  </a:lnTo>
                  <a:lnTo>
                    <a:pt x="766" y="232"/>
                  </a:lnTo>
                  <a:lnTo>
                    <a:pt x="764" y="234"/>
                  </a:lnTo>
                  <a:lnTo>
                    <a:pt x="764" y="234"/>
                  </a:lnTo>
                  <a:lnTo>
                    <a:pt x="762" y="236"/>
                  </a:lnTo>
                  <a:lnTo>
                    <a:pt x="762" y="236"/>
                  </a:lnTo>
                  <a:lnTo>
                    <a:pt x="760" y="236"/>
                  </a:lnTo>
                  <a:lnTo>
                    <a:pt x="758" y="236"/>
                  </a:lnTo>
                  <a:lnTo>
                    <a:pt x="758" y="238"/>
                  </a:lnTo>
                  <a:lnTo>
                    <a:pt x="756" y="238"/>
                  </a:lnTo>
                  <a:lnTo>
                    <a:pt x="754" y="238"/>
                  </a:lnTo>
                  <a:lnTo>
                    <a:pt x="750" y="238"/>
                  </a:lnTo>
                  <a:lnTo>
                    <a:pt x="746" y="236"/>
                  </a:lnTo>
                  <a:lnTo>
                    <a:pt x="746" y="236"/>
                  </a:lnTo>
                  <a:lnTo>
                    <a:pt x="744" y="236"/>
                  </a:lnTo>
                  <a:lnTo>
                    <a:pt x="740" y="234"/>
                  </a:lnTo>
                  <a:lnTo>
                    <a:pt x="738" y="232"/>
                  </a:lnTo>
                  <a:lnTo>
                    <a:pt x="736" y="232"/>
                  </a:lnTo>
                  <a:lnTo>
                    <a:pt x="736" y="232"/>
                  </a:lnTo>
                  <a:lnTo>
                    <a:pt x="736" y="232"/>
                  </a:lnTo>
                  <a:lnTo>
                    <a:pt x="734" y="232"/>
                  </a:lnTo>
                  <a:lnTo>
                    <a:pt x="734" y="232"/>
                  </a:lnTo>
                  <a:lnTo>
                    <a:pt x="734" y="232"/>
                  </a:lnTo>
                  <a:lnTo>
                    <a:pt x="732" y="234"/>
                  </a:lnTo>
                  <a:lnTo>
                    <a:pt x="732" y="234"/>
                  </a:lnTo>
                  <a:lnTo>
                    <a:pt x="730" y="236"/>
                  </a:lnTo>
                  <a:lnTo>
                    <a:pt x="730" y="238"/>
                  </a:lnTo>
                  <a:lnTo>
                    <a:pt x="730" y="240"/>
                  </a:lnTo>
                  <a:lnTo>
                    <a:pt x="730" y="242"/>
                  </a:lnTo>
                  <a:lnTo>
                    <a:pt x="730" y="246"/>
                  </a:lnTo>
                  <a:lnTo>
                    <a:pt x="728" y="250"/>
                  </a:lnTo>
                  <a:lnTo>
                    <a:pt x="728" y="252"/>
                  </a:lnTo>
                  <a:lnTo>
                    <a:pt x="728" y="254"/>
                  </a:lnTo>
                  <a:lnTo>
                    <a:pt x="728" y="254"/>
                  </a:lnTo>
                  <a:lnTo>
                    <a:pt x="726" y="256"/>
                  </a:lnTo>
                  <a:lnTo>
                    <a:pt x="726" y="256"/>
                  </a:lnTo>
                  <a:lnTo>
                    <a:pt x="724" y="258"/>
                  </a:lnTo>
                  <a:lnTo>
                    <a:pt x="722" y="260"/>
                  </a:lnTo>
                  <a:lnTo>
                    <a:pt x="720" y="260"/>
                  </a:lnTo>
                  <a:lnTo>
                    <a:pt x="716" y="262"/>
                  </a:lnTo>
                  <a:lnTo>
                    <a:pt x="712" y="264"/>
                  </a:lnTo>
                  <a:lnTo>
                    <a:pt x="704" y="270"/>
                  </a:lnTo>
                  <a:lnTo>
                    <a:pt x="700" y="274"/>
                  </a:lnTo>
                  <a:lnTo>
                    <a:pt x="696" y="274"/>
                  </a:lnTo>
                  <a:lnTo>
                    <a:pt x="696" y="276"/>
                  </a:lnTo>
                  <a:lnTo>
                    <a:pt x="692" y="276"/>
                  </a:lnTo>
                  <a:lnTo>
                    <a:pt x="690" y="278"/>
                  </a:lnTo>
                  <a:lnTo>
                    <a:pt x="688" y="280"/>
                  </a:lnTo>
                  <a:lnTo>
                    <a:pt x="684" y="282"/>
                  </a:lnTo>
                  <a:lnTo>
                    <a:pt x="680" y="282"/>
                  </a:lnTo>
                  <a:lnTo>
                    <a:pt x="680" y="284"/>
                  </a:lnTo>
                  <a:lnTo>
                    <a:pt x="678" y="284"/>
                  </a:lnTo>
                  <a:lnTo>
                    <a:pt x="676" y="284"/>
                  </a:lnTo>
                  <a:lnTo>
                    <a:pt x="676" y="284"/>
                  </a:lnTo>
                  <a:lnTo>
                    <a:pt x="674" y="284"/>
                  </a:lnTo>
                  <a:lnTo>
                    <a:pt x="674" y="284"/>
                  </a:lnTo>
                  <a:lnTo>
                    <a:pt x="674" y="282"/>
                  </a:lnTo>
                  <a:lnTo>
                    <a:pt x="672" y="282"/>
                  </a:lnTo>
                  <a:lnTo>
                    <a:pt x="672" y="280"/>
                  </a:lnTo>
                  <a:lnTo>
                    <a:pt x="672" y="280"/>
                  </a:lnTo>
                  <a:lnTo>
                    <a:pt x="672" y="278"/>
                  </a:lnTo>
                  <a:lnTo>
                    <a:pt x="672" y="278"/>
                  </a:lnTo>
                  <a:lnTo>
                    <a:pt x="672" y="276"/>
                  </a:lnTo>
                  <a:lnTo>
                    <a:pt x="672" y="270"/>
                  </a:lnTo>
                  <a:lnTo>
                    <a:pt x="672" y="268"/>
                  </a:lnTo>
                  <a:lnTo>
                    <a:pt x="672" y="266"/>
                  </a:lnTo>
                  <a:lnTo>
                    <a:pt x="672" y="262"/>
                  </a:lnTo>
                  <a:lnTo>
                    <a:pt x="672" y="256"/>
                  </a:lnTo>
                  <a:lnTo>
                    <a:pt x="670" y="254"/>
                  </a:lnTo>
                  <a:lnTo>
                    <a:pt x="670" y="252"/>
                  </a:lnTo>
                  <a:lnTo>
                    <a:pt x="670" y="250"/>
                  </a:lnTo>
                  <a:lnTo>
                    <a:pt x="670" y="250"/>
                  </a:lnTo>
                  <a:lnTo>
                    <a:pt x="668" y="250"/>
                  </a:lnTo>
                  <a:lnTo>
                    <a:pt x="668" y="248"/>
                  </a:lnTo>
                  <a:lnTo>
                    <a:pt x="668" y="248"/>
                  </a:lnTo>
                  <a:lnTo>
                    <a:pt x="666" y="248"/>
                  </a:lnTo>
                  <a:lnTo>
                    <a:pt x="664" y="248"/>
                  </a:lnTo>
                  <a:lnTo>
                    <a:pt x="664" y="248"/>
                  </a:lnTo>
                  <a:lnTo>
                    <a:pt x="662" y="248"/>
                  </a:lnTo>
                  <a:lnTo>
                    <a:pt x="662" y="248"/>
                  </a:lnTo>
                  <a:lnTo>
                    <a:pt x="660" y="250"/>
                  </a:lnTo>
                  <a:lnTo>
                    <a:pt x="658" y="250"/>
                  </a:lnTo>
                  <a:lnTo>
                    <a:pt x="658" y="252"/>
                  </a:lnTo>
                  <a:lnTo>
                    <a:pt x="656" y="254"/>
                  </a:lnTo>
                  <a:lnTo>
                    <a:pt x="654" y="256"/>
                  </a:lnTo>
                  <a:lnTo>
                    <a:pt x="652" y="258"/>
                  </a:lnTo>
                  <a:lnTo>
                    <a:pt x="650" y="260"/>
                  </a:lnTo>
                  <a:lnTo>
                    <a:pt x="648" y="262"/>
                  </a:lnTo>
                  <a:lnTo>
                    <a:pt x="648" y="264"/>
                  </a:lnTo>
                  <a:lnTo>
                    <a:pt x="648" y="266"/>
                  </a:lnTo>
                  <a:lnTo>
                    <a:pt x="648" y="266"/>
                  </a:lnTo>
                </a:path>
              </a:pathLst>
            </a:custGeom>
            <a:grp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3" name="Freeform 187">
              <a:extLst>
                <a:ext uri="{FF2B5EF4-FFF2-40B4-BE49-F238E27FC236}">
                  <a16:creationId xmlns:a16="http://schemas.microsoft.com/office/drawing/2014/main" id="{CFF34FEE-0794-41A6-AD49-0DC4BAC313B3}"/>
                </a:ext>
              </a:extLst>
            </p:cNvPr>
            <p:cNvSpPr>
              <a:spLocks/>
            </p:cNvSpPr>
            <p:nvPr/>
          </p:nvSpPr>
          <p:spPr bwMode="auto">
            <a:xfrm>
              <a:off x="6046321" y="2990347"/>
              <a:ext cx="1423766" cy="1060030"/>
            </a:xfrm>
            <a:custGeom>
              <a:avLst/>
              <a:gdLst>
                <a:gd name="T0" fmla="*/ 626 w 822"/>
                <a:gd name="T1" fmla="*/ 296 h 612"/>
                <a:gd name="T2" fmla="*/ 664 w 822"/>
                <a:gd name="T3" fmla="*/ 304 h 612"/>
                <a:gd name="T4" fmla="*/ 696 w 822"/>
                <a:gd name="T5" fmla="*/ 318 h 612"/>
                <a:gd name="T6" fmla="*/ 660 w 822"/>
                <a:gd name="T7" fmla="*/ 342 h 612"/>
                <a:gd name="T8" fmla="*/ 696 w 822"/>
                <a:gd name="T9" fmla="*/ 402 h 612"/>
                <a:gd name="T10" fmla="*/ 710 w 822"/>
                <a:gd name="T11" fmla="*/ 470 h 612"/>
                <a:gd name="T12" fmla="*/ 698 w 822"/>
                <a:gd name="T13" fmla="*/ 494 h 612"/>
                <a:gd name="T14" fmla="*/ 684 w 822"/>
                <a:gd name="T15" fmla="*/ 526 h 612"/>
                <a:gd name="T16" fmla="*/ 658 w 822"/>
                <a:gd name="T17" fmla="*/ 544 h 612"/>
                <a:gd name="T18" fmla="*/ 644 w 822"/>
                <a:gd name="T19" fmla="*/ 566 h 612"/>
                <a:gd name="T20" fmla="*/ 594 w 822"/>
                <a:gd name="T21" fmla="*/ 578 h 612"/>
                <a:gd name="T22" fmla="*/ 542 w 822"/>
                <a:gd name="T23" fmla="*/ 610 h 612"/>
                <a:gd name="T24" fmla="*/ 526 w 822"/>
                <a:gd name="T25" fmla="*/ 588 h 612"/>
                <a:gd name="T26" fmla="*/ 484 w 822"/>
                <a:gd name="T27" fmla="*/ 566 h 612"/>
                <a:gd name="T28" fmla="*/ 430 w 822"/>
                <a:gd name="T29" fmla="*/ 586 h 612"/>
                <a:gd name="T30" fmla="*/ 410 w 822"/>
                <a:gd name="T31" fmla="*/ 592 h 612"/>
                <a:gd name="T32" fmla="*/ 390 w 822"/>
                <a:gd name="T33" fmla="*/ 566 h 612"/>
                <a:gd name="T34" fmla="*/ 366 w 822"/>
                <a:gd name="T35" fmla="*/ 544 h 612"/>
                <a:gd name="T36" fmla="*/ 384 w 822"/>
                <a:gd name="T37" fmla="*/ 510 h 612"/>
                <a:gd name="T38" fmla="*/ 350 w 822"/>
                <a:gd name="T39" fmla="*/ 480 h 612"/>
                <a:gd name="T40" fmla="*/ 296 w 822"/>
                <a:gd name="T41" fmla="*/ 472 h 612"/>
                <a:gd name="T42" fmla="*/ 224 w 822"/>
                <a:gd name="T43" fmla="*/ 490 h 612"/>
                <a:gd name="T44" fmla="*/ 164 w 822"/>
                <a:gd name="T45" fmla="*/ 470 h 612"/>
                <a:gd name="T46" fmla="*/ 156 w 822"/>
                <a:gd name="T47" fmla="*/ 466 h 612"/>
                <a:gd name="T48" fmla="*/ 112 w 822"/>
                <a:gd name="T49" fmla="*/ 446 h 612"/>
                <a:gd name="T50" fmla="*/ 78 w 822"/>
                <a:gd name="T51" fmla="*/ 418 h 612"/>
                <a:gd name="T52" fmla="*/ 50 w 822"/>
                <a:gd name="T53" fmla="*/ 394 h 612"/>
                <a:gd name="T54" fmla="*/ 20 w 822"/>
                <a:gd name="T55" fmla="*/ 378 h 612"/>
                <a:gd name="T56" fmla="*/ 18 w 822"/>
                <a:gd name="T57" fmla="*/ 318 h 612"/>
                <a:gd name="T58" fmla="*/ 0 w 822"/>
                <a:gd name="T59" fmla="*/ 302 h 612"/>
                <a:gd name="T60" fmla="*/ 30 w 822"/>
                <a:gd name="T61" fmla="*/ 286 h 612"/>
                <a:gd name="T62" fmla="*/ 56 w 822"/>
                <a:gd name="T63" fmla="*/ 270 h 612"/>
                <a:gd name="T64" fmla="*/ 86 w 822"/>
                <a:gd name="T65" fmla="*/ 246 h 612"/>
                <a:gd name="T66" fmla="*/ 72 w 822"/>
                <a:gd name="T67" fmla="*/ 210 h 612"/>
                <a:gd name="T68" fmla="*/ 112 w 822"/>
                <a:gd name="T69" fmla="*/ 186 h 612"/>
                <a:gd name="T70" fmla="*/ 134 w 822"/>
                <a:gd name="T71" fmla="*/ 162 h 612"/>
                <a:gd name="T72" fmla="*/ 152 w 822"/>
                <a:gd name="T73" fmla="*/ 132 h 612"/>
                <a:gd name="T74" fmla="*/ 176 w 822"/>
                <a:gd name="T75" fmla="*/ 110 h 612"/>
                <a:gd name="T76" fmla="*/ 214 w 822"/>
                <a:gd name="T77" fmla="*/ 134 h 612"/>
                <a:gd name="T78" fmla="*/ 260 w 822"/>
                <a:gd name="T79" fmla="*/ 174 h 612"/>
                <a:gd name="T80" fmla="*/ 312 w 822"/>
                <a:gd name="T81" fmla="*/ 214 h 612"/>
                <a:gd name="T82" fmla="*/ 420 w 822"/>
                <a:gd name="T83" fmla="*/ 232 h 612"/>
                <a:gd name="T84" fmla="*/ 464 w 822"/>
                <a:gd name="T85" fmla="*/ 222 h 612"/>
                <a:gd name="T86" fmla="*/ 516 w 822"/>
                <a:gd name="T87" fmla="*/ 206 h 612"/>
                <a:gd name="T88" fmla="*/ 528 w 822"/>
                <a:gd name="T89" fmla="*/ 176 h 612"/>
                <a:gd name="T90" fmla="*/ 586 w 822"/>
                <a:gd name="T91" fmla="*/ 142 h 612"/>
                <a:gd name="T92" fmla="*/ 596 w 822"/>
                <a:gd name="T93" fmla="*/ 116 h 612"/>
                <a:gd name="T94" fmla="*/ 558 w 822"/>
                <a:gd name="T95" fmla="*/ 112 h 612"/>
                <a:gd name="T96" fmla="*/ 586 w 822"/>
                <a:gd name="T97" fmla="*/ 84 h 612"/>
                <a:gd name="T98" fmla="*/ 602 w 822"/>
                <a:gd name="T99" fmla="*/ 50 h 612"/>
                <a:gd name="T100" fmla="*/ 600 w 822"/>
                <a:gd name="T101" fmla="*/ 12 h 612"/>
                <a:gd name="T102" fmla="*/ 668 w 822"/>
                <a:gd name="T103" fmla="*/ 6 h 612"/>
                <a:gd name="T104" fmla="*/ 710 w 822"/>
                <a:gd name="T105" fmla="*/ 68 h 612"/>
                <a:gd name="T106" fmla="*/ 756 w 822"/>
                <a:gd name="T107" fmla="*/ 94 h 612"/>
                <a:gd name="T108" fmla="*/ 796 w 822"/>
                <a:gd name="T109" fmla="*/ 112 h 612"/>
                <a:gd name="T110" fmla="*/ 820 w 822"/>
                <a:gd name="T111" fmla="*/ 130 h 612"/>
                <a:gd name="T112" fmla="*/ 812 w 822"/>
                <a:gd name="T113" fmla="*/ 172 h 612"/>
                <a:gd name="T114" fmla="*/ 790 w 822"/>
                <a:gd name="T115" fmla="*/ 184 h 612"/>
                <a:gd name="T116" fmla="*/ 798 w 822"/>
                <a:gd name="T117" fmla="*/ 208 h 612"/>
                <a:gd name="T118" fmla="*/ 758 w 822"/>
                <a:gd name="T119" fmla="*/ 238 h 612"/>
                <a:gd name="T120" fmla="*/ 728 w 822"/>
                <a:gd name="T121" fmla="*/ 252 h 612"/>
                <a:gd name="T122" fmla="*/ 674 w 822"/>
                <a:gd name="T123" fmla="*/ 284 h 612"/>
                <a:gd name="T124" fmla="*/ 664 w 822"/>
                <a:gd name="T125" fmla="*/ 248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2" h="612">
                  <a:moveTo>
                    <a:pt x="648" y="266"/>
                  </a:moveTo>
                  <a:lnTo>
                    <a:pt x="648" y="266"/>
                  </a:lnTo>
                  <a:lnTo>
                    <a:pt x="648" y="268"/>
                  </a:lnTo>
                  <a:lnTo>
                    <a:pt x="646" y="268"/>
                  </a:lnTo>
                  <a:lnTo>
                    <a:pt x="646" y="268"/>
                  </a:lnTo>
                  <a:lnTo>
                    <a:pt x="646" y="270"/>
                  </a:lnTo>
                  <a:lnTo>
                    <a:pt x="644" y="272"/>
                  </a:lnTo>
                  <a:lnTo>
                    <a:pt x="642" y="272"/>
                  </a:lnTo>
                  <a:lnTo>
                    <a:pt x="642" y="272"/>
                  </a:lnTo>
                  <a:lnTo>
                    <a:pt x="638" y="274"/>
                  </a:lnTo>
                  <a:lnTo>
                    <a:pt x="634" y="276"/>
                  </a:lnTo>
                  <a:lnTo>
                    <a:pt x="630" y="278"/>
                  </a:lnTo>
                  <a:lnTo>
                    <a:pt x="628" y="278"/>
                  </a:lnTo>
                  <a:lnTo>
                    <a:pt x="628" y="280"/>
                  </a:lnTo>
                  <a:lnTo>
                    <a:pt x="626" y="280"/>
                  </a:lnTo>
                  <a:lnTo>
                    <a:pt x="626" y="282"/>
                  </a:lnTo>
                  <a:lnTo>
                    <a:pt x="626" y="284"/>
                  </a:lnTo>
                  <a:lnTo>
                    <a:pt x="626" y="286"/>
                  </a:lnTo>
                  <a:lnTo>
                    <a:pt x="624" y="288"/>
                  </a:lnTo>
                  <a:lnTo>
                    <a:pt x="626" y="290"/>
                  </a:lnTo>
                  <a:lnTo>
                    <a:pt x="626" y="292"/>
                  </a:lnTo>
                  <a:lnTo>
                    <a:pt x="626" y="294"/>
                  </a:lnTo>
                  <a:lnTo>
                    <a:pt x="626" y="296"/>
                  </a:lnTo>
                  <a:lnTo>
                    <a:pt x="626" y="296"/>
                  </a:lnTo>
                  <a:lnTo>
                    <a:pt x="628" y="298"/>
                  </a:lnTo>
                  <a:lnTo>
                    <a:pt x="630" y="300"/>
                  </a:lnTo>
                  <a:lnTo>
                    <a:pt x="632" y="302"/>
                  </a:lnTo>
                  <a:lnTo>
                    <a:pt x="634" y="304"/>
                  </a:lnTo>
                  <a:lnTo>
                    <a:pt x="636" y="306"/>
                  </a:lnTo>
                  <a:lnTo>
                    <a:pt x="638" y="308"/>
                  </a:lnTo>
                  <a:lnTo>
                    <a:pt x="640" y="308"/>
                  </a:lnTo>
                  <a:lnTo>
                    <a:pt x="642" y="310"/>
                  </a:lnTo>
                  <a:lnTo>
                    <a:pt x="644" y="310"/>
                  </a:lnTo>
                  <a:lnTo>
                    <a:pt x="646" y="310"/>
                  </a:lnTo>
                  <a:lnTo>
                    <a:pt x="648" y="312"/>
                  </a:lnTo>
                  <a:lnTo>
                    <a:pt x="650" y="312"/>
                  </a:lnTo>
                  <a:lnTo>
                    <a:pt x="652" y="312"/>
                  </a:lnTo>
                  <a:lnTo>
                    <a:pt x="654" y="312"/>
                  </a:lnTo>
                  <a:lnTo>
                    <a:pt x="656" y="312"/>
                  </a:lnTo>
                  <a:lnTo>
                    <a:pt x="658" y="310"/>
                  </a:lnTo>
                  <a:lnTo>
                    <a:pt x="658" y="310"/>
                  </a:lnTo>
                  <a:lnTo>
                    <a:pt x="658" y="310"/>
                  </a:lnTo>
                  <a:lnTo>
                    <a:pt x="660" y="308"/>
                  </a:lnTo>
                  <a:lnTo>
                    <a:pt x="662" y="308"/>
                  </a:lnTo>
                  <a:lnTo>
                    <a:pt x="662" y="306"/>
                  </a:lnTo>
                  <a:lnTo>
                    <a:pt x="664" y="304"/>
                  </a:lnTo>
                  <a:lnTo>
                    <a:pt x="666" y="302"/>
                  </a:lnTo>
                  <a:lnTo>
                    <a:pt x="668" y="300"/>
                  </a:lnTo>
                  <a:lnTo>
                    <a:pt x="668" y="300"/>
                  </a:lnTo>
                  <a:lnTo>
                    <a:pt x="668" y="300"/>
                  </a:lnTo>
                  <a:lnTo>
                    <a:pt x="670" y="300"/>
                  </a:lnTo>
                  <a:lnTo>
                    <a:pt x="674" y="298"/>
                  </a:lnTo>
                  <a:lnTo>
                    <a:pt x="676" y="298"/>
                  </a:lnTo>
                  <a:lnTo>
                    <a:pt x="680" y="298"/>
                  </a:lnTo>
                  <a:lnTo>
                    <a:pt x="682" y="300"/>
                  </a:lnTo>
                  <a:lnTo>
                    <a:pt x="686" y="300"/>
                  </a:lnTo>
                  <a:lnTo>
                    <a:pt x="686" y="300"/>
                  </a:lnTo>
                  <a:lnTo>
                    <a:pt x="688" y="300"/>
                  </a:lnTo>
                  <a:lnTo>
                    <a:pt x="690" y="302"/>
                  </a:lnTo>
                  <a:lnTo>
                    <a:pt x="690" y="302"/>
                  </a:lnTo>
                  <a:lnTo>
                    <a:pt x="690" y="302"/>
                  </a:lnTo>
                  <a:lnTo>
                    <a:pt x="692" y="304"/>
                  </a:lnTo>
                  <a:lnTo>
                    <a:pt x="692" y="304"/>
                  </a:lnTo>
                  <a:lnTo>
                    <a:pt x="692" y="306"/>
                  </a:lnTo>
                  <a:lnTo>
                    <a:pt x="694" y="308"/>
                  </a:lnTo>
                  <a:lnTo>
                    <a:pt x="694" y="312"/>
                  </a:lnTo>
                  <a:lnTo>
                    <a:pt x="696" y="314"/>
                  </a:lnTo>
                  <a:lnTo>
                    <a:pt x="696" y="316"/>
                  </a:lnTo>
                  <a:lnTo>
                    <a:pt x="696" y="318"/>
                  </a:lnTo>
                  <a:lnTo>
                    <a:pt x="696" y="318"/>
                  </a:lnTo>
                  <a:lnTo>
                    <a:pt x="696" y="320"/>
                  </a:lnTo>
                  <a:lnTo>
                    <a:pt x="696" y="322"/>
                  </a:lnTo>
                  <a:lnTo>
                    <a:pt x="696" y="322"/>
                  </a:lnTo>
                  <a:lnTo>
                    <a:pt x="694" y="322"/>
                  </a:lnTo>
                  <a:lnTo>
                    <a:pt x="694" y="324"/>
                  </a:lnTo>
                  <a:lnTo>
                    <a:pt x="692" y="324"/>
                  </a:lnTo>
                  <a:lnTo>
                    <a:pt x="692" y="324"/>
                  </a:lnTo>
                  <a:lnTo>
                    <a:pt x="690" y="326"/>
                  </a:lnTo>
                  <a:lnTo>
                    <a:pt x="686" y="326"/>
                  </a:lnTo>
                  <a:lnTo>
                    <a:pt x="680" y="328"/>
                  </a:lnTo>
                  <a:lnTo>
                    <a:pt x="678" y="328"/>
                  </a:lnTo>
                  <a:lnTo>
                    <a:pt x="676" y="328"/>
                  </a:lnTo>
                  <a:lnTo>
                    <a:pt x="676" y="328"/>
                  </a:lnTo>
                  <a:lnTo>
                    <a:pt x="672" y="330"/>
                  </a:lnTo>
                  <a:lnTo>
                    <a:pt x="670" y="332"/>
                  </a:lnTo>
                  <a:lnTo>
                    <a:pt x="666" y="334"/>
                  </a:lnTo>
                  <a:lnTo>
                    <a:pt x="664" y="336"/>
                  </a:lnTo>
                  <a:lnTo>
                    <a:pt x="662" y="338"/>
                  </a:lnTo>
                  <a:lnTo>
                    <a:pt x="662" y="340"/>
                  </a:lnTo>
                  <a:lnTo>
                    <a:pt x="660" y="340"/>
                  </a:lnTo>
                  <a:lnTo>
                    <a:pt x="660" y="342"/>
                  </a:lnTo>
                  <a:lnTo>
                    <a:pt x="660" y="342"/>
                  </a:lnTo>
                  <a:lnTo>
                    <a:pt x="660" y="344"/>
                  </a:lnTo>
                  <a:lnTo>
                    <a:pt x="660" y="344"/>
                  </a:lnTo>
                  <a:lnTo>
                    <a:pt x="660" y="346"/>
                  </a:lnTo>
                  <a:lnTo>
                    <a:pt x="660" y="346"/>
                  </a:lnTo>
                  <a:lnTo>
                    <a:pt x="660" y="350"/>
                  </a:lnTo>
                  <a:lnTo>
                    <a:pt x="662" y="352"/>
                  </a:lnTo>
                  <a:lnTo>
                    <a:pt x="662" y="354"/>
                  </a:lnTo>
                  <a:lnTo>
                    <a:pt x="664" y="356"/>
                  </a:lnTo>
                  <a:lnTo>
                    <a:pt x="666" y="362"/>
                  </a:lnTo>
                  <a:lnTo>
                    <a:pt x="668" y="368"/>
                  </a:lnTo>
                  <a:lnTo>
                    <a:pt x="672" y="374"/>
                  </a:lnTo>
                  <a:lnTo>
                    <a:pt x="674" y="378"/>
                  </a:lnTo>
                  <a:lnTo>
                    <a:pt x="676" y="380"/>
                  </a:lnTo>
                  <a:lnTo>
                    <a:pt x="676" y="384"/>
                  </a:lnTo>
                  <a:lnTo>
                    <a:pt x="678" y="386"/>
                  </a:lnTo>
                  <a:lnTo>
                    <a:pt x="680" y="388"/>
                  </a:lnTo>
                  <a:lnTo>
                    <a:pt x="680" y="388"/>
                  </a:lnTo>
                  <a:lnTo>
                    <a:pt x="682" y="390"/>
                  </a:lnTo>
                  <a:lnTo>
                    <a:pt x="688" y="396"/>
                  </a:lnTo>
                  <a:lnTo>
                    <a:pt x="692" y="398"/>
                  </a:lnTo>
                  <a:lnTo>
                    <a:pt x="694" y="400"/>
                  </a:lnTo>
                  <a:lnTo>
                    <a:pt x="696" y="402"/>
                  </a:lnTo>
                  <a:lnTo>
                    <a:pt x="696" y="402"/>
                  </a:lnTo>
                  <a:lnTo>
                    <a:pt x="696" y="404"/>
                  </a:lnTo>
                  <a:lnTo>
                    <a:pt x="698" y="406"/>
                  </a:lnTo>
                  <a:lnTo>
                    <a:pt x="698" y="406"/>
                  </a:lnTo>
                  <a:lnTo>
                    <a:pt x="698" y="406"/>
                  </a:lnTo>
                  <a:lnTo>
                    <a:pt x="698" y="408"/>
                  </a:lnTo>
                  <a:lnTo>
                    <a:pt x="698" y="412"/>
                  </a:lnTo>
                  <a:lnTo>
                    <a:pt x="698" y="414"/>
                  </a:lnTo>
                  <a:lnTo>
                    <a:pt x="698" y="418"/>
                  </a:lnTo>
                  <a:lnTo>
                    <a:pt x="698" y="420"/>
                  </a:lnTo>
                  <a:lnTo>
                    <a:pt x="698" y="422"/>
                  </a:lnTo>
                  <a:lnTo>
                    <a:pt x="698" y="424"/>
                  </a:lnTo>
                  <a:lnTo>
                    <a:pt x="698" y="426"/>
                  </a:lnTo>
                  <a:lnTo>
                    <a:pt x="700" y="430"/>
                  </a:lnTo>
                  <a:lnTo>
                    <a:pt x="700" y="436"/>
                  </a:lnTo>
                  <a:lnTo>
                    <a:pt x="702" y="440"/>
                  </a:lnTo>
                  <a:lnTo>
                    <a:pt x="702" y="442"/>
                  </a:lnTo>
                  <a:lnTo>
                    <a:pt x="702" y="444"/>
                  </a:lnTo>
                  <a:lnTo>
                    <a:pt x="704" y="448"/>
                  </a:lnTo>
                  <a:lnTo>
                    <a:pt x="706" y="454"/>
                  </a:lnTo>
                  <a:lnTo>
                    <a:pt x="708" y="460"/>
                  </a:lnTo>
                  <a:lnTo>
                    <a:pt x="708" y="464"/>
                  </a:lnTo>
                  <a:lnTo>
                    <a:pt x="710" y="466"/>
                  </a:lnTo>
                  <a:lnTo>
                    <a:pt x="710" y="470"/>
                  </a:lnTo>
                  <a:lnTo>
                    <a:pt x="710" y="472"/>
                  </a:lnTo>
                  <a:lnTo>
                    <a:pt x="710" y="474"/>
                  </a:lnTo>
                  <a:lnTo>
                    <a:pt x="710" y="476"/>
                  </a:lnTo>
                  <a:lnTo>
                    <a:pt x="710" y="478"/>
                  </a:lnTo>
                  <a:lnTo>
                    <a:pt x="710" y="478"/>
                  </a:lnTo>
                  <a:lnTo>
                    <a:pt x="710" y="480"/>
                  </a:lnTo>
                  <a:lnTo>
                    <a:pt x="708" y="480"/>
                  </a:lnTo>
                  <a:lnTo>
                    <a:pt x="708" y="482"/>
                  </a:lnTo>
                  <a:lnTo>
                    <a:pt x="708" y="482"/>
                  </a:lnTo>
                  <a:lnTo>
                    <a:pt x="708" y="482"/>
                  </a:lnTo>
                  <a:lnTo>
                    <a:pt x="706" y="482"/>
                  </a:lnTo>
                  <a:lnTo>
                    <a:pt x="704" y="482"/>
                  </a:lnTo>
                  <a:lnTo>
                    <a:pt x="702" y="482"/>
                  </a:lnTo>
                  <a:lnTo>
                    <a:pt x="700" y="482"/>
                  </a:lnTo>
                  <a:lnTo>
                    <a:pt x="700" y="482"/>
                  </a:lnTo>
                  <a:lnTo>
                    <a:pt x="700" y="482"/>
                  </a:lnTo>
                  <a:lnTo>
                    <a:pt x="698" y="484"/>
                  </a:lnTo>
                  <a:lnTo>
                    <a:pt x="698" y="484"/>
                  </a:lnTo>
                  <a:lnTo>
                    <a:pt x="698" y="484"/>
                  </a:lnTo>
                  <a:lnTo>
                    <a:pt x="698" y="486"/>
                  </a:lnTo>
                  <a:lnTo>
                    <a:pt x="698" y="488"/>
                  </a:lnTo>
                  <a:lnTo>
                    <a:pt x="698" y="490"/>
                  </a:lnTo>
                  <a:lnTo>
                    <a:pt x="698" y="494"/>
                  </a:lnTo>
                  <a:lnTo>
                    <a:pt x="696" y="496"/>
                  </a:lnTo>
                  <a:lnTo>
                    <a:pt x="696" y="496"/>
                  </a:lnTo>
                  <a:lnTo>
                    <a:pt x="696" y="498"/>
                  </a:lnTo>
                  <a:lnTo>
                    <a:pt x="696" y="498"/>
                  </a:lnTo>
                  <a:lnTo>
                    <a:pt x="696" y="498"/>
                  </a:lnTo>
                  <a:lnTo>
                    <a:pt x="694" y="500"/>
                  </a:lnTo>
                  <a:lnTo>
                    <a:pt x="692" y="502"/>
                  </a:lnTo>
                  <a:lnTo>
                    <a:pt x="690" y="504"/>
                  </a:lnTo>
                  <a:lnTo>
                    <a:pt x="686" y="506"/>
                  </a:lnTo>
                  <a:lnTo>
                    <a:pt x="686" y="506"/>
                  </a:lnTo>
                  <a:lnTo>
                    <a:pt x="684" y="508"/>
                  </a:lnTo>
                  <a:lnTo>
                    <a:pt x="682" y="508"/>
                  </a:lnTo>
                  <a:lnTo>
                    <a:pt x="682" y="510"/>
                  </a:lnTo>
                  <a:lnTo>
                    <a:pt x="682" y="510"/>
                  </a:lnTo>
                  <a:lnTo>
                    <a:pt x="682" y="512"/>
                  </a:lnTo>
                  <a:lnTo>
                    <a:pt x="682" y="512"/>
                  </a:lnTo>
                  <a:lnTo>
                    <a:pt x="682" y="514"/>
                  </a:lnTo>
                  <a:lnTo>
                    <a:pt x="682" y="516"/>
                  </a:lnTo>
                  <a:lnTo>
                    <a:pt x="684" y="520"/>
                  </a:lnTo>
                  <a:lnTo>
                    <a:pt x="684" y="522"/>
                  </a:lnTo>
                  <a:lnTo>
                    <a:pt x="684" y="524"/>
                  </a:lnTo>
                  <a:lnTo>
                    <a:pt x="684" y="526"/>
                  </a:lnTo>
                  <a:lnTo>
                    <a:pt x="684" y="526"/>
                  </a:lnTo>
                  <a:lnTo>
                    <a:pt x="684" y="528"/>
                  </a:lnTo>
                  <a:lnTo>
                    <a:pt x="684" y="528"/>
                  </a:lnTo>
                  <a:lnTo>
                    <a:pt x="684" y="530"/>
                  </a:lnTo>
                  <a:lnTo>
                    <a:pt x="682" y="530"/>
                  </a:lnTo>
                  <a:lnTo>
                    <a:pt x="682" y="532"/>
                  </a:lnTo>
                  <a:lnTo>
                    <a:pt x="680" y="532"/>
                  </a:lnTo>
                  <a:lnTo>
                    <a:pt x="678" y="534"/>
                  </a:lnTo>
                  <a:lnTo>
                    <a:pt x="676" y="536"/>
                  </a:lnTo>
                  <a:lnTo>
                    <a:pt x="674" y="538"/>
                  </a:lnTo>
                  <a:lnTo>
                    <a:pt x="672" y="538"/>
                  </a:lnTo>
                  <a:lnTo>
                    <a:pt x="670" y="538"/>
                  </a:lnTo>
                  <a:lnTo>
                    <a:pt x="668" y="538"/>
                  </a:lnTo>
                  <a:lnTo>
                    <a:pt x="668" y="538"/>
                  </a:lnTo>
                  <a:lnTo>
                    <a:pt x="664" y="538"/>
                  </a:lnTo>
                  <a:lnTo>
                    <a:pt x="664" y="538"/>
                  </a:lnTo>
                  <a:lnTo>
                    <a:pt x="662" y="540"/>
                  </a:lnTo>
                  <a:lnTo>
                    <a:pt x="660" y="540"/>
                  </a:lnTo>
                  <a:lnTo>
                    <a:pt x="660" y="540"/>
                  </a:lnTo>
                  <a:lnTo>
                    <a:pt x="660" y="540"/>
                  </a:lnTo>
                  <a:lnTo>
                    <a:pt x="660" y="540"/>
                  </a:lnTo>
                  <a:lnTo>
                    <a:pt x="658" y="542"/>
                  </a:lnTo>
                  <a:lnTo>
                    <a:pt x="658" y="542"/>
                  </a:lnTo>
                  <a:lnTo>
                    <a:pt x="658" y="544"/>
                  </a:lnTo>
                  <a:lnTo>
                    <a:pt x="658" y="546"/>
                  </a:lnTo>
                  <a:lnTo>
                    <a:pt x="658" y="548"/>
                  </a:lnTo>
                  <a:lnTo>
                    <a:pt x="658" y="550"/>
                  </a:lnTo>
                  <a:lnTo>
                    <a:pt x="658" y="552"/>
                  </a:lnTo>
                  <a:lnTo>
                    <a:pt x="658" y="552"/>
                  </a:lnTo>
                  <a:lnTo>
                    <a:pt x="658" y="554"/>
                  </a:lnTo>
                  <a:lnTo>
                    <a:pt x="658" y="554"/>
                  </a:lnTo>
                  <a:lnTo>
                    <a:pt x="658" y="554"/>
                  </a:lnTo>
                  <a:lnTo>
                    <a:pt x="656" y="556"/>
                  </a:lnTo>
                  <a:lnTo>
                    <a:pt x="656" y="556"/>
                  </a:lnTo>
                  <a:lnTo>
                    <a:pt x="654" y="556"/>
                  </a:lnTo>
                  <a:lnTo>
                    <a:pt x="654" y="556"/>
                  </a:lnTo>
                  <a:lnTo>
                    <a:pt x="652" y="556"/>
                  </a:lnTo>
                  <a:lnTo>
                    <a:pt x="650" y="558"/>
                  </a:lnTo>
                  <a:lnTo>
                    <a:pt x="648" y="558"/>
                  </a:lnTo>
                  <a:lnTo>
                    <a:pt x="646" y="558"/>
                  </a:lnTo>
                  <a:lnTo>
                    <a:pt x="646" y="558"/>
                  </a:lnTo>
                  <a:lnTo>
                    <a:pt x="646" y="558"/>
                  </a:lnTo>
                  <a:lnTo>
                    <a:pt x="646" y="560"/>
                  </a:lnTo>
                  <a:lnTo>
                    <a:pt x="646" y="560"/>
                  </a:lnTo>
                  <a:lnTo>
                    <a:pt x="644" y="562"/>
                  </a:lnTo>
                  <a:lnTo>
                    <a:pt x="644" y="564"/>
                  </a:lnTo>
                  <a:lnTo>
                    <a:pt x="644" y="566"/>
                  </a:lnTo>
                  <a:lnTo>
                    <a:pt x="644" y="568"/>
                  </a:lnTo>
                  <a:lnTo>
                    <a:pt x="644" y="570"/>
                  </a:lnTo>
                  <a:lnTo>
                    <a:pt x="644" y="572"/>
                  </a:lnTo>
                  <a:lnTo>
                    <a:pt x="644" y="572"/>
                  </a:lnTo>
                  <a:lnTo>
                    <a:pt x="644" y="572"/>
                  </a:lnTo>
                  <a:lnTo>
                    <a:pt x="642" y="574"/>
                  </a:lnTo>
                  <a:lnTo>
                    <a:pt x="642" y="574"/>
                  </a:lnTo>
                  <a:lnTo>
                    <a:pt x="640" y="576"/>
                  </a:lnTo>
                  <a:lnTo>
                    <a:pt x="638" y="576"/>
                  </a:lnTo>
                  <a:lnTo>
                    <a:pt x="636" y="576"/>
                  </a:lnTo>
                  <a:lnTo>
                    <a:pt x="632" y="578"/>
                  </a:lnTo>
                  <a:lnTo>
                    <a:pt x="628" y="578"/>
                  </a:lnTo>
                  <a:lnTo>
                    <a:pt x="624" y="580"/>
                  </a:lnTo>
                  <a:lnTo>
                    <a:pt x="620" y="580"/>
                  </a:lnTo>
                  <a:lnTo>
                    <a:pt x="618" y="580"/>
                  </a:lnTo>
                  <a:lnTo>
                    <a:pt x="616" y="580"/>
                  </a:lnTo>
                  <a:lnTo>
                    <a:pt x="614" y="580"/>
                  </a:lnTo>
                  <a:lnTo>
                    <a:pt x="608" y="578"/>
                  </a:lnTo>
                  <a:lnTo>
                    <a:pt x="604" y="578"/>
                  </a:lnTo>
                  <a:lnTo>
                    <a:pt x="602" y="578"/>
                  </a:lnTo>
                  <a:lnTo>
                    <a:pt x="600" y="578"/>
                  </a:lnTo>
                  <a:lnTo>
                    <a:pt x="596" y="578"/>
                  </a:lnTo>
                  <a:lnTo>
                    <a:pt x="594" y="578"/>
                  </a:lnTo>
                  <a:lnTo>
                    <a:pt x="590" y="580"/>
                  </a:lnTo>
                  <a:lnTo>
                    <a:pt x="588" y="580"/>
                  </a:lnTo>
                  <a:lnTo>
                    <a:pt x="584" y="582"/>
                  </a:lnTo>
                  <a:lnTo>
                    <a:pt x="582" y="582"/>
                  </a:lnTo>
                  <a:lnTo>
                    <a:pt x="578" y="584"/>
                  </a:lnTo>
                  <a:lnTo>
                    <a:pt x="576" y="586"/>
                  </a:lnTo>
                  <a:lnTo>
                    <a:pt x="574" y="586"/>
                  </a:lnTo>
                  <a:lnTo>
                    <a:pt x="572" y="588"/>
                  </a:lnTo>
                  <a:lnTo>
                    <a:pt x="568" y="592"/>
                  </a:lnTo>
                  <a:lnTo>
                    <a:pt x="564" y="594"/>
                  </a:lnTo>
                  <a:lnTo>
                    <a:pt x="560" y="598"/>
                  </a:lnTo>
                  <a:lnTo>
                    <a:pt x="554" y="602"/>
                  </a:lnTo>
                  <a:lnTo>
                    <a:pt x="552" y="604"/>
                  </a:lnTo>
                  <a:lnTo>
                    <a:pt x="552" y="606"/>
                  </a:lnTo>
                  <a:lnTo>
                    <a:pt x="550" y="608"/>
                  </a:lnTo>
                  <a:lnTo>
                    <a:pt x="548" y="610"/>
                  </a:lnTo>
                  <a:lnTo>
                    <a:pt x="546" y="610"/>
                  </a:lnTo>
                  <a:lnTo>
                    <a:pt x="546" y="612"/>
                  </a:lnTo>
                  <a:lnTo>
                    <a:pt x="546" y="612"/>
                  </a:lnTo>
                  <a:lnTo>
                    <a:pt x="544" y="612"/>
                  </a:lnTo>
                  <a:lnTo>
                    <a:pt x="544" y="612"/>
                  </a:lnTo>
                  <a:lnTo>
                    <a:pt x="542" y="612"/>
                  </a:lnTo>
                  <a:lnTo>
                    <a:pt x="542" y="610"/>
                  </a:lnTo>
                  <a:lnTo>
                    <a:pt x="542" y="610"/>
                  </a:lnTo>
                  <a:lnTo>
                    <a:pt x="542" y="608"/>
                  </a:lnTo>
                  <a:lnTo>
                    <a:pt x="540" y="608"/>
                  </a:lnTo>
                  <a:lnTo>
                    <a:pt x="540" y="606"/>
                  </a:lnTo>
                  <a:lnTo>
                    <a:pt x="540" y="602"/>
                  </a:lnTo>
                  <a:lnTo>
                    <a:pt x="540" y="600"/>
                  </a:lnTo>
                  <a:lnTo>
                    <a:pt x="540" y="596"/>
                  </a:lnTo>
                  <a:lnTo>
                    <a:pt x="540" y="594"/>
                  </a:lnTo>
                  <a:lnTo>
                    <a:pt x="538" y="594"/>
                  </a:lnTo>
                  <a:lnTo>
                    <a:pt x="538" y="592"/>
                  </a:lnTo>
                  <a:lnTo>
                    <a:pt x="538" y="592"/>
                  </a:lnTo>
                  <a:lnTo>
                    <a:pt x="536" y="590"/>
                  </a:lnTo>
                  <a:lnTo>
                    <a:pt x="536" y="590"/>
                  </a:lnTo>
                  <a:lnTo>
                    <a:pt x="534" y="588"/>
                  </a:lnTo>
                  <a:lnTo>
                    <a:pt x="534" y="588"/>
                  </a:lnTo>
                  <a:lnTo>
                    <a:pt x="532" y="588"/>
                  </a:lnTo>
                  <a:lnTo>
                    <a:pt x="532" y="586"/>
                  </a:lnTo>
                  <a:lnTo>
                    <a:pt x="530" y="586"/>
                  </a:lnTo>
                  <a:lnTo>
                    <a:pt x="530" y="586"/>
                  </a:lnTo>
                  <a:lnTo>
                    <a:pt x="528" y="586"/>
                  </a:lnTo>
                  <a:lnTo>
                    <a:pt x="528" y="588"/>
                  </a:lnTo>
                  <a:lnTo>
                    <a:pt x="528" y="588"/>
                  </a:lnTo>
                  <a:lnTo>
                    <a:pt x="526" y="588"/>
                  </a:lnTo>
                  <a:lnTo>
                    <a:pt x="526" y="590"/>
                  </a:lnTo>
                  <a:lnTo>
                    <a:pt x="526" y="592"/>
                  </a:lnTo>
                  <a:lnTo>
                    <a:pt x="524" y="592"/>
                  </a:lnTo>
                  <a:lnTo>
                    <a:pt x="524" y="596"/>
                  </a:lnTo>
                  <a:lnTo>
                    <a:pt x="524" y="598"/>
                  </a:lnTo>
                  <a:lnTo>
                    <a:pt x="522" y="602"/>
                  </a:lnTo>
                  <a:lnTo>
                    <a:pt x="522" y="604"/>
                  </a:lnTo>
                  <a:lnTo>
                    <a:pt x="520" y="600"/>
                  </a:lnTo>
                  <a:lnTo>
                    <a:pt x="518" y="596"/>
                  </a:lnTo>
                  <a:lnTo>
                    <a:pt x="514" y="590"/>
                  </a:lnTo>
                  <a:lnTo>
                    <a:pt x="512" y="586"/>
                  </a:lnTo>
                  <a:lnTo>
                    <a:pt x="508" y="580"/>
                  </a:lnTo>
                  <a:lnTo>
                    <a:pt x="506" y="578"/>
                  </a:lnTo>
                  <a:lnTo>
                    <a:pt x="504" y="576"/>
                  </a:lnTo>
                  <a:lnTo>
                    <a:pt x="502" y="574"/>
                  </a:lnTo>
                  <a:lnTo>
                    <a:pt x="502" y="572"/>
                  </a:lnTo>
                  <a:lnTo>
                    <a:pt x="500" y="572"/>
                  </a:lnTo>
                  <a:lnTo>
                    <a:pt x="498" y="572"/>
                  </a:lnTo>
                  <a:lnTo>
                    <a:pt x="496" y="570"/>
                  </a:lnTo>
                  <a:lnTo>
                    <a:pt x="494" y="568"/>
                  </a:lnTo>
                  <a:lnTo>
                    <a:pt x="490" y="568"/>
                  </a:lnTo>
                  <a:lnTo>
                    <a:pt x="488" y="566"/>
                  </a:lnTo>
                  <a:lnTo>
                    <a:pt x="484" y="566"/>
                  </a:lnTo>
                  <a:lnTo>
                    <a:pt x="478" y="566"/>
                  </a:lnTo>
                  <a:lnTo>
                    <a:pt x="476" y="564"/>
                  </a:lnTo>
                  <a:lnTo>
                    <a:pt x="470" y="564"/>
                  </a:lnTo>
                  <a:lnTo>
                    <a:pt x="466" y="564"/>
                  </a:lnTo>
                  <a:lnTo>
                    <a:pt x="464" y="564"/>
                  </a:lnTo>
                  <a:lnTo>
                    <a:pt x="464" y="566"/>
                  </a:lnTo>
                  <a:lnTo>
                    <a:pt x="462" y="566"/>
                  </a:lnTo>
                  <a:lnTo>
                    <a:pt x="460" y="566"/>
                  </a:lnTo>
                  <a:lnTo>
                    <a:pt x="458" y="568"/>
                  </a:lnTo>
                  <a:lnTo>
                    <a:pt x="454" y="570"/>
                  </a:lnTo>
                  <a:lnTo>
                    <a:pt x="450" y="572"/>
                  </a:lnTo>
                  <a:lnTo>
                    <a:pt x="444" y="576"/>
                  </a:lnTo>
                  <a:lnTo>
                    <a:pt x="440" y="578"/>
                  </a:lnTo>
                  <a:lnTo>
                    <a:pt x="440" y="578"/>
                  </a:lnTo>
                  <a:lnTo>
                    <a:pt x="436" y="580"/>
                  </a:lnTo>
                  <a:lnTo>
                    <a:pt x="434" y="580"/>
                  </a:lnTo>
                  <a:lnTo>
                    <a:pt x="432" y="580"/>
                  </a:lnTo>
                  <a:lnTo>
                    <a:pt x="430" y="582"/>
                  </a:lnTo>
                  <a:lnTo>
                    <a:pt x="430" y="582"/>
                  </a:lnTo>
                  <a:lnTo>
                    <a:pt x="430" y="582"/>
                  </a:lnTo>
                  <a:lnTo>
                    <a:pt x="430" y="584"/>
                  </a:lnTo>
                  <a:lnTo>
                    <a:pt x="428" y="584"/>
                  </a:lnTo>
                  <a:lnTo>
                    <a:pt x="430" y="586"/>
                  </a:lnTo>
                  <a:lnTo>
                    <a:pt x="430" y="586"/>
                  </a:lnTo>
                  <a:lnTo>
                    <a:pt x="430" y="588"/>
                  </a:lnTo>
                  <a:lnTo>
                    <a:pt x="430" y="590"/>
                  </a:lnTo>
                  <a:lnTo>
                    <a:pt x="432" y="592"/>
                  </a:lnTo>
                  <a:lnTo>
                    <a:pt x="432" y="594"/>
                  </a:lnTo>
                  <a:lnTo>
                    <a:pt x="432" y="596"/>
                  </a:lnTo>
                  <a:lnTo>
                    <a:pt x="432" y="596"/>
                  </a:lnTo>
                  <a:lnTo>
                    <a:pt x="432" y="598"/>
                  </a:lnTo>
                  <a:lnTo>
                    <a:pt x="432" y="598"/>
                  </a:lnTo>
                  <a:lnTo>
                    <a:pt x="432" y="598"/>
                  </a:lnTo>
                  <a:lnTo>
                    <a:pt x="430" y="600"/>
                  </a:lnTo>
                  <a:lnTo>
                    <a:pt x="428" y="600"/>
                  </a:lnTo>
                  <a:lnTo>
                    <a:pt x="428" y="600"/>
                  </a:lnTo>
                  <a:lnTo>
                    <a:pt x="426" y="600"/>
                  </a:lnTo>
                  <a:lnTo>
                    <a:pt x="424" y="600"/>
                  </a:lnTo>
                  <a:lnTo>
                    <a:pt x="420" y="600"/>
                  </a:lnTo>
                  <a:lnTo>
                    <a:pt x="418" y="600"/>
                  </a:lnTo>
                  <a:lnTo>
                    <a:pt x="414" y="600"/>
                  </a:lnTo>
                  <a:lnTo>
                    <a:pt x="412" y="600"/>
                  </a:lnTo>
                  <a:lnTo>
                    <a:pt x="412" y="600"/>
                  </a:lnTo>
                  <a:lnTo>
                    <a:pt x="410" y="596"/>
                  </a:lnTo>
                  <a:lnTo>
                    <a:pt x="410" y="594"/>
                  </a:lnTo>
                  <a:lnTo>
                    <a:pt x="410" y="592"/>
                  </a:lnTo>
                  <a:lnTo>
                    <a:pt x="408" y="592"/>
                  </a:lnTo>
                  <a:lnTo>
                    <a:pt x="408" y="590"/>
                  </a:lnTo>
                  <a:lnTo>
                    <a:pt x="408" y="590"/>
                  </a:lnTo>
                  <a:lnTo>
                    <a:pt x="408" y="590"/>
                  </a:lnTo>
                  <a:lnTo>
                    <a:pt x="406" y="590"/>
                  </a:lnTo>
                  <a:lnTo>
                    <a:pt x="406" y="590"/>
                  </a:lnTo>
                  <a:lnTo>
                    <a:pt x="404" y="590"/>
                  </a:lnTo>
                  <a:lnTo>
                    <a:pt x="400" y="590"/>
                  </a:lnTo>
                  <a:lnTo>
                    <a:pt x="398" y="588"/>
                  </a:lnTo>
                  <a:lnTo>
                    <a:pt x="396" y="588"/>
                  </a:lnTo>
                  <a:lnTo>
                    <a:pt x="396" y="588"/>
                  </a:lnTo>
                  <a:lnTo>
                    <a:pt x="396" y="588"/>
                  </a:lnTo>
                  <a:lnTo>
                    <a:pt x="394" y="588"/>
                  </a:lnTo>
                  <a:lnTo>
                    <a:pt x="394" y="588"/>
                  </a:lnTo>
                  <a:lnTo>
                    <a:pt x="394" y="586"/>
                  </a:lnTo>
                  <a:lnTo>
                    <a:pt x="392" y="586"/>
                  </a:lnTo>
                  <a:lnTo>
                    <a:pt x="392" y="584"/>
                  </a:lnTo>
                  <a:lnTo>
                    <a:pt x="392" y="582"/>
                  </a:lnTo>
                  <a:lnTo>
                    <a:pt x="392" y="580"/>
                  </a:lnTo>
                  <a:lnTo>
                    <a:pt x="392" y="576"/>
                  </a:lnTo>
                  <a:lnTo>
                    <a:pt x="392" y="570"/>
                  </a:lnTo>
                  <a:lnTo>
                    <a:pt x="390" y="566"/>
                  </a:lnTo>
                  <a:lnTo>
                    <a:pt x="390" y="566"/>
                  </a:lnTo>
                  <a:lnTo>
                    <a:pt x="390" y="564"/>
                  </a:lnTo>
                  <a:lnTo>
                    <a:pt x="390" y="560"/>
                  </a:lnTo>
                  <a:lnTo>
                    <a:pt x="388" y="558"/>
                  </a:lnTo>
                  <a:lnTo>
                    <a:pt x="388" y="556"/>
                  </a:lnTo>
                  <a:lnTo>
                    <a:pt x="386" y="554"/>
                  </a:lnTo>
                  <a:lnTo>
                    <a:pt x="386" y="552"/>
                  </a:lnTo>
                  <a:lnTo>
                    <a:pt x="384" y="550"/>
                  </a:lnTo>
                  <a:lnTo>
                    <a:pt x="384" y="550"/>
                  </a:lnTo>
                  <a:lnTo>
                    <a:pt x="382" y="548"/>
                  </a:lnTo>
                  <a:lnTo>
                    <a:pt x="382" y="548"/>
                  </a:lnTo>
                  <a:lnTo>
                    <a:pt x="382" y="548"/>
                  </a:lnTo>
                  <a:lnTo>
                    <a:pt x="380" y="548"/>
                  </a:lnTo>
                  <a:lnTo>
                    <a:pt x="380" y="548"/>
                  </a:lnTo>
                  <a:lnTo>
                    <a:pt x="376" y="548"/>
                  </a:lnTo>
                  <a:lnTo>
                    <a:pt x="374" y="548"/>
                  </a:lnTo>
                  <a:lnTo>
                    <a:pt x="372" y="548"/>
                  </a:lnTo>
                  <a:lnTo>
                    <a:pt x="370" y="548"/>
                  </a:lnTo>
                  <a:lnTo>
                    <a:pt x="368" y="548"/>
                  </a:lnTo>
                  <a:lnTo>
                    <a:pt x="368" y="548"/>
                  </a:lnTo>
                  <a:lnTo>
                    <a:pt x="368" y="546"/>
                  </a:lnTo>
                  <a:lnTo>
                    <a:pt x="366" y="546"/>
                  </a:lnTo>
                  <a:lnTo>
                    <a:pt x="366" y="546"/>
                  </a:lnTo>
                  <a:lnTo>
                    <a:pt x="366" y="544"/>
                  </a:lnTo>
                  <a:lnTo>
                    <a:pt x="366" y="544"/>
                  </a:lnTo>
                  <a:lnTo>
                    <a:pt x="366" y="542"/>
                  </a:lnTo>
                  <a:lnTo>
                    <a:pt x="366" y="540"/>
                  </a:lnTo>
                  <a:lnTo>
                    <a:pt x="366" y="538"/>
                  </a:lnTo>
                  <a:lnTo>
                    <a:pt x="366" y="536"/>
                  </a:lnTo>
                  <a:lnTo>
                    <a:pt x="368" y="534"/>
                  </a:lnTo>
                  <a:lnTo>
                    <a:pt x="368" y="534"/>
                  </a:lnTo>
                  <a:lnTo>
                    <a:pt x="368" y="532"/>
                  </a:lnTo>
                  <a:lnTo>
                    <a:pt x="370" y="532"/>
                  </a:lnTo>
                  <a:lnTo>
                    <a:pt x="372" y="530"/>
                  </a:lnTo>
                  <a:lnTo>
                    <a:pt x="372" y="530"/>
                  </a:lnTo>
                  <a:lnTo>
                    <a:pt x="376" y="528"/>
                  </a:lnTo>
                  <a:lnTo>
                    <a:pt x="376" y="528"/>
                  </a:lnTo>
                  <a:lnTo>
                    <a:pt x="378" y="526"/>
                  </a:lnTo>
                  <a:lnTo>
                    <a:pt x="380" y="524"/>
                  </a:lnTo>
                  <a:lnTo>
                    <a:pt x="382" y="520"/>
                  </a:lnTo>
                  <a:lnTo>
                    <a:pt x="382" y="518"/>
                  </a:lnTo>
                  <a:lnTo>
                    <a:pt x="384" y="516"/>
                  </a:lnTo>
                  <a:lnTo>
                    <a:pt x="384" y="516"/>
                  </a:lnTo>
                  <a:lnTo>
                    <a:pt x="384" y="514"/>
                  </a:lnTo>
                  <a:lnTo>
                    <a:pt x="384" y="512"/>
                  </a:lnTo>
                  <a:lnTo>
                    <a:pt x="384" y="512"/>
                  </a:lnTo>
                  <a:lnTo>
                    <a:pt x="384" y="510"/>
                  </a:lnTo>
                  <a:lnTo>
                    <a:pt x="382" y="508"/>
                  </a:lnTo>
                  <a:lnTo>
                    <a:pt x="382" y="506"/>
                  </a:lnTo>
                  <a:lnTo>
                    <a:pt x="380" y="500"/>
                  </a:lnTo>
                  <a:lnTo>
                    <a:pt x="378" y="498"/>
                  </a:lnTo>
                  <a:lnTo>
                    <a:pt x="378" y="494"/>
                  </a:lnTo>
                  <a:lnTo>
                    <a:pt x="376" y="492"/>
                  </a:lnTo>
                  <a:lnTo>
                    <a:pt x="376" y="492"/>
                  </a:lnTo>
                  <a:lnTo>
                    <a:pt x="376" y="490"/>
                  </a:lnTo>
                  <a:lnTo>
                    <a:pt x="374" y="488"/>
                  </a:lnTo>
                  <a:lnTo>
                    <a:pt x="374" y="488"/>
                  </a:lnTo>
                  <a:lnTo>
                    <a:pt x="374" y="488"/>
                  </a:lnTo>
                  <a:lnTo>
                    <a:pt x="372" y="488"/>
                  </a:lnTo>
                  <a:lnTo>
                    <a:pt x="372" y="488"/>
                  </a:lnTo>
                  <a:lnTo>
                    <a:pt x="370" y="488"/>
                  </a:lnTo>
                  <a:lnTo>
                    <a:pt x="368" y="488"/>
                  </a:lnTo>
                  <a:lnTo>
                    <a:pt x="364" y="488"/>
                  </a:lnTo>
                  <a:lnTo>
                    <a:pt x="362" y="490"/>
                  </a:lnTo>
                  <a:lnTo>
                    <a:pt x="360" y="490"/>
                  </a:lnTo>
                  <a:lnTo>
                    <a:pt x="358" y="490"/>
                  </a:lnTo>
                  <a:lnTo>
                    <a:pt x="356" y="488"/>
                  </a:lnTo>
                  <a:lnTo>
                    <a:pt x="354" y="484"/>
                  </a:lnTo>
                  <a:lnTo>
                    <a:pt x="352" y="482"/>
                  </a:lnTo>
                  <a:lnTo>
                    <a:pt x="350" y="480"/>
                  </a:lnTo>
                  <a:lnTo>
                    <a:pt x="350" y="478"/>
                  </a:lnTo>
                  <a:lnTo>
                    <a:pt x="348" y="476"/>
                  </a:lnTo>
                  <a:lnTo>
                    <a:pt x="346" y="474"/>
                  </a:lnTo>
                  <a:lnTo>
                    <a:pt x="344" y="474"/>
                  </a:lnTo>
                  <a:lnTo>
                    <a:pt x="342" y="472"/>
                  </a:lnTo>
                  <a:lnTo>
                    <a:pt x="340" y="470"/>
                  </a:lnTo>
                  <a:lnTo>
                    <a:pt x="338" y="470"/>
                  </a:lnTo>
                  <a:lnTo>
                    <a:pt x="336" y="468"/>
                  </a:lnTo>
                  <a:lnTo>
                    <a:pt x="334" y="468"/>
                  </a:lnTo>
                  <a:lnTo>
                    <a:pt x="332" y="466"/>
                  </a:lnTo>
                  <a:lnTo>
                    <a:pt x="328" y="466"/>
                  </a:lnTo>
                  <a:lnTo>
                    <a:pt x="326" y="466"/>
                  </a:lnTo>
                  <a:lnTo>
                    <a:pt x="322" y="466"/>
                  </a:lnTo>
                  <a:lnTo>
                    <a:pt x="320" y="466"/>
                  </a:lnTo>
                  <a:lnTo>
                    <a:pt x="316" y="466"/>
                  </a:lnTo>
                  <a:lnTo>
                    <a:pt x="314" y="466"/>
                  </a:lnTo>
                  <a:lnTo>
                    <a:pt x="310" y="466"/>
                  </a:lnTo>
                  <a:lnTo>
                    <a:pt x="308" y="466"/>
                  </a:lnTo>
                  <a:lnTo>
                    <a:pt x="306" y="468"/>
                  </a:lnTo>
                  <a:lnTo>
                    <a:pt x="304" y="468"/>
                  </a:lnTo>
                  <a:lnTo>
                    <a:pt x="302" y="470"/>
                  </a:lnTo>
                  <a:lnTo>
                    <a:pt x="300" y="472"/>
                  </a:lnTo>
                  <a:lnTo>
                    <a:pt x="296" y="472"/>
                  </a:lnTo>
                  <a:lnTo>
                    <a:pt x="294" y="474"/>
                  </a:lnTo>
                  <a:lnTo>
                    <a:pt x="292" y="476"/>
                  </a:lnTo>
                  <a:lnTo>
                    <a:pt x="290" y="476"/>
                  </a:lnTo>
                  <a:lnTo>
                    <a:pt x="290" y="478"/>
                  </a:lnTo>
                  <a:lnTo>
                    <a:pt x="288" y="480"/>
                  </a:lnTo>
                  <a:lnTo>
                    <a:pt x="286" y="484"/>
                  </a:lnTo>
                  <a:lnTo>
                    <a:pt x="284" y="488"/>
                  </a:lnTo>
                  <a:lnTo>
                    <a:pt x="280" y="488"/>
                  </a:lnTo>
                  <a:lnTo>
                    <a:pt x="274" y="488"/>
                  </a:lnTo>
                  <a:lnTo>
                    <a:pt x="270" y="488"/>
                  </a:lnTo>
                  <a:lnTo>
                    <a:pt x="266" y="488"/>
                  </a:lnTo>
                  <a:lnTo>
                    <a:pt x="262" y="488"/>
                  </a:lnTo>
                  <a:lnTo>
                    <a:pt x="260" y="488"/>
                  </a:lnTo>
                  <a:lnTo>
                    <a:pt x="260" y="488"/>
                  </a:lnTo>
                  <a:lnTo>
                    <a:pt x="258" y="488"/>
                  </a:lnTo>
                  <a:lnTo>
                    <a:pt x="254" y="486"/>
                  </a:lnTo>
                  <a:lnTo>
                    <a:pt x="250" y="484"/>
                  </a:lnTo>
                  <a:lnTo>
                    <a:pt x="246" y="482"/>
                  </a:lnTo>
                  <a:lnTo>
                    <a:pt x="244" y="480"/>
                  </a:lnTo>
                  <a:lnTo>
                    <a:pt x="236" y="494"/>
                  </a:lnTo>
                  <a:lnTo>
                    <a:pt x="230" y="492"/>
                  </a:lnTo>
                  <a:lnTo>
                    <a:pt x="226" y="490"/>
                  </a:lnTo>
                  <a:lnTo>
                    <a:pt x="224" y="490"/>
                  </a:lnTo>
                  <a:lnTo>
                    <a:pt x="222" y="490"/>
                  </a:lnTo>
                  <a:lnTo>
                    <a:pt x="218" y="490"/>
                  </a:lnTo>
                  <a:lnTo>
                    <a:pt x="214" y="488"/>
                  </a:lnTo>
                  <a:lnTo>
                    <a:pt x="206" y="488"/>
                  </a:lnTo>
                  <a:lnTo>
                    <a:pt x="202" y="488"/>
                  </a:lnTo>
                  <a:lnTo>
                    <a:pt x="196" y="488"/>
                  </a:lnTo>
                  <a:lnTo>
                    <a:pt x="194" y="488"/>
                  </a:lnTo>
                  <a:lnTo>
                    <a:pt x="192" y="488"/>
                  </a:lnTo>
                  <a:lnTo>
                    <a:pt x="190" y="488"/>
                  </a:lnTo>
                  <a:lnTo>
                    <a:pt x="188" y="486"/>
                  </a:lnTo>
                  <a:lnTo>
                    <a:pt x="186" y="486"/>
                  </a:lnTo>
                  <a:lnTo>
                    <a:pt x="182" y="484"/>
                  </a:lnTo>
                  <a:lnTo>
                    <a:pt x="176" y="480"/>
                  </a:lnTo>
                  <a:lnTo>
                    <a:pt x="172" y="478"/>
                  </a:lnTo>
                  <a:lnTo>
                    <a:pt x="170" y="476"/>
                  </a:lnTo>
                  <a:lnTo>
                    <a:pt x="168" y="476"/>
                  </a:lnTo>
                  <a:lnTo>
                    <a:pt x="166" y="476"/>
                  </a:lnTo>
                  <a:lnTo>
                    <a:pt x="164" y="474"/>
                  </a:lnTo>
                  <a:lnTo>
                    <a:pt x="164" y="474"/>
                  </a:lnTo>
                  <a:lnTo>
                    <a:pt x="164" y="472"/>
                  </a:lnTo>
                  <a:lnTo>
                    <a:pt x="164" y="472"/>
                  </a:lnTo>
                  <a:lnTo>
                    <a:pt x="164" y="470"/>
                  </a:lnTo>
                  <a:lnTo>
                    <a:pt x="164" y="470"/>
                  </a:lnTo>
                  <a:lnTo>
                    <a:pt x="164" y="466"/>
                  </a:lnTo>
                  <a:lnTo>
                    <a:pt x="164" y="464"/>
                  </a:lnTo>
                  <a:lnTo>
                    <a:pt x="164" y="462"/>
                  </a:lnTo>
                  <a:lnTo>
                    <a:pt x="164" y="460"/>
                  </a:lnTo>
                  <a:lnTo>
                    <a:pt x="164" y="460"/>
                  </a:lnTo>
                  <a:lnTo>
                    <a:pt x="164" y="458"/>
                  </a:lnTo>
                  <a:lnTo>
                    <a:pt x="164" y="458"/>
                  </a:lnTo>
                  <a:lnTo>
                    <a:pt x="164" y="456"/>
                  </a:lnTo>
                  <a:lnTo>
                    <a:pt x="162" y="456"/>
                  </a:lnTo>
                  <a:lnTo>
                    <a:pt x="162" y="456"/>
                  </a:lnTo>
                  <a:lnTo>
                    <a:pt x="162" y="456"/>
                  </a:lnTo>
                  <a:lnTo>
                    <a:pt x="162" y="458"/>
                  </a:lnTo>
                  <a:lnTo>
                    <a:pt x="160" y="458"/>
                  </a:lnTo>
                  <a:lnTo>
                    <a:pt x="160" y="460"/>
                  </a:lnTo>
                  <a:lnTo>
                    <a:pt x="160" y="462"/>
                  </a:lnTo>
                  <a:lnTo>
                    <a:pt x="160" y="464"/>
                  </a:lnTo>
                  <a:lnTo>
                    <a:pt x="160" y="464"/>
                  </a:lnTo>
                  <a:lnTo>
                    <a:pt x="158" y="466"/>
                  </a:lnTo>
                  <a:lnTo>
                    <a:pt x="158" y="466"/>
                  </a:lnTo>
                  <a:lnTo>
                    <a:pt x="158" y="466"/>
                  </a:lnTo>
                  <a:lnTo>
                    <a:pt x="158" y="466"/>
                  </a:lnTo>
                  <a:lnTo>
                    <a:pt x="156" y="466"/>
                  </a:lnTo>
                  <a:lnTo>
                    <a:pt x="156" y="466"/>
                  </a:lnTo>
                  <a:lnTo>
                    <a:pt x="156" y="466"/>
                  </a:lnTo>
                  <a:lnTo>
                    <a:pt x="154" y="466"/>
                  </a:lnTo>
                  <a:lnTo>
                    <a:pt x="152" y="466"/>
                  </a:lnTo>
                  <a:lnTo>
                    <a:pt x="150" y="464"/>
                  </a:lnTo>
                  <a:lnTo>
                    <a:pt x="148" y="464"/>
                  </a:lnTo>
                  <a:lnTo>
                    <a:pt x="146" y="462"/>
                  </a:lnTo>
                  <a:lnTo>
                    <a:pt x="142" y="460"/>
                  </a:lnTo>
                  <a:lnTo>
                    <a:pt x="140" y="458"/>
                  </a:lnTo>
                  <a:lnTo>
                    <a:pt x="140" y="456"/>
                  </a:lnTo>
                  <a:lnTo>
                    <a:pt x="136" y="454"/>
                  </a:lnTo>
                  <a:lnTo>
                    <a:pt x="134" y="452"/>
                  </a:lnTo>
                  <a:lnTo>
                    <a:pt x="132" y="450"/>
                  </a:lnTo>
                  <a:lnTo>
                    <a:pt x="132" y="448"/>
                  </a:lnTo>
                  <a:lnTo>
                    <a:pt x="130" y="448"/>
                  </a:lnTo>
                  <a:lnTo>
                    <a:pt x="130" y="448"/>
                  </a:lnTo>
                  <a:lnTo>
                    <a:pt x="130" y="448"/>
                  </a:lnTo>
                  <a:lnTo>
                    <a:pt x="128" y="448"/>
                  </a:lnTo>
                  <a:lnTo>
                    <a:pt x="126" y="446"/>
                  </a:lnTo>
                  <a:lnTo>
                    <a:pt x="124" y="446"/>
                  </a:lnTo>
                  <a:lnTo>
                    <a:pt x="120" y="446"/>
                  </a:lnTo>
                  <a:lnTo>
                    <a:pt x="116" y="446"/>
                  </a:lnTo>
                  <a:lnTo>
                    <a:pt x="114" y="446"/>
                  </a:lnTo>
                  <a:lnTo>
                    <a:pt x="112" y="446"/>
                  </a:lnTo>
                  <a:lnTo>
                    <a:pt x="108" y="442"/>
                  </a:lnTo>
                  <a:lnTo>
                    <a:pt x="106" y="440"/>
                  </a:lnTo>
                  <a:lnTo>
                    <a:pt x="104" y="438"/>
                  </a:lnTo>
                  <a:lnTo>
                    <a:pt x="102" y="436"/>
                  </a:lnTo>
                  <a:lnTo>
                    <a:pt x="100" y="434"/>
                  </a:lnTo>
                  <a:lnTo>
                    <a:pt x="100" y="434"/>
                  </a:lnTo>
                  <a:lnTo>
                    <a:pt x="98" y="434"/>
                  </a:lnTo>
                  <a:lnTo>
                    <a:pt x="96" y="434"/>
                  </a:lnTo>
                  <a:lnTo>
                    <a:pt x="92" y="434"/>
                  </a:lnTo>
                  <a:lnTo>
                    <a:pt x="90" y="432"/>
                  </a:lnTo>
                  <a:lnTo>
                    <a:pt x="86" y="432"/>
                  </a:lnTo>
                  <a:lnTo>
                    <a:pt x="84" y="432"/>
                  </a:lnTo>
                  <a:lnTo>
                    <a:pt x="82" y="432"/>
                  </a:lnTo>
                  <a:lnTo>
                    <a:pt x="82" y="432"/>
                  </a:lnTo>
                  <a:lnTo>
                    <a:pt x="80" y="430"/>
                  </a:lnTo>
                  <a:lnTo>
                    <a:pt x="80" y="430"/>
                  </a:lnTo>
                  <a:lnTo>
                    <a:pt x="78" y="428"/>
                  </a:lnTo>
                  <a:lnTo>
                    <a:pt x="78" y="428"/>
                  </a:lnTo>
                  <a:lnTo>
                    <a:pt x="78" y="426"/>
                  </a:lnTo>
                  <a:lnTo>
                    <a:pt x="78" y="424"/>
                  </a:lnTo>
                  <a:lnTo>
                    <a:pt x="78" y="422"/>
                  </a:lnTo>
                  <a:lnTo>
                    <a:pt x="78" y="422"/>
                  </a:lnTo>
                  <a:lnTo>
                    <a:pt x="78" y="418"/>
                  </a:lnTo>
                  <a:lnTo>
                    <a:pt x="80" y="414"/>
                  </a:lnTo>
                  <a:lnTo>
                    <a:pt x="80" y="410"/>
                  </a:lnTo>
                  <a:lnTo>
                    <a:pt x="80" y="408"/>
                  </a:lnTo>
                  <a:lnTo>
                    <a:pt x="80" y="406"/>
                  </a:lnTo>
                  <a:lnTo>
                    <a:pt x="80" y="406"/>
                  </a:lnTo>
                  <a:lnTo>
                    <a:pt x="80" y="404"/>
                  </a:lnTo>
                  <a:lnTo>
                    <a:pt x="78" y="402"/>
                  </a:lnTo>
                  <a:lnTo>
                    <a:pt x="78" y="402"/>
                  </a:lnTo>
                  <a:lnTo>
                    <a:pt x="76" y="400"/>
                  </a:lnTo>
                  <a:lnTo>
                    <a:pt x="74" y="398"/>
                  </a:lnTo>
                  <a:lnTo>
                    <a:pt x="72" y="398"/>
                  </a:lnTo>
                  <a:lnTo>
                    <a:pt x="72" y="396"/>
                  </a:lnTo>
                  <a:lnTo>
                    <a:pt x="70" y="396"/>
                  </a:lnTo>
                  <a:lnTo>
                    <a:pt x="68" y="396"/>
                  </a:lnTo>
                  <a:lnTo>
                    <a:pt x="66" y="394"/>
                  </a:lnTo>
                  <a:lnTo>
                    <a:pt x="64" y="394"/>
                  </a:lnTo>
                  <a:lnTo>
                    <a:pt x="62" y="394"/>
                  </a:lnTo>
                  <a:lnTo>
                    <a:pt x="60" y="394"/>
                  </a:lnTo>
                  <a:lnTo>
                    <a:pt x="58" y="394"/>
                  </a:lnTo>
                  <a:lnTo>
                    <a:pt x="56" y="394"/>
                  </a:lnTo>
                  <a:lnTo>
                    <a:pt x="54" y="394"/>
                  </a:lnTo>
                  <a:lnTo>
                    <a:pt x="52" y="394"/>
                  </a:lnTo>
                  <a:lnTo>
                    <a:pt x="50" y="394"/>
                  </a:lnTo>
                  <a:lnTo>
                    <a:pt x="50" y="394"/>
                  </a:lnTo>
                  <a:lnTo>
                    <a:pt x="46" y="396"/>
                  </a:lnTo>
                  <a:lnTo>
                    <a:pt x="42" y="398"/>
                  </a:lnTo>
                  <a:lnTo>
                    <a:pt x="40" y="400"/>
                  </a:lnTo>
                  <a:lnTo>
                    <a:pt x="34" y="404"/>
                  </a:lnTo>
                  <a:lnTo>
                    <a:pt x="32" y="406"/>
                  </a:lnTo>
                  <a:lnTo>
                    <a:pt x="30" y="406"/>
                  </a:lnTo>
                  <a:lnTo>
                    <a:pt x="26" y="402"/>
                  </a:lnTo>
                  <a:lnTo>
                    <a:pt x="22" y="402"/>
                  </a:lnTo>
                  <a:lnTo>
                    <a:pt x="20" y="400"/>
                  </a:lnTo>
                  <a:lnTo>
                    <a:pt x="18" y="398"/>
                  </a:lnTo>
                  <a:lnTo>
                    <a:pt x="18" y="398"/>
                  </a:lnTo>
                  <a:lnTo>
                    <a:pt x="18" y="396"/>
                  </a:lnTo>
                  <a:lnTo>
                    <a:pt x="18" y="396"/>
                  </a:lnTo>
                  <a:lnTo>
                    <a:pt x="18" y="394"/>
                  </a:lnTo>
                  <a:lnTo>
                    <a:pt x="18" y="394"/>
                  </a:lnTo>
                  <a:lnTo>
                    <a:pt x="18" y="392"/>
                  </a:lnTo>
                  <a:lnTo>
                    <a:pt x="18" y="390"/>
                  </a:lnTo>
                  <a:lnTo>
                    <a:pt x="18" y="386"/>
                  </a:lnTo>
                  <a:lnTo>
                    <a:pt x="18" y="384"/>
                  </a:lnTo>
                  <a:lnTo>
                    <a:pt x="20" y="380"/>
                  </a:lnTo>
                  <a:lnTo>
                    <a:pt x="20" y="378"/>
                  </a:lnTo>
                  <a:lnTo>
                    <a:pt x="20" y="378"/>
                  </a:lnTo>
                  <a:lnTo>
                    <a:pt x="20" y="376"/>
                  </a:lnTo>
                  <a:lnTo>
                    <a:pt x="18" y="376"/>
                  </a:lnTo>
                  <a:lnTo>
                    <a:pt x="18" y="374"/>
                  </a:lnTo>
                  <a:lnTo>
                    <a:pt x="16" y="372"/>
                  </a:lnTo>
                  <a:lnTo>
                    <a:pt x="14" y="370"/>
                  </a:lnTo>
                  <a:lnTo>
                    <a:pt x="12" y="368"/>
                  </a:lnTo>
                  <a:lnTo>
                    <a:pt x="12" y="368"/>
                  </a:lnTo>
                  <a:lnTo>
                    <a:pt x="12" y="366"/>
                  </a:lnTo>
                  <a:lnTo>
                    <a:pt x="12" y="366"/>
                  </a:lnTo>
                  <a:lnTo>
                    <a:pt x="12" y="366"/>
                  </a:lnTo>
                  <a:lnTo>
                    <a:pt x="12" y="364"/>
                  </a:lnTo>
                  <a:lnTo>
                    <a:pt x="12" y="362"/>
                  </a:lnTo>
                  <a:lnTo>
                    <a:pt x="12" y="360"/>
                  </a:lnTo>
                  <a:lnTo>
                    <a:pt x="12" y="358"/>
                  </a:lnTo>
                  <a:lnTo>
                    <a:pt x="14" y="354"/>
                  </a:lnTo>
                  <a:lnTo>
                    <a:pt x="14" y="352"/>
                  </a:lnTo>
                  <a:lnTo>
                    <a:pt x="18" y="328"/>
                  </a:lnTo>
                  <a:lnTo>
                    <a:pt x="18" y="328"/>
                  </a:lnTo>
                  <a:lnTo>
                    <a:pt x="18" y="326"/>
                  </a:lnTo>
                  <a:lnTo>
                    <a:pt x="18" y="322"/>
                  </a:lnTo>
                  <a:lnTo>
                    <a:pt x="20" y="320"/>
                  </a:lnTo>
                  <a:lnTo>
                    <a:pt x="20" y="318"/>
                  </a:lnTo>
                  <a:lnTo>
                    <a:pt x="18" y="318"/>
                  </a:lnTo>
                  <a:lnTo>
                    <a:pt x="18" y="316"/>
                  </a:lnTo>
                  <a:lnTo>
                    <a:pt x="18" y="316"/>
                  </a:lnTo>
                  <a:lnTo>
                    <a:pt x="18" y="316"/>
                  </a:lnTo>
                  <a:lnTo>
                    <a:pt x="18" y="316"/>
                  </a:lnTo>
                  <a:lnTo>
                    <a:pt x="18" y="316"/>
                  </a:lnTo>
                  <a:lnTo>
                    <a:pt x="16" y="316"/>
                  </a:lnTo>
                  <a:lnTo>
                    <a:pt x="16" y="318"/>
                  </a:lnTo>
                  <a:lnTo>
                    <a:pt x="16" y="318"/>
                  </a:lnTo>
                  <a:lnTo>
                    <a:pt x="16" y="318"/>
                  </a:lnTo>
                  <a:lnTo>
                    <a:pt x="14" y="318"/>
                  </a:lnTo>
                  <a:lnTo>
                    <a:pt x="14" y="318"/>
                  </a:lnTo>
                  <a:lnTo>
                    <a:pt x="12" y="316"/>
                  </a:lnTo>
                  <a:lnTo>
                    <a:pt x="8" y="316"/>
                  </a:lnTo>
                  <a:lnTo>
                    <a:pt x="6" y="314"/>
                  </a:lnTo>
                  <a:lnTo>
                    <a:pt x="4" y="312"/>
                  </a:lnTo>
                  <a:lnTo>
                    <a:pt x="2" y="312"/>
                  </a:lnTo>
                  <a:lnTo>
                    <a:pt x="2" y="310"/>
                  </a:lnTo>
                  <a:lnTo>
                    <a:pt x="0" y="308"/>
                  </a:lnTo>
                  <a:lnTo>
                    <a:pt x="0" y="308"/>
                  </a:lnTo>
                  <a:lnTo>
                    <a:pt x="0" y="306"/>
                  </a:lnTo>
                  <a:lnTo>
                    <a:pt x="0" y="306"/>
                  </a:lnTo>
                  <a:lnTo>
                    <a:pt x="0" y="304"/>
                  </a:lnTo>
                  <a:lnTo>
                    <a:pt x="0" y="302"/>
                  </a:lnTo>
                  <a:lnTo>
                    <a:pt x="0" y="300"/>
                  </a:lnTo>
                  <a:lnTo>
                    <a:pt x="0" y="296"/>
                  </a:lnTo>
                  <a:lnTo>
                    <a:pt x="0" y="292"/>
                  </a:lnTo>
                  <a:lnTo>
                    <a:pt x="0" y="290"/>
                  </a:lnTo>
                  <a:lnTo>
                    <a:pt x="2" y="288"/>
                  </a:lnTo>
                  <a:lnTo>
                    <a:pt x="2" y="284"/>
                  </a:lnTo>
                  <a:lnTo>
                    <a:pt x="4" y="284"/>
                  </a:lnTo>
                  <a:lnTo>
                    <a:pt x="4" y="282"/>
                  </a:lnTo>
                  <a:lnTo>
                    <a:pt x="6" y="280"/>
                  </a:lnTo>
                  <a:lnTo>
                    <a:pt x="8" y="280"/>
                  </a:lnTo>
                  <a:lnTo>
                    <a:pt x="10" y="278"/>
                  </a:lnTo>
                  <a:lnTo>
                    <a:pt x="10" y="278"/>
                  </a:lnTo>
                  <a:lnTo>
                    <a:pt x="12" y="276"/>
                  </a:lnTo>
                  <a:lnTo>
                    <a:pt x="14" y="276"/>
                  </a:lnTo>
                  <a:lnTo>
                    <a:pt x="14" y="276"/>
                  </a:lnTo>
                  <a:lnTo>
                    <a:pt x="16" y="276"/>
                  </a:lnTo>
                  <a:lnTo>
                    <a:pt x="16" y="276"/>
                  </a:lnTo>
                  <a:lnTo>
                    <a:pt x="18" y="278"/>
                  </a:lnTo>
                  <a:lnTo>
                    <a:pt x="20" y="278"/>
                  </a:lnTo>
                  <a:lnTo>
                    <a:pt x="22" y="280"/>
                  </a:lnTo>
                  <a:lnTo>
                    <a:pt x="24" y="280"/>
                  </a:lnTo>
                  <a:lnTo>
                    <a:pt x="26" y="284"/>
                  </a:lnTo>
                  <a:lnTo>
                    <a:pt x="30" y="286"/>
                  </a:lnTo>
                  <a:lnTo>
                    <a:pt x="32" y="288"/>
                  </a:lnTo>
                  <a:lnTo>
                    <a:pt x="36" y="290"/>
                  </a:lnTo>
                  <a:lnTo>
                    <a:pt x="36" y="290"/>
                  </a:lnTo>
                  <a:lnTo>
                    <a:pt x="38" y="288"/>
                  </a:lnTo>
                  <a:lnTo>
                    <a:pt x="40" y="284"/>
                  </a:lnTo>
                  <a:lnTo>
                    <a:pt x="42" y="284"/>
                  </a:lnTo>
                  <a:lnTo>
                    <a:pt x="42" y="282"/>
                  </a:lnTo>
                  <a:lnTo>
                    <a:pt x="42" y="282"/>
                  </a:lnTo>
                  <a:lnTo>
                    <a:pt x="42" y="280"/>
                  </a:lnTo>
                  <a:lnTo>
                    <a:pt x="40" y="278"/>
                  </a:lnTo>
                  <a:lnTo>
                    <a:pt x="40" y="276"/>
                  </a:lnTo>
                  <a:lnTo>
                    <a:pt x="40" y="276"/>
                  </a:lnTo>
                  <a:lnTo>
                    <a:pt x="40" y="274"/>
                  </a:lnTo>
                  <a:lnTo>
                    <a:pt x="40" y="274"/>
                  </a:lnTo>
                  <a:lnTo>
                    <a:pt x="40" y="274"/>
                  </a:lnTo>
                  <a:lnTo>
                    <a:pt x="42" y="272"/>
                  </a:lnTo>
                  <a:lnTo>
                    <a:pt x="42" y="272"/>
                  </a:lnTo>
                  <a:lnTo>
                    <a:pt x="44" y="272"/>
                  </a:lnTo>
                  <a:lnTo>
                    <a:pt x="46" y="272"/>
                  </a:lnTo>
                  <a:lnTo>
                    <a:pt x="46" y="270"/>
                  </a:lnTo>
                  <a:lnTo>
                    <a:pt x="48" y="270"/>
                  </a:lnTo>
                  <a:lnTo>
                    <a:pt x="52" y="270"/>
                  </a:lnTo>
                  <a:lnTo>
                    <a:pt x="56" y="270"/>
                  </a:lnTo>
                  <a:lnTo>
                    <a:pt x="60" y="270"/>
                  </a:lnTo>
                  <a:lnTo>
                    <a:pt x="62" y="270"/>
                  </a:lnTo>
                  <a:lnTo>
                    <a:pt x="64" y="270"/>
                  </a:lnTo>
                  <a:lnTo>
                    <a:pt x="64" y="270"/>
                  </a:lnTo>
                  <a:lnTo>
                    <a:pt x="66" y="268"/>
                  </a:lnTo>
                  <a:lnTo>
                    <a:pt x="66" y="268"/>
                  </a:lnTo>
                  <a:lnTo>
                    <a:pt x="66" y="266"/>
                  </a:lnTo>
                  <a:lnTo>
                    <a:pt x="68" y="264"/>
                  </a:lnTo>
                  <a:lnTo>
                    <a:pt x="70" y="262"/>
                  </a:lnTo>
                  <a:lnTo>
                    <a:pt x="70" y="260"/>
                  </a:lnTo>
                  <a:lnTo>
                    <a:pt x="70" y="260"/>
                  </a:lnTo>
                  <a:lnTo>
                    <a:pt x="72" y="260"/>
                  </a:lnTo>
                  <a:lnTo>
                    <a:pt x="74" y="258"/>
                  </a:lnTo>
                  <a:lnTo>
                    <a:pt x="76" y="258"/>
                  </a:lnTo>
                  <a:lnTo>
                    <a:pt x="78" y="256"/>
                  </a:lnTo>
                  <a:lnTo>
                    <a:pt x="80" y="256"/>
                  </a:lnTo>
                  <a:lnTo>
                    <a:pt x="82" y="256"/>
                  </a:lnTo>
                  <a:lnTo>
                    <a:pt x="82" y="256"/>
                  </a:lnTo>
                  <a:lnTo>
                    <a:pt x="82" y="254"/>
                  </a:lnTo>
                  <a:lnTo>
                    <a:pt x="82" y="252"/>
                  </a:lnTo>
                  <a:lnTo>
                    <a:pt x="84" y="250"/>
                  </a:lnTo>
                  <a:lnTo>
                    <a:pt x="84" y="248"/>
                  </a:lnTo>
                  <a:lnTo>
                    <a:pt x="86" y="246"/>
                  </a:lnTo>
                  <a:lnTo>
                    <a:pt x="86" y="244"/>
                  </a:lnTo>
                  <a:lnTo>
                    <a:pt x="86" y="240"/>
                  </a:lnTo>
                  <a:lnTo>
                    <a:pt x="86" y="238"/>
                  </a:lnTo>
                  <a:lnTo>
                    <a:pt x="86" y="234"/>
                  </a:lnTo>
                  <a:lnTo>
                    <a:pt x="86" y="232"/>
                  </a:lnTo>
                  <a:lnTo>
                    <a:pt x="86" y="228"/>
                  </a:lnTo>
                  <a:lnTo>
                    <a:pt x="86" y="226"/>
                  </a:lnTo>
                  <a:lnTo>
                    <a:pt x="86" y="224"/>
                  </a:lnTo>
                  <a:lnTo>
                    <a:pt x="86" y="220"/>
                  </a:lnTo>
                  <a:lnTo>
                    <a:pt x="84" y="218"/>
                  </a:lnTo>
                  <a:lnTo>
                    <a:pt x="84" y="216"/>
                  </a:lnTo>
                  <a:lnTo>
                    <a:pt x="84" y="214"/>
                  </a:lnTo>
                  <a:lnTo>
                    <a:pt x="82" y="214"/>
                  </a:lnTo>
                  <a:lnTo>
                    <a:pt x="82" y="214"/>
                  </a:lnTo>
                  <a:lnTo>
                    <a:pt x="80" y="212"/>
                  </a:lnTo>
                  <a:lnTo>
                    <a:pt x="80" y="212"/>
                  </a:lnTo>
                  <a:lnTo>
                    <a:pt x="78" y="212"/>
                  </a:lnTo>
                  <a:lnTo>
                    <a:pt x="76" y="212"/>
                  </a:lnTo>
                  <a:lnTo>
                    <a:pt x="74" y="212"/>
                  </a:lnTo>
                  <a:lnTo>
                    <a:pt x="74" y="210"/>
                  </a:lnTo>
                  <a:lnTo>
                    <a:pt x="72" y="210"/>
                  </a:lnTo>
                  <a:lnTo>
                    <a:pt x="72" y="210"/>
                  </a:lnTo>
                  <a:lnTo>
                    <a:pt x="72" y="210"/>
                  </a:lnTo>
                  <a:lnTo>
                    <a:pt x="72" y="208"/>
                  </a:lnTo>
                  <a:lnTo>
                    <a:pt x="72" y="208"/>
                  </a:lnTo>
                  <a:lnTo>
                    <a:pt x="72" y="206"/>
                  </a:lnTo>
                  <a:lnTo>
                    <a:pt x="72" y="206"/>
                  </a:lnTo>
                  <a:lnTo>
                    <a:pt x="74" y="204"/>
                  </a:lnTo>
                  <a:lnTo>
                    <a:pt x="74" y="202"/>
                  </a:lnTo>
                  <a:lnTo>
                    <a:pt x="74" y="202"/>
                  </a:lnTo>
                  <a:lnTo>
                    <a:pt x="76" y="200"/>
                  </a:lnTo>
                  <a:lnTo>
                    <a:pt x="76" y="200"/>
                  </a:lnTo>
                  <a:lnTo>
                    <a:pt x="78" y="198"/>
                  </a:lnTo>
                  <a:lnTo>
                    <a:pt x="80" y="198"/>
                  </a:lnTo>
                  <a:lnTo>
                    <a:pt x="82" y="198"/>
                  </a:lnTo>
                  <a:lnTo>
                    <a:pt x="84" y="198"/>
                  </a:lnTo>
                  <a:lnTo>
                    <a:pt x="88" y="196"/>
                  </a:lnTo>
                  <a:lnTo>
                    <a:pt x="94" y="196"/>
                  </a:lnTo>
                  <a:lnTo>
                    <a:pt x="98" y="196"/>
                  </a:lnTo>
                  <a:lnTo>
                    <a:pt x="102" y="196"/>
                  </a:lnTo>
                  <a:lnTo>
                    <a:pt x="106" y="196"/>
                  </a:lnTo>
                  <a:lnTo>
                    <a:pt x="108" y="192"/>
                  </a:lnTo>
                  <a:lnTo>
                    <a:pt x="110" y="190"/>
                  </a:lnTo>
                  <a:lnTo>
                    <a:pt x="110" y="190"/>
                  </a:lnTo>
                  <a:lnTo>
                    <a:pt x="110" y="188"/>
                  </a:lnTo>
                  <a:lnTo>
                    <a:pt x="112" y="186"/>
                  </a:lnTo>
                  <a:lnTo>
                    <a:pt x="112" y="186"/>
                  </a:lnTo>
                  <a:lnTo>
                    <a:pt x="112" y="184"/>
                  </a:lnTo>
                  <a:lnTo>
                    <a:pt x="112" y="180"/>
                  </a:lnTo>
                  <a:lnTo>
                    <a:pt x="112" y="178"/>
                  </a:lnTo>
                  <a:lnTo>
                    <a:pt x="110" y="174"/>
                  </a:lnTo>
                  <a:lnTo>
                    <a:pt x="110" y="172"/>
                  </a:lnTo>
                  <a:lnTo>
                    <a:pt x="112" y="170"/>
                  </a:lnTo>
                  <a:lnTo>
                    <a:pt x="112" y="170"/>
                  </a:lnTo>
                  <a:lnTo>
                    <a:pt x="112" y="168"/>
                  </a:lnTo>
                  <a:lnTo>
                    <a:pt x="112" y="168"/>
                  </a:lnTo>
                  <a:lnTo>
                    <a:pt x="112" y="168"/>
                  </a:lnTo>
                  <a:lnTo>
                    <a:pt x="114" y="166"/>
                  </a:lnTo>
                  <a:lnTo>
                    <a:pt x="114" y="166"/>
                  </a:lnTo>
                  <a:lnTo>
                    <a:pt x="116" y="164"/>
                  </a:lnTo>
                  <a:lnTo>
                    <a:pt x="118" y="162"/>
                  </a:lnTo>
                  <a:lnTo>
                    <a:pt x="122" y="162"/>
                  </a:lnTo>
                  <a:lnTo>
                    <a:pt x="124" y="162"/>
                  </a:lnTo>
                  <a:lnTo>
                    <a:pt x="126" y="160"/>
                  </a:lnTo>
                  <a:lnTo>
                    <a:pt x="128" y="160"/>
                  </a:lnTo>
                  <a:lnTo>
                    <a:pt x="128" y="160"/>
                  </a:lnTo>
                  <a:lnTo>
                    <a:pt x="130" y="160"/>
                  </a:lnTo>
                  <a:lnTo>
                    <a:pt x="132" y="162"/>
                  </a:lnTo>
                  <a:lnTo>
                    <a:pt x="134" y="162"/>
                  </a:lnTo>
                  <a:lnTo>
                    <a:pt x="136" y="164"/>
                  </a:lnTo>
                  <a:lnTo>
                    <a:pt x="138" y="164"/>
                  </a:lnTo>
                  <a:lnTo>
                    <a:pt x="142" y="166"/>
                  </a:lnTo>
                  <a:lnTo>
                    <a:pt x="142" y="166"/>
                  </a:lnTo>
                  <a:lnTo>
                    <a:pt x="144" y="166"/>
                  </a:lnTo>
                  <a:lnTo>
                    <a:pt x="144" y="166"/>
                  </a:lnTo>
                  <a:lnTo>
                    <a:pt x="144" y="166"/>
                  </a:lnTo>
                  <a:lnTo>
                    <a:pt x="146" y="164"/>
                  </a:lnTo>
                  <a:lnTo>
                    <a:pt x="146" y="164"/>
                  </a:lnTo>
                  <a:lnTo>
                    <a:pt x="146" y="164"/>
                  </a:lnTo>
                  <a:lnTo>
                    <a:pt x="146" y="162"/>
                  </a:lnTo>
                  <a:lnTo>
                    <a:pt x="148" y="162"/>
                  </a:lnTo>
                  <a:lnTo>
                    <a:pt x="148" y="160"/>
                  </a:lnTo>
                  <a:lnTo>
                    <a:pt x="148" y="158"/>
                  </a:lnTo>
                  <a:lnTo>
                    <a:pt x="148" y="156"/>
                  </a:lnTo>
                  <a:lnTo>
                    <a:pt x="150" y="150"/>
                  </a:lnTo>
                  <a:lnTo>
                    <a:pt x="150" y="146"/>
                  </a:lnTo>
                  <a:lnTo>
                    <a:pt x="150" y="140"/>
                  </a:lnTo>
                  <a:lnTo>
                    <a:pt x="150" y="138"/>
                  </a:lnTo>
                  <a:lnTo>
                    <a:pt x="150" y="136"/>
                  </a:lnTo>
                  <a:lnTo>
                    <a:pt x="150" y="134"/>
                  </a:lnTo>
                  <a:lnTo>
                    <a:pt x="152" y="132"/>
                  </a:lnTo>
                  <a:lnTo>
                    <a:pt x="152" y="132"/>
                  </a:lnTo>
                  <a:lnTo>
                    <a:pt x="152" y="130"/>
                  </a:lnTo>
                  <a:lnTo>
                    <a:pt x="154" y="128"/>
                  </a:lnTo>
                  <a:lnTo>
                    <a:pt x="156" y="126"/>
                  </a:lnTo>
                  <a:lnTo>
                    <a:pt x="158" y="126"/>
                  </a:lnTo>
                  <a:lnTo>
                    <a:pt x="158" y="126"/>
                  </a:lnTo>
                  <a:lnTo>
                    <a:pt x="160" y="124"/>
                  </a:lnTo>
                  <a:lnTo>
                    <a:pt x="162" y="124"/>
                  </a:lnTo>
                  <a:lnTo>
                    <a:pt x="164" y="124"/>
                  </a:lnTo>
                  <a:lnTo>
                    <a:pt x="166" y="124"/>
                  </a:lnTo>
                  <a:lnTo>
                    <a:pt x="168" y="124"/>
                  </a:lnTo>
                  <a:lnTo>
                    <a:pt x="170" y="124"/>
                  </a:lnTo>
                  <a:lnTo>
                    <a:pt x="170" y="122"/>
                  </a:lnTo>
                  <a:lnTo>
                    <a:pt x="170" y="122"/>
                  </a:lnTo>
                  <a:lnTo>
                    <a:pt x="170" y="122"/>
                  </a:lnTo>
                  <a:lnTo>
                    <a:pt x="170" y="122"/>
                  </a:lnTo>
                  <a:lnTo>
                    <a:pt x="172" y="120"/>
                  </a:lnTo>
                  <a:lnTo>
                    <a:pt x="172" y="118"/>
                  </a:lnTo>
                  <a:lnTo>
                    <a:pt x="172" y="118"/>
                  </a:lnTo>
                  <a:lnTo>
                    <a:pt x="172" y="114"/>
                  </a:lnTo>
                  <a:lnTo>
                    <a:pt x="174" y="112"/>
                  </a:lnTo>
                  <a:lnTo>
                    <a:pt x="174" y="112"/>
                  </a:lnTo>
                  <a:lnTo>
                    <a:pt x="174" y="110"/>
                  </a:lnTo>
                  <a:lnTo>
                    <a:pt x="176" y="110"/>
                  </a:lnTo>
                  <a:lnTo>
                    <a:pt x="178" y="108"/>
                  </a:lnTo>
                  <a:lnTo>
                    <a:pt x="182" y="106"/>
                  </a:lnTo>
                  <a:lnTo>
                    <a:pt x="182" y="104"/>
                  </a:lnTo>
                  <a:lnTo>
                    <a:pt x="186" y="110"/>
                  </a:lnTo>
                  <a:lnTo>
                    <a:pt x="188" y="114"/>
                  </a:lnTo>
                  <a:lnTo>
                    <a:pt x="190" y="114"/>
                  </a:lnTo>
                  <a:lnTo>
                    <a:pt x="190" y="116"/>
                  </a:lnTo>
                  <a:lnTo>
                    <a:pt x="192" y="116"/>
                  </a:lnTo>
                  <a:lnTo>
                    <a:pt x="192" y="118"/>
                  </a:lnTo>
                  <a:lnTo>
                    <a:pt x="194" y="118"/>
                  </a:lnTo>
                  <a:lnTo>
                    <a:pt x="198" y="120"/>
                  </a:lnTo>
                  <a:lnTo>
                    <a:pt x="202" y="122"/>
                  </a:lnTo>
                  <a:lnTo>
                    <a:pt x="204" y="122"/>
                  </a:lnTo>
                  <a:lnTo>
                    <a:pt x="208" y="124"/>
                  </a:lnTo>
                  <a:lnTo>
                    <a:pt x="208" y="124"/>
                  </a:lnTo>
                  <a:lnTo>
                    <a:pt x="210" y="126"/>
                  </a:lnTo>
                  <a:lnTo>
                    <a:pt x="210" y="126"/>
                  </a:lnTo>
                  <a:lnTo>
                    <a:pt x="212" y="128"/>
                  </a:lnTo>
                  <a:lnTo>
                    <a:pt x="212" y="128"/>
                  </a:lnTo>
                  <a:lnTo>
                    <a:pt x="212" y="128"/>
                  </a:lnTo>
                  <a:lnTo>
                    <a:pt x="214" y="130"/>
                  </a:lnTo>
                  <a:lnTo>
                    <a:pt x="214" y="132"/>
                  </a:lnTo>
                  <a:lnTo>
                    <a:pt x="214" y="134"/>
                  </a:lnTo>
                  <a:lnTo>
                    <a:pt x="216" y="140"/>
                  </a:lnTo>
                  <a:lnTo>
                    <a:pt x="216" y="142"/>
                  </a:lnTo>
                  <a:lnTo>
                    <a:pt x="216" y="144"/>
                  </a:lnTo>
                  <a:lnTo>
                    <a:pt x="218" y="146"/>
                  </a:lnTo>
                  <a:lnTo>
                    <a:pt x="218" y="150"/>
                  </a:lnTo>
                  <a:lnTo>
                    <a:pt x="220" y="152"/>
                  </a:lnTo>
                  <a:lnTo>
                    <a:pt x="220" y="156"/>
                  </a:lnTo>
                  <a:lnTo>
                    <a:pt x="222" y="160"/>
                  </a:lnTo>
                  <a:lnTo>
                    <a:pt x="224" y="162"/>
                  </a:lnTo>
                  <a:lnTo>
                    <a:pt x="224" y="164"/>
                  </a:lnTo>
                  <a:lnTo>
                    <a:pt x="224" y="166"/>
                  </a:lnTo>
                  <a:lnTo>
                    <a:pt x="226" y="166"/>
                  </a:lnTo>
                  <a:lnTo>
                    <a:pt x="226" y="168"/>
                  </a:lnTo>
                  <a:lnTo>
                    <a:pt x="228" y="168"/>
                  </a:lnTo>
                  <a:lnTo>
                    <a:pt x="230" y="170"/>
                  </a:lnTo>
                  <a:lnTo>
                    <a:pt x="232" y="170"/>
                  </a:lnTo>
                  <a:lnTo>
                    <a:pt x="234" y="170"/>
                  </a:lnTo>
                  <a:lnTo>
                    <a:pt x="236" y="170"/>
                  </a:lnTo>
                  <a:lnTo>
                    <a:pt x="238" y="172"/>
                  </a:lnTo>
                  <a:lnTo>
                    <a:pt x="242" y="172"/>
                  </a:lnTo>
                  <a:lnTo>
                    <a:pt x="252" y="172"/>
                  </a:lnTo>
                  <a:lnTo>
                    <a:pt x="256" y="174"/>
                  </a:lnTo>
                  <a:lnTo>
                    <a:pt x="260" y="174"/>
                  </a:lnTo>
                  <a:lnTo>
                    <a:pt x="268" y="176"/>
                  </a:lnTo>
                  <a:lnTo>
                    <a:pt x="272" y="176"/>
                  </a:lnTo>
                  <a:lnTo>
                    <a:pt x="274" y="178"/>
                  </a:lnTo>
                  <a:lnTo>
                    <a:pt x="278" y="180"/>
                  </a:lnTo>
                  <a:lnTo>
                    <a:pt x="284" y="182"/>
                  </a:lnTo>
                  <a:lnTo>
                    <a:pt x="286" y="182"/>
                  </a:lnTo>
                  <a:lnTo>
                    <a:pt x="288" y="184"/>
                  </a:lnTo>
                  <a:lnTo>
                    <a:pt x="290" y="184"/>
                  </a:lnTo>
                  <a:lnTo>
                    <a:pt x="290" y="186"/>
                  </a:lnTo>
                  <a:lnTo>
                    <a:pt x="292" y="186"/>
                  </a:lnTo>
                  <a:lnTo>
                    <a:pt x="292" y="188"/>
                  </a:lnTo>
                  <a:lnTo>
                    <a:pt x="294" y="190"/>
                  </a:lnTo>
                  <a:lnTo>
                    <a:pt x="294" y="192"/>
                  </a:lnTo>
                  <a:lnTo>
                    <a:pt x="296" y="194"/>
                  </a:lnTo>
                  <a:lnTo>
                    <a:pt x="298" y="200"/>
                  </a:lnTo>
                  <a:lnTo>
                    <a:pt x="300" y="202"/>
                  </a:lnTo>
                  <a:lnTo>
                    <a:pt x="300" y="204"/>
                  </a:lnTo>
                  <a:lnTo>
                    <a:pt x="302" y="206"/>
                  </a:lnTo>
                  <a:lnTo>
                    <a:pt x="306" y="210"/>
                  </a:lnTo>
                  <a:lnTo>
                    <a:pt x="306" y="210"/>
                  </a:lnTo>
                  <a:lnTo>
                    <a:pt x="308" y="212"/>
                  </a:lnTo>
                  <a:lnTo>
                    <a:pt x="310" y="214"/>
                  </a:lnTo>
                  <a:lnTo>
                    <a:pt x="312" y="214"/>
                  </a:lnTo>
                  <a:lnTo>
                    <a:pt x="312" y="214"/>
                  </a:lnTo>
                  <a:lnTo>
                    <a:pt x="314" y="216"/>
                  </a:lnTo>
                  <a:lnTo>
                    <a:pt x="316" y="216"/>
                  </a:lnTo>
                  <a:lnTo>
                    <a:pt x="318" y="216"/>
                  </a:lnTo>
                  <a:lnTo>
                    <a:pt x="324" y="218"/>
                  </a:lnTo>
                  <a:lnTo>
                    <a:pt x="328" y="218"/>
                  </a:lnTo>
                  <a:lnTo>
                    <a:pt x="334" y="218"/>
                  </a:lnTo>
                  <a:lnTo>
                    <a:pt x="340" y="218"/>
                  </a:lnTo>
                  <a:lnTo>
                    <a:pt x="344" y="218"/>
                  </a:lnTo>
                  <a:lnTo>
                    <a:pt x="350" y="218"/>
                  </a:lnTo>
                  <a:lnTo>
                    <a:pt x="362" y="218"/>
                  </a:lnTo>
                  <a:lnTo>
                    <a:pt x="374" y="218"/>
                  </a:lnTo>
                  <a:lnTo>
                    <a:pt x="378" y="220"/>
                  </a:lnTo>
                  <a:lnTo>
                    <a:pt x="384" y="220"/>
                  </a:lnTo>
                  <a:lnTo>
                    <a:pt x="388" y="220"/>
                  </a:lnTo>
                  <a:lnTo>
                    <a:pt x="392" y="220"/>
                  </a:lnTo>
                  <a:lnTo>
                    <a:pt x="396" y="222"/>
                  </a:lnTo>
                  <a:lnTo>
                    <a:pt x="400" y="222"/>
                  </a:lnTo>
                  <a:lnTo>
                    <a:pt x="406" y="224"/>
                  </a:lnTo>
                  <a:lnTo>
                    <a:pt x="410" y="226"/>
                  </a:lnTo>
                  <a:lnTo>
                    <a:pt x="412" y="226"/>
                  </a:lnTo>
                  <a:lnTo>
                    <a:pt x="414" y="228"/>
                  </a:lnTo>
                  <a:lnTo>
                    <a:pt x="420" y="232"/>
                  </a:lnTo>
                  <a:lnTo>
                    <a:pt x="422" y="234"/>
                  </a:lnTo>
                  <a:lnTo>
                    <a:pt x="426" y="234"/>
                  </a:lnTo>
                  <a:lnTo>
                    <a:pt x="428" y="236"/>
                  </a:lnTo>
                  <a:lnTo>
                    <a:pt x="428" y="236"/>
                  </a:lnTo>
                  <a:lnTo>
                    <a:pt x="430" y="236"/>
                  </a:lnTo>
                  <a:lnTo>
                    <a:pt x="430" y="236"/>
                  </a:lnTo>
                  <a:lnTo>
                    <a:pt x="432" y="236"/>
                  </a:lnTo>
                  <a:lnTo>
                    <a:pt x="432" y="236"/>
                  </a:lnTo>
                  <a:lnTo>
                    <a:pt x="436" y="236"/>
                  </a:lnTo>
                  <a:lnTo>
                    <a:pt x="438" y="236"/>
                  </a:lnTo>
                  <a:lnTo>
                    <a:pt x="442" y="234"/>
                  </a:lnTo>
                  <a:lnTo>
                    <a:pt x="444" y="234"/>
                  </a:lnTo>
                  <a:lnTo>
                    <a:pt x="448" y="232"/>
                  </a:lnTo>
                  <a:lnTo>
                    <a:pt x="450" y="232"/>
                  </a:lnTo>
                  <a:lnTo>
                    <a:pt x="452" y="230"/>
                  </a:lnTo>
                  <a:lnTo>
                    <a:pt x="454" y="230"/>
                  </a:lnTo>
                  <a:lnTo>
                    <a:pt x="454" y="228"/>
                  </a:lnTo>
                  <a:lnTo>
                    <a:pt x="458" y="226"/>
                  </a:lnTo>
                  <a:lnTo>
                    <a:pt x="460" y="224"/>
                  </a:lnTo>
                  <a:lnTo>
                    <a:pt x="460" y="222"/>
                  </a:lnTo>
                  <a:lnTo>
                    <a:pt x="462" y="222"/>
                  </a:lnTo>
                  <a:lnTo>
                    <a:pt x="462" y="222"/>
                  </a:lnTo>
                  <a:lnTo>
                    <a:pt x="464" y="222"/>
                  </a:lnTo>
                  <a:lnTo>
                    <a:pt x="464" y="222"/>
                  </a:lnTo>
                  <a:lnTo>
                    <a:pt x="466" y="222"/>
                  </a:lnTo>
                  <a:lnTo>
                    <a:pt x="468" y="222"/>
                  </a:lnTo>
                  <a:lnTo>
                    <a:pt x="470" y="222"/>
                  </a:lnTo>
                  <a:lnTo>
                    <a:pt x="474" y="222"/>
                  </a:lnTo>
                  <a:lnTo>
                    <a:pt x="478" y="224"/>
                  </a:lnTo>
                  <a:lnTo>
                    <a:pt x="482" y="224"/>
                  </a:lnTo>
                  <a:lnTo>
                    <a:pt x="486" y="226"/>
                  </a:lnTo>
                  <a:lnTo>
                    <a:pt x="488" y="226"/>
                  </a:lnTo>
                  <a:lnTo>
                    <a:pt x="490" y="226"/>
                  </a:lnTo>
                  <a:lnTo>
                    <a:pt x="490" y="226"/>
                  </a:lnTo>
                  <a:lnTo>
                    <a:pt x="492" y="226"/>
                  </a:lnTo>
                  <a:lnTo>
                    <a:pt x="494" y="224"/>
                  </a:lnTo>
                  <a:lnTo>
                    <a:pt x="496" y="224"/>
                  </a:lnTo>
                  <a:lnTo>
                    <a:pt x="496" y="224"/>
                  </a:lnTo>
                  <a:lnTo>
                    <a:pt x="498" y="222"/>
                  </a:lnTo>
                  <a:lnTo>
                    <a:pt x="502" y="220"/>
                  </a:lnTo>
                  <a:lnTo>
                    <a:pt x="504" y="218"/>
                  </a:lnTo>
                  <a:lnTo>
                    <a:pt x="508" y="214"/>
                  </a:lnTo>
                  <a:lnTo>
                    <a:pt x="510" y="212"/>
                  </a:lnTo>
                  <a:lnTo>
                    <a:pt x="514" y="208"/>
                  </a:lnTo>
                  <a:lnTo>
                    <a:pt x="514" y="208"/>
                  </a:lnTo>
                  <a:lnTo>
                    <a:pt x="516" y="206"/>
                  </a:lnTo>
                  <a:lnTo>
                    <a:pt x="516" y="204"/>
                  </a:lnTo>
                  <a:lnTo>
                    <a:pt x="516" y="202"/>
                  </a:lnTo>
                  <a:lnTo>
                    <a:pt x="516" y="200"/>
                  </a:lnTo>
                  <a:lnTo>
                    <a:pt x="518" y="198"/>
                  </a:lnTo>
                  <a:lnTo>
                    <a:pt x="518" y="192"/>
                  </a:lnTo>
                  <a:lnTo>
                    <a:pt x="518" y="188"/>
                  </a:lnTo>
                  <a:lnTo>
                    <a:pt x="518" y="186"/>
                  </a:lnTo>
                  <a:lnTo>
                    <a:pt x="516" y="184"/>
                  </a:lnTo>
                  <a:lnTo>
                    <a:pt x="516" y="180"/>
                  </a:lnTo>
                  <a:lnTo>
                    <a:pt x="516" y="178"/>
                  </a:lnTo>
                  <a:lnTo>
                    <a:pt x="516" y="176"/>
                  </a:lnTo>
                  <a:lnTo>
                    <a:pt x="516" y="174"/>
                  </a:lnTo>
                  <a:lnTo>
                    <a:pt x="516" y="174"/>
                  </a:lnTo>
                  <a:lnTo>
                    <a:pt x="516" y="174"/>
                  </a:lnTo>
                  <a:lnTo>
                    <a:pt x="516" y="172"/>
                  </a:lnTo>
                  <a:lnTo>
                    <a:pt x="518" y="172"/>
                  </a:lnTo>
                  <a:lnTo>
                    <a:pt x="518" y="172"/>
                  </a:lnTo>
                  <a:lnTo>
                    <a:pt x="520" y="172"/>
                  </a:lnTo>
                  <a:lnTo>
                    <a:pt x="520" y="172"/>
                  </a:lnTo>
                  <a:lnTo>
                    <a:pt x="522" y="172"/>
                  </a:lnTo>
                  <a:lnTo>
                    <a:pt x="524" y="174"/>
                  </a:lnTo>
                  <a:lnTo>
                    <a:pt x="526" y="174"/>
                  </a:lnTo>
                  <a:lnTo>
                    <a:pt x="528" y="176"/>
                  </a:lnTo>
                  <a:lnTo>
                    <a:pt x="532" y="178"/>
                  </a:lnTo>
                  <a:lnTo>
                    <a:pt x="532" y="178"/>
                  </a:lnTo>
                  <a:lnTo>
                    <a:pt x="534" y="178"/>
                  </a:lnTo>
                  <a:lnTo>
                    <a:pt x="536" y="178"/>
                  </a:lnTo>
                  <a:lnTo>
                    <a:pt x="536" y="178"/>
                  </a:lnTo>
                  <a:lnTo>
                    <a:pt x="538" y="178"/>
                  </a:lnTo>
                  <a:lnTo>
                    <a:pt x="538" y="178"/>
                  </a:lnTo>
                  <a:lnTo>
                    <a:pt x="540" y="178"/>
                  </a:lnTo>
                  <a:lnTo>
                    <a:pt x="540" y="176"/>
                  </a:lnTo>
                  <a:lnTo>
                    <a:pt x="542" y="174"/>
                  </a:lnTo>
                  <a:lnTo>
                    <a:pt x="544" y="172"/>
                  </a:lnTo>
                  <a:lnTo>
                    <a:pt x="548" y="168"/>
                  </a:lnTo>
                  <a:lnTo>
                    <a:pt x="548" y="166"/>
                  </a:lnTo>
                  <a:lnTo>
                    <a:pt x="550" y="164"/>
                  </a:lnTo>
                  <a:lnTo>
                    <a:pt x="554" y="162"/>
                  </a:lnTo>
                  <a:lnTo>
                    <a:pt x="556" y="160"/>
                  </a:lnTo>
                  <a:lnTo>
                    <a:pt x="560" y="156"/>
                  </a:lnTo>
                  <a:lnTo>
                    <a:pt x="562" y="154"/>
                  </a:lnTo>
                  <a:lnTo>
                    <a:pt x="568" y="152"/>
                  </a:lnTo>
                  <a:lnTo>
                    <a:pt x="574" y="148"/>
                  </a:lnTo>
                  <a:lnTo>
                    <a:pt x="580" y="144"/>
                  </a:lnTo>
                  <a:lnTo>
                    <a:pt x="584" y="142"/>
                  </a:lnTo>
                  <a:lnTo>
                    <a:pt x="586" y="142"/>
                  </a:lnTo>
                  <a:lnTo>
                    <a:pt x="588" y="142"/>
                  </a:lnTo>
                  <a:lnTo>
                    <a:pt x="590" y="140"/>
                  </a:lnTo>
                  <a:lnTo>
                    <a:pt x="594" y="140"/>
                  </a:lnTo>
                  <a:lnTo>
                    <a:pt x="598" y="138"/>
                  </a:lnTo>
                  <a:lnTo>
                    <a:pt x="602" y="136"/>
                  </a:lnTo>
                  <a:lnTo>
                    <a:pt x="604" y="136"/>
                  </a:lnTo>
                  <a:lnTo>
                    <a:pt x="606" y="134"/>
                  </a:lnTo>
                  <a:lnTo>
                    <a:pt x="608" y="134"/>
                  </a:lnTo>
                  <a:lnTo>
                    <a:pt x="608" y="134"/>
                  </a:lnTo>
                  <a:lnTo>
                    <a:pt x="608" y="132"/>
                  </a:lnTo>
                  <a:lnTo>
                    <a:pt x="610" y="130"/>
                  </a:lnTo>
                  <a:lnTo>
                    <a:pt x="610" y="130"/>
                  </a:lnTo>
                  <a:lnTo>
                    <a:pt x="610" y="128"/>
                  </a:lnTo>
                  <a:lnTo>
                    <a:pt x="610" y="128"/>
                  </a:lnTo>
                  <a:lnTo>
                    <a:pt x="608" y="126"/>
                  </a:lnTo>
                  <a:lnTo>
                    <a:pt x="608" y="126"/>
                  </a:lnTo>
                  <a:lnTo>
                    <a:pt x="608" y="124"/>
                  </a:lnTo>
                  <a:lnTo>
                    <a:pt x="606" y="122"/>
                  </a:lnTo>
                  <a:lnTo>
                    <a:pt x="604" y="120"/>
                  </a:lnTo>
                  <a:lnTo>
                    <a:pt x="602" y="118"/>
                  </a:lnTo>
                  <a:lnTo>
                    <a:pt x="600" y="116"/>
                  </a:lnTo>
                  <a:lnTo>
                    <a:pt x="598" y="116"/>
                  </a:lnTo>
                  <a:lnTo>
                    <a:pt x="596" y="116"/>
                  </a:lnTo>
                  <a:lnTo>
                    <a:pt x="596" y="116"/>
                  </a:lnTo>
                  <a:lnTo>
                    <a:pt x="594" y="114"/>
                  </a:lnTo>
                  <a:lnTo>
                    <a:pt x="592" y="114"/>
                  </a:lnTo>
                  <a:lnTo>
                    <a:pt x="590" y="116"/>
                  </a:lnTo>
                  <a:lnTo>
                    <a:pt x="586" y="116"/>
                  </a:lnTo>
                  <a:lnTo>
                    <a:pt x="584" y="116"/>
                  </a:lnTo>
                  <a:lnTo>
                    <a:pt x="580" y="118"/>
                  </a:lnTo>
                  <a:lnTo>
                    <a:pt x="574" y="118"/>
                  </a:lnTo>
                  <a:lnTo>
                    <a:pt x="574" y="118"/>
                  </a:lnTo>
                  <a:lnTo>
                    <a:pt x="572" y="120"/>
                  </a:lnTo>
                  <a:lnTo>
                    <a:pt x="568" y="120"/>
                  </a:lnTo>
                  <a:lnTo>
                    <a:pt x="568" y="122"/>
                  </a:lnTo>
                  <a:lnTo>
                    <a:pt x="566" y="122"/>
                  </a:lnTo>
                  <a:lnTo>
                    <a:pt x="564" y="122"/>
                  </a:lnTo>
                  <a:lnTo>
                    <a:pt x="564" y="122"/>
                  </a:lnTo>
                  <a:lnTo>
                    <a:pt x="562" y="122"/>
                  </a:lnTo>
                  <a:lnTo>
                    <a:pt x="562" y="122"/>
                  </a:lnTo>
                  <a:lnTo>
                    <a:pt x="562" y="120"/>
                  </a:lnTo>
                  <a:lnTo>
                    <a:pt x="562" y="120"/>
                  </a:lnTo>
                  <a:lnTo>
                    <a:pt x="560" y="118"/>
                  </a:lnTo>
                  <a:lnTo>
                    <a:pt x="560" y="118"/>
                  </a:lnTo>
                  <a:lnTo>
                    <a:pt x="560" y="116"/>
                  </a:lnTo>
                  <a:lnTo>
                    <a:pt x="558" y="112"/>
                  </a:lnTo>
                  <a:lnTo>
                    <a:pt x="558" y="108"/>
                  </a:lnTo>
                  <a:lnTo>
                    <a:pt x="558" y="104"/>
                  </a:lnTo>
                  <a:lnTo>
                    <a:pt x="558" y="100"/>
                  </a:lnTo>
                  <a:lnTo>
                    <a:pt x="558" y="96"/>
                  </a:lnTo>
                  <a:lnTo>
                    <a:pt x="558" y="90"/>
                  </a:lnTo>
                  <a:lnTo>
                    <a:pt x="558" y="88"/>
                  </a:lnTo>
                  <a:lnTo>
                    <a:pt x="558" y="84"/>
                  </a:lnTo>
                  <a:lnTo>
                    <a:pt x="558" y="82"/>
                  </a:lnTo>
                  <a:lnTo>
                    <a:pt x="558" y="80"/>
                  </a:lnTo>
                  <a:lnTo>
                    <a:pt x="560" y="76"/>
                  </a:lnTo>
                  <a:lnTo>
                    <a:pt x="562" y="72"/>
                  </a:lnTo>
                  <a:lnTo>
                    <a:pt x="562" y="74"/>
                  </a:lnTo>
                  <a:lnTo>
                    <a:pt x="566" y="76"/>
                  </a:lnTo>
                  <a:lnTo>
                    <a:pt x="568" y="78"/>
                  </a:lnTo>
                  <a:lnTo>
                    <a:pt x="570" y="80"/>
                  </a:lnTo>
                  <a:lnTo>
                    <a:pt x="572" y="82"/>
                  </a:lnTo>
                  <a:lnTo>
                    <a:pt x="572" y="82"/>
                  </a:lnTo>
                  <a:lnTo>
                    <a:pt x="572" y="84"/>
                  </a:lnTo>
                  <a:lnTo>
                    <a:pt x="574" y="84"/>
                  </a:lnTo>
                  <a:lnTo>
                    <a:pt x="578" y="84"/>
                  </a:lnTo>
                  <a:lnTo>
                    <a:pt x="580" y="84"/>
                  </a:lnTo>
                  <a:lnTo>
                    <a:pt x="582" y="84"/>
                  </a:lnTo>
                  <a:lnTo>
                    <a:pt x="586" y="84"/>
                  </a:lnTo>
                  <a:lnTo>
                    <a:pt x="588" y="84"/>
                  </a:lnTo>
                  <a:lnTo>
                    <a:pt x="590" y="84"/>
                  </a:lnTo>
                  <a:lnTo>
                    <a:pt x="590" y="84"/>
                  </a:lnTo>
                  <a:lnTo>
                    <a:pt x="590" y="84"/>
                  </a:lnTo>
                  <a:lnTo>
                    <a:pt x="592" y="84"/>
                  </a:lnTo>
                  <a:lnTo>
                    <a:pt x="592" y="82"/>
                  </a:lnTo>
                  <a:lnTo>
                    <a:pt x="594" y="80"/>
                  </a:lnTo>
                  <a:lnTo>
                    <a:pt x="594" y="80"/>
                  </a:lnTo>
                  <a:lnTo>
                    <a:pt x="594" y="78"/>
                  </a:lnTo>
                  <a:lnTo>
                    <a:pt x="594" y="76"/>
                  </a:lnTo>
                  <a:lnTo>
                    <a:pt x="594" y="74"/>
                  </a:lnTo>
                  <a:lnTo>
                    <a:pt x="594" y="70"/>
                  </a:lnTo>
                  <a:lnTo>
                    <a:pt x="594" y="66"/>
                  </a:lnTo>
                  <a:lnTo>
                    <a:pt x="594" y="62"/>
                  </a:lnTo>
                  <a:lnTo>
                    <a:pt x="594" y="60"/>
                  </a:lnTo>
                  <a:lnTo>
                    <a:pt x="594" y="58"/>
                  </a:lnTo>
                  <a:lnTo>
                    <a:pt x="596" y="56"/>
                  </a:lnTo>
                  <a:lnTo>
                    <a:pt x="596" y="56"/>
                  </a:lnTo>
                  <a:lnTo>
                    <a:pt x="596" y="54"/>
                  </a:lnTo>
                  <a:lnTo>
                    <a:pt x="596" y="54"/>
                  </a:lnTo>
                  <a:lnTo>
                    <a:pt x="598" y="52"/>
                  </a:lnTo>
                  <a:lnTo>
                    <a:pt x="600" y="52"/>
                  </a:lnTo>
                  <a:lnTo>
                    <a:pt x="602" y="50"/>
                  </a:lnTo>
                  <a:lnTo>
                    <a:pt x="604" y="50"/>
                  </a:lnTo>
                  <a:lnTo>
                    <a:pt x="604" y="48"/>
                  </a:lnTo>
                  <a:lnTo>
                    <a:pt x="606" y="48"/>
                  </a:lnTo>
                  <a:lnTo>
                    <a:pt x="606" y="46"/>
                  </a:lnTo>
                  <a:lnTo>
                    <a:pt x="606" y="46"/>
                  </a:lnTo>
                  <a:lnTo>
                    <a:pt x="606" y="46"/>
                  </a:lnTo>
                  <a:lnTo>
                    <a:pt x="608" y="44"/>
                  </a:lnTo>
                  <a:lnTo>
                    <a:pt x="606" y="42"/>
                  </a:lnTo>
                  <a:lnTo>
                    <a:pt x="606" y="42"/>
                  </a:lnTo>
                  <a:lnTo>
                    <a:pt x="606" y="40"/>
                  </a:lnTo>
                  <a:lnTo>
                    <a:pt x="606" y="38"/>
                  </a:lnTo>
                  <a:lnTo>
                    <a:pt x="604" y="36"/>
                  </a:lnTo>
                  <a:lnTo>
                    <a:pt x="602" y="32"/>
                  </a:lnTo>
                  <a:lnTo>
                    <a:pt x="600" y="30"/>
                  </a:lnTo>
                  <a:lnTo>
                    <a:pt x="598" y="26"/>
                  </a:lnTo>
                  <a:lnTo>
                    <a:pt x="598" y="24"/>
                  </a:lnTo>
                  <a:lnTo>
                    <a:pt x="598" y="22"/>
                  </a:lnTo>
                  <a:lnTo>
                    <a:pt x="596" y="22"/>
                  </a:lnTo>
                  <a:lnTo>
                    <a:pt x="596" y="20"/>
                  </a:lnTo>
                  <a:lnTo>
                    <a:pt x="598" y="18"/>
                  </a:lnTo>
                  <a:lnTo>
                    <a:pt x="598" y="16"/>
                  </a:lnTo>
                  <a:lnTo>
                    <a:pt x="598" y="14"/>
                  </a:lnTo>
                  <a:lnTo>
                    <a:pt x="600" y="12"/>
                  </a:lnTo>
                  <a:lnTo>
                    <a:pt x="600" y="10"/>
                  </a:lnTo>
                  <a:lnTo>
                    <a:pt x="602" y="8"/>
                  </a:lnTo>
                  <a:lnTo>
                    <a:pt x="604" y="6"/>
                  </a:lnTo>
                  <a:lnTo>
                    <a:pt x="604" y="6"/>
                  </a:lnTo>
                  <a:lnTo>
                    <a:pt x="604" y="4"/>
                  </a:lnTo>
                  <a:lnTo>
                    <a:pt x="606" y="4"/>
                  </a:lnTo>
                  <a:lnTo>
                    <a:pt x="608" y="4"/>
                  </a:lnTo>
                  <a:lnTo>
                    <a:pt x="610" y="2"/>
                  </a:lnTo>
                  <a:lnTo>
                    <a:pt x="614" y="2"/>
                  </a:lnTo>
                  <a:lnTo>
                    <a:pt x="618" y="0"/>
                  </a:lnTo>
                  <a:lnTo>
                    <a:pt x="622" y="0"/>
                  </a:lnTo>
                  <a:lnTo>
                    <a:pt x="626" y="0"/>
                  </a:lnTo>
                  <a:lnTo>
                    <a:pt x="630" y="0"/>
                  </a:lnTo>
                  <a:lnTo>
                    <a:pt x="634" y="0"/>
                  </a:lnTo>
                  <a:lnTo>
                    <a:pt x="640" y="0"/>
                  </a:lnTo>
                  <a:lnTo>
                    <a:pt x="644" y="2"/>
                  </a:lnTo>
                  <a:lnTo>
                    <a:pt x="648" y="2"/>
                  </a:lnTo>
                  <a:lnTo>
                    <a:pt x="652" y="2"/>
                  </a:lnTo>
                  <a:lnTo>
                    <a:pt x="656" y="4"/>
                  </a:lnTo>
                  <a:lnTo>
                    <a:pt x="660" y="4"/>
                  </a:lnTo>
                  <a:lnTo>
                    <a:pt x="664" y="6"/>
                  </a:lnTo>
                  <a:lnTo>
                    <a:pt x="666" y="6"/>
                  </a:lnTo>
                  <a:lnTo>
                    <a:pt x="668" y="6"/>
                  </a:lnTo>
                  <a:lnTo>
                    <a:pt x="668" y="8"/>
                  </a:lnTo>
                  <a:lnTo>
                    <a:pt x="670" y="10"/>
                  </a:lnTo>
                  <a:lnTo>
                    <a:pt x="672" y="12"/>
                  </a:lnTo>
                  <a:lnTo>
                    <a:pt x="674" y="14"/>
                  </a:lnTo>
                  <a:lnTo>
                    <a:pt x="678" y="18"/>
                  </a:lnTo>
                  <a:lnTo>
                    <a:pt x="680" y="20"/>
                  </a:lnTo>
                  <a:lnTo>
                    <a:pt x="682" y="22"/>
                  </a:lnTo>
                  <a:lnTo>
                    <a:pt x="684" y="26"/>
                  </a:lnTo>
                  <a:lnTo>
                    <a:pt x="688" y="28"/>
                  </a:lnTo>
                  <a:lnTo>
                    <a:pt x="692" y="32"/>
                  </a:lnTo>
                  <a:lnTo>
                    <a:pt x="696" y="36"/>
                  </a:lnTo>
                  <a:lnTo>
                    <a:pt x="698" y="38"/>
                  </a:lnTo>
                  <a:lnTo>
                    <a:pt x="700" y="42"/>
                  </a:lnTo>
                  <a:lnTo>
                    <a:pt x="704" y="44"/>
                  </a:lnTo>
                  <a:lnTo>
                    <a:pt x="704" y="46"/>
                  </a:lnTo>
                  <a:lnTo>
                    <a:pt x="706" y="48"/>
                  </a:lnTo>
                  <a:lnTo>
                    <a:pt x="706" y="50"/>
                  </a:lnTo>
                  <a:lnTo>
                    <a:pt x="706" y="52"/>
                  </a:lnTo>
                  <a:lnTo>
                    <a:pt x="708" y="56"/>
                  </a:lnTo>
                  <a:lnTo>
                    <a:pt x="708" y="62"/>
                  </a:lnTo>
                  <a:lnTo>
                    <a:pt x="708" y="64"/>
                  </a:lnTo>
                  <a:lnTo>
                    <a:pt x="708" y="66"/>
                  </a:lnTo>
                  <a:lnTo>
                    <a:pt x="710" y="68"/>
                  </a:lnTo>
                  <a:lnTo>
                    <a:pt x="710" y="68"/>
                  </a:lnTo>
                  <a:lnTo>
                    <a:pt x="712" y="70"/>
                  </a:lnTo>
                  <a:lnTo>
                    <a:pt x="714" y="74"/>
                  </a:lnTo>
                  <a:lnTo>
                    <a:pt x="716" y="74"/>
                  </a:lnTo>
                  <a:lnTo>
                    <a:pt x="718" y="76"/>
                  </a:lnTo>
                  <a:lnTo>
                    <a:pt x="718" y="78"/>
                  </a:lnTo>
                  <a:lnTo>
                    <a:pt x="720" y="80"/>
                  </a:lnTo>
                  <a:lnTo>
                    <a:pt x="722" y="80"/>
                  </a:lnTo>
                  <a:lnTo>
                    <a:pt x="722" y="80"/>
                  </a:lnTo>
                  <a:lnTo>
                    <a:pt x="724" y="80"/>
                  </a:lnTo>
                  <a:lnTo>
                    <a:pt x="726" y="82"/>
                  </a:lnTo>
                  <a:lnTo>
                    <a:pt x="730" y="82"/>
                  </a:lnTo>
                  <a:lnTo>
                    <a:pt x="732" y="82"/>
                  </a:lnTo>
                  <a:lnTo>
                    <a:pt x="736" y="82"/>
                  </a:lnTo>
                  <a:lnTo>
                    <a:pt x="740" y="82"/>
                  </a:lnTo>
                  <a:lnTo>
                    <a:pt x="742" y="84"/>
                  </a:lnTo>
                  <a:lnTo>
                    <a:pt x="744" y="84"/>
                  </a:lnTo>
                  <a:lnTo>
                    <a:pt x="746" y="84"/>
                  </a:lnTo>
                  <a:lnTo>
                    <a:pt x="746" y="86"/>
                  </a:lnTo>
                  <a:lnTo>
                    <a:pt x="748" y="86"/>
                  </a:lnTo>
                  <a:lnTo>
                    <a:pt x="752" y="90"/>
                  </a:lnTo>
                  <a:lnTo>
                    <a:pt x="754" y="92"/>
                  </a:lnTo>
                  <a:lnTo>
                    <a:pt x="756" y="94"/>
                  </a:lnTo>
                  <a:lnTo>
                    <a:pt x="756" y="94"/>
                  </a:lnTo>
                  <a:lnTo>
                    <a:pt x="760" y="96"/>
                  </a:lnTo>
                  <a:lnTo>
                    <a:pt x="764" y="98"/>
                  </a:lnTo>
                  <a:lnTo>
                    <a:pt x="766" y="102"/>
                  </a:lnTo>
                  <a:lnTo>
                    <a:pt x="768" y="102"/>
                  </a:lnTo>
                  <a:lnTo>
                    <a:pt x="770" y="104"/>
                  </a:lnTo>
                  <a:lnTo>
                    <a:pt x="770" y="104"/>
                  </a:lnTo>
                  <a:lnTo>
                    <a:pt x="770" y="106"/>
                  </a:lnTo>
                  <a:lnTo>
                    <a:pt x="772" y="108"/>
                  </a:lnTo>
                  <a:lnTo>
                    <a:pt x="772" y="110"/>
                  </a:lnTo>
                  <a:lnTo>
                    <a:pt x="772" y="110"/>
                  </a:lnTo>
                  <a:lnTo>
                    <a:pt x="774" y="112"/>
                  </a:lnTo>
                  <a:lnTo>
                    <a:pt x="774" y="112"/>
                  </a:lnTo>
                  <a:lnTo>
                    <a:pt x="774" y="112"/>
                  </a:lnTo>
                  <a:lnTo>
                    <a:pt x="776" y="112"/>
                  </a:lnTo>
                  <a:lnTo>
                    <a:pt x="778" y="114"/>
                  </a:lnTo>
                  <a:lnTo>
                    <a:pt x="780" y="114"/>
                  </a:lnTo>
                  <a:lnTo>
                    <a:pt x="782" y="114"/>
                  </a:lnTo>
                  <a:lnTo>
                    <a:pt x="786" y="114"/>
                  </a:lnTo>
                  <a:lnTo>
                    <a:pt x="790" y="114"/>
                  </a:lnTo>
                  <a:lnTo>
                    <a:pt x="790" y="114"/>
                  </a:lnTo>
                  <a:lnTo>
                    <a:pt x="792" y="112"/>
                  </a:lnTo>
                  <a:lnTo>
                    <a:pt x="796" y="112"/>
                  </a:lnTo>
                  <a:lnTo>
                    <a:pt x="802" y="110"/>
                  </a:lnTo>
                  <a:lnTo>
                    <a:pt x="806" y="108"/>
                  </a:lnTo>
                  <a:lnTo>
                    <a:pt x="808" y="108"/>
                  </a:lnTo>
                  <a:lnTo>
                    <a:pt x="808" y="108"/>
                  </a:lnTo>
                  <a:lnTo>
                    <a:pt x="810" y="108"/>
                  </a:lnTo>
                  <a:lnTo>
                    <a:pt x="812" y="108"/>
                  </a:lnTo>
                  <a:lnTo>
                    <a:pt x="814" y="108"/>
                  </a:lnTo>
                  <a:lnTo>
                    <a:pt x="814" y="108"/>
                  </a:lnTo>
                  <a:lnTo>
                    <a:pt x="816" y="108"/>
                  </a:lnTo>
                  <a:lnTo>
                    <a:pt x="816" y="110"/>
                  </a:lnTo>
                  <a:lnTo>
                    <a:pt x="816" y="110"/>
                  </a:lnTo>
                  <a:lnTo>
                    <a:pt x="818" y="112"/>
                  </a:lnTo>
                  <a:lnTo>
                    <a:pt x="818" y="114"/>
                  </a:lnTo>
                  <a:lnTo>
                    <a:pt x="820" y="116"/>
                  </a:lnTo>
                  <a:lnTo>
                    <a:pt x="820" y="118"/>
                  </a:lnTo>
                  <a:lnTo>
                    <a:pt x="822" y="122"/>
                  </a:lnTo>
                  <a:lnTo>
                    <a:pt x="822" y="124"/>
                  </a:lnTo>
                  <a:lnTo>
                    <a:pt x="822" y="126"/>
                  </a:lnTo>
                  <a:lnTo>
                    <a:pt x="822" y="128"/>
                  </a:lnTo>
                  <a:lnTo>
                    <a:pt x="822" y="128"/>
                  </a:lnTo>
                  <a:lnTo>
                    <a:pt x="822" y="128"/>
                  </a:lnTo>
                  <a:lnTo>
                    <a:pt x="822" y="130"/>
                  </a:lnTo>
                  <a:lnTo>
                    <a:pt x="820" y="130"/>
                  </a:lnTo>
                  <a:lnTo>
                    <a:pt x="818" y="132"/>
                  </a:lnTo>
                  <a:lnTo>
                    <a:pt x="818" y="132"/>
                  </a:lnTo>
                  <a:lnTo>
                    <a:pt x="816" y="134"/>
                  </a:lnTo>
                  <a:lnTo>
                    <a:pt x="814" y="134"/>
                  </a:lnTo>
                  <a:lnTo>
                    <a:pt x="812" y="134"/>
                  </a:lnTo>
                  <a:lnTo>
                    <a:pt x="812" y="136"/>
                  </a:lnTo>
                  <a:lnTo>
                    <a:pt x="812" y="136"/>
                  </a:lnTo>
                  <a:lnTo>
                    <a:pt x="812" y="136"/>
                  </a:lnTo>
                  <a:lnTo>
                    <a:pt x="812" y="138"/>
                  </a:lnTo>
                  <a:lnTo>
                    <a:pt x="812" y="140"/>
                  </a:lnTo>
                  <a:lnTo>
                    <a:pt x="812" y="142"/>
                  </a:lnTo>
                  <a:lnTo>
                    <a:pt x="812" y="144"/>
                  </a:lnTo>
                  <a:lnTo>
                    <a:pt x="812" y="146"/>
                  </a:lnTo>
                  <a:lnTo>
                    <a:pt x="812" y="150"/>
                  </a:lnTo>
                  <a:lnTo>
                    <a:pt x="812" y="156"/>
                  </a:lnTo>
                  <a:lnTo>
                    <a:pt x="814" y="160"/>
                  </a:lnTo>
                  <a:lnTo>
                    <a:pt x="814" y="164"/>
                  </a:lnTo>
                  <a:lnTo>
                    <a:pt x="814" y="166"/>
                  </a:lnTo>
                  <a:lnTo>
                    <a:pt x="814" y="168"/>
                  </a:lnTo>
                  <a:lnTo>
                    <a:pt x="812" y="170"/>
                  </a:lnTo>
                  <a:lnTo>
                    <a:pt x="812" y="170"/>
                  </a:lnTo>
                  <a:lnTo>
                    <a:pt x="812" y="172"/>
                  </a:lnTo>
                  <a:lnTo>
                    <a:pt x="812" y="172"/>
                  </a:lnTo>
                  <a:lnTo>
                    <a:pt x="810" y="172"/>
                  </a:lnTo>
                  <a:lnTo>
                    <a:pt x="810" y="172"/>
                  </a:lnTo>
                  <a:lnTo>
                    <a:pt x="810" y="172"/>
                  </a:lnTo>
                  <a:lnTo>
                    <a:pt x="808" y="172"/>
                  </a:lnTo>
                  <a:lnTo>
                    <a:pt x="808" y="172"/>
                  </a:lnTo>
                  <a:lnTo>
                    <a:pt x="806" y="172"/>
                  </a:lnTo>
                  <a:lnTo>
                    <a:pt x="804" y="172"/>
                  </a:lnTo>
                  <a:lnTo>
                    <a:pt x="802" y="170"/>
                  </a:lnTo>
                  <a:lnTo>
                    <a:pt x="800" y="170"/>
                  </a:lnTo>
                  <a:lnTo>
                    <a:pt x="800" y="170"/>
                  </a:lnTo>
                  <a:lnTo>
                    <a:pt x="798" y="170"/>
                  </a:lnTo>
                  <a:lnTo>
                    <a:pt x="798" y="170"/>
                  </a:lnTo>
                  <a:lnTo>
                    <a:pt x="796" y="170"/>
                  </a:lnTo>
                  <a:lnTo>
                    <a:pt x="796" y="170"/>
                  </a:lnTo>
                  <a:lnTo>
                    <a:pt x="796" y="170"/>
                  </a:lnTo>
                  <a:lnTo>
                    <a:pt x="794" y="172"/>
                  </a:lnTo>
                  <a:lnTo>
                    <a:pt x="794" y="172"/>
                  </a:lnTo>
                  <a:lnTo>
                    <a:pt x="794" y="174"/>
                  </a:lnTo>
                  <a:lnTo>
                    <a:pt x="792" y="176"/>
                  </a:lnTo>
                  <a:lnTo>
                    <a:pt x="792" y="178"/>
                  </a:lnTo>
                  <a:lnTo>
                    <a:pt x="790" y="182"/>
                  </a:lnTo>
                  <a:lnTo>
                    <a:pt x="790" y="184"/>
                  </a:lnTo>
                  <a:lnTo>
                    <a:pt x="790" y="184"/>
                  </a:lnTo>
                  <a:lnTo>
                    <a:pt x="790" y="186"/>
                  </a:lnTo>
                  <a:lnTo>
                    <a:pt x="788" y="188"/>
                  </a:lnTo>
                  <a:lnTo>
                    <a:pt x="788" y="192"/>
                  </a:lnTo>
                  <a:lnTo>
                    <a:pt x="788" y="194"/>
                  </a:lnTo>
                  <a:lnTo>
                    <a:pt x="788" y="196"/>
                  </a:lnTo>
                  <a:lnTo>
                    <a:pt x="790" y="198"/>
                  </a:lnTo>
                  <a:lnTo>
                    <a:pt x="790" y="200"/>
                  </a:lnTo>
                  <a:lnTo>
                    <a:pt x="790" y="200"/>
                  </a:lnTo>
                  <a:lnTo>
                    <a:pt x="790" y="200"/>
                  </a:lnTo>
                  <a:lnTo>
                    <a:pt x="790" y="202"/>
                  </a:lnTo>
                  <a:lnTo>
                    <a:pt x="792" y="202"/>
                  </a:lnTo>
                  <a:lnTo>
                    <a:pt x="792" y="202"/>
                  </a:lnTo>
                  <a:lnTo>
                    <a:pt x="794" y="202"/>
                  </a:lnTo>
                  <a:lnTo>
                    <a:pt x="796" y="202"/>
                  </a:lnTo>
                  <a:lnTo>
                    <a:pt x="798" y="204"/>
                  </a:lnTo>
                  <a:lnTo>
                    <a:pt x="802" y="204"/>
                  </a:lnTo>
                  <a:lnTo>
                    <a:pt x="804" y="204"/>
                  </a:lnTo>
                  <a:lnTo>
                    <a:pt x="804" y="204"/>
                  </a:lnTo>
                  <a:lnTo>
                    <a:pt x="804" y="204"/>
                  </a:lnTo>
                  <a:lnTo>
                    <a:pt x="804" y="204"/>
                  </a:lnTo>
                  <a:lnTo>
                    <a:pt x="802" y="204"/>
                  </a:lnTo>
                  <a:lnTo>
                    <a:pt x="800" y="206"/>
                  </a:lnTo>
                  <a:lnTo>
                    <a:pt x="798" y="208"/>
                  </a:lnTo>
                  <a:lnTo>
                    <a:pt x="796" y="210"/>
                  </a:lnTo>
                  <a:lnTo>
                    <a:pt x="792" y="212"/>
                  </a:lnTo>
                  <a:lnTo>
                    <a:pt x="790" y="214"/>
                  </a:lnTo>
                  <a:lnTo>
                    <a:pt x="790" y="216"/>
                  </a:lnTo>
                  <a:lnTo>
                    <a:pt x="788" y="216"/>
                  </a:lnTo>
                  <a:lnTo>
                    <a:pt x="786" y="216"/>
                  </a:lnTo>
                  <a:lnTo>
                    <a:pt x="782" y="218"/>
                  </a:lnTo>
                  <a:lnTo>
                    <a:pt x="778" y="218"/>
                  </a:lnTo>
                  <a:lnTo>
                    <a:pt x="776" y="220"/>
                  </a:lnTo>
                  <a:lnTo>
                    <a:pt x="776" y="220"/>
                  </a:lnTo>
                  <a:lnTo>
                    <a:pt x="774" y="220"/>
                  </a:lnTo>
                  <a:lnTo>
                    <a:pt x="774" y="222"/>
                  </a:lnTo>
                  <a:lnTo>
                    <a:pt x="772" y="224"/>
                  </a:lnTo>
                  <a:lnTo>
                    <a:pt x="770" y="226"/>
                  </a:lnTo>
                  <a:lnTo>
                    <a:pt x="768" y="228"/>
                  </a:lnTo>
                  <a:lnTo>
                    <a:pt x="766" y="232"/>
                  </a:lnTo>
                  <a:lnTo>
                    <a:pt x="764" y="234"/>
                  </a:lnTo>
                  <a:lnTo>
                    <a:pt x="764" y="234"/>
                  </a:lnTo>
                  <a:lnTo>
                    <a:pt x="762" y="236"/>
                  </a:lnTo>
                  <a:lnTo>
                    <a:pt x="762" y="236"/>
                  </a:lnTo>
                  <a:lnTo>
                    <a:pt x="760" y="236"/>
                  </a:lnTo>
                  <a:lnTo>
                    <a:pt x="758" y="236"/>
                  </a:lnTo>
                  <a:lnTo>
                    <a:pt x="758" y="238"/>
                  </a:lnTo>
                  <a:lnTo>
                    <a:pt x="756" y="238"/>
                  </a:lnTo>
                  <a:lnTo>
                    <a:pt x="754" y="238"/>
                  </a:lnTo>
                  <a:lnTo>
                    <a:pt x="750" y="238"/>
                  </a:lnTo>
                  <a:lnTo>
                    <a:pt x="746" y="236"/>
                  </a:lnTo>
                  <a:lnTo>
                    <a:pt x="746" y="236"/>
                  </a:lnTo>
                  <a:lnTo>
                    <a:pt x="744" y="236"/>
                  </a:lnTo>
                  <a:lnTo>
                    <a:pt x="740" y="234"/>
                  </a:lnTo>
                  <a:lnTo>
                    <a:pt x="738" y="232"/>
                  </a:lnTo>
                  <a:lnTo>
                    <a:pt x="736" y="232"/>
                  </a:lnTo>
                  <a:lnTo>
                    <a:pt x="736" y="232"/>
                  </a:lnTo>
                  <a:lnTo>
                    <a:pt x="736" y="232"/>
                  </a:lnTo>
                  <a:lnTo>
                    <a:pt x="734" y="232"/>
                  </a:lnTo>
                  <a:lnTo>
                    <a:pt x="734" y="232"/>
                  </a:lnTo>
                  <a:lnTo>
                    <a:pt x="734" y="232"/>
                  </a:lnTo>
                  <a:lnTo>
                    <a:pt x="732" y="234"/>
                  </a:lnTo>
                  <a:lnTo>
                    <a:pt x="732" y="234"/>
                  </a:lnTo>
                  <a:lnTo>
                    <a:pt x="730" y="236"/>
                  </a:lnTo>
                  <a:lnTo>
                    <a:pt x="730" y="238"/>
                  </a:lnTo>
                  <a:lnTo>
                    <a:pt x="730" y="240"/>
                  </a:lnTo>
                  <a:lnTo>
                    <a:pt x="730" y="242"/>
                  </a:lnTo>
                  <a:lnTo>
                    <a:pt x="730" y="246"/>
                  </a:lnTo>
                  <a:lnTo>
                    <a:pt x="728" y="250"/>
                  </a:lnTo>
                  <a:lnTo>
                    <a:pt x="728" y="252"/>
                  </a:lnTo>
                  <a:lnTo>
                    <a:pt x="728" y="254"/>
                  </a:lnTo>
                  <a:lnTo>
                    <a:pt x="728" y="254"/>
                  </a:lnTo>
                  <a:lnTo>
                    <a:pt x="726" y="256"/>
                  </a:lnTo>
                  <a:lnTo>
                    <a:pt x="726" y="256"/>
                  </a:lnTo>
                  <a:lnTo>
                    <a:pt x="724" y="258"/>
                  </a:lnTo>
                  <a:lnTo>
                    <a:pt x="722" y="260"/>
                  </a:lnTo>
                  <a:lnTo>
                    <a:pt x="720" y="260"/>
                  </a:lnTo>
                  <a:lnTo>
                    <a:pt x="716" y="262"/>
                  </a:lnTo>
                  <a:lnTo>
                    <a:pt x="712" y="264"/>
                  </a:lnTo>
                  <a:lnTo>
                    <a:pt x="704" y="270"/>
                  </a:lnTo>
                  <a:lnTo>
                    <a:pt x="700" y="274"/>
                  </a:lnTo>
                  <a:lnTo>
                    <a:pt x="696" y="274"/>
                  </a:lnTo>
                  <a:lnTo>
                    <a:pt x="696" y="276"/>
                  </a:lnTo>
                  <a:lnTo>
                    <a:pt x="692" y="276"/>
                  </a:lnTo>
                  <a:lnTo>
                    <a:pt x="690" y="278"/>
                  </a:lnTo>
                  <a:lnTo>
                    <a:pt x="688" y="280"/>
                  </a:lnTo>
                  <a:lnTo>
                    <a:pt x="684" y="282"/>
                  </a:lnTo>
                  <a:lnTo>
                    <a:pt x="680" y="282"/>
                  </a:lnTo>
                  <a:lnTo>
                    <a:pt x="680" y="284"/>
                  </a:lnTo>
                  <a:lnTo>
                    <a:pt x="678" y="284"/>
                  </a:lnTo>
                  <a:lnTo>
                    <a:pt x="676" y="284"/>
                  </a:lnTo>
                  <a:lnTo>
                    <a:pt x="676" y="284"/>
                  </a:lnTo>
                  <a:lnTo>
                    <a:pt x="674" y="284"/>
                  </a:lnTo>
                  <a:lnTo>
                    <a:pt x="674" y="284"/>
                  </a:lnTo>
                  <a:lnTo>
                    <a:pt x="674" y="282"/>
                  </a:lnTo>
                  <a:lnTo>
                    <a:pt x="672" y="282"/>
                  </a:lnTo>
                  <a:lnTo>
                    <a:pt x="672" y="280"/>
                  </a:lnTo>
                  <a:lnTo>
                    <a:pt x="672" y="280"/>
                  </a:lnTo>
                  <a:lnTo>
                    <a:pt x="672" y="278"/>
                  </a:lnTo>
                  <a:lnTo>
                    <a:pt x="672" y="278"/>
                  </a:lnTo>
                  <a:lnTo>
                    <a:pt x="672" y="276"/>
                  </a:lnTo>
                  <a:lnTo>
                    <a:pt x="672" y="270"/>
                  </a:lnTo>
                  <a:lnTo>
                    <a:pt x="672" y="268"/>
                  </a:lnTo>
                  <a:lnTo>
                    <a:pt x="672" y="266"/>
                  </a:lnTo>
                  <a:lnTo>
                    <a:pt x="672" y="262"/>
                  </a:lnTo>
                  <a:lnTo>
                    <a:pt x="672" y="256"/>
                  </a:lnTo>
                  <a:lnTo>
                    <a:pt x="670" y="254"/>
                  </a:lnTo>
                  <a:lnTo>
                    <a:pt x="670" y="252"/>
                  </a:lnTo>
                  <a:lnTo>
                    <a:pt x="670" y="250"/>
                  </a:lnTo>
                  <a:lnTo>
                    <a:pt x="670" y="250"/>
                  </a:lnTo>
                  <a:lnTo>
                    <a:pt x="668" y="250"/>
                  </a:lnTo>
                  <a:lnTo>
                    <a:pt x="668" y="248"/>
                  </a:lnTo>
                  <a:lnTo>
                    <a:pt x="668" y="248"/>
                  </a:lnTo>
                  <a:lnTo>
                    <a:pt x="666" y="248"/>
                  </a:lnTo>
                  <a:lnTo>
                    <a:pt x="664" y="248"/>
                  </a:lnTo>
                  <a:lnTo>
                    <a:pt x="664" y="248"/>
                  </a:lnTo>
                  <a:lnTo>
                    <a:pt x="662" y="248"/>
                  </a:lnTo>
                  <a:lnTo>
                    <a:pt x="662" y="248"/>
                  </a:lnTo>
                  <a:lnTo>
                    <a:pt x="660" y="250"/>
                  </a:lnTo>
                  <a:lnTo>
                    <a:pt x="658" y="250"/>
                  </a:lnTo>
                  <a:lnTo>
                    <a:pt x="658" y="252"/>
                  </a:lnTo>
                  <a:lnTo>
                    <a:pt x="656" y="254"/>
                  </a:lnTo>
                  <a:lnTo>
                    <a:pt x="654" y="256"/>
                  </a:lnTo>
                  <a:lnTo>
                    <a:pt x="652" y="258"/>
                  </a:lnTo>
                  <a:lnTo>
                    <a:pt x="650" y="260"/>
                  </a:lnTo>
                  <a:lnTo>
                    <a:pt x="648" y="262"/>
                  </a:lnTo>
                  <a:lnTo>
                    <a:pt x="648" y="264"/>
                  </a:lnTo>
                  <a:lnTo>
                    <a:pt x="648" y="266"/>
                  </a:lnTo>
                  <a:lnTo>
                    <a:pt x="648" y="266"/>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4" name="Freeform 188">
              <a:extLst>
                <a:ext uri="{FF2B5EF4-FFF2-40B4-BE49-F238E27FC236}">
                  <a16:creationId xmlns:a16="http://schemas.microsoft.com/office/drawing/2014/main" id="{4D2B8D32-332F-46FA-BEF9-53562F4A698F}"/>
                </a:ext>
              </a:extLst>
            </p:cNvPr>
            <p:cNvSpPr>
              <a:spLocks/>
            </p:cNvSpPr>
            <p:nvPr/>
          </p:nvSpPr>
          <p:spPr bwMode="auto">
            <a:xfrm>
              <a:off x="6971249" y="4060770"/>
              <a:ext cx="51962" cy="72747"/>
            </a:xfrm>
            <a:custGeom>
              <a:avLst/>
              <a:gdLst>
                <a:gd name="T0" fmla="*/ 10 w 30"/>
                <a:gd name="T1" fmla="*/ 10 h 42"/>
                <a:gd name="T2" fmla="*/ 10 w 30"/>
                <a:gd name="T3" fmla="*/ 10 h 42"/>
                <a:gd name="T4" fmla="*/ 8 w 30"/>
                <a:gd name="T5" fmla="*/ 12 h 42"/>
                <a:gd name="T6" fmla="*/ 6 w 30"/>
                <a:gd name="T7" fmla="*/ 16 h 42"/>
                <a:gd name="T8" fmla="*/ 4 w 30"/>
                <a:gd name="T9" fmla="*/ 18 h 42"/>
                <a:gd name="T10" fmla="*/ 2 w 30"/>
                <a:gd name="T11" fmla="*/ 20 h 42"/>
                <a:gd name="T12" fmla="*/ 2 w 30"/>
                <a:gd name="T13" fmla="*/ 22 h 42"/>
                <a:gd name="T14" fmla="*/ 2 w 30"/>
                <a:gd name="T15" fmla="*/ 22 h 42"/>
                <a:gd name="T16" fmla="*/ 0 w 30"/>
                <a:gd name="T17" fmla="*/ 24 h 42"/>
                <a:gd name="T18" fmla="*/ 0 w 30"/>
                <a:gd name="T19" fmla="*/ 28 h 42"/>
                <a:gd name="T20" fmla="*/ 0 w 30"/>
                <a:gd name="T21" fmla="*/ 30 h 42"/>
                <a:gd name="T22" fmla="*/ 0 w 30"/>
                <a:gd name="T23" fmla="*/ 32 h 42"/>
                <a:gd name="T24" fmla="*/ 0 w 30"/>
                <a:gd name="T25" fmla="*/ 36 h 42"/>
                <a:gd name="T26" fmla="*/ 0 w 30"/>
                <a:gd name="T27" fmla="*/ 38 h 42"/>
                <a:gd name="T28" fmla="*/ 0 w 30"/>
                <a:gd name="T29" fmla="*/ 38 h 42"/>
                <a:gd name="T30" fmla="*/ 2 w 30"/>
                <a:gd name="T31" fmla="*/ 40 h 42"/>
                <a:gd name="T32" fmla="*/ 2 w 30"/>
                <a:gd name="T33" fmla="*/ 40 h 42"/>
                <a:gd name="T34" fmla="*/ 2 w 30"/>
                <a:gd name="T35" fmla="*/ 42 h 42"/>
                <a:gd name="T36" fmla="*/ 2 w 30"/>
                <a:gd name="T37" fmla="*/ 42 h 42"/>
                <a:gd name="T38" fmla="*/ 4 w 30"/>
                <a:gd name="T39" fmla="*/ 42 h 42"/>
                <a:gd name="T40" fmla="*/ 6 w 30"/>
                <a:gd name="T41" fmla="*/ 42 h 42"/>
                <a:gd name="T42" fmla="*/ 6 w 30"/>
                <a:gd name="T43" fmla="*/ 42 h 42"/>
                <a:gd name="T44" fmla="*/ 8 w 30"/>
                <a:gd name="T45" fmla="*/ 42 h 42"/>
                <a:gd name="T46" fmla="*/ 10 w 30"/>
                <a:gd name="T47" fmla="*/ 42 h 42"/>
                <a:gd name="T48" fmla="*/ 12 w 30"/>
                <a:gd name="T49" fmla="*/ 42 h 42"/>
                <a:gd name="T50" fmla="*/ 14 w 30"/>
                <a:gd name="T51" fmla="*/ 42 h 42"/>
                <a:gd name="T52" fmla="*/ 16 w 30"/>
                <a:gd name="T53" fmla="*/ 42 h 42"/>
                <a:gd name="T54" fmla="*/ 16 w 30"/>
                <a:gd name="T55" fmla="*/ 40 h 42"/>
                <a:gd name="T56" fmla="*/ 18 w 30"/>
                <a:gd name="T57" fmla="*/ 40 h 42"/>
                <a:gd name="T58" fmla="*/ 20 w 30"/>
                <a:gd name="T59" fmla="*/ 38 h 42"/>
                <a:gd name="T60" fmla="*/ 22 w 30"/>
                <a:gd name="T61" fmla="*/ 36 h 42"/>
                <a:gd name="T62" fmla="*/ 24 w 30"/>
                <a:gd name="T63" fmla="*/ 34 h 42"/>
                <a:gd name="T64" fmla="*/ 26 w 30"/>
                <a:gd name="T65" fmla="*/ 32 h 42"/>
                <a:gd name="T66" fmla="*/ 28 w 30"/>
                <a:gd name="T67" fmla="*/ 28 h 42"/>
                <a:gd name="T68" fmla="*/ 28 w 30"/>
                <a:gd name="T69" fmla="*/ 26 h 42"/>
                <a:gd name="T70" fmla="*/ 30 w 30"/>
                <a:gd name="T71" fmla="*/ 26 h 42"/>
                <a:gd name="T72" fmla="*/ 30 w 30"/>
                <a:gd name="T73" fmla="*/ 24 h 42"/>
                <a:gd name="T74" fmla="*/ 30 w 30"/>
                <a:gd name="T75" fmla="*/ 22 h 42"/>
                <a:gd name="T76" fmla="*/ 30 w 30"/>
                <a:gd name="T77" fmla="*/ 22 h 42"/>
                <a:gd name="T78" fmla="*/ 30 w 30"/>
                <a:gd name="T79" fmla="*/ 18 h 42"/>
                <a:gd name="T80" fmla="*/ 28 w 30"/>
                <a:gd name="T81" fmla="*/ 14 h 42"/>
                <a:gd name="T82" fmla="*/ 28 w 30"/>
                <a:gd name="T83" fmla="*/ 10 h 42"/>
                <a:gd name="T84" fmla="*/ 28 w 30"/>
                <a:gd name="T85" fmla="*/ 8 h 42"/>
                <a:gd name="T86" fmla="*/ 26 w 30"/>
                <a:gd name="T87" fmla="*/ 8 h 42"/>
                <a:gd name="T88" fmla="*/ 26 w 30"/>
                <a:gd name="T89" fmla="*/ 6 h 42"/>
                <a:gd name="T90" fmla="*/ 24 w 30"/>
                <a:gd name="T91" fmla="*/ 4 h 42"/>
                <a:gd name="T92" fmla="*/ 24 w 30"/>
                <a:gd name="T93" fmla="*/ 2 h 42"/>
                <a:gd name="T94" fmla="*/ 22 w 30"/>
                <a:gd name="T95" fmla="*/ 2 h 42"/>
                <a:gd name="T96" fmla="*/ 22 w 30"/>
                <a:gd name="T97" fmla="*/ 2 h 42"/>
                <a:gd name="T98" fmla="*/ 20 w 30"/>
                <a:gd name="T99" fmla="*/ 0 h 42"/>
                <a:gd name="T100" fmla="*/ 20 w 30"/>
                <a:gd name="T101" fmla="*/ 0 h 42"/>
                <a:gd name="T102" fmla="*/ 20 w 30"/>
                <a:gd name="T103" fmla="*/ 0 h 42"/>
                <a:gd name="T104" fmla="*/ 18 w 30"/>
                <a:gd name="T105" fmla="*/ 0 h 42"/>
                <a:gd name="T106" fmla="*/ 18 w 30"/>
                <a:gd name="T107" fmla="*/ 2 h 42"/>
                <a:gd name="T108" fmla="*/ 16 w 30"/>
                <a:gd name="T109" fmla="*/ 2 h 42"/>
                <a:gd name="T110" fmla="*/ 14 w 30"/>
                <a:gd name="T111" fmla="*/ 4 h 42"/>
                <a:gd name="T112" fmla="*/ 14 w 30"/>
                <a:gd name="T113" fmla="*/ 6 h 42"/>
                <a:gd name="T114" fmla="*/ 12 w 30"/>
                <a:gd name="T115" fmla="*/ 6 h 42"/>
                <a:gd name="T116" fmla="*/ 10 w 30"/>
                <a:gd name="T117" fmla="*/ 1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 h="42">
                  <a:moveTo>
                    <a:pt x="10" y="10"/>
                  </a:moveTo>
                  <a:lnTo>
                    <a:pt x="10" y="10"/>
                  </a:lnTo>
                  <a:lnTo>
                    <a:pt x="8" y="12"/>
                  </a:lnTo>
                  <a:lnTo>
                    <a:pt x="6" y="16"/>
                  </a:lnTo>
                  <a:lnTo>
                    <a:pt x="4" y="18"/>
                  </a:lnTo>
                  <a:lnTo>
                    <a:pt x="2" y="20"/>
                  </a:lnTo>
                  <a:lnTo>
                    <a:pt x="2" y="22"/>
                  </a:lnTo>
                  <a:lnTo>
                    <a:pt x="2" y="22"/>
                  </a:lnTo>
                  <a:lnTo>
                    <a:pt x="0" y="24"/>
                  </a:lnTo>
                  <a:lnTo>
                    <a:pt x="0" y="28"/>
                  </a:lnTo>
                  <a:lnTo>
                    <a:pt x="0" y="30"/>
                  </a:lnTo>
                  <a:lnTo>
                    <a:pt x="0" y="32"/>
                  </a:lnTo>
                  <a:lnTo>
                    <a:pt x="0" y="36"/>
                  </a:lnTo>
                  <a:lnTo>
                    <a:pt x="0" y="38"/>
                  </a:lnTo>
                  <a:lnTo>
                    <a:pt x="0" y="38"/>
                  </a:lnTo>
                  <a:lnTo>
                    <a:pt x="2" y="40"/>
                  </a:lnTo>
                  <a:lnTo>
                    <a:pt x="2" y="40"/>
                  </a:lnTo>
                  <a:lnTo>
                    <a:pt x="2" y="42"/>
                  </a:lnTo>
                  <a:lnTo>
                    <a:pt x="2" y="42"/>
                  </a:lnTo>
                  <a:lnTo>
                    <a:pt x="4" y="42"/>
                  </a:lnTo>
                  <a:lnTo>
                    <a:pt x="6" y="42"/>
                  </a:lnTo>
                  <a:lnTo>
                    <a:pt x="6" y="42"/>
                  </a:lnTo>
                  <a:lnTo>
                    <a:pt x="8" y="42"/>
                  </a:lnTo>
                  <a:lnTo>
                    <a:pt x="10" y="42"/>
                  </a:lnTo>
                  <a:lnTo>
                    <a:pt x="12" y="42"/>
                  </a:lnTo>
                  <a:lnTo>
                    <a:pt x="14" y="42"/>
                  </a:lnTo>
                  <a:lnTo>
                    <a:pt x="16" y="42"/>
                  </a:lnTo>
                  <a:lnTo>
                    <a:pt x="16" y="40"/>
                  </a:lnTo>
                  <a:lnTo>
                    <a:pt x="18" y="40"/>
                  </a:lnTo>
                  <a:lnTo>
                    <a:pt x="20" y="38"/>
                  </a:lnTo>
                  <a:lnTo>
                    <a:pt x="22" y="36"/>
                  </a:lnTo>
                  <a:lnTo>
                    <a:pt x="24" y="34"/>
                  </a:lnTo>
                  <a:lnTo>
                    <a:pt x="26" y="32"/>
                  </a:lnTo>
                  <a:lnTo>
                    <a:pt x="28" y="28"/>
                  </a:lnTo>
                  <a:lnTo>
                    <a:pt x="28" y="26"/>
                  </a:lnTo>
                  <a:lnTo>
                    <a:pt x="30" y="26"/>
                  </a:lnTo>
                  <a:lnTo>
                    <a:pt x="30" y="24"/>
                  </a:lnTo>
                  <a:lnTo>
                    <a:pt x="30" y="22"/>
                  </a:lnTo>
                  <a:lnTo>
                    <a:pt x="30" y="22"/>
                  </a:lnTo>
                  <a:lnTo>
                    <a:pt x="30" y="18"/>
                  </a:lnTo>
                  <a:lnTo>
                    <a:pt x="28" y="14"/>
                  </a:lnTo>
                  <a:lnTo>
                    <a:pt x="28" y="10"/>
                  </a:lnTo>
                  <a:lnTo>
                    <a:pt x="28" y="8"/>
                  </a:lnTo>
                  <a:lnTo>
                    <a:pt x="26" y="8"/>
                  </a:lnTo>
                  <a:lnTo>
                    <a:pt x="26" y="6"/>
                  </a:lnTo>
                  <a:lnTo>
                    <a:pt x="24" y="4"/>
                  </a:lnTo>
                  <a:lnTo>
                    <a:pt x="24" y="2"/>
                  </a:lnTo>
                  <a:lnTo>
                    <a:pt x="22" y="2"/>
                  </a:lnTo>
                  <a:lnTo>
                    <a:pt x="22" y="2"/>
                  </a:lnTo>
                  <a:lnTo>
                    <a:pt x="20" y="0"/>
                  </a:lnTo>
                  <a:lnTo>
                    <a:pt x="20" y="0"/>
                  </a:lnTo>
                  <a:lnTo>
                    <a:pt x="20" y="0"/>
                  </a:lnTo>
                  <a:lnTo>
                    <a:pt x="18" y="0"/>
                  </a:lnTo>
                  <a:lnTo>
                    <a:pt x="18" y="2"/>
                  </a:lnTo>
                  <a:lnTo>
                    <a:pt x="16" y="2"/>
                  </a:lnTo>
                  <a:lnTo>
                    <a:pt x="14" y="4"/>
                  </a:lnTo>
                  <a:lnTo>
                    <a:pt x="14" y="6"/>
                  </a:lnTo>
                  <a:lnTo>
                    <a:pt x="12" y="6"/>
                  </a:lnTo>
                  <a:lnTo>
                    <a:pt x="10" y="1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5" name="Freeform 189">
              <a:extLst>
                <a:ext uri="{FF2B5EF4-FFF2-40B4-BE49-F238E27FC236}">
                  <a16:creationId xmlns:a16="http://schemas.microsoft.com/office/drawing/2014/main" id="{787C2927-E803-4BA3-B6AA-0D7121A1A455}"/>
                </a:ext>
              </a:extLst>
            </p:cNvPr>
            <p:cNvSpPr>
              <a:spLocks/>
            </p:cNvSpPr>
            <p:nvPr/>
          </p:nvSpPr>
          <p:spPr bwMode="auto">
            <a:xfrm>
              <a:off x="6971249" y="4060770"/>
              <a:ext cx="51962" cy="72747"/>
            </a:xfrm>
            <a:custGeom>
              <a:avLst/>
              <a:gdLst>
                <a:gd name="T0" fmla="*/ 10 w 30"/>
                <a:gd name="T1" fmla="*/ 10 h 42"/>
                <a:gd name="T2" fmla="*/ 10 w 30"/>
                <a:gd name="T3" fmla="*/ 10 h 42"/>
                <a:gd name="T4" fmla="*/ 8 w 30"/>
                <a:gd name="T5" fmla="*/ 12 h 42"/>
                <a:gd name="T6" fmla="*/ 6 w 30"/>
                <a:gd name="T7" fmla="*/ 16 h 42"/>
                <a:gd name="T8" fmla="*/ 4 w 30"/>
                <a:gd name="T9" fmla="*/ 18 h 42"/>
                <a:gd name="T10" fmla="*/ 2 w 30"/>
                <a:gd name="T11" fmla="*/ 20 h 42"/>
                <a:gd name="T12" fmla="*/ 2 w 30"/>
                <a:gd name="T13" fmla="*/ 22 h 42"/>
                <a:gd name="T14" fmla="*/ 2 w 30"/>
                <a:gd name="T15" fmla="*/ 22 h 42"/>
                <a:gd name="T16" fmla="*/ 0 w 30"/>
                <a:gd name="T17" fmla="*/ 24 h 42"/>
                <a:gd name="T18" fmla="*/ 0 w 30"/>
                <a:gd name="T19" fmla="*/ 28 h 42"/>
                <a:gd name="T20" fmla="*/ 0 w 30"/>
                <a:gd name="T21" fmla="*/ 30 h 42"/>
                <a:gd name="T22" fmla="*/ 0 w 30"/>
                <a:gd name="T23" fmla="*/ 32 h 42"/>
                <a:gd name="T24" fmla="*/ 0 w 30"/>
                <a:gd name="T25" fmla="*/ 36 h 42"/>
                <a:gd name="T26" fmla="*/ 0 w 30"/>
                <a:gd name="T27" fmla="*/ 38 h 42"/>
                <a:gd name="T28" fmla="*/ 0 w 30"/>
                <a:gd name="T29" fmla="*/ 38 h 42"/>
                <a:gd name="T30" fmla="*/ 2 w 30"/>
                <a:gd name="T31" fmla="*/ 40 h 42"/>
                <a:gd name="T32" fmla="*/ 2 w 30"/>
                <a:gd name="T33" fmla="*/ 40 h 42"/>
                <a:gd name="T34" fmla="*/ 2 w 30"/>
                <a:gd name="T35" fmla="*/ 42 h 42"/>
                <a:gd name="T36" fmla="*/ 2 w 30"/>
                <a:gd name="T37" fmla="*/ 42 h 42"/>
                <a:gd name="T38" fmla="*/ 4 w 30"/>
                <a:gd name="T39" fmla="*/ 42 h 42"/>
                <a:gd name="T40" fmla="*/ 6 w 30"/>
                <a:gd name="T41" fmla="*/ 42 h 42"/>
                <a:gd name="T42" fmla="*/ 6 w 30"/>
                <a:gd name="T43" fmla="*/ 42 h 42"/>
                <a:gd name="T44" fmla="*/ 8 w 30"/>
                <a:gd name="T45" fmla="*/ 42 h 42"/>
                <a:gd name="T46" fmla="*/ 10 w 30"/>
                <a:gd name="T47" fmla="*/ 42 h 42"/>
                <a:gd name="T48" fmla="*/ 12 w 30"/>
                <a:gd name="T49" fmla="*/ 42 h 42"/>
                <a:gd name="T50" fmla="*/ 14 w 30"/>
                <a:gd name="T51" fmla="*/ 42 h 42"/>
                <a:gd name="T52" fmla="*/ 16 w 30"/>
                <a:gd name="T53" fmla="*/ 42 h 42"/>
                <a:gd name="T54" fmla="*/ 16 w 30"/>
                <a:gd name="T55" fmla="*/ 40 h 42"/>
                <a:gd name="T56" fmla="*/ 18 w 30"/>
                <a:gd name="T57" fmla="*/ 40 h 42"/>
                <a:gd name="T58" fmla="*/ 20 w 30"/>
                <a:gd name="T59" fmla="*/ 38 h 42"/>
                <a:gd name="T60" fmla="*/ 22 w 30"/>
                <a:gd name="T61" fmla="*/ 36 h 42"/>
                <a:gd name="T62" fmla="*/ 24 w 30"/>
                <a:gd name="T63" fmla="*/ 34 h 42"/>
                <a:gd name="T64" fmla="*/ 26 w 30"/>
                <a:gd name="T65" fmla="*/ 32 h 42"/>
                <a:gd name="T66" fmla="*/ 28 w 30"/>
                <a:gd name="T67" fmla="*/ 28 h 42"/>
                <a:gd name="T68" fmla="*/ 28 w 30"/>
                <a:gd name="T69" fmla="*/ 26 h 42"/>
                <a:gd name="T70" fmla="*/ 30 w 30"/>
                <a:gd name="T71" fmla="*/ 26 h 42"/>
                <a:gd name="T72" fmla="*/ 30 w 30"/>
                <a:gd name="T73" fmla="*/ 24 h 42"/>
                <a:gd name="T74" fmla="*/ 30 w 30"/>
                <a:gd name="T75" fmla="*/ 22 h 42"/>
                <a:gd name="T76" fmla="*/ 30 w 30"/>
                <a:gd name="T77" fmla="*/ 22 h 42"/>
                <a:gd name="T78" fmla="*/ 30 w 30"/>
                <a:gd name="T79" fmla="*/ 18 h 42"/>
                <a:gd name="T80" fmla="*/ 28 w 30"/>
                <a:gd name="T81" fmla="*/ 14 h 42"/>
                <a:gd name="T82" fmla="*/ 28 w 30"/>
                <a:gd name="T83" fmla="*/ 10 h 42"/>
                <a:gd name="T84" fmla="*/ 28 w 30"/>
                <a:gd name="T85" fmla="*/ 8 h 42"/>
                <a:gd name="T86" fmla="*/ 26 w 30"/>
                <a:gd name="T87" fmla="*/ 8 h 42"/>
                <a:gd name="T88" fmla="*/ 26 w 30"/>
                <a:gd name="T89" fmla="*/ 6 h 42"/>
                <a:gd name="T90" fmla="*/ 24 w 30"/>
                <a:gd name="T91" fmla="*/ 4 h 42"/>
                <a:gd name="T92" fmla="*/ 24 w 30"/>
                <a:gd name="T93" fmla="*/ 2 h 42"/>
                <a:gd name="T94" fmla="*/ 22 w 30"/>
                <a:gd name="T95" fmla="*/ 2 h 42"/>
                <a:gd name="T96" fmla="*/ 22 w 30"/>
                <a:gd name="T97" fmla="*/ 2 h 42"/>
                <a:gd name="T98" fmla="*/ 20 w 30"/>
                <a:gd name="T99" fmla="*/ 0 h 42"/>
                <a:gd name="T100" fmla="*/ 20 w 30"/>
                <a:gd name="T101" fmla="*/ 0 h 42"/>
                <a:gd name="T102" fmla="*/ 20 w 30"/>
                <a:gd name="T103" fmla="*/ 0 h 42"/>
                <a:gd name="T104" fmla="*/ 18 w 30"/>
                <a:gd name="T105" fmla="*/ 0 h 42"/>
                <a:gd name="T106" fmla="*/ 18 w 30"/>
                <a:gd name="T107" fmla="*/ 2 h 42"/>
                <a:gd name="T108" fmla="*/ 16 w 30"/>
                <a:gd name="T109" fmla="*/ 2 h 42"/>
                <a:gd name="T110" fmla="*/ 14 w 30"/>
                <a:gd name="T111" fmla="*/ 4 h 42"/>
                <a:gd name="T112" fmla="*/ 14 w 30"/>
                <a:gd name="T113" fmla="*/ 6 h 42"/>
                <a:gd name="T114" fmla="*/ 12 w 30"/>
                <a:gd name="T115" fmla="*/ 6 h 42"/>
                <a:gd name="T116" fmla="*/ 10 w 30"/>
                <a:gd name="T117" fmla="*/ 1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 h="42">
                  <a:moveTo>
                    <a:pt x="10" y="10"/>
                  </a:moveTo>
                  <a:lnTo>
                    <a:pt x="10" y="10"/>
                  </a:lnTo>
                  <a:lnTo>
                    <a:pt x="8" y="12"/>
                  </a:lnTo>
                  <a:lnTo>
                    <a:pt x="6" y="16"/>
                  </a:lnTo>
                  <a:lnTo>
                    <a:pt x="4" y="18"/>
                  </a:lnTo>
                  <a:lnTo>
                    <a:pt x="2" y="20"/>
                  </a:lnTo>
                  <a:lnTo>
                    <a:pt x="2" y="22"/>
                  </a:lnTo>
                  <a:lnTo>
                    <a:pt x="2" y="22"/>
                  </a:lnTo>
                  <a:lnTo>
                    <a:pt x="0" y="24"/>
                  </a:lnTo>
                  <a:lnTo>
                    <a:pt x="0" y="28"/>
                  </a:lnTo>
                  <a:lnTo>
                    <a:pt x="0" y="30"/>
                  </a:lnTo>
                  <a:lnTo>
                    <a:pt x="0" y="32"/>
                  </a:lnTo>
                  <a:lnTo>
                    <a:pt x="0" y="36"/>
                  </a:lnTo>
                  <a:lnTo>
                    <a:pt x="0" y="38"/>
                  </a:lnTo>
                  <a:lnTo>
                    <a:pt x="0" y="38"/>
                  </a:lnTo>
                  <a:lnTo>
                    <a:pt x="2" y="40"/>
                  </a:lnTo>
                  <a:lnTo>
                    <a:pt x="2" y="40"/>
                  </a:lnTo>
                  <a:lnTo>
                    <a:pt x="2" y="42"/>
                  </a:lnTo>
                  <a:lnTo>
                    <a:pt x="2" y="42"/>
                  </a:lnTo>
                  <a:lnTo>
                    <a:pt x="4" y="42"/>
                  </a:lnTo>
                  <a:lnTo>
                    <a:pt x="6" y="42"/>
                  </a:lnTo>
                  <a:lnTo>
                    <a:pt x="6" y="42"/>
                  </a:lnTo>
                  <a:lnTo>
                    <a:pt x="8" y="42"/>
                  </a:lnTo>
                  <a:lnTo>
                    <a:pt x="10" y="42"/>
                  </a:lnTo>
                  <a:lnTo>
                    <a:pt x="12" y="42"/>
                  </a:lnTo>
                  <a:lnTo>
                    <a:pt x="14" y="42"/>
                  </a:lnTo>
                  <a:lnTo>
                    <a:pt x="16" y="42"/>
                  </a:lnTo>
                  <a:lnTo>
                    <a:pt x="16" y="40"/>
                  </a:lnTo>
                  <a:lnTo>
                    <a:pt x="18" y="40"/>
                  </a:lnTo>
                  <a:lnTo>
                    <a:pt x="20" y="38"/>
                  </a:lnTo>
                  <a:lnTo>
                    <a:pt x="22" y="36"/>
                  </a:lnTo>
                  <a:lnTo>
                    <a:pt x="24" y="34"/>
                  </a:lnTo>
                  <a:lnTo>
                    <a:pt x="26" y="32"/>
                  </a:lnTo>
                  <a:lnTo>
                    <a:pt x="28" y="28"/>
                  </a:lnTo>
                  <a:lnTo>
                    <a:pt x="28" y="26"/>
                  </a:lnTo>
                  <a:lnTo>
                    <a:pt x="30" y="26"/>
                  </a:lnTo>
                  <a:lnTo>
                    <a:pt x="30" y="24"/>
                  </a:lnTo>
                  <a:lnTo>
                    <a:pt x="30" y="22"/>
                  </a:lnTo>
                  <a:lnTo>
                    <a:pt x="30" y="22"/>
                  </a:lnTo>
                  <a:lnTo>
                    <a:pt x="30" y="18"/>
                  </a:lnTo>
                  <a:lnTo>
                    <a:pt x="28" y="14"/>
                  </a:lnTo>
                  <a:lnTo>
                    <a:pt x="28" y="10"/>
                  </a:lnTo>
                  <a:lnTo>
                    <a:pt x="28" y="8"/>
                  </a:lnTo>
                  <a:lnTo>
                    <a:pt x="26" y="8"/>
                  </a:lnTo>
                  <a:lnTo>
                    <a:pt x="26" y="6"/>
                  </a:lnTo>
                  <a:lnTo>
                    <a:pt x="24" y="4"/>
                  </a:lnTo>
                  <a:lnTo>
                    <a:pt x="24" y="2"/>
                  </a:lnTo>
                  <a:lnTo>
                    <a:pt x="22" y="2"/>
                  </a:lnTo>
                  <a:lnTo>
                    <a:pt x="22" y="2"/>
                  </a:lnTo>
                  <a:lnTo>
                    <a:pt x="20" y="0"/>
                  </a:lnTo>
                  <a:lnTo>
                    <a:pt x="20" y="0"/>
                  </a:lnTo>
                  <a:lnTo>
                    <a:pt x="20" y="0"/>
                  </a:lnTo>
                  <a:lnTo>
                    <a:pt x="18" y="0"/>
                  </a:lnTo>
                  <a:lnTo>
                    <a:pt x="18" y="2"/>
                  </a:lnTo>
                  <a:lnTo>
                    <a:pt x="16" y="2"/>
                  </a:lnTo>
                  <a:lnTo>
                    <a:pt x="14" y="4"/>
                  </a:lnTo>
                  <a:lnTo>
                    <a:pt x="14" y="6"/>
                  </a:lnTo>
                  <a:lnTo>
                    <a:pt x="12" y="6"/>
                  </a:lnTo>
                  <a:lnTo>
                    <a:pt x="10" y="1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6" name="Freeform 190">
              <a:extLst>
                <a:ext uri="{FF2B5EF4-FFF2-40B4-BE49-F238E27FC236}">
                  <a16:creationId xmlns:a16="http://schemas.microsoft.com/office/drawing/2014/main" id="{08E0C09E-ECF3-43A9-975D-2D4FACB2B94F}"/>
                </a:ext>
              </a:extLst>
            </p:cNvPr>
            <p:cNvSpPr>
              <a:spLocks/>
            </p:cNvSpPr>
            <p:nvPr/>
          </p:nvSpPr>
          <p:spPr bwMode="auto">
            <a:xfrm>
              <a:off x="7473550" y="4687781"/>
              <a:ext cx="31177" cy="10392"/>
            </a:xfrm>
            <a:custGeom>
              <a:avLst/>
              <a:gdLst>
                <a:gd name="T0" fmla="*/ 8 w 18"/>
                <a:gd name="T1" fmla="*/ 6 h 6"/>
                <a:gd name="T2" fmla="*/ 8 w 18"/>
                <a:gd name="T3" fmla="*/ 6 h 6"/>
                <a:gd name="T4" fmla="*/ 6 w 18"/>
                <a:gd name="T5" fmla="*/ 6 h 6"/>
                <a:gd name="T6" fmla="*/ 6 w 18"/>
                <a:gd name="T7" fmla="*/ 6 h 6"/>
                <a:gd name="T8" fmla="*/ 4 w 18"/>
                <a:gd name="T9" fmla="*/ 6 h 6"/>
                <a:gd name="T10" fmla="*/ 2 w 18"/>
                <a:gd name="T11" fmla="*/ 6 h 6"/>
                <a:gd name="T12" fmla="*/ 2 w 18"/>
                <a:gd name="T13" fmla="*/ 4 h 6"/>
                <a:gd name="T14" fmla="*/ 0 w 18"/>
                <a:gd name="T15" fmla="*/ 4 h 6"/>
                <a:gd name="T16" fmla="*/ 0 w 18"/>
                <a:gd name="T17" fmla="*/ 4 h 6"/>
                <a:gd name="T18" fmla="*/ 0 w 18"/>
                <a:gd name="T19" fmla="*/ 4 h 6"/>
                <a:gd name="T20" fmla="*/ 0 w 18"/>
                <a:gd name="T21" fmla="*/ 2 h 6"/>
                <a:gd name="T22" fmla="*/ 0 w 18"/>
                <a:gd name="T23" fmla="*/ 2 h 6"/>
                <a:gd name="T24" fmla="*/ 2 w 18"/>
                <a:gd name="T25" fmla="*/ 2 h 6"/>
                <a:gd name="T26" fmla="*/ 2 w 18"/>
                <a:gd name="T27" fmla="*/ 0 h 6"/>
                <a:gd name="T28" fmla="*/ 4 w 18"/>
                <a:gd name="T29" fmla="*/ 0 h 6"/>
                <a:gd name="T30" fmla="*/ 6 w 18"/>
                <a:gd name="T31" fmla="*/ 0 h 6"/>
                <a:gd name="T32" fmla="*/ 6 w 18"/>
                <a:gd name="T33" fmla="*/ 0 h 6"/>
                <a:gd name="T34" fmla="*/ 8 w 18"/>
                <a:gd name="T35" fmla="*/ 0 h 6"/>
                <a:gd name="T36" fmla="*/ 10 w 18"/>
                <a:gd name="T37" fmla="*/ 0 h 6"/>
                <a:gd name="T38" fmla="*/ 12 w 18"/>
                <a:gd name="T39" fmla="*/ 0 h 6"/>
                <a:gd name="T40" fmla="*/ 14 w 18"/>
                <a:gd name="T41" fmla="*/ 0 h 6"/>
                <a:gd name="T42" fmla="*/ 14 w 18"/>
                <a:gd name="T43" fmla="*/ 0 h 6"/>
                <a:gd name="T44" fmla="*/ 16 w 18"/>
                <a:gd name="T45" fmla="*/ 2 h 6"/>
                <a:gd name="T46" fmla="*/ 16 w 18"/>
                <a:gd name="T47" fmla="*/ 2 h 6"/>
                <a:gd name="T48" fmla="*/ 18 w 18"/>
                <a:gd name="T49" fmla="*/ 2 h 6"/>
                <a:gd name="T50" fmla="*/ 18 w 18"/>
                <a:gd name="T51" fmla="*/ 4 h 6"/>
                <a:gd name="T52" fmla="*/ 18 w 18"/>
                <a:gd name="T53" fmla="*/ 4 h 6"/>
                <a:gd name="T54" fmla="*/ 16 w 18"/>
                <a:gd name="T55" fmla="*/ 4 h 6"/>
                <a:gd name="T56" fmla="*/ 16 w 18"/>
                <a:gd name="T57" fmla="*/ 4 h 6"/>
                <a:gd name="T58" fmla="*/ 14 w 18"/>
                <a:gd name="T59" fmla="*/ 6 h 6"/>
                <a:gd name="T60" fmla="*/ 14 w 18"/>
                <a:gd name="T61" fmla="*/ 6 h 6"/>
                <a:gd name="T62" fmla="*/ 12 w 18"/>
                <a:gd name="T63" fmla="*/ 6 h 6"/>
                <a:gd name="T64" fmla="*/ 10 w 18"/>
                <a:gd name="T65" fmla="*/ 6 h 6"/>
                <a:gd name="T66" fmla="*/ 8 w 18"/>
                <a:gd name="T6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6">
                  <a:moveTo>
                    <a:pt x="8" y="6"/>
                  </a:moveTo>
                  <a:lnTo>
                    <a:pt x="8" y="6"/>
                  </a:lnTo>
                  <a:lnTo>
                    <a:pt x="6" y="6"/>
                  </a:lnTo>
                  <a:lnTo>
                    <a:pt x="6" y="6"/>
                  </a:lnTo>
                  <a:lnTo>
                    <a:pt x="4" y="6"/>
                  </a:lnTo>
                  <a:lnTo>
                    <a:pt x="2" y="6"/>
                  </a:lnTo>
                  <a:lnTo>
                    <a:pt x="2" y="4"/>
                  </a:lnTo>
                  <a:lnTo>
                    <a:pt x="0" y="4"/>
                  </a:lnTo>
                  <a:lnTo>
                    <a:pt x="0" y="4"/>
                  </a:lnTo>
                  <a:lnTo>
                    <a:pt x="0" y="4"/>
                  </a:lnTo>
                  <a:lnTo>
                    <a:pt x="0" y="2"/>
                  </a:lnTo>
                  <a:lnTo>
                    <a:pt x="0" y="2"/>
                  </a:lnTo>
                  <a:lnTo>
                    <a:pt x="2" y="2"/>
                  </a:lnTo>
                  <a:lnTo>
                    <a:pt x="2" y="0"/>
                  </a:lnTo>
                  <a:lnTo>
                    <a:pt x="4" y="0"/>
                  </a:lnTo>
                  <a:lnTo>
                    <a:pt x="6" y="0"/>
                  </a:lnTo>
                  <a:lnTo>
                    <a:pt x="6" y="0"/>
                  </a:lnTo>
                  <a:lnTo>
                    <a:pt x="8" y="0"/>
                  </a:lnTo>
                  <a:lnTo>
                    <a:pt x="10" y="0"/>
                  </a:lnTo>
                  <a:lnTo>
                    <a:pt x="12" y="0"/>
                  </a:lnTo>
                  <a:lnTo>
                    <a:pt x="14" y="0"/>
                  </a:lnTo>
                  <a:lnTo>
                    <a:pt x="14" y="0"/>
                  </a:lnTo>
                  <a:lnTo>
                    <a:pt x="16" y="2"/>
                  </a:lnTo>
                  <a:lnTo>
                    <a:pt x="16" y="2"/>
                  </a:lnTo>
                  <a:lnTo>
                    <a:pt x="18" y="2"/>
                  </a:lnTo>
                  <a:lnTo>
                    <a:pt x="18" y="4"/>
                  </a:lnTo>
                  <a:lnTo>
                    <a:pt x="18" y="4"/>
                  </a:lnTo>
                  <a:lnTo>
                    <a:pt x="16" y="4"/>
                  </a:lnTo>
                  <a:lnTo>
                    <a:pt x="16" y="4"/>
                  </a:lnTo>
                  <a:lnTo>
                    <a:pt x="14" y="6"/>
                  </a:lnTo>
                  <a:lnTo>
                    <a:pt x="14" y="6"/>
                  </a:lnTo>
                  <a:lnTo>
                    <a:pt x="12" y="6"/>
                  </a:lnTo>
                  <a:lnTo>
                    <a:pt x="10" y="6"/>
                  </a:lnTo>
                  <a:lnTo>
                    <a:pt x="8" y="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7" name="Freeform 203">
              <a:extLst>
                <a:ext uri="{FF2B5EF4-FFF2-40B4-BE49-F238E27FC236}">
                  <a16:creationId xmlns:a16="http://schemas.microsoft.com/office/drawing/2014/main" id="{9C518973-0525-45C3-A600-120D8204E766}"/>
                </a:ext>
              </a:extLst>
            </p:cNvPr>
            <p:cNvSpPr>
              <a:spLocks/>
            </p:cNvSpPr>
            <p:nvPr/>
          </p:nvSpPr>
          <p:spPr bwMode="auto">
            <a:xfrm>
              <a:off x="7203347" y="4878309"/>
              <a:ext cx="10392" cy="13857"/>
            </a:xfrm>
            <a:custGeom>
              <a:avLst/>
              <a:gdLst>
                <a:gd name="T0" fmla="*/ 4 w 6"/>
                <a:gd name="T1" fmla="*/ 8 h 8"/>
                <a:gd name="T2" fmla="*/ 4 w 6"/>
                <a:gd name="T3" fmla="*/ 8 h 8"/>
                <a:gd name="T4" fmla="*/ 2 w 6"/>
                <a:gd name="T5" fmla="*/ 8 h 8"/>
                <a:gd name="T6" fmla="*/ 2 w 6"/>
                <a:gd name="T7" fmla="*/ 8 h 8"/>
                <a:gd name="T8" fmla="*/ 2 w 6"/>
                <a:gd name="T9" fmla="*/ 8 h 8"/>
                <a:gd name="T10" fmla="*/ 2 w 6"/>
                <a:gd name="T11" fmla="*/ 6 h 8"/>
                <a:gd name="T12" fmla="*/ 2 w 6"/>
                <a:gd name="T13" fmla="*/ 6 h 8"/>
                <a:gd name="T14" fmla="*/ 0 w 6"/>
                <a:gd name="T15" fmla="*/ 6 h 8"/>
                <a:gd name="T16" fmla="*/ 0 w 6"/>
                <a:gd name="T17" fmla="*/ 4 h 8"/>
                <a:gd name="T18" fmla="*/ 0 w 6"/>
                <a:gd name="T19" fmla="*/ 4 h 8"/>
                <a:gd name="T20" fmla="*/ 0 w 6"/>
                <a:gd name="T21" fmla="*/ 4 h 8"/>
                <a:gd name="T22" fmla="*/ 0 w 6"/>
                <a:gd name="T23" fmla="*/ 2 h 8"/>
                <a:gd name="T24" fmla="*/ 2 w 6"/>
                <a:gd name="T25" fmla="*/ 2 h 8"/>
                <a:gd name="T26" fmla="*/ 2 w 6"/>
                <a:gd name="T27" fmla="*/ 2 h 8"/>
                <a:gd name="T28" fmla="*/ 2 w 6"/>
                <a:gd name="T29" fmla="*/ 0 h 8"/>
                <a:gd name="T30" fmla="*/ 2 w 6"/>
                <a:gd name="T31" fmla="*/ 0 h 8"/>
                <a:gd name="T32" fmla="*/ 2 w 6"/>
                <a:gd name="T33" fmla="*/ 0 h 8"/>
                <a:gd name="T34" fmla="*/ 4 w 6"/>
                <a:gd name="T35" fmla="*/ 0 h 8"/>
                <a:gd name="T36" fmla="*/ 4 w 6"/>
                <a:gd name="T37" fmla="*/ 0 h 8"/>
                <a:gd name="T38" fmla="*/ 4 w 6"/>
                <a:gd name="T39" fmla="*/ 0 h 8"/>
                <a:gd name="T40" fmla="*/ 4 w 6"/>
                <a:gd name="T41" fmla="*/ 0 h 8"/>
                <a:gd name="T42" fmla="*/ 6 w 6"/>
                <a:gd name="T43" fmla="*/ 2 h 8"/>
                <a:gd name="T44" fmla="*/ 6 w 6"/>
                <a:gd name="T45" fmla="*/ 2 h 8"/>
                <a:gd name="T46" fmla="*/ 6 w 6"/>
                <a:gd name="T47" fmla="*/ 2 h 8"/>
                <a:gd name="T48" fmla="*/ 6 w 6"/>
                <a:gd name="T49" fmla="*/ 4 h 8"/>
                <a:gd name="T50" fmla="*/ 6 w 6"/>
                <a:gd name="T51" fmla="*/ 4 h 8"/>
                <a:gd name="T52" fmla="*/ 6 w 6"/>
                <a:gd name="T53" fmla="*/ 4 h 8"/>
                <a:gd name="T54" fmla="*/ 6 w 6"/>
                <a:gd name="T55" fmla="*/ 6 h 8"/>
                <a:gd name="T56" fmla="*/ 6 w 6"/>
                <a:gd name="T57" fmla="*/ 6 h 8"/>
                <a:gd name="T58" fmla="*/ 6 w 6"/>
                <a:gd name="T59" fmla="*/ 6 h 8"/>
                <a:gd name="T60" fmla="*/ 4 w 6"/>
                <a:gd name="T61" fmla="*/ 8 h 8"/>
                <a:gd name="T62" fmla="*/ 4 w 6"/>
                <a:gd name="T63" fmla="*/ 8 h 8"/>
                <a:gd name="T64" fmla="*/ 4 w 6"/>
                <a:gd name="T65" fmla="*/ 8 h 8"/>
                <a:gd name="T66" fmla="*/ 4 w 6"/>
                <a:gd name="T6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8">
                  <a:moveTo>
                    <a:pt x="4" y="8"/>
                  </a:moveTo>
                  <a:lnTo>
                    <a:pt x="4" y="8"/>
                  </a:lnTo>
                  <a:lnTo>
                    <a:pt x="2" y="8"/>
                  </a:lnTo>
                  <a:lnTo>
                    <a:pt x="2" y="8"/>
                  </a:lnTo>
                  <a:lnTo>
                    <a:pt x="2" y="8"/>
                  </a:lnTo>
                  <a:lnTo>
                    <a:pt x="2" y="6"/>
                  </a:lnTo>
                  <a:lnTo>
                    <a:pt x="2" y="6"/>
                  </a:lnTo>
                  <a:lnTo>
                    <a:pt x="0" y="6"/>
                  </a:lnTo>
                  <a:lnTo>
                    <a:pt x="0" y="4"/>
                  </a:lnTo>
                  <a:lnTo>
                    <a:pt x="0" y="4"/>
                  </a:lnTo>
                  <a:lnTo>
                    <a:pt x="0" y="4"/>
                  </a:lnTo>
                  <a:lnTo>
                    <a:pt x="0" y="2"/>
                  </a:lnTo>
                  <a:lnTo>
                    <a:pt x="2" y="2"/>
                  </a:lnTo>
                  <a:lnTo>
                    <a:pt x="2" y="2"/>
                  </a:lnTo>
                  <a:lnTo>
                    <a:pt x="2" y="0"/>
                  </a:lnTo>
                  <a:lnTo>
                    <a:pt x="2" y="0"/>
                  </a:lnTo>
                  <a:lnTo>
                    <a:pt x="2" y="0"/>
                  </a:lnTo>
                  <a:lnTo>
                    <a:pt x="4" y="0"/>
                  </a:lnTo>
                  <a:lnTo>
                    <a:pt x="4" y="0"/>
                  </a:lnTo>
                  <a:lnTo>
                    <a:pt x="4" y="0"/>
                  </a:lnTo>
                  <a:lnTo>
                    <a:pt x="4" y="0"/>
                  </a:lnTo>
                  <a:lnTo>
                    <a:pt x="6" y="2"/>
                  </a:lnTo>
                  <a:lnTo>
                    <a:pt x="6" y="2"/>
                  </a:lnTo>
                  <a:lnTo>
                    <a:pt x="6" y="2"/>
                  </a:lnTo>
                  <a:lnTo>
                    <a:pt x="6" y="4"/>
                  </a:lnTo>
                  <a:lnTo>
                    <a:pt x="6" y="4"/>
                  </a:lnTo>
                  <a:lnTo>
                    <a:pt x="6" y="4"/>
                  </a:lnTo>
                  <a:lnTo>
                    <a:pt x="6" y="6"/>
                  </a:lnTo>
                  <a:lnTo>
                    <a:pt x="6" y="6"/>
                  </a:lnTo>
                  <a:lnTo>
                    <a:pt x="6" y="6"/>
                  </a:lnTo>
                  <a:lnTo>
                    <a:pt x="4" y="8"/>
                  </a:lnTo>
                  <a:lnTo>
                    <a:pt x="4" y="8"/>
                  </a:lnTo>
                  <a:lnTo>
                    <a:pt x="4" y="8"/>
                  </a:lnTo>
                  <a:lnTo>
                    <a:pt x="4" y="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8" name="Freeform 210">
              <a:extLst>
                <a:ext uri="{FF2B5EF4-FFF2-40B4-BE49-F238E27FC236}">
                  <a16:creationId xmlns:a16="http://schemas.microsoft.com/office/drawing/2014/main" id="{56CD0A83-DE1D-46A2-A77D-32DD8625E98F}"/>
                </a:ext>
              </a:extLst>
            </p:cNvPr>
            <p:cNvSpPr>
              <a:spLocks/>
            </p:cNvSpPr>
            <p:nvPr/>
          </p:nvSpPr>
          <p:spPr bwMode="auto">
            <a:xfrm>
              <a:off x="7289951" y="4878309"/>
              <a:ext cx="58891" cy="27713"/>
            </a:xfrm>
            <a:custGeom>
              <a:avLst/>
              <a:gdLst>
                <a:gd name="T0" fmla="*/ 0 w 34"/>
                <a:gd name="T1" fmla="*/ 4 h 16"/>
                <a:gd name="T2" fmla="*/ 0 w 34"/>
                <a:gd name="T3" fmla="*/ 4 h 16"/>
                <a:gd name="T4" fmla="*/ 0 w 34"/>
                <a:gd name="T5" fmla="*/ 2 h 16"/>
                <a:gd name="T6" fmla="*/ 2 w 34"/>
                <a:gd name="T7" fmla="*/ 2 h 16"/>
                <a:gd name="T8" fmla="*/ 2 w 34"/>
                <a:gd name="T9" fmla="*/ 2 h 16"/>
                <a:gd name="T10" fmla="*/ 2 w 34"/>
                <a:gd name="T11" fmla="*/ 0 h 16"/>
                <a:gd name="T12" fmla="*/ 6 w 34"/>
                <a:gd name="T13" fmla="*/ 0 h 16"/>
                <a:gd name="T14" fmla="*/ 8 w 34"/>
                <a:gd name="T15" fmla="*/ 0 h 16"/>
                <a:gd name="T16" fmla="*/ 10 w 34"/>
                <a:gd name="T17" fmla="*/ 0 h 16"/>
                <a:gd name="T18" fmla="*/ 14 w 34"/>
                <a:gd name="T19" fmla="*/ 0 h 16"/>
                <a:gd name="T20" fmla="*/ 18 w 34"/>
                <a:gd name="T21" fmla="*/ 0 h 16"/>
                <a:gd name="T22" fmla="*/ 22 w 34"/>
                <a:gd name="T23" fmla="*/ 2 h 16"/>
                <a:gd name="T24" fmla="*/ 24 w 34"/>
                <a:gd name="T25" fmla="*/ 2 h 16"/>
                <a:gd name="T26" fmla="*/ 26 w 34"/>
                <a:gd name="T27" fmla="*/ 2 h 16"/>
                <a:gd name="T28" fmla="*/ 28 w 34"/>
                <a:gd name="T29" fmla="*/ 4 h 16"/>
                <a:gd name="T30" fmla="*/ 30 w 34"/>
                <a:gd name="T31" fmla="*/ 4 h 16"/>
                <a:gd name="T32" fmla="*/ 30 w 34"/>
                <a:gd name="T33" fmla="*/ 4 h 16"/>
                <a:gd name="T34" fmla="*/ 32 w 34"/>
                <a:gd name="T35" fmla="*/ 4 h 16"/>
                <a:gd name="T36" fmla="*/ 32 w 34"/>
                <a:gd name="T37" fmla="*/ 6 h 16"/>
                <a:gd name="T38" fmla="*/ 32 w 34"/>
                <a:gd name="T39" fmla="*/ 6 h 16"/>
                <a:gd name="T40" fmla="*/ 34 w 34"/>
                <a:gd name="T41" fmla="*/ 6 h 16"/>
                <a:gd name="T42" fmla="*/ 34 w 34"/>
                <a:gd name="T43" fmla="*/ 8 h 16"/>
                <a:gd name="T44" fmla="*/ 32 w 34"/>
                <a:gd name="T45" fmla="*/ 8 h 16"/>
                <a:gd name="T46" fmla="*/ 32 w 34"/>
                <a:gd name="T47" fmla="*/ 10 h 16"/>
                <a:gd name="T48" fmla="*/ 32 w 34"/>
                <a:gd name="T49" fmla="*/ 10 h 16"/>
                <a:gd name="T50" fmla="*/ 30 w 34"/>
                <a:gd name="T51" fmla="*/ 12 h 16"/>
                <a:gd name="T52" fmla="*/ 28 w 34"/>
                <a:gd name="T53" fmla="*/ 12 h 16"/>
                <a:gd name="T54" fmla="*/ 26 w 34"/>
                <a:gd name="T55" fmla="*/ 14 h 16"/>
                <a:gd name="T56" fmla="*/ 24 w 34"/>
                <a:gd name="T57" fmla="*/ 14 h 16"/>
                <a:gd name="T58" fmla="*/ 22 w 34"/>
                <a:gd name="T59" fmla="*/ 16 h 16"/>
                <a:gd name="T60" fmla="*/ 22 w 34"/>
                <a:gd name="T61" fmla="*/ 16 h 16"/>
                <a:gd name="T62" fmla="*/ 20 w 34"/>
                <a:gd name="T63" fmla="*/ 16 h 16"/>
                <a:gd name="T64" fmla="*/ 18 w 34"/>
                <a:gd name="T65" fmla="*/ 16 h 16"/>
                <a:gd name="T66" fmla="*/ 14 w 34"/>
                <a:gd name="T67" fmla="*/ 16 h 16"/>
                <a:gd name="T68" fmla="*/ 12 w 34"/>
                <a:gd name="T69" fmla="*/ 16 h 16"/>
                <a:gd name="T70" fmla="*/ 8 w 34"/>
                <a:gd name="T71" fmla="*/ 16 h 16"/>
                <a:gd name="T72" fmla="*/ 6 w 34"/>
                <a:gd name="T73" fmla="*/ 14 h 16"/>
                <a:gd name="T74" fmla="*/ 4 w 34"/>
                <a:gd name="T75" fmla="*/ 14 h 16"/>
                <a:gd name="T76" fmla="*/ 4 w 34"/>
                <a:gd name="T77" fmla="*/ 12 h 16"/>
                <a:gd name="T78" fmla="*/ 2 w 34"/>
                <a:gd name="T79" fmla="*/ 12 h 16"/>
                <a:gd name="T80" fmla="*/ 2 w 34"/>
                <a:gd name="T81" fmla="*/ 12 h 16"/>
                <a:gd name="T82" fmla="*/ 2 w 34"/>
                <a:gd name="T83" fmla="*/ 10 h 16"/>
                <a:gd name="T84" fmla="*/ 0 w 34"/>
                <a:gd name="T85" fmla="*/ 10 h 16"/>
                <a:gd name="T86" fmla="*/ 0 w 34"/>
                <a:gd name="T87" fmla="*/ 8 h 16"/>
                <a:gd name="T88" fmla="*/ 0 w 34"/>
                <a:gd name="T89" fmla="*/ 6 h 16"/>
                <a:gd name="T90" fmla="*/ 0 w 34"/>
                <a:gd name="T91" fmla="*/ 6 h 16"/>
                <a:gd name="T92" fmla="*/ 0 w 34"/>
                <a:gd name="T93" fmla="*/ 4 h 16"/>
                <a:gd name="T94" fmla="*/ 0 w 34"/>
                <a:gd name="T95" fmla="*/ 4 h 16"/>
                <a:gd name="T96" fmla="*/ 0 w 34"/>
                <a:gd name="T97"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 h="16">
                  <a:moveTo>
                    <a:pt x="0" y="4"/>
                  </a:moveTo>
                  <a:lnTo>
                    <a:pt x="0" y="4"/>
                  </a:lnTo>
                  <a:lnTo>
                    <a:pt x="0" y="2"/>
                  </a:lnTo>
                  <a:lnTo>
                    <a:pt x="2" y="2"/>
                  </a:lnTo>
                  <a:lnTo>
                    <a:pt x="2" y="2"/>
                  </a:lnTo>
                  <a:lnTo>
                    <a:pt x="2" y="0"/>
                  </a:lnTo>
                  <a:lnTo>
                    <a:pt x="6" y="0"/>
                  </a:lnTo>
                  <a:lnTo>
                    <a:pt x="8" y="0"/>
                  </a:lnTo>
                  <a:lnTo>
                    <a:pt x="10" y="0"/>
                  </a:lnTo>
                  <a:lnTo>
                    <a:pt x="14" y="0"/>
                  </a:lnTo>
                  <a:lnTo>
                    <a:pt x="18" y="0"/>
                  </a:lnTo>
                  <a:lnTo>
                    <a:pt x="22" y="2"/>
                  </a:lnTo>
                  <a:lnTo>
                    <a:pt x="24" y="2"/>
                  </a:lnTo>
                  <a:lnTo>
                    <a:pt x="26" y="2"/>
                  </a:lnTo>
                  <a:lnTo>
                    <a:pt x="28" y="4"/>
                  </a:lnTo>
                  <a:lnTo>
                    <a:pt x="30" y="4"/>
                  </a:lnTo>
                  <a:lnTo>
                    <a:pt x="30" y="4"/>
                  </a:lnTo>
                  <a:lnTo>
                    <a:pt x="32" y="4"/>
                  </a:lnTo>
                  <a:lnTo>
                    <a:pt x="32" y="6"/>
                  </a:lnTo>
                  <a:lnTo>
                    <a:pt x="32" y="6"/>
                  </a:lnTo>
                  <a:lnTo>
                    <a:pt x="34" y="6"/>
                  </a:lnTo>
                  <a:lnTo>
                    <a:pt x="34" y="8"/>
                  </a:lnTo>
                  <a:lnTo>
                    <a:pt x="32" y="8"/>
                  </a:lnTo>
                  <a:lnTo>
                    <a:pt x="32" y="10"/>
                  </a:lnTo>
                  <a:lnTo>
                    <a:pt x="32" y="10"/>
                  </a:lnTo>
                  <a:lnTo>
                    <a:pt x="30" y="12"/>
                  </a:lnTo>
                  <a:lnTo>
                    <a:pt x="28" y="12"/>
                  </a:lnTo>
                  <a:lnTo>
                    <a:pt x="26" y="14"/>
                  </a:lnTo>
                  <a:lnTo>
                    <a:pt x="24" y="14"/>
                  </a:lnTo>
                  <a:lnTo>
                    <a:pt x="22" y="16"/>
                  </a:lnTo>
                  <a:lnTo>
                    <a:pt x="22" y="16"/>
                  </a:lnTo>
                  <a:lnTo>
                    <a:pt x="20" y="16"/>
                  </a:lnTo>
                  <a:lnTo>
                    <a:pt x="18" y="16"/>
                  </a:lnTo>
                  <a:lnTo>
                    <a:pt x="14" y="16"/>
                  </a:lnTo>
                  <a:lnTo>
                    <a:pt x="12" y="16"/>
                  </a:lnTo>
                  <a:lnTo>
                    <a:pt x="8" y="16"/>
                  </a:lnTo>
                  <a:lnTo>
                    <a:pt x="6" y="14"/>
                  </a:lnTo>
                  <a:lnTo>
                    <a:pt x="4" y="14"/>
                  </a:lnTo>
                  <a:lnTo>
                    <a:pt x="4" y="12"/>
                  </a:lnTo>
                  <a:lnTo>
                    <a:pt x="2" y="12"/>
                  </a:lnTo>
                  <a:lnTo>
                    <a:pt x="2" y="12"/>
                  </a:lnTo>
                  <a:lnTo>
                    <a:pt x="2" y="10"/>
                  </a:lnTo>
                  <a:lnTo>
                    <a:pt x="0" y="10"/>
                  </a:lnTo>
                  <a:lnTo>
                    <a:pt x="0" y="8"/>
                  </a:lnTo>
                  <a:lnTo>
                    <a:pt x="0" y="6"/>
                  </a:lnTo>
                  <a:lnTo>
                    <a:pt x="0" y="6"/>
                  </a:lnTo>
                  <a:lnTo>
                    <a:pt x="0" y="4"/>
                  </a:lnTo>
                  <a:lnTo>
                    <a:pt x="0" y="4"/>
                  </a:lnTo>
                  <a:lnTo>
                    <a:pt x="0" y="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9" name="Freeform 222">
              <a:extLst>
                <a:ext uri="{FF2B5EF4-FFF2-40B4-BE49-F238E27FC236}">
                  <a16:creationId xmlns:a16="http://schemas.microsoft.com/office/drawing/2014/main" id="{475D3A99-891F-48FB-BB65-D21A87BF51E0}"/>
                </a:ext>
              </a:extLst>
            </p:cNvPr>
            <p:cNvSpPr>
              <a:spLocks/>
            </p:cNvSpPr>
            <p:nvPr/>
          </p:nvSpPr>
          <p:spPr bwMode="auto">
            <a:xfrm>
              <a:off x="7404267" y="4691245"/>
              <a:ext cx="48498" cy="6928"/>
            </a:xfrm>
            <a:custGeom>
              <a:avLst/>
              <a:gdLst>
                <a:gd name="T0" fmla="*/ 14 w 28"/>
                <a:gd name="T1" fmla="*/ 4 h 4"/>
                <a:gd name="T2" fmla="*/ 14 w 28"/>
                <a:gd name="T3" fmla="*/ 4 h 4"/>
                <a:gd name="T4" fmla="*/ 12 w 28"/>
                <a:gd name="T5" fmla="*/ 4 h 4"/>
                <a:gd name="T6" fmla="*/ 8 w 28"/>
                <a:gd name="T7" fmla="*/ 4 h 4"/>
                <a:gd name="T8" fmla="*/ 6 w 28"/>
                <a:gd name="T9" fmla="*/ 4 h 4"/>
                <a:gd name="T10" fmla="*/ 4 w 28"/>
                <a:gd name="T11" fmla="*/ 4 h 4"/>
                <a:gd name="T12" fmla="*/ 4 w 28"/>
                <a:gd name="T13" fmla="*/ 4 h 4"/>
                <a:gd name="T14" fmla="*/ 2 w 28"/>
                <a:gd name="T15" fmla="*/ 2 h 4"/>
                <a:gd name="T16" fmla="*/ 2 w 28"/>
                <a:gd name="T17" fmla="*/ 2 h 4"/>
                <a:gd name="T18" fmla="*/ 0 w 28"/>
                <a:gd name="T19" fmla="*/ 2 h 4"/>
                <a:gd name="T20" fmla="*/ 0 w 28"/>
                <a:gd name="T21" fmla="*/ 2 h 4"/>
                <a:gd name="T22" fmla="*/ 0 w 28"/>
                <a:gd name="T23" fmla="*/ 2 h 4"/>
                <a:gd name="T24" fmla="*/ 2 w 28"/>
                <a:gd name="T25" fmla="*/ 2 h 4"/>
                <a:gd name="T26" fmla="*/ 2 w 28"/>
                <a:gd name="T27" fmla="*/ 0 h 4"/>
                <a:gd name="T28" fmla="*/ 4 w 28"/>
                <a:gd name="T29" fmla="*/ 0 h 4"/>
                <a:gd name="T30" fmla="*/ 4 w 28"/>
                <a:gd name="T31" fmla="*/ 0 h 4"/>
                <a:gd name="T32" fmla="*/ 6 w 28"/>
                <a:gd name="T33" fmla="*/ 0 h 4"/>
                <a:gd name="T34" fmla="*/ 8 w 28"/>
                <a:gd name="T35" fmla="*/ 0 h 4"/>
                <a:gd name="T36" fmla="*/ 12 w 28"/>
                <a:gd name="T37" fmla="*/ 0 h 4"/>
                <a:gd name="T38" fmla="*/ 14 w 28"/>
                <a:gd name="T39" fmla="*/ 0 h 4"/>
                <a:gd name="T40" fmla="*/ 16 w 28"/>
                <a:gd name="T41" fmla="*/ 0 h 4"/>
                <a:gd name="T42" fmla="*/ 20 w 28"/>
                <a:gd name="T43" fmla="*/ 0 h 4"/>
                <a:gd name="T44" fmla="*/ 22 w 28"/>
                <a:gd name="T45" fmla="*/ 0 h 4"/>
                <a:gd name="T46" fmla="*/ 24 w 28"/>
                <a:gd name="T47" fmla="*/ 0 h 4"/>
                <a:gd name="T48" fmla="*/ 26 w 28"/>
                <a:gd name="T49" fmla="*/ 0 h 4"/>
                <a:gd name="T50" fmla="*/ 26 w 28"/>
                <a:gd name="T51" fmla="*/ 0 h 4"/>
                <a:gd name="T52" fmla="*/ 28 w 28"/>
                <a:gd name="T53" fmla="*/ 2 h 4"/>
                <a:gd name="T54" fmla="*/ 28 w 28"/>
                <a:gd name="T55" fmla="*/ 2 h 4"/>
                <a:gd name="T56" fmla="*/ 28 w 28"/>
                <a:gd name="T57" fmla="*/ 2 h 4"/>
                <a:gd name="T58" fmla="*/ 28 w 28"/>
                <a:gd name="T59" fmla="*/ 2 h 4"/>
                <a:gd name="T60" fmla="*/ 28 w 28"/>
                <a:gd name="T61" fmla="*/ 2 h 4"/>
                <a:gd name="T62" fmla="*/ 26 w 28"/>
                <a:gd name="T63" fmla="*/ 2 h 4"/>
                <a:gd name="T64" fmla="*/ 26 w 28"/>
                <a:gd name="T65" fmla="*/ 4 h 4"/>
                <a:gd name="T66" fmla="*/ 24 w 28"/>
                <a:gd name="T67" fmla="*/ 4 h 4"/>
                <a:gd name="T68" fmla="*/ 22 w 28"/>
                <a:gd name="T69" fmla="*/ 4 h 4"/>
                <a:gd name="T70" fmla="*/ 20 w 28"/>
                <a:gd name="T71" fmla="*/ 4 h 4"/>
                <a:gd name="T72" fmla="*/ 16 w 28"/>
                <a:gd name="T73" fmla="*/ 4 h 4"/>
                <a:gd name="T74" fmla="*/ 14 w 28"/>
                <a:gd name="T7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 h="4">
                  <a:moveTo>
                    <a:pt x="14" y="4"/>
                  </a:moveTo>
                  <a:lnTo>
                    <a:pt x="14" y="4"/>
                  </a:lnTo>
                  <a:lnTo>
                    <a:pt x="12" y="4"/>
                  </a:lnTo>
                  <a:lnTo>
                    <a:pt x="8" y="4"/>
                  </a:lnTo>
                  <a:lnTo>
                    <a:pt x="6" y="4"/>
                  </a:lnTo>
                  <a:lnTo>
                    <a:pt x="4" y="4"/>
                  </a:lnTo>
                  <a:lnTo>
                    <a:pt x="4" y="4"/>
                  </a:lnTo>
                  <a:lnTo>
                    <a:pt x="2" y="2"/>
                  </a:lnTo>
                  <a:lnTo>
                    <a:pt x="2" y="2"/>
                  </a:lnTo>
                  <a:lnTo>
                    <a:pt x="0" y="2"/>
                  </a:lnTo>
                  <a:lnTo>
                    <a:pt x="0" y="2"/>
                  </a:lnTo>
                  <a:lnTo>
                    <a:pt x="0" y="2"/>
                  </a:lnTo>
                  <a:lnTo>
                    <a:pt x="2" y="2"/>
                  </a:lnTo>
                  <a:lnTo>
                    <a:pt x="2" y="0"/>
                  </a:lnTo>
                  <a:lnTo>
                    <a:pt x="4" y="0"/>
                  </a:lnTo>
                  <a:lnTo>
                    <a:pt x="4" y="0"/>
                  </a:lnTo>
                  <a:lnTo>
                    <a:pt x="6" y="0"/>
                  </a:lnTo>
                  <a:lnTo>
                    <a:pt x="8" y="0"/>
                  </a:lnTo>
                  <a:lnTo>
                    <a:pt x="12" y="0"/>
                  </a:lnTo>
                  <a:lnTo>
                    <a:pt x="14" y="0"/>
                  </a:lnTo>
                  <a:lnTo>
                    <a:pt x="16" y="0"/>
                  </a:lnTo>
                  <a:lnTo>
                    <a:pt x="20" y="0"/>
                  </a:lnTo>
                  <a:lnTo>
                    <a:pt x="22" y="0"/>
                  </a:lnTo>
                  <a:lnTo>
                    <a:pt x="24" y="0"/>
                  </a:lnTo>
                  <a:lnTo>
                    <a:pt x="26" y="0"/>
                  </a:lnTo>
                  <a:lnTo>
                    <a:pt x="26" y="0"/>
                  </a:lnTo>
                  <a:lnTo>
                    <a:pt x="28" y="2"/>
                  </a:lnTo>
                  <a:lnTo>
                    <a:pt x="28" y="2"/>
                  </a:lnTo>
                  <a:lnTo>
                    <a:pt x="28" y="2"/>
                  </a:lnTo>
                  <a:lnTo>
                    <a:pt x="28" y="2"/>
                  </a:lnTo>
                  <a:lnTo>
                    <a:pt x="28" y="2"/>
                  </a:lnTo>
                  <a:lnTo>
                    <a:pt x="26" y="2"/>
                  </a:lnTo>
                  <a:lnTo>
                    <a:pt x="26" y="4"/>
                  </a:lnTo>
                  <a:lnTo>
                    <a:pt x="24" y="4"/>
                  </a:lnTo>
                  <a:lnTo>
                    <a:pt x="22" y="4"/>
                  </a:lnTo>
                  <a:lnTo>
                    <a:pt x="20" y="4"/>
                  </a:lnTo>
                  <a:lnTo>
                    <a:pt x="16" y="4"/>
                  </a:lnTo>
                  <a:lnTo>
                    <a:pt x="14" y="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0" name="Freeform 223">
              <a:extLst>
                <a:ext uri="{FF2B5EF4-FFF2-40B4-BE49-F238E27FC236}">
                  <a16:creationId xmlns:a16="http://schemas.microsoft.com/office/drawing/2014/main" id="{B24F1E26-C0DB-42F0-BA67-9BEB2F370AF3}"/>
                </a:ext>
              </a:extLst>
            </p:cNvPr>
            <p:cNvSpPr>
              <a:spLocks/>
            </p:cNvSpPr>
            <p:nvPr/>
          </p:nvSpPr>
          <p:spPr bwMode="auto">
            <a:xfrm>
              <a:off x="7404267" y="4691245"/>
              <a:ext cx="48498" cy="6928"/>
            </a:xfrm>
            <a:custGeom>
              <a:avLst/>
              <a:gdLst>
                <a:gd name="T0" fmla="*/ 14 w 28"/>
                <a:gd name="T1" fmla="*/ 4 h 4"/>
                <a:gd name="T2" fmla="*/ 14 w 28"/>
                <a:gd name="T3" fmla="*/ 4 h 4"/>
                <a:gd name="T4" fmla="*/ 12 w 28"/>
                <a:gd name="T5" fmla="*/ 4 h 4"/>
                <a:gd name="T6" fmla="*/ 8 w 28"/>
                <a:gd name="T7" fmla="*/ 4 h 4"/>
                <a:gd name="T8" fmla="*/ 6 w 28"/>
                <a:gd name="T9" fmla="*/ 4 h 4"/>
                <a:gd name="T10" fmla="*/ 4 w 28"/>
                <a:gd name="T11" fmla="*/ 4 h 4"/>
                <a:gd name="T12" fmla="*/ 4 w 28"/>
                <a:gd name="T13" fmla="*/ 4 h 4"/>
                <a:gd name="T14" fmla="*/ 2 w 28"/>
                <a:gd name="T15" fmla="*/ 2 h 4"/>
                <a:gd name="T16" fmla="*/ 2 w 28"/>
                <a:gd name="T17" fmla="*/ 2 h 4"/>
                <a:gd name="T18" fmla="*/ 0 w 28"/>
                <a:gd name="T19" fmla="*/ 2 h 4"/>
                <a:gd name="T20" fmla="*/ 0 w 28"/>
                <a:gd name="T21" fmla="*/ 2 h 4"/>
                <a:gd name="T22" fmla="*/ 0 w 28"/>
                <a:gd name="T23" fmla="*/ 2 h 4"/>
                <a:gd name="T24" fmla="*/ 2 w 28"/>
                <a:gd name="T25" fmla="*/ 2 h 4"/>
                <a:gd name="T26" fmla="*/ 2 w 28"/>
                <a:gd name="T27" fmla="*/ 0 h 4"/>
                <a:gd name="T28" fmla="*/ 4 w 28"/>
                <a:gd name="T29" fmla="*/ 0 h 4"/>
                <a:gd name="T30" fmla="*/ 4 w 28"/>
                <a:gd name="T31" fmla="*/ 0 h 4"/>
                <a:gd name="T32" fmla="*/ 6 w 28"/>
                <a:gd name="T33" fmla="*/ 0 h 4"/>
                <a:gd name="T34" fmla="*/ 8 w 28"/>
                <a:gd name="T35" fmla="*/ 0 h 4"/>
                <a:gd name="T36" fmla="*/ 12 w 28"/>
                <a:gd name="T37" fmla="*/ 0 h 4"/>
                <a:gd name="T38" fmla="*/ 14 w 28"/>
                <a:gd name="T39" fmla="*/ 0 h 4"/>
                <a:gd name="T40" fmla="*/ 16 w 28"/>
                <a:gd name="T41" fmla="*/ 0 h 4"/>
                <a:gd name="T42" fmla="*/ 20 w 28"/>
                <a:gd name="T43" fmla="*/ 0 h 4"/>
                <a:gd name="T44" fmla="*/ 22 w 28"/>
                <a:gd name="T45" fmla="*/ 0 h 4"/>
                <a:gd name="T46" fmla="*/ 24 w 28"/>
                <a:gd name="T47" fmla="*/ 0 h 4"/>
                <a:gd name="T48" fmla="*/ 26 w 28"/>
                <a:gd name="T49" fmla="*/ 0 h 4"/>
                <a:gd name="T50" fmla="*/ 26 w 28"/>
                <a:gd name="T51" fmla="*/ 0 h 4"/>
                <a:gd name="T52" fmla="*/ 28 w 28"/>
                <a:gd name="T53" fmla="*/ 2 h 4"/>
                <a:gd name="T54" fmla="*/ 28 w 28"/>
                <a:gd name="T55" fmla="*/ 2 h 4"/>
                <a:gd name="T56" fmla="*/ 28 w 28"/>
                <a:gd name="T57" fmla="*/ 2 h 4"/>
                <a:gd name="T58" fmla="*/ 28 w 28"/>
                <a:gd name="T59" fmla="*/ 2 h 4"/>
                <a:gd name="T60" fmla="*/ 28 w 28"/>
                <a:gd name="T61" fmla="*/ 2 h 4"/>
                <a:gd name="T62" fmla="*/ 26 w 28"/>
                <a:gd name="T63" fmla="*/ 2 h 4"/>
                <a:gd name="T64" fmla="*/ 26 w 28"/>
                <a:gd name="T65" fmla="*/ 4 h 4"/>
                <a:gd name="T66" fmla="*/ 24 w 28"/>
                <a:gd name="T67" fmla="*/ 4 h 4"/>
                <a:gd name="T68" fmla="*/ 22 w 28"/>
                <a:gd name="T69" fmla="*/ 4 h 4"/>
                <a:gd name="T70" fmla="*/ 20 w 28"/>
                <a:gd name="T71" fmla="*/ 4 h 4"/>
                <a:gd name="T72" fmla="*/ 16 w 28"/>
                <a:gd name="T73" fmla="*/ 4 h 4"/>
                <a:gd name="T74" fmla="*/ 14 w 28"/>
                <a:gd name="T7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 h="4">
                  <a:moveTo>
                    <a:pt x="14" y="4"/>
                  </a:moveTo>
                  <a:lnTo>
                    <a:pt x="14" y="4"/>
                  </a:lnTo>
                  <a:lnTo>
                    <a:pt x="12" y="4"/>
                  </a:lnTo>
                  <a:lnTo>
                    <a:pt x="8" y="4"/>
                  </a:lnTo>
                  <a:lnTo>
                    <a:pt x="6" y="4"/>
                  </a:lnTo>
                  <a:lnTo>
                    <a:pt x="4" y="4"/>
                  </a:lnTo>
                  <a:lnTo>
                    <a:pt x="4" y="4"/>
                  </a:lnTo>
                  <a:lnTo>
                    <a:pt x="2" y="2"/>
                  </a:lnTo>
                  <a:lnTo>
                    <a:pt x="2" y="2"/>
                  </a:lnTo>
                  <a:lnTo>
                    <a:pt x="0" y="2"/>
                  </a:lnTo>
                  <a:lnTo>
                    <a:pt x="0" y="2"/>
                  </a:lnTo>
                  <a:lnTo>
                    <a:pt x="0" y="2"/>
                  </a:lnTo>
                  <a:lnTo>
                    <a:pt x="2" y="2"/>
                  </a:lnTo>
                  <a:lnTo>
                    <a:pt x="2" y="0"/>
                  </a:lnTo>
                  <a:lnTo>
                    <a:pt x="4" y="0"/>
                  </a:lnTo>
                  <a:lnTo>
                    <a:pt x="4" y="0"/>
                  </a:lnTo>
                  <a:lnTo>
                    <a:pt x="6" y="0"/>
                  </a:lnTo>
                  <a:lnTo>
                    <a:pt x="8" y="0"/>
                  </a:lnTo>
                  <a:lnTo>
                    <a:pt x="12" y="0"/>
                  </a:lnTo>
                  <a:lnTo>
                    <a:pt x="14" y="0"/>
                  </a:lnTo>
                  <a:lnTo>
                    <a:pt x="16" y="0"/>
                  </a:lnTo>
                  <a:lnTo>
                    <a:pt x="20" y="0"/>
                  </a:lnTo>
                  <a:lnTo>
                    <a:pt x="22" y="0"/>
                  </a:lnTo>
                  <a:lnTo>
                    <a:pt x="24" y="0"/>
                  </a:lnTo>
                  <a:lnTo>
                    <a:pt x="26" y="0"/>
                  </a:lnTo>
                  <a:lnTo>
                    <a:pt x="26" y="0"/>
                  </a:lnTo>
                  <a:lnTo>
                    <a:pt x="28" y="2"/>
                  </a:lnTo>
                  <a:lnTo>
                    <a:pt x="28" y="2"/>
                  </a:lnTo>
                  <a:lnTo>
                    <a:pt x="28" y="2"/>
                  </a:lnTo>
                  <a:lnTo>
                    <a:pt x="28" y="2"/>
                  </a:lnTo>
                  <a:lnTo>
                    <a:pt x="28" y="2"/>
                  </a:lnTo>
                  <a:lnTo>
                    <a:pt x="26" y="2"/>
                  </a:lnTo>
                  <a:lnTo>
                    <a:pt x="26" y="4"/>
                  </a:lnTo>
                  <a:lnTo>
                    <a:pt x="24" y="4"/>
                  </a:lnTo>
                  <a:lnTo>
                    <a:pt x="22" y="4"/>
                  </a:lnTo>
                  <a:lnTo>
                    <a:pt x="20" y="4"/>
                  </a:lnTo>
                  <a:lnTo>
                    <a:pt x="16" y="4"/>
                  </a:lnTo>
                  <a:lnTo>
                    <a:pt x="14" y="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1" name="Freeform 228">
              <a:extLst>
                <a:ext uri="{FF2B5EF4-FFF2-40B4-BE49-F238E27FC236}">
                  <a16:creationId xmlns:a16="http://schemas.microsoft.com/office/drawing/2014/main" id="{DA2A1C9E-0519-4D39-B8B1-2CA7564B745B}"/>
                </a:ext>
              </a:extLst>
            </p:cNvPr>
            <p:cNvSpPr>
              <a:spLocks/>
            </p:cNvSpPr>
            <p:nvPr/>
          </p:nvSpPr>
          <p:spPr bwMode="auto">
            <a:xfrm>
              <a:off x="6766864" y="4351758"/>
              <a:ext cx="128174" cy="242490"/>
            </a:xfrm>
            <a:custGeom>
              <a:avLst/>
              <a:gdLst>
                <a:gd name="T0" fmla="*/ 48 w 74"/>
                <a:gd name="T1" fmla="*/ 46 h 140"/>
                <a:gd name="T2" fmla="*/ 46 w 74"/>
                <a:gd name="T3" fmla="*/ 46 h 140"/>
                <a:gd name="T4" fmla="*/ 46 w 74"/>
                <a:gd name="T5" fmla="*/ 44 h 140"/>
                <a:gd name="T6" fmla="*/ 42 w 74"/>
                <a:gd name="T7" fmla="*/ 42 h 140"/>
                <a:gd name="T8" fmla="*/ 38 w 74"/>
                <a:gd name="T9" fmla="*/ 40 h 140"/>
                <a:gd name="T10" fmla="*/ 30 w 74"/>
                <a:gd name="T11" fmla="*/ 38 h 140"/>
                <a:gd name="T12" fmla="*/ 28 w 74"/>
                <a:gd name="T13" fmla="*/ 36 h 140"/>
                <a:gd name="T14" fmla="*/ 26 w 74"/>
                <a:gd name="T15" fmla="*/ 34 h 140"/>
                <a:gd name="T16" fmla="*/ 24 w 74"/>
                <a:gd name="T17" fmla="*/ 32 h 140"/>
                <a:gd name="T18" fmla="*/ 22 w 74"/>
                <a:gd name="T19" fmla="*/ 26 h 140"/>
                <a:gd name="T20" fmla="*/ 18 w 74"/>
                <a:gd name="T21" fmla="*/ 14 h 140"/>
                <a:gd name="T22" fmla="*/ 14 w 74"/>
                <a:gd name="T23" fmla="*/ 4 h 140"/>
                <a:gd name="T24" fmla="*/ 0 w 74"/>
                <a:gd name="T25" fmla="*/ 12 h 140"/>
                <a:gd name="T26" fmla="*/ 2 w 74"/>
                <a:gd name="T27" fmla="*/ 30 h 140"/>
                <a:gd name="T28" fmla="*/ 2 w 74"/>
                <a:gd name="T29" fmla="*/ 42 h 140"/>
                <a:gd name="T30" fmla="*/ 4 w 74"/>
                <a:gd name="T31" fmla="*/ 56 h 140"/>
                <a:gd name="T32" fmla="*/ 6 w 74"/>
                <a:gd name="T33" fmla="*/ 72 h 140"/>
                <a:gd name="T34" fmla="*/ 6 w 74"/>
                <a:gd name="T35" fmla="*/ 84 h 140"/>
                <a:gd name="T36" fmla="*/ 8 w 74"/>
                <a:gd name="T37" fmla="*/ 90 h 140"/>
                <a:gd name="T38" fmla="*/ 10 w 74"/>
                <a:gd name="T39" fmla="*/ 94 h 140"/>
                <a:gd name="T40" fmla="*/ 12 w 74"/>
                <a:gd name="T41" fmla="*/ 98 h 140"/>
                <a:gd name="T42" fmla="*/ 18 w 74"/>
                <a:gd name="T43" fmla="*/ 104 h 140"/>
                <a:gd name="T44" fmla="*/ 28 w 74"/>
                <a:gd name="T45" fmla="*/ 116 h 140"/>
                <a:gd name="T46" fmla="*/ 34 w 74"/>
                <a:gd name="T47" fmla="*/ 126 h 140"/>
                <a:gd name="T48" fmla="*/ 38 w 74"/>
                <a:gd name="T49" fmla="*/ 130 h 140"/>
                <a:gd name="T50" fmla="*/ 40 w 74"/>
                <a:gd name="T51" fmla="*/ 134 h 140"/>
                <a:gd name="T52" fmla="*/ 44 w 74"/>
                <a:gd name="T53" fmla="*/ 136 h 140"/>
                <a:gd name="T54" fmla="*/ 52 w 74"/>
                <a:gd name="T55" fmla="*/ 138 h 140"/>
                <a:gd name="T56" fmla="*/ 60 w 74"/>
                <a:gd name="T57" fmla="*/ 140 h 140"/>
                <a:gd name="T58" fmla="*/ 64 w 74"/>
                <a:gd name="T59" fmla="*/ 140 h 140"/>
                <a:gd name="T60" fmla="*/ 68 w 74"/>
                <a:gd name="T61" fmla="*/ 140 h 140"/>
                <a:gd name="T62" fmla="*/ 70 w 74"/>
                <a:gd name="T63" fmla="*/ 138 h 140"/>
                <a:gd name="T64" fmla="*/ 72 w 74"/>
                <a:gd name="T65" fmla="*/ 138 h 140"/>
                <a:gd name="T66" fmla="*/ 74 w 74"/>
                <a:gd name="T67" fmla="*/ 136 h 140"/>
                <a:gd name="T68" fmla="*/ 74 w 74"/>
                <a:gd name="T69" fmla="*/ 134 h 140"/>
                <a:gd name="T70" fmla="*/ 74 w 74"/>
                <a:gd name="T71" fmla="*/ 128 h 140"/>
                <a:gd name="T72" fmla="*/ 74 w 74"/>
                <a:gd name="T73" fmla="*/ 116 h 140"/>
                <a:gd name="T74" fmla="*/ 74 w 74"/>
                <a:gd name="T75" fmla="*/ 102 h 140"/>
                <a:gd name="T76" fmla="*/ 72 w 74"/>
                <a:gd name="T77" fmla="*/ 90 h 140"/>
                <a:gd name="T78" fmla="*/ 70 w 74"/>
                <a:gd name="T79" fmla="*/ 84 h 140"/>
                <a:gd name="T80" fmla="*/ 70 w 74"/>
                <a:gd name="T81" fmla="*/ 78 h 140"/>
                <a:gd name="T82" fmla="*/ 68 w 74"/>
                <a:gd name="T83" fmla="*/ 74 h 140"/>
                <a:gd name="T84" fmla="*/ 64 w 74"/>
                <a:gd name="T85" fmla="*/ 70 h 140"/>
                <a:gd name="T86" fmla="*/ 56 w 74"/>
                <a:gd name="T87" fmla="*/ 62 h 140"/>
                <a:gd name="T88" fmla="*/ 52 w 74"/>
                <a:gd name="T89" fmla="*/ 56 h 140"/>
                <a:gd name="T90" fmla="*/ 48 w 74"/>
                <a:gd name="T91" fmla="*/ 52 h 140"/>
                <a:gd name="T92" fmla="*/ 48 w 74"/>
                <a:gd name="T93" fmla="*/ 48 h 140"/>
                <a:gd name="T94" fmla="*/ 48 w 74"/>
                <a:gd name="T95" fmla="*/ 4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140">
                  <a:moveTo>
                    <a:pt x="48" y="46"/>
                  </a:moveTo>
                  <a:lnTo>
                    <a:pt x="48" y="46"/>
                  </a:lnTo>
                  <a:lnTo>
                    <a:pt x="46" y="46"/>
                  </a:lnTo>
                  <a:lnTo>
                    <a:pt x="46" y="46"/>
                  </a:lnTo>
                  <a:lnTo>
                    <a:pt x="46" y="44"/>
                  </a:lnTo>
                  <a:lnTo>
                    <a:pt x="46" y="44"/>
                  </a:lnTo>
                  <a:lnTo>
                    <a:pt x="44" y="42"/>
                  </a:lnTo>
                  <a:lnTo>
                    <a:pt x="42" y="42"/>
                  </a:lnTo>
                  <a:lnTo>
                    <a:pt x="42" y="42"/>
                  </a:lnTo>
                  <a:lnTo>
                    <a:pt x="38" y="40"/>
                  </a:lnTo>
                  <a:lnTo>
                    <a:pt x="34" y="38"/>
                  </a:lnTo>
                  <a:lnTo>
                    <a:pt x="30" y="38"/>
                  </a:lnTo>
                  <a:lnTo>
                    <a:pt x="30" y="38"/>
                  </a:lnTo>
                  <a:lnTo>
                    <a:pt x="28" y="36"/>
                  </a:lnTo>
                  <a:lnTo>
                    <a:pt x="26" y="36"/>
                  </a:lnTo>
                  <a:lnTo>
                    <a:pt x="26" y="34"/>
                  </a:lnTo>
                  <a:lnTo>
                    <a:pt x="24" y="34"/>
                  </a:lnTo>
                  <a:lnTo>
                    <a:pt x="24" y="32"/>
                  </a:lnTo>
                  <a:lnTo>
                    <a:pt x="22" y="28"/>
                  </a:lnTo>
                  <a:lnTo>
                    <a:pt x="22" y="26"/>
                  </a:lnTo>
                  <a:lnTo>
                    <a:pt x="20" y="20"/>
                  </a:lnTo>
                  <a:lnTo>
                    <a:pt x="18" y="14"/>
                  </a:lnTo>
                  <a:lnTo>
                    <a:pt x="16" y="8"/>
                  </a:lnTo>
                  <a:lnTo>
                    <a:pt x="14" y="4"/>
                  </a:lnTo>
                  <a:lnTo>
                    <a:pt x="14" y="0"/>
                  </a:lnTo>
                  <a:lnTo>
                    <a:pt x="0" y="12"/>
                  </a:lnTo>
                  <a:lnTo>
                    <a:pt x="2" y="22"/>
                  </a:lnTo>
                  <a:lnTo>
                    <a:pt x="2" y="30"/>
                  </a:lnTo>
                  <a:lnTo>
                    <a:pt x="2" y="36"/>
                  </a:lnTo>
                  <a:lnTo>
                    <a:pt x="2" y="42"/>
                  </a:lnTo>
                  <a:lnTo>
                    <a:pt x="4" y="50"/>
                  </a:lnTo>
                  <a:lnTo>
                    <a:pt x="4" y="56"/>
                  </a:lnTo>
                  <a:lnTo>
                    <a:pt x="4" y="64"/>
                  </a:lnTo>
                  <a:lnTo>
                    <a:pt x="6" y="72"/>
                  </a:lnTo>
                  <a:lnTo>
                    <a:pt x="6" y="80"/>
                  </a:lnTo>
                  <a:lnTo>
                    <a:pt x="6" y="84"/>
                  </a:lnTo>
                  <a:lnTo>
                    <a:pt x="8" y="86"/>
                  </a:lnTo>
                  <a:lnTo>
                    <a:pt x="8" y="90"/>
                  </a:lnTo>
                  <a:lnTo>
                    <a:pt x="10" y="92"/>
                  </a:lnTo>
                  <a:lnTo>
                    <a:pt x="10" y="94"/>
                  </a:lnTo>
                  <a:lnTo>
                    <a:pt x="10" y="94"/>
                  </a:lnTo>
                  <a:lnTo>
                    <a:pt x="12" y="98"/>
                  </a:lnTo>
                  <a:lnTo>
                    <a:pt x="16" y="102"/>
                  </a:lnTo>
                  <a:lnTo>
                    <a:pt x="18" y="104"/>
                  </a:lnTo>
                  <a:lnTo>
                    <a:pt x="22" y="112"/>
                  </a:lnTo>
                  <a:lnTo>
                    <a:pt x="28" y="116"/>
                  </a:lnTo>
                  <a:lnTo>
                    <a:pt x="30" y="120"/>
                  </a:lnTo>
                  <a:lnTo>
                    <a:pt x="34" y="126"/>
                  </a:lnTo>
                  <a:lnTo>
                    <a:pt x="36" y="128"/>
                  </a:lnTo>
                  <a:lnTo>
                    <a:pt x="38" y="130"/>
                  </a:lnTo>
                  <a:lnTo>
                    <a:pt x="40" y="132"/>
                  </a:lnTo>
                  <a:lnTo>
                    <a:pt x="40" y="134"/>
                  </a:lnTo>
                  <a:lnTo>
                    <a:pt x="42" y="134"/>
                  </a:lnTo>
                  <a:lnTo>
                    <a:pt x="44" y="136"/>
                  </a:lnTo>
                  <a:lnTo>
                    <a:pt x="48" y="136"/>
                  </a:lnTo>
                  <a:lnTo>
                    <a:pt x="52" y="138"/>
                  </a:lnTo>
                  <a:lnTo>
                    <a:pt x="58" y="140"/>
                  </a:lnTo>
                  <a:lnTo>
                    <a:pt x="60" y="140"/>
                  </a:lnTo>
                  <a:lnTo>
                    <a:pt x="62" y="140"/>
                  </a:lnTo>
                  <a:lnTo>
                    <a:pt x="64" y="140"/>
                  </a:lnTo>
                  <a:lnTo>
                    <a:pt x="66" y="140"/>
                  </a:lnTo>
                  <a:lnTo>
                    <a:pt x="68" y="140"/>
                  </a:lnTo>
                  <a:lnTo>
                    <a:pt x="70" y="140"/>
                  </a:lnTo>
                  <a:lnTo>
                    <a:pt x="70" y="138"/>
                  </a:lnTo>
                  <a:lnTo>
                    <a:pt x="72" y="138"/>
                  </a:lnTo>
                  <a:lnTo>
                    <a:pt x="72" y="138"/>
                  </a:lnTo>
                  <a:lnTo>
                    <a:pt x="72" y="138"/>
                  </a:lnTo>
                  <a:lnTo>
                    <a:pt x="74" y="136"/>
                  </a:lnTo>
                  <a:lnTo>
                    <a:pt x="74" y="134"/>
                  </a:lnTo>
                  <a:lnTo>
                    <a:pt x="74" y="134"/>
                  </a:lnTo>
                  <a:lnTo>
                    <a:pt x="74" y="130"/>
                  </a:lnTo>
                  <a:lnTo>
                    <a:pt x="74" y="128"/>
                  </a:lnTo>
                  <a:lnTo>
                    <a:pt x="74" y="122"/>
                  </a:lnTo>
                  <a:lnTo>
                    <a:pt x="74" y="116"/>
                  </a:lnTo>
                  <a:lnTo>
                    <a:pt x="74" y="110"/>
                  </a:lnTo>
                  <a:lnTo>
                    <a:pt x="74" y="102"/>
                  </a:lnTo>
                  <a:lnTo>
                    <a:pt x="72" y="96"/>
                  </a:lnTo>
                  <a:lnTo>
                    <a:pt x="72" y="90"/>
                  </a:lnTo>
                  <a:lnTo>
                    <a:pt x="72" y="86"/>
                  </a:lnTo>
                  <a:lnTo>
                    <a:pt x="70" y="84"/>
                  </a:lnTo>
                  <a:lnTo>
                    <a:pt x="70" y="80"/>
                  </a:lnTo>
                  <a:lnTo>
                    <a:pt x="70" y="78"/>
                  </a:lnTo>
                  <a:lnTo>
                    <a:pt x="68" y="76"/>
                  </a:lnTo>
                  <a:lnTo>
                    <a:pt x="68" y="74"/>
                  </a:lnTo>
                  <a:lnTo>
                    <a:pt x="66" y="72"/>
                  </a:lnTo>
                  <a:lnTo>
                    <a:pt x="64" y="70"/>
                  </a:lnTo>
                  <a:lnTo>
                    <a:pt x="60" y="66"/>
                  </a:lnTo>
                  <a:lnTo>
                    <a:pt x="56" y="62"/>
                  </a:lnTo>
                  <a:lnTo>
                    <a:pt x="54" y="58"/>
                  </a:lnTo>
                  <a:lnTo>
                    <a:pt x="52" y="56"/>
                  </a:lnTo>
                  <a:lnTo>
                    <a:pt x="50" y="54"/>
                  </a:lnTo>
                  <a:lnTo>
                    <a:pt x="48" y="52"/>
                  </a:lnTo>
                  <a:lnTo>
                    <a:pt x="48" y="50"/>
                  </a:lnTo>
                  <a:lnTo>
                    <a:pt x="48" y="48"/>
                  </a:lnTo>
                  <a:lnTo>
                    <a:pt x="48" y="46"/>
                  </a:lnTo>
                  <a:lnTo>
                    <a:pt x="48" y="4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2" name="Freeform 229">
              <a:extLst>
                <a:ext uri="{FF2B5EF4-FFF2-40B4-BE49-F238E27FC236}">
                  <a16:creationId xmlns:a16="http://schemas.microsoft.com/office/drawing/2014/main" id="{652A3D83-F41C-458F-A9BA-B5217098536A}"/>
                </a:ext>
              </a:extLst>
            </p:cNvPr>
            <p:cNvSpPr>
              <a:spLocks/>
            </p:cNvSpPr>
            <p:nvPr/>
          </p:nvSpPr>
          <p:spPr bwMode="auto">
            <a:xfrm>
              <a:off x="6766864" y="4351758"/>
              <a:ext cx="128174" cy="242490"/>
            </a:xfrm>
            <a:custGeom>
              <a:avLst/>
              <a:gdLst>
                <a:gd name="T0" fmla="*/ 48 w 74"/>
                <a:gd name="T1" fmla="*/ 46 h 140"/>
                <a:gd name="T2" fmla="*/ 46 w 74"/>
                <a:gd name="T3" fmla="*/ 46 h 140"/>
                <a:gd name="T4" fmla="*/ 46 w 74"/>
                <a:gd name="T5" fmla="*/ 44 h 140"/>
                <a:gd name="T6" fmla="*/ 42 w 74"/>
                <a:gd name="T7" fmla="*/ 42 h 140"/>
                <a:gd name="T8" fmla="*/ 38 w 74"/>
                <a:gd name="T9" fmla="*/ 40 h 140"/>
                <a:gd name="T10" fmla="*/ 30 w 74"/>
                <a:gd name="T11" fmla="*/ 38 h 140"/>
                <a:gd name="T12" fmla="*/ 28 w 74"/>
                <a:gd name="T13" fmla="*/ 36 h 140"/>
                <a:gd name="T14" fmla="*/ 26 w 74"/>
                <a:gd name="T15" fmla="*/ 34 h 140"/>
                <a:gd name="T16" fmla="*/ 24 w 74"/>
                <a:gd name="T17" fmla="*/ 32 h 140"/>
                <a:gd name="T18" fmla="*/ 22 w 74"/>
                <a:gd name="T19" fmla="*/ 26 h 140"/>
                <a:gd name="T20" fmla="*/ 18 w 74"/>
                <a:gd name="T21" fmla="*/ 14 h 140"/>
                <a:gd name="T22" fmla="*/ 14 w 74"/>
                <a:gd name="T23" fmla="*/ 4 h 140"/>
                <a:gd name="T24" fmla="*/ 0 w 74"/>
                <a:gd name="T25" fmla="*/ 12 h 140"/>
                <a:gd name="T26" fmla="*/ 2 w 74"/>
                <a:gd name="T27" fmla="*/ 30 h 140"/>
                <a:gd name="T28" fmla="*/ 2 w 74"/>
                <a:gd name="T29" fmla="*/ 42 h 140"/>
                <a:gd name="T30" fmla="*/ 4 w 74"/>
                <a:gd name="T31" fmla="*/ 56 h 140"/>
                <a:gd name="T32" fmla="*/ 6 w 74"/>
                <a:gd name="T33" fmla="*/ 72 h 140"/>
                <a:gd name="T34" fmla="*/ 6 w 74"/>
                <a:gd name="T35" fmla="*/ 84 h 140"/>
                <a:gd name="T36" fmla="*/ 8 w 74"/>
                <a:gd name="T37" fmla="*/ 90 h 140"/>
                <a:gd name="T38" fmla="*/ 10 w 74"/>
                <a:gd name="T39" fmla="*/ 94 h 140"/>
                <a:gd name="T40" fmla="*/ 12 w 74"/>
                <a:gd name="T41" fmla="*/ 98 h 140"/>
                <a:gd name="T42" fmla="*/ 18 w 74"/>
                <a:gd name="T43" fmla="*/ 104 h 140"/>
                <a:gd name="T44" fmla="*/ 28 w 74"/>
                <a:gd name="T45" fmla="*/ 116 h 140"/>
                <a:gd name="T46" fmla="*/ 34 w 74"/>
                <a:gd name="T47" fmla="*/ 126 h 140"/>
                <a:gd name="T48" fmla="*/ 38 w 74"/>
                <a:gd name="T49" fmla="*/ 130 h 140"/>
                <a:gd name="T50" fmla="*/ 40 w 74"/>
                <a:gd name="T51" fmla="*/ 134 h 140"/>
                <a:gd name="T52" fmla="*/ 44 w 74"/>
                <a:gd name="T53" fmla="*/ 136 h 140"/>
                <a:gd name="T54" fmla="*/ 52 w 74"/>
                <a:gd name="T55" fmla="*/ 138 h 140"/>
                <a:gd name="T56" fmla="*/ 60 w 74"/>
                <a:gd name="T57" fmla="*/ 140 h 140"/>
                <a:gd name="T58" fmla="*/ 64 w 74"/>
                <a:gd name="T59" fmla="*/ 140 h 140"/>
                <a:gd name="T60" fmla="*/ 68 w 74"/>
                <a:gd name="T61" fmla="*/ 140 h 140"/>
                <a:gd name="T62" fmla="*/ 70 w 74"/>
                <a:gd name="T63" fmla="*/ 138 h 140"/>
                <a:gd name="T64" fmla="*/ 72 w 74"/>
                <a:gd name="T65" fmla="*/ 138 h 140"/>
                <a:gd name="T66" fmla="*/ 74 w 74"/>
                <a:gd name="T67" fmla="*/ 136 h 140"/>
                <a:gd name="T68" fmla="*/ 74 w 74"/>
                <a:gd name="T69" fmla="*/ 134 h 140"/>
                <a:gd name="T70" fmla="*/ 74 w 74"/>
                <a:gd name="T71" fmla="*/ 128 h 140"/>
                <a:gd name="T72" fmla="*/ 74 w 74"/>
                <a:gd name="T73" fmla="*/ 116 h 140"/>
                <a:gd name="T74" fmla="*/ 74 w 74"/>
                <a:gd name="T75" fmla="*/ 102 h 140"/>
                <a:gd name="T76" fmla="*/ 72 w 74"/>
                <a:gd name="T77" fmla="*/ 90 h 140"/>
                <a:gd name="T78" fmla="*/ 70 w 74"/>
                <a:gd name="T79" fmla="*/ 84 h 140"/>
                <a:gd name="T80" fmla="*/ 70 w 74"/>
                <a:gd name="T81" fmla="*/ 78 h 140"/>
                <a:gd name="T82" fmla="*/ 68 w 74"/>
                <a:gd name="T83" fmla="*/ 74 h 140"/>
                <a:gd name="T84" fmla="*/ 64 w 74"/>
                <a:gd name="T85" fmla="*/ 70 h 140"/>
                <a:gd name="T86" fmla="*/ 56 w 74"/>
                <a:gd name="T87" fmla="*/ 62 h 140"/>
                <a:gd name="T88" fmla="*/ 52 w 74"/>
                <a:gd name="T89" fmla="*/ 56 h 140"/>
                <a:gd name="T90" fmla="*/ 48 w 74"/>
                <a:gd name="T91" fmla="*/ 52 h 140"/>
                <a:gd name="T92" fmla="*/ 48 w 74"/>
                <a:gd name="T93" fmla="*/ 48 h 140"/>
                <a:gd name="T94" fmla="*/ 48 w 74"/>
                <a:gd name="T95" fmla="*/ 4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140">
                  <a:moveTo>
                    <a:pt x="48" y="46"/>
                  </a:moveTo>
                  <a:lnTo>
                    <a:pt x="48" y="46"/>
                  </a:lnTo>
                  <a:lnTo>
                    <a:pt x="46" y="46"/>
                  </a:lnTo>
                  <a:lnTo>
                    <a:pt x="46" y="46"/>
                  </a:lnTo>
                  <a:lnTo>
                    <a:pt x="46" y="44"/>
                  </a:lnTo>
                  <a:lnTo>
                    <a:pt x="46" y="44"/>
                  </a:lnTo>
                  <a:lnTo>
                    <a:pt x="44" y="42"/>
                  </a:lnTo>
                  <a:lnTo>
                    <a:pt x="42" y="42"/>
                  </a:lnTo>
                  <a:lnTo>
                    <a:pt x="42" y="42"/>
                  </a:lnTo>
                  <a:lnTo>
                    <a:pt x="38" y="40"/>
                  </a:lnTo>
                  <a:lnTo>
                    <a:pt x="34" y="38"/>
                  </a:lnTo>
                  <a:lnTo>
                    <a:pt x="30" y="38"/>
                  </a:lnTo>
                  <a:lnTo>
                    <a:pt x="30" y="38"/>
                  </a:lnTo>
                  <a:lnTo>
                    <a:pt x="28" y="36"/>
                  </a:lnTo>
                  <a:lnTo>
                    <a:pt x="26" y="36"/>
                  </a:lnTo>
                  <a:lnTo>
                    <a:pt x="26" y="34"/>
                  </a:lnTo>
                  <a:lnTo>
                    <a:pt x="24" y="34"/>
                  </a:lnTo>
                  <a:lnTo>
                    <a:pt x="24" y="32"/>
                  </a:lnTo>
                  <a:lnTo>
                    <a:pt x="22" y="28"/>
                  </a:lnTo>
                  <a:lnTo>
                    <a:pt x="22" y="26"/>
                  </a:lnTo>
                  <a:lnTo>
                    <a:pt x="20" y="20"/>
                  </a:lnTo>
                  <a:lnTo>
                    <a:pt x="18" y="14"/>
                  </a:lnTo>
                  <a:lnTo>
                    <a:pt x="16" y="8"/>
                  </a:lnTo>
                  <a:lnTo>
                    <a:pt x="14" y="4"/>
                  </a:lnTo>
                  <a:lnTo>
                    <a:pt x="14" y="0"/>
                  </a:lnTo>
                  <a:lnTo>
                    <a:pt x="0" y="12"/>
                  </a:lnTo>
                  <a:lnTo>
                    <a:pt x="2" y="22"/>
                  </a:lnTo>
                  <a:lnTo>
                    <a:pt x="2" y="30"/>
                  </a:lnTo>
                  <a:lnTo>
                    <a:pt x="2" y="36"/>
                  </a:lnTo>
                  <a:lnTo>
                    <a:pt x="2" y="42"/>
                  </a:lnTo>
                  <a:lnTo>
                    <a:pt x="4" y="50"/>
                  </a:lnTo>
                  <a:lnTo>
                    <a:pt x="4" y="56"/>
                  </a:lnTo>
                  <a:lnTo>
                    <a:pt x="4" y="64"/>
                  </a:lnTo>
                  <a:lnTo>
                    <a:pt x="6" y="72"/>
                  </a:lnTo>
                  <a:lnTo>
                    <a:pt x="6" y="80"/>
                  </a:lnTo>
                  <a:lnTo>
                    <a:pt x="6" y="84"/>
                  </a:lnTo>
                  <a:lnTo>
                    <a:pt x="8" y="86"/>
                  </a:lnTo>
                  <a:lnTo>
                    <a:pt x="8" y="90"/>
                  </a:lnTo>
                  <a:lnTo>
                    <a:pt x="10" y="92"/>
                  </a:lnTo>
                  <a:lnTo>
                    <a:pt x="10" y="94"/>
                  </a:lnTo>
                  <a:lnTo>
                    <a:pt x="10" y="94"/>
                  </a:lnTo>
                  <a:lnTo>
                    <a:pt x="12" y="98"/>
                  </a:lnTo>
                  <a:lnTo>
                    <a:pt x="16" y="102"/>
                  </a:lnTo>
                  <a:lnTo>
                    <a:pt x="18" y="104"/>
                  </a:lnTo>
                  <a:lnTo>
                    <a:pt x="22" y="112"/>
                  </a:lnTo>
                  <a:lnTo>
                    <a:pt x="28" y="116"/>
                  </a:lnTo>
                  <a:lnTo>
                    <a:pt x="30" y="120"/>
                  </a:lnTo>
                  <a:lnTo>
                    <a:pt x="34" y="126"/>
                  </a:lnTo>
                  <a:lnTo>
                    <a:pt x="36" y="128"/>
                  </a:lnTo>
                  <a:lnTo>
                    <a:pt x="38" y="130"/>
                  </a:lnTo>
                  <a:lnTo>
                    <a:pt x="40" y="132"/>
                  </a:lnTo>
                  <a:lnTo>
                    <a:pt x="40" y="134"/>
                  </a:lnTo>
                  <a:lnTo>
                    <a:pt x="42" y="134"/>
                  </a:lnTo>
                  <a:lnTo>
                    <a:pt x="44" y="136"/>
                  </a:lnTo>
                  <a:lnTo>
                    <a:pt x="48" y="136"/>
                  </a:lnTo>
                  <a:lnTo>
                    <a:pt x="52" y="138"/>
                  </a:lnTo>
                  <a:lnTo>
                    <a:pt x="58" y="140"/>
                  </a:lnTo>
                  <a:lnTo>
                    <a:pt x="60" y="140"/>
                  </a:lnTo>
                  <a:lnTo>
                    <a:pt x="62" y="140"/>
                  </a:lnTo>
                  <a:lnTo>
                    <a:pt x="64" y="140"/>
                  </a:lnTo>
                  <a:lnTo>
                    <a:pt x="66" y="140"/>
                  </a:lnTo>
                  <a:lnTo>
                    <a:pt x="68" y="140"/>
                  </a:lnTo>
                  <a:lnTo>
                    <a:pt x="70" y="140"/>
                  </a:lnTo>
                  <a:lnTo>
                    <a:pt x="70" y="138"/>
                  </a:lnTo>
                  <a:lnTo>
                    <a:pt x="72" y="138"/>
                  </a:lnTo>
                  <a:lnTo>
                    <a:pt x="72" y="138"/>
                  </a:lnTo>
                  <a:lnTo>
                    <a:pt x="72" y="138"/>
                  </a:lnTo>
                  <a:lnTo>
                    <a:pt x="74" y="136"/>
                  </a:lnTo>
                  <a:lnTo>
                    <a:pt x="74" y="134"/>
                  </a:lnTo>
                  <a:lnTo>
                    <a:pt x="74" y="134"/>
                  </a:lnTo>
                  <a:lnTo>
                    <a:pt x="74" y="130"/>
                  </a:lnTo>
                  <a:lnTo>
                    <a:pt x="74" y="128"/>
                  </a:lnTo>
                  <a:lnTo>
                    <a:pt x="74" y="122"/>
                  </a:lnTo>
                  <a:lnTo>
                    <a:pt x="74" y="116"/>
                  </a:lnTo>
                  <a:lnTo>
                    <a:pt x="74" y="110"/>
                  </a:lnTo>
                  <a:lnTo>
                    <a:pt x="74" y="102"/>
                  </a:lnTo>
                  <a:lnTo>
                    <a:pt x="72" y="96"/>
                  </a:lnTo>
                  <a:lnTo>
                    <a:pt x="72" y="90"/>
                  </a:lnTo>
                  <a:lnTo>
                    <a:pt x="72" y="86"/>
                  </a:lnTo>
                  <a:lnTo>
                    <a:pt x="70" y="84"/>
                  </a:lnTo>
                  <a:lnTo>
                    <a:pt x="70" y="80"/>
                  </a:lnTo>
                  <a:lnTo>
                    <a:pt x="70" y="78"/>
                  </a:lnTo>
                  <a:lnTo>
                    <a:pt x="68" y="76"/>
                  </a:lnTo>
                  <a:lnTo>
                    <a:pt x="68" y="74"/>
                  </a:lnTo>
                  <a:lnTo>
                    <a:pt x="66" y="72"/>
                  </a:lnTo>
                  <a:lnTo>
                    <a:pt x="64" y="70"/>
                  </a:lnTo>
                  <a:lnTo>
                    <a:pt x="60" y="66"/>
                  </a:lnTo>
                  <a:lnTo>
                    <a:pt x="56" y="62"/>
                  </a:lnTo>
                  <a:lnTo>
                    <a:pt x="54" y="58"/>
                  </a:lnTo>
                  <a:lnTo>
                    <a:pt x="52" y="56"/>
                  </a:lnTo>
                  <a:lnTo>
                    <a:pt x="50" y="54"/>
                  </a:lnTo>
                  <a:lnTo>
                    <a:pt x="48" y="52"/>
                  </a:lnTo>
                  <a:lnTo>
                    <a:pt x="48" y="50"/>
                  </a:lnTo>
                  <a:lnTo>
                    <a:pt x="48" y="48"/>
                  </a:lnTo>
                  <a:lnTo>
                    <a:pt x="48" y="46"/>
                  </a:lnTo>
                  <a:lnTo>
                    <a:pt x="48" y="4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3" name="Freeform 230">
              <a:extLst>
                <a:ext uri="{FF2B5EF4-FFF2-40B4-BE49-F238E27FC236}">
                  <a16:creationId xmlns:a16="http://schemas.microsoft.com/office/drawing/2014/main" id="{1EC85117-3699-4470-BF34-2E6744281576}"/>
                </a:ext>
              </a:extLst>
            </p:cNvPr>
            <p:cNvSpPr>
              <a:spLocks/>
            </p:cNvSpPr>
            <p:nvPr/>
          </p:nvSpPr>
          <p:spPr bwMode="auto">
            <a:xfrm>
              <a:off x="6766864" y="4351758"/>
              <a:ext cx="128174" cy="242490"/>
            </a:xfrm>
            <a:custGeom>
              <a:avLst/>
              <a:gdLst>
                <a:gd name="T0" fmla="*/ 48 w 74"/>
                <a:gd name="T1" fmla="*/ 46 h 140"/>
                <a:gd name="T2" fmla="*/ 46 w 74"/>
                <a:gd name="T3" fmla="*/ 46 h 140"/>
                <a:gd name="T4" fmla="*/ 46 w 74"/>
                <a:gd name="T5" fmla="*/ 44 h 140"/>
                <a:gd name="T6" fmla="*/ 42 w 74"/>
                <a:gd name="T7" fmla="*/ 42 h 140"/>
                <a:gd name="T8" fmla="*/ 38 w 74"/>
                <a:gd name="T9" fmla="*/ 40 h 140"/>
                <a:gd name="T10" fmla="*/ 30 w 74"/>
                <a:gd name="T11" fmla="*/ 38 h 140"/>
                <a:gd name="T12" fmla="*/ 28 w 74"/>
                <a:gd name="T13" fmla="*/ 36 h 140"/>
                <a:gd name="T14" fmla="*/ 26 w 74"/>
                <a:gd name="T15" fmla="*/ 34 h 140"/>
                <a:gd name="T16" fmla="*/ 24 w 74"/>
                <a:gd name="T17" fmla="*/ 32 h 140"/>
                <a:gd name="T18" fmla="*/ 22 w 74"/>
                <a:gd name="T19" fmla="*/ 26 h 140"/>
                <a:gd name="T20" fmla="*/ 18 w 74"/>
                <a:gd name="T21" fmla="*/ 14 h 140"/>
                <a:gd name="T22" fmla="*/ 14 w 74"/>
                <a:gd name="T23" fmla="*/ 4 h 140"/>
                <a:gd name="T24" fmla="*/ 0 w 74"/>
                <a:gd name="T25" fmla="*/ 12 h 140"/>
                <a:gd name="T26" fmla="*/ 2 w 74"/>
                <a:gd name="T27" fmla="*/ 30 h 140"/>
                <a:gd name="T28" fmla="*/ 2 w 74"/>
                <a:gd name="T29" fmla="*/ 42 h 140"/>
                <a:gd name="T30" fmla="*/ 4 w 74"/>
                <a:gd name="T31" fmla="*/ 56 h 140"/>
                <a:gd name="T32" fmla="*/ 6 w 74"/>
                <a:gd name="T33" fmla="*/ 72 h 140"/>
                <a:gd name="T34" fmla="*/ 6 w 74"/>
                <a:gd name="T35" fmla="*/ 84 h 140"/>
                <a:gd name="T36" fmla="*/ 8 w 74"/>
                <a:gd name="T37" fmla="*/ 90 h 140"/>
                <a:gd name="T38" fmla="*/ 10 w 74"/>
                <a:gd name="T39" fmla="*/ 94 h 140"/>
                <a:gd name="T40" fmla="*/ 12 w 74"/>
                <a:gd name="T41" fmla="*/ 98 h 140"/>
                <a:gd name="T42" fmla="*/ 18 w 74"/>
                <a:gd name="T43" fmla="*/ 104 h 140"/>
                <a:gd name="T44" fmla="*/ 28 w 74"/>
                <a:gd name="T45" fmla="*/ 116 h 140"/>
                <a:gd name="T46" fmla="*/ 34 w 74"/>
                <a:gd name="T47" fmla="*/ 126 h 140"/>
                <a:gd name="T48" fmla="*/ 38 w 74"/>
                <a:gd name="T49" fmla="*/ 130 h 140"/>
                <a:gd name="T50" fmla="*/ 40 w 74"/>
                <a:gd name="T51" fmla="*/ 134 h 140"/>
                <a:gd name="T52" fmla="*/ 44 w 74"/>
                <a:gd name="T53" fmla="*/ 136 h 140"/>
                <a:gd name="T54" fmla="*/ 52 w 74"/>
                <a:gd name="T55" fmla="*/ 138 h 140"/>
                <a:gd name="T56" fmla="*/ 60 w 74"/>
                <a:gd name="T57" fmla="*/ 140 h 140"/>
                <a:gd name="T58" fmla="*/ 64 w 74"/>
                <a:gd name="T59" fmla="*/ 140 h 140"/>
                <a:gd name="T60" fmla="*/ 68 w 74"/>
                <a:gd name="T61" fmla="*/ 140 h 140"/>
                <a:gd name="T62" fmla="*/ 70 w 74"/>
                <a:gd name="T63" fmla="*/ 138 h 140"/>
                <a:gd name="T64" fmla="*/ 72 w 74"/>
                <a:gd name="T65" fmla="*/ 138 h 140"/>
                <a:gd name="T66" fmla="*/ 74 w 74"/>
                <a:gd name="T67" fmla="*/ 136 h 140"/>
                <a:gd name="T68" fmla="*/ 74 w 74"/>
                <a:gd name="T69" fmla="*/ 134 h 140"/>
                <a:gd name="T70" fmla="*/ 74 w 74"/>
                <a:gd name="T71" fmla="*/ 128 h 140"/>
                <a:gd name="T72" fmla="*/ 74 w 74"/>
                <a:gd name="T73" fmla="*/ 116 h 140"/>
                <a:gd name="T74" fmla="*/ 74 w 74"/>
                <a:gd name="T75" fmla="*/ 102 h 140"/>
                <a:gd name="T76" fmla="*/ 72 w 74"/>
                <a:gd name="T77" fmla="*/ 90 h 140"/>
                <a:gd name="T78" fmla="*/ 70 w 74"/>
                <a:gd name="T79" fmla="*/ 84 h 140"/>
                <a:gd name="T80" fmla="*/ 70 w 74"/>
                <a:gd name="T81" fmla="*/ 78 h 140"/>
                <a:gd name="T82" fmla="*/ 68 w 74"/>
                <a:gd name="T83" fmla="*/ 74 h 140"/>
                <a:gd name="T84" fmla="*/ 64 w 74"/>
                <a:gd name="T85" fmla="*/ 70 h 140"/>
                <a:gd name="T86" fmla="*/ 56 w 74"/>
                <a:gd name="T87" fmla="*/ 62 h 140"/>
                <a:gd name="T88" fmla="*/ 52 w 74"/>
                <a:gd name="T89" fmla="*/ 56 h 140"/>
                <a:gd name="T90" fmla="*/ 48 w 74"/>
                <a:gd name="T91" fmla="*/ 52 h 140"/>
                <a:gd name="T92" fmla="*/ 48 w 74"/>
                <a:gd name="T93" fmla="*/ 48 h 140"/>
                <a:gd name="T94" fmla="*/ 48 w 74"/>
                <a:gd name="T95" fmla="*/ 4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140">
                  <a:moveTo>
                    <a:pt x="48" y="46"/>
                  </a:moveTo>
                  <a:lnTo>
                    <a:pt x="48" y="46"/>
                  </a:lnTo>
                  <a:lnTo>
                    <a:pt x="46" y="46"/>
                  </a:lnTo>
                  <a:lnTo>
                    <a:pt x="46" y="46"/>
                  </a:lnTo>
                  <a:lnTo>
                    <a:pt x="46" y="44"/>
                  </a:lnTo>
                  <a:lnTo>
                    <a:pt x="46" y="44"/>
                  </a:lnTo>
                  <a:lnTo>
                    <a:pt x="44" y="42"/>
                  </a:lnTo>
                  <a:lnTo>
                    <a:pt x="42" y="42"/>
                  </a:lnTo>
                  <a:lnTo>
                    <a:pt x="42" y="42"/>
                  </a:lnTo>
                  <a:lnTo>
                    <a:pt x="38" y="40"/>
                  </a:lnTo>
                  <a:lnTo>
                    <a:pt x="34" y="38"/>
                  </a:lnTo>
                  <a:lnTo>
                    <a:pt x="30" y="38"/>
                  </a:lnTo>
                  <a:lnTo>
                    <a:pt x="30" y="38"/>
                  </a:lnTo>
                  <a:lnTo>
                    <a:pt x="28" y="36"/>
                  </a:lnTo>
                  <a:lnTo>
                    <a:pt x="26" y="36"/>
                  </a:lnTo>
                  <a:lnTo>
                    <a:pt x="26" y="34"/>
                  </a:lnTo>
                  <a:lnTo>
                    <a:pt x="24" y="34"/>
                  </a:lnTo>
                  <a:lnTo>
                    <a:pt x="24" y="32"/>
                  </a:lnTo>
                  <a:lnTo>
                    <a:pt x="22" y="28"/>
                  </a:lnTo>
                  <a:lnTo>
                    <a:pt x="22" y="26"/>
                  </a:lnTo>
                  <a:lnTo>
                    <a:pt x="20" y="20"/>
                  </a:lnTo>
                  <a:lnTo>
                    <a:pt x="18" y="14"/>
                  </a:lnTo>
                  <a:lnTo>
                    <a:pt x="16" y="8"/>
                  </a:lnTo>
                  <a:lnTo>
                    <a:pt x="14" y="4"/>
                  </a:lnTo>
                  <a:lnTo>
                    <a:pt x="14" y="0"/>
                  </a:lnTo>
                  <a:lnTo>
                    <a:pt x="0" y="12"/>
                  </a:lnTo>
                  <a:lnTo>
                    <a:pt x="2" y="22"/>
                  </a:lnTo>
                  <a:lnTo>
                    <a:pt x="2" y="30"/>
                  </a:lnTo>
                  <a:lnTo>
                    <a:pt x="2" y="36"/>
                  </a:lnTo>
                  <a:lnTo>
                    <a:pt x="2" y="42"/>
                  </a:lnTo>
                  <a:lnTo>
                    <a:pt x="4" y="50"/>
                  </a:lnTo>
                  <a:lnTo>
                    <a:pt x="4" y="56"/>
                  </a:lnTo>
                  <a:lnTo>
                    <a:pt x="4" y="64"/>
                  </a:lnTo>
                  <a:lnTo>
                    <a:pt x="6" y="72"/>
                  </a:lnTo>
                  <a:lnTo>
                    <a:pt x="6" y="80"/>
                  </a:lnTo>
                  <a:lnTo>
                    <a:pt x="6" y="84"/>
                  </a:lnTo>
                  <a:lnTo>
                    <a:pt x="8" y="86"/>
                  </a:lnTo>
                  <a:lnTo>
                    <a:pt x="8" y="90"/>
                  </a:lnTo>
                  <a:lnTo>
                    <a:pt x="10" y="92"/>
                  </a:lnTo>
                  <a:lnTo>
                    <a:pt x="10" y="94"/>
                  </a:lnTo>
                  <a:lnTo>
                    <a:pt x="10" y="94"/>
                  </a:lnTo>
                  <a:lnTo>
                    <a:pt x="12" y="98"/>
                  </a:lnTo>
                  <a:lnTo>
                    <a:pt x="16" y="102"/>
                  </a:lnTo>
                  <a:lnTo>
                    <a:pt x="18" y="104"/>
                  </a:lnTo>
                  <a:lnTo>
                    <a:pt x="22" y="112"/>
                  </a:lnTo>
                  <a:lnTo>
                    <a:pt x="28" y="116"/>
                  </a:lnTo>
                  <a:lnTo>
                    <a:pt x="30" y="120"/>
                  </a:lnTo>
                  <a:lnTo>
                    <a:pt x="34" y="126"/>
                  </a:lnTo>
                  <a:lnTo>
                    <a:pt x="36" y="128"/>
                  </a:lnTo>
                  <a:lnTo>
                    <a:pt x="38" y="130"/>
                  </a:lnTo>
                  <a:lnTo>
                    <a:pt x="40" y="132"/>
                  </a:lnTo>
                  <a:lnTo>
                    <a:pt x="40" y="134"/>
                  </a:lnTo>
                  <a:lnTo>
                    <a:pt x="42" y="134"/>
                  </a:lnTo>
                  <a:lnTo>
                    <a:pt x="44" y="136"/>
                  </a:lnTo>
                  <a:lnTo>
                    <a:pt x="48" y="136"/>
                  </a:lnTo>
                  <a:lnTo>
                    <a:pt x="52" y="138"/>
                  </a:lnTo>
                  <a:lnTo>
                    <a:pt x="58" y="140"/>
                  </a:lnTo>
                  <a:lnTo>
                    <a:pt x="60" y="140"/>
                  </a:lnTo>
                  <a:lnTo>
                    <a:pt x="62" y="140"/>
                  </a:lnTo>
                  <a:lnTo>
                    <a:pt x="64" y="140"/>
                  </a:lnTo>
                  <a:lnTo>
                    <a:pt x="66" y="140"/>
                  </a:lnTo>
                  <a:lnTo>
                    <a:pt x="68" y="140"/>
                  </a:lnTo>
                  <a:lnTo>
                    <a:pt x="70" y="140"/>
                  </a:lnTo>
                  <a:lnTo>
                    <a:pt x="70" y="138"/>
                  </a:lnTo>
                  <a:lnTo>
                    <a:pt x="72" y="138"/>
                  </a:lnTo>
                  <a:lnTo>
                    <a:pt x="72" y="138"/>
                  </a:lnTo>
                  <a:lnTo>
                    <a:pt x="72" y="138"/>
                  </a:lnTo>
                  <a:lnTo>
                    <a:pt x="74" y="136"/>
                  </a:lnTo>
                  <a:lnTo>
                    <a:pt x="74" y="134"/>
                  </a:lnTo>
                  <a:lnTo>
                    <a:pt x="74" y="134"/>
                  </a:lnTo>
                  <a:lnTo>
                    <a:pt x="74" y="130"/>
                  </a:lnTo>
                  <a:lnTo>
                    <a:pt x="74" y="128"/>
                  </a:lnTo>
                  <a:lnTo>
                    <a:pt x="74" y="122"/>
                  </a:lnTo>
                  <a:lnTo>
                    <a:pt x="74" y="116"/>
                  </a:lnTo>
                  <a:lnTo>
                    <a:pt x="74" y="110"/>
                  </a:lnTo>
                  <a:lnTo>
                    <a:pt x="74" y="102"/>
                  </a:lnTo>
                  <a:lnTo>
                    <a:pt x="72" y="96"/>
                  </a:lnTo>
                  <a:lnTo>
                    <a:pt x="72" y="90"/>
                  </a:lnTo>
                  <a:lnTo>
                    <a:pt x="72" y="86"/>
                  </a:lnTo>
                  <a:lnTo>
                    <a:pt x="70" y="84"/>
                  </a:lnTo>
                  <a:lnTo>
                    <a:pt x="70" y="80"/>
                  </a:lnTo>
                  <a:lnTo>
                    <a:pt x="70" y="78"/>
                  </a:lnTo>
                  <a:lnTo>
                    <a:pt x="68" y="76"/>
                  </a:lnTo>
                  <a:lnTo>
                    <a:pt x="68" y="74"/>
                  </a:lnTo>
                  <a:lnTo>
                    <a:pt x="66" y="72"/>
                  </a:lnTo>
                  <a:lnTo>
                    <a:pt x="64" y="70"/>
                  </a:lnTo>
                  <a:lnTo>
                    <a:pt x="60" y="66"/>
                  </a:lnTo>
                  <a:lnTo>
                    <a:pt x="56" y="62"/>
                  </a:lnTo>
                  <a:lnTo>
                    <a:pt x="54" y="58"/>
                  </a:lnTo>
                  <a:lnTo>
                    <a:pt x="52" y="56"/>
                  </a:lnTo>
                  <a:lnTo>
                    <a:pt x="50" y="54"/>
                  </a:lnTo>
                  <a:lnTo>
                    <a:pt x="48" y="52"/>
                  </a:lnTo>
                  <a:lnTo>
                    <a:pt x="48" y="50"/>
                  </a:lnTo>
                  <a:lnTo>
                    <a:pt x="48" y="48"/>
                  </a:lnTo>
                  <a:lnTo>
                    <a:pt x="48" y="46"/>
                  </a:lnTo>
                  <a:lnTo>
                    <a:pt x="48" y="4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4" name="Freeform 231">
              <a:extLst>
                <a:ext uri="{FF2B5EF4-FFF2-40B4-BE49-F238E27FC236}">
                  <a16:creationId xmlns:a16="http://schemas.microsoft.com/office/drawing/2014/main" id="{0CE4A0DC-5C0C-47B1-B3BF-40D48A54378D}"/>
                </a:ext>
              </a:extLst>
            </p:cNvPr>
            <p:cNvSpPr>
              <a:spLocks/>
            </p:cNvSpPr>
            <p:nvPr/>
          </p:nvSpPr>
          <p:spPr bwMode="auto">
            <a:xfrm>
              <a:off x="6766864" y="4351758"/>
              <a:ext cx="128174" cy="242490"/>
            </a:xfrm>
            <a:custGeom>
              <a:avLst/>
              <a:gdLst>
                <a:gd name="T0" fmla="*/ 48 w 74"/>
                <a:gd name="T1" fmla="*/ 46 h 140"/>
                <a:gd name="T2" fmla="*/ 46 w 74"/>
                <a:gd name="T3" fmla="*/ 46 h 140"/>
                <a:gd name="T4" fmla="*/ 46 w 74"/>
                <a:gd name="T5" fmla="*/ 44 h 140"/>
                <a:gd name="T6" fmla="*/ 42 w 74"/>
                <a:gd name="T7" fmla="*/ 42 h 140"/>
                <a:gd name="T8" fmla="*/ 38 w 74"/>
                <a:gd name="T9" fmla="*/ 40 h 140"/>
                <a:gd name="T10" fmla="*/ 30 w 74"/>
                <a:gd name="T11" fmla="*/ 38 h 140"/>
                <a:gd name="T12" fmla="*/ 28 w 74"/>
                <a:gd name="T13" fmla="*/ 36 h 140"/>
                <a:gd name="T14" fmla="*/ 26 w 74"/>
                <a:gd name="T15" fmla="*/ 34 h 140"/>
                <a:gd name="T16" fmla="*/ 24 w 74"/>
                <a:gd name="T17" fmla="*/ 32 h 140"/>
                <a:gd name="T18" fmla="*/ 22 w 74"/>
                <a:gd name="T19" fmla="*/ 26 h 140"/>
                <a:gd name="T20" fmla="*/ 18 w 74"/>
                <a:gd name="T21" fmla="*/ 14 h 140"/>
                <a:gd name="T22" fmla="*/ 14 w 74"/>
                <a:gd name="T23" fmla="*/ 4 h 140"/>
                <a:gd name="T24" fmla="*/ 0 w 74"/>
                <a:gd name="T25" fmla="*/ 12 h 140"/>
                <a:gd name="T26" fmla="*/ 2 w 74"/>
                <a:gd name="T27" fmla="*/ 30 h 140"/>
                <a:gd name="T28" fmla="*/ 2 w 74"/>
                <a:gd name="T29" fmla="*/ 42 h 140"/>
                <a:gd name="T30" fmla="*/ 4 w 74"/>
                <a:gd name="T31" fmla="*/ 56 h 140"/>
                <a:gd name="T32" fmla="*/ 6 w 74"/>
                <a:gd name="T33" fmla="*/ 72 h 140"/>
                <a:gd name="T34" fmla="*/ 6 w 74"/>
                <a:gd name="T35" fmla="*/ 84 h 140"/>
                <a:gd name="T36" fmla="*/ 8 w 74"/>
                <a:gd name="T37" fmla="*/ 90 h 140"/>
                <a:gd name="T38" fmla="*/ 10 w 74"/>
                <a:gd name="T39" fmla="*/ 94 h 140"/>
                <a:gd name="T40" fmla="*/ 12 w 74"/>
                <a:gd name="T41" fmla="*/ 98 h 140"/>
                <a:gd name="T42" fmla="*/ 18 w 74"/>
                <a:gd name="T43" fmla="*/ 104 h 140"/>
                <a:gd name="T44" fmla="*/ 28 w 74"/>
                <a:gd name="T45" fmla="*/ 116 h 140"/>
                <a:gd name="T46" fmla="*/ 34 w 74"/>
                <a:gd name="T47" fmla="*/ 126 h 140"/>
                <a:gd name="T48" fmla="*/ 38 w 74"/>
                <a:gd name="T49" fmla="*/ 130 h 140"/>
                <a:gd name="T50" fmla="*/ 40 w 74"/>
                <a:gd name="T51" fmla="*/ 134 h 140"/>
                <a:gd name="T52" fmla="*/ 44 w 74"/>
                <a:gd name="T53" fmla="*/ 136 h 140"/>
                <a:gd name="T54" fmla="*/ 52 w 74"/>
                <a:gd name="T55" fmla="*/ 138 h 140"/>
                <a:gd name="T56" fmla="*/ 60 w 74"/>
                <a:gd name="T57" fmla="*/ 140 h 140"/>
                <a:gd name="T58" fmla="*/ 64 w 74"/>
                <a:gd name="T59" fmla="*/ 140 h 140"/>
                <a:gd name="T60" fmla="*/ 68 w 74"/>
                <a:gd name="T61" fmla="*/ 140 h 140"/>
                <a:gd name="T62" fmla="*/ 70 w 74"/>
                <a:gd name="T63" fmla="*/ 138 h 140"/>
                <a:gd name="T64" fmla="*/ 72 w 74"/>
                <a:gd name="T65" fmla="*/ 138 h 140"/>
                <a:gd name="T66" fmla="*/ 74 w 74"/>
                <a:gd name="T67" fmla="*/ 136 h 140"/>
                <a:gd name="T68" fmla="*/ 74 w 74"/>
                <a:gd name="T69" fmla="*/ 134 h 140"/>
                <a:gd name="T70" fmla="*/ 74 w 74"/>
                <a:gd name="T71" fmla="*/ 128 h 140"/>
                <a:gd name="T72" fmla="*/ 74 w 74"/>
                <a:gd name="T73" fmla="*/ 116 h 140"/>
                <a:gd name="T74" fmla="*/ 74 w 74"/>
                <a:gd name="T75" fmla="*/ 102 h 140"/>
                <a:gd name="T76" fmla="*/ 72 w 74"/>
                <a:gd name="T77" fmla="*/ 90 h 140"/>
                <a:gd name="T78" fmla="*/ 70 w 74"/>
                <a:gd name="T79" fmla="*/ 84 h 140"/>
                <a:gd name="T80" fmla="*/ 70 w 74"/>
                <a:gd name="T81" fmla="*/ 78 h 140"/>
                <a:gd name="T82" fmla="*/ 68 w 74"/>
                <a:gd name="T83" fmla="*/ 74 h 140"/>
                <a:gd name="T84" fmla="*/ 64 w 74"/>
                <a:gd name="T85" fmla="*/ 70 h 140"/>
                <a:gd name="T86" fmla="*/ 56 w 74"/>
                <a:gd name="T87" fmla="*/ 62 h 140"/>
                <a:gd name="T88" fmla="*/ 52 w 74"/>
                <a:gd name="T89" fmla="*/ 56 h 140"/>
                <a:gd name="T90" fmla="*/ 48 w 74"/>
                <a:gd name="T91" fmla="*/ 52 h 140"/>
                <a:gd name="T92" fmla="*/ 48 w 74"/>
                <a:gd name="T93" fmla="*/ 48 h 140"/>
                <a:gd name="T94" fmla="*/ 48 w 74"/>
                <a:gd name="T95" fmla="*/ 4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140">
                  <a:moveTo>
                    <a:pt x="48" y="46"/>
                  </a:moveTo>
                  <a:lnTo>
                    <a:pt x="48" y="46"/>
                  </a:lnTo>
                  <a:lnTo>
                    <a:pt x="46" y="46"/>
                  </a:lnTo>
                  <a:lnTo>
                    <a:pt x="46" y="46"/>
                  </a:lnTo>
                  <a:lnTo>
                    <a:pt x="46" y="44"/>
                  </a:lnTo>
                  <a:lnTo>
                    <a:pt x="46" y="44"/>
                  </a:lnTo>
                  <a:lnTo>
                    <a:pt x="44" y="42"/>
                  </a:lnTo>
                  <a:lnTo>
                    <a:pt x="42" y="42"/>
                  </a:lnTo>
                  <a:lnTo>
                    <a:pt x="42" y="42"/>
                  </a:lnTo>
                  <a:lnTo>
                    <a:pt x="38" y="40"/>
                  </a:lnTo>
                  <a:lnTo>
                    <a:pt x="34" y="38"/>
                  </a:lnTo>
                  <a:lnTo>
                    <a:pt x="30" y="38"/>
                  </a:lnTo>
                  <a:lnTo>
                    <a:pt x="30" y="38"/>
                  </a:lnTo>
                  <a:lnTo>
                    <a:pt x="28" y="36"/>
                  </a:lnTo>
                  <a:lnTo>
                    <a:pt x="26" y="36"/>
                  </a:lnTo>
                  <a:lnTo>
                    <a:pt x="26" y="34"/>
                  </a:lnTo>
                  <a:lnTo>
                    <a:pt x="24" y="34"/>
                  </a:lnTo>
                  <a:lnTo>
                    <a:pt x="24" y="32"/>
                  </a:lnTo>
                  <a:lnTo>
                    <a:pt x="22" y="28"/>
                  </a:lnTo>
                  <a:lnTo>
                    <a:pt x="22" y="26"/>
                  </a:lnTo>
                  <a:lnTo>
                    <a:pt x="20" y="20"/>
                  </a:lnTo>
                  <a:lnTo>
                    <a:pt x="18" y="14"/>
                  </a:lnTo>
                  <a:lnTo>
                    <a:pt x="16" y="8"/>
                  </a:lnTo>
                  <a:lnTo>
                    <a:pt x="14" y="4"/>
                  </a:lnTo>
                  <a:lnTo>
                    <a:pt x="14" y="0"/>
                  </a:lnTo>
                  <a:lnTo>
                    <a:pt x="0" y="12"/>
                  </a:lnTo>
                  <a:lnTo>
                    <a:pt x="2" y="22"/>
                  </a:lnTo>
                  <a:lnTo>
                    <a:pt x="2" y="30"/>
                  </a:lnTo>
                  <a:lnTo>
                    <a:pt x="2" y="36"/>
                  </a:lnTo>
                  <a:lnTo>
                    <a:pt x="2" y="42"/>
                  </a:lnTo>
                  <a:lnTo>
                    <a:pt x="4" y="50"/>
                  </a:lnTo>
                  <a:lnTo>
                    <a:pt x="4" y="56"/>
                  </a:lnTo>
                  <a:lnTo>
                    <a:pt x="4" y="64"/>
                  </a:lnTo>
                  <a:lnTo>
                    <a:pt x="6" y="72"/>
                  </a:lnTo>
                  <a:lnTo>
                    <a:pt x="6" y="80"/>
                  </a:lnTo>
                  <a:lnTo>
                    <a:pt x="6" y="84"/>
                  </a:lnTo>
                  <a:lnTo>
                    <a:pt x="8" y="86"/>
                  </a:lnTo>
                  <a:lnTo>
                    <a:pt x="8" y="90"/>
                  </a:lnTo>
                  <a:lnTo>
                    <a:pt x="10" y="92"/>
                  </a:lnTo>
                  <a:lnTo>
                    <a:pt x="10" y="94"/>
                  </a:lnTo>
                  <a:lnTo>
                    <a:pt x="10" y="94"/>
                  </a:lnTo>
                  <a:lnTo>
                    <a:pt x="12" y="98"/>
                  </a:lnTo>
                  <a:lnTo>
                    <a:pt x="16" y="102"/>
                  </a:lnTo>
                  <a:lnTo>
                    <a:pt x="18" y="104"/>
                  </a:lnTo>
                  <a:lnTo>
                    <a:pt x="22" y="112"/>
                  </a:lnTo>
                  <a:lnTo>
                    <a:pt x="28" y="116"/>
                  </a:lnTo>
                  <a:lnTo>
                    <a:pt x="30" y="120"/>
                  </a:lnTo>
                  <a:lnTo>
                    <a:pt x="34" y="126"/>
                  </a:lnTo>
                  <a:lnTo>
                    <a:pt x="36" y="128"/>
                  </a:lnTo>
                  <a:lnTo>
                    <a:pt x="38" y="130"/>
                  </a:lnTo>
                  <a:lnTo>
                    <a:pt x="40" y="132"/>
                  </a:lnTo>
                  <a:lnTo>
                    <a:pt x="40" y="134"/>
                  </a:lnTo>
                  <a:lnTo>
                    <a:pt x="42" y="134"/>
                  </a:lnTo>
                  <a:lnTo>
                    <a:pt x="44" y="136"/>
                  </a:lnTo>
                  <a:lnTo>
                    <a:pt x="48" y="136"/>
                  </a:lnTo>
                  <a:lnTo>
                    <a:pt x="52" y="138"/>
                  </a:lnTo>
                  <a:lnTo>
                    <a:pt x="58" y="140"/>
                  </a:lnTo>
                  <a:lnTo>
                    <a:pt x="60" y="140"/>
                  </a:lnTo>
                  <a:lnTo>
                    <a:pt x="62" y="140"/>
                  </a:lnTo>
                  <a:lnTo>
                    <a:pt x="64" y="140"/>
                  </a:lnTo>
                  <a:lnTo>
                    <a:pt x="66" y="140"/>
                  </a:lnTo>
                  <a:lnTo>
                    <a:pt x="68" y="140"/>
                  </a:lnTo>
                  <a:lnTo>
                    <a:pt x="70" y="140"/>
                  </a:lnTo>
                  <a:lnTo>
                    <a:pt x="70" y="138"/>
                  </a:lnTo>
                  <a:lnTo>
                    <a:pt x="72" y="138"/>
                  </a:lnTo>
                  <a:lnTo>
                    <a:pt x="72" y="138"/>
                  </a:lnTo>
                  <a:lnTo>
                    <a:pt x="72" y="138"/>
                  </a:lnTo>
                  <a:lnTo>
                    <a:pt x="74" y="136"/>
                  </a:lnTo>
                  <a:lnTo>
                    <a:pt x="74" y="134"/>
                  </a:lnTo>
                  <a:lnTo>
                    <a:pt x="74" y="134"/>
                  </a:lnTo>
                  <a:lnTo>
                    <a:pt x="74" y="130"/>
                  </a:lnTo>
                  <a:lnTo>
                    <a:pt x="74" y="128"/>
                  </a:lnTo>
                  <a:lnTo>
                    <a:pt x="74" y="122"/>
                  </a:lnTo>
                  <a:lnTo>
                    <a:pt x="74" y="116"/>
                  </a:lnTo>
                  <a:lnTo>
                    <a:pt x="74" y="110"/>
                  </a:lnTo>
                  <a:lnTo>
                    <a:pt x="74" y="102"/>
                  </a:lnTo>
                  <a:lnTo>
                    <a:pt x="72" y="96"/>
                  </a:lnTo>
                  <a:lnTo>
                    <a:pt x="72" y="90"/>
                  </a:lnTo>
                  <a:lnTo>
                    <a:pt x="72" y="86"/>
                  </a:lnTo>
                  <a:lnTo>
                    <a:pt x="70" y="84"/>
                  </a:lnTo>
                  <a:lnTo>
                    <a:pt x="70" y="80"/>
                  </a:lnTo>
                  <a:lnTo>
                    <a:pt x="70" y="78"/>
                  </a:lnTo>
                  <a:lnTo>
                    <a:pt x="68" y="76"/>
                  </a:lnTo>
                  <a:lnTo>
                    <a:pt x="68" y="74"/>
                  </a:lnTo>
                  <a:lnTo>
                    <a:pt x="66" y="72"/>
                  </a:lnTo>
                  <a:lnTo>
                    <a:pt x="64" y="70"/>
                  </a:lnTo>
                  <a:lnTo>
                    <a:pt x="60" y="66"/>
                  </a:lnTo>
                  <a:lnTo>
                    <a:pt x="56" y="62"/>
                  </a:lnTo>
                  <a:lnTo>
                    <a:pt x="54" y="58"/>
                  </a:lnTo>
                  <a:lnTo>
                    <a:pt x="52" y="56"/>
                  </a:lnTo>
                  <a:lnTo>
                    <a:pt x="50" y="54"/>
                  </a:lnTo>
                  <a:lnTo>
                    <a:pt x="48" y="52"/>
                  </a:lnTo>
                  <a:lnTo>
                    <a:pt x="48" y="50"/>
                  </a:lnTo>
                  <a:lnTo>
                    <a:pt x="48" y="48"/>
                  </a:lnTo>
                  <a:lnTo>
                    <a:pt x="48" y="46"/>
                  </a:lnTo>
                  <a:lnTo>
                    <a:pt x="48" y="46"/>
                  </a:lnTo>
                </a:path>
              </a:pathLst>
            </a:custGeom>
            <a:grp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5" name="Freeform 232">
              <a:extLst>
                <a:ext uri="{FF2B5EF4-FFF2-40B4-BE49-F238E27FC236}">
                  <a16:creationId xmlns:a16="http://schemas.microsoft.com/office/drawing/2014/main" id="{8BBB8F12-D989-4435-822F-D4D41A0B133C}"/>
                </a:ext>
              </a:extLst>
            </p:cNvPr>
            <p:cNvSpPr>
              <a:spLocks/>
            </p:cNvSpPr>
            <p:nvPr/>
          </p:nvSpPr>
          <p:spPr bwMode="auto">
            <a:xfrm>
              <a:off x="6766864" y="4351758"/>
              <a:ext cx="128174" cy="242490"/>
            </a:xfrm>
            <a:custGeom>
              <a:avLst/>
              <a:gdLst>
                <a:gd name="T0" fmla="*/ 48 w 74"/>
                <a:gd name="T1" fmla="*/ 46 h 140"/>
                <a:gd name="T2" fmla="*/ 46 w 74"/>
                <a:gd name="T3" fmla="*/ 46 h 140"/>
                <a:gd name="T4" fmla="*/ 46 w 74"/>
                <a:gd name="T5" fmla="*/ 44 h 140"/>
                <a:gd name="T6" fmla="*/ 42 w 74"/>
                <a:gd name="T7" fmla="*/ 42 h 140"/>
                <a:gd name="T8" fmla="*/ 38 w 74"/>
                <a:gd name="T9" fmla="*/ 40 h 140"/>
                <a:gd name="T10" fmla="*/ 30 w 74"/>
                <a:gd name="T11" fmla="*/ 38 h 140"/>
                <a:gd name="T12" fmla="*/ 28 w 74"/>
                <a:gd name="T13" fmla="*/ 36 h 140"/>
                <a:gd name="T14" fmla="*/ 26 w 74"/>
                <a:gd name="T15" fmla="*/ 34 h 140"/>
                <a:gd name="T16" fmla="*/ 24 w 74"/>
                <a:gd name="T17" fmla="*/ 32 h 140"/>
                <a:gd name="T18" fmla="*/ 22 w 74"/>
                <a:gd name="T19" fmla="*/ 26 h 140"/>
                <a:gd name="T20" fmla="*/ 18 w 74"/>
                <a:gd name="T21" fmla="*/ 14 h 140"/>
                <a:gd name="T22" fmla="*/ 14 w 74"/>
                <a:gd name="T23" fmla="*/ 4 h 140"/>
                <a:gd name="T24" fmla="*/ 0 w 74"/>
                <a:gd name="T25" fmla="*/ 12 h 140"/>
                <a:gd name="T26" fmla="*/ 2 w 74"/>
                <a:gd name="T27" fmla="*/ 30 h 140"/>
                <a:gd name="T28" fmla="*/ 2 w 74"/>
                <a:gd name="T29" fmla="*/ 42 h 140"/>
                <a:gd name="T30" fmla="*/ 4 w 74"/>
                <a:gd name="T31" fmla="*/ 56 h 140"/>
                <a:gd name="T32" fmla="*/ 6 w 74"/>
                <a:gd name="T33" fmla="*/ 72 h 140"/>
                <a:gd name="T34" fmla="*/ 6 w 74"/>
                <a:gd name="T35" fmla="*/ 84 h 140"/>
                <a:gd name="T36" fmla="*/ 8 w 74"/>
                <a:gd name="T37" fmla="*/ 90 h 140"/>
                <a:gd name="T38" fmla="*/ 10 w 74"/>
                <a:gd name="T39" fmla="*/ 94 h 140"/>
                <a:gd name="T40" fmla="*/ 12 w 74"/>
                <a:gd name="T41" fmla="*/ 98 h 140"/>
                <a:gd name="T42" fmla="*/ 18 w 74"/>
                <a:gd name="T43" fmla="*/ 104 h 140"/>
                <a:gd name="T44" fmla="*/ 28 w 74"/>
                <a:gd name="T45" fmla="*/ 116 h 140"/>
                <a:gd name="T46" fmla="*/ 34 w 74"/>
                <a:gd name="T47" fmla="*/ 126 h 140"/>
                <a:gd name="T48" fmla="*/ 38 w 74"/>
                <a:gd name="T49" fmla="*/ 130 h 140"/>
                <a:gd name="T50" fmla="*/ 40 w 74"/>
                <a:gd name="T51" fmla="*/ 134 h 140"/>
                <a:gd name="T52" fmla="*/ 44 w 74"/>
                <a:gd name="T53" fmla="*/ 136 h 140"/>
                <a:gd name="T54" fmla="*/ 52 w 74"/>
                <a:gd name="T55" fmla="*/ 138 h 140"/>
                <a:gd name="T56" fmla="*/ 60 w 74"/>
                <a:gd name="T57" fmla="*/ 140 h 140"/>
                <a:gd name="T58" fmla="*/ 64 w 74"/>
                <a:gd name="T59" fmla="*/ 140 h 140"/>
                <a:gd name="T60" fmla="*/ 68 w 74"/>
                <a:gd name="T61" fmla="*/ 140 h 140"/>
                <a:gd name="T62" fmla="*/ 70 w 74"/>
                <a:gd name="T63" fmla="*/ 138 h 140"/>
                <a:gd name="T64" fmla="*/ 72 w 74"/>
                <a:gd name="T65" fmla="*/ 138 h 140"/>
                <a:gd name="T66" fmla="*/ 74 w 74"/>
                <a:gd name="T67" fmla="*/ 136 h 140"/>
                <a:gd name="T68" fmla="*/ 74 w 74"/>
                <a:gd name="T69" fmla="*/ 134 h 140"/>
                <a:gd name="T70" fmla="*/ 74 w 74"/>
                <a:gd name="T71" fmla="*/ 128 h 140"/>
                <a:gd name="T72" fmla="*/ 74 w 74"/>
                <a:gd name="T73" fmla="*/ 116 h 140"/>
                <a:gd name="T74" fmla="*/ 74 w 74"/>
                <a:gd name="T75" fmla="*/ 102 h 140"/>
                <a:gd name="T76" fmla="*/ 72 w 74"/>
                <a:gd name="T77" fmla="*/ 90 h 140"/>
                <a:gd name="T78" fmla="*/ 70 w 74"/>
                <a:gd name="T79" fmla="*/ 84 h 140"/>
                <a:gd name="T80" fmla="*/ 70 w 74"/>
                <a:gd name="T81" fmla="*/ 78 h 140"/>
                <a:gd name="T82" fmla="*/ 68 w 74"/>
                <a:gd name="T83" fmla="*/ 74 h 140"/>
                <a:gd name="T84" fmla="*/ 64 w 74"/>
                <a:gd name="T85" fmla="*/ 70 h 140"/>
                <a:gd name="T86" fmla="*/ 56 w 74"/>
                <a:gd name="T87" fmla="*/ 62 h 140"/>
                <a:gd name="T88" fmla="*/ 52 w 74"/>
                <a:gd name="T89" fmla="*/ 56 h 140"/>
                <a:gd name="T90" fmla="*/ 48 w 74"/>
                <a:gd name="T91" fmla="*/ 52 h 140"/>
                <a:gd name="T92" fmla="*/ 48 w 74"/>
                <a:gd name="T93" fmla="*/ 48 h 140"/>
                <a:gd name="T94" fmla="*/ 48 w 74"/>
                <a:gd name="T95" fmla="*/ 4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140">
                  <a:moveTo>
                    <a:pt x="48" y="46"/>
                  </a:moveTo>
                  <a:lnTo>
                    <a:pt x="48" y="46"/>
                  </a:lnTo>
                  <a:lnTo>
                    <a:pt x="46" y="46"/>
                  </a:lnTo>
                  <a:lnTo>
                    <a:pt x="46" y="46"/>
                  </a:lnTo>
                  <a:lnTo>
                    <a:pt x="46" y="44"/>
                  </a:lnTo>
                  <a:lnTo>
                    <a:pt x="46" y="44"/>
                  </a:lnTo>
                  <a:lnTo>
                    <a:pt x="44" y="42"/>
                  </a:lnTo>
                  <a:lnTo>
                    <a:pt x="42" y="42"/>
                  </a:lnTo>
                  <a:lnTo>
                    <a:pt x="42" y="42"/>
                  </a:lnTo>
                  <a:lnTo>
                    <a:pt x="38" y="40"/>
                  </a:lnTo>
                  <a:lnTo>
                    <a:pt x="34" y="38"/>
                  </a:lnTo>
                  <a:lnTo>
                    <a:pt x="30" y="38"/>
                  </a:lnTo>
                  <a:lnTo>
                    <a:pt x="30" y="38"/>
                  </a:lnTo>
                  <a:lnTo>
                    <a:pt x="28" y="36"/>
                  </a:lnTo>
                  <a:lnTo>
                    <a:pt x="26" y="36"/>
                  </a:lnTo>
                  <a:lnTo>
                    <a:pt x="26" y="34"/>
                  </a:lnTo>
                  <a:lnTo>
                    <a:pt x="24" y="34"/>
                  </a:lnTo>
                  <a:lnTo>
                    <a:pt x="24" y="32"/>
                  </a:lnTo>
                  <a:lnTo>
                    <a:pt x="22" y="28"/>
                  </a:lnTo>
                  <a:lnTo>
                    <a:pt x="22" y="26"/>
                  </a:lnTo>
                  <a:lnTo>
                    <a:pt x="20" y="20"/>
                  </a:lnTo>
                  <a:lnTo>
                    <a:pt x="18" y="14"/>
                  </a:lnTo>
                  <a:lnTo>
                    <a:pt x="16" y="8"/>
                  </a:lnTo>
                  <a:lnTo>
                    <a:pt x="14" y="4"/>
                  </a:lnTo>
                  <a:lnTo>
                    <a:pt x="14" y="0"/>
                  </a:lnTo>
                  <a:lnTo>
                    <a:pt x="0" y="12"/>
                  </a:lnTo>
                  <a:lnTo>
                    <a:pt x="2" y="22"/>
                  </a:lnTo>
                  <a:lnTo>
                    <a:pt x="2" y="30"/>
                  </a:lnTo>
                  <a:lnTo>
                    <a:pt x="2" y="36"/>
                  </a:lnTo>
                  <a:lnTo>
                    <a:pt x="2" y="42"/>
                  </a:lnTo>
                  <a:lnTo>
                    <a:pt x="4" y="50"/>
                  </a:lnTo>
                  <a:lnTo>
                    <a:pt x="4" y="56"/>
                  </a:lnTo>
                  <a:lnTo>
                    <a:pt x="4" y="64"/>
                  </a:lnTo>
                  <a:lnTo>
                    <a:pt x="6" y="72"/>
                  </a:lnTo>
                  <a:lnTo>
                    <a:pt x="6" y="80"/>
                  </a:lnTo>
                  <a:lnTo>
                    <a:pt x="6" y="84"/>
                  </a:lnTo>
                  <a:lnTo>
                    <a:pt x="8" y="86"/>
                  </a:lnTo>
                  <a:lnTo>
                    <a:pt x="8" y="90"/>
                  </a:lnTo>
                  <a:lnTo>
                    <a:pt x="10" y="92"/>
                  </a:lnTo>
                  <a:lnTo>
                    <a:pt x="10" y="94"/>
                  </a:lnTo>
                  <a:lnTo>
                    <a:pt x="10" y="94"/>
                  </a:lnTo>
                  <a:lnTo>
                    <a:pt x="12" y="98"/>
                  </a:lnTo>
                  <a:lnTo>
                    <a:pt x="16" y="102"/>
                  </a:lnTo>
                  <a:lnTo>
                    <a:pt x="18" y="104"/>
                  </a:lnTo>
                  <a:lnTo>
                    <a:pt x="22" y="112"/>
                  </a:lnTo>
                  <a:lnTo>
                    <a:pt x="28" y="116"/>
                  </a:lnTo>
                  <a:lnTo>
                    <a:pt x="30" y="120"/>
                  </a:lnTo>
                  <a:lnTo>
                    <a:pt x="34" y="126"/>
                  </a:lnTo>
                  <a:lnTo>
                    <a:pt x="36" y="128"/>
                  </a:lnTo>
                  <a:lnTo>
                    <a:pt x="38" y="130"/>
                  </a:lnTo>
                  <a:lnTo>
                    <a:pt x="40" y="132"/>
                  </a:lnTo>
                  <a:lnTo>
                    <a:pt x="40" y="134"/>
                  </a:lnTo>
                  <a:lnTo>
                    <a:pt x="42" y="134"/>
                  </a:lnTo>
                  <a:lnTo>
                    <a:pt x="44" y="136"/>
                  </a:lnTo>
                  <a:lnTo>
                    <a:pt x="48" y="136"/>
                  </a:lnTo>
                  <a:lnTo>
                    <a:pt x="52" y="138"/>
                  </a:lnTo>
                  <a:lnTo>
                    <a:pt x="58" y="140"/>
                  </a:lnTo>
                  <a:lnTo>
                    <a:pt x="60" y="140"/>
                  </a:lnTo>
                  <a:lnTo>
                    <a:pt x="62" y="140"/>
                  </a:lnTo>
                  <a:lnTo>
                    <a:pt x="64" y="140"/>
                  </a:lnTo>
                  <a:lnTo>
                    <a:pt x="66" y="140"/>
                  </a:lnTo>
                  <a:lnTo>
                    <a:pt x="68" y="140"/>
                  </a:lnTo>
                  <a:lnTo>
                    <a:pt x="70" y="140"/>
                  </a:lnTo>
                  <a:lnTo>
                    <a:pt x="70" y="138"/>
                  </a:lnTo>
                  <a:lnTo>
                    <a:pt x="72" y="138"/>
                  </a:lnTo>
                  <a:lnTo>
                    <a:pt x="72" y="138"/>
                  </a:lnTo>
                  <a:lnTo>
                    <a:pt x="72" y="138"/>
                  </a:lnTo>
                  <a:lnTo>
                    <a:pt x="74" y="136"/>
                  </a:lnTo>
                  <a:lnTo>
                    <a:pt x="74" y="134"/>
                  </a:lnTo>
                  <a:lnTo>
                    <a:pt x="74" y="134"/>
                  </a:lnTo>
                  <a:lnTo>
                    <a:pt x="74" y="130"/>
                  </a:lnTo>
                  <a:lnTo>
                    <a:pt x="74" y="128"/>
                  </a:lnTo>
                  <a:lnTo>
                    <a:pt x="74" y="122"/>
                  </a:lnTo>
                  <a:lnTo>
                    <a:pt x="74" y="116"/>
                  </a:lnTo>
                  <a:lnTo>
                    <a:pt x="74" y="110"/>
                  </a:lnTo>
                  <a:lnTo>
                    <a:pt x="74" y="102"/>
                  </a:lnTo>
                  <a:lnTo>
                    <a:pt x="72" y="96"/>
                  </a:lnTo>
                  <a:lnTo>
                    <a:pt x="72" y="90"/>
                  </a:lnTo>
                  <a:lnTo>
                    <a:pt x="72" y="86"/>
                  </a:lnTo>
                  <a:lnTo>
                    <a:pt x="70" y="84"/>
                  </a:lnTo>
                  <a:lnTo>
                    <a:pt x="70" y="80"/>
                  </a:lnTo>
                  <a:lnTo>
                    <a:pt x="70" y="78"/>
                  </a:lnTo>
                  <a:lnTo>
                    <a:pt x="68" y="76"/>
                  </a:lnTo>
                  <a:lnTo>
                    <a:pt x="68" y="74"/>
                  </a:lnTo>
                  <a:lnTo>
                    <a:pt x="66" y="72"/>
                  </a:lnTo>
                  <a:lnTo>
                    <a:pt x="64" y="70"/>
                  </a:lnTo>
                  <a:lnTo>
                    <a:pt x="60" y="66"/>
                  </a:lnTo>
                  <a:lnTo>
                    <a:pt x="56" y="62"/>
                  </a:lnTo>
                  <a:lnTo>
                    <a:pt x="54" y="58"/>
                  </a:lnTo>
                  <a:lnTo>
                    <a:pt x="52" y="56"/>
                  </a:lnTo>
                  <a:lnTo>
                    <a:pt x="50" y="54"/>
                  </a:lnTo>
                  <a:lnTo>
                    <a:pt x="48" y="52"/>
                  </a:lnTo>
                  <a:lnTo>
                    <a:pt x="48" y="50"/>
                  </a:lnTo>
                  <a:lnTo>
                    <a:pt x="48" y="48"/>
                  </a:lnTo>
                  <a:lnTo>
                    <a:pt x="48" y="46"/>
                  </a:lnTo>
                  <a:lnTo>
                    <a:pt x="48" y="46"/>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6" name="Freeform 234">
              <a:extLst>
                <a:ext uri="{FF2B5EF4-FFF2-40B4-BE49-F238E27FC236}">
                  <a16:creationId xmlns:a16="http://schemas.microsoft.com/office/drawing/2014/main" id="{08143519-DE62-40B8-AED9-60C6531AEDF0}"/>
                </a:ext>
              </a:extLst>
            </p:cNvPr>
            <p:cNvSpPr>
              <a:spLocks/>
            </p:cNvSpPr>
            <p:nvPr/>
          </p:nvSpPr>
          <p:spPr bwMode="auto">
            <a:xfrm>
              <a:off x="4487453" y="1871427"/>
              <a:ext cx="290989" cy="176672"/>
            </a:xfrm>
            <a:custGeom>
              <a:avLst/>
              <a:gdLst>
                <a:gd name="T0" fmla="*/ 64 w 168"/>
                <a:gd name="T1" fmla="*/ 8 h 102"/>
                <a:gd name="T2" fmla="*/ 64 w 168"/>
                <a:gd name="T3" fmla="*/ 20 h 102"/>
                <a:gd name="T4" fmla="*/ 60 w 168"/>
                <a:gd name="T5" fmla="*/ 26 h 102"/>
                <a:gd name="T6" fmla="*/ 56 w 168"/>
                <a:gd name="T7" fmla="*/ 24 h 102"/>
                <a:gd name="T8" fmla="*/ 46 w 168"/>
                <a:gd name="T9" fmla="*/ 14 h 102"/>
                <a:gd name="T10" fmla="*/ 42 w 168"/>
                <a:gd name="T11" fmla="*/ 12 h 102"/>
                <a:gd name="T12" fmla="*/ 34 w 168"/>
                <a:gd name="T13" fmla="*/ 20 h 102"/>
                <a:gd name="T14" fmla="*/ 28 w 168"/>
                <a:gd name="T15" fmla="*/ 22 h 102"/>
                <a:gd name="T16" fmla="*/ 26 w 168"/>
                <a:gd name="T17" fmla="*/ 16 h 102"/>
                <a:gd name="T18" fmla="*/ 22 w 168"/>
                <a:gd name="T19" fmla="*/ 6 h 102"/>
                <a:gd name="T20" fmla="*/ 18 w 168"/>
                <a:gd name="T21" fmla="*/ 4 h 102"/>
                <a:gd name="T22" fmla="*/ 10 w 168"/>
                <a:gd name="T23" fmla="*/ 8 h 102"/>
                <a:gd name="T24" fmla="*/ 4 w 168"/>
                <a:gd name="T25" fmla="*/ 14 h 102"/>
                <a:gd name="T26" fmla="*/ 0 w 168"/>
                <a:gd name="T27" fmla="*/ 20 h 102"/>
                <a:gd name="T28" fmla="*/ 4 w 168"/>
                <a:gd name="T29" fmla="*/ 28 h 102"/>
                <a:gd name="T30" fmla="*/ 6 w 168"/>
                <a:gd name="T31" fmla="*/ 40 h 102"/>
                <a:gd name="T32" fmla="*/ 8 w 168"/>
                <a:gd name="T33" fmla="*/ 48 h 102"/>
                <a:gd name="T34" fmla="*/ 12 w 168"/>
                <a:gd name="T35" fmla="*/ 50 h 102"/>
                <a:gd name="T36" fmla="*/ 26 w 168"/>
                <a:gd name="T37" fmla="*/ 52 h 102"/>
                <a:gd name="T38" fmla="*/ 32 w 168"/>
                <a:gd name="T39" fmla="*/ 50 h 102"/>
                <a:gd name="T40" fmla="*/ 38 w 168"/>
                <a:gd name="T41" fmla="*/ 42 h 102"/>
                <a:gd name="T42" fmla="*/ 44 w 168"/>
                <a:gd name="T43" fmla="*/ 38 h 102"/>
                <a:gd name="T44" fmla="*/ 50 w 168"/>
                <a:gd name="T45" fmla="*/ 38 h 102"/>
                <a:gd name="T46" fmla="*/ 54 w 168"/>
                <a:gd name="T47" fmla="*/ 42 h 102"/>
                <a:gd name="T48" fmla="*/ 52 w 168"/>
                <a:gd name="T49" fmla="*/ 48 h 102"/>
                <a:gd name="T50" fmla="*/ 46 w 168"/>
                <a:gd name="T51" fmla="*/ 62 h 102"/>
                <a:gd name="T52" fmla="*/ 46 w 168"/>
                <a:gd name="T53" fmla="*/ 68 h 102"/>
                <a:gd name="T54" fmla="*/ 52 w 168"/>
                <a:gd name="T55" fmla="*/ 74 h 102"/>
                <a:gd name="T56" fmla="*/ 60 w 168"/>
                <a:gd name="T57" fmla="*/ 82 h 102"/>
                <a:gd name="T58" fmla="*/ 68 w 168"/>
                <a:gd name="T59" fmla="*/ 96 h 102"/>
                <a:gd name="T60" fmla="*/ 76 w 168"/>
                <a:gd name="T61" fmla="*/ 100 h 102"/>
                <a:gd name="T62" fmla="*/ 84 w 168"/>
                <a:gd name="T63" fmla="*/ 102 h 102"/>
                <a:gd name="T64" fmla="*/ 86 w 168"/>
                <a:gd name="T65" fmla="*/ 96 h 102"/>
                <a:gd name="T66" fmla="*/ 88 w 168"/>
                <a:gd name="T67" fmla="*/ 82 h 102"/>
                <a:gd name="T68" fmla="*/ 90 w 168"/>
                <a:gd name="T69" fmla="*/ 72 h 102"/>
                <a:gd name="T70" fmla="*/ 100 w 168"/>
                <a:gd name="T71" fmla="*/ 58 h 102"/>
                <a:gd name="T72" fmla="*/ 108 w 168"/>
                <a:gd name="T73" fmla="*/ 54 h 102"/>
                <a:gd name="T74" fmla="*/ 114 w 168"/>
                <a:gd name="T75" fmla="*/ 54 h 102"/>
                <a:gd name="T76" fmla="*/ 122 w 168"/>
                <a:gd name="T77" fmla="*/ 60 h 102"/>
                <a:gd name="T78" fmla="*/ 122 w 168"/>
                <a:gd name="T79" fmla="*/ 68 h 102"/>
                <a:gd name="T80" fmla="*/ 120 w 168"/>
                <a:gd name="T81" fmla="*/ 76 h 102"/>
                <a:gd name="T82" fmla="*/ 126 w 168"/>
                <a:gd name="T83" fmla="*/ 80 h 102"/>
                <a:gd name="T84" fmla="*/ 138 w 168"/>
                <a:gd name="T85" fmla="*/ 78 h 102"/>
                <a:gd name="T86" fmla="*/ 148 w 168"/>
                <a:gd name="T87" fmla="*/ 76 h 102"/>
                <a:gd name="T88" fmla="*/ 154 w 168"/>
                <a:gd name="T89" fmla="*/ 80 h 102"/>
                <a:gd name="T90" fmla="*/ 160 w 168"/>
                <a:gd name="T91" fmla="*/ 80 h 102"/>
                <a:gd name="T92" fmla="*/ 164 w 168"/>
                <a:gd name="T93" fmla="*/ 74 h 102"/>
                <a:gd name="T94" fmla="*/ 168 w 168"/>
                <a:gd name="T95" fmla="*/ 66 h 102"/>
                <a:gd name="T96" fmla="*/ 166 w 168"/>
                <a:gd name="T97" fmla="*/ 58 h 102"/>
                <a:gd name="T98" fmla="*/ 158 w 168"/>
                <a:gd name="T99" fmla="*/ 54 h 102"/>
                <a:gd name="T100" fmla="*/ 132 w 168"/>
                <a:gd name="T101" fmla="*/ 44 h 102"/>
                <a:gd name="T102" fmla="*/ 114 w 168"/>
                <a:gd name="T103" fmla="*/ 36 h 102"/>
                <a:gd name="T104" fmla="*/ 106 w 168"/>
                <a:gd name="T105" fmla="*/ 30 h 102"/>
                <a:gd name="T106" fmla="*/ 98 w 168"/>
                <a:gd name="T107" fmla="*/ 12 h 102"/>
                <a:gd name="T108" fmla="*/ 92 w 168"/>
                <a:gd name="T109" fmla="*/ 4 h 102"/>
                <a:gd name="T110" fmla="*/ 86 w 168"/>
                <a:gd name="T111" fmla="*/ 0 h 102"/>
                <a:gd name="T112" fmla="*/ 72 w 168"/>
                <a:gd name="T113" fmla="*/ 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 h="102">
                  <a:moveTo>
                    <a:pt x="66" y="4"/>
                  </a:moveTo>
                  <a:lnTo>
                    <a:pt x="66" y="4"/>
                  </a:lnTo>
                  <a:lnTo>
                    <a:pt x="66" y="6"/>
                  </a:lnTo>
                  <a:lnTo>
                    <a:pt x="66" y="6"/>
                  </a:lnTo>
                  <a:lnTo>
                    <a:pt x="64" y="8"/>
                  </a:lnTo>
                  <a:lnTo>
                    <a:pt x="64" y="8"/>
                  </a:lnTo>
                  <a:lnTo>
                    <a:pt x="64" y="12"/>
                  </a:lnTo>
                  <a:lnTo>
                    <a:pt x="64" y="16"/>
                  </a:lnTo>
                  <a:lnTo>
                    <a:pt x="64" y="18"/>
                  </a:lnTo>
                  <a:lnTo>
                    <a:pt x="64" y="20"/>
                  </a:lnTo>
                  <a:lnTo>
                    <a:pt x="64" y="22"/>
                  </a:lnTo>
                  <a:lnTo>
                    <a:pt x="64" y="22"/>
                  </a:lnTo>
                  <a:lnTo>
                    <a:pt x="62" y="24"/>
                  </a:lnTo>
                  <a:lnTo>
                    <a:pt x="62" y="24"/>
                  </a:lnTo>
                  <a:lnTo>
                    <a:pt x="60" y="26"/>
                  </a:lnTo>
                  <a:lnTo>
                    <a:pt x="60" y="26"/>
                  </a:lnTo>
                  <a:lnTo>
                    <a:pt x="60" y="26"/>
                  </a:lnTo>
                  <a:lnTo>
                    <a:pt x="58" y="24"/>
                  </a:lnTo>
                  <a:lnTo>
                    <a:pt x="56" y="24"/>
                  </a:lnTo>
                  <a:lnTo>
                    <a:pt x="56" y="24"/>
                  </a:lnTo>
                  <a:lnTo>
                    <a:pt x="54" y="22"/>
                  </a:lnTo>
                  <a:lnTo>
                    <a:pt x="52" y="20"/>
                  </a:lnTo>
                  <a:lnTo>
                    <a:pt x="50" y="16"/>
                  </a:lnTo>
                  <a:lnTo>
                    <a:pt x="48" y="14"/>
                  </a:lnTo>
                  <a:lnTo>
                    <a:pt x="46" y="14"/>
                  </a:lnTo>
                  <a:lnTo>
                    <a:pt x="46" y="14"/>
                  </a:lnTo>
                  <a:lnTo>
                    <a:pt x="44" y="12"/>
                  </a:lnTo>
                  <a:lnTo>
                    <a:pt x="44" y="12"/>
                  </a:lnTo>
                  <a:lnTo>
                    <a:pt x="42" y="12"/>
                  </a:lnTo>
                  <a:lnTo>
                    <a:pt x="42" y="12"/>
                  </a:lnTo>
                  <a:lnTo>
                    <a:pt x="40" y="14"/>
                  </a:lnTo>
                  <a:lnTo>
                    <a:pt x="40" y="14"/>
                  </a:lnTo>
                  <a:lnTo>
                    <a:pt x="38" y="16"/>
                  </a:lnTo>
                  <a:lnTo>
                    <a:pt x="36" y="18"/>
                  </a:lnTo>
                  <a:lnTo>
                    <a:pt x="34" y="20"/>
                  </a:lnTo>
                  <a:lnTo>
                    <a:pt x="32" y="22"/>
                  </a:lnTo>
                  <a:lnTo>
                    <a:pt x="30" y="22"/>
                  </a:lnTo>
                  <a:lnTo>
                    <a:pt x="30" y="22"/>
                  </a:lnTo>
                  <a:lnTo>
                    <a:pt x="30" y="22"/>
                  </a:lnTo>
                  <a:lnTo>
                    <a:pt x="28" y="22"/>
                  </a:lnTo>
                  <a:lnTo>
                    <a:pt x="28" y="22"/>
                  </a:lnTo>
                  <a:lnTo>
                    <a:pt x="26" y="22"/>
                  </a:lnTo>
                  <a:lnTo>
                    <a:pt x="26" y="20"/>
                  </a:lnTo>
                  <a:lnTo>
                    <a:pt x="26" y="20"/>
                  </a:lnTo>
                  <a:lnTo>
                    <a:pt x="26" y="16"/>
                  </a:lnTo>
                  <a:lnTo>
                    <a:pt x="24" y="14"/>
                  </a:lnTo>
                  <a:lnTo>
                    <a:pt x="24" y="10"/>
                  </a:lnTo>
                  <a:lnTo>
                    <a:pt x="24" y="10"/>
                  </a:lnTo>
                  <a:lnTo>
                    <a:pt x="24" y="8"/>
                  </a:lnTo>
                  <a:lnTo>
                    <a:pt x="22" y="6"/>
                  </a:lnTo>
                  <a:lnTo>
                    <a:pt x="22" y="6"/>
                  </a:lnTo>
                  <a:lnTo>
                    <a:pt x="22" y="6"/>
                  </a:lnTo>
                  <a:lnTo>
                    <a:pt x="20" y="4"/>
                  </a:lnTo>
                  <a:lnTo>
                    <a:pt x="20" y="4"/>
                  </a:lnTo>
                  <a:lnTo>
                    <a:pt x="18" y="4"/>
                  </a:lnTo>
                  <a:lnTo>
                    <a:pt x="16" y="6"/>
                  </a:lnTo>
                  <a:lnTo>
                    <a:pt x="16" y="6"/>
                  </a:lnTo>
                  <a:lnTo>
                    <a:pt x="14" y="6"/>
                  </a:lnTo>
                  <a:lnTo>
                    <a:pt x="12" y="8"/>
                  </a:lnTo>
                  <a:lnTo>
                    <a:pt x="10" y="8"/>
                  </a:lnTo>
                  <a:lnTo>
                    <a:pt x="8" y="10"/>
                  </a:lnTo>
                  <a:lnTo>
                    <a:pt x="8" y="10"/>
                  </a:lnTo>
                  <a:lnTo>
                    <a:pt x="6" y="12"/>
                  </a:lnTo>
                  <a:lnTo>
                    <a:pt x="4" y="14"/>
                  </a:lnTo>
                  <a:lnTo>
                    <a:pt x="4" y="14"/>
                  </a:lnTo>
                  <a:lnTo>
                    <a:pt x="2" y="16"/>
                  </a:lnTo>
                  <a:lnTo>
                    <a:pt x="2" y="18"/>
                  </a:lnTo>
                  <a:lnTo>
                    <a:pt x="0" y="18"/>
                  </a:lnTo>
                  <a:lnTo>
                    <a:pt x="0" y="20"/>
                  </a:lnTo>
                  <a:lnTo>
                    <a:pt x="0" y="20"/>
                  </a:lnTo>
                  <a:lnTo>
                    <a:pt x="0" y="22"/>
                  </a:lnTo>
                  <a:lnTo>
                    <a:pt x="0" y="22"/>
                  </a:lnTo>
                  <a:lnTo>
                    <a:pt x="2" y="24"/>
                  </a:lnTo>
                  <a:lnTo>
                    <a:pt x="2" y="26"/>
                  </a:lnTo>
                  <a:lnTo>
                    <a:pt x="4" y="28"/>
                  </a:lnTo>
                  <a:lnTo>
                    <a:pt x="4" y="30"/>
                  </a:lnTo>
                  <a:lnTo>
                    <a:pt x="6" y="30"/>
                  </a:lnTo>
                  <a:lnTo>
                    <a:pt x="6" y="32"/>
                  </a:lnTo>
                  <a:lnTo>
                    <a:pt x="6" y="34"/>
                  </a:lnTo>
                  <a:lnTo>
                    <a:pt x="6" y="40"/>
                  </a:lnTo>
                  <a:lnTo>
                    <a:pt x="6" y="42"/>
                  </a:lnTo>
                  <a:lnTo>
                    <a:pt x="6" y="44"/>
                  </a:lnTo>
                  <a:lnTo>
                    <a:pt x="6" y="46"/>
                  </a:lnTo>
                  <a:lnTo>
                    <a:pt x="6" y="46"/>
                  </a:lnTo>
                  <a:lnTo>
                    <a:pt x="8" y="48"/>
                  </a:lnTo>
                  <a:lnTo>
                    <a:pt x="8" y="48"/>
                  </a:lnTo>
                  <a:lnTo>
                    <a:pt x="8" y="48"/>
                  </a:lnTo>
                  <a:lnTo>
                    <a:pt x="10" y="50"/>
                  </a:lnTo>
                  <a:lnTo>
                    <a:pt x="12" y="50"/>
                  </a:lnTo>
                  <a:lnTo>
                    <a:pt x="12" y="50"/>
                  </a:lnTo>
                  <a:lnTo>
                    <a:pt x="14" y="50"/>
                  </a:lnTo>
                  <a:lnTo>
                    <a:pt x="16" y="50"/>
                  </a:lnTo>
                  <a:lnTo>
                    <a:pt x="18" y="52"/>
                  </a:lnTo>
                  <a:lnTo>
                    <a:pt x="22" y="52"/>
                  </a:lnTo>
                  <a:lnTo>
                    <a:pt x="26" y="52"/>
                  </a:lnTo>
                  <a:lnTo>
                    <a:pt x="28" y="52"/>
                  </a:lnTo>
                  <a:lnTo>
                    <a:pt x="30" y="50"/>
                  </a:lnTo>
                  <a:lnTo>
                    <a:pt x="30" y="50"/>
                  </a:lnTo>
                  <a:lnTo>
                    <a:pt x="32" y="50"/>
                  </a:lnTo>
                  <a:lnTo>
                    <a:pt x="32" y="50"/>
                  </a:lnTo>
                  <a:lnTo>
                    <a:pt x="32" y="48"/>
                  </a:lnTo>
                  <a:lnTo>
                    <a:pt x="34" y="48"/>
                  </a:lnTo>
                  <a:lnTo>
                    <a:pt x="36" y="46"/>
                  </a:lnTo>
                  <a:lnTo>
                    <a:pt x="38" y="44"/>
                  </a:lnTo>
                  <a:lnTo>
                    <a:pt x="38" y="42"/>
                  </a:lnTo>
                  <a:lnTo>
                    <a:pt x="40" y="40"/>
                  </a:lnTo>
                  <a:lnTo>
                    <a:pt x="40" y="40"/>
                  </a:lnTo>
                  <a:lnTo>
                    <a:pt x="42" y="38"/>
                  </a:lnTo>
                  <a:lnTo>
                    <a:pt x="42" y="38"/>
                  </a:lnTo>
                  <a:lnTo>
                    <a:pt x="44" y="38"/>
                  </a:lnTo>
                  <a:lnTo>
                    <a:pt x="44" y="38"/>
                  </a:lnTo>
                  <a:lnTo>
                    <a:pt x="46" y="38"/>
                  </a:lnTo>
                  <a:lnTo>
                    <a:pt x="48" y="38"/>
                  </a:lnTo>
                  <a:lnTo>
                    <a:pt x="48" y="38"/>
                  </a:lnTo>
                  <a:lnTo>
                    <a:pt x="50" y="38"/>
                  </a:lnTo>
                  <a:lnTo>
                    <a:pt x="52" y="38"/>
                  </a:lnTo>
                  <a:lnTo>
                    <a:pt x="52" y="40"/>
                  </a:lnTo>
                  <a:lnTo>
                    <a:pt x="54" y="40"/>
                  </a:lnTo>
                  <a:lnTo>
                    <a:pt x="54" y="40"/>
                  </a:lnTo>
                  <a:lnTo>
                    <a:pt x="54" y="42"/>
                  </a:lnTo>
                  <a:lnTo>
                    <a:pt x="54" y="42"/>
                  </a:lnTo>
                  <a:lnTo>
                    <a:pt x="54" y="42"/>
                  </a:lnTo>
                  <a:lnTo>
                    <a:pt x="54" y="44"/>
                  </a:lnTo>
                  <a:lnTo>
                    <a:pt x="52" y="46"/>
                  </a:lnTo>
                  <a:lnTo>
                    <a:pt x="52" y="48"/>
                  </a:lnTo>
                  <a:lnTo>
                    <a:pt x="50" y="52"/>
                  </a:lnTo>
                  <a:lnTo>
                    <a:pt x="48" y="54"/>
                  </a:lnTo>
                  <a:lnTo>
                    <a:pt x="48" y="56"/>
                  </a:lnTo>
                  <a:lnTo>
                    <a:pt x="48" y="58"/>
                  </a:lnTo>
                  <a:lnTo>
                    <a:pt x="46" y="62"/>
                  </a:lnTo>
                  <a:lnTo>
                    <a:pt x="46" y="64"/>
                  </a:lnTo>
                  <a:lnTo>
                    <a:pt x="46" y="66"/>
                  </a:lnTo>
                  <a:lnTo>
                    <a:pt x="46" y="66"/>
                  </a:lnTo>
                  <a:lnTo>
                    <a:pt x="46" y="68"/>
                  </a:lnTo>
                  <a:lnTo>
                    <a:pt x="46" y="68"/>
                  </a:lnTo>
                  <a:lnTo>
                    <a:pt x="46" y="68"/>
                  </a:lnTo>
                  <a:lnTo>
                    <a:pt x="46" y="70"/>
                  </a:lnTo>
                  <a:lnTo>
                    <a:pt x="48" y="70"/>
                  </a:lnTo>
                  <a:lnTo>
                    <a:pt x="50" y="72"/>
                  </a:lnTo>
                  <a:lnTo>
                    <a:pt x="52" y="74"/>
                  </a:lnTo>
                  <a:lnTo>
                    <a:pt x="56" y="76"/>
                  </a:lnTo>
                  <a:lnTo>
                    <a:pt x="58" y="78"/>
                  </a:lnTo>
                  <a:lnTo>
                    <a:pt x="58" y="78"/>
                  </a:lnTo>
                  <a:lnTo>
                    <a:pt x="60" y="80"/>
                  </a:lnTo>
                  <a:lnTo>
                    <a:pt x="60" y="82"/>
                  </a:lnTo>
                  <a:lnTo>
                    <a:pt x="64" y="88"/>
                  </a:lnTo>
                  <a:lnTo>
                    <a:pt x="64" y="90"/>
                  </a:lnTo>
                  <a:lnTo>
                    <a:pt x="66" y="92"/>
                  </a:lnTo>
                  <a:lnTo>
                    <a:pt x="68" y="94"/>
                  </a:lnTo>
                  <a:lnTo>
                    <a:pt x="68" y="96"/>
                  </a:lnTo>
                  <a:lnTo>
                    <a:pt x="68" y="96"/>
                  </a:lnTo>
                  <a:lnTo>
                    <a:pt x="70" y="98"/>
                  </a:lnTo>
                  <a:lnTo>
                    <a:pt x="72" y="98"/>
                  </a:lnTo>
                  <a:lnTo>
                    <a:pt x="74" y="100"/>
                  </a:lnTo>
                  <a:lnTo>
                    <a:pt x="76" y="100"/>
                  </a:lnTo>
                  <a:lnTo>
                    <a:pt x="78" y="102"/>
                  </a:lnTo>
                  <a:lnTo>
                    <a:pt x="80" y="102"/>
                  </a:lnTo>
                  <a:lnTo>
                    <a:pt x="82" y="102"/>
                  </a:lnTo>
                  <a:lnTo>
                    <a:pt x="82" y="102"/>
                  </a:lnTo>
                  <a:lnTo>
                    <a:pt x="84" y="102"/>
                  </a:lnTo>
                  <a:lnTo>
                    <a:pt x="84" y="102"/>
                  </a:lnTo>
                  <a:lnTo>
                    <a:pt x="84" y="100"/>
                  </a:lnTo>
                  <a:lnTo>
                    <a:pt x="86" y="100"/>
                  </a:lnTo>
                  <a:lnTo>
                    <a:pt x="86" y="98"/>
                  </a:lnTo>
                  <a:lnTo>
                    <a:pt x="86" y="96"/>
                  </a:lnTo>
                  <a:lnTo>
                    <a:pt x="86" y="96"/>
                  </a:lnTo>
                  <a:lnTo>
                    <a:pt x="88" y="94"/>
                  </a:lnTo>
                  <a:lnTo>
                    <a:pt x="88" y="90"/>
                  </a:lnTo>
                  <a:lnTo>
                    <a:pt x="88" y="86"/>
                  </a:lnTo>
                  <a:lnTo>
                    <a:pt x="88" y="82"/>
                  </a:lnTo>
                  <a:lnTo>
                    <a:pt x="88" y="80"/>
                  </a:lnTo>
                  <a:lnTo>
                    <a:pt x="88" y="78"/>
                  </a:lnTo>
                  <a:lnTo>
                    <a:pt x="88" y="78"/>
                  </a:lnTo>
                  <a:lnTo>
                    <a:pt x="88" y="76"/>
                  </a:lnTo>
                  <a:lnTo>
                    <a:pt x="90" y="72"/>
                  </a:lnTo>
                  <a:lnTo>
                    <a:pt x="92" y="70"/>
                  </a:lnTo>
                  <a:lnTo>
                    <a:pt x="94" y="66"/>
                  </a:lnTo>
                  <a:lnTo>
                    <a:pt x="98" y="62"/>
                  </a:lnTo>
                  <a:lnTo>
                    <a:pt x="98" y="60"/>
                  </a:lnTo>
                  <a:lnTo>
                    <a:pt x="100" y="58"/>
                  </a:lnTo>
                  <a:lnTo>
                    <a:pt x="102" y="58"/>
                  </a:lnTo>
                  <a:lnTo>
                    <a:pt x="104" y="56"/>
                  </a:lnTo>
                  <a:lnTo>
                    <a:pt x="104" y="54"/>
                  </a:lnTo>
                  <a:lnTo>
                    <a:pt x="106" y="54"/>
                  </a:lnTo>
                  <a:lnTo>
                    <a:pt x="108" y="54"/>
                  </a:lnTo>
                  <a:lnTo>
                    <a:pt x="110" y="52"/>
                  </a:lnTo>
                  <a:lnTo>
                    <a:pt x="110" y="52"/>
                  </a:lnTo>
                  <a:lnTo>
                    <a:pt x="110" y="52"/>
                  </a:lnTo>
                  <a:lnTo>
                    <a:pt x="112" y="54"/>
                  </a:lnTo>
                  <a:lnTo>
                    <a:pt x="114" y="54"/>
                  </a:lnTo>
                  <a:lnTo>
                    <a:pt x="116" y="56"/>
                  </a:lnTo>
                  <a:lnTo>
                    <a:pt x="118" y="56"/>
                  </a:lnTo>
                  <a:lnTo>
                    <a:pt x="120" y="58"/>
                  </a:lnTo>
                  <a:lnTo>
                    <a:pt x="120" y="60"/>
                  </a:lnTo>
                  <a:lnTo>
                    <a:pt x="122" y="60"/>
                  </a:lnTo>
                  <a:lnTo>
                    <a:pt x="122" y="62"/>
                  </a:lnTo>
                  <a:lnTo>
                    <a:pt x="122" y="62"/>
                  </a:lnTo>
                  <a:lnTo>
                    <a:pt x="122" y="64"/>
                  </a:lnTo>
                  <a:lnTo>
                    <a:pt x="122" y="64"/>
                  </a:lnTo>
                  <a:lnTo>
                    <a:pt x="122" y="68"/>
                  </a:lnTo>
                  <a:lnTo>
                    <a:pt x="122" y="70"/>
                  </a:lnTo>
                  <a:lnTo>
                    <a:pt x="120" y="72"/>
                  </a:lnTo>
                  <a:lnTo>
                    <a:pt x="120" y="74"/>
                  </a:lnTo>
                  <a:lnTo>
                    <a:pt x="120" y="76"/>
                  </a:lnTo>
                  <a:lnTo>
                    <a:pt x="120" y="76"/>
                  </a:lnTo>
                  <a:lnTo>
                    <a:pt x="122" y="78"/>
                  </a:lnTo>
                  <a:lnTo>
                    <a:pt x="122" y="78"/>
                  </a:lnTo>
                  <a:lnTo>
                    <a:pt x="122" y="80"/>
                  </a:lnTo>
                  <a:lnTo>
                    <a:pt x="124" y="80"/>
                  </a:lnTo>
                  <a:lnTo>
                    <a:pt x="126" y="80"/>
                  </a:lnTo>
                  <a:lnTo>
                    <a:pt x="126" y="80"/>
                  </a:lnTo>
                  <a:lnTo>
                    <a:pt x="128" y="80"/>
                  </a:lnTo>
                  <a:lnTo>
                    <a:pt x="130" y="80"/>
                  </a:lnTo>
                  <a:lnTo>
                    <a:pt x="134" y="78"/>
                  </a:lnTo>
                  <a:lnTo>
                    <a:pt x="138" y="78"/>
                  </a:lnTo>
                  <a:lnTo>
                    <a:pt x="142" y="76"/>
                  </a:lnTo>
                  <a:lnTo>
                    <a:pt x="142" y="76"/>
                  </a:lnTo>
                  <a:lnTo>
                    <a:pt x="144" y="76"/>
                  </a:lnTo>
                  <a:lnTo>
                    <a:pt x="146" y="76"/>
                  </a:lnTo>
                  <a:lnTo>
                    <a:pt x="148" y="76"/>
                  </a:lnTo>
                  <a:lnTo>
                    <a:pt x="148" y="76"/>
                  </a:lnTo>
                  <a:lnTo>
                    <a:pt x="150" y="76"/>
                  </a:lnTo>
                  <a:lnTo>
                    <a:pt x="152" y="78"/>
                  </a:lnTo>
                  <a:lnTo>
                    <a:pt x="154" y="80"/>
                  </a:lnTo>
                  <a:lnTo>
                    <a:pt x="154" y="80"/>
                  </a:lnTo>
                  <a:lnTo>
                    <a:pt x="156" y="80"/>
                  </a:lnTo>
                  <a:lnTo>
                    <a:pt x="156" y="80"/>
                  </a:lnTo>
                  <a:lnTo>
                    <a:pt x="158" y="80"/>
                  </a:lnTo>
                  <a:lnTo>
                    <a:pt x="158" y="80"/>
                  </a:lnTo>
                  <a:lnTo>
                    <a:pt x="160" y="80"/>
                  </a:lnTo>
                  <a:lnTo>
                    <a:pt x="160" y="80"/>
                  </a:lnTo>
                  <a:lnTo>
                    <a:pt x="160" y="78"/>
                  </a:lnTo>
                  <a:lnTo>
                    <a:pt x="162" y="78"/>
                  </a:lnTo>
                  <a:lnTo>
                    <a:pt x="162" y="76"/>
                  </a:lnTo>
                  <a:lnTo>
                    <a:pt x="164" y="74"/>
                  </a:lnTo>
                  <a:lnTo>
                    <a:pt x="166" y="70"/>
                  </a:lnTo>
                  <a:lnTo>
                    <a:pt x="166" y="70"/>
                  </a:lnTo>
                  <a:lnTo>
                    <a:pt x="166" y="68"/>
                  </a:lnTo>
                  <a:lnTo>
                    <a:pt x="168" y="66"/>
                  </a:lnTo>
                  <a:lnTo>
                    <a:pt x="168" y="66"/>
                  </a:lnTo>
                  <a:lnTo>
                    <a:pt x="168" y="64"/>
                  </a:lnTo>
                  <a:lnTo>
                    <a:pt x="168" y="64"/>
                  </a:lnTo>
                  <a:lnTo>
                    <a:pt x="166" y="62"/>
                  </a:lnTo>
                  <a:lnTo>
                    <a:pt x="166" y="60"/>
                  </a:lnTo>
                  <a:lnTo>
                    <a:pt x="166" y="58"/>
                  </a:lnTo>
                  <a:lnTo>
                    <a:pt x="164" y="58"/>
                  </a:lnTo>
                  <a:lnTo>
                    <a:pt x="162" y="56"/>
                  </a:lnTo>
                  <a:lnTo>
                    <a:pt x="162" y="56"/>
                  </a:lnTo>
                  <a:lnTo>
                    <a:pt x="160" y="54"/>
                  </a:lnTo>
                  <a:lnTo>
                    <a:pt x="158" y="54"/>
                  </a:lnTo>
                  <a:lnTo>
                    <a:pt x="154" y="52"/>
                  </a:lnTo>
                  <a:lnTo>
                    <a:pt x="150" y="50"/>
                  </a:lnTo>
                  <a:lnTo>
                    <a:pt x="146" y="48"/>
                  </a:lnTo>
                  <a:lnTo>
                    <a:pt x="140" y="46"/>
                  </a:lnTo>
                  <a:lnTo>
                    <a:pt x="132" y="44"/>
                  </a:lnTo>
                  <a:lnTo>
                    <a:pt x="126" y="42"/>
                  </a:lnTo>
                  <a:lnTo>
                    <a:pt x="122" y="40"/>
                  </a:lnTo>
                  <a:lnTo>
                    <a:pt x="118" y="38"/>
                  </a:lnTo>
                  <a:lnTo>
                    <a:pt x="114" y="36"/>
                  </a:lnTo>
                  <a:lnTo>
                    <a:pt x="114" y="36"/>
                  </a:lnTo>
                  <a:lnTo>
                    <a:pt x="112" y="34"/>
                  </a:lnTo>
                  <a:lnTo>
                    <a:pt x="110" y="34"/>
                  </a:lnTo>
                  <a:lnTo>
                    <a:pt x="110" y="32"/>
                  </a:lnTo>
                  <a:lnTo>
                    <a:pt x="108" y="32"/>
                  </a:lnTo>
                  <a:lnTo>
                    <a:pt x="106" y="30"/>
                  </a:lnTo>
                  <a:lnTo>
                    <a:pt x="106" y="28"/>
                  </a:lnTo>
                  <a:lnTo>
                    <a:pt x="104" y="26"/>
                  </a:lnTo>
                  <a:lnTo>
                    <a:pt x="102" y="22"/>
                  </a:lnTo>
                  <a:lnTo>
                    <a:pt x="100" y="16"/>
                  </a:lnTo>
                  <a:lnTo>
                    <a:pt x="98" y="12"/>
                  </a:lnTo>
                  <a:lnTo>
                    <a:pt x="98" y="10"/>
                  </a:lnTo>
                  <a:lnTo>
                    <a:pt x="96" y="8"/>
                  </a:lnTo>
                  <a:lnTo>
                    <a:pt x="96" y="6"/>
                  </a:lnTo>
                  <a:lnTo>
                    <a:pt x="94" y="4"/>
                  </a:lnTo>
                  <a:lnTo>
                    <a:pt x="92" y="4"/>
                  </a:lnTo>
                  <a:lnTo>
                    <a:pt x="92" y="2"/>
                  </a:lnTo>
                  <a:lnTo>
                    <a:pt x="90" y="2"/>
                  </a:lnTo>
                  <a:lnTo>
                    <a:pt x="88" y="2"/>
                  </a:lnTo>
                  <a:lnTo>
                    <a:pt x="88" y="0"/>
                  </a:lnTo>
                  <a:lnTo>
                    <a:pt x="86" y="0"/>
                  </a:lnTo>
                  <a:lnTo>
                    <a:pt x="82" y="0"/>
                  </a:lnTo>
                  <a:lnTo>
                    <a:pt x="78" y="0"/>
                  </a:lnTo>
                  <a:lnTo>
                    <a:pt x="74" y="2"/>
                  </a:lnTo>
                  <a:lnTo>
                    <a:pt x="72" y="2"/>
                  </a:lnTo>
                  <a:lnTo>
                    <a:pt x="72" y="2"/>
                  </a:lnTo>
                  <a:lnTo>
                    <a:pt x="70" y="2"/>
                  </a:lnTo>
                  <a:lnTo>
                    <a:pt x="68" y="4"/>
                  </a:lnTo>
                  <a:lnTo>
                    <a:pt x="68" y="4"/>
                  </a:lnTo>
                  <a:lnTo>
                    <a:pt x="66" y="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7" name="Freeform 235">
              <a:extLst>
                <a:ext uri="{FF2B5EF4-FFF2-40B4-BE49-F238E27FC236}">
                  <a16:creationId xmlns:a16="http://schemas.microsoft.com/office/drawing/2014/main" id="{EC9F6F85-6C18-4C9D-9F5F-2279FEB06337}"/>
                </a:ext>
              </a:extLst>
            </p:cNvPr>
            <p:cNvSpPr>
              <a:spLocks/>
            </p:cNvSpPr>
            <p:nvPr/>
          </p:nvSpPr>
          <p:spPr bwMode="auto">
            <a:xfrm>
              <a:off x="4487453" y="1871427"/>
              <a:ext cx="290989" cy="176672"/>
            </a:xfrm>
            <a:custGeom>
              <a:avLst/>
              <a:gdLst>
                <a:gd name="T0" fmla="*/ 64 w 168"/>
                <a:gd name="T1" fmla="*/ 8 h 102"/>
                <a:gd name="T2" fmla="*/ 64 w 168"/>
                <a:gd name="T3" fmla="*/ 20 h 102"/>
                <a:gd name="T4" fmla="*/ 60 w 168"/>
                <a:gd name="T5" fmla="*/ 26 h 102"/>
                <a:gd name="T6" fmla="*/ 56 w 168"/>
                <a:gd name="T7" fmla="*/ 24 h 102"/>
                <a:gd name="T8" fmla="*/ 46 w 168"/>
                <a:gd name="T9" fmla="*/ 14 h 102"/>
                <a:gd name="T10" fmla="*/ 42 w 168"/>
                <a:gd name="T11" fmla="*/ 12 h 102"/>
                <a:gd name="T12" fmla="*/ 34 w 168"/>
                <a:gd name="T13" fmla="*/ 20 h 102"/>
                <a:gd name="T14" fmla="*/ 28 w 168"/>
                <a:gd name="T15" fmla="*/ 22 h 102"/>
                <a:gd name="T16" fmla="*/ 26 w 168"/>
                <a:gd name="T17" fmla="*/ 16 h 102"/>
                <a:gd name="T18" fmla="*/ 22 w 168"/>
                <a:gd name="T19" fmla="*/ 6 h 102"/>
                <a:gd name="T20" fmla="*/ 18 w 168"/>
                <a:gd name="T21" fmla="*/ 4 h 102"/>
                <a:gd name="T22" fmla="*/ 10 w 168"/>
                <a:gd name="T23" fmla="*/ 8 h 102"/>
                <a:gd name="T24" fmla="*/ 4 w 168"/>
                <a:gd name="T25" fmla="*/ 14 h 102"/>
                <a:gd name="T26" fmla="*/ 0 w 168"/>
                <a:gd name="T27" fmla="*/ 20 h 102"/>
                <a:gd name="T28" fmla="*/ 4 w 168"/>
                <a:gd name="T29" fmla="*/ 28 h 102"/>
                <a:gd name="T30" fmla="*/ 6 w 168"/>
                <a:gd name="T31" fmla="*/ 40 h 102"/>
                <a:gd name="T32" fmla="*/ 8 w 168"/>
                <a:gd name="T33" fmla="*/ 48 h 102"/>
                <a:gd name="T34" fmla="*/ 12 w 168"/>
                <a:gd name="T35" fmla="*/ 50 h 102"/>
                <a:gd name="T36" fmla="*/ 26 w 168"/>
                <a:gd name="T37" fmla="*/ 52 h 102"/>
                <a:gd name="T38" fmla="*/ 32 w 168"/>
                <a:gd name="T39" fmla="*/ 50 h 102"/>
                <a:gd name="T40" fmla="*/ 38 w 168"/>
                <a:gd name="T41" fmla="*/ 42 h 102"/>
                <a:gd name="T42" fmla="*/ 44 w 168"/>
                <a:gd name="T43" fmla="*/ 38 h 102"/>
                <a:gd name="T44" fmla="*/ 50 w 168"/>
                <a:gd name="T45" fmla="*/ 38 h 102"/>
                <a:gd name="T46" fmla="*/ 54 w 168"/>
                <a:gd name="T47" fmla="*/ 42 h 102"/>
                <a:gd name="T48" fmla="*/ 52 w 168"/>
                <a:gd name="T49" fmla="*/ 48 h 102"/>
                <a:gd name="T50" fmla="*/ 46 w 168"/>
                <a:gd name="T51" fmla="*/ 62 h 102"/>
                <a:gd name="T52" fmla="*/ 46 w 168"/>
                <a:gd name="T53" fmla="*/ 68 h 102"/>
                <a:gd name="T54" fmla="*/ 52 w 168"/>
                <a:gd name="T55" fmla="*/ 74 h 102"/>
                <a:gd name="T56" fmla="*/ 60 w 168"/>
                <a:gd name="T57" fmla="*/ 82 h 102"/>
                <a:gd name="T58" fmla="*/ 68 w 168"/>
                <a:gd name="T59" fmla="*/ 96 h 102"/>
                <a:gd name="T60" fmla="*/ 76 w 168"/>
                <a:gd name="T61" fmla="*/ 100 h 102"/>
                <a:gd name="T62" fmla="*/ 84 w 168"/>
                <a:gd name="T63" fmla="*/ 102 h 102"/>
                <a:gd name="T64" fmla="*/ 86 w 168"/>
                <a:gd name="T65" fmla="*/ 96 h 102"/>
                <a:gd name="T66" fmla="*/ 88 w 168"/>
                <a:gd name="T67" fmla="*/ 82 h 102"/>
                <a:gd name="T68" fmla="*/ 90 w 168"/>
                <a:gd name="T69" fmla="*/ 72 h 102"/>
                <a:gd name="T70" fmla="*/ 100 w 168"/>
                <a:gd name="T71" fmla="*/ 58 h 102"/>
                <a:gd name="T72" fmla="*/ 108 w 168"/>
                <a:gd name="T73" fmla="*/ 54 h 102"/>
                <a:gd name="T74" fmla="*/ 114 w 168"/>
                <a:gd name="T75" fmla="*/ 54 h 102"/>
                <a:gd name="T76" fmla="*/ 122 w 168"/>
                <a:gd name="T77" fmla="*/ 60 h 102"/>
                <a:gd name="T78" fmla="*/ 122 w 168"/>
                <a:gd name="T79" fmla="*/ 68 h 102"/>
                <a:gd name="T80" fmla="*/ 120 w 168"/>
                <a:gd name="T81" fmla="*/ 76 h 102"/>
                <a:gd name="T82" fmla="*/ 126 w 168"/>
                <a:gd name="T83" fmla="*/ 80 h 102"/>
                <a:gd name="T84" fmla="*/ 138 w 168"/>
                <a:gd name="T85" fmla="*/ 78 h 102"/>
                <a:gd name="T86" fmla="*/ 148 w 168"/>
                <a:gd name="T87" fmla="*/ 76 h 102"/>
                <a:gd name="T88" fmla="*/ 154 w 168"/>
                <a:gd name="T89" fmla="*/ 80 h 102"/>
                <a:gd name="T90" fmla="*/ 160 w 168"/>
                <a:gd name="T91" fmla="*/ 80 h 102"/>
                <a:gd name="T92" fmla="*/ 164 w 168"/>
                <a:gd name="T93" fmla="*/ 74 h 102"/>
                <a:gd name="T94" fmla="*/ 168 w 168"/>
                <a:gd name="T95" fmla="*/ 66 h 102"/>
                <a:gd name="T96" fmla="*/ 166 w 168"/>
                <a:gd name="T97" fmla="*/ 58 h 102"/>
                <a:gd name="T98" fmla="*/ 158 w 168"/>
                <a:gd name="T99" fmla="*/ 54 h 102"/>
                <a:gd name="T100" fmla="*/ 132 w 168"/>
                <a:gd name="T101" fmla="*/ 44 h 102"/>
                <a:gd name="T102" fmla="*/ 114 w 168"/>
                <a:gd name="T103" fmla="*/ 36 h 102"/>
                <a:gd name="T104" fmla="*/ 106 w 168"/>
                <a:gd name="T105" fmla="*/ 30 h 102"/>
                <a:gd name="T106" fmla="*/ 98 w 168"/>
                <a:gd name="T107" fmla="*/ 12 h 102"/>
                <a:gd name="T108" fmla="*/ 92 w 168"/>
                <a:gd name="T109" fmla="*/ 4 h 102"/>
                <a:gd name="T110" fmla="*/ 86 w 168"/>
                <a:gd name="T111" fmla="*/ 0 h 102"/>
                <a:gd name="T112" fmla="*/ 72 w 168"/>
                <a:gd name="T113" fmla="*/ 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 h="102">
                  <a:moveTo>
                    <a:pt x="66" y="4"/>
                  </a:moveTo>
                  <a:lnTo>
                    <a:pt x="66" y="4"/>
                  </a:lnTo>
                  <a:lnTo>
                    <a:pt x="66" y="6"/>
                  </a:lnTo>
                  <a:lnTo>
                    <a:pt x="66" y="6"/>
                  </a:lnTo>
                  <a:lnTo>
                    <a:pt x="64" y="8"/>
                  </a:lnTo>
                  <a:lnTo>
                    <a:pt x="64" y="8"/>
                  </a:lnTo>
                  <a:lnTo>
                    <a:pt x="64" y="12"/>
                  </a:lnTo>
                  <a:lnTo>
                    <a:pt x="64" y="16"/>
                  </a:lnTo>
                  <a:lnTo>
                    <a:pt x="64" y="18"/>
                  </a:lnTo>
                  <a:lnTo>
                    <a:pt x="64" y="20"/>
                  </a:lnTo>
                  <a:lnTo>
                    <a:pt x="64" y="22"/>
                  </a:lnTo>
                  <a:lnTo>
                    <a:pt x="64" y="22"/>
                  </a:lnTo>
                  <a:lnTo>
                    <a:pt x="62" y="24"/>
                  </a:lnTo>
                  <a:lnTo>
                    <a:pt x="62" y="24"/>
                  </a:lnTo>
                  <a:lnTo>
                    <a:pt x="60" y="26"/>
                  </a:lnTo>
                  <a:lnTo>
                    <a:pt x="60" y="26"/>
                  </a:lnTo>
                  <a:lnTo>
                    <a:pt x="60" y="26"/>
                  </a:lnTo>
                  <a:lnTo>
                    <a:pt x="58" y="24"/>
                  </a:lnTo>
                  <a:lnTo>
                    <a:pt x="56" y="24"/>
                  </a:lnTo>
                  <a:lnTo>
                    <a:pt x="56" y="24"/>
                  </a:lnTo>
                  <a:lnTo>
                    <a:pt x="54" y="22"/>
                  </a:lnTo>
                  <a:lnTo>
                    <a:pt x="52" y="20"/>
                  </a:lnTo>
                  <a:lnTo>
                    <a:pt x="50" y="16"/>
                  </a:lnTo>
                  <a:lnTo>
                    <a:pt x="48" y="14"/>
                  </a:lnTo>
                  <a:lnTo>
                    <a:pt x="46" y="14"/>
                  </a:lnTo>
                  <a:lnTo>
                    <a:pt x="46" y="14"/>
                  </a:lnTo>
                  <a:lnTo>
                    <a:pt x="44" y="12"/>
                  </a:lnTo>
                  <a:lnTo>
                    <a:pt x="44" y="12"/>
                  </a:lnTo>
                  <a:lnTo>
                    <a:pt x="42" y="12"/>
                  </a:lnTo>
                  <a:lnTo>
                    <a:pt x="42" y="12"/>
                  </a:lnTo>
                  <a:lnTo>
                    <a:pt x="40" y="14"/>
                  </a:lnTo>
                  <a:lnTo>
                    <a:pt x="40" y="14"/>
                  </a:lnTo>
                  <a:lnTo>
                    <a:pt x="38" y="16"/>
                  </a:lnTo>
                  <a:lnTo>
                    <a:pt x="36" y="18"/>
                  </a:lnTo>
                  <a:lnTo>
                    <a:pt x="34" y="20"/>
                  </a:lnTo>
                  <a:lnTo>
                    <a:pt x="32" y="22"/>
                  </a:lnTo>
                  <a:lnTo>
                    <a:pt x="30" y="22"/>
                  </a:lnTo>
                  <a:lnTo>
                    <a:pt x="30" y="22"/>
                  </a:lnTo>
                  <a:lnTo>
                    <a:pt x="30" y="22"/>
                  </a:lnTo>
                  <a:lnTo>
                    <a:pt x="28" y="22"/>
                  </a:lnTo>
                  <a:lnTo>
                    <a:pt x="28" y="22"/>
                  </a:lnTo>
                  <a:lnTo>
                    <a:pt x="26" y="22"/>
                  </a:lnTo>
                  <a:lnTo>
                    <a:pt x="26" y="20"/>
                  </a:lnTo>
                  <a:lnTo>
                    <a:pt x="26" y="20"/>
                  </a:lnTo>
                  <a:lnTo>
                    <a:pt x="26" y="16"/>
                  </a:lnTo>
                  <a:lnTo>
                    <a:pt x="24" y="14"/>
                  </a:lnTo>
                  <a:lnTo>
                    <a:pt x="24" y="10"/>
                  </a:lnTo>
                  <a:lnTo>
                    <a:pt x="24" y="10"/>
                  </a:lnTo>
                  <a:lnTo>
                    <a:pt x="24" y="8"/>
                  </a:lnTo>
                  <a:lnTo>
                    <a:pt x="22" y="6"/>
                  </a:lnTo>
                  <a:lnTo>
                    <a:pt x="22" y="6"/>
                  </a:lnTo>
                  <a:lnTo>
                    <a:pt x="22" y="6"/>
                  </a:lnTo>
                  <a:lnTo>
                    <a:pt x="20" y="4"/>
                  </a:lnTo>
                  <a:lnTo>
                    <a:pt x="20" y="4"/>
                  </a:lnTo>
                  <a:lnTo>
                    <a:pt x="18" y="4"/>
                  </a:lnTo>
                  <a:lnTo>
                    <a:pt x="16" y="6"/>
                  </a:lnTo>
                  <a:lnTo>
                    <a:pt x="16" y="6"/>
                  </a:lnTo>
                  <a:lnTo>
                    <a:pt x="14" y="6"/>
                  </a:lnTo>
                  <a:lnTo>
                    <a:pt x="12" y="8"/>
                  </a:lnTo>
                  <a:lnTo>
                    <a:pt x="10" y="8"/>
                  </a:lnTo>
                  <a:lnTo>
                    <a:pt x="8" y="10"/>
                  </a:lnTo>
                  <a:lnTo>
                    <a:pt x="8" y="10"/>
                  </a:lnTo>
                  <a:lnTo>
                    <a:pt x="6" y="12"/>
                  </a:lnTo>
                  <a:lnTo>
                    <a:pt x="4" y="14"/>
                  </a:lnTo>
                  <a:lnTo>
                    <a:pt x="4" y="14"/>
                  </a:lnTo>
                  <a:lnTo>
                    <a:pt x="2" y="16"/>
                  </a:lnTo>
                  <a:lnTo>
                    <a:pt x="2" y="18"/>
                  </a:lnTo>
                  <a:lnTo>
                    <a:pt x="0" y="18"/>
                  </a:lnTo>
                  <a:lnTo>
                    <a:pt x="0" y="20"/>
                  </a:lnTo>
                  <a:lnTo>
                    <a:pt x="0" y="20"/>
                  </a:lnTo>
                  <a:lnTo>
                    <a:pt x="0" y="22"/>
                  </a:lnTo>
                  <a:lnTo>
                    <a:pt x="0" y="22"/>
                  </a:lnTo>
                  <a:lnTo>
                    <a:pt x="2" y="24"/>
                  </a:lnTo>
                  <a:lnTo>
                    <a:pt x="2" y="26"/>
                  </a:lnTo>
                  <a:lnTo>
                    <a:pt x="4" y="28"/>
                  </a:lnTo>
                  <a:lnTo>
                    <a:pt x="4" y="30"/>
                  </a:lnTo>
                  <a:lnTo>
                    <a:pt x="6" y="30"/>
                  </a:lnTo>
                  <a:lnTo>
                    <a:pt x="6" y="32"/>
                  </a:lnTo>
                  <a:lnTo>
                    <a:pt x="6" y="34"/>
                  </a:lnTo>
                  <a:lnTo>
                    <a:pt x="6" y="40"/>
                  </a:lnTo>
                  <a:lnTo>
                    <a:pt x="6" y="42"/>
                  </a:lnTo>
                  <a:lnTo>
                    <a:pt x="6" y="44"/>
                  </a:lnTo>
                  <a:lnTo>
                    <a:pt x="6" y="46"/>
                  </a:lnTo>
                  <a:lnTo>
                    <a:pt x="6" y="46"/>
                  </a:lnTo>
                  <a:lnTo>
                    <a:pt x="8" y="48"/>
                  </a:lnTo>
                  <a:lnTo>
                    <a:pt x="8" y="48"/>
                  </a:lnTo>
                  <a:lnTo>
                    <a:pt x="8" y="48"/>
                  </a:lnTo>
                  <a:lnTo>
                    <a:pt x="10" y="50"/>
                  </a:lnTo>
                  <a:lnTo>
                    <a:pt x="12" y="50"/>
                  </a:lnTo>
                  <a:lnTo>
                    <a:pt x="12" y="50"/>
                  </a:lnTo>
                  <a:lnTo>
                    <a:pt x="14" y="50"/>
                  </a:lnTo>
                  <a:lnTo>
                    <a:pt x="16" y="50"/>
                  </a:lnTo>
                  <a:lnTo>
                    <a:pt x="18" y="52"/>
                  </a:lnTo>
                  <a:lnTo>
                    <a:pt x="22" y="52"/>
                  </a:lnTo>
                  <a:lnTo>
                    <a:pt x="26" y="52"/>
                  </a:lnTo>
                  <a:lnTo>
                    <a:pt x="28" y="52"/>
                  </a:lnTo>
                  <a:lnTo>
                    <a:pt x="30" y="50"/>
                  </a:lnTo>
                  <a:lnTo>
                    <a:pt x="30" y="50"/>
                  </a:lnTo>
                  <a:lnTo>
                    <a:pt x="32" y="50"/>
                  </a:lnTo>
                  <a:lnTo>
                    <a:pt x="32" y="50"/>
                  </a:lnTo>
                  <a:lnTo>
                    <a:pt x="32" y="48"/>
                  </a:lnTo>
                  <a:lnTo>
                    <a:pt x="34" y="48"/>
                  </a:lnTo>
                  <a:lnTo>
                    <a:pt x="36" y="46"/>
                  </a:lnTo>
                  <a:lnTo>
                    <a:pt x="38" y="44"/>
                  </a:lnTo>
                  <a:lnTo>
                    <a:pt x="38" y="42"/>
                  </a:lnTo>
                  <a:lnTo>
                    <a:pt x="40" y="40"/>
                  </a:lnTo>
                  <a:lnTo>
                    <a:pt x="40" y="40"/>
                  </a:lnTo>
                  <a:lnTo>
                    <a:pt x="42" y="38"/>
                  </a:lnTo>
                  <a:lnTo>
                    <a:pt x="42" y="38"/>
                  </a:lnTo>
                  <a:lnTo>
                    <a:pt x="44" y="38"/>
                  </a:lnTo>
                  <a:lnTo>
                    <a:pt x="44" y="38"/>
                  </a:lnTo>
                  <a:lnTo>
                    <a:pt x="46" y="38"/>
                  </a:lnTo>
                  <a:lnTo>
                    <a:pt x="48" y="38"/>
                  </a:lnTo>
                  <a:lnTo>
                    <a:pt x="48" y="38"/>
                  </a:lnTo>
                  <a:lnTo>
                    <a:pt x="50" y="38"/>
                  </a:lnTo>
                  <a:lnTo>
                    <a:pt x="52" y="38"/>
                  </a:lnTo>
                  <a:lnTo>
                    <a:pt x="52" y="40"/>
                  </a:lnTo>
                  <a:lnTo>
                    <a:pt x="54" y="40"/>
                  </a:lnTo>
                  <a:lnTo>
                    <a:pt x="54" y="40"/>
                  </a:lnTo>
                  <a:lnTo>
                    <a:pt x="54" y="42"/>
                  </a:lnTo>
                  <a:lnTo>
                    <a:pt x="54" y="42"/>
                  </a:lnTo>
                  <a:lnTo>
                    <a:pt x="54" y="42"/>
                  </a:lnTo>
                  <a:lnTo>
                    <a:pt x="54" y="44"/>
                  </a:lnTo>
                  <a:lnTo>
                    <a:pt x="52" y="46"/>
                  </a:lnTo>
                  <a:lnTo>
                    <a:pt x="52" y="48"/>
                  </a:lnTo>
                  <a:lnTo>
                    <a:pt x="50" y="52"/>
                  </a:lnTo>
                  <a:lnTo>
                    <a:pt x="48" y="54"/>
                  </a:lnTo>
                  <a:lnTo>
                    <a:pt x="48" y="56"/>
                  </a:lnTo>
                  <a:lnTo>
                    <a:pt x="48" y="58"/>
                  </a:lnTo>
                  <a:lnTo>
                    <a:pt x="46" y="62"/>
                  </a:lnTo>
                  <a:lnTo>
                    <a:pt x="46" y="64"/>
                  </a:lnTo>
                  <a:lnTo>
                    <a:pt x="46" y="66"/>
                  </a:lnTo>
                  <a:lnTo>
                    <a:pt x="46" y="66"/>
                  </a:lnTo>
                  <a:lnTo>
                    <a:pt x="46" y="68"/>
                  </a:lnTo>
                  <a:lnTo>
                    <a:pt x="46" y="68"/>
                  </a:lnTo>
                  <a:lnTo>
                    <a:pt x="46" y="68"/>
                  </a:lnTo>
                  <a:lnTo>
                    <a:pt x="46" y="70"/>
                  </a:lnTo>
                  <a:lnTo>
                    <a:pt x="48" y="70"/>
                  </a:lnTo>
                  <a:lnTo>
                    <a:pt x="50" y="72"/>
                  </a:lnTo>
                  <a:lnTo>
                    <a:pt x="52" y="74"/>
                  </a:lnTo>
                  <a:lnTo>
                    <a:pt x="56" y="76"/>
                  </a:lnTo>
                  <a:lnTo>
                    <a:pt x="58" y="78"/>
                  </a:lnTo>
                  <a:lnTo>
                    <a:pt x="58" y="78"/>
                  </a:lnTo>
                  <a:lnTo>
                    <a:pt x="60" y="80"/>
                  </a:lnTo>
                  <a:lnTo>
                    <a:pt x="60" y="82"/>
                  </a:lnTo>
                  <a:lnTo>
                    <a:pt x="64" y="88"/>
                  </a:lnTo>
                  <a:lnTo>
                    <a:pt x="64" y="90"/>
                  </a:lnTo>
                  <a:lnTo>
                    <a:pt x="66" y="92"/>
                  </a:lnTo>
                  <a:lnTo>
                    <a:pt x="68" y="94"/>
                  </a:lnTo>
                  <a:lnTo>
                    <a:pt x="68" y="96"/>
                  </a:lnTo>
                  <a:lnTo>
                    <a:pt x="68" y="96"/>
                  </a:lnTo>
                  <a:lnTo>
                    <a:pt x="70" y="98"/>
                  </a:lnTo>
                  <a:lnTo>
                    <a:pt x="72" y="98"/>
                  </a:lnTo>
                  <a:lnTo>
                    <a:pt x="74" y="100"/>
                  </a:lnTo>
                  <a:lnTo>
                    <a:pt x="76" y="100"/>
                  </a:lnTo>
                  <a:lnTo>
                    <a:pt x="78" y="102"/>
                  </a:lnTo>
                  <a:lnTo>
                    <a:pt x="80" y="102"/>
                  </a:lnTo>
                  <a:lnTo>
                    <a:pt x="82" y="102"/>
                  </a:lnTo>
                  <a:lnTo>
                    <a:pt x="82" y="102"/>
                  </a:lnTo>
                  <a:lnTo>
                    <a:pt x="84" y="102"/>
                  </a:lnTo>
                  <a:lnTo>
                    <a:pt x="84" y="102"/>
                  </a:lnTo>
                  <a:lnTo>
                    <a:pt x="84" y="100"/>
                  </a:lnTo>
                  <a:lnTo>
                    <a:pt x="86" y="100"/>
                  </a:lnTo>
                  <a:lnTo>
                    <a:pt x="86" y="98"/>
                  </a:lnTo>
                  <a:lnTo>
                    <a:pt x="86" y="96"/>
                  </a:lnTo>
                  <a:lnTo>
                    <a:pt x="86" y="96"/>
                  </a:lnTo>
                  <a:lnTo>
                    <a:pt x="88" y="94"/>
                  </a:lnTo>
                  <a:lnTo>
                    <a:pt x="88" y="90"/>
                  </a:lnTo>
                  <a:lnTo>
                    <a:pt x="88" y="86"/>
                  </a:lnTo>
                  <a:lnTo>
                    <a:pt x="88" y="82"/>
                  </a:lnTo>
                  <a:lnTo>
                    <a:pt x="88" y="80"/>
                  </a:lnTo>
                  <a:lnTo>
                    <a:pt x="88" y="78"/>
                  </a:lnTo>
                  <a:lnTo>
                    <a:pt x="88" y="78"/>
                  </a:lnTo>
                  <a:lnTo>
                    <a:pt x="88" y="76"/>
                  </a:lnTo>
                  <a:lnTo>
                    <a:pt x="90" y="72"/>
                  </a:lnTo>
                  <a:lnTo>
                    <a:pt x="92" y="70"/>
                  </a:lnTo>
                  <a:lnTo>
                    <a:pt x="94" y="66"/>
                  </a:lnTo>
                  <a:lnTo>
                    <a:pt x="98" y="62"/>
                  </a:lnTo>
                  <a:lnTo>
                    <a:pt x="98" y="60"/>
                  </a:lnTo>
                  <a:lnTo>
                    <a:pt x="100" y="58"/>
                  </a:lnTo>
                  <a:lnTo>
                    <a:pt x="102" y="58"/>
                  </a:lnTo>
                  <a:lnTo>
                    <a:pt x="104" y="56"/>
                  </a:lnTo>
                  <a:lnTo>
                    <a:pt x="104" y="54"/>
                  </a:lnTo>
                  <a:lnTo>
                    <a:pt x="106" y="54"/>
                  </a:lnTo>
                  <a:lnTo>
                    <a:pt x="108" y="54"/>
                  </a:lnTo>
                  <a:lnTo>
                    <a:pt x="110" y="52"/>
                  </a:lnTo>
                  <a:lnTo>
                    <a:pt x="110" y="52"/>
                  </a:lnTo>
                  <a:lnTo>
                    <a:pt x="110" y="52"/>
                  </a:lnTo>
                  <a:lnTo>
                    <a:pt x="112" y="54"/>
                  </a:lnTo>
                  <a:lnTo>
                    <a:pt x="114" y="54"/>
                  </a:lnTo>
                  <a:lnTo>
                    <a:pt x="116" y="56"/>
                  </a:lnTo>
                  <a:lnTo>
                    <a:pt x="118" y="56"/>
                  </a:lnTo>
                  <a:lnTo>
                    <a:pt x="120" y="58"/>
                  </a:lnTo>
                  <a:lnTo>
                    <a:pt x="120" y="60"/>
                  </a:lnTo>
                  <a:lnTo>
                    <a:pt x="122" y="60"/>
                  </a:lnTo>
                  <a:lnTo>
                    <a:pt x="122" y="62"/>
                  </a:lnTo>
                  <a:lnTo>
                    <a:pt x="122" y="62"/>
                  </a:lnTo>
                  <a:lnTo>
                    <a:pt x="122" y="64"/>
                  </a:lnTo>
                  <a:lnTo>
                    <a:pt x="122" y="64"/>
                  </a:lnTo>
                  <a:lnTo>
                    <a:pt x="122" y="68"/>
                  </a:lnTo>
                  <a:lnTo>
                    <a:pt x="122" y="70"/>
                  </a:lnTo>
                  <a:lnTo>
                    <a:pt x="120" y="72"/>
                  </a:lnTo>
                  <a:lnTo>
                    <a:pt x="120" y="74"/>
                  </a:lnTo>
                  <a:lnTo>
                    <a:pt x="120" y="76"/>
                  </a:lnTo>
                  <a:lnTo>
                    <a:pt x="120" y="76"/>
                  </a:lnTo>
                  <a:lnTo>
                    <a:pt x="122" y="78"/>
                  </a:lnTo>
                  <a:lnTo>
                    <a:pt x="122" y="78"/>
                  </a:lnTo>
                  <a:lnTo>
                    <a:pt x="122" y="80"/>
                  </a:lnTo>
                  <a:lnTo>
                    <a:pt x="124" y="80"/>
                  </a:lnTo>
                  <a:lnTo>
                    <a:pt x="126" y="80"/>
                  </a:lnTo>
                  <a:lnTo>
                    <a:pt x="126" y="80"/>
                  </a:lnTo>
                  <a:lnTo>
                    <a:pt x="128" y="80"/>
                  </a:lnTo>
                  <a:lnTo>
                    <a:pt x="130" y="80"/>
                  </a:lnTo>
                  <a:lnTo>
                    <a:pt x="134" y="78"/>
                  </a:lnTo>
                  <a:lnTo>
                    <a:pt x="138" y="78"/>
                  </a:lnTo>
                  <a:lnTo>
                    <a:pt x="142" y="76"/>
                  </a:lnTo>
                  <a:lnTo>
                    <a:pt x="142" y="76"/>
                  </a:lnTo>
                  <a:lnTo>
                    <a:pt x="144" y="76"/>
                  </a:lnTo>
                  <a:lnTo>
                    <a:pt x="146" y="76"/>
                  </a:lnTo>
                  <a:lnTo>
                    <a:pt x="148" y="76"/>
                  </a:lnTo>
                  <a:lnTo>
                    <a:pt x="148" y="76"/>
                  </a:lnTo>
                  <a:lnTo>
                    <a:pt x="150" y="76"/>
                  </a:lnTo>
                  <a:lnTo>
                    <a:pt x="152" y="78"/>
                  </a:lnTo>
                  <a:lnTo>
                    <a:pt x="154" y="80"/>
                  </a:lnTo>
                  <a:lnTo>
                    <a:pt x="154" y="80"/>
                  </a:lnTo>
                  <a:lnTo>
                    <a:pt x="156" y="80"/>
                  </a:lnTo>
                  <a:lnTo>
                    <a:pt x="156" y="80"/>
                  </a:lnTo>
                  <a:lnTo>
                    <a:pt x="158" y="80"/>
                  </a:lnTo>
                  <a:lnTo>
                    <a:pt x="158" y="80"/>
                  </a:lnTo>
                  <a:lnTo>
                    <a:pt x="160" y="80"/>
                  </a:lnTo>
                  <a:lnTo>
                    <a:pt x="160" y="80"/>
                  </a:lnTo>
                  <a:lnTo>
                    <a:pt x="160" y="78"/>
                  </a:lnTo>
                  <a:lnTo>
                    <a:pt x="162" y="78"/>
                  </a:lnTo>
                  <a:lnTo>
                    <a:pt x="162" y="76"/>
                  </a:lnTo>
                  <a:lnTo>
                    <a:pt x="164" y="74"/>
                  </a:lnTo>
                  <a:lnTo>
                    <a:pt x="166" y="70"/>
                  </a:lnTo>
                  <a:lnTo>
                    <a:pt x="166" y="70"/>
                  </a:lnTo>
                  <a:lnTo>
                    <a:pt x="166" y="68"/>
                  </a:lnTo>
                  <a:lnTo>
                    <a:pt x="168" y="66"/>
                  </a:lnTo>
                  <a:lnTo>
                    <a:pt x="168" y="66"/>
                  </a:lnTo>
                  <a:lnTo>
                    <a:pt x="168" y="64"/>
                  </a:lnTo>
                  <a:lnTo>
                    <a:pt x="168" y="64"/>
                  </a:lnTo>
                  <a:lnTo>
                    <a:pt x="166" y="62"/>
                  </a:lnTo>
                  <a:lnTo>
                    <a:pt x="166" y="60"/>
                  </a:lnTo>
                  <a:lnTo>
                    <a:pt x="166" y="58"/>
                  </a:lnTo>
                  <a:lnTo>
                    <a:pt x="164" y="58"/>
                  </a:lnTo>
                  <a:lnTo>
                    <a:pt x="162" y="56"/>
                  </a:lnTo>
                  <a:lnTo>
                    <a:pt x="162" y="56"/>
                  </a:lnTo>
                  <a:lnTo>
                    <a:pt x="160" y="54"/>
                  </a:lnTo>
                  <a:lnTo>
                    <a:pt x="158" y="54"/>
                  </a:lnTo>
                  <a:lnTo>
                    <a:pt x="154" y="52"/>
                  </a:lnTo>
                  <a:lnTo>
                    <a:pt x="150" y="50"/>
                  </a:lnTo>
                  <a:lnTo>
                    <a:pt x="146" y="48"/>
                  </a:lnTo>
                  <a:lnTo>
                    <a:pt x="140" y="46"/>
                  </a:lnTo>
                  <a:lnTo>
                    <a:pt x="132" y="44"/>
                  </a:lnTo>
                  <a:lnTo>
                    <a:pt x="126" y="42"/>
                  </a:lnTo>
                  <a:lnTo>
                    <a:pt x="122" y="40"/>
                  </a:lnTo>
                  <a:lnTo>
                    <a:pt x="118" y="38"/>
                  </a:lnTo>
                  <a:lnTo>
                    <a:pt x="114" y="36"/>
                  </a:lnTo>
                  <a:lnTo>
                    <a:pt x="114" y="36"/>
                  </a:lnTo>
                  <a:lnTo>
                    <a:pt x="112" y="34"/>
                  </a:lnTo>
                  <a:lnTo>
                    <a:pt x="110" y="34"/>
                  </a:lnTo>
                  <a:lnTo>
                    <a:pt x="110" y="32"/>
                  </a:lnTo>
                  <a:lnTo>
                    <a:pt x="108" y="32"/>
                  </a:lnTo>
                  <a:lnTo>
                    <a:pt x="106" y="30"/>
                  </a:lnTo>
                  <a:lnTo>
                    <a:pt x="106" y="28"/>
                  </a:lnTo>
                  <a:lnTo>
                    <a:pt x="104" y="26"/>
                  </a:lnTo>
                  <a:lnTo>
                    <a:pt x="102" y="22"/>
                  </a:lnTo>
                  <a:lnTo>
                    <a:pt x="100" y="16"/>
                  </a:lnTo>
                  <a:lnTo>
                    <a:pt x="98" y="12"/>
                  </a:lnTo>
                  <a:lnTo>
                    <a:pt x="98" y="10"/>
                  </a:lnTo>
                  <a:lnTo>
                    <a:pt x="96" y="8"/>
                  </a:lnTo>
                  <a:lnTo>
                    <a:pt x="96" y="6"/>
                  </a:lnTo>
                  <a:lnTo>
                    <a:pt x="94" y="4"/>
                  </a:lnTo>
                  <a:lnTo>
                    <a:pt x="92" y="4"/>
                  </a:lnTo>
                  <a:lnTo>
                    <a:pt x="92" y="2"/>
                  </a:lnTo>
                  <a:lnTo>
                    <a:pt x="90" y="2"/>
                  </a:lnTo>
                  <a:lnTo>
                    <a:pt x="88" y="2"/>
                  </a:lnTo>
                  <a:lnTo>
                    <a:pt x="88" y="0"/>
                  </a:lnTo>
                  <a:lnTo>
                    <a:pt x="86" y="0"/>
                  </a:lnTo>
                  <a:lnTo>
                    <a:pt x="82" y="0"/>
                  </a:lnTo>
                  <a:lnTo>
                    <a:pt x="78" y="0"/>
                  </a:lnTo>
                  <a:lnTo>
                    <a:pt x="74" y="2"/>
                  </a:lnTo>
                  <a:lnTo>
                    <a:pt x="72" y="2"/>
                  </a:lnTo>
                  <a:lnTo>
                    <a:pt x="72" y="2"/>
                  </a:lnTo>
                  <a:lnTo>
                    <a:pt x="70" y="2"/>
                  </a:lnTo>
                  <a:lnTo>
                    <a:pt x="68" y="4"/>
                  </a:lnTo>
                  <a:lnTo>
                    <a:pt x="68" y="4"/>
                  </a:lnTo>
                  <a:lnTo>
                    <a:pt x="66" y="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8" name="Freeform 236">
              <a:extLst>
                <a:ext uri="{FF2B5EF4-FFF2-40B4-BE49-F238E27FC236}">
                  <a16:creationId xmlns:a16="http://schemas.microsoft.com/office/drawing/2014/main" id="{B070BFB1-CCB0-48F0-B798-036824FE46FD}"/>
                </a:ext>
              </a:extLst>
            </p:cNvPr>
            <p:cNvSpPr>
              <a:spLocks/>
            </p:cNvSpPr>
            <p:nvPr/>
          </p:nvSpPr>
          <p:spPr bwMode="auto">
            <a:xfrm>
              <a:off x="4677981" y="1850642"/>
              <a:ext cx="166279" cy="69283"/>
            </a:xfrm>
            <a:custGeom>
              <a:avLst/>
              <a:gdLst>
                <a:gd name="T0" fmla="*/ 2 w 96"/>
                <a:gd name="T1" fmla="*/ 4 h 40"/>
                <a:gd name="T2" fmla="*/ 0 w 96"/>
                <a:gd name="T3" fmla="*/ 6 h 40"/>
                <a:gd name="T4" fmla="*/ 0 w 96"/>
                <a:gd name="T5" fmla="*/ 10 h 40"/>
                <a:gd name="T6" fmla="*/ 0 w 96"/>
                <a:gd name="T7" fmla="*/ 14 h 40"/>
                <a:gd name="T8" fmla="*/ 0 w 96"/>
                <a:gd name="T9" fmla="*/ 18 h 40"/>
                <a:gd name="T10" fmla="*/ 2 w 96"/>
                <a:gd name="T11" fmla="*/ 24 h 40"/>
                <a:gd name="T12" fmla="*/ 4 w 96"/>
                <a:gd name="T13" fmla="*/ 28 h 40"/>
                <a:gd name="T14" fmla="*/ 6 w 96"/>
                <a:gd name="T15" fmla="*/ 30 h 40"/>
                <a:gd name="T16" fmla="*/ 10 w 96"/>
                <a:gd name="T17" fmla="*/ 32 h 40"/>
                <a:gd name="T18" fmla="*/ 14 w 96"/>
                <a:gd name="T19" fmla="*/ 34 h 40"/>
                <a:gd name="T20" fmla="*/ 18 w 96"/>
                <a:gd name="T21" fmla="*/ 36 h 40"/>
                <a:gd name="T22" fmla="*/ 24 w 96"/>
                <a:gd name="T23" fmla="*/ 38 h 40"/>
                <a:gd name="T24" fmla="*/ 34 w 96"/>
                <a:gd name="T25" fmla="*/ 40 h 40"/>
                <a:gd name="T26" fmla="*/ 44 w 96"/>
                <a:gd name="T27" fmla="*/ 40 h 40"/>
                <a:gd name="T28" fmla="*/ 48 w 96"/>
                <a:gd name="T29" fmla="*/ 40 h 40"/>
                <a:gd name="T30" fmla="*/ 54 w 96"/>
                <a:gd name="T31" fmla="*/ 38 h 40"/>
                <a:gd name="T32" fmla="*/ 62 w 96"/>
                <a:gd name="T33" fmla="*/ 34 h 40"/>
                <a:gd name="T34" fmla="*/ 70 w 96"/>
                <a:gd name="T35" fmla="*/ 32 h 40"/>
                <a:gd name="T36" fmla="*/ 80 w 96"/>
                <a:gd name="T37" fmla="*/ 26 h 40"/>
                <a:gd name="T38" fmla="*/ 88 w 96"/>
                <a:gd name="T39" fmla="*/ 20 h 40"/>
                <a:gd name="T40" fmla="*/ 90 w 96"/>
                <a:gd name="T41" fmla="*/ 16 h 40"/>
                <a:gd name="T42" fmla="*/ 94 w 96"/>
                <a:gd name="T43" fmla="*/ 12 h 40"/>
                <a:gd name="T44" fmla="*/ 96 w 96"/>
                <a:gd name="T45" fmla="*/ 10 h 40"/>
                <a:gd name="T46" fmla="*/ 96 w 96"/>
                <a:gd name="T47" fmla="*/ 8 h 40"/>
                <a:gd name="T48" fmla="*/ 94 w 96"/>
                <a:gd name="T49" fmla="*/ 6 h 40"/>
                <a:gd name="T50" fmla="*/ 94 w 96"/>
                <a:gd name="T51" fmla="*/ 6 h 40"/>
                <a:gd name="T52" fmla="*/ 92 w 96"/>
                <a:gd name="T53" fmla="*/ 4 h 40"/>
                <a:gd name="T54" fmla="*/ 90 w 96"/>
                <a:gd name="T55" fmla="*/ 4 h 40"/>
                <a:gd name="T56" fmla="*/ 86 w 96"/>
                <a:gd name="T57" fmla="*/ 2 h 40"/>
                <a:gd name="T58" fmla="*/ 80 w 96"/>
                <a:gd name="T59" fmla="*/ 4 h 40"/>
                <a:gd name="T60" fmla="*/ 70 w 96"/>
                <a:gd name="T61" fmla="*/ 4 h 40"/>
                <a:gd name="T62" fmla="*/ 62 w 96"/>
                <a:gd name="T63" fmla="*/ 6 h 40"/>
                <a:gd name="T64" fmla="*/ 56 w 96"/>
                <a:gd name="T65" fmla="*/ 6 h 40"/>
                <a:gd name="T66" fmla="*/ 52 w 96"/>
                <a:gd name="T67" fmla="*/ 6 h 40"/>
                <a:gd name="T68" fmla="*/ 42 w 96"/>
                <a:gd name="T69" fmla="*/ 4 h 40"/>
                <a:gd name="T70" fmla="*/ 34 w 96"/>
                <a:gd name="T71" fmla="*/ 2 h 40"/>
                <a:gd name="T72" fmla="*/ 24 w 96"/>
                <a:gd name="T73" fmla="*/ 2 h 40"/>
                <a:gd name="T74" fmla="*/ 16 w 96"/>
                <a:gd name="T75" fmla="*/ 0 h 40"/>
                <a:gd name="T76" fmla="*/ 10 w 96"/>
                <a:gd name="T77" fmla="*/ 0 h 40"/>
                <a:gd name="T78" fmla="*/ 6 w 96"/>
                <a:gd name="T79" fmla="*/ 2 h 40"/>
                <a:gd name="T80" fmla="*/ 4 w 96"/>
                <a:gd name="T81" fmla="*/ 2 h 40"/>
                <a:gd name="T82" fmla="*/ 2 w 96"/>
                <a:gd name="T83"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6" h="40">
                  <a:moveTo>
                    <a:pt x="2" y="4"/>
                  </a:moveTo>
                  <a:lnTo>
                    <a:pt x="2" y="4"/>
                  </a:lnTo>
                  <a:lnTo>
                    <a:pt x="0" y="6"/>
                  </a:lnTo>
                  <a:lnTo>
                    <a:pt x="0" y="6"/>
                  </a:lnTo>
                  <a:lnTo>
                    <a:pt x="0" y="8"/>
                  </a:lnTo>
                  <a:lnTo>
                    <a:pt x="0" y="10"/>
                  </a:lnTo>
                  <a:lnTo>
                    <a:pt x="0" y="12"/>
                  </a:lnTo>
                  <a:lnTo>
                    <a:pt x="0" y="14"/>
                  </a:lnTo>
                  <a:lnTo>
                    <a:pt x="0" y="16"/>
                  </a:lnTo>
                  <a:lnTo>
                    <a:pt x="0" y="18"/>
                  </a:lnTo>
                  <a:lnTo>
                    <a:pt x="2" y="20"/>
                  </a:lnTo>
                  <a:lnTo>
                    <a:pt x="2" y="24"/>
                  </a:lnTo>
                  <a:lnTo>
                    <a:pt x="4" y="26"/>
                  </a:lnTo>
                  <a:lnTo>
                    <a:pt x="4" y="28"/>
                  </a:lnTo>
                  <a:lnTo>
                    <a:pt x="6" y="28"/>
                  </a:lnTo>
                  <a:lnTo>
                    <a:pt x="6" y="30"/>
                  </a:lnTo>
                  <a:lnTo>
                    <a:pt x="8" y="30"/>
                  </a:lnTo>
                  <a:lnTo>
                    <a:pt x="10" y="32"/>
                  </a:lnTo>
                  <a:lnTo>
                    <a:pt x="12" y="34"/>
                  </a:lnTo>
                  <a:lnTo>
                    <a:pt x="14" y="34"/>
                  </a:lnTo>
                  <a:lnTo>
                    <a:pt x="16" y="36"/>
                  </a:lnTo>
                  <a:lnTo>
                    <a:pt x="18" y="36"/>
                  </a:lnTo>
                  <a:lnTo>
                    <a:pt x="22" y="36"/>
                  </a:lnTo>
                  <a:lnTo>
                    <a:pt x="24" y="38"/>
                  </a:lnTo>
                  <a:lnTo>
                    <a:pt x="30" y="38"/>
                  </a:lnTo>
                  <a:lnTo>
                    <a:pt x="34" y="40"/>
                  </a:lnTo>
                  <a:lnTo>
                    <a:pt x="40" y="40"/>
                  </a:lnTo>
                  <a:lnTo>
                    <a:pt x="44" y="40"/>
                  </a:lnTo>
                  <a:lnTo>
                    <a:pt x="46" y="40"/>
                  </a:lnTo>
                  <a:lnTo>
                    <a:pt x="48" y="40"/>
                  </a:lnTo>
                  <a:lnTo>
                    <a:pt x="50" y="38"/>
                  </a:lnTo>
                  <a:lnTo>
                    <a:pt x="54" y="38"/>
                  </a:lnTo>
                  <a:lnTo>
                    <a:pt x="58" y="36"/>
                  </a:lnTo>
                  <a:lnTo>
                    <a:pt x="62" y="34"/>
                  </a:lnTo>
                  <a:lnTo>
                    <a:pt x="66" y="32"/>
                  </a:lnTo>
                  <a:lnTo>
                    <a:pt x="70" y="32"/>
                  </a:lnTo>
                  <a:lnTo>
                    <a:pt x="72" y="30"/>
                  </a:lnTo>
                  <a:lnTo>
                    <a:pt x="80" y="26"/>
                  </a:lnTo>
                  <a:lnTo>
                    <a:pt x="84" y="22"/>
                  </a:lnTo>
                  <a:lnTo>
                    <a:pt x="88" y="20"/>
                  </a:lnTo>
                  <a:lnTo>
                    <a:pt x="90" y="18"/>
                  </a:lnTo>
                  <a:lnTo>
                    <a:pt x="90" y="16"/>
                  </a:lnTo>
                  <a:lnTo>
                    <a:pt x="92" y="14"/>
                  </a:lnTo>
                  <a:lnTo>
                    <a:pt x="94" y="12"/>
                  </a:lnTo>
                  <a:lnTo>
                    <a:pt x="94" y="12"/>
                  </a:lnTo>
                  <a:lnTo>
                    <a:pt x="96" y="10"/>
                  </a:lnTo>
                  <a:lnTo>
                    <a:pt x="96" y="10"/>
                  </a:lnTo>
                  <a:lnTo>
                    <a:pt x="96" y="8"/>
                  </a:lnTo>
                  <a:lnTo>
                    <a:pt x="96" y="8"/>
                  </a:lnTo>
                  <a:lnTo>
                    <a:pt x="94" y="6"/>
                  </a:lnTo>
                  <a:lnTo>
                    <a:pt x="94" y="6"/>
                  </a:lnTo>
                  <a:lnTo>
                    <a:pt x="94" y="6"/>
                  </a:lnTo>
                  <a:lnTo>
                    <a:pt x="94" y="4"/>
                  </a:lnTo>
                  <a:lnTo>
                    <a:pt x="92" y="4"/>
                  </a:lnTo>
                  <a:lnTo>
                    <a:pt x="92" y="4"/>
                  </a:lnTo>
                  <a:lnTo>
                    <a:pt x="90" y="4"/>
                  </a:lnTo>
                  <a:lnTo>
                    <a:pt x="88" y="4"/>
                  </a:lnTo>
                  <a:lnTo>
                    <a:pt x="86" y="2"/>
                  </a:lnTo>
                  <a:lnTo>
                    <a:pt x="84" y="4"/>
                  </a:lnTo>
                  <a:lnTo>
                    <a:pt x="80" y="4"/>
                  </a:lnTo>
                  <a:lnTo>
                    <a:pt x="78" y="4"/>
                  </a:lnTo>
                  <a:lnTo>
                    <a:pt x="70" y="4"/>
                  </a:lnTo>
                  <a:lnTo>
                    <a:pt x="64" y="6"/>
                  </a:lnTo>
                  <a:lnTo>
                    <a:pt x="62" y="6"/>
                  </a:lnTo>
                  <a:lnTo>
                    <a:pt x="58" y="6"/>
                  </a:lnTo>
                  <a:lnTo>
                    <a:pt x="56" y="6"/>
                  </a:lnTo>
                  <a:lnTo>
                    <a:pt x="54" y="6"/>
                  </a:lnTo>
                  <a:lnTo>
                    <a:pt x="52" y="6"/>
                  </a:lnTo>
                  <a:lnTo>
                    <a:pt x="50" y="6"/>
                  </a:lnTo>
                  <a:lnTo>
                    <a:pt x="42" y="4"/>
                  </a:lnTo>
                  <a:lnTo>
                    <a:pt x="36" y="2"/>
                  </a:lnTo>
                  <a:lnTo>
                    <a:pt x="34" y="2"/>
                  </a:lnTo>
                  <a:lnTo>
                    <a:pt x="32" y="2"/>
                  </a:lnTo>
                  <a:lnTo>
                    <a:pt x="24" y="2"/>
                  </a:lnTo>
                  <a:lnTo>
                    <a:pt x="20" y="0"/>
                  </a:lnTo>
                  <a:lnTo>
                    <a:pt x="16" y="0"/>
                  </a:lnTo>
                  <a:lnTo>
                    <a:pt x="12" y="0"/>
                  </a:lnTo>
                  <a:lnTo>
                    <a:pt x="10" y="0"/>
                  </a:lnTo>
                  <a:lnTo>
                    <a:pt x="8" y="0"/>
                  </a:lnTo>
                  <a:lnTo>
                    <a:pt x="6" y="2"/>
                  </a:lnTo>
                  <a:lnTo>
                    <a:pt x="4" y="2"/>
                  </a:lnTo>
                  <a:lnTo>
                    <a:pt x="4" y="2"/>
                  </a:lnTo>
                  <a:lnTo>
                    <a:pt x="2" y="4"/>
                  </a:lnTo>
                  <a:lnTo>
                    <a:pt x="2" y="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9" name="Freeform 237">
              <a:extLst>
                <a:ext uri="{FF2B5EF4-FFF2-40B4-BE49-F238E27FC236}">
                  <a16:creationId xmlns:a16="http://schemas.microsoft.com/office/drawing/2014/main" id="{E6900C64-AB29-4F2D-AB71-24F7FF8A623A}"/>
                </a:ext>
              </a:extLst>
            </p:cNvPr>
            <p:cNvSpPr>
              <a:spLocks/>
            </p:cNvSpPr>
            <p:nvPr/>
          </p:nvSpPr>
          <p:spPr bwMode="auto">
            <a:xfrm>
              <a:off x="4677981" y="1850642"/>
              <a:ext cx="166279" cy="69283"/>
            </a:xfrm>
            <a:custGeom>
              <a:avLst/>
              <a:gdLst>
                <a:gd name="T0" fmla="*/ 2 w 96"/>
                <a:gd name="T1" fmla="*/ 4 h 40"/>
                <a:gd name="T2" fmla="*/ 0 w 96"/>
                <a:gd name="T3" fmla="*/ 6 h 40"/>
                <a:gd name="T4" fmla="*/ 0 w 96"/>
                <a:gd name="T5" fmla="*/ 10 h 40"/>
                <a:gd name="T6" fmla="*/ 0 w 96"/>
                <a:gd name="T7" fmla="*/ 14 h 40"/>
                <a:gd name="T8" fmla="*/ 0 w 96"/>
                <a:gd name="T9" fmla="*/ 18 h 40"/>
                <a:gd name="T10" fmla="*/ 2 w 96"/>
                <a:gd name="T11" fmla="*/ 24 h 40"/>
                <a:gd name="T12" fmla="*/ 4 w 96"/>
                <a:gd name="T13" fmla="*/ 28 h 40"/>
                <a:gd name="T14" fmla="*/ 6 w 96"/>
                <a:gd name="T15" fmla="*/ 30 h 40"/>
                <a:gd name="T16" fmla="*/ 10 w 96"/>
                <a:gd name="T17" fmla="*/ 32 h 40"/>
                <a:gd name="T18" fmla="*/ 14 w 96"/>
                <a:gd name="T19" fmla="*/ 34 h 40"/>
                <a:gd name="T20" fmla="*/ 18 w 96"/>
                <a:gd name="T21" fmla="*/ 36 h 40"/>
                <a:gd name="T22" fmla="*/ 24 w 96"/>
                <a:gd name="T23" fmla="*/ 38 h 40"/>
                <a:gd name="T24" fmla="*/ 34 w 96"/>
                <a:gd name="T25" fmla="*/ 40 h 40"/>
                <a:gd name="T26" fmla="*/ 44 w 96"/>
                <a:gd name="T27" fmla="*/ 40 h 40"/>
                <a:gd name="T28" fmla="*/ 48 w 96"/>
                <a:gd name="T29" fmla="*/ 40 h 40"/>
                <a:gd name="T30" fmla="*/ 54 w 96"/>
                <a:gd name="T31" fmla="*/ 38 h 40"/>
                <a:gd name="T32" fmla="*/ 62 w 96"/>
                <a:gd name="T33" fmla="*/ 34 h 40"/>
                <a:gd name="T34" fmla="*/ 70 w 96"/>
                <a:gd name="T35" fmla="*/ 32 h 40"/>
                <a:gd name="T36" fmla="*/ 80 w 96"/>
                <a:gd name="T37" fmla="*/ 26 h 40"/>
                <a:gd name="T38" fmla="*/ 88 w 96"/>
                <a:gd name="T39" fmla="*/ 20 h 40"/>
                <a:gd name="T40" fmla="*/ 90 w 96"/>
                <a:gd name="T41" fmla="*/ 16 h 40"/>
                <a:gd name="T42" fmla="*/ 94 w 96"/>
                <a:gd name="T43" fmla="*/ 12 h 40"/>
                <a:gd name="T44" fmla="*/ 96 w 96"/>
                <a:gd name="T45" fmla="*/ 10 h 40"/>
                <a:gd name="T46" fmla="*/ 96 w 96"/>
                <a:gd name="T47" fmla="*/ 8 h 40"/>
                <a:gd name="T48" fmla="*/ 94 w 96"/>
                <a:gd name="T49" fmla="*/ 6 h 40"/>
                <a:gd name="T50" fmla="*/ 94 w 96"/>
                <a:gd name="T51" fmla="*/ 6 h 40"/>
                <a:gd name="T52" fmla="*/ 92 w 96"/>
                <a:gd name="T53" fmla="*/ 4 h 40"/>
                <a:gd name="T54" fmla="*/ 90 w 96"/>
                <a:gd name="T55" fmla="*/ 4 h 40"/>
                <a:gd name="T56" fmla="*/ 86 w 96"/>
                <a:gd name="T57" fmla="*/ 2 h 40"/>
                <a:gd name="T58" fmla="*/ 80 w 96"/>
                <a:gd name="T59" fmla="*/ 4 h 40"/>
                <a:gd name="T60" fmla="*/ 70 w 96"/>
                <a:gd name="T61" fmla="*/ 4 h 40"/>
                <a:gd name="T62" fmla="*/ 62 w 96"/>
                <a:gd name="T63" fmla="*/ 6 h 40"/>
                <a:gd name="T64" fmla="*/ 56 w 96"/>
                <a:gd name="T65" fmla="*/ 6 h 40"/>
                <a:gd name="T66" fmla="*/ 52 w 96"/>
                <a:gd name="T67" fmla="*/ 6 h 40"/>
                <a:gd name="T68" fmla="*/ 42 w 96"/>
                <a:gd name="T69" fmla="*/ 4 h 40"/>
                <a:gd name="T70" fmla="*/ 34 w 96"/>
                <a:gd name="T71" fmla="*/ 2 h 40"/>
                <a:gd name="T72" fmla="*/ 24 w 96"/>
                <a:gd name="T73" fmla="*/ 2 h 40"/>
                <a:gd name="T74" fmla="*/ 16 w 96"/>
                <a:gd name="T75" fmla="*/ 0 h 40"/>
                <a:gd name="T76" fmla="*/ 10 w 96"/>
                <a:gd name="T77" fmla="*/ 0 h 40"/>
                <a:gd name="T78" fmla="*/ 6 w 96"/>
                <a:gd name="T79" fmla="*/ 2 h 40"/>
                <a:gd name="T80" fmla="*/ 4 w 96"/>
                <a:gd name="T81" fmla="*/ 2 h 40"/>
                <a:gd name="T82" fmla="*/ 2 w 96"/>
                <a:gd name="T83"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6" h="40">
                  <a:moveTo>
                    <a:pt x="2" y="4"/>
                  </a:moveTo>
                  <a:lnTo>
                    <a:pt x="2" y="4"/>
                  </a:lnTo>
                  <a:lnTo>
                    <a:pt x="0" y="6"/>
                  </a:lnTo>
                  <a:lnTo>
                    <a:pt x="0" y="6"/>
                  </a:lnTo>
                  <a:lnTo>
                    <a:pt x="0" y="8"/>
                  </a:lnTo>
                  <a:lnTo>
                    <a:pt x="0" y="10"/>
                  </a:lnTo>
                  <a:lnTo>
                    <a:pt x="0" y="12"/>
                  </a:lnTo>
                  <a:lnTo>
                    <a:pt x="0" y="14"/>
                  </a:lnTo>
                  <a:lnTo>
                    <a:pt x="0" y="16"/>
                  </a:lnTo>
                  <a:lnTo>
                    <a:pt x="0" y="18"/>
                  </a:lnTo>
                  <a:lnTo>
                    <a:pt x="2" y="20"/>
                  </a:lnTo>
                  <a:lnTo>
                    <a:pt x="2" y="24"/>
                  </a:lnTo>
                  <a:lnTo>
                    <a:pt x="4" y="26"/>
                  </a:lnTo>
                  <a:lnTo>
                    <a:pt x="4" y="28"/>
                  </a:lnTo>
                  <a:lnTo>
                    <a:pt x="6" y="28"/>
                  </a:lnTo>
                  <a:lnTo>
                    <a:pt x="6" y="30"/>
                  </a:lnTo>
                  <a:lnTo>
                    <a:pt x="8" y="30"/>
                  </a:lnTo>
                  <a:lnTo>
                    <a:pt x="10" y="32"/>
                  </a:lnTo>
                  <a:lnTo>
                    <a:pt x="12" y="34"/>
                  </a:lnTo>
                  <a:lnTo>
                    <a:pt x="14" y="34"/>
                  </a:lnTo>
                  <a:lnTo>
                    <a:pt x="16" y="36"/>
                  </a:lnTo>
                  <a:lnTo>
                    <a:pt x="18" y="36"/>
                  </a:lnTo>
                  <a:lnTo>
                    <a:pt x="22" y="36"/>
                  </a:lnTo>
                  <a:lnTo>
                    <a:pt x="24" y="38"/>
                  </a:lnTo>
                  <a:lnTo>
                    <a:pt x="30" y="38"/>
                  </a:lnTo>
                  <a:lnTo>
                    <a:pt x="34" y="40"/>
                  </a:lnTo>
                  <a:lnTo>
                    <a:pt x="40" y="40"/>
                  </a:lnTo>
                  <a:lnTo>
                    <a:pt x="44" y="40"/>
                  </a:lnTo>
                  <a:lnTo>
                    <a:pt x="46" y="40"/>
                  </a:lnTo>
                  <a:lnTo>
                    <a:pt x="48" y="40"/>
                  </a:lnTo>
                  <a:lnTo>
                    <a:pt x="50" y="38"/>
                  </a:lnTo>
                  <a:lnTo>
                    <a:pt x="54" y="38"/>
                  </a:lnTo>
                  <a:lnTo>
                    <a:pt x="58" y="36"/>
                  </a:lnTo>
                  <a:lnTo>
                    <a:pt x="62" y="34"/>
                  </a:lnTo>
                  <a:lnTo>
                    <a:pt x="66" y="32"/>
                  </a:lnTo>
                  <a:lnTo>
                    <a:pt x="70" y="32"/>
                  </a:lnTo>
                  <a:lnTo>
                    <a:pt x="72" y="30"/>
                  </a:lnTo>
                  <a:lnTo>
                    <a:pt x="80" y="26"/>
                  </a:lnTo>
                  <a:lnTo>
                    <a:pt x="84" y="22"/>
                  </a:lnTo>
                  <a:lnTo>
                    <a:pt x="88" y="20"/>
                  </a:lnTo>
                  <a:lnTo>
                    <a:pt x="90" y="18"/>
                  </a:lnTo>
                  <a:lnTo>
                    <a:pt x="90" y="16"/>
                  </a:lnTo>
                  <a:lnTo>
                    <a:pt x="92" y="14"/>
                  </a:lnTo>
                  <a:lnTo>
                    <a:pt x="94" y="12"/>
                  </a:lnTo>
                  <a:lnTo>
                    <a:pt x="94" y="12"/>
                  </a:lnTo>
                  <a:lnTo>
                    <a:pt x="96" y="10"/>
                  </a:lnTo>
                  <a:lnTo>
                    <a:pt x="96" y="10"/>
                  </a:lnTo>
                  <a:lnTo>
                    <a:pt x="96" y="8"/>
                  </a:lnTo>
                  <a:lnTo>
                    <a:pt x="96" y="8"/>
                  </a:lnTo>
                  <a:lnTo>
                    <a:pt x="94" y="6"/>
                  </a:lnTo>
                  <a:lnTo>
                    <a:pt x="94" y="6"/>
                  </a:lnTo>
                  <a:lnTo>
                    <a:pt x="94" y="6"/>
                  </a:lnTo>
                  <a:lnTo>
                    <a:pt x="94" y="4"/>
                  </a:lnTo>
                  <a:lnTo>
                    <a:pt x="92" y="4"/>
                  </a:lnTo>
                  <a:lnTo>
                    <a:pt x="92" y="4"/>
                  </a:lnTo>
                  <a:lnTo>
                    <a:pt x="90" y="4"/>
                  </a:lnTo>
                  <a:lnTo>
                    <a:pt x="88" y="4"/>
                  </a:lnTo>
                  <a:lnTo>
                    <a:pt x="86" y="2"/>
                  </a:lnTo>
                  <a:lnTo>
                    <a:pt x="84" y="4"/>
                  </a:lnTo>
                  <a:lnTo>
                    <a:pt x="80" y="4"/>
                  </a:lnTo>
                  <a:lnTo>
                    <a:pt x="78" y="4"/>
                  </a:lnTo>
                  <a:lnTo>
                    <a:pt x="70" y="4"/>
                  </a:lnTo>
                  <a:lnTo>
                    <a:pt x="64" y="6"/>
                  </a:lnTo>
                  <a:lnTo>
                    <a:pt x="62" y="6"/>
                  </a:lnTo>
                  <a:lnTo>
                    <a:pt x="58" y="6"/>
                  </a:lnTo>
                  <a:lnTo>
                    <a:pt x="56" y="6"/>
                  </a:lnTo>
                  <a:lnTo>
                    <a:pt x="54" y="6"/>
                  </a:lnTo>
                  <a:lnTo>
                    <a:pt x="52" y="6"/>
                  </a:lnTo>
                  <a:lnTo>
                    <a:pt x="50" y="6"/>
                  </a:lnTo>
                  <a:lnTo>
                    <a:pt x="42" y="4"/>
                  </a:lnTo>
                  <a:lnTo>
                    <a:pt x="36" y="2"/>
                  </a:lnTo>
                  <a:lnTo>
                    <a:pt x="34" y="2"/>
                  </a:lnTo>
                  <a:lnTo>
                    <a:pt x="32" y="2"/>
                  </a:lnTo>
                  <a:lnTo>
                    <a:pt x="24" y="2"/>
                  </a:lnTo>
                  <a:lnTo>
                    <a:pt x="20" y="0"/>
                  </a:lnTo>
                  <a:lnTo>
                    <a:pt x="16" y="0"/>
                  </a:lnTo>
                  <a:lnTo>
                    <a:pt x="12" y="0"/>
                  </a:lnTo>
                  <a:lnTo>
                    <a:pt x="10" y="0"/>
                  </a:lnTo>
                  <a:lnTo>
                    <a:pt x="8" y="0"/>
                  </a:lnTo>
                  <a:lnTo>
                    <a:pt x="6" y="2"/>
                  </a:lnTo>
                  <a:lnTo>
                    <a:pt x="4" y="2"/>
                  </a:lnTo>
                  <a:lnTo>
                    <a:pt x="4" y="2"/>
                  </a:lnTo>
                  <a:lnTo>
                    <a:pt x="2" y="4"/>
                  </a:lnTo>
                  <a:lnTo>
                    <a:pt x="2" y="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0" name="Freeform 238">
              <a:extLst>
                <a:ext uri="{FF2B5EF4-FFF2-40B4-BE49-F238E27FC236}">
                  <a16:creationId xmlns:a16="http://schemas.microsoft.com/office/drawing/2014/main" id="{FEBCD54D-1100-4D4E-94E1-C24FD72DFBB0}"/>
                </a:ext>
              </a:extLst>
            </p:cNvPr>
            <p:cNvSpPr>
              <a:spLocks/>
            </p:cNvSpPr>
            <p:nvPr/>
          </p:nvSpPr>
          <p:spPr bwMode="auto">
            <a:xfrm>
              <a:off x="4723015" y="3364475"/>
              <a:ext cx="45034" cy="69283"/>
            </a:xfrm>
            <a:custGeom>
              <a:avLst/>
              <a:gdLst>
                <a:gd name="T0" fmla="*/ 26 w 26"/>
                <a:gd name="T1" fmla="*/ 28 h 40"/>
                <a:gd name="T2" fmla="*/ 12 w 26"/>
                <a:gd name="T3" fmla="*/ 40 h 40"/>
                <a:gd name="T4" fmla="*/ 10 w 26"/>
                <a:gd name="T5" fmla="*/ 38 h 40"/>
                <a:gd name="T6" fmla="*/ 8 w 26"/>
                <a:gd name="T7" fmla="*/ 36 h 40"/>
                <a:gd name="T8" fmla="*/ 6 w 26"/>
                <a:gd name="T9" fmla="*/ 36 h 40"/>
                <a:gd name="T10" fmla="*/ 6 w 26"/>
                <a:gd name="T11" fmla="*/ 36 h 40"/>
                <a:gd name="T12" fmla="*/ 6 w 26"/>
                <a:gd name="T13" fmla="*/ 34 h 40"/>
                <a:gd name="T14" fmla="*/ 4 w 26"/>
                <a:gd name="T15" fmla="*/ 34 h 40"/>
                <a:gd name="T16" fmla="*/ 2 w 26"/>
                <a:gd name="T17" fmla="*/ 32 h 40"/>
                <a:gd name="T18" fmla="*/ 2 w 26"/>
                <a:gd name="T19" fmla="*/ 32 h 40"/>
                <a:gd name="T20" fmla="*/ 0 w 26"/>
                <a:gd name="T21" fmla="*/ 32 h 40"/>
                <a:gd name="T22" fmla="*/ 0 w 26"/>
                <a:gd name="T23" fmla="*/ 30 h 40"/>
                <a:gd name="T24" fmla="*/ 0 w 26"/>
                <a:gd name="T25" fmla="*/ 30 h 40"/>
                <a:gd name="T26" fmla="*/ 0 w 26"/>
                <a:gd name="T27" fmla="*/ 28 h 40"/>
                <a:gd name="T28" fmla="*/ 2 w 26"/>
                <a:gd name="T29" fmla="*/ 28 h 40"/>
                <a:gd name="T30" fmla="*/ 2 w 26"/>
                <a:gd name="T31" fmla="*/ 26 h 40"/>
                <a:gd name="T32" fmla="*/ 2 w 26"/>
                <a:gd name="T33" fmla="*/ 24 h 40"/>
                <a:gd name="T34" fmla="*/ 4 w 26"/>
                <a:gd name="T35" fmla="*/ 22 h 40"/>
                <a:gd name="T36" fmla="*/ 6 w 26"/>
                <a:gd name="T37" fmla="*/ 18 h 40"/>
                <a:gd name="T38" fmla="*/ 8 w 26"/>
                <a:gd name="T39" fmla="*/ 16 h 40"/>
                <a:gd name="T40" fmla="*/ 8 w 26"/>
                <a:gd name="T41" fmla="*/ 16 h 40"/>
                <a:gd name="T42" fmla="*/ 8 w 26"/>
                <a:gd name="T43" fmla="*/ 14 h 40"/>
                <a:gd name="T44" fmla="*/ 8 w 26"/>
                <a:gd name="T45" fmla="*/ 10 h 40"/>
                <a:gd name="T46" fmla="*/ 6 w 26"/>
                <a:gd name="T47" fmla="*/ 8 h 40"/>
                <a:gd name="T48" fmla="*/ 6 w 26"/>
                <a:gd name="T49" fmla="*/ 6 h 40"/>
                <a:gd name="T50" fmla="*/ 6 w 26"/>
                <a:gd name="T51" fmla="*/ 4 h 40"/>
                <a:gd name="T52" fmla="*/ 6 w 26"/>
                <a:gd name="T53" fmla="*/ 4 h 40"/>
                <a:gd name="T54" fmla="*/ 6 w 26"/>
                <a:gd name="T55" fmla="*/ 4 h 40"/>
                <a:gd name="T56" fmla="*/ 6 w 26"/>
                <a:gd name="T57" fmla="*/ 4 h 40"/>
                <a:gd name="T58" fmla="*/ 6 w 26"/>
                <a:gd name="T59" fmla="*/ 2 h 40"/>
                <a:gd name="T60" fmla="*/ 8 w 26"/>
                <a:gd name="T61" fmla="*/ 2 h 40"/>
                <a:gd name="T62" fmla="*/ 10 w 26"/>
                <a:gd name="T63" fmla="*/ 2 h 40"/>
                <a:gd name="T64" fmla="*/ 12 w 26"/>
                <a:gd name="T65" fmla="*/ 0 h 40"/>
                <a:gd name="T66" fmla="*/ 14 w 26"/>
                <a:gd name="T67" fmla="*/ 0 h 40"/>
                <a:gd name="T68" fmla="*/ 16 w 26"/>
                <a:gd name="T69" fmla="*/ 0 h 40"/>
                <a:gd name="T70" fmla="*/ 22 w 26"/>
                <a:gd name="T71" fmla="*/ 14 h 40"/>
                <a:gd name="T72" fmla="*/ 24 w 26"/>
                <a:gd name="T73" fmla="*/ 16 h 40"/>
                <a:gd name="T74" fmla="*/ 24 w 26"/>
                <a:gd name="T75" fmla="*/ 18 h 40"/>
                <a:gd name="T76" fmla="*/ 24 w 26"/>
                <a:gd name="T77" fmla="*/ 22 h 40"/>
                <a:gd name="T78" fmla="*/ 26 w 26"/>
                <a:gd name="T79" fmla="*/ 26 h 40"/>
                <a:gd name="T80" fmla="*/ 26 w 26"/>
                <a:gd name="T81"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40">
                  <a:moveTo>
                    <a:pt x="26" y="28"/>
                  </a:moveTo>
                  <a:lnTo>
                    <a:pt x="12" y="40"/>
                  </a:lnTo>
                  <a:lnTo>
                    <a:pt x="10" y="38"/>
                  </a:lnTo>
                  <a:lnTo>
                    <a:pt x="8" y="36"/>
                  </a:lnTo>
                  <a:lnTo>
                    <a:pt x="6" y="36"/>
                  </a:lnTo>
                  <a:lnTo>
                    <a:pt x="6" y="36"/>
                  </a:lnTo>
                  <a:lnTo>
                    <a:pt x="6" y="34"/>
                  </a:lnTo>
                  <a:lnTo>
                    <a:pt x="4" y="34"/>
                  </a:lnTo>
                  <a:lnTo>
                    <a:pt x="2" y="32"/>
                  </a:lnTo>
                  <a:lnTo>
                    <a:pt x="2" y="32"/>
                  </a:lnTo>
                  <a:lnTo>
                    <a:pt x="0" y="32"/>
                  </a:lnTo>
                  <a:lnTo>
                    <a:pt x="0" y="30"/>
                  </a:lnTo>
                  <a:lnTo>
                    <a:pt x="0" y="30"/>
                  </a:lnTo>
                  <a:lnTo>
                    <a:pt x="0" y="28"/>
                  </a:lnTo>
                  <a:lnTo>
                    <a:pt x="2" y="28"/>
                  </a:lnTo>
                  <a:lnTo>
                    <a:pt x="2" y="26"/>
                  </a:lnTo>
                  <a:lnTo>
                    <a:pt x="2" y="24"/>
                  </a:lnTo>
                  <a:lnTo>
                    <a:pt x="4" y="22"/>
                  </a:lnTo>
                  <a:lnTo>
                    <a:pt x="6" y="18"/>
                  </a:lnTo>
                  <a:lnTo>
                    <a:pt x="8" y="16"/>
                  </a:lnTo>
                  <a:lnTo>
                    <a:pt x="8" y="16"/>
                  </a:lnTo>
                  <a:lnTo>
                    <a:pt x="8" y="14"/>
                  </a:lnTo>
                  <a:lnTo>
                    <a:pt x="8" y="10"/>
                  </a:lnTo>
                  <a:lnTo>
                    <a:pt x="6" y="8"/>
                  </a:lnTo>
                  <a:lnTo>
                    <a:pt x="6" y="6"/>
                  </a:lnTo>
                  <a:lnTo>
                    <a:pt x="6" y="4"/>
                  </a:lnTo>
                  <a:lnTo>
                    <a:pt x="6" y="4"/>
                  </a:lnTo>
                  <a:lnTo>
                    <a:pt x="6" y="4"/>
                  </a:lnTo>
                  <a:lnTo>
                    <a:pt x="6" y="4"/>
                  </a:lnTo>
                  <a:lnTo>
                    <a:pt x="6" y="2"/>
                  </a:lnTo>
                  <a:lnTo>
                    <a:pt x="8" y="2"/>
                  </a:lnTo>
                  <a:lnTo>
                    <a:pt x="10" y="2"/>
                  </a:lnTo>
                  <a:lnTo>
                    <a:pt x="12" y="0"/>
                  </a:lnTo>
                  <a:lnTo>
                    <a:pt x="14" y="0"/>
                  </a:lnTo>
                  <a:lnTo>
                    <a:pt x="16" y="0"/>
                  </a:lnTo>
                  <a:lnTo>
                    <a:pt x="22" y="14"/>
                  </a:lnTo>
                  <a:lnTo>
                    <a:pt x="24" y="16"/>
                  </a:lnTo>
                  <a:lnTo>
                    <a:pt x="24" y="18"/>
                  </a:lnTo>
                  <a:lnTo>
                    <a:pt x="24" y="22"/>
                  </a:lnTo>
                  <a:lnTo>
                    <a:pt x="26" y="26"/>
                  </a:lnTo>
                  <a:lnTo>
                    <a:pt x="26" y="2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1" name="Freeform 239">
              <a:extLst>
                <a:ext uri="{FF2B5EF4-FFF2-40B4-BE49-F238E27FC236}">
                  <a16:creationId xmlns:a16="http://schemas.microsoft.com/office/drawing/2014/main" id="{DC86E0C0-1537-43C9-B681-1A863697BF04}"/>
                </a:ext>
              </a:extLst>
            </p:cNvPr>
            <p:cNvSpPr>
              <a:spLocks/>
            </p:cNvSpPr>
            <p:nvPr/>
          </p:nvSpPr>
          <p:spPr bwMode="auto">
            <a:xfrm>
              <a:off x="4723015" y="3364475"/>
              <a:ext cx="45034" cy="69283"/>
            </a:xfrm>
            <a:custGeom>
              <a:avLst/>
              <a:gdLst>
                <a:gd name="T0" fmla="*/ 26 w 26"/>
                <a:gd name="T1" fmla="*/ 28 h 40"/>
                <a:gd name="T2" fmla="*/ 12 w 26"/>
                <a:gd name="T3" fmla="*/ 40 h 40"/>
                <a:gd name="T4" fmla="*/ 10 w 26"/>
                <a:gd name="T5" fmla="*/ 38 h 40"/>
                <a:gd name="T6" fmla="*/ 8 w 26"/>
                <a:gd name="T7" fmla="*/ 36 h 40"/>
                <a:gd name="T8" fmla="*/ 6 w 26"/>
                <a:gd name="T9" fmla="*/ 36 h 40"/>
                <a:gd name="T10" fmla="*/ 6 w 26"/>
                <a:gd name="T11" fmla="*/ 36 h 40"/>
                <a:gd name="T12" fmla="*/ 6 w 26"/>
                <a:gd name="T13" fmla="*/ 34 h 40"/>
                <a:gd name="T14" fmla="*/ 4 w 26"/>
                <a:gd name="T15" fmla="*/ 34 h 40"/>
                <a:gd name="T16" fmla="*/ 2 w 26"/>
                <a:gd name="T17" fmla="*/ 32 h 40"/>
                <a:gd name="T18" fmla="*/ 2 w 26"/>
                <a:gd name="T19" fmla="*/ 32 h 40"/>
                <a:gd name="T20" fmla="*/ 0 w 26"/>
                <a:gd name="T21" fmla="*/ 32 h 40"/>
                <a:gd name="T22" fmla="*/ 0 w 26"/>
                <a:gd name="T23" fmla="*/ 30 h 40"/>
                <a:gd name="T24" fmla="*/ 0 w 26"/>
                <a:gd name="T25" fmla="*/ 30 h 40"/>
                <a:gd name="T26" fmla="*/ 0 w 26"/>
                <a:gd name="T27" fmla="*/ 28 h 40"/>
                <a:gd name="T28" fmla="*/ 2 w 26"/>
                <a:gd name="T29" fmla="*/ 28 h 40"/>
                <a:gd name="T30" fmla="*/ 2 w 26"/>
                <a:gd name="T31" fmla="*/ 26 h 40"/>
                <a:gd name="T32" fmla="*/ 2 w 26"/>
                <a:gd name="T33" fmla="*/ 24 h 40"/>
                <a:gd name="T34" fmla="*/ 4 w 26"/>
                <a:gd name="T35" fmla="*/ 22 h 40"/>
                <a:gd name="T36" fmla="*/ 6 w 26"/>
                <a:gd name="T37" fmla="*/ 18 h 40"/>
                <a:gd name="T38" fmla="*/ 8 w 26"/>
                <a:gd name="T39" fmla="*/ 16 h 40"/>
                <a:gd name="T40" fmla="*/ 8 w 26"/>
                <a:gd name="T41" fmla="*/ 16 h 40"/>
                <a:gd name="T42" fmla="*/ 8 w 26"/>
                <a:gd name="T43" fmla="*/ 14 h 40"/>
                <a:gd name="T44" fmla="*/ 8 w 26"/>
                <a:gd name="T45" fmla="*/ 10 h 40"/>
                <a:gd name="T46" fmla="*/ 6 w 26"/>
                <a:gd name="T47" fmla="*/ 8 h 40"/>
                <a:gd name="T48" fmla="*/ 6 w 26"/>
                <a:gd name="T49" fmla="*/ 6 h 40"/>
                <a:gd name="T50" fmla="*/ 6 w 26"/>
                <a:gd name="T51" fmla="*/ 4 h 40"/>
                <a:gd name="T52" fmla="*/ 6 w 26"/>
                <a:gd name="T53" fmla="*/ 4 h 40"/>
                <a:gd name="T54" fmla="*/ 6 w 26"/>
                <a:gd name="T55" fmla="*/ 4 h 40"/>
                <a:gd name="T56" fmla="*/ 6 w 26"/>
                <a:gd name="T57" fmla="*/ 4 h 40"/>
                <a:gd name="T58" fmla="*/ 6 w 26"/>
                <a:gd name="T59" fmla="*/ 2 h 40"/>
                <a:gd name="T60" fmla="*/ 8 w 26"/>
                <a:gd name="T61" fmla="*/ 2 h 40"/>
                <a:gd name="T62" fmla="*/ 10 w 26"/>
                <a:gd name="T63" fmla="*/ 2 h 40"/>
                <a:gd name="T64" fmla="*/ 12 w 26"/>
                <a:gd name="T65" fmla="*/ 0 h 40"/>
                <a:gd name="T66" fmla="*/ 14 w 26"/>
                <a:gd name="T67" fmla="*/ 0 h 40"/>
                <a:gd name="T68" fmla="*/ 16 w 26"/>
                <a:gd name="T69" fmla="*/ 0 h 40"/>
                <a:gd name="T70" fmla="*/ 22 w 26"/>
                <a:gd name="T71" fmla="*/ 14 h 40"/>
                <a:gd name="T72" fmla="*/ 24 w 26"/>
                <a:gd name="T73" fmla="*/ 16 h 40"/>
                <a:gd name="T74" fmla="*/ 24 w 26"/>
                <a:gd name="T75" fmla="*/ 18 h 40"/>
                <a:gd name="T76" fmla="*/ 24 w 26"/>
                <a:gd name="T77" fmla="*/ 22 h 40"/>
                <a:gd name="T78" fmla="*/ 26 w 26"/>
                <a:gd name="T79" fmla="*/ 26 h 40"/>
                <a:gd name="T80" fmla="*/ 26 w 26"/>
                <a:gd name="T81"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40">
                  <a:moveTo>
                    <a:pt x="26" y="28"/>
                  </a:moveTo>
                  <a:lnTo>
                    <a:pt x="12" y="40"/>
                  </a:lnTo>
                  <a:lnTo>
                    <a:pt x="10" y="38"/>
                  </a:lnTo>
                  <a:lnTo>
                    <a:pt x="8" y="36"/>
                  </a:lnTo>
                  <a:lnTo>
                    <a:pt x="6" y="36"/>
                  </a:lnTo>
                  <a:lnTo>
                    <a:pt x="6" y="36"/>
                  </a:lnTo>
                  <a:lnTo>
                    <a:pt x="6" y="34"/>
                  </a:lnTo>
                  <a:lnTo>
                    <a:pt x="4" y="34"/>
                  </a:lnTo>
                  <a:lnTo>
                    <a:pt x="2" y="32"/>
                  </a:lnTo>
                  <a:lnTo>
                    <a:pt x="2" y="32"/>
                  </a:lnTo>
                  <a:lnTo>
                    <a:pt x="0" y="32"/>
                  </a:lnTo>
                  <a:lnTo>
                    <a:pt x="0" y="30"/>
                  </a:lnTo>
                  <a:lnTo>
                    <a:pt x="0" y="30"/>
                  </a:lnTo>
                  <a:lnTo>
                    <a:pt x="0" y="28"/>
                  </a:lnTo>
                  <a:lnTo>
                    <a:pt x="2" y="28"/>
                  </a:lnTo>
                  <a:lnTo>
                    <a:pt x="2" y="26"/>
                  </a:lnTo>
                  <a:lnTo>
                    <a:pt x="2" y="24"/>
                  </a:lnTo>
                  <a:lnTo>
                    <a:pt x="4" y="22"/>
                  </a:lnTo>
                  <a:lnTo>
                    <a:pt x="6" y="18"/>
                  </a:lnTo>
                  <a:lnTo>
                    <a:pt x="8" y="16"/>
                  </a:lnTo>
                  <a:lnTo>
                    <a:pt x="8" y="16"/>
                  </a:lnTo>
                  <a:lnTo>
                    <a:pt x="8" y="14"/>
                  </a:lnTo>
                  <a:lnTo>
                    <a:pt x="8" y="10"/>
                  </a:lnTo>
                  <a:lnTo>
                    <a:pt x="6" y="8"/>
                  </a:lnTo>
                  <a:lnTo>
                    <a:pt x="6" y="6"/>
                  </a:lnTo>
                  <a:lnTo>
                    <a:pt x="6" y="4"/>
                  </a:lnTo>
                  <a:lnTo>
                    <a:pt x="6" y="4"/>
                  </a:lnTo>
                  <a:lnTo>
                    <a:pt x="6" y="4"/>
                  </a:lnTo>
                  <a:lnTo>
                    <a:pt x="6" y="4"/>
                  </a:lnTo>
                  <a:lnTo>
                    <a:pt x="6" y="2"/>
                  </a:lnTo>
                  <a:lnTo>
                    <a:pt x="8" y="2"/>
                  </a:lnTo>
                  <a:lnTo>
                    <a:pt x="10" y="2"/>
                  </a:lnTo>
                  <a:lnTo>
                    <a:pt x="12" y="0"/>
                  </a:lnTo>
                  <a:lnTo>
                    <a:pt x="14" y="0"/>
                  </a:lnTo>
                  <a:lnTo>
                    <a:pt x="16" y="0"/>
                  </a:lnTo>
                  <a:lnTo>
                    <a:pt x="22" y="14"/>
                  </a:lnTo>
                  <a:lnTo>
                    <a:pt x="24" y="16"/>
                  </a:lnTo>
                  <a:lnTo>
                    <a:pt x="24" y="18"/>
                  </a:lnTo>
                  <a:lnTo>
                    <a:pt x="24" y="22"/>
                  </a:lnTo>
                  <a:lnTo>
                    <a:pt x="26" y="26"/>
                  </a:lnTo>
                  <a:lnTo>
                    <a:pt x="26" y="2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2" name="Freeform 240">
              <a:extLst>
                <a:ext uri="{FF2B5EF4-FFF2-40B4-BE49-F238E27FC236}">
                  <a16:creationId xmlns:a16="http://schemas.microsoft.com/office/drawing/2014/main" id="{907D3B47-EC32-44AE-8D43-E65D121E2251}"/>
                </a:ext>
              </a:extLst>
            </p:cNvPr>
            <p:cNvSpPr>
              <a:spLocks/>
            </p:cNvSpPr>
            <p:nvPr/>
          </p:nvSpPr>
          <p:spPr bwMode="auto">
            <a:xfrm>
              <a:off x="4643340" y="3167019"/>
              <a:ext cx="152423" cy="86604"/>
            </a:xfrm>
            <a:custGeom>
              <a:avLst/>
              <a:gdLst>
                <a:gd name="T0" fmla="*/ 88 w 88"/>
                <a:gd name="T1" fmla="*/ 12 h 50"/>
                <a:gd name="T2" fmla="*/ 80 w 88"/>
                <a:gd name="T3" fmla="*/ 6 h 50"/>
                <a:gd name="T4" fmla="*/ 76 w 88"/>
                <a:gd name="T5" fmla="*/ 2 h 50"/>
                <a:gd name="T6" fmla="*/ 72 w 88"/>
                <a:gd name="T7" fmla="*/ 2 h 50"/>
                <a:gd name="T8" fmla="*/ 70 w 88"/>
                <a:gd name="T9" fmla="*/ 0 h 50"/>
                <a:gd name="T10" fmla="*/ 66 w 88"/>
                <a:gd name="T11" fmla="*/ 0 h 50"/>
                <a:gd name="T12" fmla="*/ 60 w 88"/>
                <a:gd name="T13" fmla="*/ 2 h 50"/>
                <a:gd name="T14" fmla="*/ 50 w 88"/>
                <a:gd name="T15" fmla="*/ 4 h 50"/>
                <a:gd name="T16" fmla="*/ 46 w 88"/>
                <a:gd name="T17" fmla="*/ 6 h 50"/>
                <a:gd name="T18" fmla="*/ 38 w 88"/>
                <a:gd name="T19" fmla="*/ 6 h 50"/>
                <a:gd name="T20" fmla="*/ 28 w 88"/>
                <a:gd name="T21" fmla="*/ 6 h 50"/>
                <a:gd name="T22" fmla="*/ 18 w 88"/>
                <a:gd name="T23" fmla="*/ 4 h 50"/>
                <a:gd name="T24" fmla="*/ 10 w 88"/>
                <a:gd name="T25" fmla="*/ 4 h 50"/>
                <a:gd name="T26" fmla="*/ 10 w 88"/>
                <a:gd name="T27" fmla="*/ 10 h 50"/>
                <a:gd name="T28" fmla="*/ 10 w 88"/>
                <a:gd name="T29" fmla="*/ 14 h 50"/>
                <a:gd name="T30" fmla="*/ 10 w 88"/>
                <a:gd name="T31" fmla="*/ 18 h 50"/>
                <a:gd name="T32" fmla="*/ 8 w 88"/>
                <a:gd name="T33" fmla="*/ 20 h 50"/>
                <a:gd name="T34" fmla="*/ 6 w 88"/>
                <a:gd name="T35" fmla="*/ 24 h 50"/>
                <a:gd name="T36" fmla="*/ 4 w 88"/>
                <a:gd name="T37" fmla="*/ 26 h 50"/>
                <a:gd name="T38" fmla="*/ 4 w 88"/>
                <a:gd name="T39" fmla="*/ 28 h 50"/>
                <a:gd name="T40" fmla="*/ 4 w 88"/>
                <a:gd name="T41" fmla="*/ 30 h 50"/>
                <a:gd name="T42" fmla="*/ 2 w 88"/>
                <a:gd name="T43" fmla="*/ 34 h 50"/>
                <a:gd name="T44" fmla="*/ 2 w 88"/>
                <a:gd name="T45" fmla="*/ 36 h 50"/>
                <a:gd name="T46" fmla="*/ 6 w 88"/>
                <a:gd name="T47" fmla="*/ 38 h 50"/>
                <a:gd name="T48" fmla="*/ 8 w 88"/>
                <a:gd name="T49" fmla="*/ 38 h 50"/>
                <a:gd name="T50" fmla="*/ 18 w 88"/>
                <a:gd name="T51" fmla="*/ 44 h 50"/>
                <a:gd name="T52" fmla="*/ 22 w 88"/>
                <a:gd name="T53" fmla="*/ 46 h 50"/>
                <a:gd name="T54" fmla="*/ 26 w 88"/>
                <a:gd name="T55" fmla="*/ 46 h 50"/>
                <a:gd name="T56" fmla="*/ 38 w 88"/>
                <a:gd name="T57" fmla="*/ 50 h 50"/>
                <a:gd name="T58" fmla="*/ 40 w 88"/>
                <a:gd name="T59" fmla="*/ 46 h 50"/>
                <a:gd name="T60" fmla="*/ 44 w 88"/>
                <a:gd name="T61" fmla="*/ 44 h 50"/>
                <a:gd name="T62" fmla="*/ 46 w 88"/>
                <a:gd name="T63" fmla="*/ 42 h 50"/>
                <a:gd name="T64" fmla="*/ 50 w 88"/>
                <a:gd name="T65" fmla="*/ 42 h 50"/>
                <a:gd name="T66" fmla="*/ 52 w 88"/>
                <a:gd name="T67" fmla="*/ 42 h 50"/>
                <a:gd name="T68" fmla="*/ 58 w 88"/>
                <a:gd name="T69" fmla="*/ 42 h 50"/>
                <a:gd name="T70" fmla="*/ 64 w 88"/>
                <a:gd name="T71" fmla="*/ 42 h 50"/>
                <a:gd name="T72" fmla="*/ 68 w 88"/>
                <a:gd name="T73" fmla="*/ 40 h 50"/>
                <a:gd name="T74" fmla="*/ 70 w 88"/>
                <a:gd name="T75" fmla="*/ 40 h 50"/>
                <a:gd name="T76" fmla="*/ 72 w 88"/>
                <a:gd name="T77" fmla="*/ 38 h 50"/>
                <a:gd name="T78" fmla="*/ 74 w 88"/>
                <a:gd name="T79" fmla="*/ 36 h 50"/>
                <a:gd name="T80" fmla="*/ 78 w 88"/>
                <a:gd name="T81" fmla="*/ 30 h 50"/>
                <a:gd name="T82" fmla="*/ 80 w 88"/>
                <a:gd name="T83" fmla="*/ 24 h 50"/>
                <a:gd name="T84" fmla="*/ 88 w 88"/>
                <a:gd name="T85"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50">
                  <a:moveTo>
                    <a:pt x="88" y="12"/>
                  </a:moveTo>
                  <a:lnTo>
                    <a:pt x="88" y="12"/>
                  </a:lnTo>
                  <a:lnTo>
                    <a:pt x="84" y="8"/>
                  </a:lnTo>
                  <a:lnTo>
                    <a:pt x="80" y="6"/>
                  </a:lnTo>
                  <a:lnTo>
                    <a:pt x="78" y="4"/>
                  </a:lnTo>
                  <a:lnTo>
                    <a:pt x="76" y="2"/>
                  </a:lnTo>
                  <a:lnTo>
                    <a:pt x="74" y="2"/>
                  </a:lnTo>
                  <a:lnTo>
                    <a:pt x="72" y="2"/>
                  </a:lnTo>
                  <a:lnTo>
                    <a:pt x="70" y="0"/>
                  </a:lnTo>
                  <a:lnTo>
                    <a:pt x="70" y="0"/>
                  </a:lnTo>
                  <a:lnTo>
                    <a:pt x="68" y="0"/>
                  </a:lnTo>
                  <a:lnTo>
                    <a:pt x="66" y="0"/>
                  </a:lnTo>
                  <a:lnTo>
                    <a:pt x="64" y="0"/>
                  </a:lnTo>
                  <a:lnTo>
                    <a:pt x="60" y="2"/>
                  </a:lnTo>
                  <a:lnTo>
                    <a:pt x="58" y="2"/>
                  </a:lnTo>
                  <a:lnTo>
                    <a:pt x="50" y="4"/>
                  </a:lnTo>
                  <a:lnTo>
                    <a:pt x="48" y="4"/>
                  </a:lnTo>
                  <a:lnTo>
                    <a:pt x="46" y="6"/>
                  </a:lnTo>
                  <a:lnTo>
                    <a:pt x="42" y="6"/>
                  </a:lnTo>
                  <a:lnTo>
                    <a:pt x="38" y="6"/>
                  </a:lnTo>
                  <a:lnTo>
                    <a:pt x="32" y="6"/>
                  </a:lnTo>
                  <a:lnTo>
                    <a:pt x="28" y="6"/>
                  </a:lnTo>
                  <a:lnTo>
                    <a:pt x="24" y="4"/>
                  </a:lnTo>
                  <a:lnTo>
                    <a:pt x="18" y="4"/>
                  </a:lnTo>
                  <a:lnTo>
                    <a:pt x="8" y="2"/>
                  </a:lnTo>
                  <a:lnTo>
                    <a:pt x="10" y="4"/>
                  </a:lnTo>
                  <a:lnTo>
                    <a:pt x="10" y="8"/>
                  </a:lnTo>
                  <a:lnTo>
                    <a:pt x="10" y="10"/>
                  </a:lnTo>
                  <a:lnTo>
                    <a:pt x="10" y="12"/>
                  </a:lnTo>
                  <a:lnTo>
                    <a:pt x="10" y="14"/>
                  </a:lnTo>
                  <a:lnTo>
                    <a:pt x="10" y="16"/>
                  </a:lnTo>
                  <a:lnTo>
                    <a:pt x="10" y="18"/>
                  </a:lnTo>
                  <a:lnTo>
                    <a:pt x="10" y="18"/>
                  </a:lnTo>
                  <a:lnTo>
                    <a:pt x="8" y="20"/>
                  </a:lnTo>
                  <a:lnTo>
                    <a:pt x="6" y="24"/>
                  </a:lnTo>
                  <a:lnTo>
                    <a:pt x="6" y="24"/>
                  </a:lnTo>
                  <a:lnTo>
                    <a:pt x="6" y="26"/>
                  </a:lnTo>
                  <a:lnTo>
                    <a:pt x="4" y="26"/>
                  </a:lnTo>
                  <a:lnTo>
                    <a:pt x="4" y="26"/>
                  </a:lnTo>
                  <a:lnTo>
                    <a:pt x="4" y="28"/>
                  </a:lnTo>
                  <a:lnTo>
                    <a:pt x="4" y="28"/>
                  </a:lnTo>
                  <a:lnTo>
                    <a:pt x="4" y="30"/>
                  </a:lnTo>
                  <a:lnTo>
                    <a:pt x="4" y="30"/>
                  </a:lnTo>
                  <a:lnTo>
                    <a:pt x="2" y="34"/>
                  </a:lnTo>
                  <a:lnTo>
                    <a:pt x="0" y="36"/>
                  </a:lnTo>
                  <a:lnTo>
                    <a:pt x="2" y="36"/>
                  </a:lnTo>
                  <a:lnTo>
                    <a:pt x="4" y="38"/>
                  </a:lnTo>
                  <a:lnTo>
                    <a:pt x="6" y="38"/>
                  </a:lnTo>
                  <a:lnTo>
                    <a:pt x="8" y="38"/>
                  </a:lnTo>
                  <a:lnTo>
                    <a:pt x="8" y="38"/>
                  </a:lnTo>
                  <a:lnTo>
                    <a:pt x="14" y="42"/>
                  </a:lnTo>
                  <a:lnTo>
                    <a:pt x="18" y="44"/>
                  </a:lnTo>
                  <a:lnTo>
                    <a:pt x="20" y="44"/>
                  </a:lnTo>
                  <a:lnTo>
                    <a:pt x="22" y="46"/>
                  </a:lnTo>
                  <a:lnTo>
                    <a:pt x="22" y="46"/>
                  </a:lnTo>
                  <a:lnTo>
                    <a:pt x="26" y="46"/>
                  </a:lnTo>
                  <a:lnTo>
                    <a:pt x="30" y="48"/>
                  </a:lnTo>
                  <a:lnTo>
                    <a:pt x="38" y="50"/>
                  </a:lnTo>
                  <a:lnTo>
                    <a:pt x="38" y="48"/>
                  </a:lnTo>
                  <a:lnTo>
                    <a:pt x="40" y="46"/>
                  </a:lnTo>
                  <a:lnTo>
                    <a:pt x="42" y="44"/>
                  </a:lnTo>
                  <a:lnTo>
                    <a:pt x="44" y="44"/>
                  </a:lnTo>
                  <a:lnTo>
                    <a:pt x="44" y="42"/>
                  </a:lnTo>
                  <a:lnTo>
                    <a:pt x="46" y="42"/>
                  </a:lnTo>
                  <a:lnTo>
                    <a:pt x="48" y="42"/>
                  </a:lnTo>
                  <a:lnTo>
                    <a:pt x="50" y="42"/>
                  </a:lnTo>
                  <a:lnTo>
                    <a:pt x="52" y="42"/>
                  </a:lnTo>
                  <a:lnTo>
                    <a:pt x="52" y="42"/>
                  </a:lnTo>
                  <a:lnTo>
                    <a:pt x="56" y="42"/>
                  </a:lnTo>
                  <a:lnTo>
                    <a:pt x="58" y="42"/>
                  </a:lnTo>
                  <a:lnTo>
                    <a:pt x="60" y="42"/>
                  </a:lnTo>
                  <a:lnTo>
                    <a:pt x="64" y="42"/>
                  </a:lnTo>
                  <a:lnTo>
                    <a:pt x="66" y="40"/>
                  </a:lnTo>
                  <a:lnTo>
                    <a:pt x="68" y="40"/>
                  </a:lnTo>
                  <a:lnTo>
                    <a:pt x="70" y="40"/>
                  </a:lnTo>
                  <a:lnTo>
                    <a:pt x="70" y="40"/>
                  </a:lnTo>
                  <a:lnTo>
                    <a:pt x="72" y="38"/>
                  </a:lnTo>
                  <a:lnTo>
                    <a:pt x="72" y="38"/>
                  </a:lnTo>
                  <a:lnTo>
                    <a:pt x="74" y="38"/>
                  </a:lnTo>
                  <a:lnTo>
                    <a:pt x="74" y="36"/>
                  </a:lnTo>
                  <a:lnTo>
                    <a:pt x="76" y="34"/>
                  </a:lnTo>
                  <a:lnTo>
                    <a:pt x="78" y="30"/>
                  </a:lnTo>
                  <a:lnTo>
                    <a:pt x="80" y="26"/>
                  </a:lnTo>
                  <a:lnTo>
                    <a:pt x="80" y="24"/>
                  </a:lnTo>
                  <a:lnTo>
                    <a:pt x="82" y="22"/>
                  </a:lnTo>
                  <a:lnTo>
                    <a:pt x="88" y="1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3" name="Freeform 241">
              <a:extLst>
                <a:ext uri="{FF2B5EF4-FFF2-40B4-BE49-F238E27FC236}">
                  <a16:creationId xmlns:a16="http://schemas.microsoft.com/office/drawing/2014/main" id="{1411D594-6E20-4B52-A239-9B84C8F64C86}"/>
                </a:ext>
              </a:extLst>
            </p:cNvPr>
            <p:cNvSpPr>
              <a:spLocks/>
            </p:cNvSpPr>
            <p:nvPr/>
          </p:nvSpPr>
          <p:spPr bwMode="auto">
            <a:xfrm>
              <a:off x="4643340" y="3167019"/>
              <a:ext cx="152423" cy="86604"/>
            </a:xfrm>
            <a:custGeom>
              <a:avLst/>
              <a:gdLst>
                <a:gd name="T0" fmla="*/ 88 w 88"/>
                <a:gd name="T1" fmla="*/ 12 h 50"/>
                <a:gd name="T2" fmla="*/ 80 w 88"/>
                <a:gd name="T3" fmla="*/ 6 h 50"/>
                <a:gd name="T4" fmla="*/ 76 w 88"/>
                <a:gd name="T5" fmla="*/ 2 h 50"/>
                <a:gd name="T6" fmla="*/ 72 w 88"/>
                <a:gd name="T7" fmla="*/ 2 h 50"/>
                <a:gd name="T8" fmla="*/ 70 w 88"/>
                <a:gd name="T9" fmla="*/ 0 h 50"/>
                <a:gd name="T10" fmla="*/ 66 w 88"/>
                <a:gd name="T11" fmla="*/ 0 h 50"/>
                <a:gd name="T12" fmla="*/ 60 w 88"/>
                <a:gd name="T13" fmla="*/ 2 h 50"/>
                <a:gd name="T14" fmla="*/ 50 w 88"/>
                <a:gd name="T15" fmla="*/ 4 h 50"/>
                <a:gd name="T16" fmla="*/ 46 w 88"/>
                <a:gd name="T17" fmla="*/ 6 h 50"/>
                <a:gd name="T18" fmla="*/ 38 w 88"/>
                <a:gd name="T19" fmla="*/ 6 h 50"/>
                <a:gd name="T20" fmla="*/ 28 w 88"/>
                <a:gd name="T21" fmla="*/ 6 h 50"/>
                <a:gd name="T22" fmla="*/ 18 w 88"/>
                <a:gd name="T23" fmla="*/ 4 h 50"/>
                <a:gd name="T24" fmla="*/ 10 w 88"/>
                <a:gd name="T25" fmla="*/ 4 h 50"/>
                <a:gd name="T26" fmla="*/ 10 w 88"/>
                <a:gd name="T27" fmla="*/ 10 h 50"/>
                <a:gd name="T28" fmla="*/ 10 w 88"/>
                <a:gd name="T29" fmla="*/ 14 h 50"/>
                <a:gd name="T30" fmla="*/ 10 w 88"/>
                <a:gd name="T31" fmla="*/ 18 h 50"/>
                <a:gd name="T32" fmla="*/ 8 w 88"/>
                <a:gd name="T33" fmla="*/ 20 h 50"/>
                <a:gd name="T34" fmla="*/ 6 w 88"/>
                <a:gd name="T35" fmla="*/ 24 h 50"/>
                <a:gd name="T36" fmla="*/ 4 w 88"/>
                <a:gd name="T37" fmla="*/ 26 h 50"/>
                <a:gd name="T38" fmla="*/ 4 w 88"/>
                <a:gd name="T39" fmla="*/ 28 h 50"/>
                <a:gd name="T40" fmla="*/ 4 w 88"/>
                <a:gd name="T41" fmla="*/ 30 h 50"/>
                <a:gd name="T42" fmla="*/ 2 w 88"/>
                <a:gd name="T43" fmla="*/ 34 h 50"/>
                <a:gd name="T44" fmla="*/ 2 w 88"/>
                <a:gd name="T45" fmla="*/ 36 h 50"/>
                <a:gd name="T46" fmla="*/ 6 w 88"/>
                <a:gd name="T47" fmla="*/ 38 h 50"/>
                <a:gd name="T48" fmla="*/ 8 w 88"/>
                <a:gd name="T49" fmla="*/ 38 h 50"/>
                <a:gd name="T50" fmla="*/ 18 w 88"/>
                <a:gd name="T51" fmla="*/ 44 h 50"/>
                <a:gd name="T52" fmla="*/ 22 w 88"/>
                <a:gd name="T53" fmla="*/ 46 h 50"/>
                <a:gd name="T54" fmla="*/ 26 w 88"/>
                <a:gd name="T55" fmla="*/ 46 h 50"/>
                <a:gd name="T56" fmla="*/ 38 w 88"/>
                <a:gd name="T57" fmla="*/ 50 h 50"/>
                <a:gd name="T58" fmla="*/ 40 w 88"/>
                <a:gd name="T59" fmla="*/ 46 h 50"/>
                <a:gd name="T60" fmla="*/ 44 w 88"/>
                <a:gd name="T61" fmla="*/ 44 h 50"/>
                <a:gd name="T62" fmla="*/ 46 w 88"/>
                <a:gd name="T63" fmla="*/ 42 h 50"/>
                <a:gd name="T64" fmla="*/ 50 w 88"/>
                <a:gd name="T65" fmla="*/ 42 h 50"/>
                <a:gd name="T66" fmla="*/ 52 w 88"/>
                <a:gd name="T67" fmla="*/ 42 h 50"/>
                <a:gd name="T68" fmla="*/ 58 w 88"/>
                <a:gd name="T69" fmla="*/ 42 h 50"/>
                <a:gd name="T70" fmla="*/ 64 w 88"/>
                <a:gd name="T71" fmla="*/ 42 h 50"/>
                <a:gd name="T72" fmla="*/ 68 w 88"/>
                <a:gd name="T73" fmla="*/ 40 h 50"/>
                <a:gd name="T74" fmla="*/ 70 w 88"/>
                <a:gd name="T75" fmla="*/ 40 h 50"/>
                <a:gd name="T76" fmla="*/ 72 w 88"/>
                <a:gd name="T77" fmla="*/ 38 h 50"/>
                <a:gd name="T78" fmla="*/ 74 w 88"/>
                <a:gd name="T79" fmla="*/ 36 h 50"/>
                <a:gd name="T80" fmla="*/ 78 w 88"/>
                <a:gd name="T81" fmla="*/ 30 h 50"/>
                <a:gd name="T82" fmla="*/ 80 w 88"/>
                <a:gd name="T83" fmla="*/ 24 h 50"/>
                <a:gd name="T84" fmla="*/ 88 w 88"/>
                <a:gd name="T85"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50">
                  <a:moveTo>
                    <a:pt x="88" y="12"/>
                  </a:moveTo>
                  <a:lnTo>
                    <a:pt x="88" y="12"/>
                  </a:lnTo>
                  <a:lnTo>
                    <a:pt x="84" y="8"/>
                  </a:lnTo>
                  <a:lnTo>
                    <a:pt x="80" y="6"/>
                  </a:lnTo>
                  <a:lnTo>
                    <a:pt x="78" y="4"/>
                  </a:lnTo>
                  <a:lnTo>
                    <a:pt x="76" y="2"/>
                  </a:lnTo>
                  <a:lnTo>
                    <a:pt x="74" y="2"/>
                  </a:lnTo>
                  <a:lnTo>
                    <a:pt x="72" y="2"/>
                  </a:lnTo>
                  <a:lnTo>
                    <a:pt x="70" y="0"/>
                  </a:lnTo>
                  <a:lnTo>
                    <a:pt x="70" y="0"/>
                  </a:lnTo>
                  <a:lnTo>
                    <a:pt x="68" y="0"/>
                  </a:lnTo>
                  <a:lnTo>
                    <a:pt x="66" y="0"/>
                  </a:lnTo>
                  <a:lnTo>
                    <a:pt x="64" y="0"/>
                  </a:lnTo>
                  <a:lnTo>
                    <a:pt x="60" y="2"/>
                  </a:lnTo>
                  <a:lnTo>
                    <a:pt x="58" y="2"/>
                  </a:lnTo>
                  <a:lnTo>
                    <a:pt x="50" y="4"/>
                  </a:lnTo>
                  <a:lnTo>
                    <a:pt x="48" y="4"/>
                  </a:lnTo>
                  <a:lnTo>
                    <a:pt x="46" y="6"/>
                  </a:lnTo>
                  <a:lnTo>
                    <a:pt x="42" y="6"/>
                  </a:lnTo>
                  <a:lnTo>
                    <a:pt x="38" y="6"/>
                  </a:lnTo>
                  <a:lnTo>
                    <a:pt x="32" y="6"/>
                  </a:lnTo>
                  <a:lnTo>
                    <a:pt x="28" y="6"/>
                  </a:lnTo>
                  <a:lnTo>
                    <a:pt x="24" y="4"/>
                  </a:lnTo>
                  <a:lnTo>
                    <a:pt x="18" y="4"/>
                  </a:lnTo>
                  <a:lnTo>
                    <a:pt x="8" y="2"/>
                  </a:lnTo>
                  <a:lnTo>
                    <a:pt x="10" y="4"/>
                  </a:lnTo>
                  <a:lnTo>
                    <a:pt x="10" y="8"/>
                  </a:lnTo>
                  <a:lnTo>
                    <a:pt x="10" y="10"/>
                  </a:lnTo>
                  <a:lnTo>
                    <a:pt x="10" y="12"/>
                  </a:lnTo>
                  <a:lnTo>
                    <a:pt x="10" y="14"/>
                  </a:lnTo>
                  <a:lnTo>
                    <a:pt x="10" y="16"/>
                  </a:lnTo>
                  <a:lnTo>
                    <a:pt x="10" y="18"/>
                  </a:lnTo>
                  <a:lnTo>
                    <a:pt x="10" y="18"/>
                  </a:lnTo>
                  <a:lnTo>
                    <a:pt x="8" y="20"/>
                  </a:lnTo>
                  <a:lnTo>
                    <a:pt x="6" y="24"/>
                  </a:lnTo>
                  <a:lnTo>
                    <a:pt x="6" y="24"/>
                  </a:lnTo>
                  <a:lnTo>
                    <a:pt x="6" y="26"/>
                  </a:lnTo>
                  <a:lnTo>
                    <a:pt x="4" y="26"/>
                  </a:lnTo>
                  <a:lnTo>
                    <a:pt x="4" y="26"/>
                  </a:lnTo>
                  <a:lnTo>
                    <a:pt x="4" y="28"/>
                  </a:lnTo>
                  <a:lnTo>
                    <a:pt x="4" y="28"/>
                  </a:lnTo>
                  <a:lnTo>
                    <a:pt x="4" y="30"/>
                  </a:lnTo>
                  <a:lnTo>
                    <a:pt x="4" y="30"/>
                  </a:lnTo>
                  <a:lnTo>
                    <a:pt x="2" y="34"/>
                  </a:lnTo>
                  <a:lnTo>
                    <a:pt x="0" y="36"/>
                  </a:lnTo>
                  <a:lnTo>
                    <a:pt x="2" y="36"/>
                  </a:lnTo>
                  <a:lnTo>
                    <a:pt x="4" y="38"/>
                  </a:lnTo>
                  <a:lnTo>
                    <a:pt x="6" y="38"/>
                  </a:lnTo>
                  <a:lnTo>
                    <a:pt x="8" y="38"/>
                  </a:lnTo>
                  <a:lnTo>
                    <a:pt x="8" y="38"/>
                  </a:lnTo>
                  <a:lnTo>
                    <a:pt x="14" y="42"/>
                  </a:lnTo>
                  <a:lnTo>
                    <a:pt x="18" y="44"/>
                  </a:lnTo>
                  <a:lnTo>
                    <a:pt x="20" y="44"/>
                  </a:lnTo>
                  <a:lnTo>
                    <a:pt x="22" y="46"/>
                  </a:lnTo>
                  <a:lnTo>
                    <a:pt x="22" y="46"/>
                  </a:lnTo>
                  <a:lnTo>
                    <a:pt x="26" y="46"/>
                  </a:lnTo>
                  <a:lnTo>
                    <a:pt x="30" y="48"/>
                  </a:lnTo>
                  <a:lnTo>
                    <a:pt x="38" y="50"/>
                  </a:lnTo>
                  <a:lnTo>
                    <a:pt x="38" y="48"/>
                  </a:lnTo>
                  <a:lnTo>
                    <a:pt x="40" y="46"/>
                  </a:lnTo>
                  <a:lnTo>
                    <a:pt x="42" y="44"/>
                  </a:lnTo>
                  <a:lnTo>
                    <a:pt x="44" y="44"/>
                  </a:lnTo>
                  <a:lnTo>
                    <a:pt x="44" y="42"/>
                  </a:lnTo>
                  <a:lnTo>
                    <a:pt x="46" y="42"/>
                  </a:lnTo>
                  <a:lnTo>
                    <a:pt x="48" y="42"/>
                  </a:lnTo>
                  <a:lnTo>
                    <a:pt x="50" y="42"/>
                  </a:lnTo>
                  <a:lnTo>
                    <a:pt x="52" y="42"/>
                  </a:lnTo>
                  <a:lnTo>
                    <a:pt x="52" y="42"/>
                  </a:lnTo>
                  <a:lnTo>
                    <a:pt x="56" y="42"/>
                  </a:lnTo>
                  <a:lnTo>
                    <a:pt x="58" y="42"/>
                  </a:lnTo>
                  <a:lnTo>
                    <a:pt x="60" y="42"/>
                  </a:lnTo>
                  <a:lnTo>
                    <a:pt x="64" y="42"/>
                  </a:lnTo>
                  <a:lnTo>
                    <a:pt x="66" y="40"/>
                  </a:lnTo>
                  <a:lnTo>
                    <a:pt x="68" y="40"/>
                  </a:lnTo>
                  <a:lnTo>
                    <a:pt x="70" y="40"/>
                  </a:lnTo>
                  <a:lnTo>
                    <a:pt x="70" y="40"/>
                  </a:lnTo>
                  <a:lnTo>
                    <a:pt x="72" y="38"/>
                  </a:lnTo>
                  <a:lnTo>
                    <a:pt x="72" y="38"/>
                  </a:lnTo>
                  <a:lnTo>
                    <a:pt x="74" y="38"/>
                  </a:lnTo>
                  <a:lnTo>
                    <a:pt x="74" y="36"/>
                  </a:lnTo>
                  <a:lnTo>
                    <a:pt x="76" y="34"/>
                  </a:lnTo>
                  <a:lnTo>
                    <a:pt x="78" y="30"/>
                  </a:lnTo>
                  <a:lnTo>
                    <a:pt x="80" y="26"/>
                  </a:lnTo>
                  <a:lnTo>
                    <a:pt x="80" y="24"/>
                  </a:lnTo>
                  <a:lnTo>
                    <a:pt x="82" y="22"/>
                  </a:lnTo>
                  <a:lnTo>
                    <a:pt x="88" y="1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4" name="Freeform 242">
              <a:extLst>
                <a:ext uri="{FF2B5EF4-FFF2-40B4-BE49-F238E27FC236}">
                  <a16:creationId xmlns:a16="http://schemas.microsoft.com/office/drawing/2014/main" id="{78204AE7-3060-4170-B35F-1A318DF112AA}"/>
                </a:ext>
              </a:extLst>
            </p:cNvPr>
            <p:cNvSpPr>
              <a:spLocks/>
            </p:cNvSpPr>
            <p:nvPr/>
          </p:nvSpPr>
          <p:spPr bwMode="auto">
            <a:xfrm>
              <a:off x="4338495" y="3063094"/>
              <a:ext cx="79675" cy="62355"/>
            </a:xfrm>
            <a:custGeom>
              <a:avLst/>
              <a:gdLst>
                <a:gd name="T0" fmla="*/ 2 w 46"/>
                <a:gd name="T1" fmla="*/ 2 h 36"/>
                <a:gd name="T2" fmla="*/ 2 w 46"/>
                <a:gd name="T3" fmla="*/ 2 h 36"/>
                <a:gd name="T4" fmla="*/ 2 w 46"/>
                <a:gd name="T5" fmla="*/ 4 h 36"/>
                <a:gd name="T6" fmla="*/ 0 w 46"/>
                <a:gd name="T7" fmla="*/ 6 h 36"/>
                <a:gd name="T8" fmla="*/ 0 w 46"/>
                <a:gd name="T9" fmla="*/ 8 h 36"/>
                <a:gd name="T10" fmla="*/ 0 w 46"/>
                <a:gd name="T11" fmla="*/ 8 h 36"/>
                <a:gd name="T12" fmla="*/ 0 w 46"/>
                <a:gd name="T13" fmla="*/ 10 h 36"/>
                <a:gd name="T14" fmla="*/ 0 w 46"/>
                <a:gd name="T15" fmla="*/ 12 h 36"/>
                <a:gd name="T16" fmla="*/ 0 w 46"/>
                <a:gd name="T17" fmla="*/ 12 h 36"/>
                <a:gd name="T18" fmla="*/ 2 w 46"/>
                <a:gd name="T19" fmla="*/ 12 h 36"/>
                <a:gd name="T20" fmla="*/ 2 w 46"/>
                <a:gd name="T21" fmla="*/ 14 h 36"/>
                <a:gd name="T22" fmla="*/ 4 w 46"/>
                <a:gd name="T23" fmla="*/ 14 h 36"/>
                <a:gd name="T24" fmla="*/ 6 w 46"/>
                <a:gd name="T25" fmla="*/ 14 h 36"/>
                <a:gd name="T26" fmla="*/ 10 w 46"/>
                <a:gd name="T27" fmla="*/ 16 h 36"/>
                <a:gd name="T28" fmla="*/ 10 w 46"/>
                <a:gd name="T29" fmla="*/ 16 h 36"/>
                <a:gd name="T30" fmla="*/ 12 w 46"/>
                <a:gd name="T31" fmla="*/ 18 h 36"/>
                <a:gd name="T32" fmla="*/ 12 w 46"/>
                <a:gd name="T33" fmla="*/ 18 h 36"/>
                <a:gd name="T34" fmla="*/ 14 w 46"/>
                <a:gd name="T35" fmla="*/ 20 h 36"/>
                <a:gd name="T36" fmla="*/ 14 w 46"/>
                <a:gd name="T37" fmla="*/ 24 h 36"/>
                <a:gd name="T38" fmla="*/ 16 w 46"/>
                <a:gd name="T39" fmla="*/ 26 h 36"/>
                <a:gd name="T40" fmla="*/ 16 w 46"/>
                <a:gd name="T41" fmla="*/ 28 h 36"/>
                <a:gd name="T42" fmla="*/ 18 w 46"/>
                <a:gd name="T43" fmla="*/ 28 h 36"/>
                <a:gd name="T44" fmla="*/ 18 w 46"/>
                <a:gd name="T45" fmla="*/ 30 h 36"/>
                <a:gd name="T46" fmla="*/ 18 w 46"/>
                <a:gd name="T47" fmla="*/ 30 h 36"/>
                <a:gd name="T48" fmla="*/ 18 w 46"/>
                <a:gd name="T49" fmla="*/ 30 h 36"/>
                <a:gd name="T50" fmla="*/ 20 w 46"/>
                <a:gd name="T51" fmla="*/ 30 h 36"/>
                <a:gd name="T52" fmla="*/ 22 w 46"/>
                <a:gd name="T53" fmla="*/ 32 h 36"/>
                <a:gd name="T54" fmla="*/ 24 w 46"/>
                <a:gd name="T55" fmla="*/ 34 h 36"/>
                <a:gd name="T56" fmla="*/ 28 w 46"/>
                <a:gd name="T57" fmla="*/ 34 h 36"/>
                <a:gd name="T58" fmla="*/ 32 w 46"/>
                <a:gd name="T59" fmla="*/ 36 h 36"/>
                <a:gd name="T60" fmla="*/ 34 w 46"/>
                <a:gd name="T61" fmla="*/ 36 h 36"/>
                <a:gd name="T62" fmla="*/ 34 w 46"/>
                <a:gd name="T63" fmla="*/ 34 h 36"/>
                <a:gd name="T64" fmla="*/ 36 w 46"/>
                <a:gd name="T65" fmla="*/ 30 h 36"/>
                <a:gd name="T66" fmla="*/ 36 w 46"/>
                <a:gd name="T67" fmla="*/ 30 h 36"/>
                <a:gd name="T68" fmla="*/ 36 w 46"/>
                <a:gd name="T69" fmla="*/ 28 h 36"/>
                <a:gd name="T70" fmla="*/ 38 w 46"/>
                <a:gd name="T71" fmla="*/ 28 h 36"/>
                <a:gd name="T72" fmla="*/ 38 w 46"/>
                <a:gd name="T73" fmla="*/ 26 h 36"/>
                <a:gd name="T74" fmla="*/ 42 w 46"/>
                <a:gd name="T75" fmla="*/ 22 h 36"/>
                <a:gd name="T76" fmla="*/ 46 w 46"/>
                <a:gd name="T77" fmla="*/ 18 h 36"/>
                <a:gd name="T78" fmla="*/ 36 w 46"/>
                <a:gd name="T79" fmla="*/ 14 h 36"/>
                <a:gd name="T80" fmla="*/ 36 w 46"/>
                <a:gd name="T81" fmla="*/ 12 h 36"/>
                <a:gd name="T82" fmla="*/ 36 w 46"/>
                <a:gd name="T83" fmla="*/ 8 h 36"/>
                <a:gd name="T84" fmla="*/ 36 w 46"/>
                <a:gd name="T85" fmla="*/ 6 h 36"/>
                <a:gd name="T86" fmla="*/ 36 w 46"/>
                <a:gd name="T87" fmla="*/ 4 h 36"/>
                <a:gd name="T88" fmla="*/ 34 w 46"/>
                <a:gd name="T89" fmla="*/ 2 h 36"/>
                <a:gd name="T90" fmla="*/ 34 w 46"/>
                <a:gd name="T91" fmla="*/ 2 h 36"/>
                <a:gd name="T92" fmla="*/ 34 w 46"/>
                <a:gd name="T93" fmla="*/ 2 h 36"/>
                <a:gd name="T94" fmla="*/ 34 w 46"/>
                <a:gd name="T95" fmla="*/ 0 h 36"/>
                <a:gd name="T96" fmla="*/ 32 w 46"/>
                <a:gd name="T97" fmla="*/ 0 h 36"/>
                <a:gd name="T98" fmla="*/ 30 w 46"/>
                <a:gd name="T99" fmla="*/ 0 h 36"/>
                <a:gd name="T100" fmla="*/ 30 w 46"/>
                <a:gd name="T101" fmla="*/ 0 h 36"/>
                <a:gd name="T102" fmla="*/ 26 w 46"/>
                <a:gd name="T103" fmla="*/ 0 h 36"/>
                <a:gd name="T104" fmla="*/ 24 w 46"/>
                <a:gd name="T105" fmla="*/ 0 h 36"/>
                <a:gd name="T106" fmla="*/ 24 w 46"/>
                <a:gd name="T107" fmla="*/ 0 h 36"/>
                <a:gd name="T108" fmla="*/ 22 w 46"/>
                <a:gd name="T109" fmla="*/ 0 h 36"/>
                <a:gd name="T110" fmla="*/ 20 w 46"/>
                <a:gd name="T111" fmla="*/ 2 h 36"/>
                <a:gd name="T112" fmla="*/ 16 w 46"/>
                <a:gd name="T113" fmla="*/ 2 h 36"/>
                <a:gd name="T114" fmla="*/ 2 w 46"/>
                <a:gd name="T115"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 h="36">
                  <a:moveTo>
                    <a:pt x="2" y="2"/>
                  </a:moveTo>
                  <a:lnTo>
                    <a:pt x="2" y="2"/>
                  </a:lnTo>
                  <a:lnTo>
                    <a:pt x="2" y="4"/>
                  </a:lnTo>
                  <a:lnTo>
                    <a:pt x="0" y="6"/>
                  </a:lnTo>
                  <a:lnTo>
                    <a:pt x="0" y="8"/>
                  </a:lnTo>
                  <a:lnTo>
                    <a:pt x="0" y="8"/>
                  </a:lnTo>
                  <a:lnTo>
                    <a:pt x="0" y="10"/>
                  </a:lnTo>
                  <a:lnTo>
                    <a:pt x="0" y="12"/>
                  </a:lnTo>
                  <a:lnTo>
                    <a:pt x="0" y="12"/>
                  </a:lnTo>
                  <a:lnTo>
                    <a:pt x="2" y="12"/>
                  </a:lnTo>
                  <a:lnTo>
                    <a:pt x="2" y="14"/>
                  </a:lnTo>
                  <a:lnTo>
                    <a:pt x="4" y="14"/>
                  </a:lnTo>
                  <a:lnTo>
                    <a:pt x="6" y="14"/>
                  </a:lnTo>
                  <a:lnTo>
                    <a:pt x="10" y="16"/>
                  </a:lnTo>
                  <a:lnTo>
                    <a:pt x="10" y="16"/>
                  </a:lnTo>
                  <a:lnTo>
                    <a:pt x="12" y="18"/>
                  </a:lnTo>
                  <a:lnTo>
                    <a:pt x="12" y="18"/>
                  </a:lnTo>
                  <a:lnTo>
                    <a:pt x="14" y="20"/>
                  </a:lnTo>
                  <a:lnTo>
                    <a:pt x="14" y="24"/>
                  </a:lnTo>
                  <a:lnTo>
                    <a:pt x="16" y="26"/>
                  </a:lnTo>
                  <a:lnTo>
                    <a:pt x="16" y="28"/>
                  </a:lnTo>
                  <a:lnTo>
                    <a:pt x="18" y="28"/>
                  </a:lnTo>
                  <a:lnTo>
                    <a:pt x="18" y="30"/>
                  </a:lnTo>
                  <a:lnTo>
                    <a:pt x="18" y="30"/>
                  </a:lnTo>
                  <a:lnTo>
                    <a:pt x="18" y="30"/>
                  </a:lnTo>
                  <a:lnTo>
                    <a:pt x="20" y="30"/>
                  </a:lnTo>
                  <a:lnTo>
                    <a:pt x="22" y="32"/>
                  </a:lnTo>
                  <a:lnTo>
                    <a:pt x="24" y="34"/>
                  </a:lnTo>
                  <a:lnTo>
                    <a:pt x="28" y="34"/>
                  </a:lnTo>
                  <a:lnTo>
                    <a:pt x="32" y="36"/>
                  </a:lnTo>
                  <a:lnTo>
                    <a:pt x="34" y="36"/>
                  </a:lnTo>
                  <a:lnTo>
                    <a:pt x="34" y="34"/>
                  </a:lnTo>
                  <a:lnTo>
                    <a:pt x="36" y="30"/>
                  </a:lnTo>
                  <a:lnTo>
                    <a:pt x="36" y="30"/>
                  </a:lnTo>
                  <a:lnTo>
                    <a:pt x="36" y="28"/>
                  </a:lnTo>
                  <a:lnTo>
                    <a:pt x="38" y="28"/>
                  </a:lnTo>
                  <a:lnTo>
                    <a:pt x="38" y="26"/>
                  </a:lnTo>
                  <a:lnTo>
                    <a:pt x="42" y="22"/>
                  </a:lnTo>
                  <a:lnTo>
                    <a:pt x="46" y="18"/>
                  </a:lnTo>
                  <a:lnTo>
                    <a:pt x="36" y="14"/>
                  </a:lnTo>
                  <a:lnTo>
                    <a:pt x="36" y="12"/>
                  </a:lnTo>
                  <a:lnTo>
                    <a:pt x="36" y="8"/>
                  </a:lnTo>
                  <a:lnTo>
                    <a:pt x="36" y="6"/>
                  </a:lnTo>
                  <a:lnTo>
                    <a:pt x="36" y="4"/>
                  </a:lnTo>
                  <a:lnTo>
                    <a:pt x="34" y="2"/>
                  </a:lnTo>
                  <a:lnTo>
                    <a:pt x="34" y="2"/>
                  </a:lnTo>
                  <a:lnTo>
                    <a:pt x="34" y="2"/>
                  </a:lnTo>
                  <a:lnTo>
                    <a:pt x="34" y="0"/>
                  </a:lnTo>
                  <a:lnTo>
                    <a:pt x="32" y="0"/>
                  </a:lnTo>
                  <a:lnTo>
                    <a:pt x="30" y="0"/>
                  </a:lnTo>
                  <a:lnTo>
                    <a:pt x="30" y="0"/>
                  </a:lnTo>
                  <a:lnTo>
                    <a:pt x="26" y="0"/>
                  </a:lnTo>
                  <a:lnTo>
                    <a:pt x="24" y="0"/>
                  </a:lnTo>
                  <a:lnTo>
                    <a:pt x="24" y="0"/>
                  </a:lnTo>
                  <a:lnTo>
                    <a:pt x="22" y="0"/>
                  </a:lnTo>
                  <a:lnTo>
                    <a:pt x="20" y="2"/>
                  </a:lnTo>
                  <a:lnTo>
                    <a:pt x="16" y="2"/>
                  </a:lnTo>
                  <a:lnTo>
                    <a:pt x="2"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5" name="Freeform 243">
              <a:extLst>
                <a:ext uri="{FF2B5EF4-FFF2-40B4-BE49-F238E27FC236}">
                  <a16:creationId xmlns:a16="http://schemas.microsoft.com/office/drawing/2014/main" id="{98864673-F760-41D2-BFE5-DDE892D47E0F}"/>
                </a:ext>
              </a:extLst>
            </p:cNvPr>
            <p:cNvSpPr>
              <a:spLocks/>
            </p:cNvSpPr>
            <p:nvPr/>
          </p:nvSpPr>
          <p:spPr bwMode="auto">
            <a:xfrm>
              <a:off x="4338495" y="3063094"/>
              <a:ext cx="79675" cy="62355"/>
            </a:xfrm>
            <a:custGeom>
              <a:avLst/>
              <a:gdLst>
                <a:gd name="T0" fmla="*/ 2 w 46"/>
                <a:gd name="T1" fmla="*/ 2 h 36"/>
                <a:gd name="T2" fmla="*/ 2 w 46"/>
                <a:gd name="T3" fmla="*/ 2 h 36"/>
                <a:gd name="T4" fmla="*/ 2 w 46"/>
                <a:gd name="T5" fmla="*/ 4 h 36"/>
                <a:gd name="T6" fmla="*/ 0 w 46"/>
                <a:gd name="T7" fmla="*/ 6 h 36"/>
                <a:gd name="T8" fmla="*/ 0 w 46"/>
                <a:gd name="T9" fmla="*/ 8 h 36"/>
                <a:gd name="T10" fmla="*/ 0 w 46"/>
                <a:gd name="T11" fmla="*/ 8 h 36"/>
                <a:gd name="T12" fmla="*/ 0 w 46"/>
                <a:gd name="T13" fmla="*/ 10 h 36"/>
                <a:gd name="T14" fmla="*/ 0 w 46"/>
                <a:gd name="T15" fmla="*/ 12 h 36"/>
                <a:gd name="T16" fmla="*/ 0 w 46"/>
                <a:gd name="T17" fmla="*/ 12 h 36"/>
                <a:gd name="T18" fmla="*/ 2 w 46"/>
                <a:gd name="T19" fmla="*/ 12 h 36"/>
                <a:gd name="T20" fmla="*/ 2 w 46"/>
                <a:gd name="T21" fmla="*/ 14 h 36"/>
                <a:gd name="T22" fmla="*/ 4 w 46"/>
                <a:gd name="T23" fmla="*/ 14 h 36"/>
                <a:gd name="T24" fmla="*/ 6 w 46"/>
                <a:gd name="T25" fmla="*/ 14 h 36"/>
                <a:gd name="T26" fmla="*/ 10 w 46"/>
                <a:gd name="T27" fmla="*/ 16 h 36"/>
                <a:gd name="T28" fmla="*/ 10 w 46"/>
                <a:gd name="T29" fmla="*/ 16 h 36"/>
                <a:gd name="T30" fmla="*/ 12 w 46"/>
                <a:gd name="T31" fmla="*/ 18 h 36"/>
                <a:gd name="T32" fmla="*/ 12 w 46"/>
                <a:gd name="T33" fmla="*/ 18 h 36"/>
                <a:gd name="T34" fmla="*/ 14 w 46"/>
                <a:gd name="T35" fmla="*/ 20 h 36"/>
                <a:gd name="T36" fmla="*/ 14 w 46"/>
                <a:gd name="T37" fmla="*/ 24 h 36"/>
                <a:gd name="T38" fmla="*/ 16 w 46"/>
                <a:gd name="T39" fmla="*/ 26 h 36"/>
                <a:gd name="T40" fmla="*/ 16 w 46"/>
                <a:gd name="T41" fmla="*/ 28 h 36"/>
                <a:gd name="T42" fmla="*/ 18 w 46"/>
                <a:gd name="T43" fmla="*/ 28 h 36"/>
                <a:gd name="T44" fmla="*/ 18 w 46"/>
                <a:gd name="T45" fmla="*/ 30 h 36"/>
                <a:gd name="T46" fmla="*/ 18 w 46"/>
                <a:gd name="T47" fmla="*/ 30 h 36"/>
                <a:gd name="T48" fmla="*/ 18 w 46"/>
                <a:gd name="T49" fmla="*/ 30 h 36"/>
                <a:gd name="T50" fmla="*/ 20 w 46"/>
                <a:gd name="T51" fmla="*/ 30 h 36"/>
                <a:gd name="T52" fmla="*/ 22 w 46"/>
                <a:gd name="T53" fmla="*/ 32 h 36"/>
                <a:gd name="T54" fmla="*/ 24 w 46"/>
                <a:gd name="T55" fmla="*/ 34 h 36"/>
                <a:gd name="T56" fmla="*/ 28 w 46"/>
                <a:gd name="T57" fmla="*/ 34 h 36"/>
                <a:gd name="T58" fmla="*/ 32 w 46"/>
                <a:gd name="T59" fmla="*/ 36 h 36"/>
                <a:gd name="T60" fmla="*/ 34 w 46"/>
                <a:gd name="T61" fmla="*/ 36 h 36"/>
                <a:gd name="T62" fmla="*/ 34 w 46"/>
                <a:gd name="T63" fmla="*/ 34 h 36"/>
                <a:gd name="T64" fmla="*/ 36 w 46"/>
                <a:gd name="T65" fmla="*/ 30 h 36"/>
                <a:gd name="T66" fmla="*/ 36 w 46"/>
                <a:gd name="T67" fmla="*/ 30 h 36"/>
                <a:gd name="T68" fmla="*/ 36 w 46"/>
                <a:gd name="T69" fmla="*/ 28 h 36"/>
                <a:gd name="T70" fmla="*/ 38 w 46"/>
                <a:gd name="T71" fmla="*/ 28 h 36"/>
                <a:gd name="T72" fmla="*/ 38 w 46"/>
                <a:gd name="T73" fmla="*/ 26 h 36"/>
                <a:gd name="T74" fmla="*/ 42 w 46"/>
                <a:gd name="T75" fmla="*/ 22 h 36"/>
                <a:gd name="T76" fmla="*/ 46 w 46"/>
                <a:gd name="T77" fmla="*/ 18 h 36"/>
                <a:gd name="T78" fmla="*/ 36 w 46"/>
                <a:gd name="T79" fmla="*/ 14 h 36"/>
                <a:gd name="T80" fmla="*/ 36 w 46"/>
                <a:gd name="T81" fmla="*/ 12 h 36"/>
                <a:gd name="T82" fmla="*/ 36 w 46"/>
                <a:gd name="T83" fmla="*/ 8 h 36"/>
                <a:gd name="T84" fmla="*/ 36 w 46"/>
                <a:gd name="T85" fmla="*/ 6 h 36"/>
                <a:gd name="T86" fmla="*/ 36 w 46"/>
                <a:gd name="T87" fmla="*/ 4 h 36"/>
                <a:gd name="T88" fmla="*/ 34 w 46"/>
                <a:gd name="T89" fmla="*/ 2 h 36"/>
                <a:gd name="T90" fmla="*/ 34 w 46"/>
                <a:gd name="T91" fmla="*/ 2 h 36"/>
                <a:gd name="T92" fmla="*/ 34 w 46"/>
                <a:gd name="T93" fmla="*/ 2 h 36"/>
                <a:gd name="T94" fmla="*/ 34 w 46"/>
                <a:gd name="T95" fmla="*/ 0 h 36"/>
                <a:gd name="T96" fmla="*/ 32 w 46"/>
                <a:gd name="T97" fmla="*/ 0 h 36"/>
                <a:gd name="T98" fmla="*/ 30 w 46"/>
                <a:gd name="T99" fmla="*/ 0 h 36"/>
                <a:gd name="T100" fmla="*/ 30 w 46"/>
                <a:gd name="T101" fmla="*/ 0 h 36"/>
                <a:gd name="T102" fmla="*/ 26 w 46"/>
                <a:gd name="T103" fmla="*/ 0 h 36"/>
                <a:gd name="T104" fmla="*/ 24 w 46"/>
                <a:gd name="T105" fmla="*/ 0 h 36"/>
                <a:gd name="T106" fmla="*/ 24 w 46"/>
                <a:gd name="T107" fmla="*/ 0 h 36"/>
                <a:gd name="T108" fmla="*/ 22 w 46"/>
                <a:gd name="T109" fmla="*/ 0 h 36"/>
                <a:gd name="T110" fmla="*/ 20 w 46"/>
                <a:gd name="T111" fmla="*/ 2 h 36"/>
                <a:gd name="T112" fmla="*/ 16 w 46"/>
                <a:gd name="T113" fmla="*/ 2 h 36"/>
                <a:gd name="T114" fmla="*/ 2 w 46"/>
                <a:gd name="T115"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 h="36">
                  <a:moveTo>
                    <a:pt x="2" y="2"/>
                  </a:moveTo>
                  <a:lnTo>
                    <a:pt x="2" y="2"/>
                  </a:lnTo>
                  <a:lnTo>
                    <a:pt x="2" y="4"/>
                  </a:lnTo>
                  <a:lnTo>
                    <a:pt x="0" y="6"/>
                  </a:lnTo>
                  <a:lnTo>
                    <a:pt x="0" y="8"/>
                  </a:lnTo>
                  <a:lnTo>
                    <a:pt x="0" y="8"/>
                  </a:lnTo>
                  <a:lnTo>
                    <a:pt x="0" y="10"/>
                  </a:lnTo>
                  <a:lnTo>
                    <a:pt x="0" y="12"/>
                  </a:lnTo>
                  <a:lnTo>
                    <a:pt x="0" y="12"/>
                  </a:lnTo>
                  <a:lnTo>
                    <a:pt x="2" y="12"/>
                  </a:lnTo>
                  <a:lnTo>
                    <a:pt x="2" y="14"/>
                  </a:lnTo>
                  <a:lnTo>
                    <a:pt x="4" y="14"/>
                  </a:lnTo>
                  <a:lnTo>
                    <a:pt x="6" y="14"/>
                  </a:lnTo>
                  <a:lnTo>
                    <a:pt x="10" y="16"/>
                  </a:lnTo>
                  <a:lnTo>
                    <a:pt x="10" y="16"/>
                  </a:lnTo>
                  <a:lnTo>
                    <a:pt x="12" y="18"/>
                  </a:lnTo>
                  <a:lnTo>
                    <a:pt x="12" y="18"/>
                  </a:lnTo>
                  <a:lnTo>
                    <a:pt x="14" y="20"/>
                  </a:lnTo>
                  <a:lnTo>
                    <a:pt x="14" y="24"/>
                  </a:lnTo>
                  <a:lnTo>
                    <a:pt x="16" y="26"/>
                  </a:lnTo>
                  <a:lnTo>
                    <a:pt x="16" y="28"/>
                  </a:lnTo>
                  <a:lnTo>
                    <a:pt x="18" y="28"/>
                  </a:lnTo>
                  <a:lnTo>
                    <a:pt x="18" y="30"/>
                  </a:lnTo>
                  <a:lnTo>
                    <a:pt x="18" y="30"/>
                  </a:lnTo>
                  <a:lnTo>
                    <a:pt x="18" y="30"/>
                  </a:lnTo>
                  <a:lnTo>
                    <a:pt x="20" y="30"/>
                  </a:lnTo>
                  <a:lnTo>
                    <a:pt x="22" y="32"/>
                  </a:lnTo>
                  <a:lnTo>
                    <a:pt x="24" y="34"/>
                  </a:lnTo>
                  <a:lnTo>
                    <a:pt x="28" y="34"/>
                  </a:lnTo>
                  <a:lnTo>
                    <a:pt x="32" y="36"/>
                  </a:lnTo>
                  <a:lnTo>
                    <a:pt x="34" y="36"/>
                  </a:lnTo>
                  <a:lnTo>
                    <a:pt x="34" y="34"/>
                  </a:lnTo>
                  <a:lnTo>
                    <a:pt x="36" y="30"/>
                  </a:lnTo>
                  <a:lnTo>
                    <a:pt x="36" y="30"/>
                  </a:lnTo>
                  <a:lnTo>
                    <a:pt x="36" y="28"/>
                  </a:lnTo>
                  <a:lnTo>
                    <a:pt x="38" y="28"/>
                  </a:lnTo>
                  <a:lnTo>
                    <a:pt x="38" y="26"/>
                  </a:lnTo>
                  <a:lnTo>
                    <a:pt x="42" y="22"/>
                  </a:lnTo>
                  <a:lnTo>
                    <a:pt x="46" y="18"/>
                  </a:lnTo>
                  <a:lnTo>
                    <a:pt x="36" y="14"/>
                  </a:lnTo>
                  <a:lnTo>
                    <a:pt x="36" y="12"/>
                  </a:lnTo>
                  <a:lnTo>
                    <a:pt x="36" y="8"/>
                  </a:lnTo>
                  <a:lnTo>
                    <a:pt x="36" y="6"/>
                  </a:lnTo>
                  <a:lnTo>
                    <a:pt x="36" y="4"/>
                  </a:lnTo>
                  <a:lnTo>
                    <a:pt x="34" y="2"/>
                  </a:lnTo>
                  <a:lnTo>
                    <a:pt x="34" y="2"/>
                  </a:lnTo>
                  <a:lnTo>
                    <a:pt x="34" y="2"/>
                  </a:lnTo>
                  <a:lnTo>
                    <a:pt x="34" y="0"/>
                  </a:lnTo>
                  <a:lnTo>
                    <a:pt x="32" y="0"/>
                  </a:lnTo>
                  <a:lnTo>
                    <a:pt x="30" y="0"/>
                  </a:lnTo>
                  <a:lnTo>
                    <a:pt x="30" y="0"/>
                  </a:lnTo>
                  <a:lnTo>
                    <a:pt x="26" y="0"/>
                  </a:lnTo>
                  <a:lnTo>
                    <a:pt x="24" y="0"/>
                  </a:lnTo>
                  <a:lnTo>
                    <a:pt x="24" y="0"/>
                  </a:lnTo>
                  <a:lnTo>
                    <a:pt x="22" y="0"/>
                  </a:lnTo>
                  <a:lnTo>
                    <a:pt x="20" y="2"/>
                  </a:lnTo>
                  <a:lnTo>
                    <a:pt x="16" y="2"/>
                  </a:lnTo>
                  <a:lnTo>
                    <a:pt x="2"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6" name="Freeform 244">
              <a:extLst>
                <a:ext uri="{FF2B5EF4-FFF2-40B4-BE49-F238E27FC236}">
                  <a16:creationId xmlns:a16="http://schemas.microsoft.com/office/drawing/2014/main" id="{A06ACE69-4B44-40DD-9761-6E389EC039FF}"/>
                </a:ext>
              </a:extLst>
            </p:cNvPr>
            <p:cNvSpPr>
              <a:spLocks/>
            </p:cNvSpPr>
            <p:nvPr/>
          </p:nvSpPr>
          <p:spPr bwMode="auto">
            <a:xfrm>
              <a:off x="4418170" y="3191268"/>
              <a:ext cx="83140" cy="51962"/>
            </a:xfrm>
            <a:custGeom>
              <a:avLst/>
              <a:gdLst>
                <a:gd name="T0" fmla="*/ 8 w 48"/>
                <a:gd name="T1" fmla="*/ 30 h 30"/>
                <a:gd name="T2" fmla="*/ 4 w 48"/>
                <a:gd name="T3" fmla="*/ 28 h 30"/>
                <a:gd name="T4" fmla="*/ 2 w 48"/>
                <a:gd name="T5" fmla="*/ 26 h 30"/>
                <a:gd name="T6" fmla="*/ 0 w 48"/>
                <a:gd name="T7" fmla="*/ 24 h 30"/>
                <a:gd name="T8" fmla="*/ 0 w 48"/>
                <a:gd name="T9" fmla="*/ 22 h 30"/>
                <a:gd name="T10" fmla="*/ 0 w 48"/>
                <a:gd name="T11" fmla="*/ 20 h 30"/>
                <a:gd name="T12" fmla="*/ 2 w 48"/>
                <a:gd name="T13" fmla="*/ 16 h 30"/>
                <a:gd name="T14" fmla="*/ 4 w 48"/>
                <a:gd name="T15" fmla="*/ 10 h 30"/>
                <a:gd name="T16" fmla="*/ 8 w 48"/>
                <a:gd name="T17" fmla="*/ 6 h 30"/>
                <a:gd name="T18" fmla="*/ 8 w 48"/>
                <a:gd name="T19" fmla="*/ 4 h 30"/>
                <a:gd name="T20" fmla="*/ 12 w 48"/>
                <a:gd name="T21" fmla="*/ 2 h 30"/>
                <a:gd name="T22" fmla="*/ 18 w 48"/>
                <a:gd name="T23" fmla="*/ 2 h 30"/>
                <a:gd name="T24" fmla="*/ 24 w 48"/>
                <a:gd name="T25" fmla="*/ 2 h 30"/>
                <a:gd name="T26" fmla="*/ 28 w 48"/>
                <a:gd name="T27" fmla="*/ 2 h 30"/>
                <a:gd name="T28" fmla="*/ 30 w 48"/>
                <a:gd name="T29" fmla="*/ 2 h 30"/>
                <a:gd name="T30" fmla="*/ 36 w 48"/>
                <a:gd name="T31" fmla="*/ 0 h 30"/>
                <a:gd name="T32" fmla="*/ 38 w 48"/>
                <a:gd name="T33" fmla="*/ 0 h 30"/>
                <a:gd name="T34" fmla="*/ 40 w 48"/>
                <a:gd name="T35" fmla="*/ 0 h 30"/>
                <a:gd name="T36" fmla="*/ 44 w 48"/>
                <a:gd name="T37" fmla="*/ 4 h 30"/>
                <a:gd name="T38" fmla="*/ 48 w 48"/>
                <a:gd name="T39" fmla="*/ 16 h 30"/>
                <a:gd name="T40" fmla="*/ 46 w 48"/>
                <a:gd name="T41" fmla="*/ 22 h 30"/>
                <a:gd name="T42" fmla="*/ 46 w 48"/>
                <a:gd name="T43" fmla="*/ 26 h 30"/>
                <a:gd name="T44" fmla="*/ 44 w 48"/>
                <a:gd name="T45" fmla="*/ 26 h 30"/>
                <a:gd name="T46" fmla="*/ 44 w 48"/>
                <a:gd name="T47" fmla="*/ 28 h 30"/>
                <a:gd name="T48" fmla="*/ 42 w 48"/>
                <a:gd name="T49" fmla="*/ 28 h 30"/>
                <a:gd name="T50" fmla="*/ 38 w 48"/>
                <a:gd name="T51" fmla="*/ 26 h 30"/>
                <a:gd name="T52" fmla="*/ 38 w 48"/>
                <a:gd name="T53" fmla="*/ 26 h 30"/>
                <a:gd name="T54" fmla="*/ 36 w 48"/>
                <a:gd name="T55" fmla="*/ 26 h 30"/>
                <a:gd name="T56" fmla="*/ 36 w 48"/>
                <a:gd name="T57" fmla="*/ 28 h 30"/>
                <a:gd name="T58" fmla="*/ 34 w 48"/>
                <a:gd name="T59" fmla="*/ 30 h 30"/>
                <a:gd name="T60" fmla="*/ 34 w 48"/>
                <a:gd name="T61" fmla="*/ 30 h 30"/>
                <a:gd name="T62" fmla="*/ 32 w 48"/>
                <a:gd name="T63" fmla="*/ 30 h 30"/>
                <a:gd name="T64" fmla="*/ 32 w 48"/>
                <a:gd name="T65" fmla="*/ 30 h 30"/>
                <a:gd name="T66" fmla="*/ 30 w 48"/>
                <a:gd name="T67" fmla="*/ 28 h 30"/>
                <a:gd name="T68" fmla="*/ 30 w 48"/>
                <a:gd name="T69" fmla="*/ 24 h 30"/>
                <a:gd name="T70" fmla="*/ 28 w 48"/>
                <a:gd name="T71" fmla="*/ 24 h 30"/>
                <a:gd name="T72" fmla="*/ 28 w 48"/>
                <a:gd name="T73" fmla="*/ 24 h 30"/>
                <a:gd name="T74" fmla="*/ 26 w 48"/>
                <a:gd name="T75" fmla="*/ 24 h 30"/>
                <a:gd name="T76" fmla="*/ 26 w 48"/>
                <a:gd name="T77" fmla="*/ 26 h 30"/>
                <a:gd name="T78" fmla="*/ 22 w 48"/>
                <a:gd name="T79" fmla="*/ 28 h 30"/>
                <a:gd name="T80" fmla="*/ 20 w 48"/>
                <a:gd name="T81" fmla="*/ 30 h 30"/>
                <a:gd name="T82" fmla="*/ 16 w 48"/>
                <a:gd name="T83" fmla="*/ 30 h 30"/>
                <a:gd name="T84" fmla="*/ 10 w 48"/>
                <a:gd name="T8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 h="30">
                  <a:moveTo>
                    <a:pt x="8" y="30"/>
                  </a:moveTo>
                  <a:lnTo>
                    <a:pt x="8" y="30"/>
                  </a:lnTo>
                  <a:lnTo>
                    <a:pt x="8" y="30"/>
                  </a:lnTo>
                  <a:lnTo>
                    <a:pt x="4" y="28"/>
                  </a:lnTo>
                  <a:lnTo>
                    <a:pt x="4" y="26"/>
                  </a:lnTo>
                  <a:lnTo>
                    <a:pt x="2" y="26"/>
                  </a:lnTo>
                  <a:lnTo>
                    <a:pt x="0" y="24"/>
                  </a:lnTo>
                  <a:lnTo>
                    <a:pt x="0" y="24"/>
                  </a:lnTo>
                  <a:lnTo>
                    <a:pt x="0" y="24"/>
                  </a:lnTo>
                  <a:lnTo>
                    <a:pt x="0" y="22"/>
                  </a:lnTo>
                  <a:lnTo>
                    <a:pt x="0" y="22"/>
                  </a:lnTo>
                  <a:lnTo>
                    <a:pt x="0" y="20"/>
                  </a:lnTo>
                  <a:lnTo>
                    <a:pt x="0" y="18"/>
                  </a:lnTo>
                  <a:lnTo>
                    <a:pt x="2" y="16"/>
                  </a:lnTo>
                  <a:lnTo>
                    <a:pt x="2" y="14"/>
                  </a:lnTo>
                  <a:lnTo>
                    <a:pt x="4" y="10"/>
                  </a:lnTo>
                  <a:lnTo>
                    <a:pt x="6" y="8"/>
                  </a:lnTo>
                  <a:lnTo>
                    <a:pt x="8" y="6"/>
                  </a:lnTo>
                  <a:lnTo>
                    <a:pt x="8" y="4"/>
                  </a:lnTo>
                  <a:lnTo>
                    <a:pt x="8" y="4"/>
                  </a:lnTo>
                  <a:lnTo>
                    <a:pt x="10" y="4"/>
                  </a:lnTo>
                  <a:lnTo>
                    <a:pt x="12" y="2"/>
                  </a:lnTo>
                  <a:lnTo>
                    <a:pt x="14" y="2"/>
                  </a:lnTo>
                  <a:lnTo>
                    <a:pt x="18" y="2"/>
                  </a:lnTo>
                  <a:lnTo>
                    <a:pt x="22" y="2"/>
                  </a:lnTo>
                  <a:lnTo>
                    <a:pt x="24" y="2"/>
                  </a:lnTo>
                  <a:lnTo>
                    <a:pt x="26" y="2"/>
                  </a:lnTo>
                  <a:lnTo>
                    <a:pt x="28" y="2"/>
                  </a:lnTo>
                  <a:lnTo>
                    <a:pt x="28" y="2"/>
                  </a:lnTo>
                  <a:lnTo>
                    <a:pt x="30" y="2"/>
                  </a:lnTo>
                  <a:lnTo>
                    <a:pt x="32" y="2"/>
                  </a:lnTo>
                  <a:lnTo>
                    <a:pt x="36" y="0"/>
                  </a:lnTo>
                  <a:lnTo>
                    <a:pt x="36" y="0"/>
                  </a:lnTo>
                  <a:lnTo>
                    <a:pt x="38" y="0"/>
                  </a:lnTo>
                  <a:lnTo>
                    <a:pt x="38" y="0"/>
                  </a:lnTo>
                  <a:lnTo>
                    <a:pt x="40" y="0"/>
                  </a:lnTo>
                  <a:lnTo>
                    <a:pt x="42" y="2"/>
                  </a:lnTo>
                  <a:lnTo>
                    <a:pt x="44" y="4"/>
                  </a:lnTo>
                  <a:lnTo>
                    <a:pt x="46" y="6"/>
                  </a:lnTo>
                  <a:lnTo>
                    <a:pt x="48" y="16"/>
                  </a:lnTo>
                  <a:lnTo>
                    <a:pt x="48" y="18"/>
                  </a:lnTo>
                  <a:lnTo>
                    <a:pt x="46" y="22"/>
                  </a:lnTo>
                  <a:lnTo>
                    <a:pt x="46" y="24"/>
                  </a:lnTo>
                  <a:lnTo>
                    <a:pt x="46" y="26"/>
                  </a:lnTo>
                  <a:lnTo>
                    <a:pt x="44" y="26"/>
                  </a:lnTo>
                  <a:lnTo>
                    <a:pt x="44" y="26"/>
                  </a:lnTo>
                  <a:lnTo>
                    <a:pt x="44" y="28"/>
                  </a:lnTo>
                  <a:lnTo>
                    <a:pt x="44" y="28"/>
                  </a:lnTo>
                  <a:lnTo>
                    <a:pt x="42" y="28"/>
                  </a:lnTo>
                  <a:lnTo>
                    <a:pt x="42" y="28"/>
                  </a:lnTo>
                  <a:lnTo>
                    <a:pt x="40" y="26"/>
                  </a:lnTo>
                  <a:lnTo>
                    <a:pt x="38" y="26"/>
                  </a:lnTo>
                  <a:lnTo>
                    <a:pt x="38" y="26"/>
                  </a:lnTo>
                  <a:lnTo>
                    <a:pt x="38" y="26"/>
                  </a:lnTo>
                  <a:lnTo>
                    <a:pt x="38" y="26"/>
                  </a:lnTo>
                  <a:lnTo>
                    <a:pt x="36" y="26"/>
                  </a:lnTo>
                  <a:lnTo>
                    <a:pt x="36" y="26"/>
                  </a:lnTo>
                  <a:lnTo>
                    <a:pt x="36" y="28"/>
                  </a:lnTo>
                  <a:lnTo>
                    <a:pt x="34" y="30"/>
                  </a:lnTo>
                  <a:lnTo>
                    <a:pt x="34" y="30"/>
                  </a:lnTo>
                  <a:lnTo>
                    <a:pt x="34" y="30"/>
                  </a:lnTo>
                  <a:lnTo>
                    <a:pt x="34" y="30"/>
                  </a:lnTo>
                  <a:lnTo>
                    <a:pt x="34" y="30"/>
                  </a:lnTo>
                  <a:lnTo>
                    <a:pt x="32" y="30"/>
                  </a:lnTo>
                  <a:lnTo>
                    <a:pt x="32" y="30"/>
                  </a:lnTo>
                  <a:lnTo>
                    <a:pt x="32" y="30"/>
                  </a:lnTo>
                  <a:lnTo>
                    <a:pt x="32" y="28"/>
                  </a:lnTo>
                  <a:lnTo>
                    <a:pt x="30" y="28"/>
                  </a:lnTo>
                  <a:lnTo>
                    <a:pt x="30" y="26"/>
                  </a:lnTo>
                  <a:lnTo>
                    <a:pt x="30" y="24"/>
                  </a:lnTo>
                  <a:lnTo>
                    <a:pt x="28" y="24"/>
                  </a:lnTo>
                  <a:lnTo>
                    <a:pt x="28" y="24"/>
                  </a:lnTo>
                  <a:lnTo>
                    <a:pt x="28" y="24"/>
                  </a:lnTo>
                  <a:lnTo>
                    <a:pt x="28" y="24"/>
                  </a:lnTo>
                  <a:lnTo>
                    <a:pt x="28" y="24"/>
                  </a:lnTo>
                  <a:lnTo>
                    <a:pt x="26" y="24"/>
                  </a:lnTo>
                  <a:lnTo>
                    <a:pt x="26" y="26"/>
                  </a:lnTo>
                  <a:lnTo>
                    <a:pt x="26" y="26"/>
                  </a:lnTo>
                  <a:lnTo>
                    <a:pt x="24" y="28"/>
                  </a:lnTo>
                  <a:lnTo>
                    <a:pt x="22" y="28"/>
                  </a:lnTo>
                  <a:lnTo>
                    <a:pt x="22" y="30"/>
                  </a:lnTo>
                  <a:lnTo>
                    <a:pt x="20" y="30"/>
                  </a:lnTo>
                  <a:lnTo>
                    <a:pt x="18" y="30"/>
                  </a:lnTo>
                  <a:lnTo>
                    <a:pt x="16" y="30"/>
                  </a:lnTo>
                  <a:lnTo>
                    <a:pt x="14" y="30"/>
                  </a:lnTo>
                  <a:lnTo>
                    <a:pt x="10" y="30"/>
                  </a:lnTo>
                  <a:lnTo>
                    <a:pt x="8" y="3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7" name="Freeform 245">
              <a:extLst>
                <a:ext uri="{FF2B5EF4-FFF2-40B4-BE49-F238E27FC236}">
                  <a16:creationId xmlns:a16="http://schemas.microsoft.com/office/drawing/2014/main" id="{427B4DA3-F933-4D2B-9DCB-956FA16EE44D}"/>
                </a:ext>
              </a:extLst>
            </p:cNvPr>
            <p:cNvSpPr>
              <a:spLocks/>
            </p:cNvSpPr>
            <p:nvPr/>
          </p:nvSpPr>
          <p:spPr bwMode="auto">
            <a:xfrm>
              <a:off x="4418170" y="3191268"/>
              <a:ext cx="83140" cy="51962"/>
            </a:xfrm>
            <a:custGeom>
              <a:avLst/>
              <a:gdLst>
                <a:gd name="T0" fmla="*/ 8 w 48"/>
                <a:gd name="T1" fmla="*/ 30 h 30"/>
                <a:gd name="T2" fmla="*/ 4 w 48"/>
                <a:gd name="T3" fmla="*/ 28 h 30"/>
                <a:gd name="T4" fmla="*/ 2 w 48"/>
                <a:gd name="T5" fmla="*/ 26 h 30"/>
                <a:gd name="T6" fmla="*/ 0 w 48"/>
                <a:gd name="T7" fmla="*/ 24 h 30"/>
                <a:gd name="T8" fmla="*/ 0 w 48"/>
                <a:gd name="T9" fmla="*/ 22 h 30"/>
                <a:gd name="T10" fmla="*/ 0 w 48"/>
                <a:gd name="T11" fmla="*/ 20 h 30"/>
                <a:gd name="T12" fmla="*/ 2 w 48"/>
                <a:gd name="T13" fmla="*/ 16 h 30"/>
                <a:gd name="T14" fmla="*/ 4 w 48"/>
                <a:gd name="T15" fmla="*/ 10 h 30"/>
                <a:gd name="T16" fmla="*/ 8 w 48"/>
                <a:gd name="T17" fmla="*/ 6 h 30"/>
                <a:gd name="T18" fmla="*/ 8 w 48"/>
                <a:gd name="T19" fmla="*/ 4 h 30"/>
                <a:gd name="T20" fmla="*/ 12 w 48"/>
                <a:gd name="T21" fmla="*/ 2 h 30"/>
                <a:gd name="T22" fmla="*/ 18 w 48"/>
                <a:gd name="T23" fmla="*/ 2 h 30"/>
                <a:gd name="T24" fmla="*/ 24 w 48"/>
                <a:gd name="T25" fmla="*/ 2 h 30"/>
                <a:gd name="T26" fmla="*/ 28 w 48"/>
                <a:gd name="T27" fmla="*/ 2 h 30"/>
                <a:gd name="T28" fmla="*/ 30 w 48"/>
                <a:gd name="T29" fmla="*/ 2 h 30"/>
                <a:gd name="T30" fmla="*/ 36 w 48"/>
                <a:gd name="T31" fmla="*/ 0 h 30"/>
                <a:gd name="T32" fmla="*/ 38 w 48"/>
                <a:gd name="T33" fmla="*/ 0 h 30"/>
                <a:gd name="T34" fmla="*/ 40 w 48"/>
                <a:gd name="T35" fmla="*/ 0 h 30"/>
                <a:gd name="T36" fmla="*/ 44 w 48"/>
                <a:gd name="T37" fmla="*/ 4 h 30"/>
                <a:gd name="T38" fmla="*/ 48 w 48"/>
                <a:gd name="T39" fmla="*/ 16 h 30"/>
                <a:gd name="T40" fmla="*/ 46 w 48"/>
                <a:gd name="T41" fmla="*/ 22 h 30"/>
                <a:gd name="T42" fmla="*/ 46 w 48"/>
                <a:gd name="T43" fmla="*/ 26 h 30"/>
                <a:gd name="T44" fmla="*/ 44 w 48"/>
                <a:gd name="T45" fmla="*/ 26 h 30"/>
                <a:gd name="T46" fmla="*/ 44 w 48"/>
                <a:gd name="T47" fmla="*/ 28 h 30"/>
                <a:gd name="T48" fmla="*/ 42 w 48"/>
                <a:gd name="T49" fmla="*/ 28 h 30"/>
                <a:gd name="T50" fmla="*/ 38 w 48"/>
                <a:gd name="T51" fmla="*/ 26 h 30"/>
                <a:gd name="T52" fmla="*/ 38 w 48"/>
                <a:gd name="T53" fmla="*/ 26 h 30"/>
                <a:gd name="T54" fmla="*/ 36 w 48"/>
                <a:gd name="T55" fmla="*/ 26 h 30"/>
                <a:gd name="T56" fmla="*/ 36 w 48"/>
                <a:gd name="T57" fmla="*/ 28 h 30"/>
                <a:gd name="T58" fmla="*/ 34 w 48"/>
                <a:gd name="T59" fmla="*/ 30 h 30"/>
                <a:gd name="T60" fmla="*/ 34 w 48"/>
                <a:gd name="T61" fmla="*/ 30 h 30"/>
                <a:gd name="T62" fmla="*/ 32 w 48"/>
                <a:gd name="T63" fmla="*/ 30 h 30"/>
                <a:gd name="T64" fmla="*/ 32 w 48"/>
                <a:gd name="T65" fmla="*/ 30 h 30"/>
                <a:gd name="T66" fmla="*/ 30 w 48"/>
                <a:gd name="T67" fmla="*/ 28 h 30"/>
                <a:gd name="T68" fmla="*/ 30 w 48"/>
                <a:gd name="T69" fmla="*/ 24 h 30"/>
                <a:gd name="T70" fmla="*/ 28 w 48"/>
                <a:gd name="T71" fmla="*/ 24 h 30"/>
                <a:gd name="T72" fmla="*/ 28 w 48"/>
                <a:gd name="T73" fmla="*/ 24 h 30"/>
                <a:gd name="T74" fmla="*/ 26 w 48"/>
                <a:gd name="T75" fmla="*/ 24 h 30"/>
                <a:gd name="T76" fmla="*/ 26 w 48"/>
                <a:gd name="T77" fmla="*/ 26 h 30"/>
                <a:gd name="T78" fmla="*/ 22 w 48"/>
                <a:gd name="T79" fmla="*/ 28 h 30"/>
                <a:gd name="T80" fmla="*/ 20 w 48"/>
                <a:gd name="T81" fmla="*/ 30 h 30"/>
                <a:gd name="T82" fmla="*/ 16 w 48"/>
                <a:gd name="T83" fmla="*/ 30 h 30"/>
                <a:gd name="T84" fmla="*/ 10 w 48"/>
                <a:gd name="T8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 h="30">
                  <a:moveTo>
                    <a:pt x="8" y="30"/>
                  </a:moveTo>
                  <a:lnTo>
                    <a:pt x="8" y="30"/>
                  </a:lnTo>
                  <a:lnTo>
                    <a:pt x="8" y="30"/>
                  </a:lnTo>
                  <a:lnTo>
                    <a:pt x="4" y="28"/>
                  </a:lnTo>
                  <a:lnTo>
                    <a:pt x="4" y="26"/>
                  </a:lnTo>
                  <a:lnTo>
                    <a:pt x="2" y="26"/>
                  </a:lnTo>
                  <a:lnTo>
                    <a:pt x="0" y="24"/>
                  </a:lnTo>
                  <a:lnTo>
                    <a:pt x="0" y="24"/>
                  </a:lnTo>
                  <a:lnTo>
                    <a:pt x="0" y="24"/>
                  </a:lnTo>
                  <a:lnTo>
                    <a:pt x="0" y="22"/>
                  </a:lnTo>
                  <a:lnTo>
                    <a:pt x="0" y="22"/>
                  </a:lnTo>
                  <a:lnTo>
                    <a:pt x="0" y="20"/>
                  </a:lnTo>
                  <a:lnTo>
                    <a:pt x="0" y="18"/>
                  </a:lnTo>
                  <a:lnTo>
                    <a:pt x="2" y="16"/>
                  </a:lnTo>
                  <a:lnTo>
                    <a:pt x="2" y="14"/>
                  </a:lnTo>
                  <a:lnTo>
                    <a:pt x="4" y="10"/>
                  </a:lnTo>
                  <a:lnTo>
                    <a:pt x="6" y="8"/>
                  </a:lnTo>
                  <a:lnTo>
                    <a:pt x="8" y="6"/>
                  </a:lnTo>
                  <a:lnTo>
                    <a:pt x="8" y="4"/>
                  </a:lnTo>
                  <a:lnTo>
                    <a:pt x="8" y="4"/>
                  </a:lnTo>
                  <a:lnTo>
                    <a:pt x="10" y="4"/>
                  </a:lnTo>
                  <a:lnTo>
                    <a:pt x="12" y="2"/>
                  </a:lnTo>
                  <a:lnTo>
                    <a:pt x="14" y="2"/>
                  </a:lnTo>
                  <a:lnTo>
                    <a:pt x="18" y="2"/>
                  </a:lnTo>
                  <a:lnTo>
                    <a:pt x="22" y="2"/>
                  </a:lnTo>
                  <a:lnTo>
                    <a:pt x="24" y="2"/>
                  </a:lnTo>
                  <a:lnTo>
                    <a:pt x="26" y="2"/>
                  </a:lnTo>
                  <a:lnTo>
                    <a:pt x="28" y="2"/>
                  </a:lnTo>
                  <a:lnTo>
                    <a:pt x="28" y="2"/>
                  </a:lnTo>
                  <a:lnTo>
                    <a:pt x="30" y="2"/>
                  </a:lnTo>
                  <a:lnTo>
                    <a:pt x="32" y="2"/>
                  </a:lnTo>
                  <a:lnTo>
                    <a:pt x="36" y="0"/>
                  </a:lnTo>
                  <a:lnTo>
                    <a:pt x="36" y="0"/>
                  </a:lnTo>
                  <a:lnTo>
                    <a:pt x="38" y="0"/>
                  </a:lnTo>
                  <a:lnTo>
                    <a:pt x="38" y="0"/>
                  </a:lnTo>
                  <a:lnTo>
                    <a:pt x="40" y="0"/>
                  </a:lnTo>
                  <a:lnTo>
                    <a:pt x="42" y="2"/>
                  </a:lnTo>
                  <a:lnTo>
                    <a:pt x="44" y="4"/>
                  </a:lnTo>
                  <a:lnTo>
                    <a:pt x="46" y="6"/>
                  </a:lnTo>
                  <a:lnTo>
                    <a:pt x="48" y="16"/>
                  </a:lnTo>
                  <a:lnTo>
                    <a:pt x="48" y="18"/>
                  </a:lnTo>
                  <a:lnTo>
                    <a:pt x="46" y="22"/>
                  </a:lnTo>
                  <a:lnTo>
                    <a:pt x="46" y="24"/>
                  </a:lnTo>
                  <a:lnTo>
                    <a:pt x="46" y="26"/>
                  </a:lnTo>
                  <a:lnTo>
                    <a:pt x="44" y="26"/>
                  </a:lnTo>
                  <a:lnTo>
                    <a:pt x="44" y="26"/>
                  </a:lnTo>
                  <a:lnTo>
                    <a:pt x="44" y="28"/>
                  </a:lnTo>
                  <a:lnTo>
                    <a:pt x="44" y="28"/>
                  </a:lnTo>
                  <a:lnTo>
                    <a:pt x="42" y="28"/>
                  </a:lnTo>
                  <a:lnTo>
                    <a:pt x="42" y="28"/>
                  </a:lnTo>
                  <a:lnTo>
                    <a:pt x="40" y="26"/>
                  </a:lnTo>
                  <a:lnTo>
                    <a:pt x="38" y="26"/>
                  </a:lnTo>
                  <a:lnTo>
                    <a:pt x="38" y="26"/>
                  </a:lnTo>
                  <a:lnTo>
                    <a:pt x="38" y="26"/>
                  </a:lnTo>
                  <a:lnTo>
                    <a:pt x="38" y="26"/>
                  </a:lnTo>
                  <a:lnTo>
                    <a:pt x="36" y="26"/>
                  </a:lnTo>
                  <a:lnTo>
                    <a:pt x="36" y="26"/>
                  </a:lnTo>
                  <a:lnTo>
                    <a:pt x="36" y="28"/>
                  </a:lnTo>
                  <a:lnTo>
                    <a:pt x="34" y="30"/>
                  </a:lnTo>
                  <a:lnTo>
                    <a:pt x="34" y="30"/>
                  </a:lnTo>
                  <a:lnTo>
                    <a:pt x="34" y="30"/>
                  </a:lnTo>
                  <a:lnTo>
                    <a:pt x="34" y="30"/>
                  </a:lnTo>
                  <a:lnTo>
                    <a:pt x="34" y="30"/>
                  </a:lnTo>
                  <a:lnTo>
                    <a:pt x="32" y="30"/>
                  </a:lnTo>
                  <a:lnTo>
                    <a:pt x="32" y="30"/>
                  </a:lnTo>
                  <a:lnTo>
                    <a:pt x="32" y="30"/>
                  </a:lnTo>
                  <a:lnTo>
                    <a:pt x="32" y="28"/>
                  </a:lnTo>
                  <a:lnTo>
                    <a:pt x="30" y="28"/>
                  </a:lnTo>
                  <a:lnTo>
                    <a:pt x="30" y="26"/>
                  </a:lnTo>
                  <a:lnTo>
                    <a:pt x="30" y="24"/>
                  </a:lnTo>
                  <a:lnTo>
                    <a:pt x="28" y="24"/>
                  </a:lnTo>
                  <a:lnTo>
                    <a:pt x="28" y="24"/>
                  </a:lnTo>
                  <a:lnTo>
                    <a:pt x="28" y="24"/>
                  </a:lnTo>
                  <a:lnTo>
                    <a:pt x="28" y="24"/>
                  </a:lnTo>
                  <a:lnTo>
                    <a:pt x="28" y="24"/>
                  </a:lnTo>
                  <a:lnTo>
                    <a:pt x="26" y="24"/>
                  </a:lnTo>
                  <a:lnTo>
                    <a:pt x="26" y="26"/>
                  </a:lnTo>
                  <a:lnTo>
                    <a:pt x="26" y="26"/>
                  </a:lnTo>
                  <a:lnTo>
                    <a:pt x="24" y="28"/>
                  </a:lnTo>
                  <a:lnTo>
                    <a:pt x="22" y="28"/>
                  </a:lnTo>
                  <a:lnTo>
                    <a:pt x="22" y="30"/>
                  </a:lnTo>
                  <a:lnTo>
                    <a:pt x="20" y="30"/>
                  </a:lnTo>
                  <a:lnTo>
                    <a:pt x="18" y="30"/>
                  </a:lnTo>
                  <a:lnTo>
                    <a:pt x="16" y="30"/>
                  </a:lnTo>
                  <a:lnTo>
                    <a:pt x="14" y="30"/>
                  </a:lnTo>
                  <a:lnTo>
                    <a:pt x="10" y="30"/>
                  </a:lnTo>
                  <a:lnTo>
                    <a:pt x="8" y="3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8" name="Freeform 246">
              <a:extLst>
                <a:ext uri="{FF2B5EF4-FFF2-40B4-BE49-F238E27FC236}">
                  <a16:creationId xmlns:a16="http://schemas.microsoft.com/office/drawing/2014/main" id="{7E31430E-E69E-467C-B10A-FBB99D66AE1E}"/>
                </a:ext>
              </a:extLst>
            </p:cNvPr>
            <p:cNvSpPr>
              <a:spLocks/>
            </p:cNvSpPr>
            <p:nvPr/>
          </p:nvSpPr>
          <p:spPr bwMode="auto">
            <a:xfrm>
              <a:off x="4449347" y="2841389"/>
              <a:ext cx="72747" cy="110853"/>
            </a:xfrm>
            <a:custGeom>
              <a:avLst/>
              <a:gdLst>
                <a:gd name="T0" fmla="*/ 18 w 42"/>
                <a:gd name="T1" fmla="*/ 64 h 64"/>
                <a:gd name="T2" fmla="*/ 16 w 42"/>
                <a:gd name="T3" fmla="*/ 56 h 64"/>
                <a:gd name="T4" fmla="*/ 14 w 42"/>
                <a:gd name="T5" fmla="*/ 52 h 64"/>
                <a:gd name="T6" fmla="*/ 12 w 42"/>
                <a:gd name="T7" fmla="*/ 50 h 64"/>
                <a:gd name="T8" fmla="*/ 10 w 42"/>
                <a:gd name="T9" fmla="*/ 48 h 64"/>
                <a:gd name="T10" fmla="*/ 6 w 42"/>
                <a:gd name="T11" fmla="*/ 46 h 64"/>
                <a:gd name="T12" fmla="*/ 4 w 42"/>
                <a:gd name="T13" fmla="*/ 46 h 64"/>
                <a:gd name="T14" fmla="*/ 2 w 42"/>
                <a:gd name="T15" fmla="*/ 44 h 64"/>
                <a:gd name="T16" fmla="*/ 2 w 42"/>
                <a:gd name="T17" fmla="*/ 44 h 64"/>
                <a:gd name="T18" fmla="*/ 0 w 42"/>
                <a:gd name="T19" fmla="*/ 40 h 64"/>
                <a:gd name="T20" fmla="*/ 0 w 42"/>
                <a:gd name="T21" fmla="*/ 36 h 64"/>
                <a:gd name="T22" fmla="*/ 0 w 42"/>
                <a:gd name="T23" fmla="*/ 30 h 64"/>
                <a:gd name="T24" fmla="*/ 0 w 42"/>
                <a:gd name="T25" fmla="*/ 26 h 64"/>
                <a:gd name="T26" fmla="*/ 0 w 42"/>
                <a:gd name="T27" fmla="*/ 22 h 64"/>
                <a:gd name="T28" fmla="*/ 2 w 42"/>
                <a:gd name="T29" fmla="*/ 20 h 64"/>
                <a:gd name="T30" fmla="*/ 4 w 42"/>
                <a:gd name="T31" fmla="*/ 18 h 64"/>
                <a:gd name="T32" fmla="*/ 4 w 42"/>
                <a:gd name="T33" fmla="*/ 18 h 64"/>
                <a:gd name="T34" fmla="*/ 8 w 42"/>
                <a:gd name="T35" fmla="*/ 18 h 64"/>
                <a:gd name="T36" fmla="*/ 14 w 42"/>
                <a:gd name="T37" fmla="*/ 18 h 64"/>
                <a:gd name="T38" fmla="*/ 18 w 42"/>
                <a:gd name="T39" fmla="*/ 18 h 64"/>
                <a:gd name="T40" fmla="*/ 20 w 42"/>
                <a:gd name="T41" fmla="*/ 18 h 64"/>
                <a:gd name="T42" fmla="*/ 22 w 42"/>
                <a:gd name="T43" fmla="*/ 18 h 64"/>
                <a:gd name="T44" fmla="*/ 24 w 42"/>
                <a:gd name="T45" fmla="*/ 16 h 64"/>
                <a:gd name="T46" fmla="*/ 24 w 42"/>
                <a:gd name="T47" fmla="*/ 10 h 64"/>
                <a:gd name="T48" fmla="*/ 26 w 42"/>
                <a:gd name="T49" fmla="*/ 4 h 64"/>
                <a:gd name="T50" fmla="*/ 28 w 42"/>
                <a:gd name="T51" fmla="*/ 2 h 64"/>
                <a:gd name="T52" fmla="*/ 28 w 42"/>
                <a:gd name="T53" fmla="*/ 0 h 64"/>
                <a:gd name="T54" fmla="*/ 30 w 42"/>
                <a:gd name="T55" fmla="*/ 0 h 64"/>
                <a:gd name="T56" fmla="*/ 32 w 42"/>
                <a:gd name="T57" fmla="*/ 0 h 64"/>
                <a:gd name="T58" fmla="*/ 34 w 42"/>
                <a:gd name="T59" fmla="*/ 2 h 64"/>
                <a:gd name="T60" fmla="*/ 36 w 42"/>
                <a:gd name="T61" fmla="*/ 4 h 64"/>
                <a:gd name="T62" fmla="*/ 38 w 42"/>
                <a:gd name="T63" fmla="*/ 10 h 64"/>
                <a:gd name="T64" fmla="*/ 40 w 42"/>
                <a:gd name="T65" fmla="*/ 16 h 64"/>
                <a:gd name="T66" fmla="*/ 42 w 42"/>
                <a:gd name="T67" fmla="*/ 20 h 64"/>
                <a:gd name="T68" fmla="*/ 40 w 42"/>
                <a:gd name="T69" fmla="*/ 22 h 64"/>
                <a:gd name="T70" fmla="*/ 38 w 42"/>
                <a:gd name="T71" fmla="*/ 26 h 64"/>
                <a:gd name="T72" fmla="*/ 34 w 42"/>
                <a:gd name="T73" fmla="*/ 34 h 64"/>
                <a:gd name="T74" fmla="*/ 32 w 42"/>
                <a:gd name="T75" fmla="*/ 40 h 64"/>
                <a:gd name="T76" fmla="*/ 32 w 42"/>
                <a:gd name="T77" fmla="*/ 44 h 64"/>
                <a:gd name="T78" fmla="*/ 32 w 42"/>
                <a:gd name="T79" fmla="*/ 48 h 64"/>
                <a:gd name="T80" fmla="*/ 32 w 42"/>
                <a:gd name="T81" fmla="*/ 5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 h="64">
                  <a:moveTo>
                    <a:pt x="34" y="60"/>
                  </a:moveTo>
                  <a:lnTo>
                    <a:pt x="18" y="64"/>
                  </a:lnTo>
                  <a:lnTo>
                    <a:pt x="16" y="62"/>
                  </a:lnTo>
                  <a:lnTo>
                    <a:pt x="16" y="56"/>
                  </a:lnTo>
                  <a:lnTo>
                    <a:pt x="14" y="54"/>
                  </a:lnTo>
                  <a:lnTo>
                    <a:pt x="14" y="52"/>
                  </a:lnTo>
                  <a:lnTo>
                    <a:pt x="12" y="50"/>
                  </a:lnTo>
                  <a:lnTo>
                    <a:pt x="12" y="50"/>
                  </a:lnTo>
                  <a:lnTo>
                    <a:pt x="12" y="48"/>
                  </a:lnTo>
                  <a:lnTo>
                    <a:pt x="10" y="48"/>
                  </a:lnTo>
                  <a:lnTo>
                    <a:pt x="10" y="48"/>
                  </a:lnTo>
                  <a:lnTo>
                    <a:pt x="6" y="46"/>
                  </a:lnTo>
                  <a:lnTo>
                    <a:pt x="6" y="46"/>
                  </a:lnTo>
                  <a:lnTo>
                    <a:pt x="4" y="46"/>
                  </a:lnTo>
                  <a:lnTo>
                    <a:pt x="4" y="46"/>
                  </a:lnTo>
                  <a:lnTo>
                    <a:pt x="2" y="44"/>
                  </a:lnTo>
                  <a:lnTo>
                    <a:pt x="2" y="44"/>
                  </a:lnTo>
                  <a:lnTo>
                    <a:pt x="2" y="44"/>
                  </a:lnTo>
                  <a:lnTo>
                    <a:pt x="2" y="42"/>
                  </a:lnTo>
                  <a:lnTo>
                    <a:pt x="0" y="40"/>
                  </a:lnTo>
                  <a:lnTo>
                    <a:pt x="0" y="40"/>
                  </a:lnTo>
                  <a:lnTo>
                    <a:pt x="0" y="36"/>
                  </a:lnTo>
                  <a:lnTo>
                    <a:pt x="0" y="32"/>
                  </a:lnTo>
                  <a:lnTo>
                    <a:pt x="0" y="30"/>
                  </a:lnTo>
                  <a:lnTo>
                    <a:pt x="0" y="28"/>
                  </a:lnTo>
                  <a:lnTo>
                    <a:pt x="0" y="26"/>
                  </a:lnTo>
                  <a:lnTo>
                    <a:pt x="0" y="24"/>
                  </a:lnTo>
                  <a:lnTo>
                    <a:pt x="0" y="22"/>
                  </a:lnTo>
                  <a:lnTo>
                    <a:pt x="0" y="22"/>
                  </a:lnTo>
                  <a:lnTo>
                    <a:pt x="2" y="20"/>
                  </a:lnTo>
                  <a:lnTo>
                    <a:pt x="2" y="20"/>
                  </a:lnTo>
                  <a:lnTo>
                    <a:pt x="4" y="18"/>
                  </a:lnTo>
                  <a:lnTo>
                    <a:pt x="4" y="18"/>
                  </a:lnTo>
                  <a:lnTo>
                    <a:pt x="4" y="18"/>
                  </a:lnTo>
                  <a:lnTo>
                    <a:pt x="6" y="18"/>
                  </a:lnTo>
                  <a:lnTo>
                    <a:pt x="8" y="18"/>
                  </a:lnTo>
                  <a:lnTo>
                    <a:pt x="12" y="18"/>
                  </a:lnTo>
                  <a:lnTo>
                    <a:pt x="14" y="18"/>
                  </a:lnTo>
                  <a:lnTo>
                    <a:pt x="18" y="18"/>
                  </a:lnTo>
                  <a:lnTo>
                    <a:pt x="18" y="18"/>
                  </a:lnTo>
                  <a:lnTo>
                    <a:pt x="20" y="18"/>
                  </a:lnTo>
                  <a:lnTo>
                    <a:pt x="20" y="18"/>
                  </a:lnTo>
                  <a:lnTo>
                    <a:pt x="22" y="18"/>
                  </a:lnTo>
                  <a:lnTo>
                    <a:pt x="22" y="18"/>
                  </a:lnTo>
                  <a:lnTo>
                    <a:pt x="22" y="16"/>
                  </a:lnTo>
                  <a:lnTo>
                    <a:pt x="24" y="16"/>
                  </a:lnTo>
                  <a:lnTo>
                    <a:pt x="24" y="14"/>
                  </a:lnTo>
                  <a:lnTo>
                    <a:pt x="24" y="10"/>
                  </a:lnTo>
                  <a:lnTo>
                    <a:pt x="26" y="8"/>
                  </a:lnTo>
                  <a:lnTo>
                    <a:pt x="26" y="4"/>
                  </a:lnTo>
                  <a:lnTo>
                    <a:pt x="26" y="4"/>
                  </a:lnTo>
                  <a:lnTo>
                    <a:pt x="28" y="2"/>
                  </a:lnTo>
                  <a:lnTo>
                    <a:pt x="28" y="2"/>
                  </a:lnTo>
                  <a:lnTo>
                    <a:pt x="28" y="0"/>
                  </a:lnTo>
                  <a:lnTo>
                    <a:pt x="30" y="0"/>
                  </a:lnTo>
                  <a:lnTo>
                    <a:pt x="30" y="0"/>
                  </a:lnTo>
                  <a:lnTo>
                    <a:pt x="30" y="0"/>
                  </a:lnTo>
                  <a:lnTo>
                    <a:pt x="32" y="0"/>
                  </a:lnTo>
                  <a:lnTo>
                    <a:pt x="32" y="0"/>
                  </a:lnTo>
                  <a:lnTo>
                    <a:pt x="34" y="2"/>
                  </a:lnTo>
                  <a:lnTo>
                    <a:pt x="34" y="2"/>
                  </a:lnTo>
                  <a:lnTo>
                    <a:pt x="36" y="4"/>
                  </a:lnTo>
                  <a:lnTo>
                    <a:pt x="38" y="6"/>
                  </a:lnTo>
                  <a:lnTo>
                    <a:pt x="38" y="10"/>
                  </a:lnTo>
                  <a:lnTo>
                    <a:pt x="40" y="12"/>
                  </a:lnTo>
                  <a:lnTo>
                    <a:pt x="40" y="16"/>
                  </a:lnTo>
                  <a:lnTo>
                    <a:pt x="42" y="18"/>
                  </a:lnTo>
                  <a:lnTo>
                    <a:pt x="42" y="20"/>
                  </a:lnTo>
                  <a:lnTo>
                    <a:pt x="42" y="20"/>
                  </a:lnTo>
                  <a:lnTo>
                    <a:pt x="40" y="22"/>
                  </a:lnTo>
                  <a:lnTo>
                    <a:pt x="40" y="24"/>
                  </a:lnTo>
                  <a:lnTo>
                    <a:pt x="38" y="26"/>
                  </a:lnTo>
                  <a:lnTo>
                    <a:pt x="36" y="30"/>
                  </a:lnTo>
                  <a:lnTo>
                    <a:pt x="34" y="34"/>
                  </a:lnTo>
                  <a:lnTo>
                    <a:pt x="34" y="38"/>
                  </a:lnTo>
                  <a:lnTo>
                    <a:pt x="32" y="40"/>
                  </a:lnTo>
                  <a:lnTo>
                    <a:pt x="32" y="42"/>
                  </a:lnTo>
                  <a:lnTo>
                    <a:pt x="32" y="44"/>
                  </a:lnTo>
                  <a:lnTo>
                    <a:pt x="32" y="46"/>
                  </a:lnTo>
                  <a:lnTo>
                    <a:pt x="32" y="48"/>
                  </a:lnTo>
                  <a:lnTo>
                    <a:pt x="32" y="52"/>
                  </a:lnTo>
                  <a:lnTo>
                    <a:pt x="32" y="58"/>
                  </a:lnTo>
                  <a:lnTo>
                    <a:pt x="34" y="6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9" name="Freeform 247">
              <a:extLst>
                <a:ext uri="{FF2B5EF4-FFF2-40B4-BE49-F238E27FC236}">
                  <a16:creationId xmlns:a16="http://schemas.microsoft.com/office/drawing/2014/main" id="{3BB341EA-7915-449A-ADA7-80E61E07D8C8}"/>
                </a:ext>
              </a:extLst>
            </p:cNvPr>
            <p:cNvSpPr>
              <a:spLocks/>
            </p:cNvSpPr>
            <p:nvPr/>
          </p:nvSpPr>
          <p:spPr bwMode="auto">
            <a:xfrm>
              <a:off x="4449347" y="2841389"/>
              <a:ext cx="72747" cy="110853"/>
            </a:xfrm>
            <a:custGeom>
              <a:avLst/>
              <a:gdLst>
                <a:gd name="T0" fmla="*/ 18 w 42"/>
                <a:gd name="T1" fmla="*/ 64 h 64"/>
                <a:gd name="T2" fmla="*/ 16 w 42"/>
                <a:gd name="T3" fmla="*/ 56 h 64"/>
                <a:gd name="T4" fmla="*/ 14 w 42"/>
                <a:gd name="T5" fmla="*/ 52 h 64"/>
                <a:gd name="T6" fmla="*/ 12 w 42"/>
                <a:gd name="T7" fmla="*/ 50 h 64"/>
                <a:gd name="T8" fmla="*/ 10 w 42"/>
                <a:gd name="T9" fmla="*/ 48 h 64"/>
                <a:gd name="T10" fmla="*/ 6 w 42"/>
                <a:gd name="T11" fmla="*/ 46 h 64"/>
                <a:gd name="T12" fmla="*/ 4 w 42"/>
                <a:gd name="T13" fmla="*/ 46 h 64"/>
                <a:gd name="T14" fmla="*/ 2 w 42"/>
                <a:gd name="T15" fmla="*/ 44 h 64"/>
                <a:gd name="T16" fmla="*/ 2 w 42"/>
                <a:gd name="T17" fmla="*/ 44 h 64"/>
                <a:gd name="T18" fmla="*/ 0 w 42"/>
                <a:gd name="T19" fmla="*/ 40 h 64"/>
                <a:gd name="T20" fmla="*/ 0 w 42"/>
                <a:gd name="T21" fmla="*/ 36 h 64"/>
                <a:gd name="T22" fmla="*/ 0 w 42"/>
                <a:gd name="T23" fmla="*/ 30 h 64"/>
                <a:gd name="T24" fmla="*/ 0 w 42"/>
                <a:gd name="T25" fmla="*/ 26 h 64"/>
                <a:gd name="T26" fmla="*/ 0 w 42"/>
                <a:gd name="T27" fmla="*/ 22 h 64"/>
                <a:gd name="T28" fmla="*/ 2 w 42"/>
                <a:gd name="T29" fmla="*/ 20 h 64"/>
                <a:gd name="T30" fmla="*/ 4 w 42"/>
                <a:gd name="T31" fmla="*/ 18 h 64"/>
                <a:gd name="T32" fmla="*/ 4 w 42"/>
                <a:gd name="T33" fmla="*/ 18 h 64"/>
                <a:gd name="T34" fmla="*/ 8 w 42"/>
                <a:gd name="T35" fmla="*/ 18 h 64"/>
                <a:gd name="T36" fmla="*/ 14 w 42"/>
                <a:gd name="T37" fmla="*/ 18 h 64"/>
                <a:gd name="T38" fmla="*/ 18 w 42"/>
                <a:gd name="T39" fmla="*/ 18 h 64"/>
                <a:gd name="T40" fmla="*/ 20 w 42"/>
                <a:gd name="T41" fmla="*/ 18 h 64"/>
                <a:gd name="T42" fmla="*/ 22 w 42"/>
                <a:gd name="T43" fmla="*/ 18 h 64"/>
                <a:gd name="T44" fmla="*/ 24 w 42"/>
                <a:gd name="T45" fmla="*/ 16 h 64"/>
                <a:gd name="T46" fmla="*/ 24 w 42"/>
                <a:gd name="T47" fmla="*/ 10 h 64"/>
                <a:gd name="T48" fmla="*/ 26 w 42"/>
                <a:gd name="T49" fmla="*/ 4 h 64"/>
                <a:gd name="T50" fmla="*/ 28 w 42"/>
                <a:gd name="T51" fmla="*/ 2 h 64"/>
                <a:gd name="T52" fmla="*/ 28 w 42"/>
                <a:gd name="T53" fmla="*/ 0 h 64"/>
                <a:gd name="T54" fmla="*/ 30 w 42"/>
                <a:gd name="T55" fmla="*/ 0 h 64"/>
                <a:gd name="T56" fmla="*/ 32 w 42"/>
                <a:gd name="T57" fmla="*/ 0 h 64"/>
                <a:gd name="T58" fmla="*/ 34 w 42"/>
                <a:gd name="T59" fmla="*/ 2 h 64"/>
                <a:gd name="T60" fmla="*/ 36 w 42"/>
                <a:gd name="T61" fmla="*/ 4 h 64"/>
                <a:gd name="T62" fmla="*/ 38 w 42"/>
                <a:gd name="T63" fmla="*/ 10 h 64"/>
                <a:gd name="T64" fmla="*/ 40 w 42"/>
                <a:gd name="T65" fmla="*/ 16 h 64"/>
                <a:gd name="T66" fmla="*/ 42 w 42"/>
                <a:gd name="T67" fmla="*/ 20 h 64"/>
                <a:gd name="T68" fmla="*/ 40 w 42"/>
                <a:gd name="T69" fmla="*/ 22 h 64"/>
                <a:gd name="T70" fmla="*/ 38 w 42"/>
                <a:gd name="T71" fmla="*/ 26 h 64"/>
                <a:gd name="T72" fmla="*/ 34 w 42"/>
                <a:gd name="T73" fmla="*/ 34 h 64"/>
                <a:gd name="T74" fmla="*/ 32 w 42"/>
                <a:gd name="T75" fmla="*/ 40 h 64"/>
                <a:gd name="T76" fmla="*/ 32 w 42"/>
                <a:gd name="T77" fmla="*/ 44 h 64"/>
                <a:gd name="T78" fmla="*/ 32 w 42"/>
                <a:gd name="T79" fmla="*/ 48 h 64"/>
                <a:gd name="T80" fmla="*/ 32 w 42"/>
                <a:gd name="T81" fmla="*/ 5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 h="64">
                  <a:moveTo>
                    <a:pt x="34" y="60"/>
                  </a:moveTo>
                  <a:lnTo>
                    <a:pt x="18" y="64"/>
                  </a:lnTo>
                  <a:lnTo>
                    <a:pt x="16" y="62"/>
                  </a:lnTo>
                  <a:lnTo>
                    <a:pt x="16" y="56"/>
                  </a:lnTo>
                  <a:lnTo>
                    <a:pt x="14" y="54"/>
                  </a:lnTo>
                  <a:lnTo>
                    <a:pt x="14" y="52"/>
                  </a:lnTo>
                  <a:lnTo>
                    <a:pt x="12" y="50"/>
                  </a:lnTo>
                  <a:lnTo>
                    <a:pt x="12" y="50"/>
                  </a:lnTo>
                  <a:lnTo>
                    <a:pt x="12" y="48"/>
                  </a:lnTo>
                  <a:lnTo>
                    <a:pt x="10" y="48"/>
                  </a:lnTo>
                  <a:lnTo>
                    <a:pt x="10" y="48"/>
                  </a:lnTo>
                  <a:lnTo>
                    <a:pt x="6" y="46"/>
                  </a:lnTo>
                  <a:lnTo>
                    <a:pt x="6" y="46"/>
                  </a:lnTo>
                  <a:lnTo>
                    <a:pt x="4" y="46"/>
                  </a:lnTo>
                  <a:lnTo>
                    <a:pt x="4" y="46"/>
                  </a:lnTo>
                  <a:lnTo>
                    <a:pt x="2" y="44"/>
                  </a:lnTo>
                  <a:lnTo>
                    <a:pt x="2" y="44"/>
                  </a:lnTo>
                  <a:lnTo>
                    <a:pt x="2" y="44"/>
                  </a:lnTo>
                  <a:lnTo>
                    <a:pt x="2" y="42"/>
                  </a:lnTo>
                  <a:lnTo>
                    <a:pt x="0" y="40"/>
                  </a:lnTo>
                  <a:lnTo>
                    <a:pt x="0" y="40"/>
                  </a:lnTo>
                  <a:lnTo>
                    <a:pt x="0" y="36"/>
                  </a:lnTo>
                  <a:lnTo>
                    <a:pt x="0" y="32"/>
                  </a:lnTo>
                  <a:lnTo>
                    <a:pt x="0" y="30"/>
                  </a:lnTo>
                  <a:lnTo>
                    <a:pt x="0" y="28"/>
                  </a:lnTo>
                  <a:lnTo>
                    <a:pt x="0" y="26"/>
                  </a:lnTo>
                  <a:lnTo>
                    <a:pt x="0" y="24"/>
                  </a:lnTo>
                  <a:lnTo>
                    <a:pt x="0" y="22"/>
                  </a:lnTo>
                  <a:lnTo>
                    <a:pt x="0" y="22"/>
                  </a:lnTo>
                  <a:lnTo>
                    <a:pt x="2" y="20"/>
                  </a:lnTo>
                  <a:lnTo>
                    <a:pt x="2" y="20"/>
                  </a:lnTo>
                  <a:lnTo>
                    <a:pt x="4" y="18"/>
                  </a:lnTo>
                  <a:lnTo>
                    <a:pt x="4" y="18"/>
                  </a:lnTo>
                  <a:lnTo>
                    <a:pt x="4" y="18"/>
                  </a:lnTo>
                  <a:lnTo>
                    <a:pt x="6" y="18"/>
                  </a:lnTo>
                  <a:lnTo>
                    <a:pt x="8" y="18"/>
                  </a:lnTo>
                  <a:lnTo>
                    <a:pt x="12" y="18"/>
                  </a:lnTo>
                  <a:lnTo>
                    <a:pt x="14" y="18"/>
                  </a:lnTo>
                  <a:lnTo>
                    <a:pt x="18" y="18"/>
                  </a:lnTo>
                  <a:lnTo>
                    <a:pt x="18" y="18"/>
                  </a:lnTo>
                  <a:lnTo>
                    <a:pt x="20" y="18"/>
                  </a:lnTo>
                  <a:lnTo>
                    <a:pt x="20" y="18"/>
                  </a:lnTo>
                  <a:lnTo>
                    <a:pt x="22" y="18"/>
                  </a:lnTo>
                  <a:lnTo>
                    <a:pt x="22" y="18"/>
                  </a:lnTo>
                  <a:lnTo>
                    <a:pt x="22" y="16"/>
                  </a:lnTo>
                  <a:lnTo>
                    <a:pt x="24" y="16"/>
                  </a:lnTo>
                  <a:lnTo>
                    <a:pt x="24" y="14"/>
                  </a:lnTo>
                  <a:lnTo>
                    <a:pt x="24" y="10"/>
                  </a:lnTo>
                  <a:lnTo>
                    <a:pt x="26" y="8"/>
                  </a:lnTo>
                  <a:lnTo>
                    <a:pt x="26" y="4"/>
                  </a:lnTo>
                  <a:lnTo>
                    <a:pt x="26" y="4"/>
                  </a:lnTo>
                  <a:lnTo>
                    <a:pt x="28" y="2"/>
                  </a:lnTo>
                  <a:lnTo>
                    <a:pt x="28" y="2"/>
                  </a:lnTo>
                  <a:lnTo>
                    <a:pt x="28" y="0"/>
                  </a:lnTo>
                  <a:lnTo>
                    <a:pt x="30" y="0"/>
                  </a:lnTo>
                  <a:lnTo>
                    <a:pt x="30" y="0"/>
                  </a:lnTo>
                  <a:lnTo>
                    <a:pt x="30" y="0"/>
                  </a:lnTo>
                  <a:lnTo>
                    <a:pt x="32" y="0"/>
                  </a:lnTo>
                  <a:lnTo>
                    <a:pt x="32" y="0"/>
                  </a:lnTo>
                  <a:lnTo>
                    <a:pt x="34" y="2"/>
                  </a:lnTo>
                  <a:lnTo>
                    <a:pt x="34" y="2"/>
                  </a:lnTo>
                  <a:lnTo>
                    <a:pt x="36" y="4"/>
                  </a:lnTo>
                  <a:lnTo>
                    <a:pt x="38" y="6"/>
                  </a:lnTo>
                  <a:lnTo>
                    <a:pt x="38" y="10"/>
                  </a:lnTo>
                  <a:lnTo>
                    <a:pt x="40" y="12"/>
                  </a:lnTo>
                  <a:lnTo>
                    <a:pt x="40" y="16"/>
                  </a:lnTo>
                  <a:lnTo>
                    <a:pt x="42" y="18"/>
                  </a:lnTo>
                  <a:lnTo>
                    <a:pt x="42" y="20"/>
                  </a:lnTo>
                  <a:lnTo>
                    <a:pt x="42" y="20"/>
                  </a:lnTo>
                  <a:lnTo>
                    <a:pt x="40" y="22"/>
                  </a:lnTo>
                  <a:lnTo>
                    <a:pt x="40" y="24"/>
                  </a:lnTo>
                  <a:lnTo>
                    <a:pt x="38" y="26"/>
                  </a:lnTo>
                  <a:lnTo>
                    <a:pt x="36" y="30"/>
                  </a:lnTo>
                  <a:lnTo>
                    <a:pt x="34" y="34"/>
                  </a:lnTo>
                  <a:lnTo>
                    <a:pt x="34" y="38"/>
                  </a:lnTo>
                  <a:lnTo>
                    <a:pt x="32" y="40"/>
                  </a:lnTo>
                  <a:lnTo>
                    <a:pt x="32" y="42"/>
                  </a:lnTo>
                  <a:lnTo>
                    <a:pt x="32" y="44"/>
                  </a:lnTo>
                  <a:lnTo>
                    <a:pt x="32" y="46"/>
                  </a:lnTo>
                  <a:lnTo>
                    <a:pt x="32" y="48"/>
                  </a:lnTo>
                  <a:lnTo>
                    <a:pt x="32" y="52"/>
                  </a:lnTo>
                  <a:lnTo>
                    <a:pt x="32" y="58"/>
                  </a:lnTo>
                  <a:lnTo>
                    <a:pt x="34" y="6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0" name="Freeform 248">
              <a:extLst>
                <a:ext uri="{FF2B5EF4-FFF2-40B4-BE49-F238E27FC236}">
                  <a16:creationId xmlns:a16="http://schemas.microsoft.com/office/drawing/2014/main" id="{DD63EDC0-E94E-42FE-B031-8543255EE12E}"/>
                </a:ext>
              </a:extLst>
            </p:cNvPr>
            <p:cNvSpPr>
              <a:spLocks/>
            </p:cNvSpPr>
            <p:nvPr/>
          </p:nvSpPr>
          <p:spPr bwMode="auto">
            <a:xfrm>
              <a:off x="4477061" y="2824068"/>
              <a:ext cx="34642" cy="13857"/>
            </a:xfrm>
            <a:custGeom>
              <a:avLst/>
              <a:gdLst>
                <a:gd name="T0" fmla="*/ 2 w 20"/>
                <a:gd name="T1" fmla="*/ 8 h 8"/>
                <a:gd name="T2" fmla="*/ 2 w 20"/>
                <a:gd name="T3" fmla="*/ 8 h 8"/>
                <a:gd name="T4" fmla="*/ 2 w 20"/>
                <a:gd name="T5" fmla="*/ 8 h 8"/>
                <a:gd name="T6" fmla="*/ 2 w 20"/>
                <a:gd name="T7" fmla="*/ 6 h 8"/>
                <a:gd name="T8" fmla="*/ 0 w 20"/>
                <a:gd name="T9" fmla="*/ 6 h 8"/>
                <a:gd name="T10" fmla="*/ 2 w 20"/>
                <a:gd name="T11" fmla="*/ 4 h 8"/>
                <a:gd name="T12" fmla="*/ 2 w 20"/>
                <a:gd name="T13" fmla="*/ 4 h 8"/>
                <a:gd name="T14" fmla="*/ 2 w 20"/>
                <a:gd name="T15" fmla="*/ 2 h 8"/>
                <a:gd name="T16" fmla="*/ 2 w 20"/>
                <a:gd name="T17" fmla="*/ 2 h 8"/>
                <a:gd name="T18" fmla="*/ 4 w 20"/>
                <a:gd name="T19" fmla="*/ 0 h 8"/>
                <a:gd name="T20" fmla="*/ 4 w 20"/>
                <a:gd name="T21" fmla="*/ 0 h 8"/>
                <a:gd name="T22" fmla="*/ 4 w 20"/>
                <a:gd name="T23" fmla="*/ 0 h 8"/>
                <a:gd name="T24" fmla="*/ 6 w 20"/>
                <a:gd name="T25" fmla="*/ 0 h 8"/>
                <a:gd name="T26" fmla="*/ 8 w 20"/>
                <a:gd name="T27" fmla="*/ 0 h 8"/>
                <a:gd name="T28" fmla="*/ 8 w 20"/>
                <a:gd name="T29" fmla="*/ 0 h 8"/>
                <a:gd name="T30" fmla="*/ 12 w 20"/>
                <a:gd name="T31" fmla="*/ 0 h 8"/>
                <a:gd name="T32" fmla="*/ 14 w 20"/>
                <a:gd name="T33" fmla="*/ 0 h 8"/>
                <a:gd name="T34" fmla="*/ 14 w 20"/>
                <a:gd name="T35" fmla="*/ 0 h 8"/>
                <a:gd name="T36" fmla="*/ 18 w 20"/>
                <a:gd name="T37" fmla="*/ 0 h 8"/>
                <a:gd name="T38" fmla="*/ 18 w 20"/>
                <a:gd name="T39" fmla="*/ 0 h 8"/>
                <a:gd name="T40" fmla="*/ 20 w 20"/>
                <a:gd name="T41" fmla="*/ 0 h 8"/>
                <a:gd name="T42" fmla="*/ 20 w 20"/>
                <a:gd name="T43" fmla="*/ 0 h 8"/>
                <a:gd name="T44" fmla="*/ 20 w 20"/>
                <a:gd name="T45" fmla="*/ 0 h 8"/>
                <a:gd name="T46" fmla="*/ 20 w 20"/>
                <a:gd name="T47" fmla="*/ 0 h 8"/>
                <a:gd name="T48" fmla="*/ 20 w 20"/>
                <a:gd name="T49" fmla="*/ 0 h 8"/>
                <a:gd name="T50" fmla="*/ 20 w 20"/>
                <a:gd name="T51" fmla="*/ 2 h 8"/>
                <a:gd name="T52" fmla="*/ 18 w 20"/>
                <a:gd name="T53" fmla="*/ 2 h 8"/>
                <a:gd name="T54" fmla="*/ 18 w 20"/>
                <a:gd name="T55" fmla="*/ 4 h 8"/>
                <a:gd name="T56" fmla="*/ 16 w 20"/>
                <a:gd name="T57" fmla="*/ 4 h 8"/>
                <a:gd name="T58" fmla="*/ 16 w 20"/>
                <a:gd name="T59" fmla="*/ 6 h 8"/>
                <a:gd name="T60" fmla="*/ 14 w 20"/>
                <a:gd name="T61" fmla="*/ 6 h 8"/>
                <a:gd name="T62" fmla="*/ 12 w 20"/>
                <a:gd name="T63" fmla="*/ 6 h 8"/>
                <a:gd name="T64" fmla="*/ 10 w 20"/>
                <a:gd name="T65" fmla="*/ 8 h 8"/>
                <a:gd name="T66" fmla="*/ 10 w 20"/>
                <a:gd name="T67" fmla="*/ 8 h 8"/>
                <a:gd name="T68" fmla="*/ 8 w 20"/>
                <a:gd name="T69" fmla="*/ 8 h 8"/>
                <a:gd name="T70" fmla="*/ 6 w 20"/>
                <a:gd name="T71" fmla="*/ 8 h 8"/>
                <a:gd name="T72" fmla="*/ 4 w 20"/>
                <a:gd name="T73" fmla="*/ 8 h 8"/>
                <a:gd name="T74" fmla="*/ 4 w 20"/>
                <a:gd name="T75" fmla="*/ 8 h 8"/>
                <a:gd name="T76" fmla="*/ 2 w 20"/>
                <a:gd name="T77" fmla="*/ 8 h 8"/>
                <a:gd name="T78" fmla="*/ 2 w 20"/>
                <a:gd name="T7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 h="8">
                  <a:moveTo>
                    <a:pt x="2" y="8"/>
                  </a:moveTo>
                  <a:lnTo>
                    <a:pt x="2" y="8"/>
                  </a:lnTo>
                  <a:lnTo>
                    <a:pt x="2" y="8"/>
                  </a:lnTo>
                  <a:lnTo>
                    <a:pt x="2" y="6"/>
                  </a:lnTo>
                  <a:lnTo>
                    <a:pt x="0" y="6"/>
                  </a:lnTo>
                  <a:lnTo>
                    <a:pt x="2" y="4"/>
                  </a:lnTo>
                  <a:lnTo>
                    <a:pt x="2" y="4"/>
                  </a:lnTo>
                  <a:lnTo>
                    <a:pt x="2" y="2"/>
                  </a:lnTo>
                  <a:lnTo>
                    <a:pt x="2" y="2"/>
                  </a:lnTo>
                  <a:lnTo>
                    <a:pt x="4" y="0"/>
                  </a:lnTo>
                  <a:lnTo>
                    <a:pt x="4" y="0"/>
                  </a:lnTo>
                  <a:lnTo>
                    <a:pt x="4" y="0"/>
                  </a:lnTo>
                  <a:lnTo>
                    <a:pt x="6" y="0"/>
                  </a:lnTo>
                  <a:lnTo>
                    <a:pt x="8" y="0"/>
                  </a:lnTo>
                  <a:lnTo>
                    <a:pt x="8" y="0"/>
                  </a:lnTo>
                  <a:lnTo>
                    <a:pt x="12" y="0"/>
                  </a:lnTo>
                  <a:lnTo>
                    <a:pt x="14" y="0"/>
                  </a:lnTo>
                  <a:lnTo>
                    <a:pt x="14" y="0"/>
                  </a:lnTo>
                  <a:lnTo>
                    <a:pt x="18" y="0"/>
                  </a:lnTo>
                  <a:lnTo>
                    <a:pt x="18" y="0"/>
                  </a:lnTo>
                  <a:lnTo>
                    <a:pt x="20" y="0"/>
                  </a:lnTo>
                  <a:lnTo>
                    <a:pt x="20" y="0"/>
                  </a:lnTo>
                  <a:lnTo>
                    <a:pt x="20" y="0"/>
                  </a:lnTo>
                  <a:lnTo>
                    <a:pt x="20" y="0"/>
                  </a:lnTo>
                  <a:lnTo>
                    <a:pt x="20" y="0"/>
                  </a:lnTo>
                  <a:lnTo>
                    <a:pt x="20" y="2"/>
                  </a:lnTo>
                  <a:lnTo>
                    <a:pt x="18" y="2"/>
                  </a:lnTo>
                  <a:lnTo>
                    <a:pt x="18" y="4"/>
                  </a:lnTo>
                  <a:lnTo>
                    <a:pt x="16" y="4"/>
                  </a:lnTo>
                  <a:lnTo>
                    <a:pt x="16" y="6"/>
                  </a:lnTo>
                  <a:lnTo>
                    <a:pt x="14" y="6"/>
                  </a:lnTo>
                  <a:lnTo>
                    <a:pt x="12" y="6"/>
                  </a:lnTo>
                  <a:lnTo>
                    <a:pt x="10" y="8"/>
                  </a:lnTo>
                  <a:lnTo>
                    <a:pt x="10" y="8"/>
                  </a:lnTo>
                  <a:lnTo>
                    <a:pt x="8" y="8"/>
                  </a:lnTo>
                  <a:lnTo>
                    <a:pt x="6" y="8"/>
                  </a:lnTo>
                  <a:lnTo>
                    <a:pt x="4" y="8"/>
                  </a:lnTo>
                  <a:lnTo>
                    <a:pt x="4" y="8"/>
                  </a:lnTo>
                  <a:lnTo>
                    <a:pt x="2" y="8"/>
                  </a:lnTo>
                  <a:lnTo>
                    <a:pt x="2" y="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1" name="Freeform 249">
              <a:extLst>
                <a:ext uri="{FF2B5EF4-FFF2-40B4-BE49-F238E27FC236}">
                  <a16:creationId xmlns:a16="http://schemas.microsoft.com/office/drawing/2014/main" id="{7E164905-894C-4CC3-A1E9-41767B119503}"/>
                </a:ext>
              </a:extLst>
            </p:cNvPr>
            <p:cNvSpPr>
              <a:spLocks/>
            </p:cNvSpPr>
            <p:nvPr/>
          </p:nvSpPr>
          <p:spPr bwMode="auto">
            <a:xfrm>
              <a:off x="4477061" y="2824068"/>
              <a:ext cx="34642" cy="13857"/>
            </a:xfrm>
            <a:custGeom>
              <a:avLst/>
              <a:gdLst>
                <a:gd name="T0" fmla="*/ 2 w 20"/>
                <a:gd name="T1" fmla="*/ 8 h 8"/>
                <a:gd name="T2" fmla="*/ 2 w 20"/>
                <a:gd name="T3" fmla="*/ 8 h 8"/>
                <a:gd name="T4" fmla="*/ 2 w 20"/>
                <a:gd name="T5" fmla="*/ 8 h 8"/>
                <a:gd name="T6" fmla="*/ 2 w 20"/>
                <a:gd name="T7" fmla="*/ 6 h 8"/>
                <a:gd name="T8" fmla="*/ 0 w 20"/>
                <a:gd name="T9" fmla="*/ 6 h 8"/>
                <a:gd name="T10" fmla="*/ 2 w 20"/>
                <a:gd name="T11" fmla="*/ 4 h 8"/>
                <a:gd name="T12" fmla="*/ 2 w 20"/>
                <a:gd name="T13" fmla="*/ 4 h 8"/>
                <a:gd name="T14" fmla="*/ 2 w 20"/>
                <a:gd name="T15" fmla="*/ 2 h 8"/>
                <a:gd name="T16" fmla="*/ 2 w 20"/>
                <a:gd name="T17" fmla="*/ 2 h 8"/>
                <a:gd name="T18" fmla="*/ 4 w 20"/>
                <a:gd name="T19" fmla="*/ 0 h 8"/>
                <a:gd name="T20" fmla="*/ 4 w 20"/>
                <a:gd name="T21" fmla="*/ 0 h 8"/>
                <a:gd name="T22" fmla="*/ 4 w 20"/>
                <a:gd name="T23" fmla="*/ 0 h 8"/>
                <a:gd name="T24" fmla="*/ 6 w 20"/>
                <a:gd name="T25" fmla="*/ 0 h 8"/>
                <a:gd name="T26" fmla="*/ 8 w 20"/>
                <a:gd name="T27" fmla="*/ 0 h 8"/>
                <a:gd name="T28" fmla="*/ 8 w 20"/>
                <a:gd name="T29" fmla="*/ 0 h 8"/>
                <a:gd name="T30" fmla="*/ 12 w 20"/>
                <a:gd name="T31" fmla="*/ 0 h 8"/>
                <a:gd name="T32" fmla="*/ 14 w 20"/>
                <a:gd name="T33" fmla="*/ 0 h 8"/>
                <a:gd name="T34" fmla="*/ 14 w 20"/>
                <a:gd name="T35" fmla="*/ 0 h 8"/>
                <a:gd name="T36" fmla="*/ 18 w 20"/>
                <a:gd name="T37" fmla="*/ 0 h 8"/>
                <a:gd name="T38" fmla="*/ 18 w 20"/>
                <a:gd name="T39" fmla="*/ 0 h 8"/>
                <a:gd name="T40" fmla="*/ 20 w 20"/>
                <a:gd name="T41" fmla="*/ 0 h 8"/>
                <a:gd name="T42" fmla="*/ 20 w 20"/>
                <a:gd name="T43" fmla="*/ 0 h 8"/>
                <a:gd name="T44" fmla="*/ 20 w 20"/>
                <a:gd name="T45" fmla="*/ 0 h 8"/>
                <a:gd name="T46" fmla="*/ 20 w 20"/>
                <a:gd name="T47" fmla="*/ 0 h 8"/>
                <a:gd name="T48" fmla="*/ 20 w 20"/>
                <a:gd name="T49" fmla="*/ 0 h 8"/>
                <a:gd name="T50" fmla="*/ 20 w 20"/>
                <a:gd name="T51" fmla="*/ 2 h 8"/>
                <a:gd name="T52" fmla="*/ 18 w 20"/>
                <a:gd name="T53" fmla="*/ 2 h 8"/>
                <a:gd name="T54" fmla="*/ 18 w 20"/>
                <a:gd name="T55" fmla="*/ 4 h 8"/>
                <a:gd name="T56" fmla="*/ 16 w 20"/>
                <a:gd name="T57" fmla="*/ 4 h 8"/>
                <a:gd name="T58" fmla="*/ 16 w 20"/>
                <a:gd name="T59" fmla="*/ 6 h 8"/>
                <a:gd name="T60" fmla="*/ 14 w 20"/>
                <a:gd name="T61" fmla="*/ 6 h 8"/>
                <a:gd name="T62" fmla="*/ 12 w 20"/>
                <a:gd name="T63" fmla="*/ 6 h 8"/>
                <a:gd name="T64" fmla="*/ 10 w 20"/>
                <a:gd name="T65" fmla="*/ 8 h 8"/>
                <a:gd name="T66" fmla="*/ 10 w 20"/>
                <a:gd name="T67" fmla="*/ 8 h 8"/>
                <a:gd name="T68" fmla="*/ 8 w 20"/>
                <a:gd name="T69" fmla="*/ 8 h 8"/>
                <a:gd name="T70" fmla="*/ 6 w 20"/>
                <a:gd name="T71" fmla="*/ 8 h 8"/>
                <a:gd name="T72" fmla="*/ 4 w 20"/>
                <a:gd name="T73" fmla="*/ 8 h 8"/>
                <a:gd name="T74" fmla="*/ 4 w 20"/>
                <a:gd name="T75" fmla="*/ 8 h 8"/>
                <a:gd name="T76" fmla="*/ 2 w 20"/>
                <a:gd name="T77" fmla="*/ 8 h 8"/>
                <a:gd name="T78" fmla="*/ 2 w 20"/>
                <a:gd name="T7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 h="8">
                  <a:moveTo>
                    <a:pt x="2" y="8"/>
                  </a:moveTo>
                  <a:lnTo>
                    <a:pt x="2" y="8"/>
                  </a:lnTo>
                  <a:lnTo>
                    <a:pt x="2" y="8"/>
                  </a:lnTo>
                  <a:lnTo>
                    <a:pt x="2" y="6"/>
                  </a:lnTo>
                  <a:lnTo>
                    <a:pt x="0" y="6"/>
                  </a:lnTo>
                  <a:lnTo>
                    <a:pt x="2" y="4"/>
                  </a:lnTo>
                  <a:lnTo>
                    <a:pt x="2" y="4"/>
                  </a:lnTo>
                  <a:lnTo>
                    <a:pt x="2" y="2"/>
                  </a:lnTo>
                  <a:lnTo>
                    <a:pt x="2" y="2"/>
                  </a:lnTo>
                  <a:lnTo>
                    <a:pt x="4" y="0"/>
                  </a:lnTo>
                  <a:lnTo>
                    <a:pt x="4" y="0"/>
                  </a:lnTo>
                  <a:lnTo>
                    <a:pt x="4" y="0"/>
                  </a:lnTo>
                  <a:lnTo>
                    <a:pt x="6" y="0"/>
                  </a:lnTo>
                  <a:lnTo>
                    <a:pt x="8" y="0"/>
                  </a:lnTo>
                  <a:lnTo>
                    <a:pt x="8" y="0"/>
                  </a:lnTo>
                  <a:lnTo>
                    <a:pt x="12" y="0"/>
                  </a:lnTo>
                  <a:lnTo>
                    <a:pt x="14" y="0"/>
                  </a:lnTo>
                  <a:lnTo>
                    <a:pt x="14" y="0"/>
                  </a:lnTo>
                  <a:lnTo>
                    <a:pt x="18" y="0"/>
                  </a:lnTo>
                  <a:lnTo>
                    <a:pt x="18" y="0"/>
                  </a:lnTo>
                  <a:lnTo>
                    <a:pt x="20" y="0"/>
                  </a:lnTo>
                  <a:lnTo>
                    <a:pt x="20" y="0"/>
                  </a:lnTo>
                  <a:lnTo>
                    <a:pt x="20" y="0"/>
                  </a:lnTo>
                  <a:lnTo>
                    <a:pt x="20" y="0"/>
                  </a:lnTo>
                  <a:lnTo>
                    <a:pt x="20" y="0"/>
                  </a:lnTo>
                  <a:lnTo>
                    <a:pt x="20" y="2"/>
                  </a:lnTo>
                  <a:lnTo>
                    <a:pt x="18" y="2"/>
                  </a:lnTo>
                  <a:lnTo>
                    <a:pt x="18" y="4"/>
                  </a:lnTo>
                  <a:lnTo>
                    <a:pt x="16" y="4"/>
                  </a:lnTo>
                  <a:lnTo>
                    <a:pt x="16" y="6"/>
                  </a:lnTo>
                  <a:lnTo>
                    <a:pt x="14" y="6"/>
                  </a:lnTo>
                  <a:lnTo>
                    <a:pt x="12" y="6"/>
                  </a:lnTo>
                  <a:lnTo>
                    <a:pt x="10" y="8"/>
                  </a:lnTo>
                  <a:lnTo>
                    <a:pt x="10" y="8"/>
                  </a:lnTo>
                  <a:lnTo>
                    <a:pt x="8" y="8"/>
                  </a:lnTo>
                  <a:lnTo>
                    <a:pt x="6" y="8"/>
                  </a:lnTo>
                  <a:lnTo>
                    <a:pt x="4" y="8"/>
                  </a:lnTo>
                  <a:lnTo>
                    <a:pt x="4" y="8"/>
                  </a:lnTo>
                  <a:lnTo>
                    <a:pt x="2" y="8"/>
                  </a:lnTo>
                  <a:lnTo>
                    <a:pt x="2" y="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2" name="Freeform 250">
              <a:extLst>
                <a:ext uri="{FF2B5EF4-FFF2-40B4-BE49-F238E27FC236}">
                  <a16:creationId xmlns:a16="http://schemas.microsoft.com/office/drawing/2014/main" id="{7AEC732C-35E7-4ACB-8A58-DB5DE7F6EEB7}"/>
                </a:ext>
              </a:extLst>
            </p:cNvPr>
            <p:cNvSpPr>
              <a:spLocks/>
            </p:cNvSpPr>
            <p:nvPr/>
          </p:nvSpPr>
          <p:spPr bwMode="auto">
            <a:xfrm>
              <a:off x="4366208" y="2993811"/>
              <a:ext cx="76211" cy="93532"/>
            </a:xfrm>
            <a:custGeom>
              <a:avLst/>
              <a:gdLst>
                <a:gd name="T0" fmla="*/ 0 w 44"/>
                <a:gd name="T1" fmla="*/ 42 h 54"/>
                <a:gd name="T2" fmla="*/ 6 w 44"/>
                <a:gd name="T3" fmla="*/ 40 h 54"/>
                <a:gd name="T4" fmla="*/ 8 w 44"/>
                <a:gd name="T5" fmla="*/ 40 h 54"/>
                <a:gd name="T6" fmla="*/ 14 w 44"/>
                <a:gd name="T7" fmla="*/ 40 h 54"/>
                <a:gd name="T8" fmla="*/ 16 w 44"/>
                <a:gd name="T9" fmla="*/ 40 h 54"/>
                <a:gd name="T10" fmla="*/ 18 w 44"/>
                <a:gd name="T11" fmla="*/ 40 h 54"/>
                <a:gd name="T12" fmla="*/ 20 w 44"/>
                <a:gd name="T13" fmla="*/ 42 h 54"/>
                <a:gd name="T14" fmla="*/ 20 w 44"/>
                <a:gd name="T15" fmla="*/ 46 h 54"/>
                <a:gd name="T16" fmla="*/ 20 w 44"/>
                <a:gd name="T17" fmla="*/ 52 h 54"/>
                <a:gd name="T18" fmla="*/ 22 w 44"/>
                <a:gd name="T19" fmla="*/ 52 h 54"/>
                <a:gd name="T20" fmla="*/ 22 w 44"/>
                <a:gd name="T21" fmla="*/ 44 h 54"/>
                <a:gd name="T22" fmla="*/ 22 w 44"/>
                <a:gd name="T23" fmla="*/ 38 h 54"/>
                <a:gd name="T24" fmla="*/ 22 w 44"/>
                <a:gd name="T25" fmla="*/ 36 h 54"/>
                <a:gd name="T26" fmla="*/ 24 w 44"/>
                <a:gd name="T27" fmla="*/ 36 h 54"/>
                <a:gd name="T28" fmla="*/ 26 w 44"/>
                <a:gd name="T29" fmla="*/ 34 h 54"/>
                <a:gd name="T30" fmla="*/ 32 w 44"/>
                <a:gd name="T31" fmla="*/ 32 h 54"/>
                <a:gd name="T32" fmla="*/ 34 w 44"/>
                <a:gd name="T33" fmla="*/ 30 h 54"/>
                <a:gd name="T34" fmla="*/ 36 w 44"/>
                <a:gd name="T35" fmla="*/ 26 h 54"/>
                <a:gd name="T36" fmla="*/ 40 w 44"/>
                <a:gd name="T37" fmla="*/ 22 h 54"/>
                <a:gd name="T38" fmla="*/ 42 w 44"/>
                <a:gd name="T39" fmla="*/ 18 h 54"/>
                <a:gd name="T40" fmla="*/ 44 w 44"/>
                <a:gd name="T41" fmla="*/ 14 h 54"/>
                <a:gd name="T42" fmla="*/ 44 w 44"/>
                <a:gd name="T43" fmla="*/ 10 h 54"/>
                <a:gd name="T44" fmla="*/ 44 w 44"/>
                <a:gd name="T45" fmla="*/ 2 h 54"/>
                <a:gd name="T46" fmla="*/ 40 w 44"/>
                <a:gd name="T47" fmla="*/ 0 h 54"/>
                <a:gd name="T48" fmla="*/ 32 w 44"/>
                <a:gd name="T49" fmla="*/ 2 h 54"/>
                <a:gd name="T50" fmla="*/ 26 w 44"/>
                <a:gd name="T51" fmla="*/ 4 h 54"/>
                <a:gd name="T52" fmla="*/ 24 w 44"/>
                <a:gd name="T53" fmla="*/ 4 h 54"/>
                <a:gd name="T54" fmla="*/ 22 w 44"/>
                <a:gd name="T55" fmla="*/ 6 h 54"/>
                <a:gd name="T56" fmla="*/ 20 w 44"/>
                <a:gd name="T57" fmla="*/ 8 h 54"/>
                <a:gd name="T58" fmla="*/ 18 w 44"/>
                <a:gd name="T59" fmla="*/ 12 h 54"/>
                <a:gd name="T60" fmla="*/ 18 w 44"/>
                <a:gd name="T61" fmla="*/ 14 h 54"/>
                <a:gd name="T62" fmla="*/ 18 w 44"/>
                <a:gd name="T63" fmla="*/ 16 h 54"/>
                <a:gd name="T64" fmla="*/ 18 w 44"/>
                <a:gd name="T65" fmla="*/ 18 h 54"/>
                <a:gd name="T66" fmla="*/ 16 w 44"/>
                <a:gd name="T67" fmla="*/ 18 h 54"/>
                <a:gd name="T68" fmla="*/ 16 w 44"/>
                <a:gd name="T69" fmla="*/ 16 h 54"/>
                <a:gd name="T70" fmla="*/ 14 w 44"/>
                <a:gd name="T71" fmla="*/ 14 h 54"/>
                <a:gd name="T72" fmla="*/ 10 w 44"/>
                <a:gd name="T73" fmla="*/ 12 h 54"/>
                <a:gd name="T74" fmla="*/ 10 w 44"/>
                <a:gd name="T75" fmla="*/ 12 h 54"/>
                <a:gd name="T76" fmla="*/ 8 w 44"/>
                <a:gd name="T77" fmla="*/ 12 h 54"/>
                <a:gd name="T78" fmla="*/ 8 w 44"/>
                <a:gd name="T79" fmla="*/ 14 h 54"/>
                <a:gd name="T80" fmla="*/ 6 w 44"/>
                <a:gd name="T81" fmla="*/ 14 h 54"/>
                <a:gd name="T82" fmla="*/ 4 w 44"/>
                <a:gd name="T83" fmla="*/ 20 h 54"/>
                <a:gd name="T84" fmla="*/ 2 w 44"/>
                <a:gd name="T85" fmla="*/ 24 h 54"/>
                <a:gd name="T86" fmla="*/ 2 w 44"/>
                <a:gd name="T87" fmla="*/ 28 h 54"/>
                <a:gd name="T88" fmla="*/ 2 w 44"/>
                <a:gd name="T89" fmla="*/ 28 h 54"/>
                <a:gd name="T90" fmla="*/ 4 w 44"/>
                <a:gd name="T91" fmla="*/ 30 h 54"/>
                <a:gd name="T92" fmla="*/ 6 w 44"/>
                <a:gd name="T93" fmla="*/ 30 h 54"/>
                <a:gd name="T94" fmla="*/ 6 w 44"/>
                <a:gd name="T95" fmla="*/ 32 h 54"/>
                <a:gd name="T96" fmla="*/ 6 w 44"/>
                <a:gd name="T97" fmla="*/ 34 h 54"/>
                <a:gd name="T98" fmla="*/ 4 w 44"/>
                <a:gd name="T99" fmla="*/ 38 h 54"/>
                <a:gd name="T100" fmla="*/ 0 w 44"/>
                <a:gd name="T101"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 h="54">
                  <a:moveTo>
                    <a:pt x="0" y="42"/>
                  </a:moveTo>
                  <a:lnTo>
                    <a:pt x="0" y="42"/>
                  </a:lnTo>
                  <a:lnTo>
                    <a:pt x="4" y="42"/>
                  </a:lnTo>
                  <a:lnTo>
                    <a:pt x="6" y="40"/>
                  </a:lnTo>
                  <a:lnTo>
                    <a:pt x="8" y="40"/>
                  </a:lnTo>
                  <a:lnTo>
                    <a:pt x="8" y="40"/>
                  </a:lnTo>
                  <a:lnTo>
                    <a:pt x="12" y="40"/>
                  </a:lnTo>
                  <a:lnTo>
                    <a:pt x="14" y="40"/>
                  </a:lnTo>
                  <a:lnTo>
                    <a:pt x="16" y="40"/>
                  </a:lnTo>
                  <a:lnTo>
                    <a:pt x="16" y="40"/>
                  </a:lnTo>
                  <a:lnTo>
                    <a:pt x="18" y="40"/>
                  </a:lnTo>
                  <a:lnTo>
                    <a:pt x="18" y="40"/>
                  </a:lnTo>
                  <a:lnTo>
                    <a:pt x="18" y="42"/>
                  </a:lnTo>
                  <a:lnTo>
                    <a:pt x="20" y="42"/>
                  </a:lnTo>
                  <a:lnTo>
                    <a:pt x="20" y="44"/>
                  </a:lnTo>
                  <a:lnTo>
                    <a:pt x="20" y="46"/>
                  </a:lnTo>
                  <a:lnTo>
                    <a:pt x="20" y="48"/>
                  </a:lnTo>
                  <a:lnTo>
                    <a:pt x="20" y="52"/>
                  </a:lnTo>
                  <a:lnTo>
                    <a:pt x="22" y="54"/>
                  </a:lnTo>
                  <a:lnTo>
                    <a:pt x="22" y="52"/>
                  </a:lnTo>
                  <a:lnTo>
                    <a:pt x="22" y="46"/>
                  </a:lnTo>
                  <a:lnTo>
                    <a:pt x="22" y="44"/>
                  </a:lnTo>
                  <a:lnTo>
                    <a:pt x="22" y="40"/>
                  </a:lnTo>
                  <a:lnTo>
                    <a:pt x="22" y="38"/>
                  </a:lnTo>
                  <a:lnTo>
                    <a:pt x="22" y="38"/>
                  </a:lnTo>
                  <a:lnTo>
                    <a:pt x="22" y="36"/>
                  </a:lnTo>
                  <a:lnTo>
                    <a:pt x="24" y="36"/>
                  </a:lnTo>
                  <a:lnTo>
                    <a:pt x="24" y="36"/>
                  </a:lnTo>
                  <a:lnTo>
                    <a:pt x="24" y="34"/>
                  </a:lnTo>
                  <a:lnTo>
                    <a:pt x="26" y="34"/>
                  </a:lnTo>
                  <a:lnTo>
                    <a:pt x="28" y="32"/>
                  </a:lnTo>
                  <a:lnTo>
                    <a:pt x="32" y="32"/>
                  </a:lnTo>
                  <a:lnTo>
                    <a:pt x="32" y="30"/>
                  </a:lnTo>
                  <a:lnTo>
                    <a:pt x="34" y="30"/>
                  </a:lnTo>
                  <a:lnTo>
                    <a:pt x="34" y="28"/>
                  </a:lnTo>
                  <a:lnTo>
                    <a:pt x="36" y="26"/>
                  </a:lnTo>
                  <a:lnTo>
                    <a:pt x="40" y="24"/>
                  </a:lnTo>
                  <a:lnTo>
                    <a:pt x="40" y="22"/>
                  </a:lnTo>
                  <a:lnTo>
                    <a:pt x="42" y="20"/>
                  </a:lnTo>
                  <a:lnTo>
                    <a:pt x="42" y="18"/>
                  </a:lnTo>
                  <a:lnTo>
                    <a:pt x="42" y="16"/>
                  </a:lnTo>
                  <a:lnTo>
                    <a:pt x="44" y="14"/>
                  </a:lnTo>
                  <a:lnTo>
                    <a:pt x="44" y="12"/>
                  </a:lnTo>
                  <a:lnTo>
                    <a:pt x="44" y="10"/>
                  </a:lnTo>
                  <a:lnTo>
                    <a:pt x="44" y="8"/>
                  </a:lnTo>
                  <a:lnTo>
                    <a:pt x="44" y="2"/>
                  </a:lnTo>
                  <a:lnTo>
                    <a:pt x="42" y="0"/>
                  </a:lnTo>
                  <a:lnTo>
                    <a:pt x="40" y="0"/>
                  </a:lnTo>
                  <a:lnTo>
                    <a:pt x="34" y="2"/>
                  </a:lnTo>
                  <a:lnTo>
                    <a:pt x="32" y="2"/>
                  </a:lnTo>
                  <a:lnTo>
                    <a:pt x="28" y="2"/>
                  </a:lnTo>
                  <a:lnTo>
                    <a:pt x="26" y="4"/>
                  </a:lnTo>
                  <a:lnTo>
                    <a:pt x="24" y="4"/>
                  </a:lnTo>
                  <a:lnTo>
                    <a:pt x="24" y="4"/>
                  </a:lnTo>
                  <a:lnTo>
                    <a:pt x="22" y="4"/>
                  </a:lnTo>
                  <a:lnTo>
                    <a:pt x="22" y="6"/>
                  </a:lnTo>
                  <a:lnTo>
                    <a:pt x="20" y="8"/>
                  </a:lnTo>
                  <a:lnTo>
                    <a:pt x="20" y="8"/>
                  </a:lnTo>
                  <a:lnTo>
                    <a:pt x="20" y="10"/>
                  </a:lnTo>
                  <a:lnTo>
                    <a:pt x="18" y="12"/>
                  </a:lnTo>
                  <a:lnTo>
                    <a:pt x="18" y="14"/>
                  </a:lnTo>
                  <a:lnTo>
                    <a:pt x="18" y="14"/>
                  </a:lnTo>
                  <a:lnTo>
                    <a:pt x="18" y="16"/>
                  </a:lnTo>
                  <a:lnTo>
                    <a:pt x="18" y="16"/>
                  </a:lnTo>
                  <a:lnTo>
                    <a:pt x="18" y="16"/>
                  </a:lnTo>
                  <a:lnTo>
                    <a:pt x="18" y="18"/>
                  </a:lnTo>
                  <a:lnTo>
                    <a:pt x="18" y="18"/>
                  </a:lnTo>
                  <a:lnTo>
                    <a:pt x="16" y="18"/>
                  </a:lnTo>
                  <a:lnTo>
                    <a:pt x="16" y="16"/>
                  </a:lnTo>
                  <a:lnTo>
                    <a:pt x="16" y="16"/>
                  </a:lnTo>
                  <a:lnTo>
                    <a:pt x="14" y="16"/>
                  </a:lnTo>
                  <a:lnTo>
                    <a:pt x="14" y="14"/>
                  </a:lnTo>
                  <a:lnTo>
                    <a:pt x="12" y="14"/>
                  </a:lnTo>
                  <a:lnTo>
                    <a:pt x="10" y="12"/>
                  </a:lnTo>
                  <a:lnTo>
                    <a:pt x="10" y="12"/>
                  </a:lnTo>
                  <a:lnTo>
                    <a:pt x="10" y="12"/>
                  </a:lnTo>
                  <a:lnTo>
                    <a:pt x="10" y="12"/>
                  </a:lnTo>
                  <a:lnTo>
                    <a:pt x="8" y="12"/>
                  </a:lnTo>
                  <a:lnTo>
                    <a:pt x="8" y="12"/>
                  </a:lnTo>
                  <a:lnTo>
                    <a:pt x="8" y="14"/>
                  </a:lnTo>
                  <a:lnTo>
                    <a:pt x="6" y="14"/>
                  </a:lnTo>
                  <a:lnTo>
                    <a:pt x="6" y="14"/>
                  </a:lnTo>
                  <a:lnTo>
                    <a:pt x="4" y="16"/>
                  </a:lnTo>
                  <a:lnTo>
                    <a:pt x="4" y="20"/>
                  </a:lnTo>
                  <a:lnTo>
                    <a:pt x="2" y="22"/>
                  </a:lnTo>
                  <a:lnTo>
                    <a:pt x="2" y="24"/>
                  </a:lnTo>
                  <a:lnTo>
                    <a:pt x="2" y="26"/>
                  </a:lnTo>
                  <a:lnTo>
                    <a:pt x="2" y="28"/>
                  </a:lnTo>
                  <a:lnTo>
                    <a:pt x="2" y="28"/>
                  </a:lnTo>
                  <a:lnTo>
                    <a:pt x="2" y="28"/>
                  </a:lnTo>
                  <a:lnTo>
                    <a:pt x="2" y="30"/>
                  </a:lnTo>
                  <a:lnTo>
                    <a:pt x="4" y="30"/>
                  </a:lnTo>
                  <a:lnTo>
                    <a:pt x="4" y="30"/>
                  </a:lnTo>
                  <a:lnTo>
                    <a:pt x="6" y="30"/>
                  </a:lnTo>
                  <a:lnTo>
                    <a:pt x="6" y="30"/>
                  </a:lnTo>
                  <a:lnTo>
                    <a:pt x="6" y="32"/>
                  </a:lnTo>
                  <a:lnTo>
                    <a:pt x="6" y="32"/>
                  </a:lnTo>
                  <a:lnTo>
                    <a:pt x="6" y="34"/>
                  </a:lnTo>
                  <a:lnTo>
                    <a:pt x="4" y="36"/>
                  </a:lnTo>
                  <a:lnTo>
                    <a:pt x="4" y="38"/>
                  </a:lnTo>
                  <a:lnTo>
                    <a:pt x="2" y="40"/>
                  </a:lnTo>
                  <a:lnTo>
                    <a:pt x="0" y="4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3" name="Freeform 251">
              <a:extLst>
                <a:ext uri="{FF2B5EF4-FFF2-40B4-BE49-F238E27FC236}">
                  <a16:creationId xmlns:a16="http://schemas.microsoft.com/office/drawing/2014/main" id="{B5943679-C807-421F-9DF9-F7A8E20DFF6F}"/>
                </a:ext>
              </a:extLst>
            </p:cNvPr>
            <p:cNvSpPr>
              <a:spLocks/>
            </p:cNvSpPr>
            <p:nvPr/>
          </p:nvSpPr>
          <p:spPr bwMode="auto">
            <a:xfrm>
              <a:off x="4366208" y="2993811"/>
              <a:ext cx="76211" cy="93532"/>
            </a:xfrm>
            <a:custGeom>
              <a:avLst/>
              <a:gdLst>
                <a:gd name="T0" fmla="*/ 0 w 44"/>
                <a:gd name="T1" fmla="*/ 42 h 54"/>
                <a:gd name="T2" fmla="*/ 6 w 44"/>
                <a:gd name="T3" fmla="*/ 40 h 54"/>
                <a:gd name="T4" fmla="*/ 8 w 44"/>
                <a:gd name="T5" fmla="*/ 40 h 54"/>
                <a:gd name="T6" fmla="*/ 14 w 44"/>
                <a:gd name="T7" fmla="*/ 40 h 54"/>
                <a:gd name="T8" fmla="*/ 16 w 44"/>
                <a:gd name="T9" fmla="*/ 40 h 54"/>
                <a:gd name="T10" fmla="*/ 18 w 44"/>
                <a:gd name="T11" fmla="*/ 40 h 54"/>
                <a:gd name="T12" fmla="*/ 20 w 44"/>
                <a:gd name="T13" fmla="*/ 42 h 54"/>
                <a:gd name="T14" fmla="*/ 20 w 44"/>
                <a:gd name="T15" fmla="*/ 46 h 54"/>
                <a:gd name="T16" fmla="*/ 20 w 44"/>
                <a:gd name="T17" fmla="*/ 52 h 54"/>
                <a:gd name="T18" fmla="*/ 22 w 44"/>
                <a:gd name="T19" fmla="*/ 52 h 54"/>
                <a:gd name="T20" fmla="*/ 22 w 44"/>
                <a:gd name="T21" fmla="*/ 44 h 54"/>
                <a:gd name="T22" fmla="*/ 22 w 44"/>
                <a:gd name="T23" fmla="*/ 38 h 54"/>
                <a:gd name="T24" fmla="*/ 22 w 44"/>
                <a:gd name="T25" fmla="*/ 36 h 54"/>
                <a:gd name="T26" fmla="*/ 24 w 44"/>
                <a:gd name="T27" fmla="*/ 36 h 54"/>
                <a:gd name="T28" fmla="*/ 26 w 44"/>
                <a:gd name="T29" fmla="*/ 34 h 54"/>
                <a:gd name="T30" fmla="*/ 32 w 44"/>
                <a:gd name="T31" fmla="*/ 32 h 54"/>
                <a:gd name="T32" fmla="*/ 34 w 44"/>
                <a:gd name="T33" fmla="*/ 30 h 54"/>
                <a:gd name="T34" fmla="*/ 36 w 44"/>
                <a:gd name="T35" fmla="*/ 26 h 54"/>
                <a:gd name="T36" fmla="*/ 40 w 44"/>
                <a:gd name="T37" fmla="*/ 22 h 54"/>
                <a:gd name="T38" fmla="*/ 42 w 44"/>
                <a:gd name="T39" fmla="*/ 18 h 54"/>
                <a:gd name="T40" fmla="*/ 44 w 44"/>
                <a:gd name="T41" fmla="*/ 14 h 54"/>
                <a:gd name="T42" fmla="*/ 44 w 44"/>
                <a:gd name="T43" fmla="*/ 10 h 54"/>
                <a:gd name="T44" fmla="*/ 44 w 44"/>
                <a:gd name="T45" fmla="*/ 2 h 54"/>
                <a:gd name="T46" fmla="*/ 40 w 44"/>
                <a:gd name="T47" fmla="*/ 0 h 54"/>
                <a:gd name="T48" fmla="*/ 32 w 44"/>
                <a:gd name="T49" fmla="*/ 2 h 54"/>
                <a:gd name="T50" fmla="*/ 26 w 44"/>
                <a:gd name="T51" fmla="*/ 4 h 54"/>
                <a:gd name="T52" fmla="*/ 24 w 44"/>
                <a:gd name="T53" fmla="*/ 4 h 54"/>
                <a:gd name="T54" fmla="*/ 22 w 44"/>
                <a:gd name="T55" fmla="*/ 6 h 54"/>
                <a:gd name="T56" fmla="*/ 20 w 44"/>
                <a:gd name="T57" fmla="*/ 8 h 54"/>
                <a:gd name="T58" fmla="*/ 18 w 44"/>
                <a:gd name="T59" fmla="*/ 12 h 54"/>
                <a:gd name="T60" fmla="*/ 18 w 44"/>
                <a:gd name="T61" fmla="*/ 14 h 54"/>
                <a:gd name="T62" fmla="*/ 18 w 44"/>
                <a:gd name="T63" fmla="*/ 16 h 54"/>
                <a:gd name="T64" fmla="*/ 18 w 44"/>
                <a:gd name="T65" fmla="*/ 18 h 54"/>
                <a:gd name="T66" fmla="*/ 16 w 44"/>
                <a:gd name="T67" fmla="*/ 18 h 54"/>
                <a:gd name="T68" fmla="*/ 16 w 44"/>
                <a:gd name="T69" fmla="*/ 16 h 54"/>
                <a:gd name="T70" fmla="*/ 14 w 44"/>
                <a:gd name="T71" fmla="*/ 14 h 54"/>
                <a:gd name="T72" fmla="*/ 10 w 44"/>
                <a:gd name="T73" fmla="*/ 12 h 54"/>
                <a:gd name="T74" fmla="*/ 10 w 44"/>
                <a:gd name="T75" fmla="*/ 12 h 54"/>
                <a:gd name="T76" fmla="*/ 8 w 44"/>
                <a:gd name="T77" fmla="*/ 12 h 54"/>
                <a:gd name="T78" fmla="*/ 8 w 44"/>
                <a:gd name="T79" fmla="*/ 14 h 54"/>
                <a:gd name="T80" fmla="*/ 6 w 44"/>
                <a:gd name="T81" fmla="*/ 14 h 54"/>
                <a:gd name="T82" fmla="*/ 4 w 44"/>
                <a:gd name="T83" fmla="*/ 20 h 54"/>
                <a:gd name="T84" fmla="*/ 2 w 44"/>
                <a:gd name="T85" fmla="*/ 24 h 54"/>
                <a:gd name="T86" fmla="*/ 2 w 44"/>
                <a:gd name="T87" fmla="*/ 28 h 54"/>
                <a:gd name="T88" fmla="*/ 2 w 44"/>
                <a:gd name="T89" fmla="*/ 28 h 54"/>
                <a:gd name="T90" fmla="*/ 4 w 44"/>
                <a:gd name="T91" fmla="*/ 30 h 54"/>
                <a:gd name="T92" fmla="*/ 6 w 44"/>
                <a:gd name="T93" fmla="*/ 30 h 54"/>
                <a:gd name="T94" fmla="*/ 6 w 44"/>
                <a:gd name="T95" fmla="*/ 32 h 54"/>
                <a:gd name="T96" fmla="*/ 6 w 44"/>
                <a:gd name="T97" fmla="*/ 34 h 54"/>
                <a:gd name="T98" fmla="*/ 4 w 44"/>
                <a:gd name="T99" fmla="*/ 38 h 54"/>
                <a:gd name="T100" fmla="*/ 0 w 44"/>
                <a:gd name="T101"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 h="54">
                  <a:moveTo>
                    <a:pt x="0" y="42"/>
                  </a:moveTo>
                  <a:lnTo>
                    <a:pt x="0" y="42"/>
                  </a:lnTo>
                  <a:lnTo>
                    <a:pt x="4" y="42"/>
                  </a:lnTo>
                  <a:lnTo>
                    <a:pt x="6" y="40"/>
                  </a:lnTo>
                  <a:lnTo>
                    <a:pt x="8" y="40"/>
                  </a:lnTo>
                  <a:lnTo>
                    <a:pt x="8" y="40"/>
                  </a:lnTo>
                  <a:lnTo>
                    <a:pt x="12" y="40"/>
                  </a:lnTo>
                  <a:lnTo>
                    <a:pt x="14" y="40"/>
                  </a:lnTo>
                  <a:lnTo>
                    <a:pt x="16" y="40"/>
                  </a:lnTo>
                  <a:lnTo>
                    <a:pt x="16" y="40"/>
                  </a:lnTo>
                  <a:lnTo>
                    <a:pt x="18" y="40"/>
                  </a:lnTo>
                  <a:lnTo>
                    <a:pt x="18" y="40"/>
                  </a:lnTo>
                  <a:lnTo>
                    <a:pt x="18" y="42"/>
                  </a:lnTo>
                  <a:lnTo>
                    <a:pt x="20" y="42"/>
                  </a:lnTo>
                  <a:lnTo>
                    <a:pt x="20" y="44"/>
                  </a:lnTo>
                  <a:lnTo>
                    <a:pt x="20" y="46"/>
                  </a:lnTo>
                  <a:lnTo>
                    <a:pt x="20" y="48"/>
                  </a:lnTo>
                  <a:lnTo>
                    <a:pt x="20" y="52"/>
                  </a:lnTo>
                  <a:lnTo>
                    <a:pt x="22" y="54"/>
                  </a:lnTo>
                  <a:lnTo>
                    <a:pt x="22" y="52"/>
                  </a:lnTo>
                  <a:lnTo>
                    <a:pt x="22" y="46"/>
                  </a:lnTo>
                  <a:lnTo>
                    <a:pt x="22" y="44"/>
                  </a:lnTo>
                  <a:lnTo>
                    <a:pt x="22" y="40"/>
                  </a:lnTo>
                  <a:lnTo>
                    <a:pt x="22" y="38"/>
                  </a:lnTo>
                  <a:lnTo>
                    <a:pt x="22" y="38"/>
                  </a:lnTo>
                  <a:lnTo>
                    <a:pt x="22" y="36"/>
                  </a:lnTo>
                  <a:lnTo>
                    <a:pt x="24" y="36"/>
                  </a:lnTo>
                  <a:lnTo>
                    <a:pt x="24" y="36"/>
                  </a:lnTo>
                  <a:lnTo>
                    <a:pt x="24" y="34"/>
                  </a:lnTo>
                  <a:lnTo>
                    <a:pt x="26" y="34"/>
                  </a:lnTo>
                  <a:lnTo>
                    <a:pt x="28" y="32"/>
                  </a:lnTo>
                  <a:lnTo>
                    <a:pt x="32" y="32"/>
                  </a:lnTo>
                  <a:lnTo>
                    <a:pt x="32" y="30"/>
                  </a:lnTo>
                  <a:lnTo>
                    <a:pt x="34" y="30"/>
                  </a:lnTo>
                  <a:lnTo>
                    <a:pt x="34" y="28"/>
                  </a:lnTo>
                  <a:lnTo>
                    <a:pt x="36" y="26"/>
                  </a:lnTo>
                  <a:lnTo>
                    <a:pt x="40" y="24"/>
                  </a:lnTo>
                  <a:lnTo>
                    <a:pt x="40" y="22"/>
                  </a:lnTo>
                  <a:lnTo>
                    <a:pt x="42" y="20"/>
                  </a:lnTo>
                  <a:lnTo>
                    <a:pt x="42" y="18"/>
                  </a:lnTo>
                  <a:lnTo>
                    <a:pt x="42" y="16"/>
                  </a:lnTo>
                  <a:lnTo>
                    <a:pt x="44" y="14"/>
                  </a:lnTo>
                  <a:lnTo>
                    <a:pt x="44" y="12"/>
                  </a:lnTo>
                  <a:lnTo>
                    <a:pt x="44" y="10"/>
                  </a:lnTo>
                  <a:lnTo>
                    <a:pt x="44" y="8"/>
                  </a:lnTo>
                  <a:lnTo>
                    <a:pt x="44" y="2"/>
                  </a:lnTo>
                  <a:lnTo>
                    <a:pt x="42" y="0"/>
                  </a:lnTo>
                  <a:lnTo>
                    <a:pt x="40" y="0"/>
                  </a:lnTo>
                  <a:lnTo>
                    <a:pt x="34" y="2"/>
                  </a:lnTo>
                  <a:lnTo>
                    <a:pt x="32" y="2"/>
                  </a:lnTo>
                  <a:lnTo>
                    <a:pt x="28" y="2"/>
                  </a:lnTo>
                  <a:lnTo>
                    <a:pt x="26" y="4"/>
                  </a:lnTo>
                  <a:lnTo>
                    <a:pt x="24" y="4"/>
                  </a:lnTo>
                  <a:lnTo>
                    <a:pt x="24" y="4"/>
                  </a:lnTo>
                  <a:lnTo>
                    <a:pt x="22" y="4"/>
                  </a:lnTo>
                  <a:lnTo>
                    <a:pt x="22" y="6"/>
                  </a:lnTo>
                  <a:lnTo>
                    <a:pt x="20" y="8"/>
                  </a:lnTo>
                  <a:lnTo>
                    <a:pt x="20" y="8"/>
                  </a:lnTo>
                  <a:lnTo>
                    <a:pt x="20" y="10"/>
                  </a:lnTo>
                  <a:lnTo>
                    <a:pt x="18" y="12"/>
                  </a:lnTo>
                  <a:lnTo>
                    <a:pt x="18" y="14"/>
                  </a:lnTo>
                  <a:lnTo>
                    <a:pt x="18" y="14"/>
                  </a:lnTo>
                  <a:lnTo>
                    <a:pt x="18" y="16"/>
                  </a:lnTo>
                  <a:lnTo>
                    <a:pt x="18" y="16"/>
                  </a:lnTo>
                  <a:lnTo>
                    <a:pt x="18" y="16"/>
                  </a:lnTo>
                  <a:lnTo>
                    <a:pt x="18" y="18"/>
                  </a:lnTo>
                  <a:lnTo>
                    <a:pt x="18" y="18"/>
                  </a:lnTo>
                  <a:lnTo>
                    <a:pt x="16" y="18"/>
                  </a:lnTo>
                  <a:lnTo>
                    <a:pt x="16" y="16"/>
                  </a:lnTo>
                  <a:lnTo>
                    <a:pt x="16" y="16"/>
                  </a:lnTo>
                  <a:lnTo>
                    <a:pt x="14" y="16"/>
                  </a:lnTo>
                  <a:lnTo>
                    <a:pt x="14" y="14"/>
                  </a:lnTo>
                  <a:lnTo>
                    <a:pt x="12" y="14"/>
                  </a:lnTo>
                  <a:lnTo>
                    <a:pt x="10" y="12"/>
                  </a:lnTo>
                  <a:lnTo>
                    <a:pt x="10" y="12"/>
                  </a:lnTo>
                  <a:lnTo>
                    <a:pt x="10" y="12"/>
                  </a:lnTo>
                  <a:lnTo>
                    <a:pt x="10" y="12"/>
                  </a:lnTo>
                  <a:lnTo>
                    <a:pt x="8" y="12"/>
                  </a:lnTo>
                  <a:lnTo>
                    <a:pt x="8" y="12"/>
                  </a:lnTo>
                  <a:lnTo>
                    <a:pt x="8" y="14"/>
                  </a:lnTo>
                  <a:lnTo>
                    <a:pt x="6" y="14"/>
                  </a:lnTo>
                  <a:lnTo>
                    <a:pt x="6" y="14"/>
                  </a:lnTo>
                  <a:lnTo>
                    <a:pt x="4" y="16"/>
                  </a:lnTo>
                  <a:lnTo>
                    <a:pt x="4" y="20"/>
                  </a:lnTo>
                  <a:lnTo>
                    <a:pt x="2" y="22"/>
                  </a:lnTo>
                  <a:lnTo>
                    <a:pt x="2" y="24"/>
                  </a:lnTo>
                  <a:lnTo>
                    <a:pt x="2" y="26"/>
                  </a:lnTo>
                  <a:lnTo>
                    <a:pt x="2" y="28"/>
                  </a:lnTo>
                  <a:lnTo>
                    <a:pt x="2" y="28"/>
                  </a:lnTo>
                  <a:lnTo>
                    <a:pt x="2" y="28"/>
                  </a:lnTo>
                  <a:lnTo>
                    <a:pt x="2" y="30"/>
                  </a:lnTo>
                  <a:lnTo>
                    <a:pt x="4" y="30"/>
                  </a:lnTo>
                  <a:lnTo>
                    <a:pt x="4" y="30"/>
                  </a:lnTo>
                  <a:lnTo>
                    <a:pt x="6" y="30"/>
                  </a:lnTo>
                  <a:lnTo>
                    <a:pt x="6" y="30"/>
                  </a:lnTo>
                  <a:lnTo>
                    <a:pt x="6" y="32"/>
                  </a:lnTo>
                  <a:lnTo>
                    <a:pt x="6" y="32"/>
                  </a:lnTo>
                  <a:lnTo>
                    <a:pt x="6" y="34"/>
                  </a:lnTo>
                  <a:lnTo>
                    <a:pt x="4" y="36"/>
                  </a:lnTo>
                  <a:lnTo>
                    <a:pt x="4" y="38"/>
                  </a:lnTo>
                  <a:lnTo>
                    <a:pt x="2" y="40"/>
                  </a:lnTo>
                  <a:lnTo>
                    <a:pt x="0" y="4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4" name="Freeform 252">
              <a:extLst>
                <a:ext uri="{FF2B5EF4-FFF2-40B4-BE49-F238E27FC236}">
                  <a16:creationId xmlns:a16="http://schemas.microsoft.com/office/drawing/2014/main" id="{5982520D-FB5D-4E2D-AFE2-31C65F15ED21}"/>
                </a:ext>
              </a:extLst>
            </p:cNvPr>
            <p:cNvSpPr>
              <a:spLocks/>
            </p:cNvSpPr>
            <p:nvPr/>
          </p:nvSpPr>
          <p:spPr bwMode="auto">
            <a:xfrm>
              <a:off x="3725340" y="2488046"/>
              <a:ext cx="232098" cy="138566"/>
            </a:xfrm>
            <a:custGeom>
              <a:avLst/>
              <a:gdLst>
                <a:gd name="T0" fmla="*/ 38 w 134"/>
                <a:gd name="T1" fmla="*/ 14 h 80"/>
                <a:gd name="T2" fmla="*/ 34 w 134"/>
                <a:gd name="T3" fmla="*/ 10 h 80"/>
                <a:gd name="T4" fmla="*/ 28 w 134"/>
                <a:gd name="T5" fmla="*/ 2 h 80"/>
                <a:gd name="T6" fmla="*/ 22 w 134"/>
                <a:gd name="T7" fmla="*/ 0 h 80"/>
                <a:gd name="T8" fmla="*/ 16 w 134"/>
                <a:gd name="T9" fmla="*/ 2 h 80"/>
                <a:gd name="T10" fmla="*/ 8 w 134"/>
                <a:gd name="T11" fmla="*/ 8 h 80"/>
                <a:gd name="T12" fmla="*/ 4 w 134"/>
                <a:gd name="T13" fmla="*/ 18 h 80"/>
                <a:gd name="T14" fmla="*/ 0 w 134"/>
                <a:gd name="T15" fmla="*/ 24 h 80"/>
                <a:gd name="T16" fmla="*/ 0 w 134"/>
                <a:gd name="T17" fmla="*/ 32 h 80"/>
                <a:gd name="T18" fmla="*/ 2 w 134"/>
                <a:gd name="T19" fmla="*/ 36 h 80"/>
                <a:gd name="T20" fmla="*/ 4 w 134"/>
                <a:gd name="T21" fmla="*/ 38 h 80"/>
                <a:gd name="T22" fmla="*/ 12 w 134"/>
                <a:gd name="T23" fmla="*/ 36 h 80"/>
                <a:gd name="T24" fmla="*/ 22 w 134"/>
                <a:gd name="T25" fmla="*/ 32 h 80"/>
                <a:gd name="T26" fmla="*/ 28 w 134"/>
                <a:gd name="T27" fmla="*/ 32 h 80"/>
                <a:gd name="T28" fmla="*/ 30 w 134"/>
                <a:gd name="T29" fmla="*/ 34 h 80"/>
                <a:gd name="T30" fmla="*/ 30 w 134"/>
                <a:gd name="T31" fmla="*/ 42 h 80"/>
                <a:gd name="T32" fmla="*/ 28 w 134"/>
                <a:gd name="T33" fmla="*/ 52 h 80"/>
                <a:gd name="T34" fmla="*/ 22 w 134"/>
                <a:gd name="T35" fmla="*/ 58 h 80"/>
                <a:gd name="T36" fmla="*/ 20 w 134"/>
                <a:gd name="T37" fmla="*/ 64 h 80"/>
                <a:gd name="T38" fmla="*/ 20 w 134"/>
                <a:gd name="T39" fmla="*/ 66 h 80"/>
                <a:gd name="T40" fmla="*/ 26 w 134"/>
                <a:gd name="T41" fmla="*/ 66 h 80"/>
                <a:gd name="T42" fmla="*/ 38 w 134"/>
                <a:gd name="T43" fmla="*/ 60 h 80"/>
                <a:gd name="T44" fmla="*/ 42 w 134"/>
                <a:gd name="T45" fmla="*/ 60 h 80"/>
                <a:gd name="T46" fmla="*/ 54 w 134"/>
                <a:gd name="T47" fmla="*/ 64 h 80"/>
                <a:gd name="T48" fmla="*/ 66 w 134"/>
                <a:gd name="T49" fmla="*/ 70 h 80"/>
                <a:gd name="T50" fmla="*/ 70 w 134"/>
                <a:gd name="T51" fmla="*/ 78 h 80"/>
                <a:gd name="T52" fmla="*/ 72 w 134"/>
                <a:gd name="T53" fmla="*/ 80 h 80"/>
                <a:gd name="T54" fmla="*/ 76 w 134"/>
                <a:gd name="T55" fmla="*/ 80 h 80"/>
                <a:gd name="T56" fmla="*/ 80 w 134"/>
                <a:gd name="T57" fmla="*/ 74 h 80"/>
                <a:gd name="T58" fmla="*/ 90 w 134"/>
                <a:gd name="T59" fmla="*/ 62 h 80"/>
                <a:gd name="T60" fmla="*/ 94 w 134"/>
                <a:gd name="T61" fmla="*/ 60 h 80"/>
                <a:gd name="T62" fmla="*/ 102 w 134"/>
                <a:gd name="T63" fmla="*/ 60 h 80"/>
                <a:gd name="T64" fmla="*/ 110 w 134"/>
                <a:gd name="T65" fmla="*/ 60 h 80"/>
                <a:gd name="T66" fmla="*/ 118 w 134"/>
                <a:gd name="T67" fmla="*/ 56 h 80"/>
                <a:gd name="T68" fmla="*/ 126 w 134"/>
                <a:gd name="T69" fmla="*/ 48 h 80"/>
                <a:gd name="T70" fmla="*/ 132 w 134"/>
                <a:gd name="T71" fmla="*/ 40 h 80"/>
                <a:gd name="T72" fmla="*/ 132 w 134"/>
                <a:gd name="T73" fmla="*/ 30 h 80"/>
                <a:gd name="T74" fmla="*/ 132 w 134"/>
                <a:gd name="T75" fmla="*/ 18 h 80"/>
                <a:gd name="T76" fmla="*/ 130 w 134"/>
                <a:gd name="T77" fmla="*/ 8 h 80"/>
                <a:gd name="T78" fmla="*/ 128 w 134"/>
                <a:gd name="T79" fmla="*/ 4 h 80"/>
                <a:gd name="T80" fmla="*/ 122 w 134"/>
                <a:gd name="T81" fmla="*/ 2 h 80"/>
                <a:gd name="T82" fmla="*/ 112 w 134"/>
                <a:gd name="T83" fmla="*/ 2 h 80"/>
                <a:gd name="T84" fmla="*/ 100 w 134"/>
                <a:gd name="T85" fmla="*/ 4 h 80"/>
                <a:gd name="T86" fmla="*/ 84 w 134"/>
                <a:gd name="T87" fmla="*/ 10 h 80"/>
                <a:gd name="T88" fmla="*/ 76 w 134"/>
                <a:gd name="T89" fmla="*/ 12 h 80"/>
                <a:gd name="T90" fmla="*/ 68 w 134"/>
                <a:gd name="T91" fmla="*/ 8 h 80"/>
                <a:gd name="T92" fmla="*/ 56 w 134"/>
                <a:gd name="T93" fmla="*/ 2 h 80"/>
                <a:gd name="T94" fmla="*/ 50 w 134"/>
                <a:gd name="T95" fmla="*/ 2 h 80"/>
                <a:gd name="T96" fmla="*/ 48 w 134"/>
                <a:gd name="T97" fmla="*/ 4 h 80"/>
                <a:gd name="T98" fmla="*/ 42 w 134"/>
                <a:gd name="T99" fmla="*/ 12 h 80"/>
                <a:gd name="T100" fmla="*/ 40 w 134"/>
                <a:gd name="T101" fmla="*/ 1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 h="80">
                  <a:moveTo>
                    <a:pt x="40" y="14"/>
                  </a:moveTo>
                  <a:lnTo>
                    <a:pt x="40" y="14"/>
                  </a:lnTo>
                  <a:lnTo>
                    <a:pt x="40" y="14"/>
                  </a:lnTo>
                  <a:lnTo>
                    <a:pt x="38" y="14"/>
                  </a:lnTo>
                  <a:lnTo>
                    <a:pt x="36" y="14"/>
                  </a:lnTo>
                  <a:lnTo>
                    <a:pt x="36" y="12"/>
                  </a:lnTo>
                  <a:lnTo>
                    <a:pt x="34" y="10"/>
                  </a:lnTo>
                  <a:lnTo>
                    <a:pt x="34" y="10"/>
                  </a:lnTo>
                  <a:lnTo>
                    <a:pt x="32" y="6"/>
                  </a:lnTo>
                  <a:lnTo>
                    <a:pt x="30" y="4"/>
                  </a:lnTo>
                  <a:lnTo>
                    <a:pt x="28" y="2"/>
                  </a:lnTo>
                  <a:lnTo>
                    <a:pt x="28" y="2"/>
                  </a:lnTo>
                  <a:lnTo>
                    <a:pt x="26" y="0"/>
                  </a:lnTo>
                  <a:lnTo>
                    <a:pt x="24" y="0"/>
                  </a:lnTo>
                  <a:lnTo>
                    <a:pt x="24" y="0"/>
                  </a:lnTo>
                  <a:lnTo>
                    <a:pt x="22" y="0"/>
                  </a:lnTo>
                  <a:lnTo>
                    <a:pt x="22" y="0"/>
                  </a:lnTo>
                  <a:lnTo>
                    <a:pt x="20" y="0"/>
                  </a:lnTo>
                  <a:lnTo>
                    <a:pt x="18" y="2"/>
                  </a:lnTo>
                  <a:lnTo>
                    <a:pt x="16" y="2"/>
                  </a:lnTo>
                  <a:lnTo>
                    <a:pt x="14" y="4"/>
                  </a:lnTo>
                  <a:lnTo>
                    <a:pt x="12" y="6"/>
                  </a:lnTo>
                  <a:lnTo>
                    <a:pt x="10" y="8"/>
                  </a:lnTo>
                  <a:lnTo>
                    <a:pt x="8" y="8"/>
                  </a:lnTo>
                  <a:lnTo>
                    <a:pt x="8" y="10"/>
                  </a:lnTo>
                  <a:lnTo>
                    <a:pt x="6" y="14"/>
                  </a:lnTo>
                  <a:lnTo>
                    <a:pt x="4" y="16"/>
                  </a:lnTo>
                  <a:lnTo>
                    <a:pt x="4" y="18"/>
                  </a:lnTo>
                  <a:lnTo>
                    <a:pt x="2" y="20"/>
                  </a:lnTo>
                  <a:lnTo>
                    <a:pt x="2" y="20"/>
                  </a:lnTo>
                  <a:lnTo>
                    <a:pt x="0" y="22"/>
                  </a:lnTo>
                  <a:lnTo>
                    <a:pt x="0" y="24"/>
                  </a:lnTo>
                  <a:lnTo>
                    <a:pt x="0" y="26"/>
                  </a:lnTo>
                  <a:lnTo>
                    <a:pt x="0" y="28"/>
                  </a:lnTo>
                  <a:lnTo>
                    <a:pt x="0" y="30"/>
                  </a:lnTo>
                  <a:lnTo>
                    <a:pt x="0" y="32"/>
                  </a:lnTo>
                  <a:lnTo>
                    <a:pt x="0" y="32"/>
                  </a:lnTo>
                  <a:lnTo>
                    <a:pt x="0" y="34"/>
                  </a:lnTo>
                  <a:lnTo>
                    <a:pt x="2" y="36"/>
                  </a:lnTo>
                  <a:lnTo>
                    <a:pt x="2" y="36"/>
                  </a:lnTo>
                  <a:lnTo>
                    <a:pt x="2" y="36"/>
                  </a:lnTo>
                  <a:lnTo>
                    <a:pt x="4" y="38"/>
                  </a:lnTo>
                  <a:lnTo>
                    <a:pt x="4" y="38"/>
                  </a:lnTo>
                  <a:lnTo>
                    <a:pt x="4" y="38"/>
                  </a:lnTo>
                  <a:lnTo>
                    <a:pt x="6" y="38"/>
                  </a:lnTo>
                  <a:lnTo>
                    <a:pt x="8" y="38"/>
                  </a:lnTo>
                  <a:lnTo>
                    <a:pt x="10" y="36"/>
                  </a:lnTo>
                  <a:lnTo>
                    <a:pt x="12" y="36"/>
                  </a:lnTo>
                  <a:lnTo>
                    <a:pt x="16" y="34"/>
                  </a:lnTo>
                  <a:lnTo>
                    <a:pt x="18" y="32"/>
                  </a:lnTo>
                  <a:lnTo>
                    <a:pt x="20" y="32"/>
                  </a:lnTo>
                  <a:lnTo>
                    <a:pt x="22" y="32"/>
                  </a:lnTo>
                  <a:lnTo>
                    <a:pt x="24" y="32"/>
                  </a:lnTo>
                  <a:lnTo>
                    <a:pt x="26" y="32"/>
                  </a:lnTo>
                  <a:lnTo>
                    <a:pt x="26" y="32"/>
                  </a:lnTo>
                  <a:lnTo>
                    <a:pt x="28" y="32"/>
                  </a:lnTo>
                  <a:lnTo>
                    <a:pt x="28" y="32"/>
                  </a:lnTo>
                  <a:lnTo>
                    <a:pt x="28" y="32"/>
                  </a:lnTo>
                  <a:lnTo>
                    <a:pt x="28" y="34"/>
                  </a:lnTo>
                  <a:lnTo>
                    <a:pt x="30" y="34"/>
                  </a:lnTo>
                  <a:lnTo>
                    <a:pt x="30" y="36"/>
                  </a:lnTo>
                  <a:lnTo>
                    <a:pt x="30" y="38"/>
                  </a:lnTo>
                  <a:lnTo>
                    <a:pt x="30" y="38"/>
                  </a:lnTo>
                  <a:lnTo>
                    <a:pt x="30" y="42"/>
                  </a:lnTo>
                  <a:lnTo>
                    <a:pt x="30" y="44"/>
                  </a:lnTo>
                  <a:lnTo>
                    <a:pt x="28" y="48"/>
                  </a:lnTo>
                  <a:lnTo>
                    <a:pt x="28" y="50"/>
                  </a:lnTo>
                  <a:lnTo>
                    <a:pt x="28" y="52"/>
                  </a:lnTo>
                  <a:lnTo>
                    <a:pt x="28" y="52"/>
                  </a:lnTo>
                  <a:lnTo>
                    <a:pt x="28" y="54"/>
                  </a:lnTo>
                  <a:lnTo>
                    <a:pt x="26" y="56"/>
                  </a:lnTo>
                  <a:lnTo>
                    <a:pt x="22" y="58"/>
                  </a:lnTo>
                  <a:lnTo>
                    <a:pt x="22" y="60"/>
                  </a:lnTo>
                  <a:lnTo>
                    <a:pt x="20" y="62"/>
                  </a:lnTo>
                  <a:lnTo>
                    <a:pt x="20" y="62"/>
                  </a:lnTo>
                  <a:lnTo>
                    <a:pt x="20" y="64"/>
                  </a:lnTo>
                  <a:lnTo>
                    <a:pt x="20" y="64"/>
                  </a:lnTo>
                  <a:lnTo>
                    <a:pt x="20" y="64"/>
                  </a:lnTo>
                  <a:lnTo>
                    <a:pt x="20" y="66"/>
                  </a:lnTo>
                  <a:lnTo>
                    <a:pt x="20" y="66"/>
                  </a:lnTo>
                  <a:lnTo>
                    <a:pt x="22" y="66"/>
                  </a:lnTo>
                  <a:lnTo>
                    <a:pt x="24" y="66"/>
                  </a:lnTo>
                  <a:lnTo>
                    <a:pt x="24" y="66"/>
                  </a:lnTo>
                  <a:lnTo>
                    <a:pt x="26" y="66"/>
                  </a:lnTo>
                  <a:lnTo>
                    <a:pt x="28" y="66"/>
                  </a:lnTo>
                  <a:lnTo>
                    <a:pt x="30" y="64"/>
                  </a:lnTo>
                  <a:lnTo>
                    <a:pt x="34" y="62"/>
                  </a:lnTo>
                  <a:lnTo>
                    <a:pt x="38" y="60"/>
                  </a:lnTo>
                  <a:lnTo>
                    <a:pt x="38" y="60"/>
                  </a:lnTo>
                  <a:lnTo>
                    <a:pt x="40" y="60"/>
                  </a:lnTo>
                  <a:lnTo>
                    <a:pt x="42" y="60"/>
                  </a:lnTo>
                  <a:lnTo>
                    <a:pt x="42" y="60"/>
                  </a:lnTo>
                  <a:lnTo>
                    <a:pt x="46" y="60"/>
                  </a:lnTo>
                  <a:lnTo>
                    <a:pt x="48" y="62"/>
                  </a:lnTo>
                  <a:lnTo>
                    <a:pt x="52" y="62"/>
                  </a:lnTo>
                  <a:lnTo>
                    <a:pt x="54" y="64"/>
                  </a:lnTo>
                  <a:lnTo>
                    <a:pt x="58" y="66"/>
                  </a:lnTo>
                  <a:lnTo>
                    <a:pt x="60" y="66"/>
                  </a:lnTo>
                  <a:lnTo>
                    <a:pt x="64" y="68"/>
                  </a:lnTo>
                  <a:lnTo>
                    <a:pt x="66" y="70"/>
                  </a:lnTo>
                  <a:lnTo>
                    <a:pt x="66" y="70"/>
                  </a:lnTo>
                  <a:lnTo>
                    <a:pt x="68" y="72"/>
                  </a:lnTo>
                  <a:lnTo>
                    <a:pt x="68" y="76"/>
                  </a:lnTo>
                  <a:lnTo>
                    <a:pt x="70" y="78"/>
                  </a:lnTo>
                  <a:lnTo>
                    <a:pt x="70" y="78"/>
                  </a:lnTo>
                  <a:lnTo>
                    <a:pt x="72" y="80"/>
                  </a:lnTo>
                  <a:lnTo>
                    <a:pt x="72" y="80"/>
                  </a:lnTo>
                  <a:lnTo>
                    <a:pt x="72" y="80"/>
                  </a:lnTo>
                  <a:lnTo>
                    <a:pt x="72" y="80"/>
                  </a:lnTo>
                  <a:lnTo>
                    <a:pt x="74" y="80"/>
                  </a:lnTo>
                  <a:lnTo>
                    <a:pt x="74" y="80"/>
                  </a:lnTo>
                  <a:lnTo>
                    <a:pt x="76" y="80"/>
                  </a:lnTo>
                  <a:lnTo>
                    <a:pt x="76" y="78"/>
                  </a:lnTo>
                  <a:lnTo>
                    <a:pt x="78" y="78"/>
                  </a:lnTo>
                  <a:lnTo>
                    <a:pt x="80" y="76"/>
                  </a:lnTo>
                  <a:lnTo>
                    <a:pt x="80" y="74"/>
                  </a:lnTo>
                  <a:lnTo>
                    <a:pt x="84" y="70"/>
                  </a:lnTo>
                  <a:lnTo>
                    <a:pt x="86" y="68"/>
                  </a:lnTo>
                  <a:lnTo>
                    <a:pt x="88" y="64"/>
                  </a:lnTo>
                  <a:lnTo>
                    <a:pt x="90" y="62"/>
                  </a:lnTo>
                  <a:lnTo>
                    <a:pt x="90" y="62"/>
                  </a:lnTo>
                  <a:lnTo>
                    <a:pt x="92" y="60"/>
                  </a:lnTo>
                  <a:lnTo>
                    <a:pt x="92" y="60"/>
                  </a:lnTo>
                  <a:lnTo>
                    <a:pt x="94" y="60"/>
                  </a:lnTo>
                  <a:lnTo>
                    <a:pt x="94" y="60"/>
                  </a:lnTo>
                  <a:lnTo>
                    <a:pt x="96" y="60"/>
                  </a:lnTo>
                  <a:lnTo>
                    <a:pt x="100" y="60"/>
                  </a:lnTo>
                  <a:lnTo>
                    <a:pt x="102" y="60"/>
                  </a:lnTo>
                  <a:lnTo>
                    <a:pt x="104" y="60"/>
                  </a:lnTo>
                  <a:lnTo>
                    <a:pt x="106" y="60"/>
                  </a:lnTo>
                  <a:lnTo>
                    <a:pt x="108" y="60"/>
                  </a:lnTo>
                  <a:lnTo>
                    <a:pt x="110" y="60"/>
                  </a:lnTo>
                  <a:lnTo>
                    <a:pt x="110" y="60"/>
                  </a:lnTo>
                  <a:lnTo>
                    <a:pt x="112" y="58"/>
                  </a:lnTo>
                  <a:lnTo>
                    <a:pt x="114" y="58"/>
                  </a:lnTo>
                  <a:lnTo>
                    <a:pt x="118" y="56"/>
                  </a:lnTo>
                  <a:lnTo>
                    <a:pt x="120" y="54"/>
                  </a:lnTo>
                  <a:lnTo>
                    <a:pt x="122" y="52"/>
                  </a:lnTo>
                  <a:lnTo>
                    <a:pt x="124" y="50"/>
                  </a:lnTo>
                  <a:lnTo>
                    <a:pt x="126" y="48"/>
                  </a:lnTo>
                  <a:lnTo>
                    <a:pt x="128" y="48"/>
                  </a:lnTo>
                  <a:lnTo>
                    <a:pt x="130" y="46"/>
                  </a:lnTo>
                  <a:lnTo>
                    <a:pt x="130" y="42"/>
                  </a:lnTo>
                  <a:lnTo>
                    <a:pt x="132" y="40"/>
                  </a:lnTo>
                  <a:lnTo>
                    <a:pt x="132" y="38"/>
                  </a:lnTo>
                  <a:lnTo>
                    <a:pt x="132" y="34"/>
                  </a:lnTo>
                  <a:lnTo>
                    <a:pt x="132" y="32"/>
                  </a:lnTo>
                  <a:lnTo>
                    <a:pt x="132" y="30"/>
                  </a:lnTo>
                  <a:lnTo>
                    <a:pt x="134" y="26"/>
                  </a:lnTo>
                  <a:lnTo>
                    <a:pt x="132" y="24"/>
                  </a:lnTo>
                  <a:lnTo>
                    <a:pt x="132" y="22"/>
                  </a:lnTo>
                  <a:lnTo>
                    <a:pt x="132" y="18"/>
                  </a:lnTo>
                  <a:lnTo>
                    <a:pt x="132" y="14"/>
                  </a:lnTo>
                  <a:lnTo>
                    <a:pt x="132" y="12"/>
                  </a:lnTo>
                  <a:lnTo>
                    <a:pt x="132" y="10"/>
                  </a:lnTo>
                  <a:lnTo>
                    <a:pt x="130" y="8"/>
                  </a:lnTo>
                  <a:lnTo>
                    <a:pt x="130" y="8"/>
                  </a:lnTo>
                  <a:lnTo>
                    <a:pt x="130" y="6"/>
                  </a:lnTo>
                  <a:lnTo>
                    <a:pt x="128" y="4"/>
                  </a:lnTo>
                  <a:lnTo>
                    <a:pt x="128" y="4"/>
                  </a:lnTo>
                  <a:lnTo>
                    <a:pt x="128" y="4"/>
                  </a:lnTo>
                  <a:lnTo>
                    <a:pt x="126" y="4"/>
                  </a:lnTo>
                  <a:lnTo>
                    <a:pt x="124" y="2"/>
                  </a:lnTo>
                  <a:lnTo>
                    <a:pt x="122" y="2"/>
                  </a:lnTo>
                  <a:lnTo>
                    <a:pt x="122" y="2"/>
                  </a:lnTo>
                  <a:lnTo>
                    <a:pt x="120" y="2"/>
                  </a:lnTo>
                  <a:lnTo>
                    <a:pt x="116" y="2"/>
                  </a:lnTo>
                  <a:lnTo>
                    <a:pt x="112" y="2"/>
                  </a:lnTo>
                  <a:lnTo>
                    <a:pt x="108" y="4"/>
                  </a:lnTo>
                  <a:lnTo>
                    <a:pt x="102" y="4"/>
                  </a:lnTo>
                  <a:lnTo>
                    <a:pt x="102" y="4"/>
                  </a:lnTo>
                  <a:lnTo>
                    <a:pt x="100" y="4"/>
                  </a:lnTo>
                  <a:lnTo>
                    <a:pt x="98" y="6"/>
                  </a:lnTo>
                  <a:lnTo>
                    <a:pt x="90" y="8"/>
                  </a:lnTo>
                  <a:lnTo>
                    <a:pt x="86" y="10"/>
                  </a:lnTo>
                  <a:lnTo>
                    <a:pt x="84" y="10"/>
                  </a:lnTo>
                  <a:lnTo>
                    <a:pt x="80" y="12"/>
                  </a:lnTo>
                  <a:lnTo>
                    <a:pt x="80" y="12"/>
                  </a:lnTo>
                  <a:lnTo>
                    <a:pt x="78" y="12"/>
                  </a:lnTo>
                  <a:lnTo>
                    <a:pt x="76" y="12"/>
                  </a:lnTo>
                  <a:lnTo>
                    <a:pt x="74" y="12"/>
                  </a:lnTo>
                  <a:lnTo>
                    <a:pt x="74" y="10"/>
                  </a:lnTo>
                  <a:lnTo>
                    <a:pt x="72" y="10"/>
                  </a:lnTo>
                  <a:lnTo>
                    <a:pt x="68" y="8"/>
                  </a:lnTo>
                  <a:lnTo>
                    <a:pt x="64" y="6"/>
                  </a:lnTo>
                  <a:lnTo>
                    <a:pt x="60" y="4"/>
                  </a:lnTo>
                  <a:lnTo>
                    <a:pt x="58" y="4"/>
                  </a:lnTo>
                  <a:lnTo>
                    <a:pt x="56" y="2"/>
                  </a:lnTo>
                  <a:lnTo>
                    <a:pt x="54" y="2"/>
                  </a:lnTo>
                  <a:lnTo>
                    <a:pt x="54" y="2"/>
                  </a:lnTo>
                  <a:lnTo>
                    <a:pt x="52" y="2"/>
                  </a:lnTo>
                  <a:lnTo>
                    <a:pt x="50" y="2"/>
                  </a:lnTo>
                  <a:lnTo>
                    <a:pt x="50" y="2"/>
                  </a:lnTo>
                  <a:lnTo>
                    <a:pt x="48" y="2"/>
                  </a:lnTo>
                  <a:lnTo>
                    <a:pt x="48" y="4"/>
                  </a:lnTo>
                  <a:lnTo>
                    <a:pt x="48" y="4"/>
                  </a:lnTo>
                  <a:lnTo>
                    <a:pt x="46" y="6"/>
                  </a:lnTo>
                  <a:lnTo>
                    <a:pt x="46" y="8"/>
                  </a:lnTo>
                  <a:lnTo>
                    <a:pt x="44" y="10"/>
                  </a:lnTo>
                  <a:lnTo>
                    <a:pt x="42" y="12"/>
                  </a:lnTo>
                  <a:lnTo>
                    <a:pt x="42" y="14"/>
                  </a:lnTo>
                  <a:lnTo>
                    <a:pt x="42" y="14"/>
                  </a:lnTo>
                  <a:lnTo>
                    <a:pt x="42" y="14"/>
                  </a:lnTo>
                  <a:lnTo>
                    <a:pt x="40" y="1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5" name="Freeform 253">
              <a:extLst>
                <a:ext uri="{FF2B5EF4-FFF2-40B4-BE49-F238E27FC236}">
                  <a16:creationId xmlns:a16="http://schemas.microsoft.com/office/drawing/2014/main" id="{15546620-534B-4E7C-A313-82B42A1E2F0A}"/>
                </a:ext>
              </a:extLst>
            </p:cNvPr>
            <p:cNvSpPr>
              <a:spLocks/>
            </p:cNvSpPr>
            <p:nvPr/>
          </p:nvSpPr>
          <p:spPr bwMode="auto">
            <a:xfrm>
              <a:off x="3725340" y="2488046"/>
              <a:ext cx="232098" cy="138566"/>
            </a:xfrm>
            <a:custGeom>
              <a:avLst/>
              <a:gdLst>
                <a:gd name="T0" fmla="*/ 38 w 134"/>
                <a:gd name="T1" fmla="*/ 14 h 80"/>
                <a:gd name="T2" fmla="*/ 34 w 134"/>
                <a:gd name="T3" fmla="*/ 10 h 80"/>
                <a:gd name="T4" fmla="*/ 28 w 134"/>
                <a:gd name="T5" fmla="*/ 2 h 80"/>
                <a:gd name="T6" fmla="*/ 22 w 134"/>
                <a:gd name="T7" fmla="*/ 0 h 80"/>
                <a:gd name="T8" fmla="*/ 16 w 134"/>
                <a:gd name="T9" fmla="*/ 2 h 80"/>
                <a:gd name="T10" fmla="*/ 8 w 134"/>
                <a:gd name="T11" fmla="*/ 8 h 80"/>
                <a:gd name="T12" fmla="*/ 4 w 134"/>
                <a:gd name="T13" fmla="*/ 18 h 80"/>
                <a:gd name="T14" fmla="*/ 0 w 134"/>
                <a:gd name="T15" fmla="*/ 24 h 80"/>
                <a:gd name="T16" fmla="*/ 0 w 134"/>
                <a:gd name="T17" fmla="*/ 32 h 80"/>
                <a:gd name="T18" fmla="*/ 2 w 134"/>
                <a:gd name="T19" fmla="*/ 36 h 80"/>
                <a:gd name="T20" fmla="*/ 4 w 134"/>
                <a:gd name="T21" fmla="*/ 38 h 80"/>
                <a:gd name="T22" fmla="*/ 12 w 134"/>
                <a:gd name="T23" fmla="*/ 36 h 80"/>
                <a:gd name="T24" fmla="*/ 22 w 134"/>
                <a:gd name="T25" fmla="*/ 32 h 80"/>
                <a:gd name="T26" fmla="*/ 28 w 134"/>
                <a:gd name="T27" fmla="*/ 32 h 80"/>
                <a:gd name="T28" fmla="*/ 30 w 134"/>
                <a:gd name="T29" fmla="*/ 34 h 80"/>
                <a:gd name="T30" fmla="*/ 30 w 134"/>
                <a:gd name="T31" fmla="*/ 42 h 80"/>
                <a:gd name="T32" fmla="*/ 28 w 134"/>
                <a:gd name="T33" fmla="*/ 52 h 80"/>
                <a:gd name="T34" fmla="*/ 22 w 134"/>
                <a:gd name="T35" fmla="*/ 58 h 80"/>
                <a:gd name="T36" fmla="*/ 20 w 134"/>
                <a:gd name="T37" fmla="*/ 64 h 80"/>
                <a:gd name="T38" fmla="*/ 20 w 134"/>
                <a:gd name="T39" fmla="*/ 66 h 80"/>
                <a:gd name="T40" fmla="*/ 26 w 134"/>
                <a:gd name="T41" fmla="*/ 66 h 80"/>
                <a:gd name="T42" fmla="*/ 38 w 134"/>
                <a:gd name="T43" fmla="*/ 60 h 80"/>
                <a:gd name="T44" fmla="*/ 42 w 134"/>
                <a:gd name="T45" fmla="*/ 60 h 80"/>
                <a:gd name="T46" fmla="*/ 54 w 134"/>
                <a:gd name="T47" fmla="*/ 64 h 80"/>
                <a:gd name="T48" fmla="*/ 66 w 134"/>
                <a:gd name="T49" fmla="*/ 70 h 80"/>
                <a:gd name="T50" fmla="*/ 70 w 134"/>
                <a:gd name="T51" fmla="*/ 78 h 80"/>
                <a:gd name="T52" fmla="*/ 72 w 134"/>
                <a:gd name="T53" fmla="*/ 80 h 80"/>
                <a:gd name="T54" fmla="*/ 76 w 134"/>
                <a:gd name="T55" fmla="*/ 80 h 80"/>
                <a:gd name="T56" fmla="*/ 80 w 134"/>
                <a:gd name="T57" fmla="*/ 74 h 80"/>
                <a:gd name="T58" fmla="*/ 90 w 134"/>
                <a:gd name="T59" fmla="*/ 62 h 80"/>
                <a:gd name="T60" fmla="*/ 94 w 134"/>
                <a:gd name="T61" fmla="*/ 60 h 80"/>
                <a:gd name="T62" fmla="*/ 102 w 134"/>
                <a:gd name="T63" fmla="*/ 60 h 80"/>
                <a:gd name="T64" fmla="*/ 110 w 134"/>
                <a:gd name="T65" fmla="*/ 60 h 80"/>
                <a:gd name="T66" fmla="*/ 118 w 134"/>
                <a:gd name="T67" fmla="*/ 56 h 80"/>
                <a:gd name="T68" fmla="*/ 126 w 134"/>
                <a:gd name="T69" fmla="*/ 48 h 80"/>
                <a:gd name="T70" fmla="*/ 132 w 134"/>
                <a:gd name="T71" fmla="*/ 40 h 80"/>
                <a:gd name="T72" fmla="*/ 132 w 134"/>
                <a:gd name="T73" fmla="*/ 30 h 80"/>
                <a:gd name="T74" fmla="*/ 132 w 134"/>
                <a:gd name="T75" fmla="*/ 18 h 80"/>
                <a:gd name="T76" fmla="*/ 130 w 134"/>
                <a:gd name="T77" fmla="*/ 8 h 80"/>
                <a:gd name="T78" fmla="*/ 128 w 134"/>
                <a:gd name="T79" fmla="*/ 4 h 80"/>
                <a:gd name="T80" fmla="*/ 122 w 134"/>
                <a:gd name="T81" fmla="*/ 2 h 80"/>
                <a:gd name="T82" fmla="*/ 112 w 134"/>
                <a:gd name="T83" fmla="*/ 2 h 80"/>
                <a:gd name="T84" fmla="*/ 100 w 134"/>
                <a:gd name="T85" fmla="*/ 4 h 80"/>
                <a:gd name="T86" fmla="*/ 84 w 134"/>
                <a:gd name="T87" fmla="*/ 10 h 80"/>
                <a:gd name="T88" fmla="*/ 76 w 134"/>
                <a:gd name="T89" fmla="*/ 12 h 80"/>
                <a:gd name="T90" fmla="*/ 68 w 134"/>
                <a:gd name="T91" fmla="*/ 8 h 80"/>
                <a:gd name="T92" fmla="*/ 56 w 134"/>
                <a:gd name="T93" fmla="*/ 2 h 80"/>
                <a:gd name="T94" fmla="*/ 50 w 134"/>
                <a:gd name="T95" fmla="*/ 2 h 80"/>
                <a:gd name="T96" fmla="*/ 48 w 134"/>
                <a:gd name="T97" fmla="*/ 4 h 80"/>
                <a:gd name="T98" fmla="*/ 42 w 134"/>
                <a:gd name="T99" fmla="*/ 12 h 80"/>
                <a:gd name="T100" fmla="*/ 40 w 134"/>
                <a:gd name="T101" fmla="*/ 1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 h="80">
                  <a:moveTo>
                    <a:pt x="40" y="14"/>
                  </a:moveTo>
                  <a:lnTo>
                    <a:pt x="40" y="14"/>
                  </a:lnTo>
                  <a:lnTo>
                    <a:pt x="40" y="14"/>
                  </a:lnTo>
                  <a:lnTo>
                    <a:pt x="38" y="14"/>
                  </a:lnTo>
                  <a:lnTo>
                    <a:pt x="36" y="14"/>
                  </a:lnTo>
                  <a:lnTo>
                    <a:pt x="36" y="12"/>
                  </a:lnTo>
                  <a:lnTo>
                    <a:pt x="34" y="10"/>
                  </a:lnTo>
                  <a:lnTo>
                    <a:pt x="34" y="10"/>
                  </a:lnTo>
                  <a:lnTo>
                    <a:pt x="32" y="6"/>
                  </a:lnTo>
                  <a:lnTo>
                    <a:pt x="30" y="4"/>
                  </a:lnTo>
                  <a:lnTo>
                    <a:pt x="28" y="2"/>
                  </a:lnTo>
                  <a:lnTo>
                    <a:pt x="28" y="2"/>
                  </a:lnTo>
                  <a:lnTo>
                    <a:pt x="26" y="0"/>
                  </a:lnTo>
                  <a:lnTo>
                    <a:pt x="24" y="0"/>
                  </a:lnTo>
                  <a:lnTo>
                    <a:pt x="24" y="0"/>
                  </a:lnTo>
                  <a:lnTo>
                    <a:pt x="22" y="0"/>
                  </a:lnTo>
                  <a:lnTo>
                    <a:pt x="22" y="0"/>
                  </a:lnTo>
                  <a:lnTo>
                    <a:pt x="20" y="0"/>
                  </a:lnTo>
                  <a:lnTo>
                    <a:pt x="18" y="2"/>
                  </a:lnTo>
                  <a:lnTo>
                    <a:pt x="16" y="2"/>
                  </a:lnTo>
                  <a:lnTo>
                    <a:pt x="14" y="4"/>
                  </a:lnTo>
                  <a:lnTo>
                    <a:pt x="12" y="6"/>
                  </a:lnTo>
                  <a:lnTo>
                    <a:pt x="10" y="8"/>
                  </a:lnTo>
                  <a:lnTo>
                    <a:pt x="8" y="8"/>
                  </a:lnTo>
                  <a:lnTo>
                    <a:pt x="8" y="10"/>
                  </a:lnTo>
                  <a:lnTo>
                    <a:pt x="6" y="14"/>
                  </a:lnTo>
                  <a:lnTo>
                    <a:pt x="4" y="16"/>
                  </a:lnTo>
                  <a:lnTo>
                    <a:pt x="4" y="18"/>
                  </a:lnTo>
                  <a:lnTo>
                    <a:pt x="2" y="20"/>
                  </a:lnTo>
                  <a:lnTo>
                    <a:pt x="2" y="20"/>
                  </a:lnTo>
                  <a:lnTo>
                    <a:pt x="0" y="22"/>
                  </a:lnTo>
                  <a:lnTo>
                    <a:pt x="0" y="24"/>
                  </a:lnTo>
                  <a:lnTo>
                    <a:pt x="0" y="26"/>
                  </a:lnTo>
                  <a:lnTo>
                    <a:pt x="0" y="28"/>
                  </a:lnTo>
                  <a:lnTo>
                    <a:pt x="0" y="30"/>
                  </a:lnTo>
                  <a:lnTo>
                    <a:pt x="0" y="32"/>
                  </a:lnTo>
                  <a:lnTo>
                    <a:pt x="0" y="32"/>
                  </a:lnTo>
                  <a:lnTo>
                    <a:pt x="0" y="34"/>
                  </a:lnTo>
                  <a:lnTo>
                    <a:pt x="2" y="36"/>
                  </a:lnTo>
                  <a:lnTo>
                    <a:pt x="2" y="36"/>
                  </a:lnTo>
                  <a:lnTo>
                    <a:pt x="2" y="36"/>
                  </a:lnTo>
                  <a:lnTo>
                    <a:pt x="4" y="38"/>
                  </a:lnTo>
                  <a:lnTo>
                    <a:pt x="4" y="38"/>
                  </a:lnTo>
                  <a:lnTo>
                    <a:pt x="4" y="38"/>
                  </a:lnTo>
                  <a:lnTo>
                    <a:pt x="6" y="38"/>
                  </a:lnTo>
                  <a:lnTo>
                    <a:pt x="8" y="38"/>
                  </a:lnTo>
                  <a:lnTo>
                    <a:pt x="10" y="36"/>
                  </a:lnTo>
                  <a:lnTo>
                    <a:pt x="12" y="36"/>
                  </a:lnTo>
                  <a:lnTo>
                    <a:pt x="16" y="34"/>
                  </a:lnTo>
                  <a:lnTo>
                    <a:pt x="18" y="32"/>
                  </a:lnTo>
                  <a:lnTo>
                    <a:pt x="20" y="32"/>
                  </a:lnTo>
                  <a:lnTo>
                    <a:pt x="22" y="32"/>
                  </a:lnTo>
                  <a:lnTo>
                    <a:pt x="24" y="32"/>
                  </a:lnTo>
                  <a:lnTo>
                    <a:pt x="26" y="32"/>
                  </a:lnTo>
                  <a:lnTo>
                    <a:pt x="26" y="32"/>
                  </a:lnTo>
                  <a:lnTo>
                    <a:pt x="28" y="32"/>
                  </a:lnTo>
                  <a:lnTo>
                    <a:pt x="28" y="32"/>
                  </a:lnTo>
                  <a:lnTo>
                    <a:pt x="28" y="32"/>
                  </a:lnTo>
                  <a:lnTo>
                    <a:pt x="28" y="34"/>
                  </a:lnTo>
                  <a:lnTo>
                    <a:pt x="30" y="34"/>
                  </a:lnTo>
                  <a:lnTo>
                    <a:pt x="30" y="36"/>
                  </a:lnTo>
                  <a:lnTo>
                    <a:pt x="30" y="38"/>
                  </a:lnTo>
                  <a:lnTo>
                    <a:pt x="30" y="38"/>
                  </a:lnTo>
                  <a:lnTo>
                    <a:pt x="30" y="42"/>
                  </a:lnTo>
                  <a:lnTo>
                    <a:pt x="30" y="44"/>
                  </a:lnTo>
                  <a:lnTo>
                    <a:pt x="28" y="48"/>
                  </a:lnTo>
                  <a:lnTo>
                    <a:pt x="28" y="50"/>
                  </a:lnTo>
                  <a:lnTo>
                    <a:pt x="28" y="52"/>
                  </a:lnTo>
                  <a:lnTo>
                    <a:pt x="28" y="52"/>
                  </a:lnTo>
                  <a:lnTo>
                    <a:pt x="28" y="54"/>
                  </a:lnTo>
                  <a:lnTo>
                    <a:pt x="26" y="56"/>
                  </a:lnTo>
                  <a:lnTo>
                    <a:pt x="22" y="58"/>
                  </a:lnTo>
                  <a:lnTo>
                    <a:pt x="22" y="60"/>
                  </a:lnTo>
                  <a:lnTo>
                    <a:pt x="20" y="62"/>
                  </a:lnTo>
                  <a:lnTo>
                    <a:pt x="20" y="62"/>
                  </a:lnTo>
                  <a:lnTo>
                    <a:pt x="20" y="64"/>
                  </a:lnTo>
                  <a:lnTo>
                    <a:pt x="20" y="64"/>
                  </a:lnTo>
                  <a:lnTo>
                    <a:pt x="20" y="64"/>
                  </a:lnTo>
                  <a:lnTo>
                    <a:pt x="20" y="66"/>
                  </a:lnTo>
                  <a:lnTo>
                    <a:pt x="20" y="66"/>
                  </a:lnTo>
                  <a:lnTo>
                    <a:pt x="22" y="66"/>
                  </a:lnTo>
                  <a:lnTo>
                    <a:pt x="24" y="66"/>
                  </a:lnTo>
                  <a:lnTo>
                    <a:pt x="24" y="66"/>
                  </a:lnTo>
                  <a:lnTo>
                    <a:pt x="26" y="66"/>
                  </a:lnTo>
                  <a:lnTo>
                    <a:pt x="28" y="66"/>
                  </a:lnTo>
                  <a:lnTo>
                    <a:pt x="30" y="64"/>
                  </a:lnTo>
                  <a:lnTo>
                    <a:pt x="34" y="62"/>
                  </a:lnTo>
                  <a:lnTo>
                    <a:pt x="38" y="60"/>
                  </a:lnTo>
                  <a:lnTo>
                    <a:pt x="38" y="60"/>
                  </a:lnTo>
                  <a:lnTo>
                    <a:pt x="40" y="60"/>
                  </a:lnTo>
                  <a:lnTo>
                    <a:pt x="42" y="60"/>
                  </a:lnTo>
                  <a:lnTo>
                    <a:pt x="42" y="60"/>
                  </a:lnTo>
                  <a:lnTo>
                    <a:pt x="46" y="60"/>
                  </a:lnTo>
                  <a:lnTo>
                    <a:pt x="48" y="62"/>
                  </a:lnTo>
                  <a:lnTo>
                    <a:pt x="52" y="62"/>
                  </a:lnTo>
                  <a:lnTo>
                    <a:pt x="54" y="64"/>
                  </a:lnTo>
                  <a:lnTo>
                    <a:pt x="58" y="66"/>
                  </a:lnTo>
                  <a:lnTo>
                    <a:pt x="60" y="66"/>
                  </a:lnTo>
                  <a:lnTo>
                    <a:pt x="64" y="68"/>
                  </a:lnTo>
                  <a:lnTo>
                    <a:pt x="66" y="70"/>
                  </a:lnTo>
                  <a:lnTo>
                    <a:pt x="66" y="70"/>
                  </a:lnTo>
                  <a:lnTo>
                    <a:pt x="68" y="72"/>
                  </a:lnTo>
                  <a:lnTo>
                    <a:pt x="68" y="76"/>
                  </a:lnTo>
                  <a:lnTo>
                    <a:pt x="70" y="78"/>
                  </a:lnTo>
                  <a:lnTo>
                    <a:pt x="70" y="78"/>
                  </a:lnTo>
                  <a:lnTo>
                    <a:pt x="72" y="80"/>
                  </a:lnTo>
                  <a:lnTo>
                    <a:pt x="72" y="80"/>
                  </a:lnTo>
                  <a:lnTo>
                    <a:pt x="72" y="80"/>
                  </a:lnTo>
                  <a:lnTo>
                    <a:pt x="72" y="80"/>
                  </a:lnTo>
                  <a:lnTo>
                    <a:pt x="74" y="80"/>
                  </a:lnTo>
                  <a:lnTo>
                    <a:pt x="74" y="80"/>
                  </a:lnTo>
                  <a:lnTo>
                    <a:pt x="76" y="80"/>
                  </a:lnTo>
                  <a:lnTo>
                    <a:pt x="76" y="78"/>
                  </a:lnTo>
                  <a:lnTo>
                    <a:pt x="78" y="78"/>
                  </a:lnTo>
                  <a:lnTo>
                    <a:pt x="80" y="76"/>
                  </a:lnTo>
                  <a:lnTo>
                    <a:pt x="80" y="74"/>
                  </a:lnTo>
                  <a:lnTo>
                    <a:pt x="84" y="70"/>
                  </a:lnTo>
                  <a:lnTo>
                    <a:pt x="86" y="68"/>
                  </a:lnTo>
                  <a:lnTo>
                    <a:pt x="88" y="64"/>
                  </a:lnTo>
                  <a:lnTo>
                    <a:pt x="90" y="62"/>
                  </a:lnTo>
                  <a:lnTo>
                    <a:pt x="90" y="62"/>
                  </a:lnTo>
                  <a:lnTo>
                    <a:pt x="92" y="60"/>
                  </a:lnTo>
                  <a:lnTo>
                    <a:pt x="92" y="60"/>
                  </a:lnTo>
                  <a:lnTo>
                    <a:pt x="94" y="60"/>
                  </a:lnTo>
                  <a:lnTo>
                    <a:pt x="94" y="60"/>
                  </a:lnTo>
                  <a:lnTo>
                    <a:pt x="96" y="60"/>
                  </a:lnTo>
                  <a:lnTo>
                    <a:pt x="100" y="60"/>
                  </a:lnTo>
                  <a:lnTo>
                    <a:pt x="102" y="60"/>
                  </a:lnTo>
                  <a:lnTo>
                    <a:pt x="104" y="60"/>
                  </a:lnTo>
                  <a:lnTo>
                    <a:pt x="106" y="60"/>
                  </a:lnTo>
                  <a:lnTo>
                    <a:pt x="108" y="60"/>
                  </a:lnTo>
                  <a:lnTo>
                    <a:pt x="110" y="60"/>
                  </a:lnTo>
                  <a:lnTo>
                    <a:pt x="110" y="60"/>
                  </a:lnTo>
                  <a:lnTo>
                    <a:pt x="112" y="58"/>
                  </a:lnTo>
                  <a:lnTo>
                    <a:pt x="114" y="58"/>
                  </a:lnTo>
                  <a:lnTo>
                    <a:pt x="118" y="56"/>
                  </a:lnTo>
                  <a:lnTo>
                    <a:pt x="120" y="54"/>
                  </a:lnTo>
                  <a:lnTo>
                    <a:pt x="122" y="52"/>
                  </a:lnTo>
                  <a:lnTo>
                    <a:pt x="124" y="50"/>
                  </a:lnTo>
                  <a:lnTo>
                    <a:pt x="126" y="48"/>
                  </a:lnTo>
                  <a:lnTo>
                    <a:pt x="128" y="48"/>
                  </a:lnTo>
                  <a:lnTo>
                    <a:pt x="130" y="46"/>
                  </a:lnTo>
                  <a:lnTo>
                    <a:pt x="130" y="42"/>
                  </a:lnTo>
                  <a:lnTo>
                    <a:pt x="132" y="40"/>
                  </a:lnTo>
                  <a:lnTo>
                    <a:pt x="132" y="38"/>
                  </a:lnTo>
                  <a:lnTo>
                    <a:pt x="132" y="34"/>
                  </a:lnTo>
                  <a:lnTo>
                    <a:pt x="132" y="32"/>
                  </a:lnTo>
                  <a:lnTo>
                    <a:pt x="132" y="30"/>
                  </a:lnTo>
                  <a:lnTo>
                    <a:pt x="134" y="26"/>
                  </a:lnTo>
                  <a:lnTo>
                    <a:pt x="132" y="24"/>
                  </a:lnTo>
                  <a:lnTo>
                    <a:pt x="132" y="22"/>
                  </a:lnTo>
                  <a:lnTo>
                    <a:pt x="132" y="18"/>
                  </a:lnTo>
                  <a:lnTo>
                    <a:pt x="132" y="14"/>
                  </a:lnTo>
                  <a:lnTo>
                    <a:pt x="132" y="12"/>
                  </a:lnTo>
                  <a:lnTo>
                    <a:pt x="132" y="10"/>
                  </a:lnTo>
                  <a:lnTo>
                    <a:pt x="130" y="8"/>
                  </a:lnTo>
                  <a:lnTo>
                    <a:pt x="130" y="8"/>
                  </a:lnTo>
                  <a:lnTo>
                    <a:pt x="130" y="6"/>
                  </a:lnTo>
                  <a:lnTo>
                    <a:pt x="128" y="4"/>
                  </a:lnTo>
                  <a:lnTo>
                    <a:pt x="128" y="4"/>
                  </a:lnTo>
                  <a:lnTo>
                    <a:pt x="128" y="4"/>
                  </a:lnTo>
                  <a:lnTo>
                    <a:pt x="126" y="4"/>
                  </a:lnTo>
                  <a:lnTo>
                    <a:pt x="124" y="2"/>
                  </a:lnTo>
                  <a:lnTo>
                    <a:pt x="122" y="2"/>
                  </a:lnTo>
                  <a:lnTo>
                    <a:pt x="122" y="2"/>
                  </a:lnTo>
                  <a:lnTo>
                    <a:pt x="120" y="2"/>
                  </a:lnTo>
                  <a:lnTo>
                    <a:pt x="116" y="2"/>
                  </a:lnTo>
                  <a:lnTo>
                    <a:pt x="112" y="2"/>
                  </a:lnTo>
                  <a:lnTo>
                    <a:pt x="108" y="4"/>
                  </a:lnTo>
                  <a:lnTo>
                    <a:pt x="102" y="4"/>
                  </a:lnTo>
                  <a:lnTo>
                    <a:pt x="102" y="4"/>
                  </a:lnTo>
                  <a:lnTo>
                    <a:pt x="100" y="4"/>
                  </a:lnTo>
                  <a:lnTo>
                    <a:pt x="98" y="6"/>
                  </a:lnTo>
                  <a:lnTo>
                    <a:pt x="90" y="8"/>
                  </a:lnTo>
                  <a:lnTo>
                    <a:pt x="86" y="10"/>
                  </a:lnTo>
                  <a:lnTo>
                    <a:pt x="84" y="10"/>
                  </a:lnTo>
                  <a:lnTo>
                    <a:pt x="80" y="12"/>
                  </a:lnTo>
                  <a:lnTo>
                    <a:pt x="80" y="12"/>
                  </a:lnTo>
                  <a:lnTo>
                    <a:pt x="78" y="12"/>
                  </a:lnTo>
                  <a:lnTo>
                    <a:pt x="76" y="12"/>
                  </a:lnTo>
                  <a:lnTo>
                    <a:pt x="74" y="12"/>
                  </a:lnTo>
                  <a:lnTo>
                    <a:pt x="74" y="10"/>
                  </a:lnTo>
                  <a:lnTo>
                    <a:pt x="72" y="10"/>
                  </a:lnTo>
                  <a:lnTo>
                    <a:pt x="68" y="8"/>
                  </a:lnTo>
                  <a:lnTo>
                    <a:pt x="64" y="6"/>
                  </a:lnTo>
                  <a:lnTo>
                    <a:pt x="60" y="4"/>
                  </a:lnTo>
                  <a:lnTo>
                    <a:pt x="58" y="4"/>
                  </a:lnTo>
                  <a:lnTo>
                    <a:pt x="56" y="2"/>
                  </a:lnTo>
                  <a:lnTo>
                    <a:pt x="54" y="2"/>
                  </a:lnTo>
                  <a:lnTo>
                    <a:pt x="54" y="2"/>
                  </a:lnTo>
                  <a:lnTo>
                    <a:pt x="52" y="2"/>
                  </a:lnTo>
                  <a:lnTo>
                    <a:pt x="50" y="2"/>
                  </a:lnTo>
                  <a:lnTo>
                    <a:pt x="50" y="2"/>
                  </a:lnTo>
                  <a:lnTo>
                    <a:pt x="48" y="2"/>
                  </a:lnTo>
                  <a:lnTo>
                    <a:pt x="48" y="4"/>
                  </a:lnTo>
                  <a:lnTo>
                    <a:pt x="48" y="4"/>
                  </a:lnTo>
                  <a:lnTo>
                    <a:pt x="46" y="6"/>
                  </a:lnTo>
                  <a:lnTo>
                    <a:pt x="46" y="8"/>
                  </a:lnTo>
                  <a:lnTo>
                    <a:pt x="44" y="10"/>
                  </a:lnTo>
                  <a:lnTo>
                    <a:pt x="42" y="12"/>
                  </a:lnTo>
                  <a:lnTo>
                    <a:pt x="42" y="14"/>
                  </a:lnTo>
                  <a:lnTo>
                    <a:pt x="42" y="14"/>
                  </a:lnTo>
                  <a:lnTo>
                    <a:pt x="42" y="14"/>
                  </a:lnTo>
                  <a:lnTo>
                    <a:pt x="40" y="1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6" name="Freeform 254">
              <a:extLst>
                <a:ext uri="{FF2B5EF4-FFF2-40B4-BE49-F238E27FC236}">
                  <a16:creationId xmlns:a16="http://schemas.microsoft.com/office/drawing/2014/main" id="{64E15E23-F467-439F-835C-2E9E812CC0DD}"/>
                </a:ext>
              </a:extLst>
            </p:cNvPr>
            <p:cNvSpPr>
              <a:spLocks/>
            </p:cNvSpPr>
            <p:nvPr/>
          </p:nvSpPr>
          <p:spPr bwMode="auto">
            <a:xfrm>
              <a:off x="4761121" y="2785962"/>
              <a:ext cx="204385" cy="96996"/>
            </a:xfrm>
            <a:custGeom>
              <a:avLst/>
              <a:gdLst>
                <a:gd name="T0" fmla="*/ 86 w 118"/>
                <a:gd name="T1" fmla="*/ 56 h 56"/>
                <a:gd name="T2" fmla="*/ 86 w 118"/>
                <a:gd name="T3" fmla="*/ 48 h 56"/>
                <a:gd name="T4" fmla="*/ 84 w 118"/>
                <a:gd name="T5" fmla="*/ 46 h 56"/>
                <a:gd name="T6" fmla="*/ 80 w 118"/>
                <a:gd name="T7" fmla="*/ 42 h 56"/>
                <a:gd name="T8" fmla="*/ 72 w 118"/>
                <a:gd name="T9" fmla="*/ 38 h 56"/>
                <a:gd name="T10" fmla="*/ 62 w 118"/>
                <a:gd name="T11" fmla="*/ 34 h 56"/>
                <a:gd name="T12" fmla="*/ 56 w 118"/>
                <a:gd name="T13" fmla="*/ 34 h 56"/>
                <a:gd name="T14" fmla="*/ 50 w 118"/>
                <a:gd name="T15" fmla="*/ 36 h 56"/>
                <a:gd name="T16" fmla="*/ 46 w 118"/>
                <a:gd name="T17" fmla="*/ 40 h 56"/>
                <a:gd name="T18" fmla="*/ 34 w 118"/>
                <a:gd name="T19" fmla="*/ 48 h 56"/>
                <a:gd name="T20" fmla="*/ 28 w 118"/>
                <a:gd name="T21" fmla="*/ 52 h 56"/>
                <a:gd name="T22" fmla="*/ 24 w 118"/>
                <a:gd name="T23" fmla="*/ 54 h 56"/>
                <a:gd name="T24" fmla="*/ 12 w 118"/>
                <a:gd name="T25" fmla="*/ 54 h 56"/>
                <a:gd name="T26" fmla="*/ 2 w 118"/>
                <a:gd name="T27" fmla="*/ 50 h 56"/>
                <a:gd name="T28" fmla="*/ 0 w 118"/>
                <a:gd name="T29" fmla="*/ 38 h 56"/>
                <a:gd name="T30" fmla="*/ 0 w 118"/>
                <a:gd name="T31" fmla="*/ 30 h 56"/>
                <a:gd name="T32" fmla="*/ 2 w 118"/>
                <a:gd name="T33" fmla="*/ 26 h 56"/>
                <a:gd name="T34" fmla="*/ 6 w 118"/>
                <a:gd name="T35" fmla="*/ 22 h 56"/>
                <a:gd name="T36" fmla="*/ 8 w 118"/>
                <a:gd name="T37" fmla="*/ 18 h 56"/>
                <a:gd name="T38" fmla="*/ 10 w 118"/>
                <a:gd name="T39" fmla="*/ 18 h 56"/>
                <a:gd name="T40" fmla="*/ 14 w 118"/>
                <a:gd name="T41" fmla="*/ 20 h 56"/>
                <a:gd name="T42" fmla="*/ 16 w 118"/>
                <a:gd name="T43" fmla="*/ 22 h 56"/>
                <a:gd name="T44" fmla="*/ 20 w 118"/>
                <a:gd name="T45" fmla="*/ 32 h 56"/>
                <a:gd name="T46" fmla="*/ 22 w 118"/>
                <a:gd name="T47" fmla="*/ 34 h 56"/>
                <a:gd name="T48" fmla="*/ 26 w 118"/>
                <a:gd name="T49" fmla="*/ 36 h 56"/>
                <a:gd name="T50" fmla="*/ 32 w 118"/>
                <a:gd name="T51" fmla="*/ 36 h 56"/>
                <a:gd name="T52" fmla="*/ 36 w 118"/>
                <a:gd name="T53" fmla="*/ 36 h 56"/>
                <a:gd name="T54" fmla="*/ 38 w 118"/>
                <a:gd name="T55" fmla="*/ 34 h 56"/>
                <a:gd name="T56" fmla="*/ 40 w 118"/>
                <a:gd name="T57" fmla="*/ 28 h 56"/>
                <a:gd name="T58" fmla="*/ 42 w 118"/>
                <a:gd name="T59" fmla="*/ 20 h 56"/>
                <a:gd name="T60" fmla="*/ 40 w 118"/>
                <a:gd name="T61" fmla="*/ 18 h 56"/>
                <a:gd name="T62" fmla="*/ 38 w 118"/>
                <a:gd name="T63" fmla="*/ 16 h 56"/>
                <a:gd name="T64" fmla="*/ 30 w 118"/>
                <a:gd name="T65" fmla="*/ 14 h 56"/>
                <a:gd name="T66" fmla="*/ 28 w 118"/>
                <a:gd name="T67" fmla="*/ 14 h 56"/>
                <a:gd name="T68" fmla="*/ 26 w 118"/>
                <a:gd name="T69" fmla="*/ 8 h 56"/>
                <a:gd name="T70" fmla="*/ 28 w 118"/>
                <a:gd name="T71" fmla="*/ 2 h 56"/>
                <a:gd name="T72" fmla="*/ 40 w 118"/>
                <a:gd name="T73" fmla="*/ 0 h 56"/>
                <a:gd name="T74" fmla="*/ 50 w 118"/>
                <a:gd name="T75" fmla="*/ 0 h 56"/>
                <a:gd name="T76" fmla="*/ 54 w 118"/>
                <a:gd name="T77" fmla="*/ 0 h 56"/>
                <a:gd name="T78" fmla="*/ 58 w 118"/>
                <a:gd name="T79" fmla="*/ 4 h 56"/>
                <a:gd name="T80" fmla="*/ 64 w 118"/>
                <a:gd name="T81" fmla="*/ 10 h 56"/>
                <a:gd name="T82" fmla="*/ 66 w 118"/>
                <a:gd name="T83" fmla="*/ 12 h 56"/>
                <a:gd name="T84" fmla="*/ 74 w 118"/>
                <a:gd name="T85" fmla="*/ 14 h 56"/>
                <a:gd name="T86" fmla="*/ 92 w 118"/>
                <a:gd name="T87" fmla="*/ 14 h 56"/>
                <a:gd name="T88" fmla="*/ 116 w 118"/>
                <a:gd name="T89" fmla="*/ 36 h 56"/>
                <a:gd name="T90" fmla="*/ 110 w 118"/>
                <a:gd name="T91" fmla="*/ 40 h 56"/>
                <a:gd name="T92" fmla="*/ 106 w 118"/>
                <a:gd name="T93" fmla="*/ 42 h 56"/>
                <a:gd name="T94" fmla="*/ 104 w 118"/>
                <a:gd name="T95" fmla="*/ 40 h 56"/>
                <a:gd name="T96" fmla="*/ 98 w 118"/>
                <a:gd name="T97" fmla="*/ 38 h 56"/>
                <a:gd name="T98" fmla="*/ 94 w 118"/>
                <a:gd name="T99" fmla="*/ 36 h 56"/>
                <a:gd name="T100" fmla="*/ 92 w 118"/>
                <a:gd name="T101" fmla="*/ 38 h 56"/>
                <a:gd name="T102" fmla="*/ 90 w 118"/>
                <a:gd name="T103" fmla="*/ 40 h 56"/>
                <a:gd name="T104" fmla="*/ 88 w 118"/>
                <a:gd name="T105" fmla="*/ 48 h 56"/>
                <a:gd name="T106" fmla="*/ 86 w 118"/>
                <a:gd name="T10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8" h="56">
                  <a:moveTo>
                    <a:pt x="86" y="56"/>
                  </a:moveTo>
                  <a:lnTo>
                    <a:pt x="86" y="56"/>
                  </a:lnTo>
                  <a:lnTo>
                    <a:pt x="86" y="56"/>
                  </a:lnTo>
                  <a:lnTo>
                    <a:pt x="86" y="52"/>
                  </a:lnTo>
                  <a:lnTo>
                    <a:pt x="86" y="50"/>
                  </a:lnTo>
                  <a:lnTo>
                    <a:pt x="86" y="48"/>
                  </a:lnTo>
                  <a:lnTo>
                    <a:pt x="86" y="48"/>
                  </a:lnTo>
                  <a:lnTo>
                    <a:pt x="84" y="46"/>
                  </a:lnTo>
                  <a:lnTo>
                    <a:pt x="84" y="46"/>
                  </a:lnTo>
                  <a:lnTo>
                    <a:pt x="82" y="44"/>
                  </a:lnTo>
                  <a:lnTo>
                    <a:pt x="82" y="42"/>
                  </a:lnTo>
                  <a:lnTo>
                    <a:pt x="80" y="42"/>
                  </a:lnTo>
                  <a:lnTo>
                    <a:pt x="78" y="40"/>
                  </a:lnTo>
                  <a:lnTo>
                    <a:pt x="76" y="40"/>
                  </a:lnTo>
                  <a:lnTo>
                    <a:pt x="72" y="38"/>
                  </a:lnTo>
                  <a:lnTo>
                    <a:pt x="68" y="36"/>
                  </a:lnTo>
                  <a:lnTo>
                    <a:pt x="64" y="36"/>
                  </a:lnTo>
                  <a:lnTo>
                    <a:pt x="62" y="34"/>
                  </a:lnTo>
                  <a:lnTo>
                    <a:pt x="60" y="34"/>
                  </a:lnTo>
                  <a:lnTo>
                    <a:pt x="58" y="34"/>
                  </a:lnTo>
                  <a:lnTo>
                    <a:pt x="56" y="34"/>
                  </a:lnTo>
                  <a:lnTo>
                    <a:pt x="54" y="34"/>
                  </a:lnTo>
                  <a:lnTo>
                    <a:pt x="52" y="36"/>
                  </a:lnTo>
                  <a:lnTo>
                    <a:pt x="50" y="36"/>
                  </a:lnTo>
                  <a:lnTo>
                    <a:pt x="48" y="38"/>
                  </a:lnTo>
                  <a:lnTo>
                    <a:pt x="48" y="38"/>
                  </a:lnTo>
                  <a:lnTo>
                    <a:pt x="46" y="40"/>
                  </a:lnTo>
                  <a:lnTo>
                    <a:pt x="42" y="42"/>
                  </a:lnTo>
                  <a:lnTo>
                    <a:pt x="38" y="46"/>
                  </a:lnTo>
                  <a:lnTo>
                    <a:pt x="34" y="48"/>
                  </a:lnTo>
                  <a:lnTo>
                    <a:pt x="32" y="50"/>
                  </a:lnTo>
                  <a:lnTo>
                    <a:pt x="30" y="52"/>
                  </a:lnTo>
                  <a:lnTo>
                    <a:pt x="28" y="52"/>
                  </a:lnTo>
                  <a:lnTo>
                    <a:pt x="26" y="52"/>
                  </a:lnTo>
                  <a:lnTo>
                    <a:pt x="26" y="52"/>
                  </a:lnTo>
                  <a:lnTo>
                    <a:pt x="24" y="54"/>
                  </a:lnTo>
                  <a:lnTo>
                    <a:pt x="20" y="54"/>
                  </a:lnTo>
                  <a:lnTo>
                    <a:pt x="16" y="54"/>
                  </a:lnTo>
                  <a:lnTo>
                    <a:pt x="12" y="54"/>
                  </a:lnTo>
                  <a:lnTo>
                    <a:pt x="6" y="54"/>
                  </a:lnTo>
                  <a:lnTo>
                    <a:pt x="2" y="54"/>
                  </a:lnTo>
                  <a:lnTo>
                    <a:pt x="2" y="50"/>
                  </a:lnTo>
                  <a:lnTo>
                    <a:pt x="2" y="48"/>
                  </a:lnTo>
                  <a:lnTo>
                    <a:pt x="0" y="44"/>
                  </a:lnTo>
                  <a:lnTo>
                    <a:pt x="0" y="38"/>
                  </a:lnTo>
                  <a:lnTo>
                    <a:pt x="0" y="34"/>
                  </a:lnTo>
                  <a:lnTo>
                    <a:pt x="0" y="32"/>
                  </a:lnTo>
                  <a:lnTo>
                    <a:pt x="0" y="30"/>
                  </a:lnTo>
                  <a:lnTo>
                    <a:pt x="0" y="30"/>
                  </a:lnTo>
                  <a:lnTo>
                    <a:pt x="0" y="28"/>
                  </a:lnTo>
                  <a:lnTo>
                    <a:pt x="2" y="26"/>
                  </a:lnTo>
                  <a:lnTo>
                    <a:pt x="2" y="26"/>
                  </a:lnTo>
                  <a:lnTo>
                    <a:pt x="4" y="24"/>
                  </a:lnTo>
                  <a:lnTo>
                    <a:pt x="6" y="22"/>
                  </a:lnTo>
                  <a:lnTo>
                    <a:pt x="6" y="20"/>
                  </a:lnTo>
                  <a:lnTo>
                    <a:pt x="8" y="20"/>
                  </a:lnTo>
                  <a:lnTo>
                    <a:pt x="8" y="18"/>
                  </a:lnTo>
                  <a:lnTo>
                    <a:pt x="10" y="18"/>
                  </a:lnTo>
                  <a:lnTo>
                    <a:pt x="10" y="18"/>
                  </a:lnTo>
                  <a:lnTo>
                    <a:pt x="10" y="18"/>
                  </a:lnTo>
                  <a:lnTo>
                    <a:pt x="12" y="18"/>
                  </a:lnTo>
                  <a:lnTo>
                    <a:pt x="12" y="18"/>
                  </a:lnTo>
                  <a:lnTo>
                    <a:pt x="14" y="20"/>
                  </a:lnTo>
                  <a:lnTo>
                    <a:pt x="14" y="20"/>
                  </a:lnTo>
                  <a:lnTo>
                    <a:pt x="14" y="22"/>
                  </a:lnTo>
                  <a:lnTo>
                    <a:pt x="16" y="22"/>
                  </a:lnTo>
                  <a:lnTo>
                    <a:pt x="16" y="26"/>
                  </a:lnTo>
                  <a:lnTo>
                    <a:pt x="18" y="28"/>
                  </a:lnTo>
                  <a:lnTo>
                    <a:pt x="20" y="32"/>
                  </a:lnTo>
                  <a:lnTo>
                    <a:pt x="20" y="32"/>
                  </a:lnTo>
                  <a:lnTo>
                    <a:pt x="20" y="34"/>
                  </a:lnTo>
                  <a:lnTo>
                    <a:pt x="22" y="34"/>
                  </a:lnTo>
                  <a:lnTo>
                    <a:pt x="22" y="34"/>
                  </a:lnTo>
                  <a:lnTo>
                    <a:pt x="24" y="36"/>
                  </a:lnTo>
                  <a:lnTo>
                    <a:pt x="26" y="36"/>
                  </a:lnTo>
                  <a:lnTo>
                    <a:pt x="28" y="36"/>
                  </a:lnTo>
                  <a:lnTo>
                    <a:pt x="30" y="36"/>
                  </a:lnTo>
                  <a:lnTo>
                    <a:pt x="32" y="36"/>
                  </a:lnTo>
                  <a:lnTo>
                    <a:pt x="34" y="36"/>
                  </a:lnTo>
                  <a:lnTo>
                    <a:pt x="36" y="36"/>
                  </a:lnTo>
                  <a:lnTo>
                    <a:pt x="36" y="36"/>
                  </a:lnTo>
                  <a:lnTo>
                    <a:pt x="38" y="34"/>
                  </a:lnTo>
                  <a:lnTo>
                    <a:pt x="38" y="34"/>
                  </a:lnTo>
                  <a:lnTo>
                    <a:pt x="38" y="34"/>
                  </a:lnTo>
                  <a:lnTo>
                    <a:pt x="40" y="32"/>
                  </a:lnTo>
                  <a:lnTo>
                    <a:pt x="40" y="30"/>
                  </a:lnTo>
                  <a:lnTo>
                    <a:pt x="40" y="28"/>
                  </a:lnTo>
                  <a:lnTo>
                    <a:pt x="42" y="26"/>
                  </a:lnTo>
                  <a:lnTo>
                    <a:pt x="42" y="22"/>
                  </a:lnTo>
                  <a:lnTo>
                    <a:pt x="42" y="20"/>
                  </a:lnTo>
                  <a:lnTo>
                    <a:pt x="42" y="20"/>
                  </a:lnTo>
                  <a:lnTo>
                    <a:pt x="40" y="20"/>
                  </a:lnTo>
                  <a:lnTo>
                    <a:pt x="40" y="18"/>
                  </a:lnTo>
                  <a:lnTo>
                    <a:pt x="40" y="18"/>
                  </a:lnTo>
                  <a:lnTo>
                    <a:pt x="38" y="18"/>
                  </a:lnTo>
                  <a:lnTo>
                    <a:pt x="38" y="16"/>
                  </a:lnTo>
                  <a:lnTo>
                    <a:pt x="36" y="16"/>
                  </a:lnTo>
                  <a:lnTo>
                    <a:pt x="32" y="16"/>
                  </a:lnTo>
                  <a:lnTo>
                    <a:pt x="30" y="14"/>
                  </a:lnTo>
                  <a:lnTo>
                    <a:pt x="30" y="14"/>
                  </a:lnTo>
                  <a:lnTo>
                    <a:pt x="30" y="14"/>
                  </a:lnTo>
                  <a:lnTo>
                    <a:pt x="28" y="14"/>
                  </a:lnTo>
                  <a:lnTo>
                    <a:pt x="28" y="12"/>
                  </a:lnTo>
                  <a:lnTo>
                    <a:pt x="28" y="10"/>
                  </a:lnTo>
                  <a:lnTo>
                    <a:pt x="26" y="8"/>
                  </a:lnTo>
                  <a:lnTo>
                    <a:pt x="26" y="4"/>
                  </a:lnTo>
                  <a:lnTo>
                    <a:pt x="24" y="2"/>
                  </a:lnTo>
                  <a:lnTo>
                    <a:pt x="28" y="2"/>
                  </a:lnTo>
                  <a:lnTo>
                    <a:pt x="32" y="2"/>
                  </a:lnTo>
                  <a:lnTo>
                    <a:pt x="36" y="0"/>
                  </a:lnTo>
                  <a:lnTo>
                    <a:pt x="40" y="0"/>
                  </a:lnTo>
                  <a:lnTo>
                    <a:pt x="46" y="0"/>
                  </a:lnTo>
                  <a:lnTo>
                    <a:pt x="48" y="0"/>
                  </a:lnTo>
                  <a:lnTo>
                    <a:pt x="50" y="0"/>
                  </a:lnTo>
                  <a:lnTo>
                    <a:pt x="52" y="0"/>
                  </a:lnTo>
                  <a:lnTo>
                    <a:pt x="52" y="0"/>
                  </a:lnTo>
                  <a:lnTo>
                    <a:pt x="54" y="0"/>
                  </a:lnTo>
                  <a:lnTo>
                    <a:pt x="54" y="0"/>
                  </a:lnTo>
                  <a:lnTo>
                    <a:pt x="56" y="2"/>
                  </a:lnTo>
                  <a:lnTo>
                    <a:pt x="58" y="4"/>
                  </a:lnTo>
                  <a:lnTo>
                    <a:pt x="60" y="6"/>
                  </a:lnTo>
                  <a:lnTo>
                    <a:pt x="62" y="8"/>
                  </a:lnTo>
                  <a:lnTo>
                    <a:pt x="64" y="10"/>
                  </a:lnTo>
                  <a:lnTo>
                    <a:pt x="66" y="12"/>
                  </a:lnTo>
                  <a:lnTo>
                    <a:pt x="66" y="12"/>
                  </a:lnTo>
                  <a:lnTo>
                    <a:pt x="66" y="12"/>
                  </a:lnTo>
                  <a:lnTo>
                    <a:pt x="68" y="12"/>
                  </a:lnTo>
                  <a:lnTo>
                    <a:pt x="70" y="14"/>
                  </a:lnTo>
                  <a:lnTo>
                    <a:pt x="74" y="14"/>
                  </a:lnTo>
                  <a:lnTo>
                    <a:pt x="78" y="14"/>
                  </a:lnTo>
                  <a:lnTo>
                    <a:pt x="84" y="14"/>
                  </a:lnTo>
                  <a:lnTo>
                    <a:pt x="92" y="14"/>
                  </a:lnTo>
                  <a:lnTo>
                    <a:pt x="94" y="14"/>
                  </a:lnTo>
                  <a:lnTo>
                    <a:pt x="118" y="34"/>
                  </a:lnTo>
                  <a:lnTo>
                    <a:pt x="116" y="36"/>
                  </a:lnTo>
                  <a:lnTo>
                    <a:pt x="114" y="38"/>
                  </a:lnTo>
                  <a:lnTo>
                    <a:pt x="112" y="40"/>
                  </a:lnTo>
                  <a:lnTo>
                    <a:pt x="110" y="40"/>
                  </a:lnTo>
                  <a:lnTo>
                    <a:pt x="108" y="42"/>
                  </a:lnTo>
                  <a:lnTo>
                    <a:pt x="108" y="42"/>
                  </a:lnTo>
                  <a:lnTo>
                    <a:pt x="106" y="42"/>
                  </a:lnTo>
                  <a:lnTo>
                    <a:pt x="106" y="42"/>
                  </a:lnTo>
                  <a:lnTo>
                    <a:pt x="104" y="42"/>
                  </a:lnTo>
                  <a:lnTo>
                    <a:pt x="104" y="40"/>
                  </a:lnTo>
                  <a:lnTo>
                    <a:pt x="102" y="40"/>
                  </a:lnTo>
                  <a:lnTo>
                    <a:pt x="100" y="38"/>
                  </a:lnTo>
                  <a:lnTo>
                    <a:pt x="98" y="38"/>
                  </a:lnTo>
                  <a:lnTo>
                    <a:pt x="96" y="36"/>
                  </a:lnTo>
                  <a:lnTo>
                    <a:pt x="94" y="36"/>
                  </a:lnTo>
                  <a:lnTo>
                    <a:pt x="94" y="36"/>
                  </a:lnTo>
                  <a:lnTo>
                    <a:pt x="92" y="36"/>
                  </a:lnTo>
                  <a:lnTo>
                    <a:pt x="92" y="36"/>
                  </a:lnTo>
                  <a:lnTo>
                    <a:pt x="92" y="38"/>
                  </a:lnTo>
                  <a:lnTo>
                    <a:pt x="90" y="38"/>
                  </a:lnTo>
                  <a:lnTo>
                    <a:pt x="90" y="40"/>
                  </a:lnTo>
                  <a:lnTo>
                    <a:pt x="90" y="40"/>
                  </a:lnTo>
                  <a:lnTo>
                    <a:pt x="88" y="42"/>
                  </a:lnTo>
                  <a:lnTo>
                    <a:pt x="88" y="44"/>
                  </a:lnTo>
                  <a:lnTo>
                    <a:pt x="88" y="48"/>
                  </a:lnTo>
                  <a:lnTo>
                    <a:pt x="86" y="50"/>
                  </a:lnTo>
                  <a:lnTo>
                    <a:pt x="86" y="54"/>
                  </a:lnTo>
                  <a:lnTo>
                    <a:pt x="86" y="5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7" name="Freeform 255">
              <a:extLst>
                <a:ext uri="{FF2B5EF4-FFF2-40B4-BE49-F238E27FC236}">
                  <a16:creationId xmlns:a16="http://schemas.microsoft.com/office/drawing/2014/main" id="{142156CD-211A-444B-8A75-5FAEB8DAE7FF}"/>
                </a:ext>
              </a:extLst>
            </p:cNvPr>
            <p:cNvSpPr>
              <a:spLocks/>
            </p:cNvSpPr>
            <p:nvPr/>
          </p:nvSpPr>
          <p:spPr bwMode="auto">
            <a:xfrm>
              <a:off x="4761121" y="2785962"/>
              <a:ext cx="204385" cy="96996"/>
            </a:xfrm>
            <a:custGeom>
              <a:avLst/>
              <a:gdLst>
                <a:gd name="T0" fmla="*/ 86 w 118"/>
                <a:gd name="T1" fmla="*/ 56 h 56"/>
                <a:gd name="T2" fmla="*/ 86 w 118"/>
                <a:gd name="T3" fmla="*/ 48 h 56"/>
                <a:gd name="T4" fmla="*/ 84 w 118"/>
                <a:gd name="T5" fmla="*/ 46 h 56"/>
                <a:gd name="T6" fmla="*/ 80 w 118"/>
                <a:gd name="T7" fmla="*/ 42 h 56"/>
                <a:gd name="T8" fmla="*/ 72 w 118"/>
                <a:gd name="T9" fmla="*/ 38 h 56"/>
                <a:gd name="T10" fmla="*/ 62 w 118"/>
                <a:gd name="T11" fmla="*/ 34 h 56"/>
                <a:gd name="T12" fmla="*/ 56 w 118"/>
                <a:gd name="T13" fmla="*/ 34 h 56"/>
                <a:gd name="T14" fmla="*/ 50 w 118"/>
                <a:gd name="T15" fmla="*/ 36 h 56"/>
                <a:gd name="T16" fmla="*/ 46 w 118"/>
                <a:gd name="T17" fmla="*/ 40 h 56"/>
                <a:gd name="T18" fmla="*/ 34 w 118"/>
                <a:gd name="T19" fmla="*/ 48 h 56"/>
                <a:gd name="T20" fmla="*/ 28 w 118"/>
                <a:gd name="T21" fmla="*/ 52 h 56"/>
                <a:gd name="T22" fmla="*/ 24 w 118"/>
                <a:gd name="T23" fmla="*/ 54 h 56"/>
                <a:gd name="T24" fmla="*/ 12 w 118"/>
                <a:gd name="T25" fmla="*/ 54 h 56"/>
                <a:gd name="T26" fmla="*/ 2 w 118"/>
                <a:gd name="T27" fmla="*/ 50 h 56"/>
                <a:gd name="T28" fmla="*/ 0 w 118"/>
                <a:gd name="T29" fmla="*/ 38 h 56"/>
                <a:gd name="T30" fmla="*/ 0 w 118"/>
                <a:gd name="T31" fmla="*/ 30 h 56"/>
                <a:gd name="T32" fmla="*/ 2 w 118"/>
                <a:gd name="T33" fmla="*/ 26 h 56"/>
                <a:gd name="T34" fmla="*/ 6 w 118"/>
                <a:gd name="T35" fmla="*/ 22 h 56"/>
                <a:gd name="T36" fmla="*/ 8 w 118"/>
                <a:gd name="T37" fmla="*/ 18 h 56"/>
                <a:gd name="T38" fmla="*/ 10 w 118"/>
                <a:gd name="T39" fmla="*/ 18 h 56"/>
                <a:gd name="T40" fmla="*/ 14 w 118"/>
                <a:gd name="T41" fmla="*/ 20 h 56"/>
                <a:gd name="T42" fmla="*/ 16 w 118"/>
                <a:gd name="T43" fmla="*/ 22 h 56"/>
                <a:gd name="T44" fmla="*/ 20 w 118"/>
                <a:gd name="T45" fmla="*/ 32 h 56"/>
                <a:gd name="T46" fmla="*/ 22 w 118"/>
                <a:gd name="T47" fmla="*/ 34 h 56"/>
                <a:gd name="T48" fmla="*/ 26 w 118"/>
                <a:gd name="T49" fmla="*/ 36 h 56"/>
                <a:gd name="T50" fmla="*/ 32 w 118"/>
                <a:gd name="T51" fmla="*/ 36 h 56"/>
                <a:gd name="T52" fmla="*/ 36 w 118"/>
                <a:gd name="T53" fmla="*/ 36 h 56"/>
                <a:gd name="T54" fmla="*/ 38 w 118"/>
                <a:gd name="T55" fmla="*/ 34 h 56"/>
                <a:gd name="T56" fmla="*/ 40 w 118"/>
                <a:gd name="T57" fmla="*/ 28 h 56"/>
                <a:gd name="T58" fmla="*/ 42 w 118"/>
                <a:gd name="T59" fmla="*/ 20 h 56"/>
                <a:gd name="T60" fmla="*/ 40 w 118"/>
                <a:gd name="T61" fmla="*/ 18 h 56"/>
                <a:gd name="T62" fmla="*/ 38 w 118"/>
                <a:gd name="T63" fmla="*/ 16 h 56"/>
                <a:gd name="T64" fmla="*/ 30 w 118"/>
                <a:gd name="T65" fmla="*/ 14 h 56"/>
                <a:gd name="T66" fmla="*/ 28 w 118"/>
                <a:gd name="T67" fmla="*/ 14 h 56"/>
                <a:gd name="T68" fmla="*/ 26 w 118"/>
                <a:gd name="T69" fmla="*/ 8 h 56"/>
                <a:gd name="T70" fmla="*/ 28 w 118"/>
                <a:gd name="T71" fmla="*/ 2 h 56"/>
                <a:gd name="T72" fmla="*/ 40 w 118"/>
                <a:gd name="T73" fmla="*/ 0 h 56"/>
                <a:gd name="T74" fmla="*/ 50 w 118"/>
                <a:gd name="T75" fmla="*/ 0 h 56"/>
                <a:gd name="T76" fmla="*/ 54 w 118"/>
                <a:gd name="T77" fmla="*/ 0 h 56"/>
                <a:gd name="T78" fmla="*/ 58 w 118"/>
                <a:gd name="T79" fmla="*/ 4 h 56"/>
                <a:gd name="T80" fmla="*/ 64 w 118"/>
                <a:gd name="T81" fmla="*/ 10 h 56"/>
                <a:gd name="T82" fmla="*/ 66 w 118"/>
                <a:gd name="T83" fmla="*/ 12 h 56"/>
                <a:gd name="T84" fmla="*/ 74 w 118"/>
                <a:gd name="T85" fmla="*/ 14 h 56"/>
                <a:gd name="T86" fmla="*/ 92 w 118"/>
                <a:gd name="T87" fmla="*/ 14 h 56"/>
                <a:gd name="T88" fmla="*/ 116 w 118"/>
                <a:gd name="T89" fmla="*/ 36 h 56"/>
                <a:gd name="T90" fmla="*/ 110 w 118"/>
                <a:gd name="T91" fmla="*/ 40 h 56"/>
                <a:gd name="T92" fmla="*/ 106 w 118"/>
                <a:gd name="T93" fmla="*/ 42 h 56"/>
                <a:gd name="T94" fmla="*/ 104 w 118"/>
                <a:gd name="T95" fmla="*/ 40 h 56"/>
                <a:gd name="T96" fmla="*/ 98 w 118"/>
                <a:gd name="T97" fmla="*/ 38 h 56"/>
                <a:gd name="T98" fmla="*/ 94 w 118"/>
                <a:gd name="T99" fmla="*/ 36 h 56"/>
                <a:gd name="T100" fmla="*/ 92 w 118"/>
                <a:gd name="T101" fmla="*/ 38 h 56"/>
                <a:gd name="T102" fmla="*/ 90 w 118"/>
                <a:gd name="T103" fmla="*/ 40 h 56"/>
                <a:gd name="T104" fmla="*/ 88 w 118"/>
                <a:gd name="T105" fmla="*/ 48 h 56"/>
                <a:gd name="T106" fmla="*/ 86 w 118"/>
                <a:gd name="T10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8" h="56">
                  <a:moveTo>
                    <a:pt x="86" y="56"/>
                  </a:moveTo>
                  <a:lnTo>
                    <a:pt x="86" y="56"/>
                  </a:lnTo>
                  <a:lnTo>
                    <a:pt x="86" y="56"/>
                  </a:lnTo>
                  <a:lnTo>
                    <a:pt x="86" y="52"/>
                  </a:lnTo>
                  <a:lnTo>
                    <a:pt x="86" y="50"/>
                  </a:lnTo>
                  <a:lnTo>
                    <a:pt x="86" y="48"/>
                  </a:lnTo>
                  <a:lnTo>
                    <a:pt x="86" y="48"/>
                  </a:lnTo>
                  <a:lnTo>
                    <a:pt x="84" y="46"/>
                  </a:lnTo>
                  <a:lnTo>
                    <a:pt x="84" y="46"/>
                  </a:lnTo>
                  <a:lnTo>
                    <a:pt x="82" y="44"/>
                  </a:lnTo>
                  <a:lnTo>
                    <a:pt x="82" y="42"/>
                  </a:lnTo>
                  <a:lnTo>
                    <a:pt x="80" y="42"/>
                  </a:lnTo>
                  <a:lnTo>
                    <a:pt x="78" y="40"/>
                  </a:lnTo>
                  <a:lnTo>
                    <a:pt x="76" y="40"/>
                  </a:lnTo>
                  <a:lnTo>
                    <a:pt x="72" y="38"/>
                  </a:lnTo>
                  <a:lnTo>
                    <a:pt x="68" y="36"/>
                  </a:lnTo>
                  <a:lnTo>
                    <a:pt x="64" y="36"/>
                  </a:lnTo>
                  <a:lnTo>
                    <a:pt x="62" y="34"/>
                  </a:lnTo>
                  <a:lnTo>
                    <a:pt x="60" y="34"/>
                  </a:lnTo>
                  <a:lnTo>
                    <a:pt x="58" y="34"/>
                  </a:lnTo>
                  <a:lnTo>
                    <a:pt x="56" y="34"/>
                  </a:lnTo>
                  <a:lnTo>
                    <a:pt x="54" y="34"/>
                  </a:lnTo>
                  <a:lnTo>
                    <a:pt x="52" y="36"/>
                  </a:lnTo>
                  <a:lnTo>
                    <a:pt x="50" y="36"/>
                  </a:lnTo>
                  <a:lnTo>
                    <a:pt x="48" y="38"/>
                  </a:lnTo>
                  <a:lnTo>
                    <a:pt x="48" y="38"/>
                  </a:lnTo>
                  <a:lnTo>
                    <a:pt x="46" y="40"/>
                  </a:lnTo>
                  <a:lnTo>
                    <a:pt x="42" y="42"/>
                  </a:lnTo>
                  <a:lnTo>
                    <a:pt x="38" y="46"/>
                  </a:lnTo>
                  <a:lnTo>
                    <a:pt x="34" y="48"/>
                  </a:lnTo>
                  <a:lnTo>
                    <a:pt x="32" y="50"/>
                  </a:lnTo>
                  <a:lnTo>
                    <a:pt x="30" y="52"/>
                  </a:lnTo>
                  <a:lnTo>
                    <a:pt x="28" y="52"/>
                  </a:lnTo>
                  <a:lnTo>
                    <a:pt x="26" y="52"/>
                  </a:lnTo>
                  <a:lnTo>
                    <a:pt x="26" y="52"/>
                  </a:lnTo>
                  <a:lnTo>
                    <a:pt x="24" y="54"/>
                  </a:lnTo>
                  <a:lnTo>
                    <a:pt x="20" y="54"/>
                  </a:lnTo>
                  <a:lnTo>
                    <a:pt x="16" y="54"/>
                  </a:lnTo>
                  <a:lnTo>
                    <a:pt x="12" y="54"/>
                  </a:lnTo>
                  <a:lnTo>
                    <a:pt x="6" y="54"/>
                  </a:lnTo>
                  <a:lnTo>
                    <a:pt x="2" y="54"/>
                  </a:lnTo>
                  <a:lnTo>
                    <a:pt x="2" y="50"/>
                  </a:lnTo>
                  <a:lnTo>
                    <a:pt x="2" y="48"/>
                  </a:lnTo>
                  <a:lnTo>
                    <a:pt x="0" y="44"/>
                  </a:lnTo>
                  <a:lnTo>
                    <a:pt x="0" y="38"/>
                  </a:lnTo>
                  <a:lnTo>
                    <a:pt x="0" y="34"/>
                  </a:lnTo>
                  <a:lnTo>
                    <a:pt x="0" y="32"/>
                  </a:lnTo>
                  <a:lnTo>
                    <a:pt x="0" y="30"/>
                  </a:lnTo>
                  <a:lnTo>
                    <a:pt x="0" y="30"/>
                  </a:lnTo>
                  <a:lnTo>
                    <a:pt x="0" y="28"/>
                  </a:lnTo>
                  <a:lnTo>
                    <a:pt x="2" y="26"/>
                  </a:lnTo>
                  <a:lnTo>
                    <a:pt x="2" y="26"/>
                  </a:lnTo>
                  <a:lnTo>
                    <a:pt x="4" y="24"/>
                  </a:lnTo>
                  <a:lnTo>
                    <a:pt x="6" y="22"/>
                  </a:lnTo>
                  <a:lnTo>
                    <a:pt x="6" y="20"/>
                  </a:lnTo>
                  <a:lnTo>
                    <a:pt x="8" y="20"/>
                  </a:lnTo>
                  <a:lnTo>
                    <a:pt x="8" y="18"/>
                  </a:lnTo>
                  <a:lnTo>
                    <a:pt x="10" y="18"/>
                  </a:lnTo>
                  <a:lnTo>
                    <a:pt x="10" y="18"/>
                  </a:lnTo>
                  <a:lnTo>
                    <a:pt x="10" y="18"/>
                  </a:lnTo>
                  <a:lnTo>
                    <a:pt x="12" y="18"/>
                  </a:lnTo>
                  <a:lnTo>
                    <a:pt x="12" y="18"/>
                  </a:lnTo>
                  <a:lnTo>
                    <a:pt x="14" y="20"/>
                  </a:lnTo>
                  <a:lnTo>
                    <a:pt x="14" y="20"/>
                  </a:lnTo>
                  <a:lnTo>
                    <a:pt x="14" y="22"/>
                  </a:lnTo>
                  <a:lnTo>
                    <a:pt x="16" y="22"/>
                  </a:lnTo>
                  <a:lnTo>
                    <a:pt x="16" y="26"/>
                  </a:lnTo>
                  <a:lnTo>
                    <a:pt x="18" y="28"/>
                  </a:lnTo>
                  <a:lnTo>
                    <a:pt x="20" y="32"/>
                  </a:lnTo>
                  <a:lnTo>
                    <a:pt x="20" y="32"/>
                  </a:lnTo>
                  <a:lnTo>
                    <a:pt x="20" y="34"/>
                  </a:lnTo>
                  <a:lnTo>
                    <a:pt x="22" y="34"/>
                  </a:lnTo>
                  <a:lnTo>
                    <a:pt x="22" y="34"/>
                  </a:lnTo>
                  <a:lnTo>
                    <a:pt x="24" y="36"/>
                  </a:lnTo>
                  <a:lnTo>
                    <a:pt x="26" y="36"/>
                  </a:lnTo>
                  <a:lnTo>
                    <a:pt x="28" y="36"/>
                  </a:lnTo>
                  <a:lnTo>
                    <a:pt x="30" y="36"/>
                  </a:lnTo>
                  <a:lnTo>
                    <a:pt x="32" y="36"/>
                  </a:lnTo>
                  <a:lnTo>
                    <a:pt x="34" y="36"/>
                  </a:lnTo>
                  <a:lnTo>
                    <a:pt x="36" y="36"/>
                  </a:lnTo>
                  <a:lnTo>
                    <a:pt x="36" y="36"/>
                  </a:lnTo>
                  <a:lnTo>
                    <a:pt x="38" y="34"/>
                  </a:lnTo>
                  <a:lnTo>
                    <a:pt x="38" y="34"/>
                  </a:lnTo>
                  <a:lnTo>
                    <a:pt x="38" y="34"/>
                  </a:lnTo>
                  <a:lnTo>
                    <a:pt x="40" y="32"/>
                  </a:lnTo>
                  <a:lnTo>
                    <a:pt x="40" y="30"/>
                  </a:lnTo>
                  <a:lnTo>
                    <a:pt x="40" y="28"/>
                  </a:lnTo>
                  <a:lnTo>
                    <a:pt x="42" y="26"/>
                  </a:lnTo>
                  <a:lnTo>
                    <a:pt x="42" y="22"/>
                  </a:lnTo>
                  <a:lnTo>
                    <a:pt x="42" y="20"/>
                  </a:lnTo>
                  <a:lnTo>
                    <a:pt x="42" y="20"/>
                  </a:lnTo>
                  <a:lnTo>
                    <a:pt x="40" y="20"/>
                  </a:lnTo>
                  <a:lnTo>
                    <a:pt x="40" y="18"/>
                  </a:lnTo>
                  <a:lnTo>
                    <a:pt x="40" y="18"/>
                  </a:lnTo>
                  <a:lnTo>
                    <a:pt x="38" y="18"/>
                  </a:lnTo>
                  <a:lnTo>
                    <a:pt x="38" y="16"/>
                  </a:lnTo>
                  <a:lnTo>
                    <a:pt x="36" y="16"/>
                  </a:lnTo>
                  <a:lnTo>
                    <a:pt x="32" y="16"/>
                  </a:lnTo>
                  <a:lnTo>
                    <a:pt x="30" y="14"/>
                  </a:lnTo>
                  <a:lnTo>
                    <a:pt x="30" y="14"/>
                  </a:lnTo>
                  <a:lnTo>
                    <a:pt x="30" y="14"/>
                  </a:lnTo>
                  <a:lnTo>
                    <a:pt x="28" y="14"/>
                  </a:lnTo>
                  <a:lnTo>
                    <a:pt x="28" y="12"/>
                  </a:lnTo>
                  <a:lnTo>
                    <a:pt x="28" y="10"/>
                  </a:lnTo>
                  <a:lnTo>
                    <a:pt x="26" y="8"/>
                  </a:lnTo>
                  <a:lnTo>
                    <a:pt x="26" y="4"/>
                  </a:lnTo>
                  <a:lnTo>
                    <a:pt x="24" y="2"/>
                  </a:lnTo>
                  <a:lnTo>
                    <a:pt x="28" y="2"/>
                  </a:lnTo>
                  <a:lnTo>
                    <a:pt x="32" y="2"/>
                  </a:lnTo>
                  <a:lnTo>
                    <a:pt x="36" y="0"/>
                  </a:lnTo>
                  <a:lnTo>
                    <a:pt x="40" y="0"/>
                  </a:lnTo>
                  <a:lnTo>
                    <a:pt x="46" y="0"/>
                  </a:lnTo>
                  <a:lnTo>
                    <a:pt x="48" y="0"/>
                  </a:lnTo>
                  <a:lnTo>
                    <a:pt x="50" y="0"/>
                  </a:lnTo>
                  <a:lnTo>
                    <a:pt x="52" y="0"/>
                  </a:lnTo>
                  <a:lnTo>
                    <a:pt x="52" y="0"/>
                  </a:lnTo>
                  <a:lnTo>
                    <a:pt x="54" y="0"/>
                  </a:lnTo>
                  <a:lnTo>
                    <a:pt x="54" y="0"/>
                  </a:lnTo>
                  <a:lnTo>
                    <a:pt x="56" y="2"/>
                  </a:lnTo>
                  <a:lnTo>
                    <a:pt x="58" y="4"/>
                  </a:lnTo>
                  <a:lnTo>
                    <a:pt x="60" y="6"/>
                  </a:lnTo>
                  <a:lnTo>
                    <a:pt x="62" y="8"/>
                  </a:lnTo>
                  <a:lnTo>
                    <a:pt x="64" y="10"/>
                  </a:lnTo>
                  <a:lnTo>
                    <a:pt x="66" y="12"/>
                  </a:lnTo>
                  <a:lnTo>
                    <a:pt x="66" y="12"/>
                  </a:lnTo>
                  <a:lnTo>
                    <a:pt x="66" y="12"/>
                  </a:lnTo>
                  <a:lnTo>
                    <a:pt x="68" y="12"/>
                  </a:lnTo>
                  <a:lnTo>
                    <a:pt x="70" y="14"/>
                  </a:lnTo>
                  <a:lnTo>
                    <a:pt x="74" y="14"/>
                  </a:lnTo>
                  <a:lnTo>
                    <a:pt x="78" y="14"/>
                  </a:lnTo>
                  <a:lnTo>
                    <a:pt x="84" y="14"/>
                  </a:lnTo>
                  <a:lnTo>
                    <a:pt x="92" y="14"/>
                  </a:lnTo>
                  <a:lnTo>
                    <a:pt x="94" y="14"/>
                  </a:lnTo>
                  <a:lnTo>
                    <a:pt x="118" y="34"/>
                  </a:lnTo>
                  <a:lnTo>
                    <a:pt x="116" y="36"/>
                  </a:lnTo>
                  <a:lnTo>
                    <a:pt x="114" y="38"/>
                  </a:lnTo>
                  <a:lnTo>
                    <a:pt x="112" y="40"/>
                  </a:lnTo>
                  <a:lnTo>
                    <a:pt x="110" y="40"/>
                  </a:lnTo>
                  <a:lnTo>
                    <a:pt x="108" y="42"/>
                  </a:lnTo>
                  <a:lnTo>
                    <a:pt x="108" y="42"/>
                  </a:lnTo>
                  <a:lnTo>
                    <a:pt x="106" y="42"/>
                  </a:lnTo>
                  <a:lnTo>
                    <a:pt x="106" y="42"/>
                  </a:lnTo>
                  <a:lnTo>
                    <a:pt x="104" y="42"/>
                  </a:lnTo>
                  <a:lnTo>
                    <a:pt x="104" y="40"/>
                  </a:lnTo>
                  <a:lnTo>
                    <a:pt x="102" y="40"/>
                  </a:lnTo>
                  <a:lnTo>
                    <a:pt x="100" y="38"/>
                  </a:lnTo>
                  <a:lnTo>
                    <a:pt x="98" y="38"/>
                  </a:lnTo>
                  <a:lnTo>
                    <a:pt x="96" y="36"/>
                  </a:lnTo>
                  <a:lnTo>
                    <a:pt x="94" y="36"/>
                  </a:lnTo>
                  <a:lnTo>
                    <a:pt x="94" y="36"/>
                  </a:lnTo>
                  <a:lnTo>
                    <a:pt x="92" y="36"/>
                  </a:lnTo>
                  <a:lnTo>
                    <a:pt x="92" y="36"/>
                  </a:lnTo>
                  <a:lnTo>
                    <a:pt x="92" y="38"/>
                  </a:lnTo>
                  <a:lnTo>
                    <a:pt x="90" y="38"/>
                  </a:lnTo>
                  <a:lnTo>
                    <a:pt x="90" y="40"/>
                  </a:lnTo>
                  <a:lnTo>
                    <a:pt x="90" y="40"/>
                  </a:lnTo>
                  <a:lnTo>
                    <a:pt x="88" y="42"/>
                  </a:lnTo>
                  <a:lnTo>
                    <a:pt x="88" y="44"/>
                  </a:lnTo>
                  <a:lnTo>
                    <a:pt x="88" y="48"/>
                  </a:lnTo>
                  <a:lnTo>
                    <a:pt x="86" y="50"/>
                  </a:lnTo>
                  <a:lnTo>
                    <a:pt x="86" y="54"/>
                  </a:lnTo>
                  <a:lnTo>
                    <a:pt x="86" y="5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8" name="Freeform 256">
              <a:extLst>
                <a:ext uri="{FF2B5EF4-FFF2-40B4-BE49-F238E27FC236}">
                  <a16:creationId xmlns:a16="http://schemas.microsoft.com/office/drawing/2014/main" id="{760C775E-5BAE-44D2-8257-A671D874F8AF}"/>
                </a:ext>
              </a:extLst>
            </p:cNvPr>
            <p:cNvSpPr>
              <a:spLocks/>
            </p:cNvSpPr>
            <p:nvPr/>
          </p:nvSpPr>
          <p:spPr bwMode="auto">
            <a:xfrm>
              <a:off x="4792298" y="3302121"/>
              <a:ext cx="138566" cy="107389"/>
            </a:xfrm>
            <a:custGeom>
              <a:avLst/>
              <a:gdLst>
                <a:gd name="T0" fmla="*/ 44 w 80"/>
                <a:gd name="T1" fmla="*/ 54 h 62"/>
                <a:gd name="T2" fmla="*/ 40 w 80"/>
                <a:gd name="T3" fmla="*/ 54 h 62"/>
                <a:gd name="T4" fmla="*/ 36 w 80"/>
                <a:gd name="T5" fmla="*/ 58 h 62"/>
                <a:gd name="T6" fmla="*/ 32 w 80"/>
                <a:gd name="T7" fmla="*/ 62 h 62"/>
                <a:gd name="T8" fmla="*/ 28 w 80"/>
                <a:gd name="T9" fmla="*/ 62 h 62"/>
                <a:gd name="T10" fmla="*/ 20 w 80"/>
                <a:gd name="T11" fmla="*/ 58 h 62"/>
                <a:gd name="T12" fmla="*/ 16 w 80"/>
                <a:gd name="T13" fmla="*/ 58 h 62"/>
                <a:gd name="T14" fmla="*/ 10 w 80"/>
                <a:gd name="T15" fmla="*/ 46 h 62"/>
                <a:gd name="T16" fmla="*/ 8 w 80"/>
                <a:gd name="T17" fmla="*/ 36 h 62"/>
                <a:gd name="T18" fmla="*/ 8 w 80"/>
                <a:gd name="T19" fmla="*/ 32 h 62"/>
                <a:gd name="T20" fmla="*/ 2 w 80"/>
                <a:gd name="T21" fmla="*/ 22 h 62"/>
                <a:gd name="T22" fmla="*/ 0 w 80"/>
                <a:gd name="T23" fmla="*/ 16 h 62"/>
                <a:gd name="T24" fmla="*/ 0 w 80"/>
                <a:gd name="T25" fmla="*/ 12 h 62"/>
                <a:gd name="T26" fmla="*/ 0 w 80"/>
                <a:gd name="T27" fmla="*/ 10 h 62"/>
                <a:gd name="T28" fmla="*/ 6 w 80"/>
                <a:gd name="T29" fmla="*/ 6 h 62"/>
                <a:gd name="T30" fmla="*/ 12 w 80"/>
                <a:gd name="T31" fmla="*/ 2 h 62"/>
                <a:gd name="T32" fmla="*/ 16 w 80"/>
                <a:gd name="T33" fmla="*/ 6 h 62"/>
                <a:gd name="T34" fmla="*/ 18 w 80"/>
                <a:gd name="T35" fmla="*/ 6 h 62"/>
                <a:gd name="T36" fmla="*/ 18 w 80"/>
                <a:gd name="T37" fmla="*/ 2 h 62"/>
                <a:gd name="T38" fmla="*/ 20 w 80"/>
                <a:gd name="T39" fmla="*/ 0 h 62"/>
                <a:gd name="T40" fmla="*/ 24 w 80"/>
                <a:gd name="T41" fmla="*/ 0 h 62"/>
                <a:gd name="T42" fmla="*/ 32 w 80"/>
                <a:gd name="T43" fmla="*/ 2 h 62"/>
                <a:gd name="T44" fmla="*/ 38 w 80"/>
                <a:gd name="T45" fmla="*/ 6 h 62"/>
                <a:gd name="T46" fmla="*/ 38 w 80"/>
                <a:gd name="T47" fmla="*/ 8 h 62"/>
                <a:gd name="T48" fmla="*/ 40 w 80"/>
                <a:gd name="T49" fmla="*/ 14 h 62"/>
                <a:gd name="T50" fmla="*/ 40 w 80"/>
                <a:gd name="T51" fmla="*/ 18 h 62"/>
                <a:gd name="T52" fmla="*/ 42 w 80"/>
                <a:gd name="T53" fmla="*/ 18 h 62"/>
                <a:gd name="T54" fmla="*/ 46 w 80"/>
                <a:gd name="T55" fmla="*/ 18 h 62"/>
                <a:gd name="T56" fmla="*/ 58 w 80"/>
                <a:gd name="T57" fmla="*/ 16 h 62"/>
                <a:gd name="T58" fmla="*/ 76 w 80"/>
                <a:gd name="T59" fmla="*/ 14 h 62"/>
                <a:gd name="T60" fmla="*/ 80 w 80"/>
                <a:gd name="T61" fmla="*/ 20 h 62"/>
                <a:gd name="T62" fmla="*/ 80 w 80"/>
                <a:gd name="T63" fmla="*/ 26 h 62"/>
                <a:gd name="T64" fmla="*/ 80 w 80"/>
                <a:gd name="T65" fmla="*/ 30 h 62"/>
                <a:gd name="T66" fmla="*/ 76 w 80"/>
                <a:gd name="T67" fmla="*/ 36 h 62"/>
                <a:gd name="T68" fmla="*/ 72 w 80"/>
                <a:gd name="T69" fmla="*/ 40 h 62"/>
                <a:gd name="T70" fmla="*/ 70 w 80"/>
                <a:gd name="T71" fmla="*/ 42 h 62"/>
                <a:gd name="T72" fmla="*/ 70 w 80"/>
                <a:gd name="T73" fmla="*/ 44 h 62"/>
                <a:gd name="T74" fmla="*/ 72 w 80"/>
                <a:gd name="T75" fmla="*/ 48 h 62"/>
                <a:gd name="T76" fmla="*/ 74 w 80"/>
                <a:gd name="T77" fmla="*/ 50 h 62"/>
                <a:gd name="T78" fmla="*/ 74 w 80"/>
                <a:gd name="T79" fmla="*/ 52 h 62"/>
                <a:gd name="T80" fmla="*/ 72 w 80"/>
                <a:gd name="T81" fmla="*/ 52 h 62"/>
                <a:gd name="T82" fmla="*/ 64 w 80"/>
                <a:gd name="T83"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62">
                  <a:moveTo>
                    <a:pt x="60" y="52"/>
                  </a:moveTo>
                  <a:lnTo>
                    <a:pt x="48" y="56"/>
                  </a:lnTo>
                  <a:lnTo>
                    <a:pt x="44" y="54"/>
                  </a:lnTo>
                  <a:lnTo>
                    <a:pt x="42" y="54"/>
                  </a:lnTo>
                  <a:lnTo>
                    <a:pt x="40" y="54"/>
                  </a:lnTo>
                  <a:lnTo>
                    <a:pt x="40" y="54"/>
                  </a:lnTo>
                  <a:lnTo>
                    <a:pt x="38" y="56"/>
                  </a:lnTo>
                  <a:lnTo>
                    <a:pt x="38" y="56"/>
                  </a:lnTo>
                  <a:lnTo>
                    <a:pt x="36" y="58"/>
                  </a:lnTo>
                  <a:lnTo>
                    <a:pt x="34" y="60"/>
                  </a:lnTo>
                  <a:lnTo>
                    <a:pt x="32" y="60"/>
                  </a:lnTo>
                  <a:lnTo>
                    <a:pt x="32" y="62"/>
                  </a:lnTo>
                  <a:lnTo>
                    <a:pt x="30" y="62"/>
                  </a:lnTo>
                  <a:lnTo>
                    <a:pt x="30" y="62"/>
                  </a:lnTo>
                  <a:lnTo>
                    <a:pt x="28" y="62"/>
                  </a:lnTo>
                  <a:lnTo>
                    <a:pt x="26" y="60"/>
                  </a:lnTo>
                  <a:lnTo>
                    <a:pt x="24" y="60"/>
                  </a:lnTo>
                  <a:lnTo>
                    <a:pt x="20" y="58"/>
                  </a:lnTo>
                  <a:lnTo>
                    <a:pt x="18" y="58"/>
                  </a:lnTo>
                  <a:lnTo>
                    <a:pt x="18" y="58"/>
                  </a:lnTo>
                  <a:lnTo>
                    <a:pt x="16" y="58"/>
                  </a:lnTo>
                  <a:lnTo>
                    <a:pt x="14" y="58"/>
                  </a:lnTo>
                  <a:lnTo>
                    <a:pt x="10" y="58"/>
                  </a:lnTo>
                  <a:lnTo>
                    <a:pt x="10" y="46"/>
                  </a:lnTo>
                  <a:lnTo>
                    <a:pt x="10" y="42"/>
                  </a:lnTo>
                  <a:lnTo>
                    <a:pt x="8" y="38"/>
                  </a:lnTo>
                  <a:lnTo>
                    <a:pt x="8" y="36"/>
                  </a:lnTo>
                  <a:lnTo>
                    <a:pt x="8" y="34"/>
                  </a:lnTo>
                  <a:lnTo>
                    <a:pt x="8" y="34"/>
                  </a:lnTo>
                  <a:lnTo>
                    <a:pt x="8" y="32"/>
                  </a:lnTo>
                  <a:lnTo>
                    <a:pt x="4" y="28"/>
                  </a:lnTo>
                  <a:lnTo>
                    <a:pt x="2" y="24"/>
                  </a:lnTo>
                  <a:lnTo>
                    <a:pt x="2" y="22"/>
                  </a:lnTo>
                  <a:lnTo>
                    <a:pt x="2" y="20"/>
                  </a:lnTo>
                  <a:lnTo>
                    <a:pt x="0" y="18"/>
                  </a:lnTo>
                  <a:lnTo>
                    <a:pt x="0" y="16"/>
                  </a:lnTo>
                  <a:lnTo>
                    <a:pt x="0" y="16"/>
                  </a:lnTo>
                  <a:lnTo>
                    <a:pt x="0" y="14"/>
                  </a:lnTo>
                  <a:lnTo>
                    <a:pt x="0" y="12"/>
                  </a:lnTo>
                  <a:lnTo>
                    <a:pt x="0" y="12"/>
                  </a:lnTo>
                  <a:lnTo>
                    <a:pt x="0" y="12"/>
                  </a:lnTo>
                  <a:lnTo>
                    <a:pt x="0" y="10"/>
                  </a:lnTo>
                  <a:lnTo>
                    <a:pt x="2" y="8"/>
                  </a:lnTo>
                  <a:lnTo>
                    <a:pt x="4" y="8"/>
                  </a:lnTo>
                  <a:lnTo>
                    <a:pt x="6" y="6"/>
                  </a:lnTo>
                  <a:lnTo>
                    <a:pt x="10" y="2"/>
                  </a:lnTo>
                  <a:lnTo>
                    <a:pt x="12" y="2"/>
                  </a:lnTo>
                  <a:lnTo>
                    <a:pt x="12" y="2"/>
                  </a:lnTo>
                  <a:lnTo>
                    <a:pt x="14" y="4"/>
                  </a:lnTo>
                  <a:lnTo>
                    <a:pt x="16" y="4"/>
                  </a:lnTo>
                  <a:lnTo>
                    <a:pt x="16" y="6"/>
                  </a:lnTo>
                  <a:lnTo>
                    <a:pt x="16" y="6"/>
                  </a:lnTo>
                  <a:lnTo>
                    <a:pt x="16" y="6"/>
                  </a:lnTo>
                  <a:lnTo>
                    <a:pt x="18" y="6"/>
                  </a:lnTo>
                  <a:lnTo>
                    <a:pt x="18" y="4"/>
                  </a:lnTo>
                  <a:lnTo>
                    <a:pt x="18" y="4"/>
                  </a:lnTo>
                  <a:lnTo>
                    <a:pt x="18" y="2"/>
                  </a:lnTo>
                  <a:lnTo>
                    <a:pt x="20" y="0"/>
                  </a:lnTo>
                  <a:lnTo>
                    <a:pt x="20" y="0"/>
                  </a:lnTo>
                  <a:lnTo>
                    <a:pt x="20" y="0"/>
                  </a:lnTo>
                  <a:lnTo>
                    <a:pt x="22" y="0"/>
                  </a:lnTo>
                  <a:lnTo>
                    <a:pt x="22" y="0"/>
                  </a:lnTo>
                  <a:lnTo>
                    <a:pt x="24" y="0"/>
                  </a:lnTo>
                  <a:lnTo>
                    <a:pt x="28" y="0"/>
                  </a:lnTo>
                  <a:lnTo>
                    <a:pt x="30" y="0"/>
                  </a:lnTo>
                  <a:lnTo>
                    <a:pt x="32" y="2"/>
                  </a:lnTo>
                  <a:lnTo>
                    <a:pt x="34" y="2"/>
                  </a:lnTo>
                  <a:lnTo>
                    <a:pt x="36" y="4"/>
                  </a:lnTo>
                  <a:lnTo>
                    <a:pt x="38" y="6"/>
                  </a:lnTo>
                  <a:lnTo>
                    <a:pt x="38" y="6"/>
                  </a:lnTo>
                  <a:lnTo>
                    <a:pt x="38" y="6"/>
                  </a:lnTo>
                  <a:lnTo>
                    <a:pt x="38" y="8"/>
                  </a:lnTo>
                  <a:lnTo>
                    <a:pt x="40" y="10"/>
                  </a:lnTo>
                  <a:lnTo>
                    <a:pt x="40" y="12"/>
                  </a:lnTo>
                  <a:lnTo>
                    <a:pt x="40" y="14"/>
                  </a:lnTo>
                  <a:lnTo>
                    <a:pt x="40" y="16"/>
                  </a:lnTo>
                  <a:lnTo>
                    <a:pt x="40" y="16"/>
                  </a:lnTo>
                  <a:lnTo>
                    <a:pt x="40" y="18"/>
                  </a:lnTo>
                  <a:lnTo>
                    <a:pt x="42" y="18"/>
                  </a:lnTo>
                  <a:lnTo>
                    <a:pt x="42" y="18"/>
                  </a:lnTo>
                  <a:lnTo>
                    <a:pt x="42" y="18"/>
                  </a:lnTo>
                  <a:lnTo>
                    <a:pt x="44" y="18"/>
                  </a:lnTo>
                  <a:lnTo>
                    <a:pt x="44" y="18"/>
                  </a:lnTo>
                  <a:lnTo>
                    <a:pt x="46" y="18"/>
                  </a:lnTo>
                  <a:lnTo>
                    <a:pt x="48" y="18"/>
                  </a:lnTo>
                  <a:lnTo>
                    <a:pt x="52" y="18"/>
                  </a:lnTo>
                  <a:lnTo>
                    <a:pt x="58" y="16"/>
                  </a:lnTo>
                  <a:lnTo>
                    <a:pt x="60" y="16"/>
                  </a:lnTo>
                  <a:lnTo>
                    <a:pt x="62" y="16"/>
                  </a:lnTo>
                  <a:lnTo>
                    <a:pt x="76" y="14"/>
                  </a:lnTo>
                  <a:lnTo>
                    <a:pt x="76" y="16"/>
                  </a:lnTo>
                  <a:lnTo>
                    <a:pt x="78" y="18"/>
                  </a:lnTo>
                  <a:lnTo>
                    <a:pt x="80" y="20"/>
                  </a:lnTo>
                  <a:lnTo>
                    <a:pt x="80" y="22"/>
                  </a:lnTo>
                  <a:lnTo>
                    <a:pt x="80" y="24"/>
                  </a:lnTo>
                  <a:lnTo>
                    <a:pt x="80" y="26"/>
                  </a:lnTo>
                  <a:lnTo>
                    <a:pt x="80" y="28"/>
                  </a:lnTo>
                  <a:lnTo>
                    <a:pt x="80" y="28"/>
                  </a:lnTo>
                  <a:lnTo>
                    <a:pt x="80" y="30"/>
                  </a:lnTo>
                  <a:lnTo>
                    <a:pt x="78" y="32"/>
                  </a:lnTo>
                  <a:lnTo>
                    <a:pt x="78" y="34"/>
                  </a:lnTo>
                  <a:lnTo>
                    <a:pt x="76" y="36"/>
                  </a:lnTo>
                  <a:lnTo>
                    <a:pt x="76" y="36"/>
                  </a:lnTo>
                  <a:lnTo>
                    <a:pt x="74" y="38"/>
                  </a:lnTo>
                  <a:lnTo>
                    <a:pt x="72" y="40"/>
                  </a:lnTo>
                  <a:lnTo>
                    <a:pt x="72" y="40"/>
                  </a:lnTo>
                  <a:lnTo>
                    <a:pt x="72" y="42"/>
                  </a:lnTo>
                  <a:lnTo>
                    <a:pt x="70" y="42"/>
                  </a:lnTo>
                  <a:lnTo>
                    <a:pt x="70" y="44"/>
                  </a:lnTo>
                  <a:lnTo>
                    <a:pt x="70" y="44"/>
                  </a:lnTo>
                  <a:lnTo>
                    <a:pt x="70" y="44"/>
                  </a:lnTo>
                  <a:lnTo>
                    <a:pt x="70" y="46"/>
                  </a:lnTo>
                  <a:lnTo>
                    <a:pt x="72" y="46"/>
                  </a:lnTo>
                  <a:lnTo>
                    <a:pt x="72" y="48"/>
                  </a:lnTo>
                  <a:lnTo>
                    <a:pt x="74" y="48"/>
                  </a:lnTo>
                  <a:lnTo>
                    <a:pt x="74" y="50"/>
                  </a:lnTo>
                  <a:lnTo>
                    <a:pt x="74" y="50"/>
                  </a:lnTo>
                  <a:lnTo>
                    <a:pt x="74" y="50"/>
                  </a:lnTo>
                  <a:lnTo>
                    <a:pt x="74" y="50"/>
                  </a:lnTo>
                  <a:lnTo>
                    <a:pt x="74" y="52"/>
                  </a:lnTo>
                  <a:lnTo>
                    <a:pt x="74" y="52"/>
                  </a:lnTo>
                  <a:lnTo>
                    <a:pt x="72" y="52"/>
                  </a:lnTo>
                  <a:lnTo>
                    <a:pt x="72" y="52"/>
                  </a:lnTo>
                  <a:lnTo>
                    <a:pt x="70" y="52"/>
                  </a:lnTo>
                  <a:lnTo>
                    <a:pt x="68" y="54"/>
                  </a:lnTo>
                  <a:lnTo>
                    <a:pt x="64" y="54"/>
                  </a:lnTo>
                  <a:lnTo>
                    <a:pt x="62" y="52"/>
                  </a:lnTo>
                  <a:lnTo>
                    <a:pt x="60" y="5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9" name="Freeform 257">
              <a:extLst>
                <a:ext uri="{FF2B5EF4-FFF2-40B4-BE49-F238E27FC236}">
                  <a16:creationId xmlns:a16="http://schemas.microsoft.com/office/drawing/2014/main" id="{DDC9C465-C57E-47C9-84D8-0AC3F69AAB42}"/>
                </a:ext>
              </a:extLst>
            </p:cNvPr>
            <p:cNvSpPr>
              <a:spLocks/>
            </p:cNvSpPr>
            <p:nvPr/>
          </p:nvSpPr>
          <p:spPr bwMode="auto">
            <a:xfrm>
              <a:off x="4792298" y="3302121"/>
              <a:ext cx="138566" cy="107389"/>
            </a:xfrm>
            <a:custGeom>
              <a:avLst/>
              <a:gdLst>
                <a:gd name="T0" fmla="*/ 44 w 80"/>
                <a:gd name="T1" fmla="*/ 54 h 62"/>
                <a:gd name="T2" fmla="*/ 40 w 80"/>
                <a:gd name="T3" fmla="*/ 54 h 62"/>
                <a:gd name="T4" fmla="*/ 36 w 80"/>
                <a:gd name="T5" fmla="*/ 58 h 62"/>
                <a:gd name="T6" fmla="*/ 32 w 80"/>
                <a:gd name="T7" fmla="*/ 62 h 62"/>
                <a:gd name="T8" fmla="*/ 28 w 80"/>
                <a:gd name="T9" fmla="*/ 62 h 62"/>
                <a:gd name="T10" fmla="*/ 20 w 80"/>
                <a:gd name="T11" fmla="*/ 58 h 62"/>
                <a:gd name="T12" fmla="*/ 16 w 80"/>
                <a:gd name="T13" fmla="*/ 58 h 62"/>
                <a:gd name="T14" fmla="*/ 10 w 80"/>
                <a:gd name="T15" fmla="*/ 46 h 62"/>
                <a:gd name="T16" fmla="*/ 8 w 80"/>
                <a:gd name="T17" fmla="*/ 36 h 62"/>
                <a:gd name="T18" fmla="*/ 8 w 80"/>
                <a:gd name="T19" fmla="*/ 32 h 62"/>
                <a:gd name="T20" fmla="*/ 2 w 80"/>
                <a:gd name="T21" fmla="*/ 22 h 62"/>
                <a:gd name="T22" fmla="*/ 0 w 80"/>
                <a:gd name="T23" fmla="*/ 16 h 62"/>
                <a:gd name="T24" fmla="*/ 0 w 80"/>
                <a:gd name="T25" fmla="*/ 12 h 62"/>
                <a:gd name="T26" fmla="*/ 0 w 80"/>
                <a:gd name="T27" fmla="*/ 10 h 62"/>
                <a:gd name="T28" fmla="*/ 6 w 80"/>
                <a:gd name="T29" fmla="*/ 6 h 62"/>
                <a:gd name="T30" fmla="*/ 12 w 80"/>
                <a:gd name="T31" fmla="*/ 2 h 62"/>
                <a:gd name="T32" fmla="*/ 16 w 80"/>
                <a:gd name="T33" fmla="*/ 6 h 62"/>
                <a:gd name="T34" fmla="*/ 18 w 80"/>
                <a:gd name="T35" fmla="*/ 6 h 62"/>
                <a:gd name="T36" fmla="*/ 18 w 80"/>
                <a:gd name="T37" fmla="*/ 2 h 62"/>
                <a:gd name="T38" fmla="*/ 20 w 80"/>
                <a:gd name="T39" fmla="*/ 0 h 62"/>
                <a:gd name="T40" fmla="*/ 24 w 80"/>
                <a:gd name="T41" fmla="*/ 0 h 62"/>
                <a:gd name="T42" fmla="*/ 32 w 80"/>
                <a:gd name="T43" fmla="*/ 2 h 62"/>
                <a:gd name="T44" fmla="*/ 38 w 80"/>
                <a:gd name="T45" fmla="*/ 6 h 62"/>
                <a:gd name="T46" fmla="*/ 38 w 80"/>
                <a:gd name="T47" fmla="*/ 8 h 62"/>
                <a:gd name="T48" fmla="*/ 40 w 80"/>
                <a:gd name="T49" fmla="*/ 14 h 62"/>
                <a:gd name="T50" fmla="*/ 40 w 80"/>
                <a:gd name="T51" fmla="*/ 18 h 62"/>
                <a:gd name="T52" fmla="*/ 42 w 80"/>
                <a:gd name="T53" fmla="*/ 18 h 62"/>
                <a:gd name="T54" fmla="*/ 46 w 80"/>
                <a:gd name="T55" fmla="*/ 18 h 62"/>
                <a:gd name="T56" fmla="*/ 58 w 80"/>
                <a:gd name="T57" fmla="*/ 16 h 62"/>
                <a:gd name="T58" fmla="*/ 76 w 80"/>
                <a:gd name="T59" fmla="*/ 14 h 62"/>
                <a:gd name="T60" fmla="*/ 80 w 80"/>
                <a:gd name="T61" fmla="*/ 20 h 62"/>
                <a:gd name="T62" fmla="*/ 80 w 80"/>
                <a:gd name="T63" fmla="*/ 26 h 62"/>
                <a:gd name="T64" fmla="*/ 80 w 80"/>
                <a:gd name="T65" fmla="*/ 30 h 62"/>
                <a:gd name="T66" fmla="*/ 76 w 80"/>
                <a:gd name="T67" fmla="*/ 36 h 62"/>
                <a:gd name="T68" fmla="*/ 72 w 80"/>
                <a:gd name="T69" fmla="*/ 40 h 62"/>
                <a:gd name="T70" fmla="*/ 70 w 80"/>
                <a:gd name="T71" fmla="*/ 42 h 62"/>
                <a:gd name="T72" fmla="*/ 70 w 80"/>
                <a:gd name="T73" fmla="*/ 44 h 62"/>
                <a:gd name="T74" fmla="*/ 72 w 80"/>
                <a:gd name="T75" fmla="*/ 48 h 62"/>
                <a:gd name="T76" fmla="*/ 74 w 80"/>
                <a:gd name="T77" fmla="*/ 50 h 62"/>
                <a:gd name="T78" fmla="*/ 74 w 80"/>
                <a:gd name="T79" fmla="*/ 52 h 62"/>
                <a:gd name="T80" fmla="*/ 72 w 80"/>
                <a:gd name="T81" fmla="*/ 52 h 62"/>
                <a:gd name="T82" fmla="*/ 64 w 80"/>
                <a:gd name="T83"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62">
                  <a:moveTo>
                    <a:pt x="60" y="52"/>
                  </a:moveTo>
                  <a:lnTo>
                    <a:pt x="48" y="56"/>
                  </a:lnTo>
                  <a:lnTo>
                    <a:pt x="44" y="54"/>
                  </a:lnTo>
                  <a:lnTo>
                    <a:pt x="42" y="54"/>
                  </a:lnTo>
                  <a:lnTo>
                    <a:pt x="40" y="54"/>
                  </a:lnTo>
                  <a:lnTo>
                    <a:pt x="40" y="54"/>
                  </a:lnTo>
                  <a:lnTo>
                    <a:pt x="38" y="56"/>
                  </a:lnTo>
                  <a:lnTo>
                    <a:pt x="38" y="56"/>
                  </a:lnTo>
                  <a:lnTo>
                    <a:pt x="36" y="58"/>
                  </a:lnTo>
                  <a:lnTo>
                    <a:pt x="34" y="60"/>
                  </a:lnTo>
                  <a:lnTo>
                    <a:pt x="32" y="60"/>
                  </a:lnTo>
                  <a:lnTo>
                    <a:pt x="32" y="62"/>
                  </a:lnTo>
                  <a:lnTo>
                    <a:pt x="30" y="62"/>
                  </a:lnTo>
                  <a:lnTo>
                    <a:pt x="30" y="62"/>
                  </a:lnTo>
                  <a:lnTo>
                    <a:pt x="28" y="62"/>
                  </a:lnTo>
                  <a:lnTo>
                    <a:pt x="26" y="60"/>
                  </a:lnTo>
                  <a:lnTo>
                    <a:pt x="24" y="60"/>
                  </a:lnTo>
                  <a:lnTo>
                    <a:pt x="20" y="58"/>
                  </a:lnTo>
                  <a:lnTo>
                    <a:pt x="18" y="58"/>
                  </a:lnTo>
                  <a:lnTo>
                    <a:pt x="18" y="58"/>
                  </a:lnTo>
                  <a:lnTo>
                    <a:pt x="16" y="58"/>
                  </a:lnTo>
                  <a:lnTo>
                    <a:pt x="14" y="58"/>
                  </a:lnTo>
                  <a:lnTo>
                    <a:pt x="10" y="58"/>
                  </a:lnTo>
                  <a:lnTo>
                    <a:pt x="10" y="46"/>
                  </a:lnTo>
                  <a:lnTo>
                    <a:pt x="10" y="42"/>
                  </a:lnTo>
                  <a:lnTo>
                    <a:pt x="8" y="38"/>
                  </a:lnTo>
                  <a:lnTo>
                    <a:pt x="8" y="36"/>
                  </a:lnTo>
                  <a:lnTo>
                    <a:pt x="8" y="34"/>
                  </a:lnTo>
                  <a:lnTo>
                    <a:pt x="8" y="34"/>
                  </a:lnTo>
                  <a:lnTo>
                    <a:pt x="8" y="32"/>
                  </a:lnTo>
                  <a:lnTo>
                    <a:pt x="4" y="28"/>
                  </a:lnTo>
                  <a:lnTo>
                    <a:pt x="2" y="24"/>
                  </a:lnTo>
                  <a:lnTo>
                    <a:pt x="2" y="22"/>
                  </a:lnTo>
                  <a:lnTo>
                    <a:pt x="2" y="20"/>
                  </a:lnTo>
                  <a:lnTo>
                    <a:pt x="0" y="18"/>
                  </a:lnTo>
                  <a:lnTo>
                    <a:pt x="0" y="16"/>
                  </a:lnTo>
                  <a:lnTo>
                    <a:pt x="0" y="16"/>
                  </a:lnTo>
                  <a:lnTo>
                    <a:pt x="0" y="14"/>
                  </a:lnTo>
                  <a:lnTo>
                    <a:pt x="0" y="12"/>
                  </a:lnTo>
                  <a:lnTo>
                    <a:pt x="0" y="12"/>
                  </a:lnTo>
                  <a:lnTo>
                    <a:pt x="0" y="12"/>
                  </a:lnTo>
                  <a:lnTo>
                    <a:pt x="0" y="10"/>
                  </a:lnTo>
                  <a:lnTo>
                    <a:pt x="2" y="8"/>
                  </a:lnTo>
                  <a:lnTo>
                    <a:pt x="4" y="8"/>
                  </a:lnTo>
                  <a:lnTo>
                    <a:pt x="6" y="6"/>
                  </a:lnTo>
                  <a:lnTo>
                    <a:pt x="10" y="2"/>
                  </a:lnTo>
                  <a:lnTo>
                    <a:pt x="12" y="2"/>
                  </a:lnTo>
                  <a:lnTo>
                    <a:pt x="12" y="2"/>
                  </a:lnTo>
                  <a:lnTo>
                    <a:pt x="14" y="4"/>
                  </a:lnTo>
                  <a:lnTo>
                    <a:pt x="16" y="4"/>
                  </a:lnTo>
                  <a:lnTo>
                    <a:pt x="16" y="6"/>
                  </a:lnTo>
                  <a:lnTo>
                    <a:pt x="16" y="6"/>
                  </a:lnTo>
                  <a:lnTo>
                    <a:pt x="16" y="6"/>
                  </a:lnTo>
                  <a:lnTo>
                    <a:pt x="18" y="6"/>
                  </a:lnTo>
                  <a:lnTo>
                    <a:pt x="18" y="4"/>
                  </a:lnTo>
                  <a:lnTo>
                    <a:pt x="18" y="4"/>
                  </a:lnTo>
                  <a:lnTo>
                    <a:pt x="18" y="2"/>
                  </a:lnTo>
                  <a:lnTo>
                    <a:pt x="20" y="0"/>
                  </a:lnTo>
                  <a:lnTo>
                    <a:pt x="20" y="0"/>
                  </a:lnTo>
                  <a:lnTo>
                    <a:pt x="20" y="0"/>
                  </a:lnTo>
                  <a:lnTo>
                    <a:pt x="22" y="0"/>
                  </a:lnTo>
                  <a:lnTo>
                    <a:pt x="22" y="0"/>
                  </a:lnTo>
                  <a:lnTo>
                    <a:pt x="24" y="0"/>
                  </a:lnTo>
                  <a:lnTo>
                    <a:pt x="28" y="0"/>
                  </a:lnTo>
                  <a:lnTo>
                    <a:pt x="30" y="0"/>
                  </a:lnTo>
                  <a:lnTo>
                    <a:pt x="32" y="2"/>
                  </a:lnTo>
                  <a:lnTo>
                    <a:pt x="34" y="2"/>
                  </a:lnTo>
                  <a:lnTo>
                    <a:pt x="36" y="4"/>
                  </a:lnTo>
                  <a:lnTo>
                    <a:pt x="38" y="6"/>
                  </a:lnTo>
                  <a:lnTo>
                    <a:pt x="38" y="6"/>
                  </a:lnTo>
                  <a:lnTo>
                    <a:pt x="38" y="6"/>
                  </a:lnTo>
                  <a:lnTo>
                    <a:pt x="38" y="8"/>
                  </a:lnTo>
                  <a:lnTo>
                    <a:pt x="40" y="10"/>
                  </a:lnTo>
                  <a:lnTo>
                    <a:pt x="40" y="12"/>
                  </a:lnTo>
                  <a:lnTo>
                    <a:pt x="40" y="14"/>
                  </a:lnTo>
                  <a:lnTo>
                    <a:pt x="40" y="16"/>
                  </a:lnTo>
                  <a:lnTo>
                    <a:pt x="40" y="16"/>
                  </a:lnTo>
                  <a:lnTo>
                    <a:pt x="40" y="18"/>
                  </a:lnTo>
                  <a:lnTo>
                    <a:pt x="42" y="18"/>
                  </a:lnTo>
                  <a:lnTo>
                    <a:pt x="42" y="18"/>
                  </a:lnTo>
                  <a:lnTo>
                    <a:pt x="42" y="18"/>
                  </a:lnTo>
                  <a:lnTo>
                    <a:pt x="44" y="18"/>
                  </a:lnTo>
                  <a:lnTo>
                    <a:pt x="44" y="18"/>
                  </a:lnTo>
                  <a:lnTo>
                    <a:pt x="46" y="18"/>
                  </a:lnTo>
                  <a:lnTo>
                    <a:pt x="48" y="18"/>
                  </a:lnTo>
                  <a:lnTo>
                    <a:pt x="52" y="18"/>
                  </a:lnTo>
                  <a:lnTo>
                    <a:pt x="58" y="16"/>
                  </a:lnTo>
                  <a:lnTo>
                    <a:pt x="60" y="16"/>
                  </a:lnTo>
                  <a:lnTo>
                    <a:pt x="62" y="16"/>
                  </a:lnTo>
                  <a:lnTo>
                    <a:pt x="76" y="14"/>
                  </a:lnTo>
                  <a:lnTo>
                    <a:pt x="76" y="16"/>
                  </a:lnTo>
                  <a:lnTo>
                    <a:pt x="78" y="18"/>
                  </a:lnTo>
                  <a:lnTo>
                    <a:pt x="80" y="20"/>
                  </a:lnTo>
                  <a:lnTo>
                    <a:pt x="80" y="22"/>
                  </a:lnTo>
                  <a:lnTo>
                    <a:pt x="80" y="24"/>
                  </a:lnTo>
                  <a:lnTo>
                    <a:pt x="80" y="26"/>
                  </a:lnTo>
                  <a:lnTo>
                    <a:pt x="80" y="28"/>
                  </a:lnTo>
                  <a:lnTo>
                    <a:pt x="80" y="28"/>
                  </a:lnTo>
                  <a:lnTo>
                    <a:pt x="80" y="30"/>
                  </a:lnTo>
                  <a:lnTo>
                    <a:pt x="78" y="32"/>
                  </a:lnTo>
                  <a:lnTo>
                    <a:pt x="78" y="34"/>
                  </a:lnTo>
                  <a:lnTo>
                    <a:pt x="76" y="36"/>
                  </a:lnTo>
                  <a:lnTo>
                    <a:pt x="76" y="36"/>
                  </a:lnTo>
                  <a:lnTo>
                    <a:pt x="74" y="38"/>
                  </a:lnTo>
                  <a:lnTo>
                    <a:pt x="72" y="40"/>
                  </a:lnTo>
                  <a:lnTo>
                    <a:pt x="72" y="40"/>
                  </a:lnTo>
                  <a:lnTo>
                    <a:pt x="72" y="42"/>
                  </a:lnTo>
                  <a:lnTo>
                    <a:pt x="70" y="42"/>
                  </a:lnTo>
                  <a:lnTo>
                    <a:pt x="70" y="44"/>
                  </a:lnTo>
                  <a:lnTo>
                    <a:pt x="70" y="44"/>
                  </a:lnTo>
                  <a:lnTo>
                    <a:pt x="70" y="44"/>
                  </a:lnTo>
                  <a:lnTo>
                    <a:pt x="70" y="46"/>
                  </a:lnTo>
                  <a:lnTo>
                    <a:pt x="72" y="46"/>
                  </a:lnTo>
                  <a:lnTo>
                    <a:pt x="72" y="48"/>
                  </a:lnTo>
                  <a:lnTo>
                    <a:pt x="74" y="48"/>
                  </a:lnTo>
                  <a:lnTo>
                    <a:pt x="74" y="50"/>
                  </a:lnTo>
                  <a:lnTo>
                    <a:pt x="74" y="50"/>
                  </a:lnTo>
                  <a:lnTo>
                    <a:pt x="74" y="50"/>
                  </a:lnTo>
                  <a:lnTo>
                    <a:pt x="74" y="50"/>
                  </a:lnTo>
                  <a:lnTo>
                    <a:pt x="74" y="52"/>
                  </a:lnTo>
                  <a:lnTo>
                    <a:pt x="74" y="52"/>
                  </a:lnTo>
                  <a:lnTo>
                    <a:pt x="72" y="52"/>
                  </a:lnTo>
                  <a:lnTo>
                    <a:pt x="72" y="52"/>
                  </a:lnTo>
                  <a:lnTo>
                    <a:pt x="70" y="52"/>
                  </a:lnTo>
                  <a:lnTo>
                    <a:pt x="68" y="54"/>
                  </a:lnTo>
                  <a:lnTo>
                    <a:pt x="64" y="54"/>
                  </a:lnTo>
                  <a:lnTo>
                    <a:pt x="62" y="52"/>
                  </a:lnTo>
                  <a:lnTo>
                    <a:pt x="60" y="5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0" name="Freeform 258">
              <a:extLst>
                <a:ext uri="{FF2B5EF4-FFF2-40B4-BE49-F238E27FC236}">
                  <a16:creationId xmlns:a16="http://schemas.microsoft.com/office/drawing/2014/main" id="{81D4EBB7-1823-4C37-AB10-158582FE0589}"/>
                </a:ext>
              </a:extLst>
            </p:cNvPr>
            <p:cNvSpPr>
              <a:spLocks/>
            </p:cNvSpPr>
            <p:nvPr/>
          </p:nvSpPr>
          <p:spPr bwMode="auto">
            <a:xfrm>
              <a:off x="4802691" y="2758249"/>
              <a:ext cx="121245" cy="51962"/>
            </a:xfrm>
            <a:custGeom>
              <a:avLst/>
              <a:gdLst>
                <a:gd name="T0" fmla="*/ 70 w 70"/>
                <a:gd name="T1" fmla="*/ 30 h 30"/>
                <a:gd name="T2" fmla="*/ 70 w 70"/>
                <a:gd name="T3" fmla="*/ 30 h 30"/>
                <a:gd name="T4" fmla="*/ 68 w 70"/>
                <a:gd name="T5" fmla="*/ 30 h 30"/>
                <a:gd name="T6" fmla="*/ 58 w 70"/>
                <a:gd name="T7" fmla="*/ 30 h 30"/>
                <a:gd name="T8" fmla="*/ 54 w 70"/>
                <a:gd name="T9" fmla="*/ 30 h 30"/>
                <a:gd name="T10" fmla="*/ 50 w 70"/>
                <a:gd name="T11" fmla="*/ 30 h 30"/>
                <a:gd name="T12" fmla="*/ 46 w 70"/>
                <a:gd name="T13" fmla="*/ 30 h 30"/>
                <a:gd name="T14" fmla="*/ 44 w 70"/>
                <a:gd name="T15" fmla="*/ 30 h 30"/>
                <a:gd name="T16" fmla="*/ 42 w 70"/>
                <a:gd name="T17" fmla="*/ 28 h 30"/>
                <a:gd name="T18" fmla="*/ 42 w 70"/>
                <a:gd name="T19" fmla="*/ 28 h 30"/>
                <a:gd name="T20" fmla="*/ 40 w 70"/>
                <a:gd name="T21" fmla="*/ 28 h 30"/>
                <a:gd name="T22" fmla="*/ 40 w 70"/>
                <a:gd name="T23" fmla="*/ 26 h 30"/>
                <a:gd name="T24" fmla="*/ 38 w 70"/>
                <a:gd name="T25" fmla="*/ 24 h 30"/>
                <a:gd name="T26" fmla="*/ 36 w 70"/>
                <a:gd name="T27" fmla="*/ 22 h 30"/>
                <a:gd name="T28" fmla="*/ 34 w 70"/>
                <a:gd name="T29" fmla="*/ 20 h 30"/>
                <a:gd name="T30" fmla="*/ 32 w 70"/>
                <a:gd name="T31" fmla="*/ 18 h 30"/>
                <a:gd name="T32" fmla="*/ 30 w 70"/>
                <a:gd name="T33" fmla="*/ 18 h 30"/>
                <a:gd name="T34" fmla="*/ 30 w 70"/>
                <a:gd name="T35" fmla="*/ 18 h 30"/>
                <a:gd name="T36" fmla="*/ 28 w 70"/>
                <a:gd name="T37" fmla="*/ 16 h 30"/>
                <a:gd name="T38" fmla="*/ 26 w 70"/>
                <a:gd name="T39" fmla="*/ 16 h 30"/>
                <a:gd name="T40" fmla="*/ 26 w 70"/>
                <a:gd name="T41" fmla="*/ 16 h 30"/>
                <a:gd name="T42" fmla="*/ 24 w 70"/>
                <a:gd name="T43" fmla="*/ 16 h 30"/>
                <a:gd name="T44" fmla="*/ 22 w 70"/>
                <a:gd name="T45" fmla="*/ 16 h 30"/>
                <a:gd name="T46" fmla="*/ 16 w 70"/>
                <a:gd name="T47" fmla="*/ 16 h 30"/>
                <a:gd name="T48" fmla="*/ 12 w 70"/>
                <a:gd name="T49" fmla="*/ 18 h 30"/>
                <a:gd name="T50" fmla="*/ 8 w 70"/>
                <a:gd name="T51" fmla="*/ 18 h 30"/>
                <a:gd name="T52" fmla="*/ 4 w 70"/>
                <a:gd name="T53" fmla="*/ 18 h 30"/>
                <a:gd name="T54" fmla="*/ 0 w 70"/>
                <a:gd name="T55" fmla="*/ 20 h 30"/>
                <a:gd name="T56" fmla="*/ 4 w 70"/>
                <a:gd name="T57" fmla="*/ 16 h 30"/>
                <a:gd name="T58" fmla="*/ 8 w 70"/>
                <a:gd name="T59" fmla="*/ 12 h 30"/>
                <a:gd name="T60" fmla="*/ 10 w 70"/>
                <a:gd name="T61" fmla="*/ 10 h 30"/>
                <a:gd name="T62" fmla="*/ 12 w 70"/>
                <a:gd name="T63" fmla="*/ 10 h 30"/>
                <a:gd name="T64" fmla="*/ 16 w 70"/>
                <a:gd name="T65" fmla="*/ 6 h 30"/>
                <a:gd name="T66" fmla="*/ 18 w 70"/>
                <a:gd name="T67" fmla="*/ 4 h 30"/>
                <a:gd name="T68" fmla="*/ 22 w 70"/>
                <a:gd name="T69" fmla="*/ 4 h 30"/>
                <a:gd name="T70" fmla="*/ 24 w 70"/>
                <a:gd name="T71" fmla="*/ 2 h 30"/>
                <a:gd name="T72" fmla="*/ 26 w 70"/>
                <a:gd name="T73" fmla="*/ 0 h 30"/>
                <a:gd name="T74" fmla="*/ 30 w 70"/>
                <a:gd name="T75" fmla="*/ 0 h 30"/>
                <a:gd name="T76" fmla="*/ 30 w 70"/>
                <a:gd name="T77" fmla="*/ 0 h 30"/>
                <a:gd name="T78" fmla="*/ 32 w 70"/>
                <a:gd name="T79" fmla="*/ 0 h 30"/>
                <a:gd name="T80" fmla="*/ 34 w 70"/>
                <a:gd name="T81" fmla="*/ 0 h 30"/>
                <a:gd name="T82" fmla="*/ 34 w 70"/>
                <a:gd name="T83" fmla="*/ 0 h 30"/>
                <a:gd name="T84" fmla="*/ 36 w 70"/>
                <a:gd name="T85" fmla="*/ 0 h 30"/>
                <a:gd name="T86" fmla="*/ 38 w 70"/>
                <a:gd name="T87" fmla="*/ 0 h 30"/>
                <a:gd name="T88" fmla="*/ 42 w 70"/>
                <a:gd name="T89" fmla="*/ 2 h 30"/>
                <a:gd name="T90" fmla="*/ 46 w 70"/>
                <a:gd name="T91" fmla="*/ 4 h 30"/>
                <a:gd name="T92" fmla="*/ 52 w 70"/>
                <a:gd name="T93" fmla="*/ 6 h 30"/>
                <a:gd name="T94" fmla="*/ 54 w 70"/>
                <a:gd name="T95" fmla="*/ 8 h 30"/>
                <a:gd name="T96" fmla="*/ 70 w 70"/>
                <a:gd name="T9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 h="30">
                  <a:moveTo>
                    <a:pt x="70" y="30"/>
                  </a:moveTo>
                  <a:lnTo>
                    <a:pt x="70" y="30"/>
                  </a:lnTo>
                  <a:lnTo>
                    <a:pt x="68" y="30"/>
                  </a:lnTo>
                  <a:lnTo>
                    <a:pt x="58" y="30"/>
                  </a:lnTo>
                  <a:lnTo>
                    <a:pt x="54" y="30"/>
                  </a:lnTo>
                  <a:lnTo>
                    <a:pt x="50" y="30"/>
                  </a:lnTo>
                  <a:lnTo>
                    <a:pt x="46" y="30"/>
                  </a:lnTo>
                  <a:lnTo>
                    <a:pt x="44" y="30"/>
                  </a:lnTo>
                  <a:lnTo>
                    <a:pt x="42" y="28"/>
                  </a:lnTo>
                  <a:lnTo>
                    <a:pt x="42" y="28"/>
                  </a:lnTo>
                  <a:lnTo>
                    <a:pt x="40" y="28"/>
                  </a:lnTo>
                  <a:lnTo>
                    <a:pt x="40" y="26"/>
                  </a:lnTo>
                  <a:lnTo>
                    <a:pt x="38" y="24"/>
                  </a:lnTo>
                  <a:lnTo>
                    <a:pt x="36" y="22"/>
                  </a:lnTo>
                  <a:lnTo>
                    <a:pt x="34" y="20"/>
                  </a:lnTo>
                  <a:lnTo>
                    <a:pt x="32" y="18"/>
                  </a:lnTo>
                  <a:lnTo>
                    <a:pt x="30" y="18"/>
                  </a:lnTo>
                  <a:lnTo>
                    <a:pt x="30" y="18"/>
                  </a:lnTo>
                  <a:lnTo>
                    <a:pt x="28" y="16"/>
                  </a:lnTo>
                  <a:lnTo>
                    <a:pt x="26" y="16"/>
                  </a:lnTo>
                  <a:lnTo>
                    <a:pt x="26" y="16"/>
                  </a:lnTo>
                  <a:lnTo>
                    <a:pt x="24" y="16"/>
                  </a:lnTo>
                  <a:lnTo>
                    <a:pt x="22" y="16"/>
                  </a:lnTo>
                  <a:lnTo>
                    <a:pt x="16" y="16"/>
                  </a:lnTo>
                  <a:lnTo>
                    <a:pt x="12" y="18"/>
                  </a:lnTo>
                  <a:lnTo>
                    <a:pt x="8" y="18"/>
                  </a:lnTo>
                  <a:lnTo>
                    <a:pt x="4" y="18"/>
                  </a:lnTo>
                  <a:lnTo>
                    <a:pt x="0" y="20"/>
                  </a:lnTo>
                  <a:lnTo>
                    <a:pt x="4" y="16"/>
                  </a:lnTo>
                  <a:lnTo>
                    <a:pt x="8" y="12"/>
                  </a:lnTo>
                  <a:lnTo>
                    <a:pt x="10" y="10"/>
                  </a:lnTo>
                  <a:lnTo>
                    <a:pt x="12" y="10"/>
                  </a:lnTo>
                  <a:lnTo>
                    <a:pt x="16" y="6"/>
                  </a:lnTo>
                  <a:lnTo>
                    <a:pt x="18" y="4"/>
                  </a:lnTo>
                  <a:lnTo>
                    <a:pt x="22" y="4"/>
                  </a:lnTo>
                  <a:lnTo>
                    <a:pt x="24" y="2"/>
                  </a:lnTo>
                  <a:lnTo>
                    <a:pt x="26" y="0"/>
                  </a:lnTo>
                  <a:lnTo>
                    <a:pt x="30" y="0"/>
                  </a:lnTo>
                  <a:lnTo>
                    <a:pt x="30" y="0"/>
                  </a:lnTo>
                  <a:lnTo>
                    <a:pt x="32" y="0"/>
                  </a:lnTo>
                  <a:lnTo>
                    <a:pt x="34" y="0"/>
                  </a:lnTo>
                  <a:lnTo>
                    <a:pt x="34" y="0"/>
                  </a:lnTo>
                  <a:lnTo>
                    <a:pt x="36" y="0"/>
                  </a:lnTo>
                  <a:lnTo>
                    <a:pt x="38" y="0"/>
                  </a:lnTo>
                  <a:lnTo>
                    <a:pt x="42" y="2"/>
                  </a:lnTo>
                  <a:lnTo>
                    <a:pt x="46" y="4"/>
                  </a:lnTo>
                  <a:lnTo>
                    <a:pt x="52" y="6"/>
                  </a:lnTo>
                  <a:lnTo>
                    <a:pt x="54" y="8"/>
                  </a:lnTo>
                  <a:lnTo>
                    <a:pt x="70" y="3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1" name="Freeform 259">
              <a:extLst>
                <a:ext uri="{FF2B5EF4-FFF2-40B4-BE49-F238E27FC236}">
                  <a16:creationId xmlns:a16="http://schemas.microsoft.com/office/drawing/2014/main" id="{69203287-36BC-45AD-AD30-6923B97D92B2}"/>
                </a:ext>
              </a:extLst>
            </p:cNvPr>
            <p:cNvSpPr>
              <a:spLocks/>
            </p:cNvSpPr>
            <p:nvPr/>
          </p:nvSpPr>
          <p:spPr bwMode="auto">
            <a:xfrm>
              <a:off x="4802691" y="2758249"/>
              <a:ext cx="121245" cy="51962"/>
            </a:xfrm>
            <a:custGeom>
              <a:avLst/>
              <a:gdLst>
                <a:gd name="T0" fmla="*/ 70 w 70"/>
                <a:gd name="T1" fmla="*/ 30 h 30"/>
                <a:gd name="T2" fmla="*/ 70 w 70"/>
                <a:gd name="T3" fmla="*/ 30 h 30"/>
                <a:gd name="T4" fmla="*/ 68 w 70"/>
                <a:gd name="T5" fmla="*/ 30 h 30"/>
                <a:gd name="T6" fmla="*/ 58 w 70"/>
                <a:gd name="T7" fmla="*/ 30 h 30"/>
                <a:gd name="T8" fmla="*/ 54 w 70"/>
                <a:gd name="T9" fmla="*/ 30 h 30"/>
                <a:gd name="T10" fmla="*/ 50 w 70"/>
                <a:gd name="T11" fmla="*/ 30 h 30"/>
                <a:gd name="T12" fmla="*/ 46 w 70"/>
                <a:gd name="T13" fmla="*/ 30 h 30"/>
                <a:gd name="T14" fmla="*/ 44 w 70"/>
                <a:gd name="T15" fmla="*/ 30 h 30"/>
                <a:gd name="T16" fmla="*/ 42 w 70"/>
                <a:gd name="T17" fmla="*/ 28 h 30"/>
                <a:gd name="T18" fmla="*/ 42 w 70"/>
                <a:gd name="T19" fmla="*/ 28 h 30"/>
                <a:gd name="T20" fmla="*/ 40 w 70"/>
                <a:gd name="T21" fmla="*/ 28 h 30"/>
                <a:gd name="T22" fmla="*/ 40 w 70"/>
                <a:gd name="T23" fmla="*/ 26 h 30"/>
                <a:gd name="T24" fmla="*/ 38 w 70"/>
                <a:gd name="T25" fmla="*/ 24 h 30"/>
                <a:gd name="T26" fmla="*/ 36 w 70"/>
                <a:gd name="T27" fmla="*/ 22 h 30"/>
                <a:gd name="T28" fmla="*/ 34 w 70"/>
                <a:gd name="T29" fmla="*/ 20 h 30"/>
                <a:gd name="T30" fmla="*/ 32 w 70"/>
                <a:gd name="T31" fmla="*/ 18 h 30"/>
                <a:gd name="T32" fmla="*/ 30 w 70"/>
                <a:gd name="T33" fmla="*/ 18 h 30"/>
                <a:gd name="T34" fmla="*/ 30 w 70"/>
                <a:gd name="T35" fmla="*/ 18 h 30"/>
                <a:gd name="T36" fmla="*/ 28 w 70"/>
                <a:gd name="T37" fmla="*/ 16 h 30"/>
                <a:gd name="T38" fmla="*/ 26 w 70"/>
                <a:gd name="T39" fmla="*/ 16 h 30"/>
                <a:gd name="T40" fmla="*/ 26 w 70"/>
                <a:gd name="T41" fmla="*/ 16 h 30"/>
                <a:gd name="T42" fmla="*/ 24 w 70"/>
                <a:gd name="T43" fmla="*/ 16 h 30"/>
                <a:gd name="T44" fmla="*/ 22 w 70"/>
                <a:gd name="T45" fmla="*/ 16 h 30"/>
                <a:gd name="T46" fmla="*/ 16 w 70"/>
                <a:gd name="T47" fmla="*/ 16 h 30"/>
                <a:gd name="T48" fmla="*/ 12 w 70"/>
                <a:gd name="T49" fmla="*/ 18 h 30"/>
                <a:gd name="T50" fmla="*/ 8 w 70"/>
                <a:gd name="T51" fmla="*/ 18 h 30"/>
                <a:gd name="T52" fmla="*/ 4 w 70"/>
                <a:gd name="T53" fmla="*/ 18 h 30"/>
                <a:gd name="T54" fmla="*/ 0 w 70"/>
                <a:gd name="T55" fmla="*/ 20 h 30"/>
                <a:gd name="T56" fmla="*/ 4 w 70"/>
                <a:gd name="T57" fmla="*/ 16 h 30"/>
                <a:gd name="T58" fmla="*/ 8 w 70"/>
                <a:gd name="T59" fmla="*/ 12 h 30"/>
                <a:gd name="T60" fmla="*/ 10 w 70"/>
                <a:gd name="T61" fmla="*/ 10 h 30"/>
                <a:gd name="T62" fmla="*/ 12 w 70"/>
                <a:gd name="T63" fmla="*/ 10 h 30"/>
                <a:gd name="T64" fmla="*/ 16 w 70"/>
                <a:gd name="T65" fmla="*/ 6 h 30"/>
                <a:gd name="T66" fmla="*/ 18 w 70"/>
                <a:gd name="T67" fmla="*/ 4 h 30"/>
                <a:gd name="T68" fmla="*/ 22 w 70"/>
                <a:gd name="T69" fmla="*/ 4 h 30"/>
                <a:gd name="T70" fmla="*/ 24 w 70"/>
                <a:gd name="T71" fmla="*/ 2 h 30"/>
                <a:gd name="T72" fmla="*/ 26 w 70"/>
                <a:gd name="T73" fmla="*/ 0 h 30"/>
                <a:gd name="T74" fmla="*/ 30 w 70"/>
                <a:gd name="T75" fmla="*/ 0 h 30"/>
                <a:gd name="T76" fmla="*/ 30 w 70"/>
                <a:gd name="T77" fmla="*/ 0 h 30"/>
                <a:gd name="T78" fmla="*/ 32 w 70"/>
                <a:gd name="T79" fmla="*/ 0 h 30"/>
                <a:gd name="T80" fmla="*/ 34 w 70"/>
                <a:gd name="T81" fmla="*/ 0 h 30"/>
                <a:gd name="T82" fmla="*/ 34 w 70"/>
                <a:gd name="T83" fmla="*/ 0 h 30"/>
                <a:gd name="T84" fmla="*/ 36 w 70"/>
                <a:gd name="T85" fmla="*/ 0 h 30"/>
                <a:gd name="T86" fmla="*/ 38 w 70"/>
                <a:gd name="T87" fmla="*/ 0 h 30"/>
                <a:gd name="T88" fmla="*/ 42 w 70"/>
                <a:gd name="T89" fmla="*/ 2 h 30"/>
                <a:gd name="T90" fmla="*/ 46 w 70"/>
                <a:gd name="T91" fmla="*/ 4 h 30"/>
                <a:gd name="T92" fmla="*/ 52 w 70"/>
                <a:gd name="T93" fmla="*/ 6 h 30"/>
                <a:gd name="T94" fmla="*/ 54 w 70"/>
                <a:gd name="T95" fmla="*/ 8 h 30"/>
                <a:gd name="T96" fmla="*/ 70 w 70"/>
                <a:gd name="T9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 h="30">
                  <a:moveTo>
                    <a:pt x="70" y="30"/>
                  </a:moveTo>
                  <a:lnTo>
                    <a:pt x="70" y="30"/>
                  </a:lnTo>
                  <a:lnTo>
                    <a:pt x="68" y="30"/>
                  </a:lnTo>
                  <a:lnTo>
                    <a:pt x="58" y="30"/>
                  </a:lnTo>
                  <a:lnTo>
                    <a:pt x="54" y="30"/>
                  </a:lnTo>
                  <a:lnTo>
                    <a:pt x="50" y="30"/>
                  </a:lnTo>
                  <a:lnTo>
                    <a:pt x="46" y="30"/>
                  </a:lnTo>
                  <a:lnTo>
                    <a:pt x="44" y="30"/>
                  </a:lnTo>
                  <a:lnTo>
                    <a:pt x="42" y="28"/>
                  </a:lnTo>
                  <a:lnTo>
                    <a:pt x="42" y="28"/>
                  </a:lnTo>
                  <a:lnTo>
                    <a:pt x="40" y="28"/>
                  </a:lnTo>
                  <a:lnTo>
                    <a:pt x="40" y="26"/>
                  </a:lnTo>
                  <a:lnTo>
                    <a:pt x="38" y="24"/>
                  </a:lnTo>
                  <a:lnTo>
                    <a:pt x="36" y="22"/>
                  </a:lnTo>
                  <a:lnTo>
                    <a:pt x="34" y="20"/>
                  </a:lnTo>
                  <a:lnTo>
                    <a:pt x="32" y="18"/>
                  </a:lnTo>
                  <a:lnTo>
                    <a:pt x="30" y="18"/>
                  </a:lnTo>
                  <a:lnTo>
                    <a:pt x="30" y="18"/>
                  </a:lnTo>
                  <a:lnTo>
                    <a:pt x="28" y="16"/>
                  </a:lnTo>
                  <a:lnTo>
                    <a:pt x="26" y="16"/>
                  </a:lnTo>
                  <a:lnTo>
                    <a:pt x="26" y="16"/>
                  </a:lnTo>
                  <a:lnTo>
                    <a:pt x="24" y="16"/>
                  </a:lnTo>
                  <a:lnTo>
                    <a:pt x="22" y="16"/>
                  </a:lnTo>
                  <a:lnTo>
                    <a:pt x="16" y="16"/>
                  </a:lnTo>
                  <a:lnTo>
                    <a:pt x="12" y="18"/>
                  </a:lnTo>
                  <a:lnTo>
                    <a:pt x="8" y="18"/>
                  </a:lnTo>
                  <a:lnTo>
                    <a:pt x="4" y="18"/>
                  </a:lnTo>
                  <a:lnTo>
                    <a:pt x="0" y="20"/>
                  </a:lnTo>
                  <a:lnTo>
                    <a:pt x="4" y="16"/>
                  </a:lnTo>
                  <a:lnTo>
                    <a:pt x="8" y="12"/>
                  </a:lnTo>
                  <a:lnTo>
                    <a:pt x="10" y="10"/>
                  </a:lnTo>
                  <a:lnTo>
                    <a:pt x="12" y="10"/>
                  </a:lnTo>
                  <a:lnTo>
                    <a:pt x="16" y="6"/>
                  </a:lnTo>
                  <a:lnTo>
                    <a:pt x="18" y="4"/>
                  </a:lnTo>
                  <a:lnTo>
                    <a:pt x="22" y="4"/>
                  </a:lnTo>
                  <a:lnTo>
                    <a:pt x="24" y="2"/>
                  </a:lnTo>
                  <a:lnTo>
                    <a:pt x="26" y="0"/>
                  </a:lnTo>
                  <a:lnTo>
                    <a:pt x="30" y="0"/>
                  </a:lnTo>
                  <a:lnTo>
                    <a:pt x="30" y="0"/>
                  </a:lnTo>
                  <a:lnTo>
                    <a:pt x="32" y="0"/>
                  </a:lnTo>
                  <a:lnTo>
                    <a:pt x="34" y="0"/>
                  </a:lnTo>
                  <a:lnTo>
                    <a:pt x="34" y="0"/>
                  </a:lnTo>
                  <a:lnTo>
                    <a:pt x="36" y="0"/>
                  </a:lnTo>
                  <a:lnTo>
                    <a:pt x="38" y="0"/>
                  </a:lnTo>
                  <a:lnTo>
                    <a:pt x="42" y="2"/>
                  </a:lnTo>
                  <a:lnTo>
                    <a:pt x="46" y="4"/>
                  </a:lnTo>
                  <a:lnTo>
                    <a:pt x="52" y="6"/>
                  </a:lnTo>
                  <a:lnTo>
                    <a:pt x="54" y="8"/>
                  </a:lnTo>
                  <a:lnTo>
                    <a:pt x="70" y="3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2" name="Freeform 260">
              <a:extLst>
                <a:ext uri="{FF2B5EF4-FFF2-40B4-BE49-F238E27FC236}">
                  <a16:creationId xmlns:a16="http://schemas.microsoft.com/office/drawing/2014/main" id="{4CF1E3EB-3C6E-447F-A595-45EC3B6C62B0}"/>
                </a:ext>
              </a:extLst>
            </p:cNvPr>
            <p:cNvSpPr>
              <a:spLocks/>
            </p:cNvSpPr>
            <p:nvPr/>
          </p:nvSpPr>
          <p:spPr bwMode="auto">
            <a:xfrm>
              <a:off x="4743800" y="2339087"/>
              <a:ext cx="242491" cy="426090"/>
            </a:xfrm>
            <a:custGeom>
              <a:avLst/>
              <a:gdLst>
                <a:gd name="T0" fmla="*/ 26 w 140"/>
                <a:gd name="T1" fmla="*/ 100 h 246"/>
                <a:gd name="T2" fmla="*/ 30 w 140"/>
                <a:gd name="T3" fmla="*/ 94 h 246"/>
                <a:gd name="T4" fmla="*/ 32 w 140"/>
                <a:gd name="T5" fmla="*/ 86 h 246"/>
                <a:gd name="T6" fmla="*/ 28 w 140"/>
                <a:gd name="T7" fmla="*/ 64 h 246"/>
                <a:gd name="T8" fmla="*/ 26 w 140"/>
                <a:gd name="T9" fmla="*/ 54 h 246"/>
                <a:gd name="T10" fmla="*/ 18 w 140"/>
                <a:gd name="T11" fmla="*/ 46 h 246"/>
                <a:gd name="T12" fmla="*/ 8 w 140"/>
                <a:gd name="T13" fmla="*/ 32 h 246"/>
                <a:gd name="T14" fmla="*/ 28 w 140"/>
                <a:gd name="T15" fmla="*/ 36 h 246"/>
                <a:gd name="T16" fmla="*/ 44 w 140"/>
                <a:gd name="T17" fmla="*/ 36 h 246"/>
                <a:gd name="T18" fmla="*/ 50 w 140"/>
                <a:gd name="T19" fmla="*/ 34 h 246"/>
                <a:gd name="T20" fmla="*/ 54 w 140"/>
                <a:gd name="T21" fmla="*/ 22 h 246"/>
                <a:gd name="T22" fmla="*/ 62 w 140"/>
                <a:gd name="T23" fmla="*/ 10 h 246"/>
                <a:gd name="T24" fmla="*/ 70 w 140"/>
                <a:gd name="T25" fmla="*/ 2 h 246"/>
                <a:gd name="T26" fmla="*/ 78 w 140"/>
                <a:gd name="T27" fmla="*/ 0 h 246"/>
                <a:gd name="T28" fmla="*/ 90 w 140"/>
                <a:gd name="T29" fmla="*/ 6 h 246"/>
                <a:gd name="T30" fmla="*/ 96 w 140"/>
                <a:gd name="T31" fmla="*/ 12 h 246"/>
                <a:gd name="T32" fmla="*/ 94 w 140"/>
                <a:gd name="T33" fmla="*/ 20 h 246"/>
                <a:gd name="T34" fmla="*/ 88 w 140"/>
                <a:gd name="T35" fmla="*/ 34 h 246"/>
                <a:gd name="T36" fmla="*/ 102 w 140"/>
                <a:gd name="T37" fmla="*/ 66 h 246"/>
                <a:gd name="T38" fmla="*/ 106 w 140"/>
                <a:gd name="T39" fmla="*/ 84 h 246"/>
                <a:gd name="T40" fmla="*/ 108 w 140"/>
                <a:gd name="T41" fmla="*/ 100 h 246"/>
                <a:gd name="T42" fmla="*/ 110 w 140"/>
                <a:gd name="T43" fmla="*/ 116 h 246"/>
                <a:gd name="T44" fmla="*/ 120 w 140"/>
                <a:gd name="T45" fmla="*/ 146 h 246"/>
                <a:gd name="T46" fmla="*/ 124 w 140"/>
                <a:gd name="T47" fmla="*/ 156 h 246"/>
                <a:gd name="T48" fmla="*/ 136 w 140"/>
                <a:gd name="T49" fmla="*/ 168 h 246"/>
                <a:gd name="T50" fmla="*/ 126 w 140"/>
                <a:gd name="T51" fmla="*/ 186 h 246"/>
                <a:gd name="T52" fmla="*/ 104 w 140"/>
                <a:gd name="T53" fmla="*/ 210 h 246"/>
                <a:gd name="T54" fmla="*/ 98 w 140"/>
                <a:gd name="T55" fmla="*/ 222 h 246"/>
                <a:gd name="T56" fmla="*/ 98 w 140"/>
                <a:gd name="T57" fmla="*/ 238 h 246"/>
                <a:gd name="T58" fmla="*/ 90 w 140"/>
                <a:gd name="T59" fmla="*/ 232 h 246"/>
                <a:gd name="T60" fmla="*/ 84 w 140"/>
                <a:gd name="T61" fmla="*/ 224 h 246"/>
                <a:gd name="T62" fmla="*/ 78 w 140"/>
                <a:gd name="T63" fmla="*/ 222 h 246"/>
                <a:gd name="T64" fmla="*/ 66 w 140"/>
                <a:gd name="T65" fmla="*/ 226 h 246"/>
                <a:gd name="T66" fmla="*/ 58 w 140"/>
                <a:gd name="T67" fmla="*/ 232 h 246"/>
                <a:gd name="T68" fmla="*/ 52 w 140"/>
                <a:gd name="T69" fmla="*/ 236 h 246"/>
                <a:gd name="T70" fmla="*/ 36 w 140"/>
                <a:gd name="T71" fmla="*/ 236 h 246"/>
                <a:gd name="T72" fmla="*/ 24 w 140"/>
                <a:gd name="T73" fmla="*/ 230 h 246"/>
                <a:gd name="T74" fmla="*/ 12 w 140"/>
                <a:gd name="T75" fmla="*/ 222 h 246"/>
                <a:gd name="T76" fmla="*/ 6 w 140"/>
                <a:gd name="T77" fmla="*/ 204 h 246"/>
                <a:gd name="T78" fmla="*/ 0 w 140"/>
                <a:gd name="T79" fmla="*/ 186 h 246"/>
                <a:gd name="T80" fmla="*/ 2 w 140"/>
                <a:gd name="T81" fmla="*/ 166 h 246"/>
                <a:gd name="T82" fmla="*/ 6 w 140"/>
                <a:gd name="T83" fmla="*/ 160 h 246"/>
                <a:gd name="T84" fmla="*/ 14 w 140"/>
                <a:gd name="T85" fmla="*/ 156 h 246"/>
                <a:gd name="T86" fmla="*/ 24 w 140"/>
                <a:gd name="T87" fmla="*/ 152 h 246"/>
                <a:gd name="T88" fmla="*/ 34 w 140"/>
                <a:gd name="T89" fmla="*/ 142 h 246"/>
                <a:gd name="T90" fmla="*/ 36 w 140"/>
                <a:gd name="T91" fmla="*/ 132 h 246"/>
                <a:gd name="T92" fmla="*/ 38 w 140"/>
                <a:gd name="T93" fmla="*/ 124 h 246"/>
                <a:gd name="T94" fmla="*/ 44 w 140"/>
                <a:gd name="T95" fmla="*/ 124 h 246"/>
                <a:gd name="T96" fmla="*/ 56 w 140"/>
                <a:gd name="T97" fmla="*/ 128 h 246"/>
                <a:gd name="T98" fmla="*/ 60 w 140"/>
                <a:gd name="T99" fmla="*/ 126 h 246"/>
                <a:gd name="T100" fmla="*/ 60 w 140"/>
                <a:gd name="T101" fmla="*/ 120 h 246"/>
                <a:gd name="T102" fmla="*/ 52 w 140"/>
                <a:gd name="T103" fmla="*/ 110 h 246"/>
                <a:gd name="T104" fmla="*/ 44 w 140"/>
                <a:gd name="T105" fmla="*/ 104 h 246"/>
                <a:gd name="T106" fmla="*/ 28 w 140"/>
                <a:gd name="T107" fmla="*/ 10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0" h="246">
                  <a:moveTo>
                    <a:pt x="20" y="102"/>
                  </a:moveTo>
                  <a:lnTo>
                    <a:pt x="20" y="102"/>
                  </a:lnTo>
                  <a:lnTo>
                    <a:pt x="22" y="102"/>
                  </a:lnTo>
                  <a:lnTo>
                    <a:pt x="24" y="100"/>
                  </a:lnTo>
                  <a:lnTo>
                    <a:pt x="26" y="100"/>
                  </a:lnTo>
                  <a:lnTo>
                    <a:pt x="28" y="98"/>
                  </a:lnTo>
                  <a:lnTo>
                    <a:pt x="30" y="98"/>
                  </a:lnTo>
                  <a:lnTo>
                    <a:pt x="30" y="96"/>
                  </a:lnTo>
                  <a:lnTo>
                    <a:pt x="30" y="96"/>
                  </a:lnTo>
                  <a:lnTo>
                    <a:pt x="30" y="94"/>
                  </a:lnTo>
                  <a:lnTo>
                    <a:pt x="32" y="94"/>
                  </a:lnTo>
                  <a:lnTo>
                    <a:pt x="32" y="92"/>
                  </a:lnTo>
                  <a:lnTo>
                    <a:pt x="32" y="90"/>
                  </a:lnTo>
                  <a:lnTo>
                    <a:pt x="32" y="88"/>
                  </a:lnTo>
                  <a:lnTo>
                    <a:pt x="32" y="86"/>
                  </a:lnTo>
                  <a:lnTo>
                    <a:pt x="30" y="80"/>
                  </a:lnTo>
                  <a:lnTo>
                    <a:pt x="30" y="76"/>
                  </a:lnTo>
                  <a:lnTo>
                    <a:pt x="30" y="72"/>
                  </a:lnTo>
                  <a:lnTo>
                    <a:pt x="30" y="68"/>
                  </a:lnTo>
                  <a:lnTo>
                    <a:pt x="28" y="64"/>
                  </a:lnTo>
                  <a:lnTo>
                    <a:pt x="28" y="60"/>
                  </a:lnTo>
                  <a:lnTo>
                    <a:pt x="28" y="56"/>
                  </a:lnTo>
                  <a:lnTo>
                    <a:pt x="28" y="56"/>
                  </a:lnTo>
                  <a:lnTo>
                    <a:pt x="28" y="54"/>
                  </a:lnTo>
                  <a:lnTo>
                    <a:pt x="26" y="54"/>
                  </a:lnTo>
                  <a:lnTo>
                    <a:pt x="26" y="52"/>
                  </a:lnTo>
                  <a:lnTo>
                    <a:pt x="24" y="50"/>
                  </a:lnTo>
                  <a:lnTo>
                    <a:pt x="22" y="50"/>
                  </a:lnTo>
                  <a:lnTo>
                    <a:pt x="18" y="46"/>
                  </a:lnTo>
                  <a:lnTo>
                    <a:pt x="18" y="46"/>
                  </a:lnTo>
                  <a:lnTo>
                    <a:pt x="16" y="44"/>
                  </a:lnTo>
                  <a:lnTo>
                    <a:pt x="14" y="42"/>
                  </a:lnTo>
                  <a:lnTo>
                    <a:pt x="10" y="36"/>
                  </a:lnTo>
                  <a:lnTo>
                    <a:pt x="4" y="32"/>
                  </a:lnTo>
                  <a:lnTo>
                    <a:pt x="8" y="32"/>
                  </a:lnTo>
                  <a:lnTo>
                    <a:pt x="14" y="34"/>
                  </a:lnTo>
                  <a:lnTo>
                    <a:pt x="22" y="36"/>
                  </a:lnTo>
                  <a:lnTo>
                    <a:pt x="26" y="36"/>
                  </a:lnTo>
                  <a:lnTo>
                    <a:pt x="28" y="36"/>
                  </a:lnTo>
                  <a:lnTo>
                    <a:pt x="28" y="36"/>
                  </a:lnTo>
                  <a:lnTo>
                    <a:pt x="34" y="36"/>
                  </a:lnTo>
                  <a:lnTo>
                    <a:pt x="36" y="36"/>
                  </a:lnTo>
                  <a:lnTo>
                    <a:pt x="40" y="36"/>
                  </a:lnTo>
                  <a:lnTo>
                    <a:pt x="42" y="36"/>
                  </a:lnTo>
                  <a:lnTo>
                    <a:pt x="44" y="36"/>
                  </a:lnTo>
                  <a:lnTo>
                    <a:pt x="46" y="36"/>
                  </a:lnTo>
                  <a:lnTo>
                    <a:pt x="48" y="36"/>
                  </a:lnTo>
                  <a:lnTo>
                    <a:pt x="48" y="34"/>
                  </a:lnTo>
                  <a:lnTo>
                    <a:pt x="48" y="34"/>
                  </a:lnTo>
                  <a:lnTo>
                    <a:pt x="50" y="34"/>
                  </a:lnTo>
                  <a:lnTo>
                    <a:pt x="50" y="34"/>
                  </a:lnTo>
                  <a:lnTo>
                    <a:pt x="50" y="32"/>
                  </a:lnTo>
                  <a:lnTo>
                    <a:pt x="52" y="30"/>
                  </a:lnTo>
                  <a:lnTo>
                    <a:pt x="52" y="28"/>
                  </a:lnTo>
                  <a:lnTo>
                    <a:pt x="54" y="22"/>
                  </a:lnTo>
                  <a:lnTo>
                    <a:pt x="54" y="20"/>
                  </a:lnTo>
                  <a:lnTo>
                    <a:pt x="56" y="20"/>
                  </a:lnTo>
                  <a:lnTo>
                    <a:pt x="58" y="16"/>
                  </a:lnTo>
                  <a:lnTo>
                    <a:pt x="60" y="14"/>
                  </a:lnTo>
                  <a:lnTo>
                    <a:pt x="62" y="10"/>
                  </a:lnTo>
                  <a:lnTo>
                    <a:pt x="64" y="8"/>
                  </a:lnTo>
                  <a:lnTo>
                    <a:pt x="66" y="6"/>
                  </a:lnTo>
                  <a:lnTo>
                    <a:pt x="68" y="4"/>
                  </a:lnTo>
                  <a:lnTo>
                    <a:pt x="70" y="2"/>
                  </a:lnTo>
                  <a:lnTo>
                    <a:pt x="70" y="2"/>
                  </a:lnTo>
                  <a:lnTo>
                    <a:pt x="72" y="0"/>
                  </a:lnTo>
                  <a:lnTo>
                    <a:pt x="72" y="0"/>
                  </a:lnTo>
                  <a:lnTo>
                    <a:pt x="74" y="0"/>
                  </a:lnTo>
                  <a:lnTo>
                    <a:pt x="76" y="0"/>
                  </a:lnTo>
                  <a:lnTo>
                    <a:pt x="78" y="0"/>
                  </a:lnTo>
                  <a:lnTo>
                    <a:pt x="78" y="0"/>
                  </a:lnTo>
                  <a:lnTo>
                    <a:pt x="82" y="2"/>
                  </a:lnTo>
                  <a:lnTo>
                    <a:pt x="84" y="2"/>
                  </a:lnTo>
                  <a:lnTo>
                    <a:pt x="88" y="4"/>
                  </a:lnTo>
                  <a:lnTo>
                    <a:pt x="90" y="6"/>
                  </a:lnTo>
                  <a:lnTo>
                    <a:pt x="90" y="8"/>
                  </a:lnTo>
                  <a:lnTo>
                    <a:pt x="92" y="8"/>
                  </a:lnTo>
                  <a:lnTo>
                    <a:pt x="94" y="10"/>
                  </a:lnTo>
                  <a:lnTo>
                    <a:pt x="96" y="12"/>
                  </a:lnTo>
                  <a:lnTo>
                    <a:pt x="96" y="12"/>
                  </a:lnTo>
                  <a:lnTo>
                    <a:pt x="96" y="12"/>
                  </a:lnTo>
                  <a:lnTo>
                    <a:pt x="96" y="14"/>
                  </a:lnTo>
                  <a:lnTo>
                    <a:pt x="96" y="16"/>
                  </a:lnTo>
                  <a:lnTo>
                    <a:pt x="96" y="18"/>
                  </a:lnTo>
                  <a:lnTo>
                    <a:pt x="94" y="20"/>
                  </a:lnTo>
                  <a:lnTo>
                    <a:pt x="94" y="22"/>
                  </a:lnTo>
                  <a:lnTo>
                    <a:pt x="94" y="24"/>
                  </a:lnTo>
                  <a:lnTo>
                    <a:pt x="92" y="28"/>
                  </a:lnTo>
                  <a:lnTo>
                    <a:pt x="90" y="30"/>
                  </a:lnTo>
                  <a:lnTo>
                    <a:pt x="88" y="34"/>
                  </a:lnTo>
                  <a:lnTo>
                    <a:pt x="86" y="36"/>
                  </a:lnTo>
                  <a:lnTo>
                    <a:pt x="102" y="52"/>
                  </a:lnTo>
                  <a:lnTo>
                    <a:pt x="102" y="58"/>
                  </a:lnTo>
                  <a:lnTo>
                    <a:pt x="102" y="64"/>
                  </a:lnTo>
                  <a:lnTo>
                    <a:pt x="102" y="66"/>
                  </a:lnTo>
                  <a:lnTo>
                    <a:pt x="102" y="68"/>
                  </a:lnTo>
                  <a:lnTo>
                    <a:pt x="104" y="70"/>
                  </a:lnTo>
                  <a:lnTo>
                    <a:pt x="104" y="72"/>
                  </a:lnTo>
                  <a:lnTo>
                    <a:pt x="106" y="78"/>
                  </a:lnTo>
                  <a:lnTo>
                    <a:pt x="106" y="84"/>
                  </a:lnTo>
                  <a:lnTo>
                    <a:pt x="108" y="86"/>
                  </a:lnTo>
                  <a:lnTo>
                    <a:pt x="108" y="88"/>
                  </a:lnTo>
                  <a:lnTo>
                    <a:pt x="108" y="90"/>
                  </a:lnTo>
                  <a:lnTo>
                    <a:pt x="108" y="94"/>
                  </a:lnTo>
                  <a:lnTo>
                    <a:pt x="108" y="100"/>
                  </a:lnTo>
                  <a:lnTo>
                    <a:pt x="108" y="106"/>
                  </a:lnTo>
                  <a:lnTo>
                    <a:pt x="108" y="110"/>
                  </a:lnTo>
                  <a:lnTo>
                    <a:pt x="110" y="112"/>
                  </a:lnTo>
                  <a:lnTo>
                    <a:pt x="110" y="114"/>
                  </a:lnTo>
                  <a:lnTo>
                    <a:pt x="110" y="116"/>
                  </a:lnTo>
                  <a:lnTo>
                    <a:pt x="112" y="122"/>
                  </a:lnTo>
                  <a:lnTo>
                    <a:pt x="116" y="132"/>
                  </a:lnTo>
                  <a:lnTo>
                    <a:pt x="118" y="138"/>
                  </a:lnTo>
                  <a:lnTo>
                    <a:pt x="118" y="144"/>
                  </a:lnTo>
                  <a:lnTo>
                    <a:pt x="120" y="146"/>
                  </a:lnTo>
                  <a:lnTo>
                    <a:pt x="120" y="150"/>
                  </a:lnTo>
                  <a:lnTo>
                    <a:pt x="122" y="152"/>
                  </a:lnTo>
                  <a:lnTo>
                    <a:pt x="124" y="154"/>
                  </a:lnTo>
                  <a:lnTo>
                    <a:pt x="124" y="156"/>
                  </a:lnTo>
                  <a:lnTo>
                    <a:pt x="124" y="156"/>
                  </a:lnTo>
                  <a:lnTo>
                    <a:pt x="126" y="160"/>
                  </a:lnTo>
                  <a:lnTo>
                    <a:pt x="128" y="162"/>
                  </a:lnTo>
                  <a:lnTo>
                    <a:pt x="130" y="164"/>
                  </a:lnTo>
                  <a:lnTo>
                    <a:pt x="134" y="166"/>
                  </a:lnTo>
                  <a:lnTo>
                    <a:pt x="136" y="168"/>
                  </a:lnTo>
                  <a:lnTo>
                    <a:pt x="140" y="172"/>
                  </a:lnTo>
                  <a:lnTo>
                    <a:pt x="136" y="176"/>
                  </a:lnTo>
                  <a:lnTo>
                    <a:pt x="132" y="180"/>
                  </a:lnTo>
                  <a:lnTo>
                    <a:pt x="130" y="182"/>
                  </a:lnTo>
                  <a:lnTo>
                    <a:pt x="126" y="186"/>
                  </a:lnTo>
                  <a:lnTo>
                    <a:pt x="122" y="190"/>
                  </a:lnTo>
                  <a:lnTo>
                    <a:pt x="114" y="198"/>
                  </a:lnTo>
                  <a:lnTo>
                    <a:pt x="108" y="206"/>
                  </a:lnTo>
                  <a:lnTo>
                    <a:pt x="106" y="208"/>
                  </a:lnTo>
                  <a:lnTo>
                    <a:pt x="104" y="210"/>
                  </a:lnTo>
                  <a:lnTo>
                    <a:pt x="102" y="212"/>
                  </a:lnTo>
                  <a:lnTo>
                    <a:pt x="100" y="214"/>
                  </a:lnTo>
                  <a:lnTo>
                    <a:pt x="100" y="216"/>
                  </a:lnTo>
                  <a:lnTo>
                    <a:pt x="100" y="218"/>
                  </a:lnTo>
                  <a:lnTo>
                    <a:pt x="98" y="222"/>
                  </a:lnTo>
                  <a:lnTo>
                    <a:pt x="98" y="226"/>
                  </a:lnTo>
                  <a:lnTo>
                    <a:pt x="96" y="228"/>
                  </a:lnTo>
                  <a:lnTo>
                    <a:pt x="96" y="230"/>
                  </a:lnTo>
                  <a:lnTo>
                    <a:pt x="96" y="234"/>
                  </a:lnTo>
                  <a:lnTo>
                    <a:pt x="98" y="238"/>
                  </a:lnTo>
                  <a:lnTo>
                    <a:pt x="98" y="246"/>
                  </a:lnTo>
                  <a:lnTo>
                    <a:pt x="96" y="242"/>
                  </a:lnTo>
                  <a:lnTo>
                    <a:pt x="94" y="238"/>
                  </a:lnTo>
                  <a:lnTo>
                    <a:pt x="92" y="236"/>
                  </a:lnTo>
                  <a:lnTo>
                    <a:pt x="90" y="232"/>
                  </a:lnTo>
                  <a:lnTo>
                    <a:pt x="90" y="230"/>
                  </a:lnTo>
                  <a:lnTo>
                    <a:pt x="88" y="228"/>
                  </a:lnTo>
                  <a:lnTo>
                    <a:pt x="86" y="226"/>
                  </a:lnTo>
                  <a:lnTo>
                    <a:pt x="86" y="224"/>
                  </a:lnTo>
                  <a:lnTo>
                    <a:pt x="84" y="224"/>
                  </a:lnTo>
                  <a:lnTo>
                    <a:pt x="84" y="222"/>
                  </a:lnTo>
                  <a:lnTo>
                    <a:pt x="82" y="222"/>
                  </a:lnTo>
                  <a:lnTo>
                    <a:pt x="82" y="222"/>
                  </a:lnTo>
                  <a:lnTo>
                    <a:pt x="80" y="222"/>
                  </a:lnTo>
                  <a:lnTo>
                    <a:pt x="78" y="222"/>
                  </a:lnTo>
                  <a:lnTo>
                    <a:pt x="76" y="222"/>
                  </a:lnTo>
                  <a:lnTo>
                    <a:pt x="74" y="222"/>
                  </a:lnTo>
                  <a:lnTo>
                    <a:pt x="70" y="224"/>
                  </a:lnTo>
                  <a:lnTo>
                    <a:pt x="68" y="224"/>
                  </a:lnTo>
                  <a:lnTo>
                    <a:pt x="66" y="226"/>
                  </a:lnTo>
                  <a:lnTo>
                    <a:pt x="64" y="226"/>
                  </a:lnTo>
                  <a:lnTo>
                    <a:pt x="62" y="228"/>
                  </a:lnTo>
                  <a:lnTo>
                    <a:pt x="62" y="228"/>
                  </a:lnTo>
                  <a:lnTo>
                    <a:pt x="60" y="230"/>
                  </a:lnTo>
                  <a:lnTo>
                    <a:pt x="58" y="232"/>
                  </a:lnTo>
                  <a:lnTo>
                    <a:pt x="58" y="234"/>
                  </a:lnTo>
                  <a:lnTo>
                    <a:pt x="56" y="234"/>
                  </a:lnTo>
                  <a:lnTo>
                    <a:pt x="56" y="236"/>
                  </a:lnTo>
                  <a:lnTo>
                    <a:pt x="54" y="236"/>
                  </a:lnTo>
                  <a:lnTo>
                    <a:pt x="52" y="236"/>
                  </a:lnTo>
                  <a:lnTo>
                    <a:pt x="50" y="236"/>
                  </a:lnTo>
                  <a:lnTo>
                    <a:pt x="46" y="236"/>
                  </a:lnTo>
                  <a:lnTo>
                    <a:pt x="42" y="236"/>
                  </a:lnTo>
                  <a:lnTo>
                    <a:pt x="40" y="236"/>
                  </a:lnTo>
                  <a:lnTo>
                    <a:pt x="36" y="236"/>
                  </a:lnTo>
                  <a:lnTo>
                    <a:pt x="32" y="234"/>
                  </a:lnTo>
                  <a:lnTo>
                    <a:pt x="30" y="234"/>
                  </a:lnTo>
                  <a:lnTo>
                    <a:pt x="28" y="232"/>
                  </a:lnTo>
                  <a:lnTo>
                    <a:pt x="26" y="232"/>
                  </a:lnTo>
                  <a:lnTo>
                    <a:pt x="24" y="230"/>
                  </a:lnTo>
                  <a:lnTo>
                    <a:pt x="20" y="228"/>
                  </a:lnTo>
                  <a:lnTo>
                    <a:pt x="18" y="226"/>
                  </a:lnTo>
                  <a:lnTo>
                    <a:pt x="16" y="224"/>
                  </a:lnTo>
                  <a:lnTo>
                    <a:pt x="14" y="222"/>
                  </a:lnTo>
                  <a:lnTo>
                    <a:pt x="12" y="222"/>
                  </a:lnTo>
                  <a:lnTo>
                    <a:pt x="12" y="220"/>
                  </a:lnTo>
                  <a:lnTo>
                    <a:pt x="10" y="218"/>
                  </a:lnTo>
                  <a:lnTo>
                    <a:pt x="10" y="216"/>
                  </a:lnTo>
                  <a:lnTo>
                    <a:pt x="8" y="214"/>
                  </a:lnTo>
                  <a:lnTo>
                    <a:pt x="6" y="204"/>
                  </a:lnTo>
                  <a:lnTo>
                    <a:pt x="2" y="196"/>
                  </a:lnTo>
                  <a:lnTo>
                    <a:pt x="2" y="192"/>
                  </a:lnTo>
                  <a:lnTo>
                    <a:pt x="2" y="190"/>
                  </a:lnTo>
                  <a:lnTo>
                    <a:pt x="2" y="188"/>
                  </a:lnTo>
                  <a:lnTo>
                    <a:pt x="0" y="186"/>
                  </a:lnTo>
                  <a:lnTo>
                    <a:pt x="0" y="182"/>
                  </a:lnTo>
                  <a:lnTo>
                    <a:pt x="0" y="178"/>
                  </a:lnTo>
                  <a:lnTo>
                    <a:pt x="2" y="174"/>
                  </a:lnTo>
                  <a:lnTo>
                    <a:pt x="2" y="170"/>
                  </a:lnTo>
                  <a:lnTo>
                    <a:pt x="2" y="166"/>
                  </a:lnTo>
                  <a:lnTo>
                    <a:pt x="2" y="164"/>
                  </a:lnTo>
                  <a:lnTo>
                    <a:pt x="4" y="164"/>
                  </a:lnTo>
                  <a:lnTo>
                    <a:pt x="4" y="162"/>
                  </a:lnTo>
                  <a:lnTo>
                    <a:pt x="4" y="160"/>
                  </a:lnTo>
                  <a:lnTo>
                    <a:pt x="6" y="160"/>
                  </a:lnTo>
                  <a:lnTo>
                    <a:pt x="6" y="160"/>
                  </a:lnTo>
                  <a:lnTo>
                    <a:pt x="8" y="158"/>
                  </a:lnTo>
                  <a:lnTo>
                    <a:pt x="8" y="158"/>
                  </a:lnTo>
                  <a:lnTo>
                    <a:pt x="10" y="158"/>
                  </a:lnTo>
                  <a:lnTo>
                    <a:pt x="14" y="156"/>
                  </a:lnTo>
                  <a:lnTo>
                    <a:pt x="18" y="154"/>
                  </a:lnTo>
                  <a:lnTo>
                    <a:pt x="20" y="154"/>
                  </a:lnTo>
                  <a:lnTo>
                    <a:pt x="22" y="154"/>
                  </a:lnTo>
                  <a:lnTo>
                    <a:pt x="22" y="154"/>
                  </a:lnTo>
                  <a:lnTo>
                    <a:pt x="24" y="152"/>
                  </a:lnTo>
                  <a:lnTo>
                    <a:pt x="26" y="150"/>
                  </a:lnTo>
                  <a:lnTo>
                    <a:pt x="30" y="148"/>
                  </a:lnTo>
                  <a:lnTo>
                    <a:pt x="32" y="146"/>
                  </a:lnTo>
                  <a:lnTo>
                    <a:pt x="32" y="144"/>
                  </a:lnTo>
                  <a:lnTo>
                    <a:pt x="34" y="142"/>
                  </a:lnTo>
                  <a:lnTo>
                    <a:pt x="34" y="140"/>
                  </a:lnTo>
                  <a:lnTo>
                    <a:pt x="36" y="140"/>
                  </a:lnTo>
                  <a:lnTo>
                    <a:pt x="36" y="138"/>
                  </a:lnTo>
                  <a:lnTo>
                    <a:pt x="36" y="136"/>
                  </a:lnTo>
                  <a:lnTo>
                    <a:pt x="36" y="132"/>
                  </a:lnTo>
                  <a:lnTo>
                    <a:pt x="36" y="130"/>
                  </a:lnTo>
                  <a:lnTo>
                    <a:pt x="38" y="128"/>
                  </a:lnTo>
                  <a:lnTo>
                    <a:pt x="38" y="126"/>
                  </a:lnTo>
                  <a:lnTo>
                    <a:pt x="38" y="126"/>
                  </a:lnTo>
                  <a:lnTo>
                    <a:pt x="38" y="124"/>
                  </a:lnTo>
                  <a:lnTo>
                    <a:pt x="38" y="124"/>
                  </a:lnTo>
                  <a:lnTo>
                    <a:pt x="40" y="124"/>
                  </a:lnTo>
                  <a:lnTo>
                    <a:pt x="40" y="124"/>
                  </a:lnTo>
                  <a:lnTo>
                    <a:pt x="42" y="124"/>
                  </a:lnTo>
                  <a:lnTo>
                    <a:pt x="44" y="124"/>
                  </a:lnTo>
                  <a:lnTo>
                    <a:pt x="46" y="124"/>
                  </a:lnTo>
                  <a:lnTo>
                    <a:pt x="50" y="126"/>
                  </a:lnTo>
                  <a:lnTo>
                    <a:pt x="54" y="126"/>
                  </a:lnTo>
                  <a:lnTo>
                    <a:pt x="54" y="128"/>
                  </a:lnTo>
                  <a:lnTo>
                    <a:pt x="56" y="128"/>
                  </a:lnTo>
                  <a:lnTo>
                    <a:pt x="58" y="128"/>
                  </a:lnTo>
                  <a:lnTo>
                    <a:pt x="58" y="128"/>
                  </a:lnTo>
                  <a:lnTo>
                    <a:pt x="60" y="128"/>
                  </a:lnTo>
                  <a:lnTo>
                    <a:pt x="60" y="126"/>
                  </a:lnTo>
                  <a:lnTo>
                    <a:pt x="60" y="126"/>
                  </a:lnTo>
                  <a:lnTo>
                    <a:pt x="60" y="126"/>
                  </a:lnTo>
                  <a:lnTo>
                    <a:pt x="60" y="124"/>
                  </a:lnTo>
                  <a:lnTo>
                    <a:pt x="60" y="122"/>
                  </a:lnTo>
                  <a:lnTo>
                    <a:pt x="60" y="122"/>
                  </a:lnTo>
                  <a:lnTo>
                    <a:pt x="60" y="120"/>
                  </a:lnTo>
                  <a:lnTo>
                    <a:pt x="60" y="118"/>
                  </a:lnTo>
                  <a:lnTo>
                    <a:pt x="58" y="116"/>
                  </a:lnTo>
                  <a:lnTo>
                    <a:pt x="58" y="116"/>
                  </a:lnTo>
                  <a:lnTo>
                    <a:pt x="54" y="112"/>
                  </a:lnTo>
                  <a:lnTo>
                    <a:pt x="52" y="110"/>
                  </a:lnTo>
                  <a:lnTo>
                    <a:pt x="50" y="106"/>
                  </a:lnTo>
                  <a:lnTo>
                    <a:pt x="48" y="106"/>
                  </a:lnTo>
                  <a:lnTo>
                    <a:pt x="48" y="106"/>
                  </a:lnTo>
                  <a:lnTo>
                    <a:pt x="46" y="104"/>
                  </a:lnTo>
                  <a:lnTo>
                    <a:pt x="44" y="104"/>
                  </a:lnTo>
                  <a:lnTo>
                    <a:pt x="42" y="104"/>
                  </a:lnTo>
                  <a:lnTo>
                    <a:pt x="40" y="104"/>
                  </a:lnTo>
                  <a:lnTo>
                    <a:pt x="36" y="102"/>
                  </a:lnTo>
                  <a:lnTo>
                    <a:pt x="32" y="102"/>
                  </a:lnTo>
                  <a:lnTo>
                    <a:pt x="28" y="102"/>
                  </a:lnTo>
                  <a:lnTo>
                    <a:pt x="24" y="102"/>
                  </a:lnTo>
                  <a:lnTo>
                    <a:pt x="20" y="10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3" name="Freeform 261">
              <a:extLst>
                <a:ext uri="{FF2B5EF4-FFF2-40B4-BE49-F238E27FC236}">
                  <a16:creationId xmlns:a16="http://schemas.microsoft.com/office/drawing/2014/main" id="{2D54B3B9-6D22-478C-932A-709AF7EB9888}"/>
                </a:ext>
              </a:extLst>
            </p:cNvPr>
            <p:cNvSpPr>
              <a:spLocks/>
            </p:cNvSpPr>
            <p:nvPr/>
          </p:nvSpPr>
          <p:spPr bwMode="auto">
            <a:xfrm>
              <a:off x="4743800" y="2339087"/>
              <a:ext cx="242491" cy="426090"/>
            </a:xfrm>
            <a:custGeom>
              <a:avLst/>
              <a:gdLst>
                <a:gd name="T0" fmla="*/ 26 w 140"/>
                <a:gd name="T1" fmla="*/ 100 h 246"/>
                <a:gd name="T2" fmla="*/ 30 w 140"/>
                <a:gd name="T3" fmla="*/ 94 h 246"/>
                <a:gd name="T4" fmla="*/ 32 w 140"/>
                <a:gd name="T5" fmla="*/ 86 h 246"/>
                <a:gd name="T6" fmla="*/ 28 w 140"/>
                <a:gd name="T7" fmla="*/ 64 h 246"/>
                <a:gd name="T8" fmla="*/ 26 w 140"/>
                <a:gd name="T9" fmla="*/ 54 h 246"/>
                <a:gd name="T10" fmla="*/ 18 w 140"/>
                <a:gd name="T11" fmla="*/ 46 h 246"/>
                <a:gd name="T12" fmla="*/ 8 w 140"/>
                <a:gd name="T13" fmla="*/ 32 h 246"/>
                <a:gd name="T14" fmla="*/ 28 w 140"/>
                <a:gd name="T15" fmla="*/ 36 h 246"/>
                <a:gd name="T16" fmla="*/ 44 w 140"/>
                <a:gd name="T17" fmla="*/ 36 h 246"/>
                <a:gd name="T18" fmla="*/ 50 w 140"/>
                <a:gd name="T19" fmla="*/ 34 h 246"/>
                <a:gd name="T20" fmla="*/ 54 w 140"/>
                <a:gd name="T21" fmla="*/ 22 h 246"/>
                <a:gd name="T22" fmla="*/ 62 w 140"/>
                <a:gd name="T23" fmla="*/ 10 h 246"/>
                <a:gd name="T24" fmla="*/ 70 w 140"/>
                <a:gd name="T25" fmla="*/ 2 h 246"/>
                <a:gd name="T26" fmla="*/ 78 w 140"/>
                <a:gd name="T27" fmla="*/ 0 h 246"/>
                <a:gd name="T28" fmla="*/ 90 w 140"/>
                <a:gd name="T29" fmla="*/ 6 h 246"/>
                <a:gd name="T30" fmla="*/ 96 w 140"/>
                <a:gd name="T31" fmla="*/ 12 h 246"/>
                <a:gd name="T32" fmla="*/ 94 w 140"/>
                <a:gd name="T33" fmla="*/ 20 h 246"/>
                <a:gd name="T34" fmla="*/ 88 w 140"/>
                <a:gd name="T35" fmla="*/ 34 h 246"/>
                <a:gd name="T36" fmla="*/ 102 w 140"/>
                <a:gd name="T37" fmla="*/ 66 h 246"/>
                <a:gd name="T38" fmla="*/ 106 w 140"/>
                <a:gd name="T39" fmla="*/ 84 h 246"/>
                <a:gd name="T40" fmla="*/ 108 w 140"/>
                <a:gd name="T41" fmla="*/ 100 h 246"/>
                <a:gd name="T42" fmla="*/ 110 w 140"/>
                <a:gd name="T43" fmla="*/ 116 h 246"/>
                <a:gd name="T44" fmla="*/ 120 w 140"/>
                <a:gd name="T45" fmla="*/ 146 h 246"/>
                <a:gd name="T46" fmla="*/ 124 w 140"/>
                <a:gd name="T47" fmla="*/ 156 h 246"/>
                <a:gd name="T48" fmla="*/ 136 w 140"/>
                <a:gd name="T49" fmla="*/ 168 h 246"/>
                <a:gd name="T50" fmla="*/ 126 w 140"/>
                <a:gd name="T51" fmla="*/ 186 h 246"/>
                <a:gd name="T52" fmla="*/ 104 w 140"/>
                <a:gd name="T53" fmla="*/ 210 h 246"/>
                <a:gd name="T54" fmla="*/ 98 w 140"/>
                <a:gd name="T55" fmla="*/ 222 h 246"/>
                <a:gd name="T56" fmla="*/ 98 w 140"/>
                <a:gd name="T57" fmla="*/ 238 h 246"/>
                <a:gd name="T58" fmla="*/ 90 w 140"/>
                <a:gd name="T59" fmla="*/ 232 h 246"/>
                <a:gd name="T60" fmla="*/ 84 w 140"/>
                <a:gd name="T61" fmla="*/ 224 h 246"/>
                <a:gd name="T62" fmla="*/ 78 w 140"/>
                <a:gd name="T63" fmla="*/ 222 h 246"/>
                <a:gd name="T64" fmla="*/ 66 w 140"/>
                <a:gd name="T65" fmla="*/ 226 h 246"/>
                <a:gd name="T66" fmla="*/ 58 w 140"/>
                <a:gd name="T67" fmla="*/ 232 h 246"/>
                <a:gd name="T68" fmla="*/ 52 w 140"/>
                <a:gd name="T69" fmla="*/ 236 h 246"/>
                <a:gd name="T70" fmla="*/ 36 w 140"/>
                <a:gd name="T71" fmla="*/ 236 h 246"/>
                <a:gd name="T72" fmla="*/ 24 w 140"/>
                <a:gd name="T73" fmla="*/ 230 h 246"/>
                <a:gd name="T74" fmla="*/ 12 w 140"/>
                <a:gd name="T75" fmla="*/ 222 h 246"/>
                <a:gd name="T76" fmla="*/ 6 w 140"/>
                <a:gd name="T77" fmla="*/ 204 h 246"/>
                <a:gd name="T78" fmla="*/ 0 w 140"/>
                <a:gd name="T79" fmla="*/ 186 h 246"/>
                <a:gd name="T80" fmla="*/ 2 w 140"/>
                <a:gd name="T81" fmla="*/ 166 h 246"/>
                <a:gd name="T82" fmla="*/ 6 w 140"/>
                <a:gd name="T83" fmla="*/ 160 h 246"/>
                <a:gd name="T84" fmla="*/ 14 w 140"/>
                <a:gd name="T85" fmla="*/ 156 h 246"/>
                <a:gd name="T86" fmla="*/ 24 w 140"/>
                <a:gd name="T87" fmla="*/ 152 h 246"/>
                <a:gd name="T88" fmla="*/ 34 w 140"/>
                <a:gd name="T89" fmla="*/ 142 h 246"/>
                <a:gd name="T90" fmla="*/ 36 w 140"/>
                <a:gd name="T91" fmla="*/ 132 h 246"/>
                <a:gd name="T92" fmla="*/ 38 w 140"/>
                <a:gd name="T93" fmla="*/ 124 h 246"/>
                <a:gd name="T94" fmla="*/ 44 w 140"/>
                <a:gd name="T95" fmla="*/ 124 h 246"/>
                <a:gd name="T96" fmla="*/ 56 w 140"/>
                <a:gd name="T97" fmla="*/ 128 h 246"/>
                <a:gd name="T98" fmla="*/ 60 w 140"/>
                <a:gd name="T99" fmla="*/ 126 h 246"/>
                <a:gd name="T100" fmla="*/ 60 w 140"/>
                <a:gd name="T101" fmla="*/ 120 h 246"/>
                <a:gd name="T102" fmla="*/ 52 w 140"/>
                <a:gd name="T103" fmla="*/ 110 h 246"/>
                <a:gd name="T104" fmla="*/ 44 w 140"/>
                <a:gd name="T105" fmla="*/ 104 h 246"/>
                <a:gd name="T106" fmla="*/ 28 w 140"/>
                <a:gd name="T107" fmla="*/ 10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0" h="246">
                  <a:moveTo>
                    <a:pt x="20" y="102"/>
                  </a:moveTo>
                  <a:lnTo>
                    <a:pt x="20" y="102"/>
                  </a:lnTo>
                  <a:lnTo>
                    <a:pt x="22" y="102"/>
                  </a:lnTo>
                  <a:lnTo>
                    <a:pt x="24" y="100"/>
                  </a:lnTo>
                  <a:lnTo>
                    <a:pt x="26" y="100"/>
                  </a:lnTo>
                  <a:lnTo>
                    <a:pt x="28" y="98"/>
                  </a:lnTo>
                  <a:lnTo>
                    <a:pt x="30" y="98"/>
                  </a:lnTo>
                  <a:lnTo>
                    <a:pt x="30" y="96"/>
                  </a:lnTo>
                  <a:lnTo>
                    <a:pt x="30" y="96"/>
                  </a:lnTo>
                  <a:lnTo>
                    <a:pt x="30" y="94"/>
                  </a:lnTo>
                  <a:lnTo>
                    <a:pt x="32" y="94"/>
                  </a:lnTo>
                  <a:lnTo>
                    <a:pt x="32" y="92"/>
                  </a:lnTo>
                  <a:lnTo>
                    <a:pt x="32" y="90"/>
                  </a:lnTo>
                  <a:lnTo>
                    <a:pt x="32" y="88"/>
                  </a:lnTo>
                  <a:lnTo>
                    <a:pt x="32" y="86"/>
                  </a:lnTo>
                  <a:lnTo>
                    <a:pt x="30" y="80"/>
                  </a:lnTo>
                  <a:lnTo>
                    <a:pt x="30" y="76"/>
                  </a:lnTo>
                  <a:lnTo>
                    <a:pt x="30" y="72"/>
                  </a:lnTo>
                  <a:lnTo>
                    <a:pt x="30" y="68"/>
                  </a:lnTo>
                  <a:lnTo>
                    <a:pt x="28" y="64"/>
                  </a:lnTo>
                  <a:lnTo>
                    <a:pt x="28" y="60"/>
                  </a:lnTo>
                  <a:lnTo>
                    <a:pt x="28" y="56"/>
                  </a:lnTo>
                  <a:lnTo>
                    <a:pt x="28" y="56"/>
                  </a:lnTo>
                  <a:lnTo>
                    <a:pt x="28" y="54"/>
                  </a:lnTo>
                  <a:lnTo>
                    <a:pt x="26" y="54"/>
                  </a:lnTo>
                  <a:lnTo>
                    <a:pt x="26" y="52"/>
                  </a:lnTo>
                  <a:lnTo>
                    <a:pt x="24" y="50"/>
                  </a:lnTo>
                  <a:lnTo>
                    <a:pt x="22" y="50"/>
                  </a:lnTo>
                  <a:lnTo>
                    <a:pt x="18" y="46"/>
                  </a:lnTo>
                  <a:lnTo>
                    <a:pt x="18" y="46"/>
                  </a:lnTo>
                  <a:lnTo>
                    <a:pt x="16" y="44"/>
                  </a:lnTo>
                  <a:lnTo>
                    <a:pt x="14" y="42"/>
                  </a:lnTo>
                  <a:lnTo>
                    <a:pt x="10" y="36"/>
                  </a:lnTo>
                  <a:lnTo>
                    <a:pt x="4" y="32"/>
                  </a:lnTo>
                  <a:lnTo>
                    <a:pt x="8" y="32"/>
                  </a:lnTo>
                  <a:lnTo>
                    <a:pt x="14" y="34"/>
                  </a:lnTo>
                  <a:lnTo>
                    <a:pt x="22" y="36"/>
                  </a:lnTo>
                  <a:lnTo>
                    <a:pt x="26" y="36"/>
                  </a:lnTo>
                  <a:lnTo>
                    <a:pt x="28" y="36"/>
                  </a:lnTo>
                  <a:lnTo>
                    <a:pt x="28" y="36"/>
                  </a:lnTo>
                  <a:lnTo>
                    <a:pt x="34" y="36"/>
                  </a:lnTo>
                  <a:lnTo>
                    <a:pt x="36" y="36"/>
                  </a:lnTo>
                  <a:lnTo>
                    <a:pt x="40" y="36"/>
                  </a:lnTo>
                  <a:lnTo>
                    <a:pt x="42" y="36"/>
                  </a:lnTo>
                  <a:lnTo>
                    <a:pt x="44" y="36"/>
                  </a:lnTo>
                  <a:lnTo>
                    <a:pt x="46" y="36"/>
                  </a:lnTo>
                  <a:lnTo>
                    <a:pt x="48" y="36"/>
                  </a:lnTo>
                  <a:lnTo>
                    <a:pt x="48" y="34"/>
                  </a:lnTo>
                  <a:lnTo>
                    <a:pt x="48" y="34"/>
                  </a:lnTo>
                  <a:lnTo>
                    <a:pt x="50" y="34"/>
                  </a:lnTo>
                  <a:lnTo>
                    <a:pt x="50" y="34"/>
                  </a:lnTo>
                  <a:lnTo>
                    <a:pt x="50" y="32"/>
                  </a:lnTo>
                  <a:lnTo>
                    <a:pt x="52" y="30"/>
                  </a:lnTo>
                  <a:lnTo>
                    <a:pt x="52" y="28"/>
                  </a:lnTo>
                  <a:lnTo>
                    <a:pt x="54" y="22"/>
                  </a:lnTo>
                  <a:lnTo>
                    <a:pt x="54" y="20"/>
                  </a:lnTo>
                  <a:lnTo>
                    <a:pt x="56" y="20"/>
                  </a:lnTo>
                  <a:lnTo>
                    <a:pt x="58" y="16"/>
                  </a:lnTo>
                  <a:lnTo>
                    <a:pt x="60" y="14"/>
                  </a:lnTo>
                  <a:lnTo>
                    <a:pt x="62" y="10"/>
                  </a:lnTo>
                  <a:lnTo>
                    <a:pt x="64" y="8"/>
                  </a:lnTo>
                  <a:lnTo>
                    <a:pt x="66" y="6"/>
                  </a:lnTo>
                  <a:lnTo>
                    <a:pt x="68" y="4"/>
                  </a:lnTo>
                  <a:lnTo>
                    <a:pt x="70" y="2"/>
                  </a:lnTo>
                  <a:lnTo>
                    <a:pt x="70" y="2"/>
                  </a:lnTo>
                  <a:lnTo>
                    <a:pt x="72" y="0"/>
                  </a:lnTo>
                  <a:lnTo>
                    <a:pt x="72" y="0"/>
                  </a:lnTo>
                  <a:lnTo>
                    <a:pt x="74" y="0"/>
                  </a:lnTo>
                  <a:lnTo>
                    <a:pt x="76" y="0"/>
                  </a:lnTo>
                  <a:lnTo>
                    <a:pt x="78" y="0"/>
                  </a:lnTo>
                  <a:lnTo>
                    <a:pt x="78" y="0"/>
                  </a:lnTo>
                  <a:lnTo>
                    <a:pt x="82" y="2"/>
                  </a:lnTo>
                  <a:lnTo>
                    <a:pt x="84" y="2"/>
                  </a:lnTo>
                  <a:lnTo>
                    <a:pt x="88" y="4"/>
                  </a:lnTo>
                  <a:lnTo>
                    <a:pt x="90" y="6"/>
                  </a:lnTo>
                  <a:lnTo>
                    <a:pt x="90" y="8"/>
                  </a:lnTo>
                  <a:lnTo>
                    <a:pt x="92" y="8"/>
                  </a:lnTo>
                  <a:lnTo>
                    <a:pt x="94" y="10"/>
                  </a:lnTo>
                  <a:lnTo>
                    <a:pt x="96" y="12"/>
                  </a:lnTo>
                  <a:lnTo>
                    <a:pt x="96" y="12"/>
                  </a:lnTo>
                  <a:lnTo>
                    <a:pt x="96" y="12"/>
                  </a:lnTo>
                  <a:lnTo>
                    <a:pt x="96" y="14"/>
                  </a:lnTo>
                  <a:lnTo>
                    <a:pt x="96" y="16"/>
                  </a:lnTo>
                  <a:lnTo>
                    <a:pt x="96" y="18"/>
                  </a:lnTo>
                  <a:lnTo>
                    <a:pt x="94" y="20"/>
                  </a:lnTo>
                  <a:lnTo>
                    <a:pt x="94" y="22"/>
                  </a:lnTo>
                  <a:lnTo>
                    <a:pt x="94" y="24"/>
                  </a:lnTo>
                  <a:lnTo>
                    <a:pt x="92" y="28"/>
                  </a:lnTo>
                  <a:lnTo>
                    <a:pt x="90" y="30"/>
                  </a:lnTo>
                  <a:lnTo>
                    <a:pt x="88" y="34"/>
                  </a:lnTo>
                  <a:lnTo>
                    <a:pt x="86" y="36"/>
                  </a:lnTo>
                  <a:lnTo>
                    <a:pt x="102" y="52"/>
                  </a:lnTo>
                  <a:lnTo>
                    <a:pt x="102" y="58"/>
                  </a:lnTo>
                  <a:lnTo>
                    <a:pt x="102" y="64"/>
                  </a:lnTo>
                  <a:lnTo>
                    <a:pt x="102" y="66"/>
                  </a:lnTo>
                  <a:lnTo>
                    <a:pt x="102" y="68"/>
                  </a:lnTo>
                  <a:lnTo>
                    <a:pt x="104" y="70"/>
                  </a:lnTo>
                  <a:lnTo>
                    <a:pt x="104" y="72"/>
                  </a:lnTo>
                  <a:lnTo>
                    <a:pt x="106" y="78"/>
                  </a:lnTo>
                  <a:lnTo>
                    <a:pt x="106" y="84"/>
                  </a:lnTo>
                  <a:lnTo>
                    <a:pt x="108" y="86"/>
                  </a:lnTo>
                  <a:lnTo>
                    <a:pt x="108" y="88"/>
                  </a:lnTo>
                  <a:lnTo>
                    <a:pt x="108" y="90"/>
                  </a:lnTo>
                  <a:lnTo>
                    <a:pt x="108" y="94"/>
                  </a:lnTo>
                  <a:lnTo>
                    <a:pt x="108" y="100"/>
                  </a:lnTo>
                  <a:lnTo>
                    <a:pt x="108" y="106"/>
                  </a:lnTo>
                  <a:lnTo>
                    <a:pt x="108" y="110"/>
                  </a:lnTo>
                  <a:lnTo>
                    <a:pt x="110" y="112"/>
                  </a:lnTo>
                  <a:lnTo>
                    <a:pt x="110" y="114"/>
                  </a:lnTo>
                  <a:lnTo>
                    <a:pt x="110" y="116"/>
                  </a:lnTo>
                  <a:lnTo>
                    <a:pt x="112" y="122"/>
                  </a:lnTo>
                  <a:lnTo>
                    <a:pt x="116" y="132"/>
                  </a:lnTo>
                  <a:lnTo>
                    <a:pt x="118" y="138"/>
                  </a:lnTo>
                  <a:lnTo>
                    <a:pt x="118" y="144"/>
                  </a:lnTo>
                  <a:lnTo>
                    <a:pt x="120" y="146"/>
                  </a:lnTo>
                  <a:lnTo>
                    <a:pt x="120" y="150"/>
                  </a:lnTo>
                  <a:lnTo>
                    <a:pt x="122" y="152"/>
                  </a:lnTo>
                  <a:lnTo>
                    <a:pt x="124" y="154"/>
                  </a:lnTo>
                  <a:lnTo>
                    <a:pt x="124" y="156"/>
                  </a:lnTo>
                  <a:lnTo>
                    <a:pt x="124" y="156"/>
                  </a:lnTo>
                  <a:lnTo>
                    <a:pt x="126" y="160"/>
                  </a:lnTo>
                  <a:lnTo>
                    <a:pt x="128" y="162"/>
                  </a:lnTo>
                  <a:lnTo>
                    <a:pt x="130" y="164"/>
                  </a:lnTo>
                  <a:lnTo>
                    <a:pt x="134" y="166"/>
                  </a:lnTo>
                  <a:lnTo>
                    <a:pt x="136" y="168"/>
                  </a:lnTo>
                  <a:lnTo>
                    <a:pt x="140" y="172"/>
                  </a:lnTo>
                  <a:lnTo>
                    <a:pt x="136" y="176"/>
                  </a:lnTo>
                  <a:lnTo>
                    <a:pt x="132" y="180"/>
                  </a:lnTo>
                  <a:lnTo>
                    <a:pt x="130" y="182"/>
                  </a:lnTo>
                  <a:lnTo>
                    <a:pt x="126" y="186"/>
                  </a:lnTo>
                  <a:lnTo>
                    <a:pt x="122" y="190"/>
                  </a:lnTo>
                  <a:lnTo>
                    <a:pt x="114" y="198"/>
                  </a:lnTo>
                  <a:lnTo>
                    <a:pt x="108" y="206"/>
                  </a:lnTo>
                  <a:lnTo>
                    <a:pt x="106" y="208"/>
                  </a:lnTo>
                  <a:lnTo>
                    <a:pt x="104" y="210"/>
                  </a:lnTo>
                  <a:lnTo>
                    <a:pt x="102" y="212"/>
                  </a:lnTo>
                  <a:lnTo>
                    <a:pt x="100" y="214"/>
                  </a:lnTo>
                  <a:lnTo>
                    <a:pt x="100" y="216"/>
                  </a:lnTo>
                  <a:lnTo>
                    <a:pt x="100" y="218"/>
                  </a:lnTo>
                  <a:lnTo>
                    <a:pt x="98" y="222"/>
                  </a:lnTo>
                  <a:lnTo>
                    <a:pt x="98" y="226"/>
                  </a:lnTo>
                  <a:lnTo>
                    <a:pt x="96" y="228"/>
                  </a:lnTo>
                  <a:lnTo>
                    <a:pt x="96" y="230"/>
                  </a:lnTo>
                  <a:lnTo>
                    <a:pt x="96" y="234"/>
                  </a:lnTo>
                  <a:lnTo>
                    <a:pt x="98" y="238"/>
                  </a:lnTo>
                  <a:lnTo>
                    <a:pt x="98" y="246"/>
                  </a:lnTo>
                  <a:lnTo>
                    <a:pt x="96" y="242"/>
                  </a:lnTo>
                  <a:lnTo>
                    <a:pt x="94" y="238"/>
                  </a:lnTo>
                  <a:lnTo>
                    <a:pt x="92" y="236"/>
                  </a:lnTo>
                  <a:lnTo>
                    <a:pt x="90" y="232"/>
                  </a:lnTo>
                  <a:lnTo>
                    <a:pt x="90" y="230"/>
                  </a:lnTo>
                  <a:lnTo>
                    <a:pt x="88" y="228"/>
                  </a:lnTo>
                  <a:lnTo>
                    <a:pt x="86" y="226"/>
                  </a:lnTo>
                  <a:lnTo>
                    <a:pt x="86" y="224"/>
                  </a:lnTo>
                  <a:lnTo>
                    <a:pt x="84" y="224"/>
                  </a:lnTo>
                  <a:lnTo>
                    <a:pt x="84" y="222"/>
                  </a:lnTo>
                  <a:lnTo>
                    <a:pt x="82" y="222"/>
                  </a:lnTo>
                  <a:lnTo>
                    <a:pt x="82" y="222"/>
                  </a:lnTo>
                  <a:lnTo>
                    <a:pt x="80" y="222"/>
                  </a:lnTo>
                  <a:lnTo>
                    <a:pt x="78" y="222"/>
                  </a:lnTo>
                  <a:lnTo>
                    <a:pt x="76" y="222"/>
                  </a:lnTo>
                  <a:lnTo>
                    <a:pt x="74" y="222"/>
                  </a:lnTo>
                  <a:lnTo>
                    <a:pt x="70" y="224"/>
                  </a:lnTo>
                  <a:lnTo>
                    <a:pt x="68" y="224"/>
                  </a:lnTo>
                  <a:lnTo>
                    <a:pt x="66" y="226"/>
                  </a:lnTo>
                  <a:lnTo>
                    <a:pt x="64" y="226"/>
                  </a:lnTo>
                  <a:lnTo>
                    <a:pt x="62" y="228"/>
                  </a:lnTo>
                  <a:lnTo>
                    <a:pt x="62" y="228"/>
                  </a:lnTo>
                  <a:lnTo>
                    <a:pt x="60" y="230"/>
                  </a:lnTo>
                  <a:lnTo>
                    <a:pt x="58" y="232"/>
                  </a:lnTo>
                  <a:lnTo>
                    <a:pt x="58" y="234"/>
                  </a:lnTo>
                  <a:lnTo>
                    <a:pt x="56" y="234"/>
                  </a:lnTo>
                  <a:lnTo>
                    <a:pt x="56" y="236"/>
                  </a:lnTo>
                  <a:lnTo>
                    <a:pt x="54" y="236"/>
                  </a:lnTo>
                  <a:lnTo>
                    <a:pt x="52" y="236"/>
                  </a:lnTo>
                  <a:lnTo>
                    <a:pt x="50" y="236"/>
                  </a:lnTo>
                  <a:lnTo>
                    <a:pt x="46" y="236"/>
                  </a:lnTo>
                  <a:lnTo>
                    <a:pt x="42" y="236"/>
                  </a:lnTo>
                  <a:lnTo>
                    <a:pt x="40" y="236"/>
                  </a:lnTo>
                  <a:lnTo>
                    <a:pt x="36" y="236"/>
                  </a:lnTo>
                  <a:lnTo>
                    <a:pt x="32" y="234"/>
                  </a:lnTo>
                  <a:lnTo>
                    <a:pt x="30" y="234"/>
                  </a:lnTo>
                  <a:lnTo>
                    <a:pt x="28" y="232"/>
                  </a:lnTo>
                  <a:lnTo>
                    <a:pt x="26" y="232"/>
                  </a:lnTo>
                  <a:lnTo>
                    <a:pt x="24" y="230"/>
                  </a:lnTo>
                  <a:lnTo>
                    <a:pt x="20" y="228"/>
                  </a:lnTo>
                  <a:lnTo>
                    <a:pt x="18" y="226"/>
                  </a:lnTo>
                  <a:lnTo>
                    <a:pt x="16" y="224"/>
                  </a:lnTo>
                  <a:lnTo>
                    <a:pt x="14" y="222"/>
                  </a:lnTo>
                  <a:lnTo>
                    <a:pt x="12" y="222"/>
                  </a:lnTo>
                  <a:lnTo>
                    <a:pt x="12" y="220"/>
                  </a:lnTo>
                  <a:lnTo>
                    <a:pt x="10" y="218"/>
                  </a:lnTo>
                  <a:lnTo>
                    <a:pt x="10" y="216"/>
                  </a:lnTo>
                  <a:lnTo>
                    <a:pt x="8" y="214"/>
                  </a:lnTo>
                  <a:lnTo>
                    <a:pt x="6" y="204"/>
                  </a:lnTo>
                  <a:lnTo>
                    <a:pt x="2" y="196"/>
                  </a:lnTo>
                  <a:lnTo>
                    <a:pt x="2" y="192"/>
                  </a:lnTo>
                  <a:lnTo>
                    <a:pt x="2" y="190"/>
                  </a:lnTo>
                  <a:lnTo>
                    <a:pt x="2" y="188"/>
                  </a:lnTo>
                  <a:lnTo>
                    <a:pt x="0" y="186"/>
                  </a:lnTo>
                  <a:lnTo>
                    <a:pt x="0" y="182"/>
                  </a:lnTo>
                  <a:lnTo>
                    <a:pt x="0" y="178"/>
                  </a:lnTo>
                  <a:lnTo>
                    <a:pt x="2" y="174"/>
                  </a:lnTo>
                  <a:lnTo>
                    <a:pt x="2" y="170"/>
                  </a:lnTo>
                  <a:lnTo>
                    <a:pt x="2" y="166"/>
                  </a:lnTo>
                  <a:lnTo>
                    <a:pt x="2" y="164"/>
                  </a:lnTo>
                  <a:lnTo>
                    <a:pt x="4" y="164"/>
                  </a:lnTo>
                  <a:lnTo>
                    <a:pt x="4" y="162"/>
                  </a:lnTo>
                  <a:lnTo>
                    <a:pt x="4" y="160"/>
                  </a:lnTo>
                  <a:lnTo>
                    <a:pt x="6" y="160"/>
                  </a:lnTo>
                  <a:lnTo>
                    <a:pt x="6" y="160"/>
                  </a:lnTo>
                  <a:lnTo>
                    <a:pt x="8" y="158"/>
                  </a:lnTo>
                  <a:lnTo>
                    <a:pt x="8" y="158"/>
                  </a:lnTo>
                  <a:lnTo>
                    <a:pt x="10" y="158"/>
                  </a:lnTo>
                  <a:lnTo>
                    <a:pt x="14" y="156"/>
                  </a:lnTo>
                  <a:lnTo>
                    <a:pt x="18" y="154"/>
                  </a:lnTo>
                  <a:lnTo>
                    <a:pt x="20" y="154"/>
                  </a:lnTo>
                  <a:lnTo>
                    <a:pt x="22" y="154"/>
                  </a:lnTo>
                  <a:lnTo>
                    <a:pt x="22" y="154"/>
                  </a:lnTo>
                  <a:lnTo>
                    <a:pt x="24" y="152"/>
                  </a:lnTo>
                  <a:lnTo>
                    <a:pt x="26" y="150"/>
                  </a:lnTo>
                  <a:lnTo>
                    <a:pt x="30" y="148"/>
                  </a:lnTo>
                  <a:lnTo>
                    <a:pt x="32" y="146"/>
                  </a:lnTo>
                  <a:lnTo>
                    <a:pt x="32" y="144"/>
                  </a:lnTo>
                  <a:lnTo>
                    <a:pt x="34" y="142"/>
                  </a:lnTo>
                  <a:lnTo>
                    <a:pt x="34" y="140"/>
                  </a:lnTo>
                  <a:lnTo>
                    <a:pt x="36" y="140"/>
                  </a:lnTo>
                  <a:lnTo>
                    <a:pt x="36" y="138"/>
                  </a:lnTo>
                  <a:lnTo>
                    <a:pt x="36" y="136"/>
                  </a:lnTo>
                  <a:lnTo>
                    <a:pt x="36" y="132"/>
                  </a:lnTo>
                  <a:lnTo>
                    <a:pt x="36" y="130"/>
                  </a:lnTo>
                  <a:lnTo>
                    <a:pt x="38" y="128"/>
                  </a:lnTo>
                  <a:lnTo>
                    <a:pt x="38" y="126"/>
                  </a:lnTo>
                  <a:lnTo>
                    <a:pt x="38" y="126"/>
                  </a:lnTo>
                  <a:lnTo>
                    <a:pt x="38" y="124"/>
                  </a:lnTo>
                  <a:lnTo>
                    <a:pt x="38" y="124"/>
                  </a:lnTo>
                  <a:lnTo>
                    <a:pt x="40" y="124"/>
                  </a:lnTo>
                  <a:lnTo>
                    <a:pt x="40" y="124"/>
                  </a:lnTo>
                  <a:lnTo>
                    <a:pt x="42" y="124"/>
                  </a:lnTo>
                  <a:lnTo>
                    <a:pt x="44" y="124"/>
                  </a:lnTo>
                  <a:lnTo>
                    <a:pt x="46" y="124"/>
                  </a:lnTo>
                  <a:lnTo>
                    <a:pt x="50" y="126"/>
                  </a:lnTo>
                  <a:lnTo>
                    <a:pt x="54" y="126"/>
                  </a:lnTo>
                  <a:lnTo>
                    <a:pt x="54" y="128"/>
                  </a:lnTo>
                  <a:lnTo>
                    <a:pt x="56" y="128"/>
                  </a:lnTo>
                  <a:lnTo>
                    <a:pt x="58" y="128"/>
                  </a:lnTo>
                  <a:lnTo>
                    <a:pt x="58" y="128"/>
                  </a:lnTo>
                  <a:lnTo>
                    <a:pt x="60" y="128"/>
                  </a:lnTo>
                  <a:lnTo>
                    <a:pt x="60" y="126"/>
                  </a:lnTo>
                  <a:lnTo>
                    <a:pt x="60" y="126"/>
                  </a:lnTo>
                  <a:lnTo>
                    <a:pt x="60" y="126"/>
                  </a:lnTo>
                  <a:lnTo>
                    <a:pt x="60" y="124"/>
                  </a:lnTo>
                  <a:lnTo>
                    <a:pt x="60" y="122"/>
                  </a:lnTo>
                  <a:lnTo>
                    <a:pt x="60" y="122"/>
                  </a:lnTo>
                  <a:lnTo>
                    <a:pt x="60" y="120"/>
                  </a:lnTo>
                  <a:lnTo>
                    <a:pt x="60" y="118"/>
                  </a:lnTo>
                  <a:lnTo>
                    <a:pt x="58" y="116"/>
                  </a:lnTo>
                  <a:lnTo>
                    <a:pt x="58" y="116"/>
                  </a:lnTo>
                  <a:lnTo>
                    <a:pt x="54" y="112"/>
                  </a:lnTo>
                  <a:lnTo>
                    <a:pt x="52" y="110"/>
                  </a:lnTo>
                  <a:lnTo>
                    <a:pt x="50" y="106"/>
                  </a:lnTo>
                  <a:lnTo>
                    <a:pt x="48" y="106"/>
                  </a:lnTo>
                  <a:lnTo>
                    <a:pt x="48" y="106"/>
                  </a:lnTo>
                  <a:lnTo>
                    <a:pt x="46" y="104"/>
                  </a:lnTo>
                  <a:lnTo>
                    <a:pt x="44" y="104"/>
                  </a:lnTo>
                  <a:lnTo>
                    <a:pt x="42" y="104"/>
                  </a:lnTo>
                  <a:lnTo>
                    <a:pt x="40" y="104"/>
                  </a:lnTo>
                  <a:lnTo>
                    <a:pt x="36" y="102"/>
                  </a:lnTo>
                  <a:lnTo>
                    <a:pt x="32" y="102"/>
                  </a:lnTo>
                  <a:lnTo>
                    <a:pt x="28" y="102"/>
                  </a:lnTo>
                  <a:lnTo>
                    <a:pt x="24" y="102"/>
                  </a:lnTo>
                  <a:lnTo>
                    <a:pt x="20" y="10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4" name="Freeform 262">
              <a:extLst>
                <a:ext uri="{FF2B5EF4-FFF2-40B4-BE49-F238E27FC236}">
                  <a16:creationId xmlns:a16="http://schemas.microsoft.com/office/drawing/2014/main" id="{BF96A2A5-AE43-448C-85FF-990C1AA5ACDF}"/>
                </a:ext>
              </a:extLst>
            </p:cNvPr>
            <p:cNvSpPr>
              <a:spLocks/>
            </p:cNvSpPr>
            <p:nvPr/>
          </p:nvSpPr>
          <p:spPr bwMode="auto">
            <a:xfrm>
              <a:off x="4497846" y="3142770"/>
              <a:ext cx="162815" cy="96996"/>
            </a:xfrm>
            <a:custGeom>
              <a:avLst/>
              <a:gdLst>
                <a:gd name="T0" fmla="*/ 2 w 94"/>
                <a:gd name="T1" fmla="*/ 34 h 56"/>
                <a:gd name="T2" fmla="*/ 10 w 94"/>
                <a:gd name="T3" fmla="*/ 36 h 56"/>
                <a:gd name="T4" fmla="*/ 14 w 94"/>
                <a:gd name="T5" fmla="*/ 36 h 56"/>
                <a:gd name="T6" fmla="*/ 24 w 94"/>
                <a:gd name="T7" fmla="*/ 30 h 56"/>
                <a:gd name="T8" fmla="*/ 36 w 94"/>
                <a:gd name="T9" fmla="*/ 24 h 56"/>
                <a:gd name="T10" fmla="*/ 44 w 94"/>
                <a:gd name="T11" fmla="*/ 18 h 56"/>
                <a:gd name="T12" fmla="*/ 46 w 94"/>
                <a:gd name="T13" fmla="*/ 16 h 56"/>
                <a:gd name="T14" fmla="*/ 48 w 94"/>
                <a:gd name="T15" fmla="*/ 10 h 56"/>
                <a:gd name="T16" fmla="*/ 48 w 94"/>
                <a:gd name="T17" fmla="*/ 0 h 56"/>
                <a:gd name="T18" fmla="*/ 54 w 94"/>
                <a:gd name="T19" fmla="*/ 6 h 56"/>
                <a:gd name="T20" fmla="*/ 58 w 94"/>
                <a:gd name="T21" fmla="*/ 10 h 56"/>
                <a:gd name="T22" fmla="*/ 60 w 94"/>
                <a:gd name="T23" fmla="*/ 10 h 56"/>
                <a:gd name="T24" fmla="*/ 66 w 94"/>
                <a:gd name="T25" fmla="*/ 10 h 56"/>
                <a:gd name="T26" fmla="*/ 68 w 94"/>
                <a:gd name="T27" fmla="*/ 10 h 56"/>
                <a:gd name="T28" fmla="*/ 70 w 94"/>
                <a:gd name="T29" fmla="*/ 8 h 56"/>
                <a:gd name="T30" fmla="*/ 70 w 94"/>
                <a:gd name="T31" fmla="*/ 2 h 56"/>
                <a:gd name="T32" fmla="*/ 72 w 94"/>
                <a:gd name="T33" fmla="*/ 0 h 56"/>
                <a:gd name="T34" fmla="*/ 76 w 94"/>
                <a:gd name="T35" fmla="*/ 0 h 56"/>
                <a:gd name="T36" fmla="*/ 82 w 94"/>
                <a:gd name="T37" fmla="*/ 0 h 56"/>
                <a:gd name="T38" fmla="*/ 84 w 94"/>
                <a:gd name="T39" fmla="*/ 2 h 56"/>
                <a:gd name="T40" fmla="*/ 84 w 94"/>
                <a:gd name="T41" fmla="*/ 4 h 56"/>
                <a:gd name="T42" fmla="*/ 84 w 94"/>
                <a:gd name="T43" fmla="*/ 8 h 56"/>
                <a:gd name="T44" fmla="*/ 82 w 94"/>
                <a:gd name="T45" fmla="*/ 10 h 56"/>
                <a:gd name="T46" fmla="*/ 84 w 94"/>
                <a:gd name="T47" fmla="*/ 12 h 56"/>
                <a:gd name="T48" fmla="*/ 88 w 94"/>
                <a:gd name="T49" fmla="*/ 16 h 56"/>
                <a:gd name="T50" fmla="*/ 92 w 94"/>
                <a:gd name="T51" fmla="*/ 18 h 56"/>
                <a:gd name="T52" fmla="*/ 94 w 94"/>
                <a:gd name="T53" fmla="*/ 28 h 56"/>
                <a:gd name="T54" fmla="*/ 94 w 94"/>
                <a:gd name="T55" fmla="*/ 32 h 56"/>
                <a:gd name="T56" fmla="*/ 90 w 94"/>
                <a:gd name="T57" fmla="*/ 38 h 56"/>
                <a:gd name="T58" fmla="*/ 88 w 94"/>
                <a:gd name="T59" fmla="*/ 40 h 56"/>
                <a:gd name="T60" fmla="*/ 88 w 94"/>
                <a:gd name="T61" fmla="*/ 44 h 56"/>
                <a:gd name="T62" fmla="*/ 84 w 94"/>
                <a:gd name="T63" fmla="*/ 48 h 56"/>
                <a:gd name="T64" fmla="*/ 76 w 94"/>
                <a:gd name="T65" fmla="*/ 54 h 56"/>
                <a:gd name="T66" fmla="*/ 70 w 94"/>
                <a:gd name="T67" fmla="*/ 56 h 56"/>
                <a:gd name="T68" fmla="*/ 66 w 94"/>
                <a:gd name="T69" fmla="*/ 56 h 56"/>
                <a:gd name="T70" fmla="*/ 54 w 94"/>
                <a:gd name="T71" fmla="*/ 54 h 56"/>
                <a:gd name="T72" fmla="*/ 44 w 94"/>
                <a:gd name="T73" fmla="*/ 50 h 56"/>
                <a:gd name="T74" fmla="*/ 38 w 94"/>
                <a:gd name="T75" fmla="*/ 44 h 56"/>
                <a:gd name="T76" fmla="*/ 36 w 94"/>
                <a:gd name="T77" fmla="*/ 42 h 56"/>
                <a:gd name="T78" fmla="*/ 34 w 94"/>
                <a:gd name="T79" fmla="*/ 42 h 56"/>
                <a:gd name="T80" fmla="*/ 30 w 94"/>
                <a:gd name="T81" fmla="*/ 44 h 56"/>
                <a:gd name="T82" fmla="*/ 24 w 94"/>
                <a:gd name="T83" fmla="*/ 48 h 56"/>
                <a:gd name="T84" fmla="*/ 16 w 94"/>
                <a:gd name="T85" fmla="*/ 48 h 56"/>
                <a:gd name="T86" fmla="*/ 8 w 94"/>
                <a:gd name="T87" fmla="*/ 48 h 56"/>
                <a:gd name="T88" fmla="*/ 4 w 94"/>
                <a:gd name="T89"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56">
                  <a:moveTo>
                    <a:pt x="2" y="44"/>
                  </a:moveTo>
                  <a:lnTo>
                    <a:pt x="0" y="34"/>
                  </a:lnTo>
                  <a:lnTo>
                    <a:pt x="2" y="34"/>
                  </a:lnTo>
                  <a:lnTo>
                    <a:pt x="6" y="36"/>
                  </a:lnTo>
                  <a:lnTo>
                    <a:pt x="8" y="36"/>
                  </a:lnTo>
                  <a:lnTo>
                    <a:pt x="10" y="36"/>
                  </a:lnTo>
                  <a:lnTo>
                    <a:pt x="10" y="36"/>
                  </a:lnTo>
                  <a:lnTo>
                    <a:pt x="12" y="36"/>
                  </a:lnTo>
                  <a:lnTo>
                    <a:pt x="14" y="36"/>
                  </a:lnTo>
                  <a:lnTo>
                    <a:pt x="18" y="34"/>
                  </a:lnTo>
                  <a:lnTo>
                    <a:pt x="20" y="32"/>
                  </a:lnTo>
                  <a:lnTo>
                    <a:pt x="24" y="30"/>
                  </a:lnTo>
                  <a:lnTo>
                    <a:pt x="28" y="28"/>
                  </a:lnTo>
                  <a:lnTo>
                    <a:pt x="32" y="28"/>
                  </a:lnTo>
                  <a:lnTo>
                    <a:pt x="36" y="24"/>
                  </a:lnTo>
                  <a:lnTo>
                    <a:pt x="38" y="22"/>
                  </a:lnTo>
                  <a:lnTo>
                    <a:pt x="42" y="20"/>
                  </a:lnTo>
                  <a:lnTo>
                    <a:pt x="44" y="18"/>
                  </a:lnTo>
                  <a:lnTo>
                    <a:pt x="46" y="16"/>
                  </a:lnTo>
                  <a:lnTo>
                    <a:pt x="46" y="16"/>
                  </a:lnTo>
                  <a:lnTo>
                    <a:pt x="46" y="16"/>
                  </a:lnTo>
                  <a:lnTo>
                    <a:pt x="46" y="14"/>
                  </a:lnTo>
                  <a:lnTo>
                    <a:pt x="48" y="12"/>
                  </a:lnTo>
                  <a:lnTo>
                    <a:pt x="48" y="10"/>
                  </a:lnTo>
                  <a:lnTo>
                    <a:pt x="48" y="6"/>
                  </a:lnTo>
                  <a:lnTo>
                    <a:pt x="48" y="2"/>
                  </a:lnTo>
                  <a:lnTo>
                    <a:pt x="48" y="0"/>
                  </a:lnTo>
                  <a:lnTo>
                    <a:pt x="48" y="2"/>
                  </a:lnTo>
                  <a:lnTo>
                    <a:pt x="52" y="4"/>
                  </a:lnTo>
                  <a:lnTo>
                    <a:pt x="54" y="6"/>
                  </a:lnTo>
                  <a:lnTo>
                    <a:pt x="56" y="8"/>
                  </a:lnTo>
                  <a:lnTo>
                    <a:pt x="56" y="10"/>
                  </a:lnTo>
                  <a:lnTo>
                    <a:pt x="58" y="10"/>
                  </a:lnTo>
                  <a:lnTo>
                    <a:pt x="58" y="10"/>
                  </a:lnTo>
                  <a:lnTo>
                    <a:pt x="60" y="10"/>
                  </a:lnTo>
                  <a:lnTo>
                    <a:pt x="60" y="10"/>
                  </a:lnTo>
                  <a:lnTo>
                    <a:pt x="62" y="10"/>
                  </a:lnTo>
                  <a:lnTo>
                    <a:pt x="64" y="10"/>
                  </a:lnTo>
                  <a:lnTo>
                    <a:pt x="66" y="10"/>
                  </a:lnTo>
                  <a:lnTo>
                    <a:pt x="66" y="10"/>
                  </a:lnTo>
                  <a:lnTo>
                    <a:pt x="68" y="10"/>
                  </a:lnTo>
                  <a:lnTo>
                    <a:pt x="68" y="10"/>
                  </a:lnTo>
                  <a:lnTo>
                    <a:pt x="68" y="8"/>
                  </a:lnTo>
                  <a:lnTo>
                    <a:pt x="70" y="8"/>
                  </a:lnTo>
                  <a:lnTo>
                    <a:pt x="70" y="8"/>
                  </a:lnTo>
                  <a:lnTo>
                    <a:pt x="70" y="4"/>
                  </a:lnTo>
                  <a:lnTo>
                    <a:pt x="70" y="4"/>
                  </a:lnTo>
                  <a:lnTo>
                    <a:pt x="70" y="2"/>
                  </a:lnTo>
                  <a:lnTo>
                    <a:pt x="72" y="2"/>
                  </a:lnTo>
                  <a:lnTo>
                    <a:pt x="72" y="0"/>
                  </a:lnTo>
                  <a:lnTo>
                    <a:pt x="72" y="0"/>
                  </a:lnTo>
                  <a:lnTo>
                    <a:pt x="72" y="0"/>
                  </a:lnTo>
                  <a:lnTo>
                    <a:pt x="74" y="0"/>
                  </a:lnTo>
                  <a:lnTo>
                    <a:pt x="76" y="0"/>
                  </a:lnTo>
                  <a:lnTo>
                    <a:pt x="78" y="0"/>
                  </a:lnTo>
                  <a:lnTo>
                    <a:pt x="80" y="0"/>
                  </a:lnTo>
                  <a:lnTo>
                    <a:pt x="82" y="0"/>
                  </a:lnTo>
                  <a:lnTo>
                    <a:pt x="84" y="2"/>
                  </a:lnTo>
                  <a:lnTo>
                    <a:pt x="84" y="2"/>
                  </a:lnTo>
                  <a:lnTo>
                    <a:pt x="84" y="2"/>
                  </a:lnTo>
                  <a:lnTo>
                    <a:pt x="84" y="2"/>
                  </a:lnTo>
                  <a:lnTo>
                    <a:pt x="84" y="2"/>
                  </a:lnTo>
                  <a:lnTo>
                    <a:pt x="84" y="4"/>
                  </a:lnTo>
                  <a:lnTo>
                    <a:pt x="84" y="6"/>
                  </a:lnTo>
                  <a:lnTo>
                    <a:pt x="84" y="6"/>
                  </a:lnTo>
                  <a:lnTo>
                    <a:pt x="84" y="8"/>
                  </a:lnTo>
                  <a:lnTo>
                    <a:pt x="82" y="10"/>
                  </a:lnTo>
                  <a:lnTo>
                    <a:pt x="82" y="10"/>
                  </a:lnTo>
                  <a:lnTo>
                    <a:pt x="82" y="10"/>
                  </a:lnTo>
                  <a:lnTo>
                    <a:pt x="82" y="12"/>
                  </a:lnTo>
                  <a:lnTo>
                    <a:pt x="84" y="12"/>
                  </a:lnTo>
                  <a:lnTo>
                    <a:pt x="84" y="12"/>
                  </a:lnTo>
                  <a:lnTo>
                    <a:pt x="84" y="14"/>
                  </a:lnTo>
                  <a:lnTo>
                    <a:pt x="86" y="14"/>
                  </a:lnTo>
                  <a:lnTo>
                    <a:pt x="88" y="16"/>
                  </a:lnTo>
                  <a:lnTo>
                    <a:pt x="90" y="16"/>
                  </a:lnTo>
                  <a:lnTo>
                    <a:pt x="92" y="16"/>
                  </a:lnTo>
                  <a:lnTo>
                    <a:pt x="92" y="18"/>
                  </a:lnTo>
                  <a:lnTo>
                    <a:pt x="94" y="22"/>
                  </a:lnTo>
                  <a:lnTo>
                    <a:pt x="94" y="24"/>
                  </a:lnTo>
                  <a:lnTo>
                    <a:pt x="94" y="28"/>
                  </a:lnTo>
                  <a:lnTo>
                    <a:pt x="94" y="30"/>
                  </a:lnTo>
                  <a:lnTo>
                    <a:pt x="94" y="30"/>
                  </a:lnTo>
                  <a:lnTo>
                    <a:pt x="94" y="32"/>
                  </a:lnTo>
                  <a:lnTo>
                    <a:pt x="94" y="32"/>
                  </a:lnTo>
                  <a:lnTo>
                    <a:pt x="92" y="36"/>
                  </a:lnTo>
                  <a:lnTo>
                    <a:pt x="90" y="38"/>
                  </a:lnTo>
                  <a:lnTo>
                    <a:pt x="88" y="38"/>
                  </a:lnTo>
                  <a:lnTo>
                    <a:pt x="88" y="40"/>
                  </a:lnTo>
                  <a:lnTo>
                    <a:pt x="88" y="40"/>
                  </a:lnTo>
                  <a:lnTo>
                    <a:pt x="88" y="42"/>
                  </a:lnTo>
                  <a:lnTo>
                    <a:pt x="88" y="42"/>
                  </a:lnTo>
                  <a:lnTo>
                    <a:pt x="88" y="44"/>
                  </a:lnTo>
                  <a:lnTo>
                    <a:pt x="88" y="44"/>
                  </a:lnTo>
                  <a:lnTo>
                    <a:pt x="86" y="46"/>
                  </a:lnTo>
                  <a:lnTo>
                    <a:pt x="84" y="48"/>
                  </a:lnTo>
                  <a:lnTo>
                    <a:pt x="82" y="50"/>
                  </a:lnTo>
                  <a:lnTo>
                    <a:pt x="80" y="52"/>
                  </a:lnTo>
                  <a:lnTo>
                    <a:pt x="76" y="54"/>
                  </a:lnTo>
                  <a:lnTo>
                    <a:pt x="74" y="54"/>
                  </a:lnTo>
                  <a:lnTo>
                    <a:pt x="72" y="56"/>
                  </a:lnTo>
                  <a:lnTo>
                    <a:pt x="70" y="56"/>
                  </a:lnTo>
                  <a:lnTo>
                    <a:pt x="68" y="56"/>
                  </a:lnTo>
                  <a:lnTo>
                    <a:pt x="68" y="56"/>
                  </a:lnTo>
                  <a:lnTo>
                    <a:pt x="66" y="56"/>
                  </a:lnTo>
                  <a:lnTo>
                    <a:pt x="62" y="56"/>
                  </a:lnTo>
                  <a:lnTo>
                    <a:pt x="58" y="54"/>
                  </a:lnTo>
                  <a:lnTo>
                    <a:pt x="54" y="54"/>
                  </a:lnTo>
                  <a:lnTo>
                    <a:pt x="48" y="52"/>
                  </a:lnTo>
                  <a:lnTo>
                    <a:pt x="44" y="52"/>
                  </a:lnTo>
                  <a:lnTo>
                    <a:pt x="44" y="50"/>
                  </a:lnTo>
                  <a:lnTo>
                    <a:pt x="42" y="46"/>
                  </a:lnTo>
                  <a:lnTo>
                    <a:pt x="40" y="44"/>
                  </a:lnTo>
                  <a:lnTo>
                    <a:pt x="38" y="44"/>
                  </a:lnTo>
                  <a:lnTo>
                    <a:pt x="38" y="42"/>
                  </a:lnTo>
                  <a:lnTo>
                    <a:pt x="38" y="42"/>
                  </a:lnTo>
                  <a:lnTo>
                    <a:pt x="36" y="42"/>
                  </a:lnTo>
                  <a:lnTo>
                    <a:pt x="36" y="42"/>
                  </a:lnTo>
                  <a:lnTo>
                    <a:pt x="36" y="42"/>
                  </a:lnTo>
                  <a:lnTo>
                    <a:pt x="34" y="42"/>
                  </a:lnTo>
                  <a:lnTo>
                    <a:pt x="34" y="42"/>
                  </a:lnTo>
                  <a:lnTo>
                    <a:pt x="32" y="42"/>
                  </a:lnTo>
                  <a:lnTo>
                    <a:pt x="30" y="44"/>
                  </a:lnTo>
                  <a:lnTo>
                    <a:pt x="26" y="46"/>
                  </a:lnTo>
                  <a:lnTo>
                    <a:pt x="26" y="48"/>
                  </a:lnTo>
                  <a:lnTo>
                    <a:pt x="24" y="48"/>
                  </a:lnTo>
                  <a:lnTo>
                    <a:pt x="22" y="48"/>
                  </a:lnTo>
                  <a:lnTo>
                    <a:pt x="20" y="48"/>
                  </a:lnTo>
                  <a:lnTo>
                    <a:pt x="16" y="48"/>
                  </a:lnTo>
                  <a:lnTo>
                    <a:pt x="12" y="48"/>
                  </a:lnTo>
                  <a:lnTo>
                    <a:pt x="10" y="48"/>
                  </a:lnTo>
                  <a:lnTo>
                    <a:pt x="8" y="48"/>
                  </a:lnTo>
                  <a:lnTo>
                    <a:pt x="8" y="48"/>
                  </a:lnTo>
                  <a:lnTo>
                    <a:pt x="6" y="46"/>
                  </a:lnTo>
                  <a:lnTo>
                    <a:pt x="4" y="46"/>
                  </a:lnTo>
                  <a:lnTo>
                    <a:pt x="2" y="4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5" name="Freeform 263">
              <a:extLst>
                <a:ext uri="{FF2B5EF4-FFF2-40B4-BE49-F238E27FC236}">
                  <a16:creationId xmlns:a16="http://schemas.microsoft.com/office/drawing/2014/main" id="{15FAAA72-1F58-407F-85C3-4AB4C50F120E}"/>
                </a:ext>
              </a:extLst>
            </p:cNvPr>
            <p:cNvSpPr>
              <a:spLocks/>
            </p:cNvSpPr>
            <p:nvPr/>
          </p:nvSpPr>
          <p:spPr bwMode="auto">
            <a:xfrm>
              <a:off x="4497846" y="3142770"/>
              <a:ext cx="162815" cy="96996"/>
            </a:xfrm>
            <a:custGeom>
              <a:avLst/>
              <a:gdLst>
                <a:gd name="T0" fmla="*/ 2 w 94"/>
                <a:gd name="T1" fmla="*/ 34 h 56"/>
                <a:gd name="T2" fmla="*/ 10 w 94"/>
                <a:gd name="T3" fmla="*/ 36 h 56"/>
                <a:gd name="T4" fmla="*/ 14 w 94"/>
                <a:gd name="T5" fmla="*/ 36 h 56"/>
                <a:gd name="T6" fmla="*/ 24 w 94"/>
                <a:gd name="T7" fmla="*/ 30 h 56"/>
                <a:gd name="T8" fmla="*/ 36 w 94"/>
                <a:gd name="T9" fmla="*/ 24 h 56"/>
                <a:gd name="T10" fmla="*/ 44 w 94"/>
                <a:gd name="T11" fmla="*/ 18 h 56"/>
                <a:gd name="T12" fmla="*/ 46 w 94"/>
                <a:gd name="T13" fmla="*/ 16 h 56"/>
                <a:gd name="T14" fmla="*/ 48 w 94"/>
                <a:gd name="T15" fmla="*/ 10 h 56"/>
                <a:gd name="T16" fmla="*/ 48 w 94"/>
                <a:gd name="T17" fmla="*/ 0 h 56"/>
                <a:gd name="T18" fmla="*/ 54 w 94"/>
                <a:gd name="T19" fmla="*/ 6 h 56"/>
                <a:gd name="T20" fmla="*/ 58 w 94"/>
                <a:gd name="T21" fmla="*/ 10 h 56"/>
                <a:gd name="T22" fmla="*/ 60 w 94"/>
                <a:gd name="T23" fmla="*/ 10 h 56"/>
                <a:gd name="T24" fmla="*/ 66 w 94"/>
                <a:gd name="T25" fmla="*/ 10 h 56"/>
                <a:gd name="T26" fmla="*/ 68 w 94"/>
                <a:gd name="T27" fmla="*/ 10 h 56"/>
                <a:gd name="T28" fmla="*/ 70 w 94"/>
                <a:gd name="T29" fmla="*/ 8 h 56"/>
                <a:gd name="T30" fmla="*/ 70 w 94"/>
                <a:gd name="T31" fmla="*/ 2 h 56"/>
                <a:gd name="T32" fmla="*/ 72 w 94"/>
                <a:gd name="T33" fmla="*/ 0 h 56"/>
                <a:gd name="T34" fmla="*/ 76 w 94"/>
                <a:gd name="T35" fmla="*/ 0 h 56"/>
                <a:gd name="T36" fmla="*/ 82 w 94"/>
                <a:gd name="T37" fmla="*/ 0 h 56"/>
                <a:gd name="T38" fmla="*/ 84 w 94"/>
                <a:gd name="T39" fmla="*/ 2 h 56"/>
                <a:gd name="T40" fmla="*/ 84 w 94"/>
                <a:gd name="T41" fmla="*/ 4 h 56"/>
                <a:gd name="T42" fmla="*/ 84 w 94"/>
                <a:gd name="T43" fmla="*/ 8 h 56"/>
                <a:gd name="T44" fmla="*/ 82 w 94"/>
                <a:gd name="T45" fmla="*/ 10 h 56"/>
                <a:gd name="T46" fmla="*/ 84 w 94"/>
                <a:gd name="T47" fmla="*/ 12 h 56"/>
                <a:gd name="T48" fmla="*/ 88 w 94"/>
                <a:gd name="T49" fmla="*/ 16 h 56"/>
                <a:gd name="T50" fmla="*/ 92 w 94"/>
                <a:gd name="T51" fmla="*/ 18 h 56"/>
                <a:gd name="T52" fmla="*/ 94 w 94"/>
                <a:gd name="T53" fmla="*/ 28 h 56"/>
                <a:gd name="T54" fmla="*/ 94 w 94"/>
                <a:gd name="T55" fmla="*/ 32 h 56"/>
                <a:gd name="T56" fmla="*/ 90 w 94"/>
                <a:gd name="T57" fmla="*/ 38 h 56"/>
                <a:gd name="T58" fmla="*/ 88 w 94"/>
                <a:gd name="T59" fmla="*/ 40 h 56"/>
                <a:gd name="T60" fmla="*/ 88 w 94"/>
                <a:gd name="T61" fmla="*/ 44 h 56"/>
                <a:gd name="T62" fmla="*/ 84 w 94"/>
                <a:gd name="T63" fmla="*/ 48 h 56"/>
                <a:gd name="T64" fmla="*/ 76 w 94"/>
                <a:gd name="T65" fmla="*/ 54 h 56"/>
                <a:gd name="T66" fmla="*/ 70 w 94"/>
                <a:gd name="T67" fmla="*/ 56 h 56"/>
                <a:gd name="T68" fmla="*/ 66 w 94"/>
                <a:gd name="T69" fmla="*/ 56 h 56"/>
                <a:gd name="T70" fmla="*/ 54 w 94"/>
                <a:gd name="T71" fmla="*/ 54 h 56"/>
                <a:gd name="T72" fmla="*/ 44 w 94"/>
                <a:gd name="T73" fmla="*/ 50 h 56"/>
                <a:gd name="T74" fmla="*/ 38 w 94"/>
                <a:gd name="T75" fmla="*/ 44 h 56"/>
                <a:gd name="T76" fmla="*/ 36 w 94"/>
                <a:gd name="T77" fmla="*/ 42 h 56"/>
                <a:gd name="T78" fmla="*/ 34 w 94"/>
                <a:gd name="T79" fmla="*/ 42 h 56"/>
                <a:gd name="T80" fmla="*/ 30 w 94"/>
                <a:gd name="T81" fmla="*/ 44 h 56"/>
                <a:gd name="T82" fmla="*/ 24 w 94"/>
                <a:gd name="T83" fmla="*/ 48 h 56"/>
                <a:gd name="T84" fmla="*/ 16 w 94"/>
                <a:gd name="T85" fmla="*/ 48 h 56"/>
                <a:gd name="T86" fmla="*/ 8 w 94"/>
                <a:gd name="T87" fmla="*/ 48 h 56"/>
                <a:gd name="T88" fmla="*/ 4 w 94"/>
                <a:gd name="T89"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56">
                  <a:moveTo>
                    <a:pt x="2" y="44"/>
                  </a:moveTo>
                  <a:lnTo>
                    <a:pt x="0" y="34"/>
                  </a:lnTo>
                  <a:lnTo>
                    <a:pt x="2" y="34"/>
                  </a:lnTo>
                  <a:lnTo>
                    <a:pt x="6" y="36"/>
                  </a:lnTo>
                  <a:lnTo>
                    <a:pt x="8" y="36"/>
                  </a:lnTo>
                  <a:lnTo>
                    <a:pt x="10" y="36"/>
                  </a:lnTo>
                  <a:lnTo>
                    <a:pt x="10" y="36"/>
                  </a:lnTo>
                  <a:lnTo>
                    <a:pt x="12" y="36"/>
                  </a:lnTo>
                  <a:lnTo>
                    <a:pt x="14" y="36"/>
                  </a:lnTo>
                  <a:lnTo>
                    <a:pt x="18" y="34"/>
                  </a:lnTo>
                  <a:lnTo>
                    <a:pt x="20" y="32"/>
                  </a:lnTo>
                  <a:lnTo>
                    <a:pt x="24" y="30"/>
                  </a:lnTo>
                  <a:lnTo>
                    <a:pt x="28" y="28"/>
                  </a:lnTo>
                  <a:lnTo>
                    <a:pt x="32" y="28"/>
                  </a:lnTo>
                  <a:lnTo>
                    <a:pt x="36" y="24"/>
                  </a:lnTo>
                  <a:lnTo>
                    <a:pt x="38" y="22"/>
                  </a:lnTo>
                  <a:lnTo>
                    <a:pt x="42" y="20"/>
                  </a:lnTo>
                  <a:lnTo>
                    <a:pt x="44" y="18"/>
                  </a:lnTo>
                  <a:lnTo>
                    <a:pt x="46" y="16"/>
                  </a:lnTo>
                  <a:lnTo>
                    <a:pt x="46" y="16"/>
                  </a:lnTo>
                  <a:lnTo>
                    <a:pt x="46" y="16"/>
                  </a:lnTo>
                  <a:lnTo>
                    <a:pt x="46" y="14"/>
                  </a:lnTo>
                  <a:lnTo>
                    <a:pt x="48" y="12"/>
                  </a:lnTo>
                  <a:lnTo>
                    <a:pt x="48" y="10"/>
                  </a:lnTo>
                  <a:lnTo>
                    <a:pt x="48" y="6"/>
                  </a:lnTo>
                  <a:lnTo>
                    <a:pt x="48" y="2"/>
                  </a:lnTo>
                  <a:lnTo>
                    <a:pt x="48" y="0"/>
                  </a:lnTo>
                  <a:lnTo>
                    <a:pt x="48" y="2"/>
                  </a:lnTo>
                  <a:lnTo>
                    <a:pt x="52" y="4"/>
                  </a:lnTo>
                  <a:lnTo>
                    <a:pt x="54" y="6"/>
                  </a:lnTo>
                  <a:lnTo>
                    <a:pt x="56" y="8"/>
                  </a:lnTo>
                  <a:lnTo>
                    <a:pt x="56" y="10"/>
                  </a:lnTo>
                  <a:lnTo>
                    <a:pt x="58" y="10"/>
                  </a:lnTo>
                  <a:lnTo>
                    <a:pt x="58" y="10"/>
                  </a:lnTo>
                  <a:lnTo>
                    <a:pt x="60" y="10"/>
                  </a:lnTo>
                  <a:lnTo>
                    <a:pt x="60" y="10"/>
                  </a:lnTo>
                  <a:lnTo>
                    <a:pt x="62" y="10"/>
                  </a:lnTo>
                  <a:lnTo>
                    <a:pt x="64" y="10"/>
                  </a:lnTo>
                  <a:lnTo>
                    <a:pt x="66" y="10"/>
                  </a:lnTo>
                  <a:lnTo>
                    <a:pt x="66" y="10"/>
                  </a:lnTo>
                  <a:lnTo>
                    <a:pt x="68" y="10"/>
                  </a:lnTo>
                  <a:lnTo>
                    <a:pt x="68" y="10"/>
                  </a:lnTo>
                  <a:lnTo>
                    <a:pt x="68" y="8"/>
                  </a:lnTo>
                  <a:lnTo>
                    <a:pt x="70" y="8"/>
                  </a:lnTo>
                  <a:lnTo>
                    <a:pt x="70" y="8"/>
                  </a:lnTo>
                  <a:lnTo>
                    <a:pt x="70" y="4"/>
                  </a:lnTo>
                  <a:lnTo>
                    <a:pt x="70" y="4"/>
                  </a:lnTo>
                  <a:lnTo>
                    <a:pt x="70" y="2"/>
                  </a:lnTo>
                  <a:lnTo>
                    <a:pt x="72" y="2"/>
                  </a:lnTo>
                  <a:lnTo>
                    <a:pt x="72" y="0"/>
                  </a:lnTo>
                  <a:lnTo>
                    <a:pt x="72" y="0"/>
                  </a:lnTo>
                  <a:lnTo>
                    <a:pt x="72" y="0"/>
                  </a:lnTo>
                  <a:lnTo>
                    <a:pt x="74" y="0"/>
                  </a:lnTo>
                  <a:lnTo>
                    <a:pt x="76" y="0"/>
                  </a:lnTo>
                  <a:lnTo>
                    <a:pt x="78" y="0"/>
                  </a:lnTo>
                  <a:lnTo>
                    <a:pt x="80" y="0"/>
                  </a:lnTo>
                  <a:lnTo>
                    <a:pt x="82" y="0"/>
                  </a:lnTo>
                  <a:lnTo>
                    <a:pt x="84" y="2"/>
                  </a:lnTo>
                  <a:lnTo>
                    <a:pt x="84" y="2"/>
                  </a:lnTo>
                  <a:lnTo>
                    <a:pt x="84" y="2"/>
                  </a:lnTo>
                  <a:lnTo>
                    <a:pt x="84" y="2"/>
                  </a:lnTo>
                  <a:lnTo>
                    <a:pt x="84" y="2"/>
                  </a:lnTo>
                  <a:lnTo>
                    <a:pt x="84" y="4"/>
                  </a:lnTo>
                  <a:lnTo>
                    <a:pt x="84" y="6"/>
                  </a:lnTo>
                  <a:lnTo>
                    <a:pt x="84" y="6"/>
                  </a:lnTo>
                  <a:lnTo>
                    <a:pt x="84" y="8"/>
                  </a:lnTo>
                  <a:lnTo>
                    <a:pt x="82" y="10"/>
                  </a:lnTo>
                  <a:lnTo>
                    <a:pt x="82" y="10"/>
                  </a:lnTo>
                  <a:lnTo>
                    <a:pt x="82" y="10"/>
                  </a:lnTo>
                  <a:lnTo>
                    <a:pt x="82" y="12"/>
                  </a:lnTo>
                  <a:lnTo>
                    <a:pt x="84" y="12"/>
                  </a:lnTo>
                  <a:lnTo>
                    <a:pt x="84" y="12"/>
                  </a:lnTo>
                  <a:lnTo>
                    <a:pt x="84" y="14"/>
                  </a:lnTo>
                  <a:lnTo>
                    <a:pt x="86" y="14"/>
                  </a:lnTo>
                  <a:lnTo>
                    <a:pt x="88" y="16"/>
                  </a:lnTo>
                  <a:lnTo>
                    <a:pt x="90" y="16"/>
                  </a:lnTo>
                  <a:lnTo>
                    <a:pt x="92" y="16"/>
                  </a:lnTo>
                  <a:lnTo>
                    <a:pt x="92" y="18"/>
                  </a:lnTo>
                  <a:lnTo>
                    <a:pt x="94" y="22"/>
                  </a:lnTo>
                  <a:lnTo>
                    <a:pt x="94" y="24"/>
                  </a:lnTo>
                  <a:lnTo>
                    <a:pt x="94" y="28"/>
                  </a:lnTo>
                  <a:lnTo>
                    <a:pt x="94" y="30"/>
                  </a:lnTo>
                  <a:lnTo>
                    <a:pt x="94" y="30"/>
                  </a:lnTo>
                  <a:lnTo>
                    <a:pt x="94" y="32"/>
                  </a:lnTo>
                  <a:lnTo>
                    <a:pt x="94" y="32"/>
                  </a:lnTo>
                  <a:lnTo>
                    <a:pt x="92" y="36"/>
                  </a:lnTo>
                  <a:lnTo>
                    <a:pt x="90" y="38"/>
                  </a:lnTo>
                  <a:lnTo>
                    <a:pt x="88" y="38"/>
                  </a:lnTo>
                  <a:lnTo>
                    <a:pt x="88" y="40"/>
                  </a:lnTo>
                  <a:lnTo>
                    <a:pt x="88" y="40"/>
                  </a:lnTo>
                  <a:lnTo>
                    <a:pt x="88" y="42"/>
                  </a:lnTo>
                  <a:lnTo>
                    <a:pt x="88" y="42"/>
                  </a:lnTo>
                  <a:lnTo>
                    <a:pt x="88" y="44"/>
                  </a:lnTo>
                  <a:lnTo>
                    <a:pt x="88" y="44"/>
                  </a:lnTo>
                  <a:lnTo>
                    <a:pt x="86" y="46"/>
                  </a:lnTo>
                  <a:lnTo>
                    <a:pt x="84" y="48"/>
                  </a:lnTo>
                  <a:lnTo>
                    <a:pt x="82" y="50"/>
                  </a:lnTo>
                  <a:lnTo>
                    <a:pt x="80" y="52"/>
                  </a:lnTo>
                  <a:lnTo>
                    <a:pt x="76" y="54"/>
                  </a:lnTo>
                  <a:lnTo>
                    <a:pt x="74" y="54"/>
                  </a:lnTo>
                  <a:lnTo>
                    <a:pt x="72" y="56"/>
                  </a:lnTo>
                  <a:lnTo>
                    <a:pt x="70" y="56"/>
                  </a:lnTo>
                  <a:lnTo>
                    <a:pt x="68" y="56"/>
                  </a:lnTo>
                  <a:lnTo>
                    <a:pt x="68" y="56"/>
                  </a:lnTo>
                  <a:lnTo>
                    <a:pt x="66" y="56"/>
                  </a:lnTo>
                  <a:lnTo>
                    <a:pt x="62" y="56"/>
                  </a:lnTo>
                  <a:lnTo>
                    <a:pt x="58" y="54"/>
                  </a:lnTo>
                  <a:lnTo>
                    <a:pt x="54" y="54"/>
                  </a:lnTo>
                  <a:lnTo>
                    <a:pt x="48" y="52"/>
                  </a:lnTo>
                  <a:lnTo>
                    <a:pt x="44" y="52"/>
                  </a:lnTo>
                  <a:lnTo>
                    <a:pt x="44" y="50"/>
                  </a:lnTo>
                  <a:lnTo>
                    <a:pt x="42" y="46"/>
                  </a:lnTo>
                  <a:lnTo>
                    <a:pt x="40" y="44"/>
                  </a:lnTo>
                  <a:lnTo>
                    <a:pt x="38" y="44"/>
                  </a:lnTo>
                  <a:lnTo>
                    <a:pt x="38" y="42"/>
                  </a:lnTo>
                  <a:lnTo>
                    <a:pt x="38" y="42"/>
                  </a:lnTo>
                  <a:lnTo>
                    <a:pt x="36" y="42"/>
                  </a:lnTo>
                  <a:lnTo>
                    <a:pt x="36" y="42"/>
                  </a:lnTo>
                  <a:lnTo>
                    <a:pt x="36" y="42"/>
                  </a:lnTo>
                  <a:lnTo>
                    <a:pt x="34" y="42"/>
                  </a:lnTo>
                  <a:lnTo>
                    <a:pt x="34" y="42"/>
                  </a:lnTo>
                  <a:lnTo>
                    <a:pt x="32" y="42"/>
                  </a:lnTo>
                  <a:lnTo>
                    <a:pt x="30" y="44"/>
                  </a:lnTo>
                  <a:lnTo>
                    <a:pt x="26" y="46"/>
                  </a:lnTo>
                  <a:lnTo>
                    <a:pt x="26" y="48"/>
                  </a:lnTo>
                  <a:lnTo>
                    <a:pt x="24" y="48"/>
                  </a:lnTo>
                  <a:lnTo>
                    <a:pt x="22" y="48"/>
                  </a:lnTo>
                  <a:lnTo>
                    <a:pt x="20" y="48"/>
                  </a:lnTo>
                  <a:lnTo>
                    <a:pt x="16" y="48"/>
                  </a:lnTo>
                  <a:lnTo>
                    <a:pt x="12" y="48"/>
                  </a:lnTo>
                  <a:lnTo>
                    <a:pt x="10" y="48"/>
                  </a:lnTo>
                  <a:lnTo>
                    <a:pt x="8" y="48"/>
                  </a:lnTo>
                  <a:lnTo>
                    <a:pt x="8" y="48"/>
                  </a:lnTo>
                  <a:lnTo>
                    <a:pt x="6" y="46"/>
                  </a:lnTo>
                  <a:lnTo>
                    <a:pt x="4" y="46"/>
                  </a:lnTo>
                  <a:lnTo>
                    <a:pt x="2" y="4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6" name="Freeform 264">
              <a:extLst>
                <a:ext uri="{FF2B5EF4-FFF2-40B4-BE49-F238E27FC236}">
                  <a16:creationId xmlns:a16="http://schemas.microsoft.com/office/drawing/2014/main" id="{BB56DCD2-6B66-4163-9AEF-045104466F42}"/>
                </a:ext>
              </a:extLst>
            </p:cNvPr>
            <p:cNvSpPr>
              <a:spLocks/>
            </p:cNvSpPr>
            <p:nvPr/>
          </p:nvSpPr>
          <p:spPr bwMode="auto">
            <a:xfrm>
              <a:off x="4497846" y="3142770"/>
              <a:ext cx="162815" cy="96996"/>
            </a:xfrm>
            <a:custGeom>
              <a:avLst/>
              <a:gdLst>
                <a:gd name="T0" fmla="*/ 2 w 94"/>
                <a:gd name="T1" fmla="*/ 34 h 56"/>
                <a:gd name="T2" fmla="*/ 10 w 94"/>
                <a:gd name="T3" fmla="*/ 36 h 56"/>
                <a:gd name="T4" fmla="*/ 14 w 94"/>
                <a:gd name="T5" fmla="*/ 36 h 56"/>
                <a:gd name="T6" fmla="*/ 24 w 94"/>
                <a:gd name="T7" fmla="*/ 30 h 56"/>
                <a:gd name="T8" fmla="*/ 36 w 94"/>
                <a:gd name="T9" fmla="*/ 24 h 56"/>
                <a:gd name="T10" fmla="*/ 44 w 94"/>
                <a:gd name="T11" fmla="*/ 18 h 56"/>
                <a:gd name="T12" fmla="*/ 46 w 94"/>
                <a:gd name="T13" fmla="*/ 16 h 56"/>
                <a:gd name="T14" fmla="*/ 48 w 94"/>
                <a:gd name="T15" fmla="*/ 10 h 56"/>
                <a:gd name="T16" fmla="*/ 48 w 94"/>
                <a:gd name="T17" fmla="*/ 0 h 56"/>
                <a:gd name="T18" fmla="*/ 54 w 94"/>
                <a:gd name="T19" fmla="*/ 6 h 56"/>
                <a:gd name="T20" fmla="*/ 58 w 94"/>
                <a:gd name="T21" fmla="*/ 10 h 56"/>
                <a:gd name="T22" fmla="*/ 60 w 94"/>
                <a:gd name="T23" fmla="*/ 10 h 56"/>
                <a:gd name="T24" fmla="*/ 66 w 94"/>
                <a:gd name="T25" fmla="*/ 10 h 56"/>
                <a:gd name="T26" fmla="*/ 68 w 94"/>
                <a:gd name="T27" fmla="*/ 10 h 56"/>
                <a:gd name="T28" fmla="*/ 70 w 94"/>
                <a:gd name="T29" fmla="*/ 8 h 56"/>
                <a:gd name="T30" fmla="*/ 70 w 94"/>
                <a:gd name="T31" fmla="*/ 2 h 56"/>
                <a:gd name="T32" fmla="*/ 72 w 94"/>
                <a:gd name="T33" fmla="*/ 0 h 56"/>
                <a:gd name="T34" fmla="*/ 76 w 94"/>
                <a:gd name="T35" fmla="*/ 0 h 56"/>
                <a:gd name="T36" fmla="*/ 82 w 94"/>
                <a:gd name="T37" fmla="*/ 0 h 56"/>
                <a:gd name="T38" fmla="*/ 84 w 94"/>
                <a:gd name="T39" fmla="*/ 2 h 56"/>
                <a:gd name="T40" fmla="*/ 84 w 94"/>
                <a:gd name="T41" fmla="*/ 4 h 56"/>
                <a:gd name="T42" fmla="*/ 84 w 94"/>
                <a:gd name="T43" fmla="*/ 8 h 56"/>
                <a:gd name="T44" fmla="*/ 82 w 94"/>
                <a:gd name="T45" fmla="*/ 10 h 56"/>
                <a:gd name="T46" fmla="*/ 84 w 94"/>
                <a:gd name="T47" fmla="*/ 12 h 56"/>
                <a:gd name="T48" fmla="*/ 88 w 94"/>
                <a:gd name="T49" fmla="*/ 16 h 56"/>
                <a:gd name="T50" fmla="*/ 92 w 94"/>
                <a:gd name="T51" fmla="*/ 18 h 56"/>
                <a:gd name="T52" fmla="*/ 94 w 94"/>
                <a:gd name="T53" fmla="*/ 28 h 56"/>
                <a:gd name="T54" fmla="*/ 94 w 94"/>
                <a:gd name="T55" fmla="*/ 32 h 56"/>
                <a:gd name="T56" fmla="*/ 90 w 94"/>
                <a:gd name="T57" fmla="*/ 38 h 56"/>
                <a:gd name="T58" fmla="*/ 88 w 94"/>
                <a:gd name="T59" fmla="*/ 40 h 56"/>
                <a:gd name="T60" fmla="*/ 88 w 94"/>
                <a:gd name="T61" fmla="*/ 44 h 56"/>
                <a:gd name="T62" fmla="*/ 84 w 94"/>
                <a:gd name="T63" fmla="*/ 48 h 56"/>
                <a:gd name="T64" fmla="*/ 76 w 94"/>
                <a:gd name="T65" fmla="*/ 54 h 56"/>
                <a:gd name="T66" fmla="*/ 70 w 94"/>
                <a:gd name="T67" fmla="*/ 56 h 56"/>
                <a:gd name="T68" fmla="*/ 66 w 94"/>
                <a:gd name="T69" fmla="*/ 56 h 56"/>
                <a:gd name="T70" fmla="*/ 54 w 94"/>
                <a:gd name="T71" fmla="*/ 54 h 56"/>
                <a:gd name="T72" fmla="*/ 44 w 94"/>
                <a:gd name="T73" fmla="*/ 50 h 56"/>
                <a:gd name="T74" fmla="*/ 38 w 94"/>
                <a:gd name="T75" fmla="*/ 44 h 56"/>
                <a:gd name="T76" fmla="*/ 36 w 94"/>
                <a:gd name="T77" fmla="*/ 42 h 56"/>
                <a:gd name="T78" fmla="*/ 34 w 94"/>
                <a:gd name="T79" fmla="*/ 42 h 56"/>
                <a:gd name="T80" fmla="*/ 30 w 94"/>
                <a:gd name="T81" fmla="*/ 44 h 56"/>
                <a:gd name="T82" fmla="*/ 24 w 94"/>
                <a:gd name="T83" fmla="*/ 48 h 56"/>
                <a:gd name="T84" fmla="*/ 16 w 94"/>
                <a:gd name="T85" fmla="*/ 48 h 56"/>
                <a:gd name="T86" fmla="*/ 8 w 94"/>
                <a:gd name="T87" fmla="*/ 48 h 56"/>
                <a:gd name="T88" fmla="*/ 4 w 94"/>
                <a:gd name="T89"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56">
                  <a:moveTo>
                    <a:pt x="2" y="44"/>
                  </a:moveTo>
                  <a:lnTo>
                    <a:pt x="0" y="34"/>
                  </a:lnTo>
                  <a:lnTo>
                    <a:pt x="2" y="34"/>
                  </a:lnTo>
                  <a:lnTo>
                    <a:pt x="6" y="36"/>
                  </a:lnTo>
                  <a:lnTo>
                    <a:pt x="8" y="36"/>
                  </a:lnTo>
                  <a:lnTo>
                    <a:pt x="10" y="36"/>
                  </a:lnTo>
                  <a:lnTo>
                    <a:pt x="10" y="36"/>
                  </a:lnTo>
                  <a:lnTo>
                    <a:pt x="12" y="36"/>
                  </a:lnTo>
                  <a:lnTo>
                    <a:pt x="14" y="36"/>
                  </a:lnTo>
                  <a:lnTo>
                    <a:pt x="18" y="34"/>
                  </a:lnTo>
                  <a:lnTo>
                    <a:pt x="20" y="32"/>
                  </a:lnTo>
                  <a:lnTo>
                    <a:pt x="24" y="30"/>
                  </a:lnTo>
                  <a:lnTo>
                    <a:pt x="28" y="28"/>
                  </a:lnTo>
                  <a:lnTo>
                    <a:pt x="32" y="28"/>
                  </a:lnTo>
                  <a:lnTo>
                    <a:pt x="36" y="24"/>
                  </a:lnTo>
                  <a:lnTo>
                    <a:pt x="38" y="22"/>
                  </a:lnTo>
                  <a:lnTo>
                    <a:pt x="42" y="20"/>
                  </a:lnTo>
                  <a:lnTo>
                    <a:pt x="44" y="18"/>
                  </a:lnTo>
                  <a:lnTo>
                    <a:pt x="46" y="16"/>
                  </a:lnTo>
                  <a:lnTo>
                    <a:pt x="46" y="16"/>
                  </a:lnTo>
                  <a:lnTo>
                    <a:pt x="46" y="16"/>
                  </a:lnTo>
                  <a:lnTo>
                    <a:pt x="46" y="14"/>
                  </a:lnTo>
                  <a:lnTo>
                    <a:pt x="48" y="12"/>
                  </a:lnTo>
                  <a:lnTo>
                    <a:pt x="48" y="10"/>
                  </a:lnTo>
                  <a:lnTo>
                    <a:pt x="48" y="6"/>
                  </a:lnTo>
                  <a:lnTo>
                    <a:pt x="48" y="2"/>
                  </a:lnTo>
                  <a:lnTo>
                    <a:pt x="48" y="0"/>
                  </a:lnTo>
                  <a:lnTo>
                    <a:pt x="48" y="2"/>
                  </a:lnTo>
                  <a:lnTo>
                    <a:pt x="52" y="4"/>
                  </a:lnTo>
                  <a:lnTo>
                    <a:pt x="54" y="6"/>
                  </a:lnTo>
                  <a:lnTo>
                    <a:pt x="56" y="8"/>
                  </a:lnTo>
                  <a:lnTo>
                    <a:pt x="56" y="10"/>
                  </a:lnTo>
                  <a:lnTo>
                    <a:pt x="58" y="10"/>
                  </a:lnTo>
                  <a:lnTo>
                    <a:pt x="58" y="10"/>
                  </a:lnTo>
                  <a:lnTo>
                    <a:pt x="60" y="10"/>
                  </a:lnTo>
                  <a:lnTo>
                    <a:pt x="60" y="10"/>
                  </a:lnTo>
                  <a:lnTo>
                    <a:pt x="62" y="10"/>
                  </a:lnTo>
                  <a:lnTo>
                    <a:pt x="64" y="10"/>
                  </a:lnTo>
                  <a:lnTo>
                    <a:pt x="66" y="10"/>
                  </a:lnTo>
                  <a:lnTo>
                    <a:pt x="66" y="10"/>
                  </a:lnTo>
                  <a:lnTo>
                    <a:pt x="68" y="10"/>
                  </a:lnTo>
                  <a:lnTo>
                    <a:pt x="68" y="10"/>
                  </a:lnTo>
                  <a:lnTo>
                    <a:pt x="68" y="8"/>
                  </a:lnTo>
                  <a:lnTo>
                    <a:pt x="70" y="8"/>
                  </a:lnTo>
                  <a:lnTo>
                    <a:pt x="70" y="8"/>
                  </a:lnTo>
                  <a:lnTo>
                    <a:pt x="70" y="4"/>
                  </a:lnTo>
                  <a:lnTo>
                    <a:pt x="70" y="4"/>
                  </a:lnTo>
                  <a:lnTo>
                    <a:pt x="70" y="2"/>
                  </a:lnTo>
                  <a:lnTo>
                    <a:pt x="72" y="2"/>
                  </a:lnTo>
                  <a:lnTo>
                    <a:pt x="72" y="0"/>
                  </a:lnTo>
                  <a:lnTo>
                    <a:pt x="72" y="0"/>
                  </a:lnTo>
                  <a:lnTo>
                    <a:pt x="72" y="0"/>
                  </a:lnTo>
                  <a:lnTo>
                    <a:pt x="74" y="0"/>
                  </a:lnTo>
                  <a:lnTo>
                    <a:pt x="76" y="0"/>
                  </a:lnTo>
                  <a:lnTo>
                    <a:pt x="78" y="0"/>
                  </a:lnTo>
                  <a:lnTo>
                    <a:pt x="80" y="0"/>
                  </a:lnTo>
                  <a:lnTo>
                    <a:pt x="82" y="0"/>
                  </a:lnTo>
                  <a:lnTo>
                    <a:pt x="84" y="2"/>
                  </a:lnTo>
                  <a:lnTo>
                    <a:pt x="84" y="2"/>
                  </a:lnTo>
                  <a:lnTo>
                    <a:pt x="84" y="2"/>
                  </a:lnTo>
                  <a:lnTo>
                    <a:pt x="84" y="2"/>
                  </a:lnTo>
                  <a:lnTo>
                    <a:pt x="84" y="2"/>
                  </a:lnTo>
                  <a:lnTo>
                    <a:pt x="84" y="4"/>
                  </a:lnTo>
                  <a:lnTo>
                    <a:pt x="84" y="6"/>
                  </a:lnTo>
                  <a:lnTo>
                    <a:pt x="84" y="6"/>
                  </a:lnTo>
                  <a:lnTo>
                    <a:pt x="84" y="8"/>
                  </a:lnTo>
                  <a:lnTo>
                    <a:pt x="82" y="10"/>
                  </a:lnTo>
                  <a:lnTo>
                    <a:pt x="82" y="10"/>
                  </a:lnTo>
                  <a:lnTo>
                    <a:pt x="82" y="10"/>
                  </a:lnTo>
                  <a:lnTo>
                    <a:pt x="82" y="12"/>
                  </a:lnTo>
                  <a:lnTo>
                    <a:pt x="84" y="12"/>
                  </a:lnTo>
                  <a:lnTo>
                    <a:pt x="84" y="12"/>
                  </a:lnTo>
                  <a:lnTo>
                    <a:pt x="84" y="14"/>
                  </a:lnTo>
                  <a:lnTo>
                    <a:pt x="86" y="14"/>
                  </a:lnTo>
                  <a:lnTo>
                    <a:pt x="88" y="16"/>
                  </a:lnTo>
                  <a:lnTo>
                    <a:pt x="90" y="16"/>
                  </a:lnTo>
                  <a:lnTo>
                    <a:pt x="92" y="16"/>
                  </a:lnTo>
                  <a:lnTo>
                    <a:pt x="92" y="18"/>
                  </a:lnTo>
                  <a:lnTo>
                    <a:pt x="94" y="22"/>
                  </a:lnTo>
                  <a:lnTo>
                    <a:pt x="94" y="24"/>
                  </a:lnTo>
                  <a:lnTo>
                    <a:pt x="94" y="28"/>
                  </a:lnTo>
                  <a:lnTo>
                    <a:pt x="94" y="30"/>
                  </a:lnTo>
                  <a:lnTo>
                    <a:pt x="94" y="30"/>
                  </a:lnTo>
                  <a:lnTo>
                    <a:pt x="94" y="32"/>
                  </a:lnTo>
                  <a:lnTo>
                    <a:pt x="94" y="32"/>
                  </a:lnTo>
                  <a:lnTo>
                    <a:pt x="92" y="36"/>
                  </a:lnTo>
                  <a:lnTo>
                    <a:pt x="90" y="38"/>
                  </a:lnTo>
                  <a:lnTo>
                    <a:pt x="88" y="38"/>
                  </a:lnTo>
                  <a:lnTo>
                    <a:pt x="88" y="40"/>
                  </a:lnTo>
                  <a:lnTo>
                    <a:pt x="88" y="40"/>
                  </a:lnTo>
                  <a:lnTo>
                    <a:pt x="88" y="42"/>
                  </a:lnTo>
                  <a:lnTo>
                    <a:pt x="88" y="42"/>
                  </a:lnTo>
                  <a:lnTo>
                    <a:pt x="88" y="44"/>
                  </a:lnTo>
                  <a:lnTo>
                    <a:pt x="88" y="44"/>
                  </a:lnTo>
                  <a:lnTo>
                    <a:pt x="86" y="46"/>
                  </a:lnTo>
                  <a:lnTo>
                    <a:pt x="84" y="48"/>
                  </a:lnTo>
                  <a:lnTo>
                    <a:pt x="82" y="50"/>
                  </a:lnTo>
                  <a:lnTo>
                    <a:pt x="80" y="52"/>
                  </a:lnTo>
                  <a:lnTo>
                    <a:pt x="76" y="54"/>
                  </a:lnTo>
                  <a:lnTo>
                    <a:pt x="74" y="54"/>
                  </a:lnTo>
                  <a:lnTo>
                    <a:pt x="72" y="56"/>
                  </a:lnTo>
                  <a:lnTo>
                    <a:pt x="70" y="56"/>
                  </a:lnTo>
                  <a:lnTo>
                    <a:pt x="68" y="56"/>
                  </a:lnTo>
                  <a:lnTo>
                    <a:pt x="68" y="56"/>
                  </a:lnTo>
                  <a:lnTo>
                    <a:pt x="66" y="56"/>
                  </a:lnTo>
                  <a:lnTo>
                    <a:pt x="62" y="56"/>
                  </a:lnTo>
                  <a:lnTo>
                    <a:pt x="58" y="54"/>
                  </a:lnTo>
                  <a:lnTo>
                    <a:pt x="54" y="54"/>
                  </a:lnTo>
                  <a:lnTo>
                    <a:pt x="48" y="52"/>
                  </a:lnTo>
                  <a:lnTo>
                    <a:pt x="44" y="52"/>
                  </a:lnTo>
                  <a:lnTo>
                    <a:pt x="44" y="50"/>
                  </a:lnTo>
                  <a:lnTo>
                    <a:pt x="42" y="46"/>
                  </a:lnTo>
                  <a:lnTo>
                    <a:pt x="40" y="44"/>
                  </a:lnTo>
                  <a:lnTo>
                    <a:pt x="38" y="44"/>
                  </a:lnTo>
                  <a:lnTo>
                    <a:pt x="38" y="42"/>
                  </a:lnTo>
                  <a:lnTo>
                    <a:pt x="38" y="42"/>
                  </a:lnTo>
                  <a:lnTo>
                    <a:pt x="36" y="42"/>
                  </a:lnTo>
                  <a:lnTo>
                    <a:pt x="36" y="42"/>
                  </a:lnTo>
                  <a:lnTo>
                    <a:pt x="36" y="42"/>
                  </a:lnTo>
                  <a:lnTo>
                    <a:pt x="34" y="42"/>
                  </a:lnTo>
                  <a:lnTo>
                    <a:pt x="34" y="42"/>
                  </a:lnTo>
                  <a:lnTo>
                    <a:pt x="32" y="42"/>
                  </a:lnTo>
                  <a:lnTo>
                    <a:pt x="30" y="44"/>
                  </a:lnTo>
                  <a:lnTo>
                    <a:pt x="26" y="46"/>
                  </a:lnTo>
                  <a:lnTo>
                    <a:pt x="26" y="48"/>
                  </a:lnTo>
                  <a:lnTo>
                    <a:pt x="24" y="48"/>
                  </a:lnTo>
                  <a:lnTo>
                    <a:pt x="22" y="48"/>
                  </a:lnTo>
                  <a:lnTo>
                    <a:pt x="20" y="48"/>
                  </a:lnTo>
                  <a:lnTo>
                    <a:pt x="16" y="48"/>
                  </a:lnTo>
                  <a:lnTo>
                    <a:pt x="12" y="48"/>
                  </a:lnTo>
                  <a:lnTo>
                    <a:pt x="10" y="48"/>
                  </a:lnTo>
                  <a:lnTo>
                    <a:pt x="8" y="48"/>
                  </a:lnTo>
                  <a:lnTo>
                    <a:pt x="8" y="48"/>
                  </a:lnTo>
                  <a:lnTo>
                    <a:pt x="6" y="46"/>
                  </a:lnTo>
                  <a:lnTo>
                    <a:pt x="4" y="46"/>
                  </a:lnTo>
                  <a:lnTo>
                    <a:pt x="2" y="4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7" name="Freeform 265">
              <a:extLst>
                <a:ext uri="{FF2B5EF4-FFF2-40B4-BE49-F238E27FC236}">
                  <a16:creationId xmlns:a16="http://schemas.microsoft.com/office/drawing/2014/main" id="{7A8E3202-3C97-4B67-8360-92E49F82920E}"/>
                </a:ext>
              </a:extLst>
            </p:cNvPr>
            <p:cNvSpPr>
              <a:spLocks/>
            </p:cNvSpPr>
            <p:nvPr/>
          </p:nvSpPr>
          <p:spPr bwMode="auto">
            <a:xfrm>
              <a:off x="4497846" y="3142770"/>
              <a:ext cx="162815" cy="96996"/>
            </a:xfrm>
            <a:custGeom>
              <a:avLst/>
              <a:gdLst>
                <a:gd name="T0" fmla="*/ 2 w 94"/>
                <a:gd name="T1" fmla="*/ 34 h 56"/>
                <a:gd name="T2" fmla="*/ 10 w 94"/>
                <a:gd name="T3" fmla="*/ 36 h 56"/>
                <a:gd name="T4" fmla="*/ 14 w 94"/>
                <a:gd name="T5" fmla="*/ 36 h 56"/>
                <a:gd name="T6" fmla="*/ 24 w 94"/>
                <a:gd name="T7" fmla="*/ 30 h 56"/>
                <a:gd name="T8" fmla="*/ 36 w 94"/>
                <a:gd name="T9" fmla="*/ 24 h 56"/>
                <a:gd name="T10" fmla="*/ 44 w 94"/>
                <a:gd name="T11" fmla="*/ 18 h 56"/>
                <a:gd name="T12" fmla="*/ 46 w 94"/>
                <a:gd name="T13" fmla="*/ 16 h 56"/>
                <a:gd name="T14" fmla="*/ 48 w 94"/>
                <a:gd name="T15" fmla="*/ 10 h 56"/>
                <a:gd name="T16" fmla="*/ 48 w 94"/>
                <a:gd name="T17" fmla="*/ 0 h 56"/>
                <a:gd name="T18" fmla="*/ 54 w 94"/>
                <a:gd name="T19" fmla="*/ 6 h 56"/>
                <a:gd name="T20" fmla="*/ 58 w 94"/>
                <a:gd name="T21" fmla="*/ 10 h 56"/>
                <a:gd name="T22" fmla="*/ 60 w 94"/>
                <a:gd name="T23" fmla="*/ 10 h 56"/>
                <a:gd name="T24" fmla="*/ 66 w 94"/>
                <a:gd name="T25" fmla="*/ 10 h 56"/>
                <a:gd name="T26" fmla="*/ 68 w 94"/>
                <a:gd name="T27" fmla="*/ 10 h 56"/>
                <a:gd name="T28" fmla="*/ 70 w 94"/>
                <a:gd name="T29" fmla="*/ 8 h 56"/>
                <a:gd name="T30" fmla="*/ 70 w 94"/>
                <a:gd name="T31" fmla="*/ 2 h 56"/>
                <a:gd name="T32" fmla="*/ 72 w 94"/>
                <a:gd name="T33" fmla="*/ 0 h 56"/>
                <a:gd name="T34" fmla="*/ 76 w 94"/>
                <a:gd name="T35" fmla="*/ 0 h 56"/>
                <a:gd name="T36" fmla="*/ 82 w 94"/>
                <a:gd name="T37" fmla="*/ 0 h 56"/>
                <a:gd name="T38" fmla="*/ 84 w 94"/>
                <a:gd name="T39" fmla="*/ 2 h 56"/>
                <a:gd name="T40" fmla="*/ 84 w 94"/>
                <a:gd name="T41" fmla="*/ 4 h 56"/>
                <a:gd name="T42" fmla="*/ 84 w 94"/>
                <a:gd name="T43" fmla="*/ 8 h 56"/>
                <a:gd name="T44" fmla="*/ 82 w 94"/>
                <a:gd name="T45" fmla="*/ 10 h 56"/>
                <a:gd name="T46" fmla="*/ 84 w 94"/>
                <a:gd name="T47" fmla="*/ 12 h 56"/>
                <a:gd name="T48" fmla="*/ 88 w 94"/>
                <a:gd name="T49" fmla="*/ 16 h 56"/>
                <a:gd name="T50" fmla="*/ 92 w 94"/>
                <a:gd name="T51" fmla="*/ 18 h 56"/>
                <a:gd name="T52" fmla="*/ 94 w 94"/>
                <a:gd name="T53" fmla="*/ 28 h 56"/>
                <a:gd name="T54" fmla="*/ 94 w 94"/>
                <a:gd name="T55" fmla="*/ 32 h 56"/>
                <a:gd name="T56" fmla="*/ 90 w 94"/>
                <a:gd name="T57" fmla="*/ 38 h 56"/>
                <a:gd name="T58" fmla="*/ 88 w 94"/>
                <a:gd name="T59" fmla="*/ 40 h 56"/>
                <a:gd name="T60" fmla="*/ 88 w 94"/>
                <a:gd name="T61" fmla="*/ 44 h 56"/>
                <a:gd name="T62" fmla="*/ 84 w 94"/>
                <a:gd name="T63" fmla="*/ 48 h 56"/>
                <a:gd name="T64" fmla="*/ 76 w 94"/>
                <a:gd name="T65" fmla="*/ 54 h 56"/>
                <a:gd name="T66" fmla="*/ 70 w 94"/>
                <a:gd name="T67" fmla="*/ 56 h 56"/>
                <a:gd name="T68" fmla="*/ 66 w 94"/>
                <a:gd name="T69" fmla="*/ 56 h 56"/>
                <a:gd name="T70" fmla="*/ 54 w 94"/>
                <a:gd name="T71" fmla="*/ 54 h 56"/>
                <a:gd name="T72" fmla="*/ 44 w 94"/>
                <a:gd name="T73" fmla="*/ 50 h 56"/>
                <a:gd name="T74" fmla="*/ 38 w 94"/>
                <a:gd name="T75" fmla="*/ 44 h 56"/>
                <a:gd name="T76" fmla="*/ 36 w 94"/>
                <a:gd name="T77" fmla="*/ 42 h 56"/>
                <a:gd name="T78" fmla="*/ 34 w 94"/>
                <a:gd name="T79" fmla="*/ 42 h 56"/>
                <a:gd name="T80" fmla="*/ 30 w 94"/>
                <a:gd name="T81" fmla="*/ 44 h 56"/>
                <a:gd name="T82" fmla="*/ 24 w 94"/>
                <a:gd name="T83" fmla="*/ 48 h 56"/>
                <a:gd name="T84" fmla="*/ 16 w 94"/>
                <a:gd name="T85" fmla="*/ 48 h 56"/>
                <a:gd name="T86" fmla="*/ 8 w 94"/>
                <a:gd name="T87" fmla="*/ 48 h 56"/>
                <a:gd name="T88" fmla="*/ 4 w 94"/>
                <a:gd name="T89"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56">
                  <a:moveTo>
                    <a:pt x="2" y="44"/>
                  </a:moveTo>
                  <a:lnTo>
                    <a:pt x="0" y="34"/>
                  </a:lnTo>
                  <a:lnTo>
                    <a:pt x="2" y="34"/>
                  </a:lnTo>
                  <a:lnTo>
                    <a:pt x="6" y="36"/>
                  </a:lnTo>
                  <a:lnTo>
                    <a:pt x="8" y="36"/>
                  </a:lnTo>
                  <a:lnTo>
                    <a:pt x="10" y="36"/>
                  </a:lnTo>
                  <a:lnTo>
                    <a:pt x="10" y="36"/>
                  </a:lnTo>
                  <a:lnTo>
                    <a:pt x="12" y="36"/>
                  </a:lnTo>
                  <a:lnTo>
                    <a:pt x="14" y="36"/>
                  </a:lnTo>
                  <a:lnTo>
                    <a:pt x="18" y="34"/>
                  </a:lnTo>
                  <a:lnTo>
                    <a:pt x="20" y="32"/>
                  </a:lnTo>
                  <a:lnTo>
                    <a:pt x="24" y="30"/>
                  </a:lnTo>
                  <a:lnTo>
                    <a:pt x="28" y="28"/>
                  </a:lnTo>
                  <a:lnTo>
                    <a:pt x="32" y="28"/>
                  </a:lnTo>
                  <a:lnTo>
                    <a:pt x="36" y="24"/>
                  </a:lnTo>
                  <a:lnTo>
                    <a:pt x="38" y="22"/>
                  </a:lnTo>
                  <a:lnTo>
                    <a:pt x="42" y="20"/>
                  </a:lnTo>
                  <a:lnTo>
                    <a:pt x="44" y="18"/>
                  </a:lnTo>
                  <a:lnTo>
                    <a:pt x="46" y="16"/>
                  </a:lnTo>
                  <a:lnTo>
                    <a:pt x="46" y="16"/>
                  </a:lnTo>
                  <a:lnTo>
                    <a:pt x="46" y="16"/>
                  </a:lnTo>
                  <a:lnTo>
                    <a:pt x="46" y="14"/>
                  </a:lnTo>
                  <a:lnTo>
                    <a:pt x="48" y="12"/>
                  </a:lnTo>
                  <a:lnTo>
                    <a:pt x="48" y="10"/>
                  </a:lnTo>
                  <a:lnTo>
                    <a:pt x="48" y="6"/>
                  </a:lnTo>
                  <a:lnTo>
                    <a:pt x="48" y="2"/>
                  </a:lnTo>
                  <a:lnTo>
                    <a:pt x="48" y="0"/>
                  </a:lnTo>
                  <a:lnTo>
                    <a:pt x="48" y="2"/>
                  </a:lnTo>
                  <a:lnTo>
                    <a:pt x="52" y="4"/>
                  </a:lnTo>
                  <a:lnTo>
                    <a:pt x="54" y="6"/>
                  </a:lnTo>
                  <a:lnTo>
                    <a:pt x="56" y="8"/>
                  </a:lnTo>
                  <a:lnTo>
                    <a:pt x="56" y="10"/>
                  </a:lnTo>
                  <a:lnTo>
                    <a:pt x="58" y="10"/>
                  </a:lnTo>
                  <a:lnTo>
                    <a:pt x="58" y="10"/>
                  </a:lnTo>
                  <a:lnTo>
                    <a:pt x="60" y="10"/>
                  </a:lnTo>
                  <a:lnTo>
                    <a:pt x="60" y="10"/>
                  </a:lnTo>
                  <a:lnTo>
                    <a:pt x="62" y="10"/>
                  </a:lnTo>
                  <a:lnTo>
                    <a:pt x="64" y="10"/>
                  </a:lnTo>
                  <a:lnTo>
                    <a:pt x="66" y="10"/>
                  </a:lnTo>
                  <a:lnTo>
                    <a:pt x="66" y="10"/>
                  </a:lnTo>
                  <a:lnTo>
                    <a:pt x="68" y="10"/>
                  </a:lnTo>
                  <a:lnTo>
                    <a:pt x="68" y="10"/>
                  </a:lnTo>
                  <a:lnTo>
                    <a:pt x="68" y="8"/>
                  </a:lnTo>
                  <a:lnTo>
                    <a:pt x="70" y="8"/>
                  </a:lnTo>
                  <a:lnTo>
                    <a:pt x="70" y="8"/>
                  </a:lnTo>
                  <a:lnTo>
                    <a:pt x="70" y="4"/>
                  </a:lnTo>
                  <a:lnTo>
                    <a:pt x="70" y="4"/>
                  </a:lnTo>
                  <a:lnTo>
                    <a:pt x="70" y="2"/>
                  </a:lnTo>
                  <a:lnTo>
                    <a:pt x="72" y="2"/>
                  </a:lnTo>
                  <a:lnTo>
                    <a:pt x="72" y="0"/>
                  </a:lnTo>
                  <a:lnTo>
                    <a:pt x="72" y="0"/>
                  </a:lnTo>
                  <a:lnTo>
                    <a:pt x="72" y="0"/>
                  </a:lnTo>
                  <a:lnTo>
                    <a:pt x="74" y="0"/>
                  </a:lnTo>
                  <a:lnTo>
                    <a:pt x="76" y="0"/>
                  </a:lnTo>
                  <a:lnTo>
                    <a:pt x="78" y="0"/>
                  </a:lnTo>
                  <a:lnTo>
                    <a:pt x="80" y="0"/>
                  </a:lnTo>
                  <a:lnTo>
                    <a:pt x="82" y="0"/>
                  </a:lnTo>
                  <a:lnTo>
                    <a:pt x="84" y="2"/>
                  </a:lnTo>
                  <a:lnTo>
                    <a:pt x="84" y="2"/>
                  </a:lnTo>
                  <a:lnTo>
                    <a:pt x="84" y="2"/>
                  </a:lnTo>
                  <a:lnTo>
                    <a:pt x="84" y="2"/>
                  </a:lnTo>
                  <a:lnTo>
                    <a:pt x="84" y="2"/>
                  </a:lnTo>
                  <a:lnTo>
                    <a:pt x="84" y="4"/>
                  </a:lnTo>
                  <a:lnTo>
                    <a:pt x="84" y="6"/>
                  </a:lnTo>
                  <a:lnTo>
                    <a:pt x="84" y="6"/>
                  </a:lnTo>
                  <a:lnTo>
                    <a:pt x="84" y="8"/>
                  </a:lnTo>
                  <a:lnTo>
                    <a:pt x="82" y="10"/>
                  </a:lnTo>
                  <a:lnTo>
                    <a:pt x="82" y="10"/>
                  </a:lnTo>
                  <a:lnTo>
                    <a:pt x="82" y="10"/>
                  </a:lnTo>
                  <a:lnTo>
                    <a:pt x="82" y="12"/>
                  </a:lnTo>
                  <a:lnTo>
                    <a:pt x="84" y="12"/>
                  </a:lnTo>
                  <a:lnTo>
                    <a:pt x="84" y="12"/>
                  </a:lnTo>
                  <a:lnTo>
                    <a:pt x="84" y="14"/>
                  </a:lnTo>
                  <a:lnTo>
                    <a:pt x="86" y="14"/>
                  </a:lnTo>
                  <a:lnTo>
                    <a:pt x="88" y="16"/>
                  </a:lnTo>
                  <a:lnTo>
                    <a:pt x="90" y="16"/>
                  </a:lnTo>
                  <a:lnTo>
                    <a:pt x="92" y="16"/>
                  </a:lnTo>
                  <a:lnTo>
                    <a:pt x="92" y="18"/>
                  </a:lnTo>
                  <a:lnTo>
                    <a:pt x="94" y="22"/>
                  </a:lnTo>
                  <a:lnTo>
                    <a:pt x="94" y="24"/>
                  </a:lnTo>
                  <a:lnTo>
                    <a:pt x="94" y="28"/>
                  </a:lnTo>
                  <a:lnTo>
                    <a:pt x="94" y="30"/>
                  </a:lnTo>
                  <a:lnTo>
                    <a:pt x="94" y="30"/>
                  </a:lnTo>
                  <a:lnTo>
                    <a:pt x="94" y="32"/>
                  </a:lnTo>
                  <a:lnTo>
                    <a:pt x="94" y="32"/>
                  </a:lnTo>
                  <a:lnTo>
                    <a:pt x="92" y="36"/>
                  </a:lnTo>
                  <a:lnTo>
                    <a:pt x="90" y="38"/>
                  </a:lnTo>
                  <a:lnTo>
                    <a:pt x="88" y="38"/>
                  </a:lnTo>
                  <a:lnTo>
                    <a:pt x="88" y="40"/>
                  </a:lnTo>
                  <a:lnTo>
                    <a:pt x="88" y="40"/>
                  </a:lnTo>
                  <a:lnTo>
                    <a:pt x="88" y="42"/>
                  </a:lnTo>
                  <a:lnTo>
                    <a:pt x="88" y="42"/>
                  </a:lnTo>
                  <a:lnTo>
                    <a:pt x="88" y="44"/>
                  </a:lnTo>
                  <a:lnTo>
                    <a:pt x="88" y="44"/>
                  </a:lnTo>
                  <a:lnTo>
                    <a:pt x="86" y="46"/>
                  </a:lnTo>
                  <a:lnTo>
                    <a:pt x="84" y="48"/>
                  </a:lnTo>
                  <a:lnTo>
                    <a:pt x="82" y="50"/>
                  </a:lnTo>
                  <a:lnTo>
                    <a:pt x="80" y="52"/>
                  </a:lnTo>
                  <a:lnTo>
                    <a:pt x="76" y="54"/>
                  </a:lnTo>
                  <a:lnTo>
                    <a:pt x="74" y="54"/>
                  </a:lnTo>
                  <a:lnTo>
                    <a:pt x="72" y="56"/>
                  </a:lnTo>
                  <a:lnTo>
                    <a:pt x="70" y="56"/>
                  </a:lnTo>
                  <a:lnTo>
                    <a:pt x="68" y="56"/>
                  </a:lnTo>
                  <a:lnTo>
                    <a:pt x="68" y="56"/>
                  </a:lnTo>
                  <a:lnTo>
                    <a:pt x="66" y="56"/>
                  </a:lnTo>
                  <a:lnTo>
                    <a:pt x="62" y="56"/>
                  </a:lnTo>
                  <a:lnTo>
                    <a:pt x="58" y="54"/>
                  </a:lnTo>
                  <a:lnTo>
                    <a:pt x="54" y="54"/>
                  </a:lnTo>
                  <a:lnTo>
                    <a:pt x="48" y="52"/>
                  </a:lnTo>
                  <a:lnTo>
                    <a:pt x="44" y="52"/>
                  </a:lnTo>
                  <a:lnTo>
                    <a:pt x="44" y="50"/>
                  </a:lnTo>
                  <a:lnTo>
                    <a:pt x="42" y="46"/>
                  </a:lnTo>
                  <a:lnTo>
                    <a:pt x="40" y="44"/>
                  </a:lnTo>
                  <a:lnTo>
                    <a:pt x="38" y="44"/>
                  </a:lnTo>
                  <a:lnTo>
                    <a:pt x="38" y="42"/>
                  </a:lnTo>
                  <a:lnTo>
                    <a:pt x="38" y="42"/>
                  </a:lnTo>
                  <a:lnTo>
                    <a:pt x="36" y="42"/>
                  </a:lnTo>
                  <a:lnTo>
                    <a:pt x="36" y="42"/>
                  </a:lnTo>
                  <a:lnTo>
                    <a:pt x="36" y="42"/>
                  </a:lnTo>
                  <a:lnTo>
                    <a:pt x="34" y="42"/>
                  </a:lnTo>
                  <a:lnTo>
                    <a:pt x="34" y="42"/>
                  </a:lnTo>
                  <a:lnTo>
                    <a:pt x="32" y="42"/>
                  </a:lnTo>
                  <a:lnTo>
                    <a:pt x="30" y="44"/>
                  </a:lnTo>
                  <a:lnTo>
                    <a:pt x="26" y="46"/>
                  </a:lnTo>
                  <a:lnTo>
                    <a:pt x="26" y="48"/>
                  </a:lnTo>
                  <a:lnTo>
                    <a:pt x="24" y="48"/>
                  </a:lnTo>
                  <a:lnTo>
                    <a:pt x="22" y="48"/>
                  </a:lnTo>
                  <a:lnTo>
                    <a:pt x="20" y="48"/>
                  </a:lnTo>
                  <a:lnTo>
                    <a:pt x="16" y="48"/>
                  </a:lnTo>
                  <a:lnTo>
                    <a:pt x="12" y="48"/>
                  </a:lnTo>
                  <a:lnTo>
                    <a:pt x="10" y="48"/>
                  </a:lnTo>
                  <a:lnTo>
                    <a:pt x="8" y="48"/>
                  </a:lnTo>
                  <a:lnTo>
                    <a:pt x="8" y="48"/>
                  </a:lnTo>
                  <a:lnTo>
                    <a:pt x="6" y="46"/>
                  </a:lnTo>
                  <a:lnTo>
                    <a:pt x="4" y="46"/>
                  </a:lnTo>
                  <a:lnTo>
                    <a:pt x="2" y="44"/>
                  </a:lnTo>
                </a:path>
              </a:pathLst>
            </a:custGeom>
            <a:grp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8" name="Freeform 266">
              <a:extLst>
                <a:ext uri="{FF2B5EF4-FFF2-40B4-BE49-F238E27FC236}">
                  <a16:creationId xmlns:a16="http://schemas.microsoft.com/office/drawing/2014/main" id="{CC562865-7478-453A-BE3D-9C3B62B40DAC}"/>
                </a:ext>
              </a:extLst>
            </p:cNvPr>
            <p:cNvSpPr>
              <a:spLocks/>
            </p:cNvSpPr>
            <p:nvPr/>
          </p:nvSpPr>
          <p:spPr bwMode="auto">
            <a:xfrm>
              <a:off x="4497846" y="3142770"/>
              <a:ext cx="162815" cy="96996"/>
            </a:xfrm>
            <a:custGeom>
              <a:avLst/>
              <a:gdLst>
                <a:gd name="T0" fmla="*/ 2 w 94"/>
                <a:gd name="T1" fmla="*/ 34 h 56"/>
                <a:gd name="T2" fmla="*/ 10 w 94"/>
                <a:gd name="T3" fmla="*/ 36 h 56"/>
                <a:gd name="T4" fmla="*/ 14 w 94"/>
                <a:gd name="T5" fmla="*/ 36 h 56"/>
                <a:gd name="T6" fmla="*/ 24 w 94"/>
                <a:gd name="T7" fmla="*/ 30 h 56"/>
                <a:gd name="T8" fmla="*/ 36 w 94"/>
                <a:gd name="T9" fmla="*/ 24 h 56"/>
                <a:gd name="T10" fmla="*/ 44 w 94"/>
                <a:gd name="T11" fmla="*/ 18 h 56"/>
                <a:gd name="T12" fmla="*/ 46 w 94"/>
                <a:gd name="T13" fmla="*/ 16 h 56"/>
                <a:gd name="T14" fmla="*/ 48 w 94"/>
                <a:gd name="T15" fmla="*/ 10 h 56"/>
                <a:gd name="T16" fmla="*/ 48 w 94"/>
                <a:gd name="T17" fmla="*/ 0 h 56"/>
                <a:gd name="T18" fmla="*/ 54 w 94"/>
                <a:gd name="T19" fmla="*/ 6 h 56"/>
                <a:gd name="T20" fmla="*/ 58 w 94"/>
                <a:gd name="T21" fmla="*/ 10 h 56"/>
                <a:gd name="T22" fmla="*/ 60 w 94"/>
                <a:gd name="T23" fmla="*/ 10 h 56"/>
                <a:gd name="T24" fmla="*/ 66 w 94"/>
                <a:gd name="T25" fmla="*/ 10 h 56"/>
                <a:gd name="T26" fmla="*/ 68 w 94"/>
                <a:gd name="T27" fmla="*/ 10 h 56"/>
                <a:gd name="T28" fmla="*/ 70 w 94"/>
                <a:gd name="T29" fmla="*/ 8 h 56"/>
                <a:gd name="T30" fmla="*/ 70 w 94"/>
                <a:gd name="T31" fmla="*/ 2 h 56"/>
                <a:gd name="T32" fmla="*/ 72 w 94"/>
                <a:gd name="T33" fmla="*/ 0 h 56"/>
                <a:gd name="T34" fmla="*/ 76 w 94"/>
                <a:gd name="T35" fmla="*/ 0 h 56"/>
                <a:gd name="T36" fmla="*/ 82 w 94"/>
                <a:gd name="T37" fmla="*/ 0 h 56"/>
                <a:gd name="T38" fmla="*/ 84 w 94"/>
                <a:gd name="T39" fmla="*/ 2 h 56"/>
                <a:gd name="T40" fmla="*/ 84 w 94"/>
                <a:gd name="T41" fmla="*/ 4 h 56"/>
                <a:gd name="T42" fmla="*/ 84 w 94"/>
                <a:gd name="T43" fmla="*/ 8 h 56"/>
                <a:gd name="T44" fmla="*/ 82 w 94"/>
                <a:gd name="T45" fmla="*/ 10 h 56"/>
                <a:gd name="T46" fmla="*/ 84 w 94"/>
                <a:gd name="T47" fmla="*/ 12 h 56"/>
                <a:gd name="T48" fmla="*/ 88 w 94"/>
                <a:gd name="T49" fmla="*/ 16 h 56"/>
                <a:gd name="T50" fmla="*/ 92 w 94"/>
                <a:gd name="T51" fmla="*/ 18 h 56"/>
                <a:gd name="T52" fmla="*/ 94 w 94"/>
                <a:gd name="T53" fmla="*/ 28 h 56"/>
                <a:gd name="T54" fmla="*/ 94 w 94"/>
                <a:gd name="T55" fmla="*/ 32 h 56"/>
                <a:gd name="T56" fmla="*/ 90 w 94"/>
                <a:gd name="T57" fmla="*/ 38 h 56"/>
                <a:gd name="T58" fmla="*/ 88 w 94"/>
                <a:gd name="T59" fmla="*/ 40 h 56"/>
                <a:gd name="T60" fmla="*/ 88 w 94"/>
                <a:gd name="T61" fmla="*/ 44 h 56"/>
                <a:gd name="T62" fmla="*/ 84 w 94"/>
                <a:gd name="T63" fmla="*/ 48 h 56"/>
                <a:gd name="T64" fmla="*/ 76 w 94"/>
                <a:gd name="T65" fmla="*/ 54 h 56"/>
                <a:gd name="T66" fmla="*/ 70 w 94"/>
                <a:gd name="T67" fmla="*/ 56 h 56"/>
                <a:gd name="T68" fmla="*/ 66 w 94"/>
                <a:gd name="T69" fmla="*/ 56 h 56"/>
                <a:gd name="T70" fmla="*/ 54 w 94"/>
                <a:gd name="T71" fmla="*/ 54 h 56"/>
                <a:gd name="T72" fmla="*/ 44 w 94"/>
                <a:gd name="T73" fmla="*/ 50 h 56"/>
                <a:gd name="T74" fmla="*/ 38 w 94"/>
                <a:gd name="T75" fmla="*/ 44 h 56"/>
                <a:gd name="T76" fmla="*/ 36 w 94"/>
                <a:gd name="T77" fmla="*/ 42 h 56"/>
                <a:gd name="T78" fmla="*/ 34 w 94"/>
                <a:gd name="T79" fmla="*/ 42 h 56"/>
                <a:gd name="T80" fmla="*/ 30 w 94"/>
                <a:gd name="T81" fmla="*/ 44 h 56"/>
                <a:gd name="T82" fmla="*/ 24 w 94"/>
                <a:gd name="T83" fmla="*/ 48 h 56"/>
                <a:gd name="T84" fmla="*/ 16 w 94"/>
                <a:gd name="T85" fmla="*/ 48 h 56"/>
                <a:gd name="T86" fmla="*/ 8 w 94"/>
                <a:gd name="T87" fmla="*/ 48 h 56"/>
                <a:gd name="T88" fmla="*/ 4 w 94"/>
                <a:gd name="T89"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56">
                  <a:moveTo>
                    <a:pt x="2" y="44"/>
                  </a:moveTo>
                  <a:lnTo>
                    <a:pt x="0" y="34"/>
                  </a:lnTo>
                  <a:lnTo>
                    <a:pt x="2" y="34"/>
                  </a:lnTo>
                  <a:lnTo>
                    <a:pt x="6" y="36"/>
                  </a:lnTo>
                  <a:lnTo>
                    <a:pt x="8" y="36"/>
                  </a:lnTo>
                  <a:lnTo>
                    <a:pt x="10" y="36"/>
                  </a:lnTo>
                  <a:lnTo>
                    <a:pt x="10" y="36"/>
                  </a:lnTo>
                  <a:lnTo>
                    <a:pt x="12" y="36"/>
                  </a:lnTo>
                  <a:lnTo>
                    <a:pt x="14" y="36"/>
                  </a:lnTo>
                  <a:lnTo>
                    <a:pt x="18" y="34"/>
                  </a:lnTo>
                  <a:lnTo>
                    <a:pt x="20" y="32"/>
                  </a:lnTo>
                  <a:lnTo>
                    <a:pt x="24" y="30"/>
                  </a:lnTo>
                  <a:lnTo>
                    <a:pt x="28" y="28"/>
                  </a:lnTo>
                  <a:lnTo>
                    <a:pt x="32" y="28"/>
                  </a:lnTo>
                  <a:lnTo>
                    <a:pt x="36" y="24"/>
                  </a:lnTo>
                  <a:lnTo>
                    <a:pt x="38" y="22"/>
                  </a:lnTo>
                  <a:lnTo>
                    <a:pt x="42" y="20"/>
                  </a:lnTo>
                  <a:lnTo>
                    <a:pt x="44" y="18"/>
                  </a:lnTo>
                  <a:lnTo>
                    <a:pt x="46" y="16"/>
                  </a:lnTo>
                  <a:lnTo>
                    <a:pt x="46" y="16"/>
                  </a:lnTo>
                  <a:lnTo>
                    <a:pt x="46" y="16"/>
                  </a:lnTo>
                  <a:lnTo>
                    <a:pt x="46" y="14"/>
                  </a:lnTo>
                  <a:lnTo>
                    <a:pt x="48" y="12"/>
                  </a:lnTo>
                  <a:lnTo>
                    <a:pt x="48" y="10"/>
                  </a:lnTo>
                  <a:lnTo>
                    <a:pt x="48" y="6"/>
                  </a:lnTo>
                  <a:lnTo>
                    <a:pt x="48" y="2"/>
                  </a:lnTo>
                  <a:lnTo>
                    <a:pt x="48" y="0"/>
                  </a:lnTo>
                  <a:lnTo>
                    <a:pt x="48" y="2"/>
                  </a:lnTo>
                  <a:lnTo>
                    <a:pt x="52" y="4"/>
                  </a:lnTo>
                  <a:lnTo>
                    <a:pt x="54" y="6"/>
                  </a:lnTo>
                  <a:lnTo>
                    <a:pt x="56" y="8"/>
                  </a:lnTo>
                  <a:lnTo>
                    <a:pt x="56" y="10"/>
                  </a:lnTo>
                  <a:lnTo>
                    <a:pt x="58" y="10"/>
                  </a:lnTo>
                  <a:lnTo>
                    <a:pt x="58" y="10"/>
                  </a:lnTo>
                  <a:lnTo>
                    <a:pt x="60" y="10"/>
                  </a:lnTo>
                  <a:lnTo>
                    <a:pt x="60" y="10"/>
                  </a:lnTo>
                  <a:lnTo>
                    <a:pt x="62" y="10"/>
                  </a:lnTo>
                  <a:lnTo>
                    <a:pt x="64" y="10"/>
                  </a:lnTo>
                  <a:lnTo>
                    <a:pt x="66" y="10"/>
                  </a:lnTo>
                  <a:lnTo>
                    <a:pt x="66" y="10"/>
                  </a:lnTo>
                  <a:lnTo>
                    <a:pt x="68" y="10"/>
                  </a:lnTo>
                  <a:lnTo>
                    <a:pt x="68" y="10"/>
                  </a:lnTo>
                  <a:lnTo>
                    <a:pt x="68" y="8"/>
                  </a:lnTo>
                  <a:lnTo>
                    <a:pt x="70" y="8"/>
                  </a:lnTo>
                  <a:lnTo>
                    <a:pt x="70" y="8"/>
                  </a:lnTo>
                  <a:lnTo>
                    <a:pt x="70" y="4"/>
                  </a:lnTo>
                  <a:lnTo>
                    <a:pt x="70" y="4"/>
                  </a:lnTo>
                  <a:lnTo>
                    <a:pt x="70" y="2"/>
                  </a:lnTo>
                  <a:lnTo>
                    <a:pt x="72" y="2"/>
                  </a:lnTo>
                  <a:lnTo>
                    <a:pt x="72" y="0"/>
                  </a:lnTo>
                  <a:lnTo>
                    <a:pt x="72" y="0"/>
                  </a:lnTo>
                  <a:lnTo>
                    <a:pt x="72" y="0"/>
                  </a:lnTo>
                  <a:lnTo>
                    <a:pt x="74" y="0"/>
                  </a:lnTo>
                  <a:lnTo>
                    <a:pt x="76" y="0"/>
                  </a:lnTo>
                  <a:lnTo>
                    <a:pt x="78" y="0"/>
                  </a:lnTo>
                  <a:lnTo>
                    <a:pt x="80" y="0"/>
                  </a:lnTo>
                  <a:lnTo>
                    <a:pt x="82" y="0"/>
                  </a:lnTo>
                  <a:lnTo>
                    <a:pt x="84" y="2"/>
                  </a:lnTo>
                  <a:lnTo>
                    <a:pt x="84" y="2"/>
                  </a:lnTo>
                  <a:lnTo>
                    <a:pt x="84" y="2"/>
                  </a:lnTo>
                  <a:lnTo>
                    <a:pt x="84" y="2"/>
                  </a:lnTo>
                  <a:lnTo>
                    <a:pt x="84" y="2"/>
                  </a:lnTo>
                  <a:lnTo>
                    <a:pt x="84" y="4"/>
                  </a:lnTo>
                  <a:lnTo>
                    <a:pt x="84" y="6"/>
                  </a:lnTo>
                  <a:lnTo>
                    <a:pt x="84" y="6"/>
                  </a:lnTo>
                  <a:lnTo>
                    <a:pt x="84" y="8"/>
                  </a:lnTo>
                  <a:lnTo>
                    <a:pt x="82" y="10"/>
                  </a:lnTo>
                  <a:lnTo>
                    <a:pt x="82" y="10"/>
                  </a:lnTo>
                  <a:lnTo>
                    <a:pt x="82" y="10"/>
                  </a:lnTo>
                  <a:lnTo>
                    <a:pt x="82" y="12"/>
                  </a:lnTo>
                  <a:lnTo>
                    <a:pt x="84" y="12"/>
                  </a:lnTo>
                  <a:lnTo>
                    <a:pt x="84" y="12"/>
                  </a:lnTo>
                  <a:lnTo>
                    <a:pt x="84" y="14"/>
                  </a:lnTo>
                  <a:lnTo>
                    <a:pt x="86" y="14"/>
                  </a:lnTo>
                  <a:lnTo>
                    <a:pt x="88" y="16"/>
                  </a:lnTo>
                  <a:lnTo>
                    <a:pt x="90" y="16"/>
                  </a:lnTo>
                  <a:lnTo>
                    <a:pt x="92" y="16"/>
                  </a:lnTo>
                  <a:lnTo>
                    <a:pt x="92" y="18"/>
                  </a:lnTo>
                  <a:lnTo>
                    <a:pt x="94" y="22"/>
                  </a:lnTo>
                  <a:lnTo>
                    <a:pt x="94" y="24"/>
                  </a:lnTo>
                  <a:lnTo>
                    <a:pt x="94" y="28"/>
                  </a:lnTo>
                  <a:lnTo>
                    <a:pt x="94" y="30"/>
                  </a:lnTo>
                  <a:lnTo>
                    <a:pt x="94" y="30"/>
                  </a:lnTo>
                  <a:lnTo>
                    <a:pt x="94" y="32"/>
                  </a:lnTo>
                  <a:lnTo>
                    <a:pt x="94" y="32"/>
                  </a:lnTo>
                  <a:lnTo>
                    <a:pt x="92" y="36"/>
                  </a:lnTo>
                  <a:lnTo>
                    <a:pt x="90" y="38"/>
                  </a:lnTo>
                  <a:lnTo>
                    <a:pt x="88" y="38"/>
                  </a:lnTo>
                  <a:lnTo>
                    <a:pt x="88" y="40"/>
                  </a:lnTo>
                  <a:lnTo>
                    <a:pt x="88" y="40"/>
                  </a:lnTo>
                  <a:lnTo>
                    <a:pt x="88" y="42"/>
                  </a:lnTo>
                  <a:lnTo>
                    <a:pt x="88" y="42"/>
                  </a:lnTo>
                  <a:lnTo>
                    <a:pt x="88" y="44"/>
                  </a:lnTo>
                  <a:lnTo>
                    <a:pt x="88" y="44"/>
                  </a:lnTo>
                  <a:lnTo>
                    <a:pt x="86" y="46"/>
                  </a:lnTo>
                  <a:lnTo>
                    <a:pt x="84" y="48"/>
                  </a:lnTo>
                  <a:lnTo>
                    <a:pt x="82" y="50"/>
                  </a:lnTo>
                  <a:lnTo>
                    <a:pt x="80" y="52"/>
                  </a:lnTo>
                  <a:lnTo>
                    <a:pt x="76" y="54"/>
                  </a:lnTo>
                  <a:lnTo>
                    <a:pt x="74" y="54"/>
                  </a:lnTo>
                  <a:lnTo>
                    <a:pt x="72" y="56"/>
                  </a:lnTo>
                  <a:lnTo>
                    <a:pt x="70" y="56"/>
                  </a:lnTo>
                  <a:lnTo>
                    <a:pt x="68" y="56"/>
                  </a:lnTo>
                  <a:lnTo>
                    <a:pt x="68" y="56"/>
                  </a:lnTo>
                  <a:lnTo>
                    <a:pt x="66" y="56"/>
                  </a:lnTo>
                  <a:lnTo>
                    <a:pt x="62" y="56"/>
                  </a:lnTo>
                  <a:lnTo>
                    <a:pt x="58" y="54"/>
                  </a:lnTo>
                  <a:lnTo>
                    <a:pt x="54" y="54"/>
                  </a:lnTo>
                  <a:lnTo>
                    <a:pt x="48" y="52"/>
                  </a:lnTo>
                  <a:lnTo>
                    <a:pt x="44" y="52"/>
                  </a:lnTo>
                  <a:lnTo>
                    <a:pt x="44" y="50"/>
                  </a:lnTo>
                  <a:lnTo>
                    <a:pt x="42" y="46"/>
                  </a:lnTo>
                  <a:lnTo>
                    <a:pt x="40" y="44"/>
                  </a:lnTo>
                  <a:lnTo>
                    <a:pt x="38" y="44"/>
                  </a:lnTo>
                  <a:lnTo>
                    <a:pt x="38" y="42"/>
                  </a:lnTo>
                  <a:lnTo>
                    <a:pt x="38" y="42"/>
                  </a:lnTo>
                  <a:lnTo>
                    <a:pt x="36" y="42"/>
                  </a:lnTo>
                  <a:lnTo>
                    <a:pt x="36" y="42"/>
                  </a:lnTo>
                  <a:lnTo>
                    <a:pt x="36" y="42"/>
                  </a:lnTo>
                  <a:lnTo>
                    <a:pt x="34" y="42"/>
                  </a:lnTo>
                  <a:lnTo>
                    <a:pt x="34" y="42"/>
                  </a:lnTo>
                  <a:lnTo>
                    <a:pt x="32" y="42"/>
                  </a:lnTo>
                  <a:lnTo>
                    <a:pt x="30" y="44"/>
                  </a:lnTo>
                  <a:lnTo>
                    <a:pt x="26" y="46"/>
                  </a:lnTo>
                  <a:lnTo>
                    <a:pt x="26" y="48"/>
                  </a:lnTo>
                  <a:lnTo>
                    <a:pt x="24" y="48"/>
                  </a:lnTo>
                  <a:lnTo>
                    <a:pt x="22" y="48"/>
                  </a:lnTo>
                  <a:lnTo>
                    <a:pt x="20" y="48"/>
                  </a:lnTo>
                  <a:lnTo>
                    <a:pt x="16" y="48"/>
                  </a:lnTo>
                  <a:lnTo>
                    <a:pt x="12" y="48"/>
                  </a:lnTo>
                  <a:lnTo>
                    <a:pt x="10" y="48"/>
                  </a:lnTo>
                  <a:lnTo>
                    <a:pt x="8" y="48"/>
                  </a:lnTo>
                  <a:lnTo>
                    <a:pt x="8" y="48"/>
                  </a:lnTo>
                  <a:lnTo>
                    <a:pt x="6" y="46"/>
                  </a:lnTo>
                  <a:lnTo>
                    <a:pt x="4" y="46"/>
                  </a:lnTo>
                  <a:lnTo>
                    <a:pt x="2" y="44"/>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9" name="Freeform 267">
              <a:extLst>
                <a:ext uri="{FF2B5EF4-FFF2-40B4-BE49-F238E27FC236}">
                  <a16:creationId xmlns:a16="http://schemas.microsoft.com/office/drawing/2014/main" id="{00F6CF1F-2AE5-47D0-BE87-8DA9D586FC26}"/>
                </a:ext>
              </a:extLst>
            </p:cNvPr>
            <p:cNvSpPr>
              <a:spLocks/>
            </p:cNvSpPr>
            <p:nvPr/>
          </p:nvSpPr>
          <p:spPr bwMode="auto">
            <a:xfrm>
              <a:off x="4023257" y="2934921"/>
              <a:ext cx="103925" cy="131638"/>
            </a:xfrm>
            <a:custGeom>
              <a:avLst/>
              <a:gdLst>
                <a:gd name="T0" fmla="*/ 32 w 60"/>
                <a:gd name="T1" fmla="*/ 0 h 76"/>
                <a:gd name="T2" fmla="*/ 30 w 60"/>
                <a:gd name="T3" fmla="*/ 2 h 76"/>
                <a:gd name="T4" fmla="*/ 28 w 60"/>
                <a:gd name="T5" fmla="*/ 8 h 76"/>
                <a:gd name="T6" fmla="*/ 28 w 60"/>
                <a:gd name="T7" fmla="*/ 12 h 76"/>
                <a:gd name="T8" fmla="*/ 28 w 60"/>
                <a:gd name="T9" fmla="*/ 16 h 76"/>
                <a:gd name="T10" fmla="*/ 26 w 60"/>
                <a:gd name="T11" fmla="*/ 18 h 76"/>
                <a:gd name="T12" fmla="*/ 22 w 60"/>
                <a:gd name="T13" fmla="*/ 18 h 76"/>
                <a:gd name="T14" fmla="*/ 12 w 60"/>
                <a:gd name="T15" fmla="*/ 18 h 76"/>
                <a:gd name="T16" fmla="*/ 6 w 60"/>
                <a:gd name="T17" fmla="*/ 18 h 76"/>
                <a:gd name="T18" fmla="*/ 4 w 60"/>
                <a:gd name="T19" fmla="*/ 18 h 76"/>
                <a:gd name="T20" fmla="*/ 2 w 60"/>
                <a:gd name="T21" fmla="*/ 22 h 76"/>
                <a:gd name="T22" fmla="*/ 0 w 60"/>
                <a:gd name="T23" fmla="*/ 28 h 76"/>
                <a:gd name="T24" fmla="*/ 0 w 60"/>
                <a:gd name="T25" fmla="*/ 36 h 76"/>
                <a:gd name="T26" fmla="*/ 2 w 60"/>
                <a:gd name="T27" fmla="*/ 38 h 76"/>
                <a:gd name="T28" fmla="*/ 2 w 60"/>
                <a:gd name="T29" fmla="*/ 38 h 76"/>
                <a:gd name="T30" fmla="*/ 6 w 60"/>
                <a:gd name="T31" fmla="*/ 38 h 76"/>
                <a:gd name="T32" fmla="*/ 8 w 60"/>
                <a:gd name="T33" fmla="*/ 40 h 76"/>
                <a:gd name="T34" fmla="*/ 10 w 60"/>
                <a:gd name="T35" fmla="*/ 42 h 76"/>
                <a:gd name="T36" fmla="*/ 10 w 60"/>
                <a:gd name="T37" fmla="*/ 44 h 76"/>
                <a:gd name="T38" fmla="*/ 8 w 60"/>
                <a:gd name="T39" fmla="*/ 48 h 76"/>
                <a:gd name="T40" fmla="*/ 6 w 60"/>
                <a:gd name="T41" fmla="*/ 50 h 76"/>
                <a:gd name="T42" fmla="*/ 2 w 60"/>
                <a:gd name="T43" fmla="*/ 52 h 76"/>
                <a:gd name="T44" fmla="*/ 0 w 60"/>
                <a:gd name="T45" fmla="*/ 54 h 76"/>
                <a:gd name="T46" fmla="*/ 2 w 60"/>
                <a:gd name="T47" fmla="*/ 60 h 76"/>
                <a:gd name="T48" fmla="*/ 2 w 60"/>
                <a:gd name="T49" fmla="*/ 66 h 76"/>
                <a:gd name="T50" fmla="*/ 2 w 60"/>
                <a:gd name="T51" fmla="*/ 70 h 76"/>
                <a:gd name="T52" fmla="*/ 2 w 60"/>
                <a:gd name="T53" fmla="*/ 74 h 76"/>
                <a:gd name="T54" fmla="*/ 4 w 60"/>
                <a:gd name="T55" fmla="*/ 74 h 76"/>
                <a:gd name="T56" fmla="*/ 6 w 60"/>
                <a:gd name="T57" fmla="*/ 76 h 76"/>
                <a:gd name="T58" fmla="*/ 12 w 60"/>
                <a:gd name="T59" fmla="*/ 74 h 76"/>
                <a:gd name="T60" fmla="*/ 20 w 60"/>
                <a:gd name="T61" fmla="*/ 72 h 76"/>
                <a:gd name="T62" fmla="*/ 26 w 60"/>
                <a:gd name="T63" fmla="*/ 68 h 76"/>
                <a:gd name="T64" fmla="*/ 32 w 60"/>
                <a:gd name="T65" fmla="*/ 64 h 76"/>
                <a:gd name="T66" fmla="*/ 36 w 60"/>
                <a:gd name="T67" fmla="*/ 62 h 76"/>
                <a:gd name="T68" fmla="*/ 44 w 60"/>
                <a:gd name="T69" fmla="*/ 64 h 76"/>
                <a:gd name="T70" fmla="*/ 50 w 60"/>
                <a:gd name="T71" fmla="*/ 62 h 76"/>
                <a:gd name="T72" fmla="*/ 54 w 60"/>
                <a:gd name="T73" fmla="*/ 62 h 76"/>
                <a:gd name="T74" fmla="*/ 58 w 60"/>
                <a:gd name="T75" fmla="*/ 60 h 76"/>
                <a:gd name="T76" fmla="*/ 60 w 60"/>
                <a:gd name="T77" fmla="*/ 56 h 76"/>
                <a:gd name="T78" fmla="*/ 60 w 60"/>
                <a:gd name="T79" fmla="*/ 48 h 76"/>
                <a:gd name="T80" fmla="*/ 60 w 60"/>
                <a:gd name="T81" fmla="*/ 40 h 76"/>
                <a:gd name="T82" fmla="*/ 58 w 60"/>
                <a:gd name="T83" fmla="*/ 32 h 76"/>
                <a:gd name="T84" fmla="*/ 54 w 60"/>
                <a:gd name="T85" fmla="*/ 24 h 76"/>
                <a:gd name="T86" fmla="*/ 48 w 60"/>
                <a:gd name="T87" fmla="*/ 24 h 76"/>
                <a:gd name="T88" fmla="*/ 42 w 60"/>
                <a:gd name="T89" fmla="*/ 24 h 76"/>
                <a:gd name="T90" fmla="*/ 38 w 60"/>
                <a:gd name="T91" fmla="*/ 24 h 76"/>
                <a:gd name="T92" fmla="*/ 38 w 60"/>
                <a:gd name="T93" fmla="*/ 22 h 76"/>
                <a:gd name="T94" fmla="*/ 36 w 60"/>
                <a:gd name="T95" fmla="*/ 16 h 76"/>
                <a:gd name="T96" fmla="*/ 38 w 60"/>
                <a:gd name="T97" fmla="*/ 8 h 76"/>
                <a:gd name="T98" fmla="*/ 40 w 60"/>
                <a:gd name="T99" fmla="*/ 4 h 76"/>
                <a:gd name="T100" fmla="*/ 34 w 60"/>
                <a:gd name="T101" fmla="*/ 0 h 76"/>
                <a:gd name="T102" fmla="*/ 32 w 60"/>
                <a:gd name="T10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0" h="76">
                  <a:moveTo>
                    <a:pt x="32" y="0"/>
                  </a:moveTo>
                  <a:lnTo>
                    <a:pt x="32" y="0"/>
                  </a:lnTo>
                  <a:lnTo>
                    <a:pt x="32" y="0"/>
                  </a:lnTo>
                  <a:lnTo>
                    <a:pt x="32" y="0"/>
                  </a:lnTo>
                  <a:lnTo>
                    <a:pt x="30" y="2"/>
                  </a:lnTo>
                  <a:lnTo>
                    <a:pt x="30" y="2"/>
                  </a:lnTo>
                  <a:lnTo>
                    <a:pt x="28" y="4"/>
                  </a:lnTo>
                  <a:lnTo>
                    <a:pt x="28" y="6"/>
                  </a:lnTo>
                  <a:lnTo>
                    <a:pt x="28" y="8"/>
                  </a:lnTo>
                  <a:lnTo>
                    <a:pt x="28" y="8"/>
                  </a:lnTo>
                  <a:lnTo>
                    <a:pt x="28" y="10"/>
                  </a:lnTo>
                  <a:lnTo>
                    <a:pt x="28" y="12"/>
                  </a:lnTo>
                  <a:lnTo>
                    <a:pt x="28" y="14"/>
                  </a:lnTo>
                  <a:lnTo>
                    <a:pt x="28" y="14"/>
                  </a:lnTo>
                  <a:lnTo>
                    <a:pt x="28" y="16"/>
                  </a:lnTo>
                  <a:lnTo>
                    <a:pt x="28" y="16"/>
                  </a:lnTo>
                  <a:lnTo>
                    <a:pt x="26" y="16"/>
                  </a:lnTo>
                  <a:lnTo>
                    <a:pt x="26" y="18"/>
                  </a:lnTo>
                  <a:lnTo>
                    <a:pt x="24" y="18"/>
                  </a:lnTo>
                  <a:lnTo>
                    <a:pt x="24" y="18"/>
                  </a:lnTo>
                  <a:lnTo>
                    <a:pt x="22" y="18"/>
                  </a:lnTo>
                  <a:lnTo>
                    <a:pt x="20" y="18"/>
                  </a:lnTo>
                  <a:lnTo>
                    <a:pt x="16" y="18"/>
                  </a:lnTo>
                  <a:lnTo>
                    <a:pt x="12" y="18"/>
                  </a:lnTo>
                  <a:lnTo>
                    <a:pt x="10" y="16"/>
                  </a:lnTo>
                  <a:lnTo>
                    <a:pt x="8" y="18"/>
                  </a:lnTo>
                  <a:lnTo>
                    <a:pt x="6" y="18"/>
                  </a:lnTo>
                  <a:lnTo>
                    <a:pt x="4" y="18"/>
                  </a:lnTo>
                  <a:lnTo>
                    <a:pt x="4" y="18"/>
                  </a:lnTo>
                  <a:lnTo>
                    <a:pt x="4" y="18"/>
                  </a:lnTo>
                  <a:lnTo>
                    <a:pt x="2" y="20"/>
                  </a:lnTo>
                  <a:lnTo>
                    <a:pt x="2" y="20"/>
                  </a:lnTo>
                  <a:lnTo>
                    <a:pt x="2" y="22"/>
                  </a:lnTo>
                  <a:lnTo>
                    <a:pt x="2" y="24"/>
                  </a:lnTo>
                  <a:lnTo>
                    <a:pt x="2" y="26"/>
                  </a:lnTo>
                  <a:lnTo>
                    <a:pt x="0" y="28"/>
                  </a:lnTo>
                  <a:lnTo>
                    <a:pt x="0" y="32"/>
                  </a:lnTo>
                  <a:lnTo>
                    <a:pt x="0" y="34"/>
                  </a:lnTo>
                  <a:lnTo>
                    <a:pt x="0" y="36"/>
                  </a:lnTo>
                  <a:lnTo>
                    <a:pt x="0" y="38"/>
                  </a:lnTo>
                  <a:lnTo>
                    <a:pt x="0" y="38"/>
                  </a:lnTo>
                  <a:lnTo>
                    <a:pt x="2" y="38"/>
                  </a:lnTo>
                  <a:lnTo>
                    <a:pt x="2" y="38"/>
                  </a:lnTo>
                  <a:lnTo>
                    <a:pt x="2" y="38"/>
                  </a:lnTo>
                  <a:lnTo>
                    <a:pt x="2" y="38"/>
                  </a:lnTo>
                  <a:lnTo>
                    <a:pt x="4" y="38"/>
                  </a:lnTo>
                  <a:lnTo>
                    <a:pt x="6" y="38"/>
                  </a:lnTo>
                  <a:lnTo>
                    <a:pt x="6" y="38"/>
                  </a:lnTo>
                  <a:lnTo>
                    <a:pt x="8" y="38"/>
                  </a:lnTo>
                  <a:lnTo>
                    <a:pt x="8" y="38"/>
                  </a:lnTo>
                  <a:lnTo>
                    <a:pt x="8" y="40"/>
                  </a:lnTo>
                  <a:lnTo>
                    <a:pt x="8" y="40"/>
                  </a:lnTo>
                  <a:lnTo>
                    <a:pt x="10" y="40"/>
                  </a:lnTo>
                  <a:lnTo>
                    <a:pt x="10" y="42"/>
                  </a:lnTo>
                  <a:lnTo>
                    <a:pt x="10" y="42"/>
                  </a:lnTo>
                  <a:lnTo>
                    <a:pt x="10" y="44"/>
                  </a:lnTo>
                  <a:lnTo>
                    <a:pt x="10" y="44"/>
                  </a:lnTo>
                  <a:lnTo>
                    <a:pt x="10" y="46"/>
                  </a:lnTo>
                  <a:lnTo>
                    <a:pt x="10" y="48"/>
                  </a:lnTo>
                  <a:lnTo>
                    <a:pt x="8" y="48"/>
                  </a:lnTo>
                  <a:lnTo>
                    <a:pt x="8" y="48"/>
                  </a:lnTo>
                  <a:lnTo>
                    <a:pt x="8" y="50"/>
                  </a:lnTo>
                  <a:lnTo>
                    <a:pt x="6" y="50"/>
                  </a:lnTo>
                  <a:lnTo>
                    <a:pt x="4" y="52"/>
                  </a:lnTo>
                  <a:lnTo>
                    <a:pt x="2" y="52"/>
                  </a:lnTo>
                  <a:lnTo>
                    <a:pt x="2" y="52"/>
                  </a:lnTo>
                  <a:lnTo>
                    <a:pt x="2" y="52"/>
                  </a:lnTo>
                  <a:lnTo>
                    <a:pt x="0" y="54"/>
                  </a:lnTo>
                  <a:lnTo>
                    <a:pt x="0" y="54"/>
                  </a:lnTo>
                  <a:lnTo>
                    <a:pt x="0" y="56"/>
                  </a:lnTo>
                  <a:lnTo>
                    <a:pt x="0" y="58"/>
                  </a:lnTo>
                  <a:lnTo>
                    <a:pt x="2" y="60"/>
                  </a:lnTo>
                  <a:lnTo>
                    <a:pt x="2" y="62"/>
                  </a:lnTo>
                  <a:lnTo>
                    <a:pt x="2" y="64"/>
                  </a:lnTo>
                  <a:lnTo>
                    <a:pt x="2" y="66"/>
                  </a:lnTo>
                  <a:lnTo>
                    <a:pt x="2" y="66"/>
                  </a:lnTo>
                  <a:lnTo>
                    <a:pt x="2" y="68"/>
                  </a:lnTo>
                  <a:lnTo>
                    <a:pt x="2" y="70"/>
                  </a:lnTo>
                  <a:lnTo>
                    <a:pt x="2" y="72"/>
                  </a:lnTo>
                  <a:lnTo>
                    <a:pt x="2" y="72"/>
                  </a:lnTo>
                  <a:lnTo>
                    <a:pt x="2" y="74"/>
                  </a:lnTo>
                  <a:lnTo>
                    <a:pt x="2" y="74"/>
                  </a:lnTo>
                  <a:lnTo>
                    <a:pt x="2" y="74"/>
                  </a:lnTo>
                  <a:lnTo>
                    <a:pt x="4" y="74"/>
                  </a:lnTo>
                  <a:lnTo>
                    <a:pt x="4" y="74"/>
                  </a:lnTo>
                  <a:lnTo>
                    <a:pt x="4" y="76"/>
                  </a:lnTo>
                  <a:lnTo>
                    <a:pt x="6" y="76"/>
                  </a:lnTo>
                  <a:lnTo>
                    <a:pt x="8" y="76"/>
                  </a:lnTo>
                  <a:lnTo>
                    <a:pt x="10" y="74"/>
                  </a:lnTo>
                  <a:lnTo>
                    <a:pt x="12" y="74"/>
                  </a:lnTo>
                  <a:lnTo>
                    <a:pt x="16" y="74"/>
                  </a:lnTo>
                  <a:lnTo>
                    <a:pt x="20" y="72"/>
                  </a:lnTo>
                  <a:lnTo>
                    <a:pt x="20" y="72"/>
                  </a:lnTo>
                  <a:lnTo>
                    <a:pt x="22" y="70"/>
                  </a:lnTo>
                  <a:lnTo>
                    <a:pt x="24" y="70"/>
                  </a:lnTo>
                  <a:lnTo>
                    <a:pt x="26" y="68"/>
                  </a:lnTo>
                  <a:lnTo>
                    <a:pt x="28" y="66"/>
                  </a:lnTo>
                  <a:lnTo>
                    <a:pt x="30" y="64"/>
                  </a:lnTo>
                  <a:lnTo>
                    <a:pt x="32" y="64"/>
                  </a:lnTo>
                  <a:lnTo>
                    <a:pt x="34" y="64"/>
                  </a:lnTo>
                  <a:lnTo>
                    <a:pt x="34" y="62"/>
                  </a:lnTo>
                  <a:lnTo>
                    <a:pt x="36" y="62"/>
                  </a:lnTo>
                  <a:lnTo>
                    <a:pt x="38" y="62"/>
                  </a:lnTo>
                  <a:lnTo>
                    <a:pt x="40" y="62"/>
                  </a:lnTo>
                  <a:lnTo>
                    <a:pt x="44" y="64"/>
                  </a:lnTo>
                  <a:lnTo>
                    <a:pt x="46" y="64"/>
                  </a:lnTo>
                  <a:lnTo>
                    <a:pt x="46" y="62"/>
                  </a:lnTo>
                  <a:lnTo>
                    <a:pt x="50" y="62"/>
                  </a:lnTo>
                  <a:lnTo>
                    <a:pt x="52" y="62"/>
                  </a:lnTo>
                  <a:lnTo>
                    <a:pt x="54" y="62"/>
                  </a:lnTo>
                  <a:lnTo>
                    <a:pt x="54" y="62"/>
                  </a:lnTo>
                  <a:lnTo>
                    <a:pt x="56" y="60"/>
                  </a:lnTo>
                  <a:lnTo>
                    <a:pt x="56" y="60"/>
                  </a:lnTo>
                  <a:lnTo>
                    <a:pt x="58" y="60"/>
                  </a:lnTo>
                  <a:lnTo>
                    <a:pt x="58" y="58"/>
                  </a:lnTo>
                  <a:lnTo>
                    <a:pt x="58" y="58"/>
                  </a:lnTo>
                  <a:lnTo>
                    <a:pt x="60" y="56"/>
                  </a:lnTo>
                  <a:lnTo>
                    <a:pt x="60" y="54"/>
                  </a:lnTo>
                  <a:lnTo>
                    <a:pt x="60" y="50"/>
                  </a:lnTo>
                  <a:lnTo>
                    <a:pt x="60" y="48"/>
                  </a:lnTo>
                  <a:lnTo>
                    <a:pt x="60" y="44"/>
                  </a:lnTo>
                  <a:lnTo>
                    <a:pt x="60" y="42"/>
                  </a:lnTo>
                  <a:lnTo>
                    <a:pt x="60" y="40"/>
                  </a:lnTo>
                  <a:lnTo>
                    <a:pt x="60" y="38"/>
                  </a:lnTo>
                  <a:lnTo>
                    <a:pt x="60" y="36"/>
                  </a:lnTo>
                  <a:lnTo>
                    <a:pt x="58" y="32"/>
                  </a:lnTo>
                  <a:lnTo>
                    <a:pt x="58" y="30"/>
                  </a:lnTo>
                  <a:lnTo>
                    <a:pt x="56" y="26"/>
                  </a:lnTo>
                  <a:lnTo>
                    <a:pt x="54" y="24"/>
                  </a:lnTo>
                  <a:lnTo>
                    <a:pt x="54" y="24"/>
                  </a:lnTo>
                  <a:lnTo>
                    <a:pt x="50" y="24"/>
                  </a:lnTo>
                  <a:lnTo>
                    <a:pt x="48" y="24"/>
                  </a:lnTo>
                  <a:lnTo>
                    <a:pt x="46" y="24"/>
                  </a:lnTo>
                  <a:lnTo>
                    <a:pt x="42" y="24"/>
                  </a:lnTo>
                  <a:lnTo>
                    <a:pt x="42" y="24"/>
                  </a:lnTo>
                  <a:lnTo>
                    <a:pt x="40" y="24"/>
                  </a:lnTo>
                  <a:lnTo>
                    <a:pt x="40" y="24"/>
                  </a:lnTo>
                  <a:lnTo>
                    <a:pt x="38" y="24"/>
                  </a:lnTo>
                  <a:lnTo>
                    <a:pt x="38" y="24"/>
                  </a:lnTo>
                  <a:lnTo>
                    <a:pt x="38" y="22"/>
                  </a:lnTo>
                  <a:lnTo>
                    <a:pt x="38" y="22"/>
                  </a:lnTo>
                  <a:lnTo>
                    <a:pt x="36" y="20"/>
                  </a:lnTo>
                  <a:lnTo>
                    <a:pt x="36" y="18"/>
                  </a:lnTo>
                  <a:lnTo>
                    <a:pt x="36" y="16"/>
                  </a:lnTo>
                  <a:lnTo>
                    <a:pt x="36" y="14"/>
                  </a:lnTo>
                  <a:lnTo>
                    <a:pt x="36" y="12"/>
                  </a:lnTo>
                  <a:lnTo>
                    <a:pt x="38" y="8"/>
                  </a:lnTo>
                  <a:lnTo>
                    <a:pt x="40" y="6"/>
                  </a:lnTo>
                  <a:lnTo>
                    <a:pt x="40" y="4"/>
                  </a:lnTo>
                  <a:lnTo>
                    <a:pt x="40" y="4"/>
                  </a:lnTo>
                  <a:lnTo>
                    <a:pt x="38" y="2"/>
                  </a:lnTo>
                  <a:lnTo>
                    <a:pt x="36" y="0"/>
                  </a:lnTo>
                  <a:lnTo>
                    <a:pt x="34" y="0"/>
                  </a:lnTo>
                  <a:lnTo>
                    <a:pt x="34" y="0"/>
                  </a:lnTo>
                  <a:lnTo>
                    <a:pt x="34" y="0"/>
                  </a:lnTo>
                  <a:lnTo>
                    <a:pt x="32"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0" name="Freeform 268">
              <a:extLst>
                <a:ext uri="{FF2B5EF4-FFF2-40B4-BE49-F238E27FC236}">
                  <a16:creationId xmlns:a16="http://schemas.microsoft.com/office/drawing/2014/main" id="{E9CDC49B-3B5D-44F8-BF65-A78E87F03608}"/>
                </a:ext>
              </a:extLst>
            </p:cNvPr>
            <p:cNvSpPr>
              <a:spLocks/>
            </p:cNvSpPr>
            <p:nvPr/>
          </p:nvSpPr>
          <p:spPr bwMode="auto">
            <a:xfrm>
              <a:off x="4023257" y="2934921"/>
              <a:ext cx="103925" cy="131638"/>
            </a:xfrm>
            <a:custGeom>
              <a:avLst/>
              <a:gdLst>
                <a:gd name="T0" fmla="*/ 32 w 60"/>
                <a:gd name="T1" fmla="*/ 0 h 76"/>
                <a:gd name="T2" fmla="*/ 30 w 60"/>
                <a:gd name="T3" fmla="*/ 2 h 76"/>
                <a:gd name="T4" fmla="*/ 28 w 60"/>
                <a:gd name="T5" fmla="*/ 8 h 76"/>
                <a:gd name="T6" fmla="*/ 28 w 60"/>
                <a:gd name="T7" fmla="*/ 12 h 76"/>
                <a:gd name="T8" fmla="*/ 28 w 60"/>
                <a:gd name="T9" fmla="*/ 16 h 76"/>
                <a:gd name="T10" fmla="*/ 26 w 60"/>
                <a:gd name="T11" fmla="*/ 18 h 76"/>
                <a:gd name="T12" fmla="*/ 22 w 60"/>
                <a:gd name="T13" fmla="*/ 18 h 76"/>
                <a:gd name="T14" fmla="*/ 12 w 60"/>
                <a:gd name="T15" fmla="*/ 18 h 76"/>
                <a:gd name="T16" fmla="*/ 6 w 60"/>
                <a:gd name="T17" fmla="*/ 18 h 76"/>
                <a:gd name="T18" fmla="*/ 4 w 60"/>
                <a:gd name="T19" fmla="*/ 18 h 76"/>
                <a:gd name="T20" fmla="*/ 2 w 60"/>
                <a:gd name="T21" fmla="*/ 22 h 76"/>
                <a:gd name="T22" fmla="*/ 0 w 60"/>
                <a:gd name="T23" fmla="*/ 28 h 76"/>
                <a:gd name="T24" fmla="*/ 0 w 60"/>
                <a:gd name="T25" fmla="*/ 36 h 76"/>
                <a:gd name="T26" fmla="*/ 2 w 60"/>
                <a:gd name="T27" fmla="*/ 38 h 76"/>
                <a:gd name="T28" fmla="*/ 2 w 60"/>
                <a:gd name="T29" fmla="*/ 38 h 76"/>
                <a:gd name="T30" fmla="*/ 6 w 60"/>
                <a:gd name="T31" fmla="*/ 38 h 76"/>
                <a:gd name="T32" fmla="*/ 8 w 60"/>
                <a:gd name="T33" fmla="*/ 40 h 76"/>
                <a:gd name="T34" fmla="*/ 10 w 60"/>
                <a:gd name="T35" fmla="*/ 42 h 76"/>
                <a:gd name="T36" fmla="*/ 10 w 60"/>
                <a:gd name="T37" fmla="*/ 44 h 76"/>
                <a:gd name="T38" fmla="*/ 8 w 60"/>
                <a:gd name="T39" fmla="*/ 48 h 76"/>
                <a:gd name="T40" fmla="*/ 6 w 60"/>
                <a:gd name="T41" fmla="*/ 50 h 76"/>
                <a:gd name="T42" fmla="*/ 2 w 60"/>
                <a:gd name="T43" fmla="*/ 52 h 76"/>
                <a:gd name="T44" fmla="*/ 0 w 60"/>
                <a:gd name="T45" fmla="*/ 54 h 76"/>
                <a:gd name="T46" fmla="*/ 2 w 60"/>
                <a:gd name="T47" fmla="*/ 60 h 76"/>
                <a:gd name="T48" fmla="*/ 2 w 60"/>
                <a:gd name="T49" fmla="*/ 66 h 76"/>
                <a:gd name="T50" fmla="*/ 2 w 60"/>
                <a:gd name="T51" fmla="*/ 70 h 76"/>
                <a:gd name="T52" fmla="*/ 2 w 60"/>
                <a:gd name="T53" fmla="*/ 74 h 76"/>
                <a:gd name="T54" fmla="*/ 4 w 60"/>
                <a:gd name="T55" fmla="*/ 74 h 76"/>
                <a:gd name="T56" fmla="*/ 6 w 60"/>
                <a:gd name="T57" fmla="*/ 76 h 76"/>
                <a:gd name="T58" fmla="*/ 12 w 60"/>
                <a:gd name="T59" fmla="*/ 74 h 76"/>
                <a:gd name="T60" fmla="*/ 20 w 60"/>
                <a:gd name="T61" fmla="*/ 72 h 76"/>
                <a:gd name="T62" fmla="*/ 26 w 60"/>
                <a:gd name="T63" fmla="*/ 68 h 76"/>
                <a:gd name="T64" fmla="*/ 32 w 60"/>
                <a:gd name="T65" fmla="*/ 64 h 76"/>
                <a:gd name="T66" fmla="*/ 36 w 60"/>
                <a:gd name="T67" fmla="*/ 62 h 76"/>
                <a:gd name="T68" fmla="*/ 44 w 60"/>
                <a:gd name="T69" fmla="*/ 64 h 76"/>
                <a:gd name="T70" fmla="*/ 50 w 60"/>
                <a:gd name="T71" fmla="*/ 62 h 76"/>
                <a:gd name="T72" fmla="*/ 54 w 60"/>
                <a:gd name="T73" fmla="*/ 62 h 76"/>
                <a:gd name="T74" fmla="*/ 58 w 60"/>
                <a:gd name="T75" fmla="*/ 60 h 76"/>
                <a:gd name="T76" fmla="*/ 60 w 60"/>
                <a:gd name="T77" fmla="*/ 56 h 76"/>
                <a:gd name="T78" fmla="*/ 60 w 60"/>
                <a:gd name="T79" fmla="*/ 48 h 76"/>
                <a:gd name="T80" fmla="*/ 60 w 60"/>
                <a:gd name="T81" fmla="*/ 40 h 76"/>
                <a:gd name="T82" fmla="*/ 58 w 60"/>
                <a:gd name="T83" fmla="*/ 32 h 76"/>
                <a:gd name="T84" fmla="*/ 54 w 60"/>
                <a:gd name="T85" fmla="*/ 24 h 76"/>
                <a:gd name="T86" fmla="*/ 48 w 60"/>
                <a:gd name="T87" fmla="*/ 24 h 76"/>
                <a:gd name="T88" fmla="*/ 42 w 60"/>
                <a:gd name="T89" fmla="*/ 24 h 76"/>
                <a:gd name="T90" fmla="*/ 38 w 60"/>
                <a:gd name="T91" fmla="*/ 24 h 76"/>
                <a:gd name="T92" fmla="*/ 38 w 60"/>
                <a:gd name="T93" fmla="*/ 22 h 76"/>
                <a:gd name="T94" fmla="*/ 36 w 60"/>
                <a:gd name="T95" fmla="*/ 16 h 76"/>
                <a:gd name="T96" fmla="*/ 38 w 60"/>
                <a:gd name="T97" fmla="*/ 8 h 76"/>
                <a:gd name="T98" fmla="*/ 40 w 60"/>
                <a:gd name="T99" fmla="*/ 4 h 76"/>
                <a:gd name="T100" fmla="*/ 34 w 60"/>
                <a:gd name="T101" fmla="*/ 0 h 76"/>
                <a:gd name="T102" fmla="*/ 32 w 60"/>
                <a:gd name="T10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0" h="76">
                  <a:moveTo>
                    <a:pt x="32" y="0"/>
                  </a:moveTo>
                  <a:lnTo>
                    <a:pt x="32" y="0"/>
                  </a:lnTo>
                  <a:lnTo>
                    <a:pt x="32" y="0"/>
                  </a:lnTo>
                  <a:lnTo>
                    <a:pt x="32" y="0"/>
                  </a:lnTo>
                  <a:lnTo>
                    <a:pt x="30" y="2"/>
                  </a:lnTo>
                  <a:lnTo>
                    <a:pt x="30" y="2"/>
                  </a:lnTo>
                  <a:lnTo>
                    <a:pt x="28" y="4"/>
                  </a:lnTo>
                  <a:lnTo>
                    <a:pt x="28" y="6"/>
                  </a:lnTo>
                  <a:lnTo>
                    <a:pt x="28" y="8"/>
                  </a:lnTo>
                  <a:lnTo>
                    <a:pt x="28" y="8"/>
                  </a:lnTo>
                  <a:lnTo>
                    <a:pt x="28" y="10"/>
                  </a:lnTo>
                  <a:lnTo>
                    <a:pt x="28" y="12"/>
                  </a:lnTo>
                  <a:lnTo>
                    <a:pt x="28" y="14"/>
                  </a:lnTo>
                  <a:lnTo>
                    <a:pt x="28" y="14"/>
                  </a:lnTo>
                  <a:lnTo>
                    <a:pt x="28" y="16"/>
                  </a:lnTo>
                  <a:lnTo>
                    <a:pt x="28" y="16"/>
                  </a:lnTo>
                  <a:lnTo>
                    <a:pt x="26" y="16"/>
                  </a:lnTo>
                  <a:lnTo>
                    <a:pt x="26" y="18"/>
                  </a:lnTo>
                  <a:lnTo>
                    <a:pt x="24" y="18"/>
                  </a:lnTo>
                  <a:lnTo>
                    <a:pt x="24" y="18"/>
                  </a:lnTo>
                  <a:lnTo>
                    <a:pt x="22" y="18"/>
                  </a:lnTo>
                  <a:lnTo>
                    <a:pt x="20" y="18"/>
                  </a:lnTo>
                  <a:lnTo>
                    <a:pt x="16" y="18"/>
                  </a:lnTo>
                  <a:lnTo>
                    <a:pt x="12" y="18"/>
                  </a:lnTo>
                  <a:lnTo>
                    <a:pt x="10" y="16"/>
                  </a:lnTo>
                  <a:lnTo>
                    <a:pt x="8" y="18"/>
                  </a:lnTo>
                  <a:lnTo>
                    <a:pt x="6" y="18"/>
                  </a:lnTo>
                  <a:lnTo>
                    <a:pt x="4" y="18"/>
                  </a:lnTo>
                  <a:lnTo>
                    <a:pt x="4" y="18"/>
                  </a:lnTo>
                  <a:lnTo>
                    <a:pt x="4" y="18"/>
                  </a:lnTo>
                  <a:lnTo>
                    <a:pt x="2" y="20"/>
                  </a:lnTo>
                  <a:lnTo>
                    <a:pt x="2" y="20"/>
                  </a:lnTo>
                  <a:lnTo>
                    <a:pt x="2" y="22"/>
                  </a:lnTo>
                  <a:lnTo>
                    <a:pt x="2" y="24"/>
                  </a:lnTo>
                  <a:lnTo>
                    <a:pt x="2" y="26"/>
                  </a:lnTo>
                  <a:lnTo>
                    <a:pt x="0" y="28"/>
                  </a:lnTo>
                  <a:lnTo>
                    <a:pt x="0" y="32"/>
                  </a:lnTo>
                  <a:lnTo>
                    <a:pt x="0" y="34"/>
                  </a:lnTo>
                  <a:lnTo>
                    <a:pt x="0" y="36"/>
                  </a:lnTo>
                  <a:lnTo>
                    <a:pt x="0" y="38"/>
                  </a:lnTo>
                  <a:lnTo>
                    <a:pt x="0" y="38"/>
                  </a:lnTo>
                  <a:lnTo>
                    <a:pt x="2" y="38"/>
                  </a:lnTo>
                  <a:lnTo>
                    <a:pt x="2" y="38"/>
                  </a:lnTo>
                  <a:lnTo>
                    <a:pt x="2" y="38"/>
                  </a:lnTo>
                  <a:lnTo>
                    <a:pt x="2" y="38"/>
                  </a:lnTo>
                  <a:lnTo>
                    <a:pt x="4" y="38"/>
                  </a:lnTo>
                  <a:lnTo>
                    <a:pt x="6" y="38"/>
                  </a:lnTo>
                  <a:lnTo>
                    <a:pt x="6" y="38"/>
                  </a:lnTo>
                  <a:lnTo>
                    <a:pt x="8" y="38"/>
                  </a:lnTo>
                  <a:lnTo>
                    <a:pt x="8" y="38"/>
                  </a:lnTo>
                  <a:lnTo>
                    <a:pt x="8" y="40"/>
                  </a:lnTo>
                  <a:lnTo>
                    <a:pt x="8" y="40"/>
                  </a:lnTo>
                  <a:lnTo>
                    <a:pt x="10" y="40"/>
                  </a:lnTo>
                  <a:lnTo>
                    <a:pt x="10" y="42"/>
                  </a:lnTo>
                  <a:lnTo>
                    <a:pt x="10" y="42"/>
                  </a:lnTo>
                  <a:lnTo>
                    <a:pt x="10" y="44"/>
                  </a:lnTo>
                  <a:lnTo>
                    <a:pt x="10" y="44"/>
                  </a:lnTo>
                  <a:lnTo>
                    <a:pt x="10" y="46"/>
                  </a:lnTo>
                  <a:lnTo>
                    <a:pt x="10" y="48"/>
                  </a:lnTo>
                  <a:lnTo>
                    <a:pt x="8" y="48"/>
                  </a:lnTo>
                  <a:lnTo>
                    <a:pt x="8" y="48"/>
                  </a:lnTo>
                  <a:lnTo>
                    <a:pt x="8" y="50"/>
                  </a:lnTo>
                  <a:lnTo>
                    <a:pt x="6" y="50"/>
                  </a:lnTo>
                  <a:lnTo>
                    <a:pt x="4" y="52"/>
                  </a:lnTo>
                  <a:lnTo>
                    <a:pt x="2" y="52"/>
                  </a:lnTo>
                  <a:lnTo>
                    <a:pt x="2" y="52"/>
                  </a:lnTo>
                  <a:lnTo>
                    <a:pt x="2" y="52"/>
                  </a:lnTo>
                  <a:lnTo>
                    <a:pt x="0" y="54"/>
                  </a:lnTo>
                  <a:lnTo>
                    <a:pt x="0" y="54"/>
                  </a:lnTo>
                  <a:lnTo>
                    <a:pt x="0" y="56"/>
                  </a:lnTo>
                  <a:lnTo>
                    <a:pt x="0" y="58"/>
                  </a:lnTo>
                  <a:lnTo>
                    <a:pt x="2" y="60"/>
                  </a:lnTo>
                  <a:lnTo>
                    <a:pt x="2" y="62"/>
                  </a:lnTo>
                  <a:lnTo>
                    <a:pt x="2" y="64"/>
                  </a:lnTo>
                  <a:lnTo>
                    <a:pt x="2" y="66"/>
                  </a:lnTo>
                  <a:lnTo>
                    <a:pt x="2" y="66"/>
                  </a:lnTo>
                  <a:lnTo>
                    <a:pt x="2" y="68"/>
                  </a:lnTo>
                  <a:lnTo>
                    <a:pt x="2" y="70"/>
                  </a:lnTo>
                  <a:lnTo>
                    <a:pt x="2" y="72"/>
                  </a:lnTo>
                  <a:lnTo>
                    <a:pt x="2" y="72"/>
                  </a:lnTo>
                  <a:lnTo>
                    <a:pt x="2" y="74"/>
                  </a:lnTo>
                  <a:lnTo>
                    <a:pt x="2" y="74"/>
                  </a:lnTo>
                  <a:lnTo>
                    <a:pt x="2" y="74"/>
                  </a:lnTo>
                  <a:lnTo>
                    <a:pt x="4" y="74"/>
                  </a:lnTo>
                  <a:lnTo>
                    <a:pt x="4" y="74"/>
                  </a:lnTo>
                  <a:lnTo>
                    <a:pt x="4" y="76"/>
                  </a:lnTo>
                  <a:lnTo>
                    <a:pt x="6" y="76"/>
                  </a:lnTo>
                  <a:lnTo>
                    <a:pt x="8" y="76"/>
                  </a:lnTo>
                  <a:lnTo>
                    <a:pt x="10" y="74"/>
                  </a:lnTo>
                  <a:lnTo>
                    <a:pt x="12" y="74"/>
                  </a:lnTo>
                  <a:lnTo>
                    <a:pt x="16" y="74"/>
                  </a:lnTo>
                  <a:lnTo>
                    <a:pt x="20" y="72"/>
                  </a:lnTo>
                  <a:lnTo>
                    <a:pt x="20" y="72"/>
                  </a:lnTo>
                  <a:lnTo>
                    <a:pt x="22" y="70"/>
                  </a:lnTo>
                  <a:lnTo>
                    <a:pt x="24" y="70"/>
                  </a:lnTo>
                  <a:lnTo>
                    <a:pt x="26" y="68"/>
                  </a:lnTo>
                  <a:lnTo>
                    <a:pt x="28" y="66"/>
                  </a:lnTo>
                  <a:lnTo>
                    <a:pt x="30" y="64"/>
                  </a:lnTo>
                  <a:lnTo>
                    <a:pt x="32" y="64"/>
                  </a:lnTo>
                  <a:lnTo>
                    <a:pt x="34" y="64"/>
                  </a:lnTo>
                  <a:lnTo>
                    <a:pt x="34" y="62"/>
                  </a:lnTo>
                  <a:lnTo>
                    <a:pt x="36" y="62"/>
                  </a:lnTo>
                  <a:lnTo>
                    <a:pt x="38" y="62"/>
                  </a:lnTo>
                  <a:lnTo>
                    <a:pt x="40" y="62"/>
                  </a:lnTo>
                  <a:lnTo>
                    <a:pt x="44" y="64"/>
                  </a:lnTo>
                  <a:lnTo>
                    <a:pt x="46" y="64"/>
                  </a:lnTo>
                  <a:lnTo>
                    <a:pt x="46" y="62"/>
                  </a:lnTo>
                  <a:lnTo>
                    <a:pt x="50" y="62"/>
                  </a:lnTo>
                  <a:lnTo>
                    <a:pt x="52" y="62"/>
                  </a:lnTo>
                  <a:lnTo>
                    <a:pt x="54" y="62"/>
                  </a:lnTo>
                  <a:lnTo>
                    <a:pt x="54" y="62"/>
                  </a:lnTo>
                  <a:lnTo>
                    <a:pt x="56" y="60"/>
                  </a:lnTo>
                  <a:lnTo>
                    <a:pt x="56" y="60"/>
                  </a:lnTo>
                  <a:lnTo>
                    <a:pt x="58" y="60"/>
                  </a:lnTo>
                  <a:lnTo>
                    <a:pt x="58" y="58"/>
                  </a:lnTo>
                  <a:lnTo>
                    <a:pt x="58" y="58"/>
                  </a:lnTo>
                  <a:lnTo>
                    <a:pt x="60" y="56"/>
                  </a:lnTo>
                  <a:lnTo>
                    <a:pt x="60" y="54"/>
                  </a:lnTo>
                  <a:lnTo>
                    <a:pt x="60" y="50"/>
                  </a:lnTo>
                  <a:lnTo>
                    <a:pt x="60" y="48"/>
                  </a:lnTo>
                  <a:lnTo>
                    <a:pt x="60" y="44"/>
                  </a:lnTo>
                  <a:lnTo>
                    <a:pt x="60" y="42"/>
                  </a:lnTo>
                  <a:lnTo>
                    <a:pt x="60" y="40"/>
                  </a:lnTo>
                  <a:lnTo>
                    <a:pt x="60" y="38"/>
                  </a:lnTo>
                  <a:lnTo>
                    <a:pt x="60" y="36"/>
                  </a:lnTo>
                  <a:lnTo>
                    <a:pt x="58" y="32"/>
                  </a:lnTo>
                  <a:lnTo>
                    <a:pt x="58" y="30"/>
                  </a:lnTo>
                  <a:lnTo>
                    <a:pt x="56" y="26"/>
                  </a:lnTo>
                  <a:lnTo>
                    <a:pt x="54" y="24"/>
                  </a:lnTo>
                  <a:lnTo>
                    <a:pt x="54" y="24"/>
                  </a:lnTo>
                  <a:lnTo>
                    <a:pt x="50" y="24"/>
                  </a:lnTo>
                  <a:lnTo>
                    <a:pt x="48" y="24"/>
                  </a:lnTo>
                  <a:lnTo>
                    <a:pt x="46" y="24"/>
                  </a:lnTo>
                  <a:lnTo>
                    <a:pt x="42" y="24"/>
                  </a:lnTo>
                  <a:lnTo>
                    <a:pt x="42" y="24"/>
                  </a:lnTo>
                  <a:lnTo>
                    <a:pt x="40" y="24"/>
                  </a:lnTo>
                  <a:lnTo>
                    <a:pt x="40" y="24"/>
                  </a:lnTo>
                  <a:lnTo>
                    <a:pt x="38" y="24"/>
                  </a:lnTo>
                  <a:lnTo>
                    <a:pt x="38" y="24"/>
                  </a:lnTo>
                  <a:lnTo>
                    <a:pt x="38" y="22"/>
                  </a:lnTo>
                  <a:lnTo>
                    <a:pt x="38" y="22"/>
                  </a:lnTo>
                  <a:lnTo>
                    <a:pt x="36" y="20"/>
                  </a:lnTo>
                  <a:lnTo>
                    <a:pt x="36" y="18"/>
                  </a:lnTo>
                  <a:lnTo>
                    <a:pt x="36" y="16"/>
                  </a:lnTo>
                  <a:lnTo>
                    <a:pt x="36" y="14"/>
                  </a:lnTo>
                  <a:lnTo>
                    <a:pt x="36" y="12"/>
                  </a:lnTo>
                  <a:lnTo>
                    <a:pt x="38" y="8"/>
                  </a:lnTo>
                  <a:lnTo>
                    <a:pt x="40" y="6"/>
                  </a:lnTo>
                  <a:lnTo>
                    <a:pt x="40" y="4"/>
                  </a:lnTo>
                  <a:lnTo>
                    <a:pt x="40" y="4"/>
                  </a:lnTo>
                  <a:lnTo>
                    <a:pt x="38" y="2"/>
                  </a:lnTo>
                  <a:lnTo>
                    <a:pt x="36" y="0"/>
                  </a:lnTo>
                  <a:lnTo>
                    <a:pt x="34" y="0"/>
                  </a:lnTo>
                  <a:lnTo>
                    <a:pt x="34" y="0"/>
                  </a:lnTo>
                  <a:lnTo>
                    <a:pt x="34" y="0"/>
                  </a:lnTo>
                  <a:lnTo>
                    <a:pt x="32"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1" name="Freeform 269">
              <a:extLst>
                <a:ext uri="{FF2B5EF4-FFF2-40B4-BE49-F238E27FC236}">
                  <a16:creationId xmlns:a16="http://schemas.microsoft.com/office/drawing/2014/main" id="{6399C2C7-6B3D-4F51-8FD7-50ECA3EB14E3}"/>
                </a:ext>
              </a:extLst>
            </p:cNvPr>
            <p:cNvSpPr>
              <a:spLocks/>
            </p:cNvSpPr>
            <p:nvPr/>
          </p:nvSpPr>
          <p:spPr bwMode="auto">
            <a:xfrm>
              <a:off x="4580985" y="2373729"/>
              <a:ext cx="31177" cy="20785"/>
            </a:xfrm>
            <a:custGeom>
              <a:avLst/>
              <a:gdLst>
                <a:gd name="T0" fmla="*/ 6 w 18"/>
                <a:gd name="T1" fmla="*/ 0 h 12"/>
                <a:gd name="T2" fmla="*/ 6 w 18"/>
                <a:gd name="T3" fmla="*/ 0 h 12"/>
                <a:gd name="T4" fmla="*/ 6 w 18"/>
                <a:gd name="T5" fmla="*/ 2 h 12"/>
                <a:gd name="T6" fmla="*/ 4 w 18"/>
                <a:gd name="T7" fmla="*/ 2 h 12"/>
                <a:gd name="T8" fmla="*/ 4 w 18"/>
                <a:gd name="T9" fmla="*/ 2 h 12"/>
                <a:gd name="T10" fmla="*/ 2 w 18"/>
                <a:gd name="T11" fmla="*/ 4 h 12"/>
                <a:gd name="T12" fmla="*/ 2 w 18"/>
                <a:gd name="T13" fmla="*/ 6 h 12"/>
                <a:gd name="T14" fmla="*/ 0 w 18"/>
                <a:gd name="T15" fmla="*/ 6 h 12"/>
                <a:gd name="T16" fmla="*/ 0 w 18"/>
                <a:gd name="T17" fmla="*/ 8 h 12"/>
                <a:gd name="T18" fmla="*/ 0 w 18"/>
                <a:gd name="T19" fmla="*/ 8 h 12"/>
                <a:gd name="T20" fmla="*/ 0 w 18"/>
                <a:gd name="T21" fmla="*/ 8 h 12"/>
                <a:gd name="T22" fmla="*/ 0 w 18"/>
                <a:gd name="T23" fmla="*/ 10 h 12"/>
                <a:gd name="T24" fmla="*/ 0 w 18"/>
                <a:gd name="T25" fmla="*/ 10 h 12"/>
                <a:gd name="T26" fmla="*/ 2 w 18"/>
                <a:gd name="T27" fmla="*/ 10 h 12"/>
                <a:gd name="T28" fmla="*/ 2 w 18"/>
                <a:gd name="T29" fmla="*/ 10 h 12"/>
                <a:gd name="T30" fmla="*/ 4 w 18"/>
                <a:gd name="T31" fmla="*/ 12 h 12"/>
                <a:gd name="T32" fmla="*/ 6 w 18"/>
                <a:gd name="T33" fmla="*/ 12 h 12"/>
                <a:gd name="T34" fmla="*/ 8 w 18"/>
                <a:gd name="T35" fmla="*/ 12 h 12"/>
                <a:gd name="T36" fmla="*/ 10 w 18"/>
                <a:gd name="T37" fmla="*/ 12 h 12"/>
                <a:gd name="T38" fmla="*/ 12 w 18"/>
                <a:gd name="T39" fmla="*/ 10 h 12"/>
                <a:gd name="T40" fmla="*/ 12 w 18"/>
                <a:gd name="T41" fmla="*/ 10 h 12"/>
                <a:gd name="T42" fmla="*/ 14 w 18"/>
                <a:gd name="T43" fmla="*/ 10 h 12"/>
                <a:gd name="T44" fmla="*/ 14 w 18"/>
                <a:gd name="T45" fmla="*/ 8 h 12"/>
                <a:gd name="T46" fmla="*/ 16 w 18"/>
                <a:gd name="T47" fmla="*/ 8 h 12"/>
                <a:gd name="T48" fmla="*/ 16 w 18"/>
                <a:gd name="T49" fmla="*/ 6 h 12"/>
                <a:gd name="T50" fmla="*/ 18 w 18"/>
                <a:gd name="T51" fmla="*/ 4 h 12"/>
                <a:gd name="T52" fmla="*/ 18 w 18"/>
                <a:gd name="T53" fmla="*/ 2 h 12"/>
                <a:gd name="T54" fmla="*/ 18 w 18"/>
                <a:gd name="T55" fmla="*/ 2 h 12"/>
                <a:gd name="T56" fmla="*/ 18 w 18"/>
                <a:gd name="T57" fmla="*/ 2 h 12"/>
                <a:gd name="T58" fmla="*/ 18 w 18"/>
                <a:gd name="T59" fmla="*/ 0 h 12"/>
                <a:gd name="T60" fmla="*/ 18 w 18"/>
                <a:gd name="T61" fmla="*/ 0 h 12"/>
                <a:gd name="T62" fmla="*/ 16 w 18"/>
                <a:gd name="T63" fmla="*/ 0 h 12"/>
                <a:gd name="T64" fmla="*/ 16 w 18"/>
                <a:gd name="T65" fmla="*/ 0 h 12"/>
                <a:gd name="T66" fmla="*/ 16 w 18"/>
                <a:gd name="T67" fmla="*/ 0 h 12"/>
                <a:gd name="T68" fmla="*/ 14 w 18"/>
                <a:gd name="T69" fmla="*/ 0 h 12"/>
                <a:gd name="T70" fmla="*/ 12 w 18"/>
                <a:gd name="T71" fmla="*/ 0 h 12"/>
                <a:gd name="T72" fmla="*/ 10 w 18"/>
                <a:gd name="T73" fmla="*/ 0 h 12"/>
                <a:gd name="T74" fmla="*/ 10 w 18"/>
                <a:gd name="T75" fmla="*/ 0 h 12"/>
                <a:gd name="T76" fmla="*/ 8 w 18"/>
                <a:gd name="T77" fmla="*/ 0 h 12"/>
                <a:gd name="T78" fmla="*/ 6 w 18"/>
                <a:gd name="T7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 h="12">
                  <a:moveTo>
                    <a:pt x="6" y="0"/>
                  </a:moveTo>
                  <a:lnTo>
                    <a:pt x="6" y="0"/>
                  </a:lnTo>
                  <a:lnTo>
                    <a:pt x="6" y="2"/>
                  </a:lnTo>
                  <a:lnTo>
                    <a:pt x="4" y="2"/>
                  </a:lnTo>
                  <a:lnTo>
                    <a:pt x="4" y="2"/>
                  </a:lnTo>
                  <a:lnTo>
                    <a:pt x="2" y="4"/>
                  </a:lnTo>
                  <a:lnTo>
                    <a:pt x="2" y="6"/>
                  </a:lnTo>
                  <a:lnTo>
                    <a:pt x="0" y="6"/>
                  </a:lnTo>
                  <a:lnTo>
                    <a:pt x="0" y="8"/>
                  </a:lnTo>
                  <a:lnTo>
                    <a:pt x="0" y="8"/>
                  </a:lnTo>
                  <a:lnTo>
                    <a:pt x="0" y="8"/>
                  </a:lnTo>
                  <a:lnTo>
                    <a:pt x="0" y="10"/>
                  </a:lnTo>
                  <a:lnTo>
                    <a:pt x="0" y="10"/>
                  </a:lnTo>
                  <a:lnTo>
                    <a:pt x="2" y="10"/>
                  </a:lnTo>
                  <a:lnTo>
                    <a:pt x="2" y="10"/>
                  </a:lnTo>
                  <a:lnTo>
                    <a:pt x="4" y="12"/>
                  </a:lnTo>
                  <a:lnTo>
                    <a:pt x="6" y="12"/>
                  </a:lnTo>
                  <a:lnTo>
                    <a:pt x="8" y="12"/>
                  </a:lnTo>
                  <a:lnTo>
                    <a:pt x="10" y="12"/>
                  </a:lnTo>
                  <a:lnTo>
                    <a:pt x="12" y="10"/>
                  </a:lnTo>
                  <a:lnTo>
                    <a:pt x="12" y="10"/>
                  </a:lnTo>
                  <a:lnTo>
                    <a:pt x="14" y="10"/>
                  </a:lnTo>
                  <a:lnTo>
                    <a:pt x="14" y="8"/>
                  </a:lnTo>
                  <a:lnTo>
                    <a:pt x="16" y="8"/>
                  </a:lnTo>
                  <a:lnTo>
                    <a:pt x="16" y="6"/>
                  </a:lnTo>
                  <a:lnTo>
                    <a:pt x="18" y="4"/>
                  </a:lnTo>
                  <a:lnTo>
                    <a:pt x="18" y="2"/>
                  </a:lnTo>
                  <a:lnTo>
                    <a:pt x="18" y="2"/>
                  </a:lnTo>
                  <a:lnTo>
                    <a:pt x="18" y="2"/>
                  </a:lnTo>
                  <a:lnTo>
                    <a:pt x="18" y="0"/>
                  </a:lnTo>
                  <a:lnTo>
                    <a:pt x="18" y="0"/>
                  </a:lnTo>
                  <a:lnTo>
                    <a:pt x="16" y="0"/>
                  </a:lnTo>
                  <a:lnTo>
                    <a:pt x="16" y="0"/>
                  </a:lnTo>
                  <a:lnTo>
                    <a:pt x="16" y="0"/>
                  </a:lnTo>
                  <a:lnTo>
                    <a:pt x="14" y="0"/>
                  </a:lnTo>
                  <a:lnTo>
                    <a:pt x="12" y="0"/>
                  </a:lnTo>
                  <a:lnTo>
                    <a:pt x="10" y="0"/>
                  </a:lnTo>
                  <a:lnTo>
                    <a:pt x="10" y="0"/>
                  </a:lnTo>
                  <a:lnTo>
                    <a:pt x="8" y="0"/>
                  </a:lnTo>
                  <a:lnTo>
                    <a:pt x="6"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2" name="Freeform 270">
              <a:extLst>
                <a:ext uri="{FF2B5EF4-FFF2-40B4-BE49-F238E27FC236}">
                  <a16:creationId xmlns:a16="http://schemas.microsoft.com/office/drawing/2014/main" id="{536BA289-9AC0-44F8-9C72-7F75D4231298}"/>
                </a:ext>
              </a:extLst>
            </p:cNvPr>
            <p:cNvSpPr>
              <a:spLocks/>
            </p:cNvSpPr>
            <p:nvPr/>
          </p:nvSpPr>
          <p:spPr bwMode="auto">
            <a:xfrm>
              <a:off x="4580985" y="2373729"/>
              <a:ext cx="31177" cy="20785"/>
            </a:xfrm>
            <a:custGeom>
              <a:avLst/>
              <a:gdLst>
                <a:gd name="T0" fmla="*/ 6 w 18"/>
                <a:gd name="T1" fmla="*/ 0 h 12"/>
                <a:gd name="T2" fmla="*/ 6 w 18"/>
                <a:gd name="T3" fmla="*/ 0 h 12"/>
                <a:gd name="T4" fmla="*/ 6 w 18"/>
                <a:gd name="T5" fmla="*/ 2 h 12"/>
                <a:gd name="T6" fmla="*/ 4 w 18"/>
                <a:gd name="T7" fmla="*/ 2 h 12"/>
                <a:gd name="T8" fmla="*/ 4 w 18"/>
                <a:gd name="T9" fmla="*/ 2 h 12"/>
                <a:gd name="T10" fmla="*/ 2 w 18"/>
                <a:gd name="T11" fmla="*/ 4 h 12"/>
                <a:gd name="T12" fmla="*/ 2 w 18"/>
                <a:gd name="T13" fmla="*/ 6 h 12"/>
                <a:gd name="T14" fmla="*/ 0 w 18"/>
                <a:gd name="T15" fmla="*/ 6 h 12"/>
                <a:gd name="T16" fmla="*/ 0 w 18"/>
                <a:gd name="T17" fmla="*/ 8 h 12"/>
                <a:gd name="T18" fmla="*/ 0 w 18"/>
                <a:gd name="T19" fmla="*/ 8 h 12"/>
                <a:gd name="T20" fmla="*/ 0 w 18"/>
                <a:gd name="T21" fmla="*/ 8 h 12"/>
                <a:gd name="T22" fmla="*/ 0 w 18"/>
                <a:gd name="T23" fmla="*/ 10 h 12"/>
                <a:gd name="T24" fmla="*/ 0 w 18"/>
                <a:gd name="T25" fmla="*/ 10 h 12"/>
                <a:gd name="T26" fmla="*/ 2 w 18"/>
                <a:gd name="T27" fmla="*/ 10 h 12"/>
                <a:gd name="T28" fmla="*/ 2 w 18"/>
                <a:gd name="T29" fmla="*/ 10 h 12"/>
                <a:gd name="T30" fmla="*/ 4 w 18"/>
                <a:gd name="T31" fmla="*/ 12 h 12"/>
                <a:gd name="T32" fmla="*/ 6 w 18"/>
                <a:gd name="T33" fmla="*/ 12 h 12"/>
                <a:gd name="T34" fmla="*/ 8 w 18"/>
                <a:gd name="T35" fmla="*/ 12 h 12"/>
                <a:gd name="T36" fmla="*/ 10 w 18"/>
                <a:gd name="T37" fmla="*/ 12 h 12"/>
                <a:gd name="T38" fmla="*/ 12 w 18"/>
                <a:gd name="T39" fmla="*/ 10 h 12"/>
                <a:gd name="T40" fmla="*/ 12 w 18"/>
                <a:gd name="T41" fmla="*/ 10 h 12"/>
                <a:gd name="T42" fmla="*/ 14 w 18"/>
                <a:gd name="T43" fmla="*/ 10 h 12"/>
                <a:gd name="T44" fmla="*/ 14 w 18"/>
                <a:gd name="T45" fmla="*/ 8 h 12"/>
                <a:gd name="T46" fmla="*/ 16 w 18"/>
                <a:gd name="T47" fmla="*/ 8 h 12"/>
                <a:gd name="T48" fmla="*/ 16 w 18"/>
                <a:gd name="T49" fmla="*/ 6 h 12"/>
                <a:gd name="T50" fmla="*/ 18 w 18"/>
                <a:gd name="T51" fmla="*/ 4 h 12"/>
                <a:gd name="T52" fmla="*/ 18 w 18"/>
                <a:gd name="T53" fmla="*/ 2 h 12"/>
                <a:gd name="T54" fmla="*/ 18 w 18"/>
                <a:gd name="T55" fmla="*/ 2 h 12"/>
                <a:gd name="T56" fmla="*/ 18 w 18"/>
                <a:gd name="T57" fmla="*/ 2 h 12"/>
                <a:gd name="T58" fmla="*/ 18 w 18"/>
                <a:gd name="T59" fmla="*/ 0 h 12"/>
                <a:gd name="T60" fmla="*/ 18 w 18"/>
                <a:gd name="T61" fmla="*/ 0 h 12"/>
                <a:gd name="T62" fmla="*/ 16 w 18"/>
                <a:gd name="T63" fmla="*/ 0 h 12"/>
                <a:gd name="T64" fmla="*/ 16 w 18"/>
                <a:gd name="T65" fmla="*/ 0 h 12"/>
                <a:gd name="T66" fmla="*/ 16 w 18"/>
                <a:gd name="T67" fmla="*/ 0 h 12"/>
                <a:gd name="T68" fmla="*/ 14 w 18"/>
                <a:gd name="T69" fmla="*/ 0 h 12"/>
                <a:gd name="T70" fmla="*/ 12 w 18"/>
                <a:gd name="T71" fmla="*/ 0 h 12"/>
                <a:gd name="T72" fmla="*/ 10 w 18"/>
                <a:gd name="T73" fmla="*/ 0 h 12"/>
                <a:gd name="T74" fmla="*/ 10 w 18"/>
                <a:gd name="T75" fmla="*/ 0 h 12"/>
                <a:gd name="T76" fmla="*/ 8 w 18"/>
                <a:gd name="T77" fmla="*/ 0 h 12"/>
                <a:gd name="T78" fmla="*/ 6 w 18"/>
                <a:gd name="T7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 h="12">
                  <a:moveTo>
                    <a:pt x="6" y="0"/>
                  </a:moveTo>
                  <a:lnTo>
                    <a:pt x="6" y="0"/>
                  </a:lnTo>
                  <a:lnTo>
                    <a:pt x="6" y="2"/>
                  </a:lnTo>
                  <a:lnTo>
                    <a:pt x="4" y="2"/>
                  </a:lnTo>
                  <a:lnTo>
                    <a:pt x="4" y="2"/>
                  </a:lnTo>
                  <a:lnTo>
                    <a:pt x="2" y="4"/>
                  </a:lnTo>
                  <a:lnTo>
                    <a:pt x="2" y="6"/>
                  </a:lnTo>
                  <a:lnTo>
                    <a:pt x="0" y="6"/>
                  </a:lnTo>
                  <a:lnTo>
                    <a:pt x="0" y="8"/>
                  </a:lnTo>
                  <a:lnTo>
                    <a:pt x="0" y="8"/>
                  </a:lnTo>
                  <a:lnTo>
                    <a:pt x="0" y="8"/>
                  </a:lnTo>
                  <a:lnTo>
                    <a:pt x="0" y="10"/>
                  </a:lnTo>
                  <a:lnTo>
                    <a:pt x="0" y="10"/>
                  </a:lnTo>
                  <a:lnTo>
                    <a:pt x="2" y="10"/>
                  </a:lnTo>
                  <a:lnTo>
                    <a:pt x="2" y="10"/>
                  </a:lnTo>
                  <a:lnTo>
                    <a:pt x="4" y="12"/>
                  </a:lnTo>
                  <a:lnTo>
                    <a:pt x="6" y="12"/>
                  </a:lnTo>
                  <a:lnTo>
                    <a:pt x="8" y="12"/>
                  </a:lnTo>
                  <a:lnTo>
                    <a:pt x="10" y="12"/>
                  </a:lnTo>
                  <a:lnTo>
                    <a:pt x="12" y="10"/>
                  </a:lnTo>
                  <a:lnTo>
                    <a:pt x="12" y="10"/>
                  </a:lnTo>
                  <a:lnTo>
                    <a:pt x="14" y="10"/>
                  </a:lnTo>
                  <a:lnTo>
                    <a:pt x="14" y="8"/>
                  </a:lnTo>
                  <a:lnTo>
                    <a:pt x="16" y="8"/>
                  </a:lnTo>
                  <a:lnTo>
                    <a:pt x="16" y="6"/>
                  </a:lnTo>
                  <a:lnTo>
                    <a:pt x="18" y="4"/>
                  </a:lnTo>
                  <a:lnTo>
                    <a:pt x="18" y="2"/>
                  </a:lnTo>
                  <a:lnTo>
                    <a:pt x="18" y="2"/>
                  </a:lnTo>
                  <a:lnTo>
                    <a:pt x="18" y="2"/>
                  </a:lnTo>
                  <a:lnTo>
                    <a:pt x="18" y="0"/>
                  </a:lnTo>
                  <a:lnTo>
                    <a:pt x="18" y="0"/>
                  </a:lnTo>
                  <a:lnTo>
                    <a:pt x="16" y="0"/>
                  </a:lnTo>
                  <a:lnTo>
                    <a:pt x="16" y="0"/>
                  </a:lnTo>
                  <a:lnTo>
                    <a:pt x="16" y="0"/>
                  </a:lnTo>
                  <a:lnTo>
                    <a:pt x="14" y="0"/>
                  </a:lnTo>
                  <a:lnTo>
                    <a:pt x="12" y="0"/>
                  </a:lnTo>
                  <a:lnTo>
                    <a:pt x="10" y="0"/>
                  </a:lnTo>
                  <a:lnTo>
                    <a:pt x="10" y="0"/>
                  </a:lnTo>
                  <a:lnTo>
                    <a:pt x="8" y="0"/>
                  </a:lnTo>
                  <a:lnTo>
                    <a:pt x="6"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3" name="Freeform 271">
              <a:extLst>
                <a:ext uri="{FF2B5EF4-FFF2-40B4-BE49-F238E27FC236}">
                  <a16:creationId xmlns:a16="http://schemas.microsoft.com/office/drawing/2014/main" id="{EB80A667-C3F9-47DD-972A-6B5C51A3D88C}"/>
                </a:ext>
              </a:extLst>
            </p:cNvPr>
            <p:cNvSpPr>
              <a:spLocks/>
            </p:cNvSpPr>
            <p:nvPr/>
          </p:nvSpPr>
          <p:spPr bwMode="auto">
            <a:xfrm>
              <a:off x="4629483" y="2349480"/>
              <a:ext cx="27713" cy="58891"/>
            </a:xfrm>
            <a:custGeom>
              <a:avLst/>
              <a:gdLst>
                <a:gd name="T0" fmla="*/ 2 w 16"/>
                <a:gd name="T1" fmla="*/ 2 h 34"/>
                <a:gd name="T2" fmla="*/ 2 w 16"/>
                <a:gd name="T3" fmla="*/ 2 h 34"/>
                <a:gd name="T4" fmla="*/ 2 w 16"/>
                <a:gd name="T5" fmla="*/ 2 h 34"/>
                <a:gd name="T6" fmla="*/ 0 w 16"/>
                <a:gd name="T7" fmla="*/ 2 h 34"/>
                <a:gd name="T8" fmla="*/ 0 w 16"/>
                <a:gd name="T9" fmla="*/ 4 h 34"/>
                <a:gd name="T10" fmla="*/ 0 w 16"/>
                <a:gd name="T11" fmla="*/ 4 h 34"/>
                <a:gd name="T12" fmla="*/ 0 w 16"/>
                <a:gd name="T13" fmla="*/ 6 h 34"/>
                <a:gd name="T14" fmla="*/ 0 w 16"/>
                <a:gd name="T15" fmla="*/ 8 h 34"/>
                <a:gd name="T16" fmla="*/ 0 w 16"/>
                <a:gd name="T17" fmla="*/ 10 h 34"/>
                <a:gd name="T18" fmla="*/ 2 w 16"/>
                <a:gd name="T19" fmla="*/ 12 h 34"/>
                <a:gd name="T20" fmla="*/ 2 w 16"/>
                <a:gd name="T21" fmla="*/ 14 h 34"/>
                <a:gd name="T22" fmla="*/ 4 w 16"/>
                <a:gd name="T23" fmla="*/ 14 h 34"/>
                <a:gd name="T24" fmla="*/ 4 w 16"/>
                <a:gd name="T25" fmla="*/ 16 h 34"/>
                <a:gd name="T26" fmla="*/ 4 w 16"/>
                <a:gd name="T27" fmla="*/ 16 h 34"/>
                <a:gd name="T28" fmla="*/ 6 w 16"/>
                <a:gd name="T29" fmla="*/ 16 h 34"/>
                <a:gd name="T30" fmla="*/ 8 w 16"/>
                <a:gd name="T31" fmla="*/ 16 h 34"/>
                <a:gd name="T32" fmla="*/ 10 w 16"/>
                <a:gd name="T33" fmla="*/ 16 h 34"/>
                <a:gd name="T34" fmla="*/ 10 w 16"/>
                <a:gd name="T35" fmla="*/ 18 h 34"/>
                <a:gd name="T36" fmla="*/ 10 w 16"/>
                <a:gd name="T37" fmla="*/ 18 h 34"/>
                <a:gd name="T38" fmla="*/ 12 w 16"/>
                <a:gd name="T39" fmla="*/ 18 h 34"/>
                <a:gd name="T40" fmla="*/ 12 w 16"/>
                <a:gd name="T41" fmla="*/ 20 h 34"/>
                <a:gd name="T42" fmla="*/ 12 w 16"/>
                <a:gd name="T43" fmla="*/ 22 h 34"/>
                <a:gd name="T44" fmla="*/ 12 w 16"/>
                <a:gd name="T45" fmla="*/ 24 h 34"/>
                <a:gd name="T46" fmla="*/ 12 w 16"/>
                <a:gd name="T47" fmla="*/ 26 h 34"/>
                <a:gd name="T48" fmla="*/ 12 w 16"/>
                <a:gd name="T49" fmla="*/ 28 h 34"/>
                <a:gd name="T50" fmla="*/ 12 w 16"/>
                <a:gd name="T51" fmla="*/ 30 h 34"/>
                <a:gd name="T52" fmla="*/ 12 w 16"/>
                <a:gd name="T53" fmla="*/ 32 h 34"/>
                <a:gd name="T54" fmla="*/ 12 w 16"/>
                <a:gd name="T55" fmla="*/ 32 h 34"/>
                <a:gd name="T56" fmla="*/ 12 w 16"/>
                <a:gd name="T57" fmla="*/ 32 h 34"/>
                <a:gd name="T58" fmla="*/ 12 w 16"/>
                <a:gd name="T59" fmla="*/ 34 h 34"/>
                <a:gd name="T60" fmla="*/ 12 w 16"/>
                <a:gd name="T61" fmla="*/ 34 h 34"/>
                <a:gd name="T62" fmla="*/ 14 w 16"/>
                <a:gd name="T63" fmla="*/ 34 h 34"/>
                <a:gd name="T64" fmla="*/ 14 w 16"/>
                <a:gd name="T65" fmla="*/ 32 h 34"/>
                <a:gd name="T66" fmla="*/ 14 w 16"/>
                <a:gd name="T67" fmla="*/ 32 h 34"/>
                <a:gd name="T68" fmla="*/ 14 w 16"/>
                <a:gd name="T69" fmla="*/ 32 h 34"/>
                <a:gd name="T70" fmla="*/ 16 w 16"/>
                <a:gd name="T71" fmla="*/ 30 h 34"/>
                <a:gd name="T72" fmla="*/ 16 w 16"/>
                <a:gd name="T73" fmla="*/ 30 h 34"/>
                <a:gd name="T74" fmla="*/ 16 w 16"/>
                <a:gd name="T75" fmla="*/ 26 h 34"/>
                <a:gd name="T76" fmla="*/ 16 w 16"/>
                <a:gd name="T77" fmla="*/ 26 h 34"/>
                <a:gd name="T78" fmla="*/ 16 w 16"/>
                <a:gd name="T79" fmla="*/ 22 h 34"/>
                <a:gd name="T80" fmla="*/ 16 w 16"/>
                <a:gd name="T81" fmla="*/ 20 h 34"/>
                <a:gd name="T82" fmla="*/ 16 w 16"/>
                <a:gd name="T83" fmla="*/ 18 h 34"/>
                <a:gd name="T84" fmla="*/ 16 w 16"/>
                <a:gd name="T85" fmla="*/ 12 h 34"/>
                <a:gd name="T86" fmla="*/ 16 w 16"/>
                <a:gd name="T87" fmla="*/ 10 h 34"/>
                <a:gd name="T88" fmla="*/ 16 w 16"/>
                <a:gd name="T89" fmla="*/ 6 h 34"/>
                <a:gd name="T90" fmla="*/ 16 w 16"/>
                <a:gd name="T91" fmla="*/ 4 h 34"/>
                <a:gd name="T92" fmla="*/ 16 w 16"/>
                <a:gd name="T93" fmla="*/ 4 h 34"/>
                <a:gd name="T94" fmla="*/ 16 w 16"/>
                <a:gd name="T95" fmla="*/ 2 h 34"/>
                <a:gd name="T96" fmla="*/ 16 w 16"/>
                <a:gd name="T97" fmla="*/ 2 h 34"/>
                <a:gd name="T98" fmla="*/ 16 w 16"/>
                <a:gd name="T99" fmla="*/ 2 h 34"/>
                <a:gd name="T100" fmla="*/ 14 w 16"/>
                <a:gd name="T101" fmla="*/ 0 h 34"/>
                <a:gd name="T102" fmla="*/ 14 w 16"/>
                <a:gd name="T103" fmla="*/ 0 h 34"/>
                <a:gd name="T104" fmla="*/ 12 w 16"/>
                <a:gd name="T105" fmla="*/ 0 h 34"/>
                <a:gd name="T106" fmla="*/ 10 w 16"/>
                <a:gd name="T107" fmla="*/ 0 h 34"/>
                <a:gd name="T108" fmla="*/ 8 w 16"/>
                <a:gd name="T109" fmla="*/ 0 h 34"/>
                <a:gd name="T110" fmla="*/ 6 w 16"/>
                <a:gd name="T111" fmla="*/ 0 h 34"/>
                <a:gd name="T112" fmla="*/ 4 w 16"/>
                <a:gd name="T113" fmla="*/ 0 h 34"/>
                <a:gd name="T114" fmla="*/ 2 w 16"/>
                <a:gd name="T115" fmla="*/ 0 h 34"/>
                <a:gd name="T116" fmla="*/ 2 w 16"/>
                <a:gd name="T117" fmla="*/ 0 h 34"/>
                <a:gd name="T118" fmla="*/ 2 w 16"/>
                <a:gd name="T119"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 h="34">
                  <a:moveTo>
                    <a:pt x="2" y="2"/>
                  </a:moveTo>
                  <a:lnTo>
                    <a:pt x="2" y="2"/>
                  </a:lnTo>
                  <a:lnTo>
                    <a:pt x="2" y="2"/>
                  </a:lnTo>
                  <a:lnTo>
                    <a:pt x="0" y="2"/>
                  </a:lnTo>
                  <a:lnTo>
                    <a:pt x="0" y="4"/>
                  </a:lnTo>
                  <a:lnTo>
                    <a:pt x="0" y="4"/>
                  </a:lnTo>
                  <a:lnTo>
                    <a:pt x="0" y="6"/>
                  </a:lnTo>
                  <a:lnTo>
                    <a:pt x="0" y="8"/>
                  </a:lnTo>
                  <a:lnTo>
                    <a:pt x="0" y="10"/>
                  </a:lnTo>
                  <a:lnTo>
                    <a:pt x="2" y="12"/>
                  </a:lnTo>
                  <a:lnTo>
                    <a:pt x="2" y="14"/>
                  </a:lnTo>
                  <a:lnTo>
                    <a:pt x="4" y="14"/>
                  </a:lnTo>
                  <a:lnTo>
                    <a:pt x="4" y="16"/>
                  </a:lnTo>
                  <a:lnTo>
                    <a:pt x="4" y="16"/>
                  </a:lnTo>
                  <a:lnTo>
                    <a:pt x="6" y="16"/>
                  </a:lnTo>
                  <a:lnTo>
                    <a:pt x="8" y="16"/>
                  </a:lnTo>
                  <a:lnTo>
                    <a:pt x="10" y="16"/>
                  </a:lnTo>
                  <a:lnTo>
                    <a:pt x="10" y="18"/>
                  </a:lnTo>
                  <a:lnTo>
                    <a:pt x="10" y="18"/>
                  </a:lnTo>
                  <a:lnTo>
                    <a:pt x="12" y="18"/>
                  </a:lnTo>
                  <a:lnTo>
                    <a:pt x="12" y="20"/>
                  </a:lnTo>
                  <a:lnTo>
                    <a:pt x="12" y="22"/>
                  </a:lnTo>
                  <a:lnTo>
                    <a:pt x="12" y="24"/>
                  </a:lnTo>
                  <a:lnTo>
                    <a:pt x="12" y="26"/>
                  </a:lnTo>
                  <a:lnTo>
                    <a:pt x="12" y="28"/>
                  </a:lnTo>
                  <a:lnTo>
                    <a:pt x="12" y="30"/>
                  </a:lnTo>
                  <a:lnTo>
                    <a:pt x="12" y="32"/>
                  </a:lnTo>
                  <a:lnTo>
                    <a:pt x="12" y="32"/>
                  </a:lnTo>
                  <a:lnTo>
                    <a:pt x="12" y="32"/>
                  </a:lnTo>
                  <a:lnTo>
                    <a:pt x="12" y="34"/>
                  </a:lnTo>
                  <a:lnTo>
                    <a:pt x="12" y="34"/>
                  </a:lnTo>
                  <a:lnTo>
                    <a:pt x="14" y="34"/>
                  </a:lnTo>
                  <a:lnTo>
                    <a:pt x="14" y="32"/>
                  </a:lnTo>
                  <a:lnTo>
                    <a:pt x="14" y="32"/>
                  </a:lnTo>
                  <a:lnTo>
                    <a:pt x="14" y="32"/>
                  </a:lnTo>
                  <a:lnTo>
                    <a:pt x="16" y="30"/>
                  </a:lnTo>
                  <a:lnTo>
                    <a:pt x="16" y="30"/>
                  </a:lnTo>
                  <a:lnTo>
                    <a:pt x="16" y="26"/>
                  </a:lnTo>
                  <a:lnTo>
                    <a:pt x="16" y="26"/>
                  </a:lnTo>
                  <a:lnTo>
                    <a:pt x="16" y="22"/>
                  </a:lnTo>
                  <a:lnTo>
                    <a:pt x="16" y="20"/>
                  </a:lnTo>
                  <a:lnTo>
                    <a:pt x="16" y="18"/>
                  </a:lnTo>
                  <a:lnTo>
                    <a:pt x="16" y="12"/>
                  </a:lnTo>
                  <a:lnTo>
                    <a:pt x="16" y="10"/>
                  </a:lnTo>
                  <a:lnTo>
                    <a:pt x="16" y="6"/>
                  </a:lnTo>
                  <a:lnTo>
                    <a:pt x="16" y="4"/>
                  </a:lnTo>
                  <a:lnTo>
                    <a:pt x="16" y="4"/>
                  </a:lnTo>
                  <a:lnTo>
                    <a:pt x="16" y="2"/>
                  </a:lnTo>
                  <a:lnTo>
                    <a:pt x="16" y="2"/>
                  </a:lnTo>
                  <a:lnTo>
                    <a:pt x="16" y="2"/>
                  </a:lnTo>
                  <a:lnTo>
                    <a:pt x="14" y="0"/>
                  </a:lnTo>
                  <a:lnTo>
                    <a:pt x="14" y="0"/>
                  </a:lnTo>
                  <a:lnTo>
                    <a:pt x="12" y="0"/>
                  </a:lnTo>
                  <a:lnTo>
                    <a:pt x="10" y="0"/>
                  </a:lnTo>
                  <a:lnTo>
                    <a:pt x="8" y="0"/>
                  </a:lnTo>
                  <a:lnTo>
                    <a:pt x="6" y="0"/>
                  </a:lnTo>
                  <a:lnTo>
                    <a:pt x="4" y="0"/>
                  </a:lnTo>
                  <a:lnTo>
                    <a:pt x="2" y="0"/>
                  </a:lnTo>
                  <a:lnTo>
                    <a:pt x="2" y="0"/>
                  </a:lnTo>
                  <a:lnTo>
                    <a:pt x="2"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4" name="Freeform 272">
              <a:extLst>
                <a:ext uri="{FF2B5EF4-FFF2-40B4-BE49-F238E27FC236}">
                  <a16:creationId xmlns:a16="http://schemas.microsoft.com/office/drawing/2014/main" id="{9ABA35BF-5141-4420-A55E-5C41BF98D8AA}"/>
                </a:ext>
              </a:extLst>
            </p:cNvPr>
            <p:cNvSpPr>
              <a:spLocks/>
            </p:cNvSpPr>
            <p:nvPr/>
          </p:nvSpPr>
          <p:spPr bwMode="auto">
            <a:xfrm>
              <a:off x="4629483" y="2349480"/>
              <a:ext cx="27713" cy="58891"/>
            </a:xfrm>
            <a:custGeom>
              <a:avLst/>
              <a:gdLst>
                <a:gd name="T0" fmla="*/ 2 w 16"/>
                <a:gd name="T1" fmla="*/ 2 h 34"/>
                <a:gd name="T2" fmla="*/ 2 w 16"/>
                <a:gd name="T3" fmla="*/ 2 h 34"/>
                <a:gd name="T4" fmla="*/ 2 w 16"/>
                <a:gd name="T5" fmla="*/ 2 h 34"/>
                <a:gd name="T6" fmla="*/ 0 w 16"/>
                <a:gd name="T7" fmla="*/ 2 h 34"/>
                <a:gd name="T8" fmla="*/ 0 w 16"/>
                <a:gd name="T9" fmla="*/ 4 h 34"/>
                <a:gd name="T10" fmla="*/ 0 w 16"/>
                <a:gd name="T11" fmla="*/ 4 h 34"/>
                <a:gd name="T12" fmla="*/ 0 w 16"/>
                <a:gd name="T13" fmla="*/ 6 h 34"/>
                <a:gd name="T14" fmla="*/ 0 w 16"/>
                <a:gd name="T15" fmla="*/ 8 h 34"/>
                <a:gd name="T16" fmla="*/ 0 w 16"/>
                <a:gd name="T17" fmla="*/ 10 h 34"/>
                <a:gd name="T18" fmla="*/ 2 w 16"/>
                <a:gd name="T19" fmla="*/ 12 h 34"/>
                <a:gd name="T20" fmla="*/ 2 w 16"/>
                <a:gd name="T21" fmla="*/ 14 h 34"/>
                <a:gd name="T22" fmla="*/ 4 w 16"/>
                <a:gd name="T23" fmla="*/ 14 h 34"/>
                <a:gd name="T24" fmla="*/ 4 w 16"/>
                <a:gd name="T25" fmla="*/ 16 h 34"/>
                <a:gd name="T26" fmla="*/ 4 w 16"/>
                <a:gd name="T27" fmla="*/ 16 h 34"/>
                <a:gd name="T28" fmla="*/ 6 w 16"/>
                <a:gd name="T29" fmla="*/ 16 h 34"/>
                <a:gd name="T30" fmla="*/ 8 w 16"/>
                <a:gd name="T31" fmla="*/ 16 h 34"/>
                <a:gd name="T32" fmla="*/ 10 w 16"/>
                <a:gd name="T33" fmla="*/ 16 h 34"/>
                <a:gd name="T34" fmla="*/ 10 w 16"/>
                <a:gd name="T35" fmla="*/ 18 h 34"/>
                <a:gd name="T36" fmla="*/ 10 w 16"/>
                <a:gd name="T37" fmla="*/ 18 h 34"/>
                <a:gd name="T38" fmla="*/ 12 w 16"/>
                <a:gd name="T39" fmla="*/ 18 h 34"/>
                <a:gd name="T40" fmla="*/ 12 w 16"/>
                <a:gd name="T41" fmla="*/ 20 h 34"/>
                <a:gd name="T42" fmla="*/ 12 w 16"/>
                <a:gd name="T43" fmla="*/ 22 h 34"/>
                <a:gd name="T44" fmla="*/ 12 w 16"/>
                <a:gd name="T45" fmla="*/ 24 h 34"/>
                <a:gd name="T46" fmla="*/ 12 w 16"/>
                <a:gd name="T47" fmla="*/ 26 h 34"/>
                <a:gd name="T48" fmla="*/ 12 w 16"/>
                <a:gd name="T49" fmla="*/ 28 h 34"/>
                <a:gd name="T50" fmla="*/ 12 w 16"/>
                <a:gd name="T51" fmla="*/ 30 h 34"/>
                <a:gd name="T52" fmla="*/ 12 w 16"/>
                <a:gd name="T53" fmla="*/ 32 h 34"/>
                <a:gd name="T54" fmla="*/ 12 w 16"/>
                <a:gd name="T55" fmla="*/ 32 h 34"/>
                <a:gd name="T56" fmla="*/ 12 w 16"/>
                <a:gd name="T57" fmla="*/ 32 h 34"/>
                <a:gd name="T58" fmla="*/ 12 w 16"/>
                <a:gd name="T59" fmla="*/ 34 h 34"/>
                <a:gd name="T60" fmla="*/ 12 w 16"/>
                <a:gd name="T61" fmla="*/ 34 h 34"/>
                <a:gd name="T62" fmla="*/ 14 w 16"/>
                <a:gd name="T63" fmla="*/ 34 h 34"/>
                <a:gd name="T64" fmla="*/ 14 w 16"/>
                <a:gd name="T65" fmla="*/ 32 h 34"/>
                <a:gd name="T66" fmla="*/ 14 w 16"/>
                <a:gd name="T67" fmla="*/ 32 h 34"/>
                <a:gd name="T68" fmla="*/ 14 w 16"/>
                <a:gd name="T69" fmla="*/ 32 h 34"/>
                <a:gd name="T70" fmla="*/ 16 w 16"/>
                <a:gd name="T71" fmla="*/ 30 h 34"/>
                <a:gd name="T72" fmla="*/ 16 w 16"/>
                <a:gd name="T73" fmla="*/ 30 h 34"/>
                <a:gd name="T74" fmla="*/ 16 w 16"/>
                <a:gd name="T75" fmla="*/ 26 h 34"/>
                <a:gd name="T76" fmla="*/ 16 w 16"/>
                <a:gd name="T77" fmla="*/ 26 h 34"/>
                <a:gd name="T78" fmla="*/ 16 w 16"/>
                <a:gd name="T79" fmla="*/ 22 h 34"/>
                <a:gd name="T80" fmla="*/ 16 w 16"/>
                <a:gd name="T81" fmla="*/ 20 h 34"/>
                <a:gd name="T82" fmla="*/ 16 w 16"/>
                <a:gd name="T83" fmla="*/ 18 h 34"/>
                <a:gd name="T84" fmla="*/ 16 w 16"/>
                <a:gd name="T85" fmla="*/ 12 h 34"/>
                <a:gd name="T86" fmla="*/ 16 w 16"/>
                <a:gd name="T87" fmla="*/ 10 h 34"/>
                <a:gd name="T88" fmla="*/ 16 w 16"/>
                <a:gd name="T89" fmla="*/ 6 h 34"/>
                <a:gd name="T90" fmla="*/ 16 w 16"/>
                <a:gd name="T91" fmla="*/ 4 h 34"/>
                <a:gd name="T92" fmla="*/ 16 w 16"/>
                <a:gd name="T93" fmla="*/ 4 h 34"/>
                <a:gd name="T94" fmla="*/ 16 w 16"/>
                <a:gd name="T95" fmla="*/ 2 h 34"/>
                <a:gd name="T96" fmla="*/ 16 w 16"/>
                <a:gd name="T97" fmla="*/ 2 h 34"/>
                <a:gd name="T98" fmla="*/ 16 w 16"/>
                <a:gd name="T99" fmla="*/ 2 h 34"/>
                <a:gd name="T100" fmla="*/ 14 w 16"/>
                <a:gd name="T101" fmla="*/ 0 h 34"/>
                <a:gd name="T102" fmla="*/ 14 w 16"/>
                <a:gd name="T103" fmla="*/ 0 h 34"/>
                <a:gd name="T104" fmla="*/ 12 w 16"/>
                <a:gd name="T105" fmla="*/ 0 h 34"/>
                <a:gd name="T106" fmla="*/ 10 w 16"/>
                <a:gd name="T107" fmla="*/ 0 h 34"/>
                <a:gd name="T108" fmla="*/ 8 w 16"/>
                <a:gd name="T109" fmla="*/ 0 h 34"/>
                <a:gd name="T110" fmla="*/ 6 w 16"/>
                <a:gd name="T111" fmla="*/ 0 h 34"/>
                <a:gd name="T112" fmla="*/ 4 w 16"/>
                <a:gd name="T113" fmla="*/ 0 h 34"/>
                <a:gd name="T114" fmla="*/ 2 w 16"/>
                <a:gd name="T115" fmla="*/ 0 h 34"/>
                <a:gd name="T116" fmla="*/ 2 w 16"/>
                <a:gd name="T117" fmla="*/ 0 h 34"/>
                <a:gd name="T118" fmla="*/ 2 w 16"/>
                <a:gd name="T119"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 h="34">
                  <a:moveTo>
                    <a:pt x="2" y="2"/>
                  </a:moveTo>
                  <a:lnTo>
                    <a:pt x="2" y="2"/>
                  </a:lnTo>
                  <a:lnTo>
                    <a:pt x="2" y="2"/>
                  </a:lnTo>
                  <a:lnTo>
                    <a:pt x="0" y="2"/>
                  </a:lnTo>
                  <a:lnTo>
                    <a:pt x="0" y="4"/>
                  </a:lnTo>
                  <a:lnTo>
                    <a:pt x="0" y="4"/>
                  </a:lnTo>
                  <a:lnTo>
                    <a:pt x="0" y="6"/>
                  </a:lnTo>
                  <a:lnTo>
                    <a:pt x="0" y="8"/>
                  </a:lnTo>
                  <a:lnTo>
                    <a:pt x="0" y="10"/>
                  </a:lnTo>
                  <a:lnTo>
                    <a:pt x="2" y="12"/>
                  </a:lnTo>
                  <a:lnTo>
                    <a:pt x="2" y="14"/>
                  </a:lnTo>
                  <a:lnTo>
                    <a:pt x="4" y="14"/>
                  </a:lnTo>
                  <a:lnTo>
                    <a:pt x="4" y="16"/>
                  </a:lnTo>
                  <a:lnTo>
                    <a:pt x="4" y="16"/>
                  </a:lnTo>
                  <a:lnTo>
                    <a:pt x="6" y="16"/>
                  </a:lnTo>
                  <a:lnTo>
                    <a:pt x="8" y="16"/>
                  </a:lnTo>
                  <a:lnTo>
                    <a:pt x="10" y="16"/>
                  </a:lnTo>
                  <a:lnTo>
                    <a:pt x="10" y="18"/>
                  </a:lnTo>
                  <a:lnTo>
                    <a:pt x="10" y="18"/>
                  </a:lnTo>
                  <a:lnTo>
                    <a:pt x="12" y="18"/>
                  </a:lnTo>
                  <a:lnTo>
                    <a:pt x="12" y="20"/>
                  </a:lnTo>
                  <a:lnTo>
                    <a:pt x="12" y="22"/>
                  </a:lnTo>
                  <a:lnTo>
                    <a:pt x="12" y="24"/>
                  </a:lnTo>
                  <a:lnTo>
                    <a:pt x="12" y="26"/>
                  </a:lnTo>
                  <a:lnTo>
                    <a:pt x="12" y="28"/>
                  </a:lnTo>
                  <a:lnTo>
                    <a:pt x="12" y="30"/>
                  </a:lnTo>
                  <a:lnTo>
                    <a:pt x="12" y="32"/>
                  </a:lnTo>
                  <a:lnTo>
                    <a:pt x="12" y="32"/>
                  </a:lnTo>
                  <a:lnTo>
                    <a:pt x="12" y="32"/>
                  </a:lnTo>
                  <a:lnTo>
                    <a:pt x="12" y="34"/>
                  </a:lnTo>
                  <a:lnTo>
                    <a:pt x="12" y="34"/>
                  </a:lnTo>
                  <a:lnTo>
                    <a:pt x="14" y="34"/>
                  </a:lnTo>
                  <a:lnTo>
                    <a:pt x="14" y="32"/>
                  </a:lnTo>
                  <a:lnTo>
                    <a:pt x="14" y="32"/>
                  </a:lnTo>
                  <a:lnTo>
                    <a:pt x="14" y="32"/>
                  </a:lnTo>
                  <a:lnTo>
                    <a:pt x="16" y="30"/>
                  </a:lnTo>
                  <a:lnTo>
                    <a:pt x="16" y="30"/>
                  </a:lnTo>
                  <a:lnTo>
                    <a:pt x="16" y="26"/>
                  </a:lnTo>
                  <a:lnTo>
                    <a:pt x="16" y="26"/>
                  </a:lnTo>
                  <a:lnTo>
                    <a:pt x="16" y="22"/>
                  </a:lnTo>
                  <a:lnTo>
                    <a:pt x="16" y="20"/>
                  </a:lnTo>
                  <a:lnTo>
                    <a:pt x="16" y="18"/>
                  </a:lnTo>
                  <a:lnTo>
                    <a:pt x="16" y="12"/>
                  </a:lnTo>
                  <a:lnTo>
                    <a:pt x="16" y="10"/>
                  </a:lnTo>
                  <a:lnTo>
                    <a:pt x="16" y="6"/>
                  </a:lnTo>
                  <a:lnTo>
                    <a:pt x="16" y="4"/>
                  </a:lnTo>
                  <a:lnTo>
                    <a:pt x="16" y="4"/>
                  </a:lnTo>
                  <a:lnTo>
                    <a:pt x="16" y="2"/>
                  </a:lnTo>
                  <a:lnTo>
                    <a:pt x="16" y="2"/>
                  </a:lnTo>
                  <a:lnTo>
                    <a:pt x="16" y="2"/>
                  </a:lnTo>
                  <a:lnTo>
                    <a:pt x="14" y="0"/>
                  </a:lnTo>
                  <a:lnTo>
                    <a:pt x="14" y="0"/>
                  </a:lnTo>
                  <a:lnTo>
                    <a:pt x="12" y="0"/>
                  </a:lnTo>
                  <a:lnTo>
                    <a:pt x="10" y="0"/>
                  </a:lnTo>
                  <a:lnTo>
                    <a:pt x="8" y="0"/>
                  </a:lnTo>
                  <a:lnTo>
                    <a:pt x="6" y="0"/>
                  </a:lnTo>
                  <a:lnTo>
                    <a:pt x="4" y="0"/>
                  </a:lnTo>
                  <a:lnTo>
                    <a:pt x="2" y="0"/>
                  </a:lnTo>
                  <a:lnTo>
                    <a:pt x="2" y="0"/>
                  </a:lnTo>
                  <a:lnTo>
                    <a:pt x="2"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5" name="Freeform 273">
              <a:extLst>
                <a:ext uri="{FF2B5EF4-FFF2-40B4-BE49-F238E27FC236}">
                  <a16:creationId xmlns:a16="http://schemas.microsoft.com/office/drawing/2014/main" id="{B19DAD05-D7AA-4BC9-8FD6-D0582DBC64F9}"/>
                </a:ext>
              </a:extLst>
            </p:cNvPr>
            <p:cNvSpPr>
              <a:spLocks/>
            </p:cNvSpPr>
            <p:nvPr/>
          </p:nvSpPr>
          <p:spPr bwMode="auto">
            <a:xfrm>
              <a:off x="4674517" y="2352944"/>
              <a:ext cx="17321" cy="20785"/>
            </a:xfrm>
            <a:custGeom>
              <a:avLst/>
              <a:gdLst>
                <a:gd name="T0" fmla="*/ 0 w 10"/>
                <a:gd name="T1" fmla="*/ 4 h 12"/>
                <a:gd name="T2" fmla="*/ 0 w 10"/>
                <a:gd name="T3" fmla="*/ 4 h 12"/>
                <a:gd name="T4" fmla="*/ 0 w 10"/>
                <a:gd name="T5" fmla="*/ 4 h 12"/>
                <a:gd name="T6" fmla="*/ 0 w 10"/>
                <a:gd name="T7" fmla="*/ 4 h 12"/>
                <a:gd name="T8" fmla="*/ 0 w 10"/>
                <a:gd name="T9" fmla="*/ 6 h 12"/>
                <a:gd name="T10" fmla="*/ 2 w 10"/>
                <a:gd name="T11" fmla="*/ 6 h 12"/>
                <a:gd name="T12" fmla="*/ 2 w 10"/>
                <a:gd name="T13" fmla="*/ 8 h 12"/>
                <a:gd name="T14" fmla="*/ 4 w 10"/>
                <a:gd name="T15" fmla="*/ 10 h 12"/>
                <a:gd name="T16" fmla="*/ 4 w 10"/>
                <a:gd name="T17" fmla="*/ 10 h 12"/>
                <a:gd name="T18" fmla="*/ 6 w 10"/>
                <a:gd name="T19" fmla="*/ 10 h 12"/>
                <a:gd name="T20" fmla="*/ 6 w 10"/>
                <a:gd name="T21" fmla="*/ 12 h 12"/>
                <a:gd name="T22" fmla="*/ 6 w 10"/>
                <a:gd name="T23" fmla="*/ 12 h 12"/>
                <a:gd name="T24" fmla="*/ 6 w 10"/>
                <a:gd name="T25" fmla="*/ 10 h 12"/>
                <a:gd name="T26" fmla="*/ 8 w 10"/>
                <a:gd name="T27" fmla="*/ 10 h 12"/>
                <a:gd name="T28" fmla="*/ 8 w 10"/>
                <a:gd name="T29" fmla="*/ 10 h 12"/>
                <a:gd name="T30" fmla="*/ 10 w 10"/>
                <a:gd name="T31" fmla="*/ 8 h 12"/>
                <a:gd name="T32" fmla="*/ 10 w 10"/>
                <a:gd name="T33" fmla="*/ 6 h 12"/>
                <a:gd name="T34" fmla="*/ 10 w 10"/>
                <a:gd name="T35" fmla="*/ 6 h 12"/>
                <a:gd name="T36" fmla="*/ 10 w 10"/>
                <a:gd name="T37" fmla="*/ 4 h 12"/>
                <a:gd name="T38" fmla="*/ 10 w 10"/>
                <a:gd name="T39" fmla="*/ 2 h 12"/>
                <a:gd name="T40" fmla="*/ 10 w 10"/>
                <a:gd name="T41" fmla="*/ 2 h 12"/>
                <a:gd name="T42" fmla="*/ 10 w 10"/>
                <a:gd name="T43" fmla="*/ 2 h 12"/>
                <a:gd name="T44" fmla="*/ 10 w 10"/>
                <a:gd name="T45" fmla="*/ 2 h 12"/>
                <a:gd name="T46" fmla="*/ 10 w 10"/>
                <a:gd name="T47" fmla="*/ 0 h 12"/>
                <a:gd name="T48" fmla="*/ 10 w 10"/>
                <a:gd name="T49" fmla="*/ 0 h 12"/>
                <a:gd name="T50" fmla="*/ 10 w 10"/>
                <a:gd name="T51" fmla="*/ 0 h 12"/>
                <a:gd name="T52" fmla="*/ 8 w 10"/>
                <a:gd name="T53" fmla="*/ 0 h 12"/>
                <a:gd name="T54" fmla="*/ 6 w 10"/>
                <a:gd name="T55" fmla="*/ 0 h 12"/>
                <a:gd name="T56" fmla="*/ 6 w 10"/>
                <a:gd name="T57" fmla="*/ 0 h 12"/>
                <a:gd name="T58" fmla="*/ 4 w 10"/>
                <a:gd name="T59" fmla="*/ 0 h 12"/>
                <a:gd name="T60" fmla="*/ 2 w 10"/>
                <a:gd name="T61" fmla="*/ 2 h 12"/>
                <a:gd name="T62" fmla="*/ 2 w 10"/>
                <a:gd name="T63" fmla="*/ 2 h 12"/>
                <a:gd name="T64" fmla="*/ 0 w 10"/>
                <a:gd name="T65" fmla="*/ 2 h 12"/>
                <a:gd name="T66" fmla="*/ 0 w 10"/>
                <a:gd name="T67" fmla="*/ 4 h 12"/>
                <a:gd name="T68" fmla="*/ 0 w 10"/>
                <a:gd name="T6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 h="12">
                  <a:moveTo>
                    <a:pt x="0" y="4"/>
                  </a:moveTo>
                  <a:lnTo>
                    <a:pt x="0" y="4"/>
                  </a:lnTo>
                  <a:lnTo>
                    <a:pt x="0" y="4"/>
                  </a:lnTo>
                  <a:lnTo>
                    <a:pt x="0" y="4"/>
                  </a:lnTo>
                  <a:lnTo>
                    <a:pt x="0" y="6"/>
                  </a:lnTo>
                  <a:lnTo>
                    <a:pt x="2" y="6"/>
                  </a:lnTo>
                  <a:lnTo>
                    <a:pt x="2" y="8"/>
                  </a:lnTo>
                  <a:lnTo>
                    <a:pt x="4" y="10"/>
                  </a:lnTo>
                  <a:lnTo>
                    <a:pt x="4" y="10"/>
                  </a:lnTo>
                  <a:lnTo>
                    <a:pt x="6" y="10"/>
                  </a:lnTo>
                  <a:lnTo>
                    <a:pt x="6" y="12"/>
                  </a:lnTo>
                  <a:lnTo>
                    <a:pt x="6" y="12"/>
                  </a:lnTo>
                  <a:lnTo>
                    <a:pt x="6" y="10"/>
                  </a:lnTo>
                  <a:lnTo>
                    <a:pt x="8" y="10"/>
                  </a:lnTo>
                  <a:lnTo>
                    <a:pt x="8" y="10"/>
                  </a:lnTo>
                  <a:lnTo>
                    <a:pt x="10" y="8"/>
                  </a:lnTo>
                  <a:lnTo>
                    <a:pt x="10" y="6"/>
                  </a:lnTo>
                  <a:lnTo>
                    <a:pt x="10" y="6"/>
                  </a:lnTo>
                  <a:lnTo>
                    <a:pt x="10" y="4"/>
                  </a:lnTo>
                  <a:lnTo>
                    <a:pt x="10" y="2"/>
                  </a:lnTo>
                  <a:lnTo>
                    <a:pt x="10" y="2"/>
                  </a:lnTo>
                  <a:lnTo>
                    <a:pt x="10" y="2"/>
                  </a:lnTo>
                  <a:lnTo>
                    <a:pt x="10" y="2"/>
                  </a:lnTo>
                  <a:lnTo>
                    <a:pt x="10" y="0"/>
                  </a:lnTo>
                  <a:lnTo>
                    <a:pt x="10" y="0"/>
                  </a:lnTo>
                  <a:lnTo>
                    <a:pt x="10" y="0"/>
                  </a:lnTo>
                  <a:lnTo>
                    <a:pt x="8" y="0"/>
                  </a:lnTo>
                  <a:lnTo>
                    <a:pt x="6" y="0"/>
                  </a:lnTo>
                  <a:lnTo>
                    <a:pt x="6" y="0"/>
                  </a:lnTo>
                  <a:lnTo>
                    <a:pt x="4" y="0"/>
                  </a:lnTo>
                  <a:lnTo>
                    <a:pt x="2" y="2"/>
                  </a:lnTo>
                  <a:lnTo>
                    <a:pt x="2" y="2"/>
                  </a:lnTo>
                  <a:lnTo>
                    <a:pt x="0" y="2"/>
                  </a:lnTo>
                  <a:lnTo>
                    <a:pt x="0" y="4"/>
                  </a:lnTo>
                  <a:lnTo>
                    <a:pt x="0" y="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6" name="Freeform 274">
              <a:extLst>
                <a:ext uri="{FF2B5EF4-FFF2-40B4-BE49-F238E27FC236}">
                  <a16:creationId xmlns:a16="http://schemas.microsoft.com/office/drawing/2014/main" id="{FCF0E22E-1405-40F0-91FF-60D5C0B1B9CF}"/>
                </a:ext>
              </a:extLst>
            </p:cNvPr>
            <p:cNvSpPr>
              <a:spLocks/>
            </p:cNvSpPr>
            <p:nvPr/>
          </p:nvSpPr>
          <p:spPr bwMode="auto">
            <a:xfrm>
              <a:off x="4674517" y="2352944"/>
              <a:ext cx="17321" cy="20785"/>
            </a:xfrm>
            <a:custGeom>
              <a:avLst/>
              <a:gdLst>
                <a:gd name="T0" fmla="*/ 0 w 10"/>
                <a:gd name="T1" fmla="*/ 4 h 12"/>
                <a:gd name="T2" fmla="*/ 0 w 10"/>
                <a:gd name="T3" fmla="*/ 4 h 12"/>
                <a:gd name="T4" fmla="*/ 0 w 10"/>
                <a:gd name="T5" fmla="*/ 4 h 12"/>
                <a:gd name="T6" fmla="*/ 0 w 10"/>
                <a:gd name="T7" fmla="*/ 4 h 12"/>
                <a:gd name="T8" fmla="*/ 0 w 10"/>
                <a:gd name="T9" fmla="*/ 6 h 12"/>
                <a:gd name="T10" fmla="*/ 2 w 10"/>
                <a:gd name="T11" fmla="*/ 6 h 12"/>
                <a:gd name="T12" fmla="*/ 2 w 10"/>
                <a:gd name="T13" fmla="*/ 8 h 12"/>
                <a:gd name="T14" fmla="*/ 4 w 10"/>
                <a:gd name="T15" fmla="*/ 10 h 12"/>
                <a:gd name="T16" fmla="*/ 4 w 10"/>
                <a:gd name="T17" fmla="*/ 10 h 12"/>
                <a:gd name="T18" fmla="*/ 6 w 10"/>
                <a:gd name="T19" fmla="*/ 10 h 12"/>
                <a:gd name="T20" fmla="*/ 6 w 10"/>
                <a:gd name="T21" fmla="*/ 12 h 12"/>
                <a:gd name="T22" fmla="*/ 6 w 10"/>
                <a:gd name="T23" fmla="*/ 12 h 12"/>
                <a:gd name="T24" fmla="*/ 6 w 10"/>
                <a:gd name="T25" fmla="*/ 10 h 12"/>
                <a:gd name="T26" fmla="*/ 8 w 10"/>
                <a:gd name="T27" fmla="*/ 10 h 12"/>
                <a:gd name="T28" fmla="*/ 8 w 10"/>
                <a:gd name="T29" fmla="*/ 10 h 12"/>
                <a:gd name="T30" fmla="*/ 10 w 10"/>
                <a:gd name="T31" fmla="*/ 8 h 12"/>
                <a:gd name="T32" fmla="*/ 10 w 10"/>
                <a:gd name="T33" fmla="*/ 6 h 12"/>
                <a:gd name="T34" fmla="*/ 10 w 10"/>
                <a:gd name="T35" fmla="*/ 6 h 12"/>
                <a:gd name="T36" fmla="*/ 10 w 10"/>
                <a:gd name="T37" fmla="*/ 4 h 12"/>
                <a:gd name="T38" fmla="*/ 10 w 10"/>
                <a:gd name="T39" fmla="*/ 2 h 12"/>
                <a:gd name="T40" fmla="*/ 10 w 10"/>
                <a:gd name="T41" fmla="*/ 2 h 12"/>
                <a:gd name="T42" fmla="*/ 10 w 10"/>
                <a:gd name="T43" fmla="*/ 2 h 12"/>
                <a:gd name="T44" fmla="*/ 10 w 10"/>
                <a:gd name="T45" fmla="*/ 2 h 12"/>
                <a:gd name="T46" fmla="*/ 10 w 10"/>
                <a:gd name="T47" fmla="*/ 0 h 12"/>
                <a:gd name="T48" fmla="*/ 10 w 10"/>
                <a:gd name="T49" fmla="*/ 0 h 12"/>
                <a:gd name="T50" fmla="*/ 10 w 10"/>
                <a:gd name="T51" fmla="*/ 0 h 12"/>
                <a:gd name="T52" fmla="*/ 8 w 10"/>
                <a:gd name="T53" fmla="*/ 0 h 12"/>
                <a:gd name="T54" fmla="*/ 6 w 10"/>
                <a:gd name="T55" fmla="*/ 0 h 12"/>
                <a:gd name="T56" fmla="*/ 6 w 10"/>
                <a:gd name="T57" fmla="*/ 0 h 12"/>
                <a:gd name="T58" fmla="*/ 4 w 10"/>
                <a:gd name="T59" fmla="*/ 0 h 12"/>
                <a:gd name="T60" fmla="*/ 2 w 10"/>
                <a:gd name="T61" fmla="*/ 2 h 12"/>
                <a:gd name="T62" fmla="*/ 2 w 10"/>
                <a:gd name="T63" fmla="*/ 2 h 12"/>
                <a:gd name="T64" fmla="*/ 0 w 10"/>
                <a:gd name="T65" fmla="*/ 2 h 12"/>
                <a:gd name="T66" fmla="*/ 0 w 10"/>
                <a:gd name="T67" fmla="*/ 4 h 12"/>
                <a:gd name="T68" fmla="*/ 0 w 10"/>
                <a:gd name="T6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 h="12">
                  <a:moveTo>
                    <a:pt x="0" y="4"/>
                  </a:moveTo>
                  <a:lnTo>
                    <a:pt x="0" y="4"/>
                  </a:lnTo>
                  <a:lnTo>
                    <a:pt x="0" y="4"/>
                  </a:lnTo>
                  <a:lnTo>
                    <a:pt x="0" y="4"/>
                  </a:lnTo>
                  <a:lnTo>
                    <a:pt x="0" y="6"/>
                  </a:lnTo>
                  <a:lnTo>
                    <a:pt x="2" y="6"/>
                  </a:lnTo>
                  <a:lnTo>
                    <a:pt x="2" y="8"/>
                  </a:lnTo>
                  <a:lnTo>
                    <a:pt x="4" y="10"/>
                  </a:lnTo>
                  <a:lnTo>
                    <a:pt x="4" y="10"/>
                  </a:lnTo>
                  <a:lnTo>
                    <a:pt x="6" y="10"/>
                  </a:lnTo>
                  <a:lnTo>
                    <a:pt x="6" y="12"/>
                  </a:lnTo>
                  <a:lnTo>
                    <a:pt x="6" y="12"/>
                  </a:lnTo>
                  <a:lnTo>
                    <a:pt x="6" y="10"/>
                  </a:lnTo>
                  <a:lnTo>
                    <a:pt x="8" y="10"/>
                  </a:lnTo>
                  <a:lnTo>
                    <a:pt x="8" y="10"/>
                  </a:lnTo>
                  <a:lnTo>
                    <a:pt x="10" y="8"/>
                  </a:lnTo>
                  <a:lnTo>
                    <a:pt x="10" y="6"/>
                  </a:lnTo>
                  <a:lnTo>
                    <a:pt x="10" y="6"/>
                  </a:lnTo>
                  <a:lnTo>
                    <a:pt x="10" y="4"/>
                  </a:lnTo>
                  <a:lnTo>
                    <a:pt x="10" y="2"/>
                  </a:lnTo>
                  <a:lnTo>
                    <a:pt x="10" y="2"/>
                  </a:lnTo>
                  <a:lnTo>
                    <a:pt x="10" y="2"/>
                  </a:lnTo>
                  <a:lnTo>
                    <a:pt x="10" y="2"/>
                  </a:lnTo>
                  <a:lnTo>
                    <a:pt x="10" y="0"/>
                  </a:lnTo>
                  <a:lnTo>
                    <a:pt x="10" y="0"/>
                  </a:lnTo>
                  <a:lnTo>
                    <a:pt x="10" y="0"/>
                  </a:lnTo>
                  <a:lnTo>
                    <a:pt x="8" y="0"/>
                  </a:lnTo>
                  <a:lnTo>
                    <a:pt x="6" y="0"/>
                  </a:lnTo>
                  <a:lnTo>
                    <a:pt x="6" y="0"/>
                  </a:lnTo>
                  <a:lnTo>
                    <a:pt x="4" y="0"/>
                  </a:lnTo>
                  <a:lnTo>
                    <a:pt x="2" y="2"/>
                  </a:lnTo>
                  <a:lnTo>
                    <a:pt x="2" y="2"/>
                  </a:lnTo>
                  <a:lnTo>
                    <a:pt x="0" y="2"/>
                  </a:lnTo>
                  <a:lnTo>
                    <a:pt x="0" y="4"/>
                  </a:lnTo>
                  <a:lnTo>
                    <a:pt x="0" y="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7" name="Line 275">
              <a:extLst>
                <a:ext uri="{FF2B5EF4-FFF2-40B4-BE49-F238E27FC236}">
                  <a16:creationId xmlns:a16="http://schemas.microsoft.com/office/drawing/2014/main" id="{483F7B4E-788C-4478-95D9-2E437FB738E8}"/>
                </a:ext>
              </a:extLst>
            </p:cNvPr>
            <p:cNvSpPr>
              <a:spLocks noChangeShapeType="1"/>
            </p:cNvSpPr>
            <p:nvPr/>
          </p:nvSpPr>
          <p:spPr bwMode="auto">
            <a:xfrm>
              <a:off x="4910079" y="2363336"/>
              <a:ext cx="3464" cy="0"/>
            </a:xfrm>
            <a:prstGeom prst="line">
              <a:avLst/>
            </a:pr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8" name="Line 276">
              <a:extLst>
                <a:ext uri="{FF2B5EF4-FFF2-40B4-BE49-F238E27FC236}">
                  <a16:creationId xmlns:a16="http://schemas.microsoft.com/office/drawing/2014/main" id="{4B6E965A-D495-401F-A545-EE3947531E65}"/>
                </a:ext>
              </a:extLst>
            </p:cNvPr>
            <p:cNvSpPr>
              <a:spLocks noChangeShapeType="1"/>
            </p:cNvSpPr>
            <p:nvPr/>
          </p:nvSpPr>
          <p:spPr bwMode="auto">
            <a:xfrm>
              <a:off x="4910079" y="2363336"/>
              <a:ext cx="3464" cy="0"/>
            </a:xfrm>
            <a:prstGeom prst="line">
              <a:avLst/>
            </a:pr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9" name="Freeform 277">
              <a:extLst>
                <a:ext uri="{FF2B5EF4-FFF2-40B4-BE49-F238E27FC236}">
                  <a16:creationId xmlns:a16="http://schemas.microsoft.com/office/drawing/2014/main" id="{D4DE6F3C-7C0B-4DD9-80EF-27FB12BC1D1B}"/>
                </a:ext>
              </a:extLst>
            </p:cNvPr>
            <p:cNvSpPr>
              <a:spLocks/>
            </p:cNvSpPr>
            <p:nvPr/>
          </p:nvSpPr>
          <p:spPr bwMode="auto">
            <a:xfrm>
              <a:off x="4373136" y="2287125"/>
              <a:ext cx="620083" cy="536943"/>
            </a:xfrm>
            <a:custGeom>
              <a:avLst/>
              <a:gdLst>
                <a:gd name="T0" fmla="*/ 310 w 358"/>
                <a:gd name="T1" fmla="*/ 44 h 310"/>
                <a:gd name="T2" fmla="*/ 290 w 358"/>
                <a:gd name="T3" fmla="*/ 30 h 310"/>
                <a:gd name="T4" fmla="*/ 270 w 358"/>
                <a:gd name="T5" fmla="*/ 50 h 310"/>
                <a:gd name="T6" fmla="*/ 260 w 358"/>
                <a:gd name="T7" fmla="*/ 66 h 310"/>
                <a:gd name="T8" fmla="*/ 216 w 358"/>
                <a:gd name="T9" fmla="*/ 66 h 310"/>
                <a:gd name="T10" fmla="*/ 198 w 358"/>
                <a:gd name="T11" fmla="*/ 80 h 310"/>
                <a:gd name="T12" fmla="*/ 174 w 358"/>
                <a:gd name="T13" fmla="*/ 86 h 310"/>
                <a:gd name="T14" fmla="*/ 158 w 358"/>
                <a:gd name="T15" fmla="*/ 88 h 310"/>
                <a:gd name="T16" fmla="*/ 154 w 358"/>
                <a:gd name="T17" fmla="*/ 100 h 310"/>
                <a:gd name="T18" fmla="*/ 146 w 358"/>
                <a:gd name="T19" fmla="*/ 110 h 310"/>
                <a:gd name="T20" fmla="*/ 138 w 358"/>
                <a:gd name="T21" fmla="*/ 120 h 310"/>
                <a:gd name="T22" fmla="*/ 130 w 358"/>
                <a:gd name="T23" fmla="*/ 132 h 310"/>
                <a:gd name="T24" fmla="*/ 120 w 358"/>
                <a:gd name="T25" fmla="*/ 142 h 310"/>
                <a:gd name="T26" fmla="*/ 114 w 358"/>
                <a:gd name="T27" fmla="*/ 166 h 310"/>
                <a:gd name="T28" fmla="*/ 122 w 358"/>
                <a:gd name="T29" fmla="*/ 176 h 310"/>
                <a:gd name="T30" fmla="*/ 110 w 358"/>
                <a:gd name="T31" fmla="*/ 178 h 310"/>
                <a:gd name="T32" fmla="*/ 100 w 358"/>
                <a:gd name="T33" fmla="*/ 184 h 310"/>
                <a:gd name="T34" fmla="*/ 104 w 358"/>
                <a:gd name="T35" fmla="*/ 230 h 310"/>
                <a:gd name="T36" fmla="*/ 116 w 358"/>
                <a:gd name="T37" fmla="*/ 262 h 310"/>
                <a:gd name="T38" fmla="*/ 104 w 358"/>
                <a:gd name="T39" fmla="*/ 270 h 310"/>
                <a:gd name="T40" fmla="*/ 94 w 358"/>
                <a:gd name="T41" fmla="*/ 296 h 310"/>
                <a:gd name="T42" fmla="*/ 72 w 358"/>
                <a:gd name="T43" fmla="*/ 294 h 310"/>
                <a:gd name="T44" fmla="*/ 44 w 358"/>
                <a:gd name="T45" fmla="*/ 306 h 310"/>
                <a:gd name="T46" fmla="*/ 20 w 358"/>
                <a:gd name="T47" fmla="*/ 308 h 310"/>
                <a:gd name="T48" fmla="*/ 18 w 358"/>
                <a:gd name="T49" fmla="*/ 290 h 310"/>
                <a:gd name="T50" fmla="*/ 14 w 358"/>
                <a:gd name="T51" fmla="*/ 274 h 310"/>
                <a:gd name="T52" fmla="*/ 12 w 358"/>
                <a:gd name="T53" fmla="*/ 260 h 310"/>
                <a:gd name="T54" fmla="*/ 0 w 358"/>
                <a:gd name="T55" fmla="*/ 246 h 310"/>
                <a:gd name="T56" fmla="*/ 6 w 358"/>
                <a:gd name="T57" fmla="*/ 220 h 310"/>
                <a:gd name="T58" fmla="*/ 18 w 358"/>
                <a:gd name="T59" fmla="*/ 210 h 310"/>
                <a:gd name="T60" fmla="*/ 40 w 358"/>
                <a:gd name="T61" fmla="*/ 204 h 310"/>
                <a:gd name="T62" fmla="*/ 52 w 358"/>
                <a:gd name="T63" fmla="*/ 192 h 310"/>
                <a:gd name="T64" fmla="*/ 66 w 358"/>
                <a:gd name="T65" fmla="*/ 190 h 310"/>
                <a:gd name="T66" fmla="*/ 70 w 358"/>
                <a:gd name="T67" fmla="*/ 172 h 310"/>
                <a:gd name="T68" fmla="*/ 88 w 358"/>
                <a:gd name="T69" fmla="*/ 166 h 310"/>
                <a:gd name="T70" fmla="*/ 98 w 358"/>
                <a:gd name="T71" fmla="*/ 148 h 310"/>
                <a:gd name="T72" fmla="*/ 106 w 358"/>
                <a:gd name="T73" fmla="*/ 120 h 310"/>
                <a:gd name="T74" fmla="*/ 134 w 358"/>
                <a:gd name="T75" fmla="*/ 90 h 310"/>
                <a:gd name="T76" fmla="*/ 164 w 358"/>
                <a:gd name="T77" fmla="*/ 76 h 310"/>
                <a:gd name="T78" fmla="*/ 192 w 358"/>
                <a:gd name="T79" fmla="*/ 68 h 310"/>
                <a:gd name="T80" fmla="*/ 204 w 358"/>
                <a:gd name="T81" fmla="*/ 58 h 310"/>
                <a:gd name="T82" fmla="*/ 216 w 358"/>
                <a:gd name="T83" fmla="*/ 48 h 310"/>
                <a:gd name="T84" fmla="*/ 214 w 358"/>
                <a:gd name="T85" fmla="*/ 32 h 310"/>
                <a:gd name="T86" fmla="*/ 206 w 358"/>
                <a:gd name="T87" fmla="*/ 24 h 310"/>
                <a:gd name="T88" fmla="*/ 220 w 358"/>
                <a:gd name="T89" fmla="*/ 18 h 310"/>
                <a:gd name="T90" fmla="*/ 226 w 358"/>
                <a:gd name="T91" fmla="*/ 14 h 310"/>
                <a:gd name="T92" fmla="*/ 232 w 358"/>
                <a:gd name="T93" fmla="*/ 26 h 310"/>
                <a:gd name="T94" fmla="*/ 234 w 358"/>
                <a:gd name="T95" fmla="*/ 18 h 310"/>
                <a:gd name="T96" fmla="*/ 244 w 358"/>
                <a:gd name="T97" fmla="*/ 22 h 310"/>
                <a:gd name="T98" fmla="*/ 256 w 358"/>
                <a:gd name="T99" fmla="*/ 26 h 310"/>
                <a:gd name="T100" fmla="*/ 258 w 358"/>
                <a:gd name="T101" fmla="*/ 14 h 310"/>
                <a:gd name="T102" fmla="*/ 256 w 358"/>
                <a:gd name="T103" fmla="*/ 6 h 310"/>
                <a:gd name="T104" fmla="*/ 272 w 358"/>
                <a:gd name="T105" fmla="*/ 10 h 310"/>
                <a:gd name="T106" fmla="*/ 282 w 358"/>
                <a:gd name="T107" fmla="*/ 4 h 310"/>
                <a:gd name="T108" fmla="*/ 288 w 358"/>
                <a:gd name="T109" fmla="*/ 10 h 310"/>
                <a:gd name="T110" fmla="*/ 300 w 358"/>
                <a:gd name="T111" fmla="*/ 16 h 310"/>
                <a:gd name="T112" fmla="*/ 316 w 358"/>
                <a:gd name="T113" fmla="*/ 6 h 310"/>
                <a:gd name="T114" fmla="*/ 332 w 358"/>
                <a:gd name="T115" fmla="*/ 16 h 310"/>
                <a:gd name="T116" fmla="*/ 332 w 358"/>
                <a:gd name="T117" fmla="*/ 30 h 310"/>
                <a:gd name="T118" fmla="*/ 340 w 358"/>
                <a:gd name="T119" fmla="*/ 4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8" h="310">
                  <a:moveTo>
                    <a:pt x="302" y="68"/>
                  </a:moveTo>
                  <a:lnTo>
                    <a:pt x="302" y="68"/>
                  </a:lnTo>
                  <a:lnTo>
                    <a:pt x="304" y="64"/>
                  </a:lnTo>
                  <a:lnTo>
                    <a:pt x="304" y="62"/>
                  </a:lnTo>
                  <a:lnTo>
                    <a:pt x="306" y="58"/>
                  </a:lnTo>
                  <a:lnTo>
                    <a:pt x="308" y="54"/>
                  </a:lnTo>
                  <a:lnTo>
                    <a:pt x="308" y="52"/>
                  </a:lnTo>
                  <a:lnTo>
                    <a:pt x="310" y="50"/>
                  </a:lnTo>
                  <a:lnTo>
                    <a:pt x="310" y="48"/>
                  </a:lnTo>
                  <a:lnTo>
                    <a:pt x="310" y="46"/>
                  </a:lnTo>
                  <a:lnTo>
                    <a:pt x="310" y="44"/>
                  </a:lnTo>
                  <a:lnTo>
                    <a:pt x="310" y="44"/>
                  </a:lnTo>
                  <a:lnTo>
                    <a:pt x="310" y="42"/>
                  </a:lnTo>
                  <a:lnTo>
                    <a:pt x="310" y="42"/>
                  </a:lnTo>
                  <a:lnTo>
                    <a:pt x="308" y="40"/>
                  </a:lnTo>
                  <a:lnTo>
                    <a:pt x="308" y="40"/>
                  </a:lnTo>
                  <a:lnTo>
                    <a:pt x="306" y="38"/>
                  </a:lnTo>
                  <a:lnTo>
                    <a:pt x="304" y="36"/>
                  </a:lnTo>
                  <a:lnTo>
                    <a:pt x="302" y="36"/>
                  </a:lnTo>
                  <a:lnTo>
                    <a:pt x="298" y="34"/>
                  </a:lnTo>
                  <a:lnTo>
                    <a:pt x="296" y="32"/>
                  </a:lnTo>
                  <a:lnTo>
                    <a:pt x="294" y="32"/>
                  </a:lnTo>
                  <a:lnTo>
                    <a:pt x="292" y="32"/>
                  </a:lnTo>
                  <a:lnTo>
                    <a:pt x="290" y="30"/>
                  </a:lnTo>
                  <a:lnTo>
                    <a:pt x="288" y="30"/>
                  </a:lnTo>
                  <a:lnTo>
                    <a:pt x="288" y="30"/>
                  </a:lnTo>
                  <a:lnTo>
                    <a:pt x="286" y="32"/>
                  </a:lnTo>
                  <a:lnTo>
                    <a:pt x="286" y="32"/>
                  </a:lnTo>
                  <a:lnTo>
                    <a:pt x="284" y="32"/>
                  </a:lnTo>
                  <a:lnTo>
                    <a:pt x="282" y="34"/>
                  </a:lnTo>
                  <a:lnTo>
                    <a:pt x="280" y="36"/>
                  </a:lnTo>
                  <a:lnTo>
                    <a:pt x="278" y="38"/>
                  </a:lnTo>
                  <a:lnTo>
                    <a:pt x="276" y="40"/>
                  </a:lnTo>
                  <a:lnTo>
                    <a:pt x="274" y="44"/>
                  </a:lnTo>
                  <a:lnTo>
                    <a:pt x="272" y="48"/>
                  </a:lnTo>
                  <a:lnTo>
                    <a:pt x="270" y="50"/>
                  </a:lnTo>
                  <a:lnTo>
                    <a:pt x="270" y="52"/>
                  </a:lnTo>
                  <a:lnTo>
                    <a:pt x="268" y="54"/>
                  </a:lnTo>
                  <a:lnTo>
                    <a:pt x="268" y="58"/>
                  </a:lnTo>
                  <a:lnTo>
                    <a:pt x="266" y="60"/>
                  </a:lnTo>
                  <a:lnTo>
                    <a:pt x="266" y="62"/>
                  </a:lnTo>
                  <a:lnTo>
                    <a:pt x="264" y="64"/>
                  </a:lnTo>
                  <a:lnTo>
                    <a:pt x="264" y="64"/>
                  </a:lnTo>
                  <a:lnTo>
                    <a:pt x="264" y="64"/>
                  </a:lnTo>
                  <a:lnTo>
                    <a:pt x="262" y="66"/>
                  </a:lnTo>
                  <a:lnTo>
                    <a:pt x="262" y="66"/>
                  </a:lnTo>
                  <a:lnTo>
                    <a:pt x="260" y="66"/>
                  </a:lnTo>
                  <a:lnTo>
                    <a:pt x="260" y="66"/>
                  </a:lnTo>
                  <a:lnTo>
                    <a:pt x="256" y="68"/>
                  </a:lnTo>
                  <a:lnTo>
                    <a:pt x="254" y="68"/>
                  </a:lnTo>
                  <a:lnTo>
                    <a:pt x="252" y="68"/>
                  </a:lnTo>
                  <a:lnTo>
                    <a:pt x="248" y="68"/>
                  </a:lnTo>
                  <a:lnTo>
                    <a:pt x="244" y="68"/>
                  </a:lnTo>
                  <a:lnTo>
                    <a:pt x="242" y="68"/>
                  </a:lnTo>
                  <a:lnTo>
                    <a:pt x="240" y="68"/>
                  </a:lnTo>
                  <a:lnTo>
                    <a:pt x="236" y="66"/>
                  </a:lnTo>
                  <a:lnTo>
                    <a:pt x="230" y="64"/>
                  </a:lnTo>
                  <a:lnTo>
                    <a:pt x="224" y="64"/>
                  </a:lnTo>
                  <a:lnTo>
                    <a:pt x="220" y="62"/>
                  </a:lnTo>
                  <a:lnTo>
                    <a:pt x="216" y="66"/>
                  </a:lnTo>
                  <a:lnTo>
                    <a:pt x="214" y="68"/>
                  </a:lnTo>
                  <a:lnTo>
                    <a:pt x="210" y="70"/>
                  </a:lnTo>
                  <a:lnTo>
                    <a:pt x="210" y="70"/>
                  </a:lnTo>
                  <a:lnTo>
                    <a:pt x="208" y="72"/>
                  </a:lnTo>
                  <a:lnTo>
                    <a:pt x="208" y="74"/>
                  </a:lnTo>
                  <a:lnTo>
                    <a:pt x="206" y="76"/>
                  </a:lnTo>
                  <a:lnTo>
                    <a:pt x="206" y="78"/>
                  </a:lnTo>
                  <a:lnTo>
                    <a:pt x="204" y="78"/>
                  </a:lnTo>
                  <a:lnTo>
                    <a:pt x="204" y="78"/>
                  </a:lnTo>
                  <a:lnTo>
                    <a:pt x="202" y="80"/>
                  </a:lnTo>
                  <a:lnTo>
                    <a:pt x="200" y="80"/>
                  </a:lnTo>
                  <a:lnTo>
                    <a:pt x="198" y="80"/>
                  </a:lnTo>
                  <a:lnTo>
                    <a:pt x="196" y="80"/>
                  </a:lnTo>
                  <a:lnTo>
                    <a:pt x="192" y="78"/>
                  </a:lnTo>
                  <a:lnTo>
                    <a:pt x="190" y="78"/>
                  </a:lnTo>
                  <a:lnTo>
                    <a:pt x="190" y="78"/>
                  </a:lnTo>
                  <a:lnTo>
                    <a:pt x="184" y="80"/>
                  </a:lnTo>
                  <a:lnTo>
                    <a:pt x="182" y="80"/>
                  </a:lnTo>
                  <a:lnTo>
                    <a:pt x="180" y="80"/>
                  </a:lnTo>
                  <a:lnTo>
                    <a:pt x="180" y="80"/>
                  </a:lnTo>
                  <a:lnTo>
                    <a:pt x="178" y="80"/>
                  </a:lnTo>
                  <a:lnTo>
                    <a:pt x="178" y="82"/>
                  </a:lnTo>
                  <a:lnTo>
                    <a:pt x="176" y="84"/>
                  </a:lnTo>
                  <a:lnTo>
                    <a:pt x="174" y="86"/>
                  </a:lnTo>
                  <a:lnTo>
                    <a:pt x="172" y="86"/>
                  </a:lnTo>
                  <a:lnTo>
                    <a:pt x="172" y="88"/>
                  </a:lnTo>
                  <a:lnTo>
                    <a:pt x="170" y="88"/>
                  </a:lnTo>
                  <a:lnTo>
                    <a:pt x="168" y="90"/>
                  </a:lnTo>
                  <a:lnTo>
                    <a:pt x="166" y="90"/>
                  </a:lnTo>
                  <a:lnTo>
                    <a:pt x="164" y="92"/>
                  </a:lnTo>
                  <a:lnTo>
                    <a:pt x="164" y="92"/>
                  </a:lnTo>
                  <a:lnTo>
                    <a:pt x="164" y="92"/>
                  </a:lnTo>
                  <a:lnTo>
                    <a:pt x="162" y="90"/>
                  </a:lnTo>
                  <a:lnTo>
                    <a:pt x="160" y="90"/>
                  </a:lnTo>
                  <a:lnTo>
                    <a:pt x="158" y="90"/>
                  </a:lnTo>
                  <a:lnTo>
                    <a:pt x="158" y="88"/>
                  </a:lnTo>
                  <a:lnTo>
                    <a:pt x="156" y="88"/>
                  </a:lnTo>
                  <a:lnTo>
                    <a:pt x="156" y="88"/>
                  </a:lnTo>
                  <a:lnTo>
                    <a:pt x="156" y="88"/>
                  </a:lnTo>
                  <a:lnTo>
                    <a:pt x="154" y="90"/>
                  </a:lnTo>
                  <a:lnTo>
                    <a:pt x="154" y="90"/>
                  </a:lnTo>
                  <a:lnTo>
                    <a:pt x="154" y="90"/>
                  </a:lnTo>
                  <a:lnTo>
                    <a:pt x="154" y="92"/>
                  </a:lnTo>
                  <a:lnTo>
                    <a:pt x="154" y="92"/>
                  </a:lnTo>
                  <a:lnTo>
                    <a:pt x="154" y="94"/>
                  </a:lnTo>
                  <a:lnTo>
                    <a:pt x="154" y="96"/>
                  </a:lnTo>
                  <a:lnTo>
                    <a:pt x="154" y="98"/>
                  </a:lnTo>
                  <a:lnTo>
                    <a:pt x="154" y="100"/>
                  </a:lnTo>
                  <a:lnTo>
                    <a:pt x="154" y="100"/>
                  </a:lnTo>
                  <a:lnTo>
                    <a:pt x="154" y="102"/>
                  </a:lnTo>
                  <a:lnTo>
                    <a:pt x="154" y="102"/>
                  </a:lnTo>
                  <a:lnTo>
                    <a:pt x="152" y="102"/>
                  </a:lnTo>
                  <a:lnTo>
                    <a:pt x="150" y="104"/>
                  </a:lnTo>
                  <a:lnTo>
                    <a:pt x="148" y="106"/>
                  </a:lnTo>
                  <a:lnTo>
                    <a:pt x="148" y="106"/>
                  </a:lnTo>
                  <a:lnTo>
                    <a:pt x="146" y="106"/>
                  </a:lnTo>
                  <a:lnTo>
                    <a:pt x="146" y="108"/>
                  </a:lnTo>
                  <a:lnTo>
                    <a:pt x="146" y="108"/>
                  </a:lnTo>
                  <a:lnTo>
                    <a:pt x="146" y="110"/>
                  </a:lnTo>
                  <a:lnTo>
                    <a:pt x="146" y="110"/>
                  </a:lnTo>
                  <a:lnTo>
                    <a:pt x="146" y="112"/>
                  </a:lnTo>
                  <a:lnTo>
                    <a:pt x="146" y="114"/>
                  </a:lnTo>
                  <a:lnTo>
                    <a:pt x="146" y="116"/>
                  </a:lnTo>
                  <a:lnTo>
                    <a:pt x="144" y="118"/>
                  </a:lnTo>
                  <a:lnTo>
                    <a:pt x="144" y="118"/>
                  </a:lnTo>
                  <a:lnTo>
                    <a:pt x="144" y="120"/>
                  </a:lnTo>
                  <a:lnTo>
                    <a:pt x="144" y="120"/>
                  </a:lnTo>
                  <a:lnTo>
                    <a:pt x="144" y="120"/>
                  </a:lnTo>
                  <a:lnTo>
                    <a:pt x="142" y="120"/>
                  </a:lnTo>
                  <a:lnTo>
                    <a:pt x="140" y="120"/>
                  </a:lnTo>
                  <a:lnTo>
                    <a:pt x="140" y="120"/>
                  </a:lnTo>
                  <a:lnTo>
                    <a:pt x="138" y="120"/>
                  </a:lnTo>
                  <a:lnTo>
                    <a:pt x="136" y="120"/>
                  </a:lnTo>
                  <a:lnTo>
                    <a:pt x="134" y="120"/>
                  </a:lnTo>
                  <a:lnTo>
                    <a:pt x="134" y="120"/>
                  </a:lnTo>
                  <a:lnTo>
                    <a:pt x="134" y="120"/>
                  </a:lnTo>
                  <a:lnTo>
                    <a:pt x="134" y="120"/>
                  </a:lnTo>
                  <a:lnTo>
                    <a:pt x="134" y="122"/>
                  </a:lnTo>
                  <a:lnTo>
                    <a:pt x="132" y="122"/>
                  </a:lnTo>
                  <a:lnTo>
                    <a:pt x="132" y="124"/>
                  </a:lnTo>
                  <a:lnTo>
                    <a:pt x="132" y="126"/>
                  </a:lnTo>
                  <a:lnTo>
                    <a:pt x="132" y="130"/>
                  </a:lnTo>
                  <a:lnTo>
                    <a:pt x="130" y="130"/>
                  </a:lnTo>
                  <a:lnTo>
                    <a:pt x="130" y="132"/>
                  </a:lnTo>
                  <a:lnTo>
                    <a:pt x="130" y="132"/>
                  </a:lnTo>
                  <a:lnTo>
                    <a:pt x="130" y="132"/>
                  </a:lnTo>
                  <a:lnTo>
                    <a:pt x="128" y="132"/>
                  </a:lnTo>
                  <a:lnTo>
                    <a:pt x="126" y="134"/>
                  </a:lnTo>
                  <a:lnTo>
                    <a:pt x="124" y="134"/>
                  </a:lnTo>
                  <a:lnTo>
                    <a:pt x="124" y="134"/>
                  </a:lnTo>
                  <a:lnTo>
                    <a:pt x="122" y="136"/>
                  </a:lnTo>
                  <a:lnTo>
                    <a:pt x="122" y="136"/>
                  </a:lnTo>
                  <a:lnTo>
                    <a:pt x="122" y="136"/>
                  </a:lnTo>
                  <a:lnTo>
                    <a:pt x="122" y="138"/>
                  </a:lnTo>
                  <a:lnTo>
                    <a:pt x="122" y="140"/>
                  </a:lnTo>
                  <a:lnTo>
                    <a:pt x="120" y="142"/>
                  </a:lnTo>
                  <a:lnTo>
                    <a:pt x="120" y="144"/>
                  </a:lnTo>
                  <a:lnTo>
                    <a:pt x="120" y="150"/>
                  </a:lnTo>
                  <a:lnTo>
                    <a:pt x="120" y="152"/>
                  </a:lnTo>
                  <a:lnTo>
                    <a:pt x="120" y="154"/>
                  </a:lnTo>
                  <a:lnTo>
                    <a:pt x="120" y="156"/>
                  </a:lnTo>
                  <a:lnTo>
                    <a:pt x="118" y="158"/>
                  </a:lnTo>
                  <a:lnTo>
                    <a:pt x="116" y="160"/>
                  </a:lnTo>
                  <a:lnTo>
                    <a:pt x="116" y="162"/>
                  </a:lnTo>
                  <a:lnTo>
                    <a:pt x="114" y="164"/>
                  </a:lnTo>
                  <a:lnTo>
                    <a:pt x="114" y="166"/>
                  </a:lnTo>
                  <a:lnTo>
                    <a:pt x="114" y="166"/>
                  </a:lnTo>
                  <a:lnTo>
                    <a:pt x="114" y="166"/>
                  </a:lnTo>
                  <a:lnTo>
                    <a:pt x="114" y="168"/>
                  </a:lnTo>
                  <a:lnTo>
                    <a:pt x="114" y="168"/>
                  </a:lnTo>
                  <a:lnTo>
                    <a:pt x="116" y="168"/>
                  </a:lnTo>
                  <a:lnTo>
                    <a:pt x="116" y="170"/>
                  </a:lnTo>
                  <a:lnTo>
                    <a:pt x="118" y="170"/>
                  </a:lnTo>
                  <a:lnTo>
                    <a:pt x="120" y="172"/>
                  </a:lnTo>
                  <a:lnTo>
                    <a:pt x="122" y="172"/>
                  </a:lnTo>
                  <a:lnTo>
                    <a:pt x="122" y="172"/>
                  </a:lnTo>
                  <a:lnTo>
                    <a:pt x="122" y="174"/>
                  </a:lnTo>
                  <a:lnTo>
                    <a:pt x="122" y="174"/>
                  </a:lnTo>
                  <a:lnTo>
                    <a:pt x="122" y="174"/>
                  </a:lnTo>
                  <a:lnTo>
                    <a:pt x="122" y="176"/>
                  </a:lnTo>
                  <a:lnTo>
                    <a:pt x="122" y="176"/>
                  </a:lnTo>
                  <a:lnTo>
                    <a:pt x="122" y="176"/>
                  </a:lnTo>
                  <a:lnTo>
                    <a:pt x="120" y="178"/>
                  </a:lnTo>
                  <a:lnTo>
                    <a:pt x="120" y="178"/>
                  </a:lnTo>
                  <a:lnTo>
                    <a:pt x="118" y="178"/>
                  </a:lnTo>
                  <a:lnTo>
                    <a:pt x="118" y="180"/>
                  </a:lnTo>
                  <a:lnTo>
                    <a:pt x="116" y="180"/>
                  </a:lnTo>
                  <a:lnTo>
                    <a:pt x="116" y="180"/>
                  </a:lnTo>
                  <a:lnTo>
                    <a:pt x="114" y="180"/>
                  </a:lnTo>
                  <a:lnTo>
                    <a:pt x="114" y="180"/>
                  </a:lnTo>
                  <a:lnTo>
                    <a:pt x="112" y="178"/>
                  </a:lnTo>
                  <a:lnTo>
                    <a:pt x="110" y="178"/>
                  </a:lnTo>
                  <a:lnTo>
                    <a:pt x="108" y="178"/>
                  </a:lnTo>
                  <a:lnTo>
                    <a:pt x="106" y="176"/>
                  </a:lnTo>
                  <a:lnTo>
                    <a:pt x="104" y="176"/>
                  </a:lnTo>
                  <a:lnTo>
                    <a:pt x="104" y="176"/>
                  </a:lnTo>
                  <a:lnTo>
                    <a:pt x="102" y="176"/>
                  </a:lnTo>
                  <a:lnTo>
                    <a:pt x="102" y="176"/>
                  </a:lnTo>
                  <a:lnTo>
                    <a:pt x="102" y="178"/>
                  </a:lnTo>
                  <a:lnTo>
                    <a:pt x="102" y="178"/>
                  </a:lnTo>
                  <a:lnTo>
                    <a:pt x="100" y="178"/>
                  </a:lnTo>
                  <a:lnTo>
                    <a:pt x="100" y="180"/>
                  </a:lnTo>
                  <a:lnTo>
                    <a:pt x="100" y="182"/>
                  </a:lnTo>
                  <a:lnTo>
                    <a:pt x="100" y="184"/>
                  </a:lnTo>
                  <a:lnTo>
                    <a:pt x="98" y="188"/>
                  </a:lnTo>
                  <a:lnTo>
                    <a:pt x="98" y="188"/>
                  </a:lnTo>
                  <a:lnTo>
                    <a:pt x="98" y="190"/>
                  </a:lnTo>
                  <a:lnTo>
                    <a:pt x="98" y="194"/>
                  </a:lnTo>
                  <a:lnTo>
                    <a:pt x="100" y="196"/>
                  </a:lnTo>
                  <a:lnTo>
                    <a:pt x="100" y="200"/>
                  </a:lnTo>
                  <a:lnTo>
                    <a:pt x="102" y="208"/>
                  </a:lnTo>
                  <a:lnTo>
                    <a:pt x="102" y="214"/>
                  </a:lnTo>
                  <a:lnTo>
                    <a:pt x="104" y="222"/>
                  </a:lnTo>
                  <a:lnTo>
                    <a:pt x="104" y="226"/>
                  </a:lnTo>
                  <a:lnTo>
                    <a:pt x="104" y="228"/>
                  </a:lnTo>
                  <a:lnTo>
                    <a:pt x="104" y="230"/>
                  </a:lnTo>
                  <a:lnTo>
                    <a:pt x="106" y="232"/>
                  </a:lnTo>
                  <a:lnTo>
                    <a:pt x="106" y="234"/>
                  </a:lnTo>
                  <a:lnTo>
                    <a:pt x="108" y="238"/>
                  </a:lnTo>
                  <a:lnTo>
                    <a:pt x="110" y="242"/>
                  </a:lnTo>
                  <a:lnTo>
                    <a:pt x="112" y="244"/>
                  </a:lnTo>
                  <a:lnTo>
                    <a:pt x="112" y="246"/>
                  </a:lnTo>
                  <a:lnTo>
                    <a:pt x="114" y="250"/>
                  </a:lnTo>
                  <a:lnTo>
                    <a:pt x="114" y="252"/>
                  </a:lnTo>
                  <a:lnTo>
                    <a:pt x="116" y="256"/>
                  </a:lnTo>
                  <a:lnTo>
                    <a:pt x="116" y="258"/>
                  </a:lnTo>
                  <a:lnTo>
                    <a:pt x="116" y="260"/>
                  </a:lnTo>
                  <a:lnTo>
                    <a:pt x="116" y="262"/>
                  </a:lnTo>
                  <a:lnTo>
                    <a:pt x="116" y="262"/>
                  </a:lnTo>
                  <a:lnTo>
                    <a:pt x="116" y="262"/>
                  </a:lnTo>
                  <a:lnTo>
                    <a:pt x="116" y="264"/>
                  </a:lnTo>
                  <a:lnTo>
                    <a:pt x="116" y="264"/>
                  </a:lnTo>
                  <a:lnTo>
                    <a:pt x="116" y="266"/>
                  </a:lnTo>
                  <a:lnTo>
                    <a:pt x="114" y="266"/>
                  </a:lnTo>
                  <a:lnTo>
                    <a:pt x="114" y="266"/>
                  </a:lnTo>
                  <a:lnTo>
                    <a:pt x="112" y="268"/>
                  </a:lnTo>
                  <a:lnTo>
                    <a:pt x="110" y="268"/>
                  </a:lnTo>
                  <a:lnTo>
                    <a:pt x="108" y="268"/>
                  </a:lnTo>
                  <a:lnTo>
                    <a:pt x="106" y="270"/>
                  </a:lnTo>
                  <a:lnTo>
                    <a:pt x="104" y="270"/>
                  </a:lnTo>
                  <a:lnTo>
                    <a:pt x="102" y="270"/>
                  </a:lnTo>
                  <a:lnTo>
                    <a:pt x="102" y="272"/>
                  </a:lnTo>
                  <a:lnTo>
                    <a:pt x="102" y="272"/>
                  </a:lnTo>
                  <a:lnTo>
                    <a:pt x="102" y="274"/>
                  </a:lnTo>
                  <a:lnTo>
                    <a:pt x="100" y="276"/>
                  </a:lnTo>
                  <a:lnTo>
                    <a:pt x="100" y="278"/>
                  </a:lnTo>
                  <a:lnTo>
                    <a:pt x="100" y="280"/>
                  </a:lnTo>
                  <a:lnTo>
                    <a:pt x="98" y="284"/>
                  </a:lnTo>
                  <a:lnTo>
                    <a:pt x="98" y="288"/>
                  </a:lnTo>
                  <a:lnTo>
                    <a:pt x="98" y="290"/>
                  </a:lnTo>
                  <a:lnTo>
                    <a:pt x="96" y="292"/>
                  </a:lnTo>
                  <a:lnTo>
                    <a:pt x="94" y="296"/>
                  </a:lnTo>
                  <a:lnTo>
                    <a:pt x="92" y="300"/>
                  </a:lnTo>
                  <a:lnTo>
                    <a:pt x="92" y="298"/>
                  </a:lnTo>
                  <a:lnTo>
                    <a:pt x="88" y="296"/>
                  </a:lnTo>
                  <a:lnTo>
                    <a:pt x="86" y="296"/>
                  </a:lnTo>
                  <a:lnTo>
                    <a:pt x="86" y="294"/>
                  </a:lnTo>
                  <a:lnTo>
                    <a:pt x="84" y="294"/>
                  </a:lnTo>
                  <a:lnTo>
                    <a:pt x="82" y="292"/>
                  </a:lnTo>
                  <a:lnTo>
                    <a:pt x="82" y="292"/>
                  </a:lnTo>
                  <a:lnTo>
                    <a:pt x="80" y="292"/>
                  </a:lnTo>
                  <a:lnTo>
                    <a:pt x="78" y="292"/>
                  </a:lnTo>
                  <a:lnTo>
                    <a:pt x="74" y="294"/>
                  </a:lnTo>
                  <a:lnTo>
                    <a:pt x="72" y="294"/>
                  </a:lnTo>
                  <a:lnTo>
                    <a:pt x="68" y="294"/>
                  </a:lnTo>
                  <a:lnTo>
                    <a:pt x="66" y="296"/>
                  </a:lnTo>
                  <a:lnTo>
                    <a:pt x="64" y="296"/>
                  </a:lnTo>
                  <a:lnTo>
                    <a:pt x="60" y="296"/>
                  </a:lnTo>
                  <a:lnTo>
                    <a:pt x="60" y="298"/>
                  </a:lnTo>
                  <a:lnTo>
                    <a:pt x="58" y="298"/>
                  </a:lnTo>
                  <a:lnTo>
                    <a:pt x="56" y="300"/>
                  </a:lnTo>
                  <a:lnTo>
                    <a:pt x="52" y="302"/>
                  </a:lnTo>
                  <a:lnTo>
                    <a:pt x="50" y="304"/>
                  </a:lnTo>
                  <a:lnTo>
                    <a:pt x="50" y="304"/>
                  </a:lnTo>
                  <a:lnTo>
                    <a:pt x="46" y="306"/>
                  </a:lnTo>
                  <a:lnTo>
                    <a:pt x="44" y="306"/>
                  </a:lnTo>
                  <a:lnTo>
                    <a:pt x="40" y="308"/>
                  </a:lnTo>
                  <a:lnTo>
                    <a:pt x="38" y="308"/>
                  </a:lnTo>
                  <a:lnTo>
                    <a:pt x="34" y="308"/>
                  </a:lnTo>
                  <a:lnTo>
                    <a:pt x="32" y="310"/>
                  </a:lnTo>
                  <a:lnTo>
                    <a:pt x="30" y="310"/>
                  </a:lnTo>
                  <a:lnTo>
                    <a:pt x="26" y="310"/>
                  </a:lnTo>
                  <a:lnTo>
                    <a:pt x="24" y="310"/>
                  </a:lnTo>
                  <a:lnTo>
                    <a:pt x="24" y="310"/>
                  </a:lnTo>
                  <a:lnTo>
                    <a:pt x="22" y="310"/>
                  </a:lnTo>
                  <a:lnTo>
                    <a:pt x="22" y="310"/>
                  </a:lnTo>
                  <a:lnTo>
                    <a:pt x="20" y="310"/>
                  </a:lnTo>
                  <a:lnTo>
                    <a:pt x="20" y="308"/>
                  </a:lnTo>
                  <a:lnTo>
                    <a:pt x="20" y="308"/>
                  </a:lnTo>
                  <a:lnTo>
                    <a:pt x="20" y="306"/>
                  </a:lnTo>
                  <a:lnTo>
                    <a:pt x="20" y="306"/>
                  </a:lnTo>
                  <a:lnTo>
                    <a:pt x="20" y="304"/>
                  </a:lnTo>
                  <a:lnTo>
                    <a:pt x="20" y="300"/>
                  </a:lnTo>
                  <a:lnTo>
                    <a:pt x="20" y="298"/>
                  </a:lnTo>
                  <a:lnTo>
                    <a:pt x="20" y="296"/>
                  </a:lnTo>
                  <a:lnTo>
                    <a:pt x="20" y="294"/>
                  </a:lnTo>
                  <a:lnTo>
                    <a:pt x="20" y="294"/>
                  </a:lnTo>
                  <a:lnTo>
                    <a:pt x="20" y="292"/>
                  </a:lnTo>
                  <a:lnTo>
                    <a:pt x="20" y="292"/>
                  </a:lnTo>
                  <a:lnTo>
                    <a:pt x="18" y="290"/>
                  </a:lnTo>
                  <a:lnTo>
                    <a:pt x="18" y="290"/>
                  </a:lnTo>
                  <a:lnTo>
                    <a:pt x="16" y="290"/>
                  </a:lnTo>
                  <a:lnTo>
                    <a:pt x="14" y="288"/>
                  </a:lnTo>
                  <a:lnTo>
                    <a:pt x="14" y="288"/>
                  </a:lnTo>
                  <a:lnTo>
                    <a:pt x="12" y="288"/>
                  </a:lnTo>
                  <a:lnTo>
                    <a:pt x="12" y="286"/>
                  </a:lnTo>
                  <a:lnTo>
                    <a:pt x="12" y="286"/>
                  </a:lnTo>
                  <a:lnTo>
                    <a:pt x="12" y="284"/>
                  </a:lnTo>
                  <a:lnTo>
                    <a:pt x="12" y="282"/>
                  </a:lnTo>
                  <a:lnTo>
                    <a:pt x="12" y="280"/>
                  </a:lnTo>
                  <a:lnTo>
                    <a:pt x="12" y="276"/>
                  </a:lnTo>
                  <a:lnTo>
                    <a:pt x="14" y="274"/>
                  </a:lnTo>
                  <a:lnTo>
                    <a:pt x="16" y="270"/>
                  </a:lnTo>
                  <a:lnTo>
                    <a:pt x="16" y="268"/>
                  </a:lnTo>
                  <a:lnTo>
                    <a:pt x="16" y="266"/>
                  </a:lnTo>
                  <a:lnTo>
                    <a:pt x="16" y="264"/>
                  </a:lnTo>
                  <a:lnTo>
                    <a:pt x="16" y="262"/>
                  </a:lnTo>
                  <a:lnTo>
                    <a:pt x="16" y="262"/>
                  </a:lnTo>
                  <a:lnTo>
                    <a:pt x="16" y="260"/>
                  </a:lnTo>
                  <a:lnTo>
                    <a:pt x="16" y="260"/>
                  </a:lnTo>
                  <a:lnTo>
                    <a:pt x="16" y="260"/>
                  </a:lnTo>
                  <a:lnTo>
                    <a:pt x="14" y="260"/>
                  </a:lnTo>
                  <a:lnTo>
                    <a:pt x="14" y="260"/>
                  </a:lnTo>
                  <a:lnTo>
                    <a:pt x="12" y="260"/>
                  </a:lnTo>
                  <a:lnTo>
                    <a:pt x="10" y="260"/>
                  </a:lnTo>
                  <a:lnTo>
                    <a:pt x="8" y="260"/>
                  </a:lnTo>
                  <a:lnTo>
                    <a:pt x="8" y="260"/>
                  </a:lnTo>
                  <a:lnTo>
                    <a:pt x="6" y="260"/>
                  </a:lnTo>
                  <a:lnTo>
                    <a:pt x="6" y="260"/>
                  </a:lnTo>
                  <a:lnTo>
                    <a:pt x="6" y="258"/>
                  </a:lnTo>
                  <a:lnTo>
                    <a:pt x="4" y="258"/>
                  </a:lnTo>
                  <a:lnTo>
                    <a:pt x="4" y="256"/>
                  </a:lnTo>
                  <a:lnTo>
                    <a:pt x="2" y="254"/>
                  </a:lnTo>
                  <a:lnTo>
                    <a:pt x="2" y="252"/>
                  </a:lnTo>
                  <a:lnTo>
                    <a:pt x="2" y="248"/>
                  </a:lnTo>
                  <a:lnTo>
                    <a:pt x="0" y="246"/>
                  </a:lnTo>
                  <a:lnTo>
                    <a:pt x="0" y="244"/>
                  </a:lnTo>
                  <a:lnTo>
                    <a:pt x="0" y="240"/>
                  </a:lnTo>
                  <a:lnTo>
                    <a:pt x="0" y="238"/>
                  </a:lnTo>
                  <a:lnTo>
                    <a:pt x="0" y="234"/>
                  </a:lnTo>
                  <a:lnTo>
                    <a:pt x="0" y="232"/>
                  </a:lnTo>
                  <a:lnTo>
                    <a:pt x="2" y="230"/>
                  </a:lnTo>
                  <a:lnTo>
                    <a:pt x="2" y="226"/>
                  </a:lnTo>
                  <a:lnTo>
                    <a:pt x="2" y="224"/>
                  </a:lnTo>
                  <a:lnTo>
                    <a:pt x="4" y="222"/>
                  </a:lnTo>
                  <a:lnTo>
                    <a:pt x="4" y="222"/>
                  </a:lnTo>
                  <a:lnTo>
                    <a:pt x="4" y="220"/>
                  </a:lnTo>
                  <a:lnTo>
                    <a:pt x="6" y="220"/>
                  </a:lnTo>
                  <a:lnTo>
                    <a:pt x="6" y="220"/>
                  </a:lnTo>
                  <a:lnTo>
                    <a:pt x="8" y="220"/>
                  </a:lnTo>
                  <a:lnTo>
                    <a:pt x="10" y="218"/>
                  </a:lnTo>
                  <a:lnTo>
                    <a:pt x="12" y="218"/>
                  </a:lnTo>
                  <a:lnTo>
                    <a:pt x="14" y="218"/>
                  </a:lnTo>
                  <a:lnTo>
                    <a:pt x="14" y="218"/>
                  </a:lnTo>
                  <a:lnTo>
                    <a:pt x="16" y="218"/>
                  </a:lnTo>
                  <a:lnTo>
                    <a:pt x="16" y="218"/>
                  </a:lnTo>
                  <a:lnTo>
                    <a:pt x="16" y="216"/>
                  </a:lnTo>
                  <a:lnTo>
                    <a:pt x="16" y="216"/>
                  </a:lnTo>
                  <a:lnTo>
                    <a:pt x="16" y="212"/>
                  </a:lnTo>
                  <a:lnTo>
                    <a:pt x="18" y="210"/>
                  </a:lnTo>
                  <a:lnTo>
                    <a:pt x="18" y="210"/>
                  </a:lnTo>
                  <a:lnTo>
                    <a:pt x="18" y="208"/>
                  </a:lnTo>
                  <a:lnTo>
                    <a:pt x="20" y="208"/>
                  </a:lnTo>
                  <a:lnTo>
                    <a:pt x="20" y="206"/>
                  </a:lnTo>
                  <a:lnTo>
                    <a:pt x="22" y="206"/>
                  </a:lnTo>
                  <a:lnTo>
                    <a:pt x="24" y="206"/>
                  </a:lnTo>
                  <a:lnTo>
                    <a:pt x="28" y="204"/>
                  </a:lnTo>
                  <a:lnTo>
                    <a:pt x="32" y="204"/>
                  </a:lnTo>
                  <a:lnTo>
                    <a:pt x="34" y="204"/>
                  </a:lnTo>
                  <a:lnTo>
                    <a:pt x="34" y="204"/>
                  </a:lnTo>
                  <a:lnTo>
                    <a:pt x="38" y="204"/>
                  </a:lnTo>
                  <a:lnTo>
                    <a:pt x="40" y="204"/>
                  </a:lnTo>
                  <a:lnTo>
                    <a:pt x="42" y="202"/>
                  </a:lnTo>
                  <a:lnTo>
                    <a:pt x="44" y="202"/>
                  </a:lnTo>
                  <a:lnTo>
                    <a:pt x="44" y="202"/>
                  </a:lnTo>
                  <a:lnTo>
                    <a:pt x="46" y="202"/>
                  </a:lnTo>
                  <a:lnTo>
                    <a:pt x="46" y="200"/>
                  </a:lnTo>
                  <a:lnTo>
                    <a:pt x="48" y="198"/>
                  </a:lnTo>
                  <a:lnTo>
                    <a:pt x="48" y="196"/>
                  </a:lnTo>
                  <a:lnTo>
                    <a:pt x="50" y="196"/>
                  </a:lnTo>
                  <a:lnTo>
                    <a:pt x="50" y="194"/>
                  </a:lnTo>
                  <a:lnTo>
                    <a:pt x="50" y="194"/>
                  </a:lnTo>
                  <a:lnTo>
                    <a:pt x="52" y="194"/>
                  </a:lnTo>
                  <a:lnTo>
                    <a:pt x="52" y="192"/>
                  </a:lnTo>
                  <a:lnTo>
                    <a:pt x="54" y="192"/>
                  </a:lnTo>
                  <a:lnTo>
                    <a:pt x="56" y="192"/>
                  </a:lnTo>
                  <a:lnTo>
                    <a:pt x="58" y="194"/>
                  </a:lnTo>
                  <a:lnTo>
                    <a:pt x="60" y="194"/>
                  </a:lnTo>
                  <a:lnTo>
                    <a:pt x="62" y="194"/>
                  </a:lnTo>
                  <a:lnTo>
                    <a:pt x="64" y="194"/>
                  </a:lnTo>
                  <a:lnTo>
                    <a:pt x="64" y="192"/>
                  </a:lnTo>
                  <a:lnTo>
                    <a:pt x="66" y="192"/>
                  </a:lnTo>
                  <a:lnTo>
                    <a:pt x="66" y="192"/>
                  </a:lnTo>
                  <a:lnTo>
                    <a:pt x="66" y="192"/>
                  </a:lnTo>
                  <a:lnTo>
                    <a:pt x="66" y="190"/>
                  </a:lnTo>
                  <a:lnTo>
                    <a:pt x="66" y="190"/>
                  </a:lnTo>
                  <a:lnTo>
                    <a:pt x="66" y="188"/>
                  </a:lnTo>
                  <a:lnTo>
                    <a:pt x="66" y="186"/>
                  </a:lnTo>
                  <a:lnTo>
                    <a:pt x="66" y="184"/>
                  </a:lnTo>
                  <a:lnTo>
                    <a:pt x="66" y="180"/>
                  </a:lnTo>
                  <a:lnTo>
                    <a:pt x="66" y="178"/>
                  </a:lnTo>
                  <a:lnTo>
                    <a:pt x="66" y="176"/>
                  </a:lnTo>
                  <a:lnTo>
                    <a:pt x="66" y="176"/>
                  </a:lnTo>
                  <a:lnTo>
                    <a:pt x="66" y="176"/>
                  </a:lnTo>
                  <a:lnTo>
                    <a:pt x="68" y="174"/>
                  </a:lnTo>
                  <a:lnTo>
                    <a:pt x="68" y="174"/>
                  </a:lnTo>
                  <a:lnTo>
                    <a:pt x="68" y="174"/>
                  </a:lnTo>
                  <a:lnTo>
                    <a:pt x="70" y="172"/>
                  </a:lnTo>
                  <a:lnTo>
                    <a:pt x="72" y="172"/>
                  </a:lnTo>
                  <a:lnTo>
                    <a:pt x="74" y="172"/>
                  </a:lnTo>
                  <a:lnTo>
                    <a:pt x="78" y="172"/>
                  </a:lnTo>
                  <a:lnTo>
                    <a:pt x="80" y="170"/>
                  </a:lnTo>
                  <a:lnTo>
                    <a:pt x="84" y="170"/>
                  </a:lnTo>
                  <a:lnTo>
                    <a:pt x="84" y="170"/>
                  </a:lnTo>
                  <a:lnTo>
                    <a:pt x="86" y="170"/>
                  </a:lnTo>
                  <a:lnTo>
                    <a:pt x="86" y="168"/>
                  </a:lnTo>
                  <a:lnTo>
                    <a:pt x="88" y="168"/>
                  </a:lnTo>
                  <a:lnTo>
                    <a:pt x="88" y="168"/>
                  </a:lnTo>
                  <a:lnTo>
                    <a:pt x="88" y="166"/>
                  </a:lnTo>
                  <a:lnTo>
                    <a:pt x="88" y="166"/>
                  </a:lnTo>
                  <a:lnTo>
                    <a:pt x="88" y="164"/>
                  </a:lnTo>
                  <a:lnTo>
                    <a:pt x="88" y="162"/>
                  </a:lnTo>
                  <a:lnTo>
                    <a:pt x="88" y="160"/>
                  </a:lnTo>
                  <a:lnTo>
                    <a:pt x="88" y="158"/>
                  </a:lnTo>
                  <a:lnTo>
                    <a:pt x="90" y="156"/>
                  </a:lnTo>
                  <a:lnTo>
                    <a:pt x="90" y="154"/>
                  </a:lnTo>
                  <a:lnTo>
                    <a:pt x="90" y="154"/>
                  </a:lnTo>
                  <a:lnTo>
                    <a:pt x="90" y="154"/>
                  </a:lnTo>
                  <a:lnTo>
                    <a:pt x="92" y="152"/>
                  </a:lnTo>
                  <a:lnTo>
                    <a:pt x="94" y="152"/>
                  </a:lnTo>
                  <a:lnTo>
                    <a:pt x="94" y="150"/>
                  </a:lnTo>
                  <a:lnTo>
                    <a:pt x="98" y="148"/>
                  </a:lnTo>
                  <a:lnTo>
                    <a:pt x="100" y="148"/>
                  </a:lnTo>
                  <a:lnTo>
                    <a:pt x="100" y="146"/>
                  </a:lnTo>
                  <a:lnTo>
                    <a:pt x="100" y="146"/>
                  </a:lnTo>
                  <a:lnTo>
                    <a:pt x="102" y="144"/>
                  </a:lnTo>
                  <a:lnTo>
                    <a:pt x="102" y="142"/>
                  </a:lnTo>
                  <a:lnTo>
                    <a:pt x="102" y="140"/>
                  </a:lnTo>
                  <a:lnTo>
                    <a:pt x="102" y="136"/>
                  </a:lnTo>
                  <a:lnTo>
                    <a:pt x="104" y="132"/>
                  </a:lnTo>
                  <a:lnTo>
                    <a:pt x="104" y="130"/>
                  </a:lnTo>
                  <a:lnTo>
                    <a:pt x="106" y="126"/>
                  </a:lnTo>
                  <a:lnTo>
                    <a:pt x="106" y="122"/>
                  </a:lnTo>
                  <a:lnTo>
                    <a:pt x="106" y="120"/>
                  </a:lnTo>
                  <a:lnTo>
                    <a:pt x="108" y="120"/>
                  </a:lnTo>
                  <a:lnTo>
                    <a:pt x="108" y="118"/>
                  </a:lnTo>
                  <a:lnTo>
                    <a:pt x="110" y="116"/>
                  </a:lnTo>
                  <a:lnTo>
                    <a:pt x="112" y="114"/>
                  </a:lnTo>
                  <a:lnTo>
                    <a:pt x="114" y="112"/>
                  </a:lnTo>
                  <a:lnTo>
                    <a:pt x="120" y="108"/>
                  </a:lnTo>
                  <a:lnTo>
                    <a:pt x="120" y="106"/>
                  </a:lnTo>
                  <a:lnTo>
                    <a:pt x="122" y="104"/>
                  </a:lnTo>
                  <a:lnTo>
                    <a:pt x="126" y="100"/>
                  </a:lnTo>
                  <a:lnTo>
                    <a:pt x="128" y="96"/>
                  </a:lnTo>
                  <a:lnTo>
                    <a:pt x="132" y="92"/>
                  </a:lnTo>
                  <a:lnTo>
                    <a:pt x="134" y="90"/>
                  </a:lnTo>
                  <a:lnTo>
                    <a:pt x="136" y="88"/>
                  </a:lnTo>
                  <a:lnTo>
                    <a:pt x="138" y="86"/>
                  </a:lnTo>
                  <a:lnTo>
                    <a:pt x="142" y="84"/>
                  </a:lnTo>
                  <a:lnTo>
                    <a:pt x="144" y="82"/>
                  </a:lnTo>
                  <a:lnTo>
                    <a:pt x="146" y="80"/>
                  </a:lnTo>
                  <a:lnTo>
                    <a:pt x="148" y="80"/>
                  </a:lnTo>
                  <a:lnTo>
                    <a:pt x="150" y="78"/>
                  </a:lnTo>
                  <a:lnTo>
                    <a:pt x="152" y="78"/>
                  </a:lnTo>
                  <a:lnTo>
                    <a:pt x="154" y="78"/>
                  </a:lnTo>
                  <a:lnTo>
                    <a:pt x="156" y="78"/>
                  </a:lnTo>
                  <a:lnTo>
                    <a:pt x="158" y="78"/>
                  </a:lnTo>
                  <a:lnTo>
                    <a:pt x="164" y="76"/>
                  </a:lnTo>
                  <a:lnTo>
                    <a:pt x="168" y="76"/>
                  </a:lnTo>
                  <a:lnTo>
                    <a:pt x="170" y="76"/>
                  </a:lnTo>
                  <a:lnTo>
                    <a:pt x="170" y="76"/>
                  </a:lnTo>
                  <a:lnTo>
                    <a:pt x="172" y="74"/>
                  </a:lnTo>
                  <a:lnTo>
                    <a:pt x="174" y="74"/>
                  </a:lnTo>
                  <a:lnTo>
                    <a:pt x="178" y="72"/>
                  </a:lnTo>
                  <a:lnTo>
                    <a:pt x="180" y="70"/>
                  </a:lnTo>
                  <a:lnTo>
                    <a:pt x="180" y="70"/>
                  </a:lnTo>
                  <a:lnTo>
                    <a:pt x="182" y="70"/>
                  </a:lnTo>
                  <a:lnTo>
                    <a:pt x="182" y="70"/>
                  </a:lnTo>
                  <a:lnTo>
                    <a:pt x="186" y="70"/>
                  </a:lnTo>
                  <a:lnTo>
                    <a:pt x="192" y="68"/>
                  </a:lnTo>
                  <a:lnTo>
                    <a:pt x="194" y="68"/>
                  </a:lnTo>
                  <a:lnTo>
                    <a:pt x="198" y="68"/>
                  </a:lnTo>
                  <a:lnTo>
                    <a:pt x="198" y="68"/>
                  </a:lnTo>
                  <a:lnTo>
                    <a:pt x="200" y="68"/>
                  </a:lnTo>
                  <a:lnTo>
                    <a:pt x="202" y="66"/>
                  </a:lnTo>
                  <a:lnTo>
                    <a:pt x="202" y="66"/>
                  </a:lnTo>
                  <a:lnTo>
                    <a:pt x="202" y="66"/>
                  </a:lnTo>
                  <a:lnTo>
                    <a:pt x="202" y="64"/>
                  </a:lnTo>
                  <a:lnTo>
                    <a:pt x="204" y="64"/>
                  </a:lnTo>
                  <a:lnTo>
                    <a:pt x="204" y="62"/>
                  </a:lnTo>
                  <a:lnTo>
                    <a:pt x="204" y="60"/>
                  </a:lnTo>
                  <a:lnTo>
                    <a:pt x="204" y="58"/>
                  </a:lnTo>
                  <a:lnTo>
                    <a:pt x="204" y="56"/>
                  </a:lnTo>
                  <a:lnTo>
                    <a:pt x="206" y="54"/>
                  </a:lnTo>
                  <a:lnTo>
                    <a:pt x="206" y="54"/>
                  </a:lnTo>
                  <a:lnTo>
                    <a:pt x="206" y="54"/>
                  </a:lnTo>
                  <a:lnTo>
                    <a:pt x="206" y="54"/>
                  </a:lnTo>
                  <a:lnTo>
                    <a:pt x="206" y="52"/>
                  </a:lnTo>
                  <a:lnTo>
                    <a:pt x="208" y="52"/>
                  </a:lnTo>
                  <a:lnTo>
                    <a:pt x="210" y="52"/>
                  </a:lnTo>
                  <a:lnTo>
                    <a:pt x="212" y="50"/>
                  </a:lnTo>
                  <a:lnTo>
                    <a:pt x="214" y="50"/>
                  </a:lnTo>
                  <a:lnTo>
                    <a:pt x="216" y="50"/>
                  </a:lnTo>
                  <a:lnTo>
                    <a:pt x="216" y="48"/>
                  </a:lnTo>
                  <a:lnTo>
                    <a:pt x="218" y="48"/>
                  </a:lnTo>
                  <a:lnTo>
                    <a:pt x="218" y="48"/>
                  </a:lnTo>
                  <a:lnTo>
                    <a:pt x="218" y="48"/>
                  </a:lnTo>
                  <a:lnTo>
                    <a:pt x="218" y="46"/>
                  </a:lnTo>
                  <a:lnTo>
                    <a:pt x="218" y="46"/>
                  </a:lnTo>
                  <a:lnTo>
                    <a:pt x="218" y="44"/>
                  </a:lnTo>
                  <a:lnTo>
                    <a:pt x="218" y="42"/>
                  </a:lnTo>
                  <a:lnTo>
                    <a:pt x="218" y="40"/>
                  </a:lnTo>
                  <a:lnTo>
                    <a:pt x="218" y="38"/>
                  </a:lnTo>
                  <a:lnTo>
                    <a:pt x="216" y="36"/>
                  </a:lnTo>
                  <a:lnTo>
                    <a:pt x="216" y="34"/>
                  </a:lnTo>
                  <a:lnTo>
                    <a:pt x="214" y="32"/>
                  </a:lnTo>
                  <a:lnTo>
                    <a:pt x="214" y="32"/>
                  </a:lnTo>
                  <a:lnTo>
                    <a:pt x="214" y="32"/>
                  </a:lnTo>
                  <a:lnTo>
                    <a:pt x="212" y="30"/>
                  </a:lnTo>
                  <a:lnTo>
                    <a:pt x="208" y="28"/>
                  </a:lnTo>
                  <a:lnTo>
                    <a:pt x="208" y="28"/>
                  </a:lnTo>
                  <a:lnTo>
                    <a:pt x="206" y="26"/>
                  </a:lnTo>
                  <a:lnTo>
                    <a:pt x="206" y="26"/>
                  </a:lnTo>
                  <a:lnTo>
                    <a:pt x="204" y="26"/>
                  </a:lnTo>
                  <a:lnTo>
                    <a:pt x="204" y="26"/>
                  </a:lnTo>
                  <a:lnTo>
                    <a:pt x="204" y="24"/>
                  </a:lnTo>
                  <a:lnTo>
                    <a:pt x="204" y="24"/>
                  </a:lnTo>
                  <a:lnTo>
                    <a:pt x="206" y="24"/>
                  </a:lnTo>
                  <a:lnTo>
                    <a:pt x="206" y="22"/>
                  </a:lnTo>
                  <a:lnTo>
                    <a:pt x="206" y="22"/>
                  </a:lnTo>
                  <a:lnTo>
                    <a:pt x="208" y="22"/>
                  </a:lnTo>
                  <a:lnTo>
                    <a:pt x="212" y="22"/>
                  </a:lnTo>
                  <a:lnTo>
                    <a:pt x="214" y="22"/>
                  </a:lnTo>
                  <a:lnTo>
                    <a:pt x="216" y="20"/>
                  </a:lnTo>
                  <a:lnTo>
                    <a:pt x="218" y="20"/>
                  </a:lnTo>
                  <a:lnTo>
                    <a:pt x="220" y="20"/>
                  </a:lnTo>
                  <a:lnTo>
                    <a:pt x="220" y="20"/>
                  </a:lnTo>
                  <a:lnTo>
                    <a:pt x="220" y="20"/>
                  </a:lnTo>
                  <a:lnTo>
                    <a:pt x="220" y="18"/>
                  </a:lnTo>
                  <a:lnTo>
                    <a:pt x="220" y="18"/>
                  </a:lnTo>
                  <a:lnTo>
                    <a:pt x="222" y="14"/>
                  </a:lnTo>
                  <a:lnTo>
                    <a:pt x="222" y="12"/>
                  </a:lnTo>
                  <a:lnTo>
                    <a:pt x="222" y="10"/>
                  </a:lnTo>
                  <a:lnTo>
                    <a:pt x="224" y="10"/>
                  </a:lnTo>
                  <a:lnTo>
                    <a:pt x="224" y="10"/>
                  </a:lnTo>
                  <a:lnTo>
                    <a:pt x="224" y="10"/>
                  </a:lnTo>
                  <a:lnTo>
                    <a:pt x="224" y="10"/>
                  </a:lnTo>
                  <a:lnTo>
                    <a:pt x="226" y="10"/>
                  </a:lnTo>
                  <a:lnTo>
                    <a:pt x="226" y="10"/>
                  </a:lnTo>
                  <a:lnTo>
                    <a:pt x="226" y="10"/>
                  </a:lnTo>
                  <a:lnTo>
                    <a:pt x="226" y="12"/>
                  </a:lnTo>
                  <a:lnTo>
                    <a:pt x="226" y="14"/>
                  </a:lnTo>
                  <a:lnTo>
                    <a:pt x="226" y="16"/>
                  </a:lnTo>
                  <a:lnTo>
                    <a:pt x="226" y="18"/>
                  </a:lnTo>
                  <a:lnTo>
                    <a:pt x="226" y="20"/>
                  </a:lnTo>
                  <a:lnTo>
                    <a:pt x="226" y="20"/>
                  </a:lnTo>
                  <a:lnTo>
                    <a:pt x="226" y="22"/>
                  </a:lnTo>
                  <a:lnTo>
                    <a:pt x="226" y="22"/>
                  </a:lnTo>
                  <a:lnTo>
                    <a:pt x="228" y="24"/>
                  </a:lnTo>
                  <a:lnTo>
                    <a:pt x="228" y="24"/>
                  </a:lnTo>
                  <a:lnTo>
                    <a:pt x="228" y="24"/>
                  </a:lnTo>
                  <a:lnTo>
                    <a:pt x="230" y="26"/>
                  </a:lnTo>
                  <a:lnTo>
                    <a:pt x="230" y="26"/>
                  </a:lnTo>
                  <a:lnTo>
                    <a:pt x="232" y="26"/>
                  </a:lnTo>
                  <a:lnTo>
                    <a:pt x="232" y="26"/>
                  </a:lnTo>
                  <a:lnTo>
                    <a:pt x="234" y="26"/>
                  </a:lnTo>
                  <a:lnTo>
                    <a:pt x="234" y="26"/>
                  </a:lnTo>
                  <a:lnTo>
                    <a:pt x="236" y="26"/>
                  </a:lnTo>
                  <a:lnTo>
                    <a:pt x="236" y="26"/>
                  </a:lnTo>
                  <a:lnTo>
                    <a:pt x="236" y="24"/>
                  </a:lnTo>
                  <a:lnTo>
                    <a:pt x="236" y="24"/>
                  </a:lnTo>
                  <a:lnTo>
                    <a:pt x="234" y="22"/>
                  </a:lnTo>
                  <a:lnTo>
                    <a:pt x="234" y="20"/>
                  </a:lnTo>
                  <a:lnTo>
                    <a:pt x="234" y="20"/>
                  </a:lnTo>
                  <a:lnTo>
                    <a:pt x="234" y="18"/>
                  </a:lnTo>
                  <a:lnTo>
                    <a:pt x="234" y="18"/>
                  </a:lnTo>
                  <a:lnTo>
                    <a:pt x="234" y="18"/>
                  </a:lnTo>
                  <a:lnTo>
                    <a:pt x="236" y="18"/>
                  </a:lnTo>
                  <a:lnTo>
                    <a:pt x="236" y="18"/>
                  </a:lnTo>
                  <a:lnTo>
                    <a:pt x="238" y="18"/>
                  </a:lnTo>
                  <a:lnTo>
                    <a:pt x="238" y="18"/>
                  </a:lnTo>
                  <a:lnTo>
                    <a:pt x="240" y="18"/>
                  </a:lnTo>
                  <a:lnTo>
                    <a:pt x="240" y="18"/>
                  </a:lnTo>
                  <a:lnTo>
                    <a:pt x="242" y="18"/>
                  </a:lnTo>
                  <a:lnTo>
                    <a:pt x="242" y="18"/>
                  </a:lnTo>
                  <a:lnTo>
                    <a:pt x="242" y="18"/>
                  </a:lnTo>
                  <a:lnTo>
                    <a:pt x="242" y="20"/>
                  </a:lnTo>
                  <a:lnTo>
                    <a:pt x="244" y="22"/>
                  </a:lnTo>
                  <a:lnTo>
                    <a:pt x="244" y="24"/>
                  </a:lnTo>
                  <a:lnTo>
                    <a:pt x="244" y="24"/>
                  </a:lnTo>
                  <a:lnTo>
                    <a:pt x="244" y="24"/>
                  </a:lnTo>
                  <a:lnTo>
                    <a:pt x="246" y="26"/>
                  </a:lnTo>
                  <a:lnTo>
                    <a:pt x="246" y="26"/>
                  </a:lnTo>
                  <a:lnTo>
                    <a:pt x="248" y="26"/>
                  </a:lnTo>
                  <a:lnTo>
                    <a:pt x="250" y="26"/>
                  </a:lnTo>
                  <a:lnTo>
                    <a:pt x="252" y="28"/>
                  </a:lnTo>
                  <a:lnTo>
                    <a:pt x="252" y="28"/>
                  </a:lnTo>
                  <a:lnTo>
                    <a:pt x="254" y="28"/>
                  </a:lnTo>
                  <a:lnTo>
                    <a:pt x="254" y="28"/>
                  </a:lnTo>
                  <a:lnTo>
                    <a:pt x="256" y="26"/>
                  </a:lnTo>
                  <a:lnTo>
                    <a:pt x="256" y="26"/>
                  </a:lnTo>
                  <a:lnTo>
                    <a:pt x="256" y="26"/>
                  </a:lnTo>
                  <a:lnTo>
                    <a:pt x="258" y="24"/>
                  </a:lnTo>
                  <a:lnTo>
                    <a:pt x="258" y="22"/>
                  </a:lnTo>
                  <a:lnTo>
                    <a:pt x="260" y="20"/>
                  </a:lnTo>
                  <a:lnTo>
                    <a:pt x="260" y="18"/>
                  </a:lnTo>
                  <a:lnTo>
                    <a:pt x="260" y="18"/>
                  </a:lnTo>
                  <a:lnTo>
                    <a:pt x="260" y="16"/>
                  </a:lnTo>
                  <a:lnTo>
                    <a:pt x="260" y="16"/>
                  </a:lnTo>
                  <a:lnTo>
                    <a:pt x="260" y="16"/>
                  </a:lnTo>
                  <a:lnTo>
                    <a:pt x="260" y="16"/>
                  </a:lnTo>
                  <a:lnTo>
                    <a:pt x="258" y="14"/>
                  </a:lnTo>
                  <a:lnTo>
                    <a:pt x="258" y="14"/>
                  </a:lnTo>
                  <a:lnTo>
                    <a:pt x="256" y="14"/>
                  </a:lnTo>
                  <a:lnTo>
                    <a:pt x="254" y="12"/>
                  </a:lnTo>
                  <a:lnTo>
                    <a:pt x="254" y="12"/>
                  </a:lnTo>
                  <a:lnTo>
                    <a:pt x="252" y="12"/>
                  </a:lnTo>
                  <a:lnTo>
                    <a:pt x="252" y="12"/>
                  </a:lnTo>
                  <a:lnTo>
                    <a:pt x="252" y="10"/>
                  </a:lnTo>
                  <a:lnTo>
                    <a:pt x="252" y="10"/>
                  </a:lnTo>
                  <a:lnTo>
                    <a:pt x="252" y="10"/>
                  </a:lnTo>
                  <a:lnTo>
                    <a:pt x="254" y="8"/>
                  </a:lnTo>
                  <a:lnTo>
                    <a:pt x="254" y="8"/>
                  </a:lnTo>
                  <a:lnTo>
                    <a:pt x="256" y="6"/>
                  </a:lnTo>
                  <a:lnTo>
                    <a:pt x="258" y="6"/>
                  </a:lnTo>
                  <a:lnTo>
                    <a:pt x="260" y="4"/>
                  </a:lnTo>
                  <a:lnTo>
                    <a:pt x="262" y="4"/>
                  </a:lnTo>
                  <a:lnTo>
                    <a:pt x="264" y="4"/>
                  </a:lnTo>
                  <a:lnTo>
                    <a:pt x="264" y="4"/>
                  </a:lnTo>
                  <a:lnTo>
                    <a:pt x="266" y="4"/>
                  </a:lnTo>
                  <a:lnTo>
                    <a:pt x="266" y="4"/>
                  </a:lnTo>
                  <a:lnTo>
                    <a:pt x="268" y="4"/>
                  </a:lnTo>
                  <a:lnTo>
                    <a:pt x="268" y="4"/>
                  </a:lnTo>
                  <a:lnTo>
                    <a:pt x="270" y="6"/>
                  </a:lnTo>
                  <a:lnTo>
                    <a:pt x="272" y="8"/>
                  </a:lnTo>
                  <a:lnTo>
                    <a:pt x="272" y="10"/>
                  </a:lnTo>
                  <a:lnTo>
                    <a:pt x="274" y="12"/>
                  </a:lnTo>
                  <a:lnTo>
                    <a:pt x="276" y="12"/>
                  </a:lnTo>
                  <a:lnTo>
                    <a:pt x="276" y="12"/>
                  </a:lnTo>
                  <a:lnTo>
                    <a:pt x="276" y="14"/>
                  </a:lnTo>
                  <a:lnTo>
                    <a:pt x="278" y="14"/>
                  </a:lnTo>
                  <a:lnTo>
                    <a:pt x="278" y="12"/>
                  </a:lnTo>
                  <a:lnTo>
                    <a:pt x="278" y="12"/>
                  </a:lnTo>
                  <a:lnTo>
                    <a:pt x="280" y="12"/>
                  </a:lnTo>
                  <a:lnTo>
                    <a:pt x="280" y="10"/>
                  </a:lnTo>
                  <a:lnTo>
                    <a:pt x="280" y="8"/>
                  </a:lnTo>
                  <a:lnTo>
                    <a:pt x="282" y="6"/>
                  </a:lnTo>
                  <a:lnTo>
                    <a:pt x="282" y="4"/>
                  </a:lnTo>
                  <a:lnTo>
                    <a:pt x="282" y="2"/>
                  </a:lnTo>
                  <a:lnTo>
                    <a:pt x="284" y="2"/>
                  </a:lnTo>
                  <a:lnTo>
                    <a:pt x="284" y="0"/>
                  </a:lnTo>
                  <a:lnTo>
                    <a:pt x="284" y="0"/>
                  </a:lnTo>
                  <a:lnTo>
                    <a:pt x="286" y="0"/>
                  </a:lnTo>
                  <a:lnTo>
                    <a:pt x="286" y="0"/>
                  </a:lnTo>
                  <a:lnTo>
                    <a:pt x="286" y="2"/>
                  </a:lnTo>
                  <a:lnTo>
                    <a:pt x="286" y="2"/>
                  </a:lnTo>
                  <a:lnTo>
                    <a:pt x="286" y="2"/>
                  </a:lnTo>
                  <a:lnTo>
                    <a:pt x="288" y="4"/>
                  </a:lnTo>
                  <a:lnTo>
                    <a:pt x="288" y="6"/>
                  </a:lnTo>
                  <a:lnTo>
                    <a:pt x="288" y="10"/>
                  </a:lnTo>
                  <a:lnTo>
                    <a:pt x="288" y="12"/>
                  </a:lnTo>
                  <a:lnTo>
                    <a:pt x="288" y="12"/>
                  </a:lnTo>
                  <a:lnTo>
                    <a:pt x="288" y="14"/>
                  </a:lnTo>
                  <a:lnTo>
                    <a:pt x="288" y="14"/>
                  </a:lnTo>
                  <a:lnTo>
                    <a:pt x="288" y="14"/>
                  </a:lnTo>
                  <a:lnTo>
                    <a:pt x="290" y="16"/>
                  </a:lnTo>
                  <a:lnTo>
                    <a:pt x="292" y="16"/>
                  </a:lnTo>
                  <a:lnTo>
                    <a:pt x="294" y="16"/>
                  </a:lnTo>
                  <a:lnTo>
                    <a:pt x="294" y="16"/>
                  </a:lnTo>
                  <a:lnTo>
                    <a:pt x="296" y="16"/>
                  </a:lnTo>
                  <a:lnTo>
                    <a:pt x="298" y="16"/>
                  </a:lnTo>
                  <a:lnTo>
                    <a:pt x="300" y="16"/>
                  </a:lnTo>
                  <a:lnTo>
                    <a:pt x="302" y="16"/>
                  </a:lnTo>
                  <a:lnTo>
                    <a:pt x="302" y="16"/>
                  </a:lnTo>
                  <a:lnTo>
                    <a:pt x="304" y="16"/>
                  </a:lnTo>
                  <a:lnTo>
                    <a:pt x="304" y="14"/>
                  </a:lnTo>
                  <a:lnTo>
                    <a:pt x="306" y="12"/>
                  </a:lnTo>
                  <a:lnTo>
                    <a:pt x="308" y="10"/>
                  </a:lnTo>
                  <a:lnTo>
                    <a:pt x="310" y="8"/>
                  </a:lnTo>
                  <a:lnTo>
                    <a:pt x="312" y="8"/>
                  </a:lnTo>
                  <a:lnTo>
                    <a:pt x="312" y="6"/>
                  </a:lnTo>
                  <a:lnTo>
                    <a:pt x="314" y="6"/>
                  </a:lnTo>
                  <a:lnTo>
                    <a:pt x="314" y="6"/>
                  </a:lnTo>
                  <a:lnTo>
                    <a:pt x="316" y="6"/>
                  </a:lnTo>
                  <a:lnTo>
                    <a:pt x="316" y="6"/>
                  </a:lnTo>
                  <a:lnTo>
                    <a:pt x="318" y="6"/>
                  </a:lnTo>
                  <a:lnTo>
                    <a:pt x="320" y="6"/>
                  </a:lnTo>
                  <a:lnTo>
                    <a:pt x="322" y="8"/>
                  </a:lnTo>
                  <a:lnTo>
                    <a:pt x="324" y="10"/>
                  </a:lnTo>
                  <a:lnTo>
                    <a:pt x="326" y="10"/>
                  </a:lnTo>
                  <a:lnTo>
                    <a:pt x="330" y="12"/>
                  </a:lnTo>
                  <a:lnTo>
                    <a:pt x="330" y="14"/>
                  </a:lnTo>
                  <a:lnTo>
                    <a:pt x="330" y="14"/>
                  </a:lnTo>
                  <a:lnTo>
                    <a:pt x="332" y="14"/>
                  </a:lnTo>
                  <a:lnTo>
                    <a:pt x="332" y="16"/>
                  </a:lnTo>
                  <a:lnTo>
                    <a:pt x="332" y="16"/>
                  </a:lnTo>
                  <a:lnTo>
                    <a:pt x="332" y="16"/>
                  </a:lnTo>
                  <a:lnTo>
                    <a:pt x="332" y="18"/>
                  </a:lnTo>
                  <a:lnTo>
                    <a:pt x="332" y="20"/>
                  </a:lnTo>
                  <a:lnTo>
                    <a:pt x="330" y="22"/>
                  </a:lnTo>
                  <a:lnTo>
                    <a:pt x="330" y="24"/>
                  </a:lnTo>
                  <a:lnTo>
                    <a:pt x="330" y="24"/>
                  </a:lnTo>
                  <a:lnTo>
                    <a:pt x="328" y="26"/>
                  </a:lnTo>
                  <a:lnTo>
                    <a:pt x="328" y="26"/>
                  </a:lnTo>
                  <a:lnTo>
                    <a:pt x="330" y="28"/>
                  </a:lnTo>
                  <a:lnTo>
                    <a:pt x="330" y="28"/>
                  </a:lnTo>
                  <a:lnTo>
                    <a:pt x="330" y="28"/>
                  </a:lnTo>
                  <a:lnTo>
                    <a:pt x="332" y="30"/>
                  </a:lnTo>
                  <a:lnTo>
                    <a:pt x="334" y="30"/>
                  </a:lnTo>
                  <a:lnTo>
                    <a:pt x="336" y="32"/>
                  </a:lnTo>
                  <a:lnTo>
                    <a:pt x="338" y="32"/>
                  </a:lnTo>
                  <a:lnTo>
                    <a:pt x="340" y="34"/>
                  </a:lnTo>
                  <a:lnTo>
                    <a:pt x="344" y="34"/>
                  </a:lnTo>
                  <a:lnTo>
                    <a:pt x="350" y="36"/>
                  </a:lnTo>
                  <a:lnTo>
                    <a:pt x="354" y="38"/>
                  </a:lnTo>
                  <a:lnTo>
                    <a:pt x="358" y="38"/>
                  </a:lnTo>
                  <a:lnTo>
                    <a:pt x="350" y="42"/>
                  </a:lnTo>
                  <a:lnTo>
                    <a:pt x="344" y="46"/>
                  </a:lnTo>
                  <a:lnTo>
                    <a:pt x="342" y="48"/>
                  </a:lnTo>
                  <a:lnTo>
                    <a:pt x="340" y="48"/>
                  </a:lnTo>
                  <a:lnTo>
                    <a:pt x="336" y="52"/>
                  </a:lnTo>
                  <a:lnTo>
                    <a:pt x="332" y="58"/>
                  </a:lnTo>
                  <a:lnTo>
                    <a:pt x="330" y="60"/>
                  </a:lnTo>
                  <a:lnTo>
                    <a:pt x="328" y="62"/>
                  </a:lnTo>
                  <a:lnTo>
                    <a:pt x="326" y="64"/>
                  </a:lnTo>
                  <a:lnTo>
                    <a:pt x="324" y="66"/>
                  </a:lnTo>
                  <a:lnTo>
                    <a:pt x="322" y="68"/>
                  </a:lnTo>
                  <a:lnTo>
                    <a:pt x="322" y="70"/>
                  </a:lnTo>
                  <a:lnTo>
                    <a:pt x="320" y="76"/>
                  </a:lnTo>
                  <a:lnTo>
                    <a:pt x="318" y="82"/>
                  </a:lnTo>
                  <a:lnTo>
                    <a:pt x="302" y="6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0" name="Freeform 278">
              <a:extLst>
                <a:ext uri="{FF2B5EF4-FFF2-40B4-BE49-F238E27FC236}">
                  <a16:creationId xmlns:a16="http://schemas.microsoft.com/office/drawing/2014/main" id="{732B38F5-A600-4045-A42A-2D024E93F4DB}"/>
                </a:ext>
              </a:extLst>
            </p:cNvPr>
            <p:cNvSpPr>
              <a:spLocks/>
            </p:cNvSpPr>
            <p:nvPr/>
          </p:nvSpPr>
          <p:spPr bwMode="auto">
            <a:xfrm>
              <a:off x="4373136" y="2287125"/>
              <a:ext cx="620083" cy="536943"/>
            </a:xfrm>
            <a:custGeom>
              <a:avLst/>
              <a:gdLst>
                <a:gd name="T0" fmla="*/ 310 w 358"/>
                <a:gd name="T1" fmla="*/ 44 h 310"/>
                <a:gd name="T2" fmla="*/ 290 w 358"/>
                <a:gd name="T3" fmla="*/ 30 h 310"/>
                <a:gd name="T4" fmla="*/ 270 w 358"/>
                <a:gd name="T5" fmla="*/ 50 h 310"/>
                <a:gd name="T6" fmla="*/ 260 w 358"/>
                <a:gd name="T7" fmla="*/ 66 h 310"/>
                <a:gd name="T8" fmla="*/ 216 w 358"/>
                <a:gd name="T9" fmla="*/ 66 h 310"/>
                <a:gd name="T10" fmla="*/ 198 w 358"/>
                <a:gd name="T11" fmla="*/ 80 h 310"/>
                <a:gd name="T12" fmla="*/ 174 w 358"/>
                <a:gd name="T13" fmla="*/ 86 h 310"/>
                <a:gd name="T14" fmla="*/ 158 w 358"/>
                <a:gd name="T15" fmla="*/ 88 h 310"/>
                <a:gd name="T16" fmla="*/ 154 w 358"/>
                <a:gd name="T17" fmla="*/ 100 h 310"/>
                <a:gd name="T18" fmla="*/ 146 w 358"/>
                <a:gd name="T19" fmla="*/ 110 h 310"/>
                <a:gd name="T20" fmla="*/ 138 w 358"/>
                <a:gd name="T21" fmla="*/ 120 h 310"/>
                <a:gd name="T22" fmla="*/ 130 w 358"/>
                <a:gd name="T23" fmla="*/ 132 h 310"/>
                <a:gd name="T24" fmla="*/ 120 w 358"/>
                <a:gd name="T25" fmla="*/ 142 h 310"/>
                <a:gd name="T26" fmla="*/ 114 w 358"/>
                <a:gd name="T27" fmla="*/ 166 h 310"/>
                <a:gd name="T28" fmla="*/ 122 w 358"/>
                <a:gd name="T29" fmla="*/ 176 h 310"/>
                <a:gd name="T30" fmla="*/ 110 w 358"/>
                <a:gd name="T31" fmla="*/ 178 h 310"/>
                <a:gd name="T32" fmla="*/ 100 w 358"/>
                <a:gd name="T33" fmla="*/ 184 h 310"/>
                <a:gd name="T34" fmla="*/ 104 w 358"/>
                <a:gd name="T35" fmla="*/ 230 h 310"/>
                <a:gd name="T36" fmla="*/ 116 w 358"/>
                <a:gd name="T37" fmla="*/ 262 h 310"/>
                <a:gd name="T38" fmla="*/ 104 w 358"/>
                <a:gd name="T39" fmla="*/ 270 h 310"/>
                <a:gd name="T40" fmla="*/ 94 w 358"/>
                <a:gd name="T41" fmla="*/ 296 h 310"/>
                <a:gd name="T42" fmla="*/ 72 w 358"/>
                <a:gd name="T43" fmla="*/ 294 h 310"/>
                <a:gd name="T44" fmla="*/ 44 w 358"/>
                <a:gd name="T45" fmla="*/ 306 h 310"/>
                <a:gd name="T46" fmla="*/ 20 w 358"/>
                <a:gd name="T47" fmla="*/ 308 h 310"/>
                <a:gd name="T48" fmla="*/ 18 w 358"/>
                <a:gd name="T49" fmla="*/ 290 h 310"/>
                <a:gd name="T50" fmla="*/ 14 w 358"/>
                <a:gd name="T51" fmla="*/ 274 h 310"/>
                <a:gd name="T52" fmla="*/ 12 w 358"/>
                <a:gd name="T53" fmla="*/ 260 h 310"/>
                <a:gd name="T54" fmla="*/ 0 w 358"/>
                <a:gd name="T55" fmla="*/ 246 h 310"/>
                <a:gd name="T56" fmla="*/ 6 w 358"/>
                <a:gd name="T57" fmla="*/ 220 h 310"/>
                <a:gd name="T58" fmla="*/ 18 w 358"/>
                <a:gd name="T59" fmla="*/ 210 h 310"/>
                <a:gd name="T60" fmla="*/ 40 w 358"/>
                <a:gd name="T61" fmla="*/ 204 h 310"/>
                <a:gd name="T62" fmla="*/ 52 w 358"/>
                <a:gd name="T63" fmla="*/ 192 h 310"/>
                <a:gd name="T64" fmla="*/ 66 w 358"/>
                <a:gd name="T65" fmla="*/ 190 h 310"/>
                <a:gd name="T66" fmla="*/ 70 w 358"/>
                <a:gd name="T67" fmla="*/ 172 h 310"/>
                <a:gd name="T68" fmla="*/ 88 w 358"/>
                <a:gd name="T69" fmla="*/ 166 h 310"/>
                <a:gd name="T70" fmla="*/ 98 w 358"/>
                <a:gd name="T71" fmla="*/ 148 h 310"/>
                <a:gd name="T72" fmla="*/ 106 w 358"/>
                <a:gd name="T73" fmla="*/ 120 h 310"/>
                <a:gd name="T74" fmla="*/ 134 w 358"/>
                <a:gd name="T75" fmla="*/ 90 h 310"/>
                <a:gd name="T76" fmla="*/ 164 w 358"/>
                <a:gd name="T77" fmla="*/ 76 h 310"/>
                <a:gd name="T78" fmla="*/ 192 w 358"/>
                <a:gd name="T79" fmla="*/ 68 h 310"/>
                <a:gd name="T80" fmla="*/ 204 w 358"/>
                <a:gd name="T81" fmla="*/ 58 h 310"/>
                <a:gd name="T82" fmla="*/ 216 w 358"/>
                <a:gd name="T83" fmla="*/ 48 h 310"/>
                <a:gd name="T84" fmla="*/ 214 w 358"/>
                <a:gd name="T85" fmla="*/ 32 h 310"/>
                <a:gd name="T86" fmla="*/ 206 w 358"/>
                <a:gd name="T87" fmla="*/ 24 h 310"/>
                <a:gd name="T88" fmla="*/ 220 w 358"/>
                <a:gd name="T89" fmla="*/ 18 h 310"/>
                <a:gd name="T90" fmla="*/ 226 w 358"/>
                <a:gd name="T91" fmla="*/ 14 h 310"/>
                <a:gd name="T92" fmla="*/ 232 w 358"/>
                <a:gd name="T93" fmla="*/ 26 h 310"/>
                <a:gd name="T94" fmla="*/ 234 w 358"/>
                <a:gd name="T95" fmla="*/ 18 h 310"/>
                <a:gd name="T96" fmla="*/ 244 w 358"/>
                <a:gd name="T97" fmla="*/ 22 h 310"/>
                <a:gd name="T98" fmla="*/ 256 w 358"/>
                <a:gd name="T99" fmla="*/ 26 h 310"/>
                <a:gd name="T100" fmla="*/ 258 w 358"/>
                <a:gd name="T101" fmla="*/ 14 h 310"/>
                <a:gd name="T102" fmla="*/ 256 w 358"/>
                <a:gd name="T103" fmla="*/ 6 h 310"/>
                <a:gd name="T104" fmla="*/ 272 w 358"/>
                <a:gd name="T105" fmla="*/ 10 h 310"/>
                <a:gd name="T106" fmla="*/ 282 w 358"/>
                <a:gd name="T107" fmla="*/ 4 h 310"/>
                <a:gd name="T108" fmla="*/ 288 w 358"/>
                <a:gd name="T109" fmla="*/ 10 h 310"/>
                <a:gd name="T110" fmla="*/ 300 w 358"/>
                <a:gd name="T111" fmla="*/ 16 h 310"/>
                <a:gd name="T112" fmla="*/ 316 w 358"/>
                <a:gd name="T113" fmla="*/ 6 h 310"/>
                <a:gd name="T114" fmla="*/ 332 w 358"/>
                <a:gd name="T115" fmla="*/ 16 h 310"/>
                <a:gd name="T116" fmla="*/ 332 w 358"/>
                <a:gd name="T117" fmla="*/ 30 h 310"/>
                <a:gd name="T118" fmla="*/ 340 w 358"/>
                <a:gd name="T119" fmla="*/ 4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8" h="310">
                  <a:moveTo>
                    <a:pt x="302" y="68"/>
                  </a:moveTo>
                  <a:lnTo>
                    <a:pt x="302" y="68"/>
                  </a:lnTo>
                  <a:lnTo>
                    <a:pt x="304" y="64"/>
                  </a:lnTo>
                  <a:lnTo>
                    <a:pt x="304" y="62"/>
                  </a:lnTo>
                  <a:lnTo>
                    <a:pt x="306" y="58"/>
                  </a:lnTo>
                  <a:lnTo>
                    <a:pt x="308" y="54"/>
                  </a:lnTo>
                  <a:lnTo>
                    <a:pt x="308" y="52"/>
                  </a:lnTo>
                  <a:lnTo>
                    <a:pt x="310" y="50"/>
                  </a:lnTo>
                  <a:lnTo>
                    <a:pt x="310" y="48"/>
                  </a:lnTo>
                  <a:lnTo>
                    <a:pt x="310" y="46"/>
                  </a:lnTo>
                  <a:lnTo>
                    <a:pt x="310" y="44"/>
                  </a:lnTo>
                  <a:lnTo>
                    <a:pt x="310" y="44"/>
                  </a:lnTo>
                  <a:lnTo>
                    <a:pt x="310" y="42"/>
                  </a:lnTo>
                  <a:lnTo>
                    <a:pt x="310" y="42"/>
                  </a:lnTo>
                  <a:lnTo>
                    <a:pt x="308" y="40"/>
                  </a:lnTo>
                  <a:lnTo>
                    <a:pt x="308" y="40"/>
                  </a:lnTo>
                  <a:lnTo>
                    <a:pt x="306" y="38"/>
                  </a:lnTo>
                  <a:lnTo>
                    <a:pt x="304" y="36"/>
                  </a:lnTo>
                  <a:lnTo>
                    <a:pt x="302" y="36"/>
                  </a:lnTo>
                  <a:lnTo>
                    <a:pt x="298" y="34"/>
                  </a:lnTo>
                  <a:lnTo>
                    <a:pt x="296" y="32"/>
                  </a:lnTo>
                  <a:lnTo>
                    <a:pt x="294" y="32"/>
                  </a:lnTo>
                  <a:lnTo>
                    <a:pt x="292" y="32"/>
                  </a:lnTo>
                  <a:lnTo>
                    <a:pt x="290" y="30"/>
                  </a:lnTo>
                  <a:lnTo>
                    <a:pt x="288" y="30"/>
                  </a:lnTo>
                  <a:lnTo>
                    <a:pt x="288" y="30"/>
                  </a:lnTo>
                  <a:lnTo>
                    <a:pt x="286" y="32"/>
                  </a:lnTo>
                  <a:lnTo>
                    <a:pt x="286" y="32"/>
                  </a:lnTo>
                  <a:lnTo>
                    <a:pt x="284" y="32"/>
                  </a:lnTo>
                  <a:lnTo>
                    <a:pt x="282" y="34"/>
                  </a:lnTo>
                  <a:lnTo>
                    <a:pt x="280" y="36"/>
                  </a:lnTo>
                  <a:lnTo>
                    <a:pt x="278" y="38"/>
                  </a:lnTo>
                  <a:lnTo>
                    <a:pt x="276" y="40"/>
                  </a:lnTo>
                  <a:lnTo>
                    <a:pt x="274" y="44"/>
                  </a:lnTo>
                  <a:lnTo>
                    <a:pt x="272" y="48"/>
                  </a:lnTo>
                  <a:lnTo>
                    <a:pt x="270" y="50"/>
                  </a:lnTo>
                  <a:lnTo>
                    <a:pt x="270" y="52"/>
                  </a:lnTo>
                  <a:lnTo>
                    <a:pt x="268" y="54"/>
                  </a:lnTo>
                  <a:lnTo>
                    <a:pt x="268" y="58"/>
                  </a:lnTo>
                  <a:lnTo>
                    <a:pt x="266" y="60"/>
                  </a:lnTo>
                  <a:lnTo>
                    <a:pt x="266" y="62"/>
                  </a:lnTo>
                  <a:lnTo>
                    <a:pt x="264" y="64"/>
                  </a:lnTo>
                  <a:lnTo>
                    <a:pt x="264" y="64"/>
                  </a:lnTo>
                  <a:lnTo>
                    <a:pt x="264" y="64"/>
                  </a:lnTo>
                  <a:lnTo>
                    <a:pt x="262" y="66"/>
                  </a:lnTo>
                  <a:lnTo>
                    <a:pt x="262" y="66"/>
                  </a:lnTo>
                  <a:lnTo>
                    <a:pt x="260" y="66"/>
                  </a:lnTo>
                  <a:lnTo>
                    <a:pt x="260" y="66"/>
                  </a:lnTo>
                  <a:lnTo>
                    <a:pt x="256" y="68"/>
                  </a:lnTo>
                  <a:lnTo>
                    <a:pt x="254" y="68"/>
                  </a:lnTo>
                  <a:lnTo>
                    <a:pt x="252" y="68"/>
                  </a:lnTo>
                  <a:lnTo>
                    <a:pt x="248" y="68"/>
                  </a:lnTo>
                  <a:lnTo>
                    <a:pt x="244" y="68"/>
                  </a:lnTo>
                  <a:lnTo>
                    <a:pt x="242" y="68"/>
                  </a:lnTo>
                  <a:lnTo>
                    <a:pt x="240" y="68"/>
                  </a:lnTo>
                  <a:lnTo>
                    <a:pt x="236" y="66"/>
                  </a:lnTo>
                  <a:lnTo>
                    <a:pt x="230" y="64"/>
                  </a:lnTo>
                  <a:lnTo>
                    <a:pt x="224" y="64"/>
                  </a:lnTo>
                  <a:lnTo>
                    <a:pt x="220" y="62"/>
                  </a:lnTo>
                  <a:lnTo>
                    <a:pt x="216" y="66"/>
                  </a:lnTo>
                  <a:lnTo>
                    <a:pt x="214" y="68"/>
                  </a:lnTo>
                  <a:lnTo>
                    <a:pt x="210" y="70"/>
                  </a:lnTo>
                  <a:lnTo>
                    <a:pt x="210" y="70"/>
                  </a:lnTo>
                  <a:lnTo>
                    <a:pt x="208" y="72"/>
                  </a:lnTo>
                  <a:lnTo>
                    <a:pt x="208" y="74"/>
                  </a:lnTo>
                  <a:lnTo>
                    <a:pt x="206" y="76"/>
                  </a:lnTo>
                  <a:lnTo>
                    <a:pt x="206" y="78"/>
                  </a:lnTo>
                  <a:lnTo>
                    <a:pt x="204" y="78"/>
                  </a:lnTo>
                  <a:lnTo>
                    <a:pt x="204" y="78"/>
                  </a:lnTo>
                  <a:lnTo>
                    <a:pt x="202" y="80"/>
                  </a:lnTo>
                  <a:lnTo>
                    <a:pt x="200" y="80"/>
                  </a:lnTo>
                  <a:lnTo>
                    <a:pt x="198" y="80"/>
                  </a:lnTo>
                  <a:lnTo>
                    <a:pt x="196" y="80"/>
                  </a:lnTo>
                  <a:lnTo>
                    <a:pt x="192" y="78"/>
                  </a:lnTo>
                  <a:lnTo>
                    <a:pt x="190" y="78"/>
                  </a:lnTo>
                  <a:lnTo>
                    <a:pt x="190" y="78"/>
                  </a:lnTo>
                  <a:lnTo>
                    <a:pt x="184" y="80"/>
                  </a:lnTo>
                  <a:lnTo>
                    <a:pt x="182" y="80"/>
                  </a:lnTo>
                  <a:lnTo>
                    <a:pt x="180" y="80"/>
                  </a:lnTo>
                  <a:lnTo>
                    <a:pt x="180" y="80"/>
                  </a:lnTo>
                  <a:lnTo>
                    <a:pt x="178" y="80"/>
                  </a:lnTo>
                  <a:lnTo>
                    <a:pt x="178" y="82"/>
                  </a:lnTo>
                  <a:lnTo>
                    <a:pt x="176" y="84"/>
                  </a:lnTo>
                  <a:lnTo>
                    <a:pt x="174" y="86"/>
                  </a:lnTo>
                  <a:lnTo>
                    <a:pt x="172" y="86"/>
                  </a:lnTo>
                  <a:lnTo>
                    <a:pt x="172" y="88"/>
                  </a:lnTo>
                  <a:lnTo>
                    <a:pt x="170" y="88"/>
                  </a:lnTo>
                  <a:lnTo>
                    <a:pt x="168" y="90"/>
                  </a:lnTo>
                  <a:lnTo>
                    <a:pt x="166" y="90"/>
                  </a:lnTo>
                  <a:lnTo>
                    <a:pt x="164" y="92"/>
                  </a:lnTo>
                  <a:lnTo>
                    <a:pt x="164" y="92"/>
                  </a:lnTo>
                  <a:lnTo>
                    <a:pt x="164" y="92"/>
                  </a:lnTo>
                  <a:lnTo>
                    <a:pt x="162" y="90"/>
                  </a:lnTo>
                  <a:lnTo>
                    <a:pt x="160" y="90"/>
                  </a:lnTo>
                  <a:lnTo>
                    <a:pt x="158" y="90"/>
                  </a:lnTo>
                  <a:lnTo>
                    <a:pt x="158" y="88"/>
                  </a:lnTo>
                  <a:lnTo>
                    <a:pt x="156" y="88"/>
                  </a:lnTo>
                  <a:lnTo>
                    <a:pt x="156" y="88"/>
                  </a:lnTo>
                  <a:lnTo>
                    <a:pt x="156" y="88"/>
                  </a:lnTo>
                  <a:lnTo>
                    <a:pt x="154" y="90"/>
                  </a:lnTo>
                  <a:lnTo>
                    <a:pt x="154" y="90"/>
                  </a:lnTo>
                  <a:lnTo>
                    <a:pt x="154" y="90"/>
                  </a:lnTo>
                  <a:lnTo>
                    <a:pt x="154" y="92"/>
                  </a:lnTo>
                  <a:lnTo>
                    <a:pt x="154" y="92"/>
                  </a:lnTo>
                  <a:lnTo>
                    <a:pt x="154" y="94"/>
                  </a:lnTo>
                  <a:lnTo>
                    <a:pt x="154" y="96"/>
                  </a:lnTo>
                  <a:lnTo>
                    <a:pt x="154" y="98"/>
                  </a:lnTo>
                  <a:lnTo>
                    <a:pt x="154" y="100"/>
                  </a:lnTo>
                  <a:lnTo>
                    <a:pt x="154" y="100"/>
                  </a:lnTo>
                  <a:lnTo>
                    <a:pt x="154" y="102"/>
                  </a:lnTo>
                  <a:lnTo>
                    <a:pt x="154" y="102"/>
                  </a:lnTo>
                  <a:lnTo>
                    <a:pt x="152" y="102"/>
                  </a:lnTo>
                  <a:lnTo>
                    <a:pt x="150" y="104"/>
                  </a:lnTo>
                  <a:lnTo>
                    <a:pt x="148" y="106"/>
                  </a:lnTo>
                  <a:lnTo>
                    <a:pt x="148" y="106"/>
                  </a:lnTo>
                  <a:lnTo>
                    <a:pt x="146" y="106"/>
                  </a:lnTo>
                  <a:lnTo>
                    <a:pt x="146" y="108"/>
                  </a:lnTo>
                  <a:lnTo>
                    <a:pt x="146" y="108"/>
                  </a:lnTo>
                  <a:lnTo>
                    <a:pt x="146" y="110"/>
                  </a:lnTo>
                  <a:lnTo>
                    <a:pt x="146" y="110"/>
                  </a:lnTo>
                  <a:lnTo>
                    <a:pt x="146" y="112"/>
                  </a:lnTo>
                  <a:lnTo>
                    <a:pt x="146" y="114"/>
                  </a:lnTo>
                  <a:lnTo>
                    <a:pt x="146" y="116"/>
                  </a:lnTo>
                  <a:lnTo>
                    <a:pt x="144" y="118"/>
                  </a:lnTo>
                  <a:lnTo>
                    <a:pt x="144" y="118"/>
                  </a:lnTo>
                  <a:lnTo>
                    <a:pt x="144" y="120"/>
                  </a:lnTo>
                  <a:lnTo>
                    <a:pt x="144" y="120"/>
                  </a:lnTo>
                  <a:lnTo>
                    <a:pt x="144" y="120"/>
                  </a:lnTo>
                  <a:lnTo>
                    <a:pt x="142" y="120"/>
                  </a:lnTo>
                  <a:lnTo>
                    <a:pt x="140" y="120"/>
                  </a:lnTo>
                  <a:lnTo>
                    <a:pt x="140" y="120"/>
                  </a:lnTo>
                  <a:lnTo>
                    <a:pt x="138" y="120"/>
                  </a:lnTo>
                  <a:lnTo>
                    <a:pt x="136" y="120"/>
                  </a:lnTo>
                  <a:lnTo>
                    <a:pt x="134" y="120"/>
                  </a:lnTo>
                  <a:lnTo>
                    <a:pt x="134" y="120"/>
                  </a:lnTo>
                  <a:lnTo>
                    <a:pt x="134" y="120"/>
                  </a:lnTo>
                  <a:lnTo>
                    <a:pt x="134" y="120"/>
                  </a:lnTo>
                  <a:lnTo>
                    <a:pt x="134" y="122"/>
                  </a:lnTo>
                  <a:lnTo>
                    <a:pt x="132" y="122"/>
                  </a:lnTo>
                  <a:lnTo>
                    <a:pt x="132" y="124"/>
                  </a:lnTo>
                  <a:lnTo>
                    <a:pt x="132" y="126"/>
                  </a:lnTo>
                  <a:lnTo>
                    <a:pt x="132" y="130"/>
                  </a:lnTo>
                  <a:lnTo>
                    <a:pt x="130" y="130"/>
                  </a:lnTo>
                  <a:lnTo>
                    <a:pt x="130" y="132"/>
                  </a:lnTo>
                  <a:lnTo>
                    <a:pt x="130" y="132"/>
                  </a:lnTo>
                  <a:lnTo>
                    <a:pt x="130" y="132"/>
                  </a:lnTo>
                  <a:lnTo>
                    <a:pt x="128" y="132"/>
                  </a:lnTo>
                  <a:lnTo>
                    <a:pt x="126" y="134"/>
                  </a:lnTo>
                  <a:lnTo>
                    <a:pt x="124" y="134"/>
                  </a:lnTo>
                  <a:lnTo>
                    <a:pt x="124" y="134"/>
                  </a:lnTo>
                  <a:lnTo>
                    <a:pt x="122" y="136"/>
                  </a:lnTo>
                  <a:lnTo>
                    <a:pt x="122" y="136"/>
                  </a:lnTo>
                  <a:lnTo>
                    <a:pt x="122" y="136"/>
                  </a:lnTo>
                  <a:lnTo>
                    <a:pt x="122" y="138"/>
                  </a:lnTo>
                  <a:lnTo>
                    <a:pt x="122" y="140"/>
                  </a:lnTo>
                  <a:lnTo>
                    <a:pt x="120" y="142"/>
                  </a:lnTo>
                  <a:lnTo>
                    <a:pt x="120" y="144"/>
                  </a:lnTo>
                  <a:lnTo>
                    <a:pt x="120" y="150"/>
                  </a:lnTo>
                  <a:lnTo>
                    <a:pt x="120" y="152"/>
                  </a:lnTo>
                  <a:lnTo>
                    <a:pt x="120" y="154"/>
                  </a:lnTo>
                  <a:lnTo>
                    <a:pt x="120" y="156"/>
                  </a:lnTo>
                  <a:lnTo>
                    <a:pt x="118" y="158"/>
                  </a:lnTo>
                  <a:lnTo>
                    <a:pt x="116" y="160"/>
                  </a:lnTo>
                  <a:lnTo>
                    <a:pt x="116" y="162"/>
                  </a:lnTo>
                  <a:lnTo>
                    <a:pt x="114" y="164"/>
                  </a:lnTo>
                  <a:lnTo>
                    <a:pt x="114" y="166"/>
                  </a:lnTo>
                  <a:lnTo>
                    <a:pt x="114" y="166"/>
                  </a:lnTo>
                  <a:lnTo>
                    <a:pt x="114" y="166"/>
                  </a:lnTo>
                  <a:lnTo>
                    <a:pt x="114" y="168"/>
                  </a:lnTo>
                  <a:lnTo>
                    <a:pt x="114" y="168"/>
                  </a:lnTo>
                  <a:lnTo>
                    <a:pt x="116" y="168"/>
                  </a:lnTo>
                  <a:lnTo>
                    <a:pt x="116" y="170"/>
                  </a:lnTo>
                  <a:lnTo>
                    <a:pt x="118" y="170"/>
                  </a:lnTo>
                  <a:lnTo>
                    <a:pt x="120" y="172"/>
                  </a:lnTo>
                  <a:lnTo>
                    <a:pt x="122" y="172"/>
                  </a:lnTo>
                  <a:lnTo>
                    <a:pt x="122" y="172"/>
                  </a:lnTo>
                  <a:lnTo>
                    <a:pt x="122" y="174"/>
                  </a:lnTo>
                  <a:lnTo>
                    <a:pt x="122" y="174"/>
                  </a:lnTo>
                  <a:lnTo>
                    <a:pt x="122" y="174"/>
                  </a:lnTo>
                  <a:lnTo>
                    <a:pt x="122" y="176"/>
                  </a:lnTo>
                  <a:lnTo>
                    <a:pt x="122" y="176"/>
                  </a:lnTo>
                  <a:lnTo>
                    <a:pt x="122" y="176"/>
                  </a:lnTo>
                  <a:lnTo>
                    <a:pt x="120" y="178"/>
                  </a:lnTo>
                  <a:lnTo>
                    <a:pt x="120" y="178"/>
                  </a:lnTo>
                  <a:lnTo>
                    <a:pt x="118" y="178"/>
                  </a:lnTo>
                  <a:lnTo>
                    <a:pt x="118" y="180"/>
                  </a:lnTo>
                  <a:lnTo>
                    <a:pt x="116" y="180"/>
                  </a:lnTo>
                  <a:lnTo>
                    <a:pt x="116" y="180"/>
                  </a:lnTo>
                  <a:lnTo>
                    <a:pt x="114" y="180"/>
                  </a:lnTo>
                  <a:lnTo>
                    <a:pt x="114" y="180"/>
                  </a:lnTo>
                  <a:lnTo>
                    <a:pt x="112" y="178"/>
                  </a:lnTo>
                  <a:lnTo>
                    <a:pt x="110" y="178"/>
                  </a:lnTo>
                  <a:lnTo>
                    <a:pt x="108" y="178"/>
                  </a:lnTo>
                  <a:lnTo>
                    <a:pt x="106" y="176"/>
                  </a:lnTo>
                  <a:lnTo>
                    <a:pt x="104" y="176"/>
                  </a:lnTo>
                  <a:lnTo>
                    <a:pt x="104" y="176"/>
                  </a:lnTo>
                  <a:lnTo>
                    <a:pt x="102" y="176"/>
                  </a:lnTo>
                  <a:lnTo>
                    <a:pt x="102" y="176"/>
                  </a:lnTo>
                  <a:lnTo>
                    <a:pt x="102" y="178"/>
                  </a:lnTo>
                  <a:lnTo>
                    <a:pt x="102" y="178"/>
                  </a:lnTo>
                  <a:lnTo>
                    <a:pt x="100" y="178"/>
                  </a:lnTo>
                  <a:lnTo>
                    <a:pt x="100" y="180"/>
                  </a:lnTo>
                  <a:lnTo>
                    <a:pt x="100" y="182"/>
                  </a:lnTo>
                  <a:lnTo>
                    <a:pt x="100" y="184"/>
                  </a:lnTo>
                  <a:lnTo>
                    <a:pt x="98" y="188"/>
                  </a:lnTo>
                  <a:lnTo>
                    <a:pt x="98" y="188"/>
                  </a:lnTo>
                  <a:lnTo>
                    <a:pt x="98" y="190"/>
                  </a:lnTo>
                  <a:lnTo>
                    <a:pt x="98" y="194"/>
                  </a:lnTo>
                  <a:lnTo>
                    <a:pt x="100" y="196"/>
                  </a:lnTo>
                  <a:lnTo>
                    <a:pt x="100" y="200"/>
                  </a:lnTo>
                  <a:lnTo>
                    <a:pt x="102" y="208"/>
                  </a:lnTo>
                  <a:lnTo>
                    <a:pt x="102" y="214"/>
                  </a:lnTo>
                  <a:lnTo>
                    <a:pt x="104" y="222"/>
                  </a:lnTo>
                  <a:lnTo>
                    <a:pt x="104" y="226"/>
                  </a:lnTo>
                  <a:lnTo>
                    <a:pt x="104" y="228"/>
                  </a:lnTo>
                  <a:lnTo>
                    <a:pt x="104" y="230"/>
                  </a:lnTo>
                  <a:lnTo>
                    <a:pt x="106" y="232"/>
                  </a:lnTo>
                  <a:lnTo>
                    <a:pt x="106" y="234"/>
                  </a:lnTo>
                  <a:lnTo>
                    <a:pt x="108" y="238"/>
                  </a:lnTo>
                  <a:lnTo>
                    <a:pt x="110" y="242"/>
                  </a:lnTo>
                  <a:lnTo>
                    <a:pt x="112" y="244"/>
                  </a:lnTo>
                  <a:lnTo>
                    <a:pt x="112" y="246"/>
                  </a:lnTo>
                  <a:lnTo>
                    <a:pt x="114" y="250"/>
                  </a:lnTo>
                  <a:lnTo>
                    <a:pt x="114" y="252"/>
                  </a:lnTo>
                  <a:lnTo>
                    <a:pt x="116" y="256"/>
                  </a:lnTo>
                  <a:lnTo>
                    <a:pt x="116" y="258"/>
                  </a:lnTo>
                  <a:lnTo>
                    <a:pt x="116" y="260"/>
                  </a:lnTo>
                  <a:lnTo>
                    <a:pt x="116" y="262"/>
                  </a:lnTo>
                  <a:lnTo>
                    <a:pt x="116" y="262"/>
                  </a:lnTo>
                  <a:lnTo>
                    <a:pt x="116" y="262"/>
                  </a:lnTo>
                  <a:lnTo>
                    <a:pt x="116" y="264"/>
                  </a:lnTo>
                  <a:lnTo>
                    <a:pt x="116" y="264"/>
                  </a:lnTo>
                  <a:lnTo>
                    <a:pt x="116" y="266"/>
                  </a:lnTo>
                  <a:lnTo>
                    <a:pt x="114" y="266"/>
                  </a:lnTo>
                  <a:lnTo>
                    <a:pt x="114" y="266"/>
                  </a:lnTo>
                  <a:lnTo>
                    <a:pt x="112" y="268"/>
                  </a:lnTo>
                  <a:lnTo>
                    <a:pt x="110" y="268"/>
                  </a:lnTo>
                  <a:lnTo>
                    <a:pt x="108" y="268"/>
                  </a:lnTo>
                  <a:lnTo>
                    <a:pt x="106" y="270"/>
                  </a:lnTo>
                  <a:lnTo>
                    <a:pt x="104" y="270"/>
                  </a:lnTo>
                  <a:lnTo>
                    <a:pt x="102" y="270"/>
                  </a:lnTo>
                  <a:lnTo>
                    <a:pt x="102" y="272"/>
                  </a:lnTo>
                  <a:lnTo>
                    <a:pt x="102" y="272"/>
                  </a:lnTo>
                  <a:lnTo>
                    <a:pt x="102" y="274"/>
                  </a:lnTo>
                  <a:lnTo>
                    <a:pt x="100" y="276"/>
                  </a:lnTo>
                  <a:lnTo>
                    <a:pt x="100" y="278"/>
                  </a:lnTo>
                  <a:lnTo>
                    <a:pt x="100" y="280"/>
                  </a:lnTo>
                  <a:lnTo>
                    <a:pt x="98" y="284"/>
                  </a:lnTo>
                  <a:lnTo>
                    <a:pt x="98" y="288"/>
                  </a:lnTo>
                  <a:lnTo>
                    <a:pt x="98" y="290"/>
                  </a:lnTo>
                  <a:lnTo>
                    <a:pt x="96" y="292"/>
                  </a:lnTo>
                  <a:lnTo>
                    <a:pt x="94" y="296"/>
                  </a:lnTo>
                  <a:lnTo>
                    <a:pt x="92" y="300"/>
                  </a:lnTo>
                  <a:lnTo>
                    <a:pt x="92" y="298"/>
                  </a:lnTo>
                  <a:lnTo>
                    <a:pt x="88" y="296"/>
                  </a:lnTo>
                  <a:lnTo>
                    <a:pt x="86" y="296"/>
                  </a:lnTo>
                  <a:lnTo>
                    <a:pt x="86" y="294"/>
                  </a:lnTo>
                  <a:lnTo>
                    <a:pt x="84" y="294"/>
                  </a:lnTo>
                  <a:lnTo>
                    <a:pt x="82" y="292"/>
                  </a:lnTo>
                  <a:lnTo>
                    <a:pt x="82" y="292"/>
                  </a:lnTo>
                  <a:lnTo>
                    <a:pt x="80" y="292"/>
                  </a:lnTo>
                  <a:lnTo>
                    <a:pt x="78" y="292"/>
                  </a:lnTo>
                  <a:lnTo>
                    <a:pt x="74" y="294"/>
                  </a:lnTo>
                  <a:lnTo>
                    <a:pt x="72" y="294"/>
                  </a:lnTo>
                  <a:lnTo>
                    <a:pt x="68" y="294"/>
                  </a:lnTo>
                  <a:lnTo>
                    <a:pt x="66" y="296"/>
                  </a:lnTo>
                  <a:lnTo>
                    <a:pt x="64" y="296"/>
                  </a:lnTo>
                  <a:lnTo>
                    <a:pt x="60" y="296"/>
                  </a:lnTo>
                  <a:lnTo>
                    <a:pt x="60" y="298"/>
                  </a:lnTo>
                  <a:lnTo>
                    <a:pt x="58" y="298"/>
                  </a:lnTo>
                  <a:lnTo>
                    <a:pt x="56" y="300"/>
                  </a:lnTo>
                  <a:lnTo>
                    <a:pt x="52" y="302"/>
                  </a:lnTo>
                  <a:lnTo>
                    <a:pt x="50" y="304"/>
                  </a:lnTo>
                  <a:lnTo>
                    <a:pt x="50" y="304"/>
                  </a:lnTo>
                  <a:lnTo>
                    <a:pt x="46" y="306"/>
                  </a:lnTo>
                  <a:lnTo>
                    <a:pt x="44" y="306"/>
                  </a:lnTo>
                  <a:lnTo>
                    <a:pt x="40" y="308"/>
                  </a:lnTo>
                  <a:lnTo>
                    <a:pt x="38" y="308"/>
                  </a:lnTo>
                  <a:lnTo>
                    <a:pt x="34" y="308"/>
                  </a:lnTo>
                  <a:lnTo>
                    <a:pt x="32" y="310"/>
                  </a:lnTo>
                  <a:lnTo>
                    <a:pt x="30" y="310"/>
                  </a:lnTo>
                  <a:lnTo>
                    <a:pt x="26" y="310"/>
                  </a:lnTo>
                  <a:lnTo>
                    <a:pt x="24" y="310"/>
                  </a:lnTo>
                  <a:lnTo>
                    <a:pt x="24" y="310"/>
                  </a:lnTo>
                  <a:lnTo>
                    <a:pt x="22" y="310"/>
                  </a:lnTo>
                  <a:lnTo>
                    <a:pt x="22" y="310"/>
                  </a:lnTo>
                  <a:lnTo>
                    <a:pt x="20" y="310"/>
                  </a:lnTo>
                  <a:lnTo>
                    <a:pt x="20" y="308"/>
                  </a:lnTo>
                  <a:lnTo>
                    <a:pt x="20" y="308"/>
                  </a:lnTo>
                  <a:lnTo>
                    <a:pt x="20" y="306"/>
                  </a:lnTo>
                  <a:lnTo>
                    <a:pt x="20" y="306"/>
                  </a:lnTo>
                  <a:lnTo>
                    <a:pt x="20" y="304"/>
                  </a:lnTo>
                  <a:lnTo>
                    <a:pt x="20" y="300"/>
                  </a:lnTo>
                  <a:lnTo>
                    <a:pt x="20" y="298"/>
                  </a:lnTo>
                  <a:lnTo>
                    <a:pt x="20" y="296"/>
                  </a:lnTo>
                  <a:lnTo>
                    <a:pt x="20" y="294"/>
                  </a:lnTo>
                  <a:lnTo>
                    <a:pt x="20" y="294"/>
                  </a:lnTo>
                  <a:lnTo>
                    <a:pt x="20" y="292"/>
                  </a:lnTo>
                  <a:lnTo>
                    <a:pt x="20" y="292"/>
                  </a:lnTo>
                  <a:lnTo>
                    <a:pt x="18" y="290"/>
                  </a:lnTo>
                  <a:lnTo>
                    <a:pt x="18" y="290"/>
                  </a:lnTo>
                  <a:lnTo>
                    <a:pt x="16" y="290"/>
                  </a:lnTo>
                  <a:lnTo>
                    <a:pt x="14" y="288"/>
                  </a:lnTo>
                  <a:lnTo>
                    <a:pt x="14" y="288"/>
                  </a:lnTo>
                  <a:lnTo>
                    <a:pt x="12" y="288"/>
                  </a:lnTo>
                  <a:lnTo>
                    <a:pt x="12" y="286"/>
                  </a:lnTo>
                  <a:lnTo>
                    <a:pt x="12" y="286"/>
                  </a:lnTo>
                  <a:lnTo>
                    <a:pt x="12" y="284"/>
                  </a:lnTo>
                  <a:lnTo>
                    <a:pt x="12" y="282"/>
                  </a:lnTo>
                  <a:lnTo>
                    <a:pt x="12" y="280"/>
                  </a:lnTo>
                  <a:lnTo>
                    <a:pt x="12" y="276"/>
                  </a:lnTo>
                  <a:lnTo>
                    <a:pt x="14" y="274"/>
                  </a:lnTo>
                  <a:lnTo>
                    <a:pt x="16" y="270"/>
                  </a:lnTo>
                  <a:lnTo>
                    <a:pt x="16" y="268"/>
                  </a:lnTo>
                  <a:lnTo>
                    <a:pt x="16" y="266"/>
                  </a:lnTo>
                  <a:lnTo>
                    <a:pt x="16" y="264"/>
                  </a:lnTo>
                  <a:lnTo>
                    <a:pt x="16" y="262"/>
                  </a:lnTo>
                  <a:lnTo>
                    <a:pt x="16" y="262"/>
                  </a:lnTo>
                  <a:lnTo>
                    <a:pt x="16" y="260"/>
                  </a:lnTo>
                  <a:lnTo>
                    <a:pt x="16" y="260"/>
                  </a:lnTo>
                  <a:lnTo>
                    <a:pt x="16" y="260"/>
                  </a:lnTo>
                  <a:lnTo>
                    <a:pt x="14" y="260"/>
                  </a:lnTo>
                  <a:lnTo>
                    <a:pt x="14" y="260"/>
                  </a:lnTo>
                  <a:lnTo>
                    <a:pt x="12" y="260"/>
                  </a:lnTo>
                  <a:lnTo>
                    <a:pt x="10" y="260"/>
                  </a:lnTo>
                  <a:lnTo>
                    <a:pt x="8" y="260"/>
                  </a:lnTo>
                  <a:lnTo>
                    <a:pt x="8" y="260"/>
                  </a:lnTo>
                  <a:lnTo>
                    <a:pt x="6" y="260"/>
                  </a:lnTo>
                  <a:lnTo>
                    <a:pt x="6" y="260"/>
                  </a:lnTo>
                  <a:lnTo>
                    <a:pt x="6" y="258"/>
                  </a:lnTo>
                  <a:lnTo>
                    <a:pt x="4" y="258"/>
                  </a:lnTo>
                  <a:lnTo>
                    <a:pt x="4" y="256"/>
                  </a:lnTo>
                  <a:lnTo>
                    <a:pt x="2" y="254"/>
                  </a:lnTo>
                  <a:lnTo>
                    <a:pt x="2" y="252"/>
                  </a:lnTo>
                  <a:lnTo>
                    <a:pt x="2" y="248"/>
                  </a:lnTo>
                  <a:lnTo>
                    <a:pt x="0" y="246"/>
                  </a:lnTo>
                  <a:lnTo>
                    <a:pt x="0" y="244"/>
                  </a:lnTo>
                  <a:lnTo>
                    <a:pt x="0" y="240"/>
                  </a:lnTo>
                  <a:lnTo>
                    <a:pt x="0" y="238"/>
                  </a:lnTo>
                  <a:lnTo>
                    <a:pt x="0" y="234"/>
                  </a:lnTo>
                  <a:lnTo>
                    <a:pt x="0" y="232"/>
                  </a:lnTo>
                  <a:lnTo>
                    <a:pt x="2" y="230"/>
                  </a:lnTo>
                  <a:lnTo>
                    <a:pt x="2" y="226"/>
                  </a:lnTo>
                  <a:lnTo>
                    <a:pt x="2" y="224"/>
                  </a:lnTo>
                  <a:lnTo>
                    <a:pt x="4" y="222"/>
                  </a:lnTo>
                  <a:lnTo>
                    <a:pt x="4" y="222"/>
                  </a:lnTo>
                  <a:lnTo>
                    <a:pt x="4" y="220"/>
                  </a:lnTo>
                  <a:lnTo>
                    <a:pt x="6" y="220"/>
                  </a:lnTo>
                  <a:lnTo>
                    <a:pt x="6" y="220"/>
                  </a:lnTo>
                  <a:lnTo>
                    <a:pt x="8" y="220"/>
                  </a:lnTo>
                  <a:lnTo>
                    <a:pt x="10" y="218"/>
                  </a:lnTo>
                  <a:lnTo>
                    <a:pt x="12" y="218"/>
                  </a:lnTo>
                  <a:lnTo>
                    <a:pt x="14" y="218"/>
                  </a:lnTo>
                  <a:lnTo>
                    <a:pt x="14" y="218"/>
                  </a:lnTo>
                  <a:lnTo>
                    <a:pt x="16" y="218"/>
                  </a:lnTo>
                  <a:lnTo>
                    <a:pt x="16" y="218"/>
                  </a:lnTo>
                  <a:lnTo>
                    <a:pt x="16" y="216"/>
                  </a:lnTo>
                  <a:lnTo>
                    <a:pt x="16" y="216"/>
                  </a:lnTo>
                  <a:lnTo>
                    <a:pt x="16" y="212"/>
                  </a:lnTo>
                  <a:lnTo>
                    <a:pt x="18" y="210"/>
                  </a:lnTo>
                  <a:lnTo>
                    <a:pt x="18" y="210"/>
                  </a:lnTo>
                  <a:lnTo>
                    <a:pt x="18" y="208"/>
                  </a:lnTo>
                  <a:lnTo>
                    <a:pt x="20" y="208"/>
                  </a:lnTo>
                  <a:lnTo>
                    <a:pt x="20" y="206"/>
                  </a:lnTo>
                  <a:lnTo>
                    <a:pt x="22" y="206"/>
                  </a:lnTo>
                  <a:lnTo>
                    <a:pt x="24" y="206"/>
                  </a:lnTo>
                  <a:lnTo>
                    <a:pt x="28" y="204"/>
                  </a:lnTo>
                  <a:lnTo>
                    <a:pt x="32" y="204"/>
                  </a:lnTo>
                  <a:lnTo>
                    <a:pt x="34" y="204"/>
                  </a:lnTo>
                  <a:lnTo>
                    <a:pt x="34" y="204"/>
                  </a:lnTo>
                  <a:lnTo>
                    <a:pt x="38" y="204"/>
                  </a:lnTo>
                  <a:lnTo>
                    <a:pt x="40" y="204"/>
                  </a:lnTo>
                  <a:lnTo>
                    <a:pt x="42" y="202"/>
                  </a:lnTo>
                  <a:lnTo>
                    <a:pt x="44" y="202"/>
                  </a:lnTo>
                  <a:lnTo>
                    <a:pt x="44" y="202"/>
                  </a:lnTo>
                  <a:lnTo>
                    <a:pt x="46" y="202"/>
                  </a:lnTo>
                  <a:lnTo>
                    <a:pt x="46" y="200"/>
                  </a:lnTo>
                  <a:lnTo>
                    <a:pt x="48" y="198"/>
                  </a:lnTo>
                  <a:lnTo>
                    <a:pt x="48" y="196"/>
                  </a:lnTo>
                  <a:lnTo>
                    <a:pt x="50" y="196"/>
                  </a:lnTo>
                  <a:lnTo>
                    <a:pt x="50" y="194"/>
                  </a:lnTo>
                  <a:lnTo>
                    <a:pt x="50" y="194"/>
                  </a:lnTo>
                  <a:lnTo>
                    <a:pt x="52" y="194"/>
                  </a:lnTo>
                  <a:lnTo>
                    <a:pt x="52" y="192"/>
                  </a:lnTo>
                  <a:lnTo>
                    <a:pt x="54" y="192"/>
                  </a:lnTo>
                  <a:lnTo>
                    <a:pt x="56" y="192"/>
                  </a:lnTo>
                  <a:lnTo>
                    <a:pt x="58" y="194"/>
                  </a:lnTo>
                  <a:lnTo>
                    <a:pt x="60" y="194"/>
                  </a:lnTo>
                  <a:lnTo>
                    <a:pt x="62" y="194"/>
                  </a:lnTo>
                  <a:lnTo>
                    <a:pt x="64" y="194"/>
                  </a:lnTo>
                  <a:lnTo>
                    <a:pt x="64" y="192"/>
                  </a:lnTo>
                  <a:lnTo>
                    <a:pt x="66" y="192"/>
                  </a:lnTo>
                  <a:lnTo>
                    <a:pt x="66" y="192"/>
                  </a:lnTo>
                  <a:lnTo>
                    <a:pt x="66" y="192"/>
                  </a:lnTo>
                  <a:lnTo>
                    <a:pt x="66" y="190"/>
                  </a:lnTo>
                  <a:lnTo>
                    <a:pt x="66" y="190"/>
                  </a:lnTo>
                  <a:lnTo>
                    <a:pt x="66" y="188"/>
                  </a:lnTo>
                  <a:lnTo>
                    <a:pt x="66" y="186"/>
                  </a:lnTo>
                  <a:lnTo>
                    <a:pt x="66" y="184"/>
                  </a:lnTo>
                  <a:lnTo>
                    <a:pt x="66" y="180"/>
                  </a:lnTo>
                  <a:lnTo>
                    <a:pt x="66" y="178"/>
                  </a:lnTo>
                  <a:lnTo>
                    <a:pt x="66" y="176"/>
                  </a:lnTo>
                  <a:lnTo>
                    <a:pt x="66" y="176"/>
                  </a:lnTo>
                  <a:lnTo>
                    <a:pt x="66" y="176"/>
                  </a:lnTo>
                  <a:lnTo>
                    <a:pt x="68" y="174"/>
                  </a:lnTo>
                  <a:lnTo>
                    <a:pt x="68" y="174"/>
                  </a:lnTo>
                  <a:lnTo>
                    <a:pt x="68" y="174"/>
                  </a:lnTo>
                  <a:lnTo>
                    <a:pt x="70" y="172"/>
                  </a:lnTo>
                  <a:lnTo>
                    <a:pt x="72" y="172"/>
                  </a:lnTo>
                  <a:lnTo>
                    <a:pt x="74" y="172"/>
                  </a:lnTo>
                  <a:lnTo>
                    <a:pt x="78" y="172"/>
                  </a:lnTo>
                  <a:lnTo>
                    <a:pt x="80" y="170"/>
                  </a:lnTo>
                  <a:lnTo>
                    <a:pt x="84" y="170"/>
                  </a:lnTo>
                  <a:lnTo>
                    <a:pt x="84" y="170"/>
                  </a:lnTo>
                  <a:lnTo>
                    <a:pt x="86" y="170"/>
                  </a:lnTo>
                  <a:lnTo>
                    <a:pt x="86" y="168"/>
                  </a:lnTo>
                  <a:lnTo>
                    <a:pt x="88" y="168"/>
                  </a:lnTo>
                  <a:lnTo>
                    <a:pt x="88" y="168"/>
                  </a:lnTo>
                  <a:lnTo>
                    <a:pt x="88" y="166"/>
                  </a:lnTo>
                  <a:lnTo>
                    <a:pt x="88" y="166"/>
                  </a:lnTo>
                  <a:lnTo>
                    <a:pt x="88" y="164"/>
                  </a:lnTo>
                  <a:lnTo>
                    <a:pt x="88" y="162"/>
                  </a:lnTo>
                  <a:lnTo>
                    <a:pt x="88" y="160"/>
                  </a:lnTo>
                  <a:lnTo>
                    <a:pt x="88" y="158"/>
                  </a:lnTo>
                  <a:lnTo>
                    <a:pt x="90" y="156"/>
                  </a:lnTo>
                  <a:lnTo>
                    <a:pt x="90" y="154"/>
                  </a:lnTo>
                  <a:lnTo>
                    <a:pt x="90" y="154"/>
                  </a:lnTo>
                  <a:lnTo>
                    <a:pt x="90" y="154"/>
                  </a:lnTo>
                  <a:lnTo>
                    <a:pt x="92" y="152"/>
                  </a:lnTo>
                  <a:lnTo>
                    <a:pt x="94" y="152"/>
                  </a:lnTo>
                  <a:lnTo>
                    <a:pt x="94" y="150"/>
                  </a:lnTo>
                  <a:lnTo>
                    <a:pt x="98" y="148"/>
                  </a:lnTo>
                  <a:lnTo>
                    <a:pt x="100" y="148"/>
                  </a:lnTo>
                  <a:lnTo>
                    <a:pt x="100" y="146"/>
                  </a:lnTo>
                  <a:lnTo>
                    <a:pt x="100" y="146"/>
                  </a:lnTo>
                  <a:lnTo>
                    <a:pt x="102" y="144"/>
                  </a:lnTo>
                  <a:lnTo>
                    <a:pt x="102" y="142"/>
                  </a:lnTo>
                  <a:lnTo>
                    <a:pt x="102" y="140"/>
                  </a:lnTo>
                  <a:lnTo>
                    <a:pt x="102" y="136"/>
                  </a:lnTo>
                  <a:lnTo>
                    <a:pt x="104" y="132"/>
                  </a:lnTo>
                  <a:lnTo>
                    <a:pt x="104" y="130"/>
                  </a:lnTo>
                  <a:lnTo>
                    <a:pt x="106" y="126"/>
                  </a:lnTo>
                  <a:lnTo>
                    <a:pt x="106" y="122"/>
                  </a:lnTo>
                  <a:lnTo>
                    <a:pt x="106" y="120"/>
                  </a:lnTo>
                  <a:lnTo>
                    <a:pt x="108" y="120"/>
                  </a:lnTo>
                  <a:lnTo>
                    <a:pt x="108" y="118"/>
                  </a:lnTo>
                  <a:lnTo>
                    <a:pt x="110" y="116"/>
                  </a:lnTo>
                  <a:lnTo>
                    <a:pt x="112" y="114"/>
                  </a:lnTo>
                  <a:lnTo>
                    <a:pt x="114" y="112"/>
                  </a:lnTo>
                  <a:lnTo>
                    <a:pt x="120" y="108"/>
                  </a:lnTo>
                  <a:lnTo>
                    <a:pt x="120" y="106"/>
                  </a:lnTo>
                  <a:lnTo>
                    <a:pt x="122" y="104"/>
                  </a:lnTo>
                  <a:lnTo>
                    <a:pt x="126" y="100"/>
                  </a:lnTo>
                  <a:lnTo>
                    <a:pt x="128" y="96"/>
                  </a:lnTo>
                  <a:lnTo>
                    <a:pt x="132" y="92"/>
                  </a:lnTo>
                  <a:lnTo>
                    <a:pt x="134" y="90"/>
                  </a:lnTo>
                  <a:lnTo>
                    <a:pt x="136" y="88"/>
                  </a:lnTo>
                  <a:lnTo>
                    <a:pt x="138" y="86"/>
                  </a:lnTo>
                  <a:lnTo>
                    <a:pt x="142" y="84"/>
                  </a:lnTo>
                  <a:lnTo>
                    <a:pt x="144" y="82"/>
                  </a:lnTo>
                  <a:lnTo>
                    <a:pt x="146" y="80"/>
                  </a:lnTo>
                  <a:lnTo>
                    <a:pt x="148" y="80"/>
                  </a:lnTo>
                  <a:lnTo>
                    <a:pt x="150" y="78"/>
                  </a:lnTo>
                  <a:lnTo>
                    <a:pt x="152" y="78"/>
                  </a:lnTo>
                  <a:lnTo>
                    <a:pt x="154" y="78"/>
                  </a:lnTo>
                  <a:lnTo>
                    <a:pt x="156" y="78"/>
                  </a:lnTo>
                  <a:lnTo>
                    <a:pt x="158" y="78"/>
                  </a:lnTo>
                  <a:lnTo>
                    <a:pt x="164" y="76"/>
                  </a:lnTo>
                  <a:lnTo>
                    <a:pt x="168" y="76"/>
                  </a:lnTo>
                  <a:lnTo>
                    <a:pt x="170" y="76"/>
                  </a:lnTo>
                  <a:lnTo>
                    <a:pt x="170" y="76"/>
                  </a:lnTo>
                  <a:lnTo>
                    <a:pt x="172" y="74"/>
                  </a:lnTo>
                  <a:lnTo>
                    <a:pt x="174" y="74"/>
                  </a:lnTo>
                  <a:lnTo>
                    <a:pt x="178" y="72"/>
                  </a:lnTo>
                  <a:lnTo>
                    <a:pt x="180" y="70"/>
                  </a:lnTo>
                  <a:lnTo>
                    <a:pt x="180" y="70"/>
                  </a:lnTo>
                  <a:lnTo>
                    <a:pt x="182" y="70"/>
                  </a:lnTo>
                  <a:lnTo>
                    <a:pt x="182" y="70"/>
                  </a:lnTo>
                  <a:lnTo>
                    <a:pt x="186" y="70"/>
                  </a:lnTo>
                  <a:lnTo>
                    <a:pt x="192" y="68"/>
                  </a:lnTo>
                  <a:lnTo>
                    <a:pt x="194" y="68"/>
                  </a:lnTo>
                  <a:lnTo>
                    <a:pt x="198" y="68"/>
                  </a:lnTo>
                  <a:lnTo>
                    <a:pt x="198" y="68"/>
                  </a:lnTo>
                  <a:lnTo>
                    <a:pt x="200" y="68"/>
                  </a:lnTo>
                  <a:lnTo>
                    <a:pt x="202" y="66"/>
                  </a:lnTo>
                  <a:lnTo>
                    <a:pt x="202" y="66"/>
                  </a:lnTo>
                  <a:lnTo>
                    <a:pt x="202" y="66"/>
                  </a:lnTo>
                  <a:lnTo>
                    <a:pt x="202" y="64"/>
                  </a:lnTo>
                  <a:lnTo>
                    <a:pt x="204" y="64"/>
                  </a:lnTo>
                  <a:lnTo>
                    <a:pt x="204" y="62"/>
                  </a:lnTo>
                  <a:lnTo>
                    <a:pt x="204" y="60"/>
                  </a:lnTo>
                  <a:lnTo>
                    <a:pt x="204" y="58"/>
                  </a:lnTo>
                  <a:lnTo>
                    <a:pt x="204" y="56"/>
                  </a:lnTo>
                  <a:lnTo>
                    <a:pt x="206" y="54"/>
                  </a:lnTo>
                  <a:lnTo>
                    <a:pt x="206" y="54"/>
                  </a:lnTo>
                  <a:lnTo>
                    <a:pt x="206" y="54"/>
                  </a:lnTo>
                  <a:lnTo>
                    <a:pt x="206" y="54"/>
                  </a:lnTo>
                  <a:lnTo>
                    <a:pt x="206" y="52"/>
                  </a:lnTo>
                  <a:lnTo>
                    <a:pt x="208" y="52"/>
                  </a:lnTo>
                  <a:lnTo>
                    <a:pt x="210" y="52"/>
                  </a:lnTo>
                  <a:lnTo>
                    <a:pt x="212" y="50"/>
                  </a:lnTo>
                  <a:lnTo>
                    <a:pt x="214" y="50"/>
                  </a:lnTo>
                  <a:lnTo>
                    <a:pt x="216" y="50"/>
                  </a:lnTo>
                  <a:lnTo>
                    <a:pt x="216" y="48"/>
                  </a:lnTo>
                  <a:lnTo>
                    <a:pt x="218" y="48"/>
                  </a:lnTo>
                  <a:lnTo>
                    <a:pt x="218" y="48"/>
                  </a:lnTo>
                  <a:lnTo>
                    <a:pt x="218" y="48"/>
                  </a:lnTo>
                  <a:lnTo>
                    <a:pt x="218" y="46"/>
                  </a:lnTo>
                  <a:lnTo>
                    <a:pt x="218" y="46"/>
                  </a:lnTo>
                  <a:lnTo>
                    <a:pt x="218" y="44"/>
                  </a:lnTo>
                  <a:lnTo>
                    <a:pt x="218" y="42"/>
                  </a:lnTo>
                  <a:lnTo>
                    <a:pt x="218" y="40"/>
                  </a:lnTo>
                  <a:lnTo>
                    <a:pt x="218" y="38"/>
                  </a:lnTo>
                  <a:lnTo>
                    <a:pt x="216" y="36"/>
                  </a:lnTo>
                  <a:lnTo>
                    <a:pt x="216" y="34"/>
                  </a:lnTo>
                  <a:lnTo>
                    <a:pt x="214" y="32"/>
                  </a:lnTo>
                  <a:lnTo>
                    <a:pt x="214" y="32"/>
                  </a:lnTo>
                  <a:lnTo>
                    <a:pt x="214" y="32"/>
                  </a:lnTo>
                  <a:lnTo>
                    <a:pt x="212" y="30"/>
                  </a:lnTo>
                  <a:lnTo>
                    <a:pt x="208" y="28"/>
                  </a:lnTo>
                  <a:lnTo>
                    <a:pt x="208" y="28"/>
                  </a:lnTo>
                  <a:lnTo>
                    <a:pt x="206" y="26"/>
                  </a:lnTo>
                  <a:lnTo>
                    <a:pt x="206" y="26"/>
                  </a:lnTo>
                  <a:lnTo>
                    <a:pt x="204" y="26"/>
                  </a:lnTo>
                  <a:lnTo>
                    <a:pt x="204" y="26"/>
                  </a:lnTo>
                  <a:lnTo>
                    <a:pt x="204" y="24"/>
                  </a:lnTo>
                  <a:lnTo>
                    <a:pt x="204" y="24"/>
                  </a:lnTo>
                  <a:lnTo>
                    <a:pt x="206" y="24"/>
                  </a:lnTo>
                  <a:lnTo>
                    <a:pt x="206" y="22"/>
                  </a:lnTo>
                  <a:lnTo>
                    <a:pt x="206" y="22"/>
                  </a:lnTo>
                  <a:lnTo>
                    <a:pt x="208" y="22"/>
                  </a:lnTo>
                  <a:lnTo>
                    <a:pt x="212" y="22"/>
                  </a:lnTo>
                  <a:lnTo>
                    <a:pt x="214" y="22"/>
                  </a:lnTo>
                  <a:lnTo>
                    <a:pt x="216" y="20"/>
                  </a:lnTo>
                  <a:lnTo>
                    <a:pt x="218" y="20"/>
                  </a:lnTo>
                  <a:lnTo>
                    <a:pt x="220" y="20"/>
                  </a:lnTo>
                  <a:lnTo>
                    <a:pt x="220" y="20"/>
                  </a:lnTo>
                  <a:lnTo>
                    <a:pt x="220" y="20"/>
                  </a:lnTo>
                  <a:lnTo>
                    <a:pt x="220" y="18"/>
                  </a:lnTo>
                  <a:lnTo>
                    <a:pt x="220" y="18"/>
                  </a:lnTo>
                  <a:lnTo>
                    <a:pt x="222" y="14"/>
                  </a:lnTo>
                  <a:lnTo>
                    <a:pt x="222" y="12"/>
                  </a:lnTo>
                  <a:lnTo>
                    <a:pt x="222" y="10"/>
                  </a:lnTo>
                  <a:lnTo>
                    <a:pt x="224" y="10"/>
                  </a:lnTo>
                  <a:lnTo>
                    <a:pt x="224" y="10"/>
                  </a:lnTo>
                  <a:lnTo>
                    <a:pt x="224" y="10"/>
                  </a:lnTo>
                  <a:lnTo>
                    <a:pt x="224" y="10"/>
                  </a:lnTo>
                  <a:lnTo>
                    <a:pt x="226" y="10"/>
                  </a:lnTo>
                  <a:lnTo>
                    <a:pt x="226" y="10"/>
                  </a:lnTo>
                  <a:lnTo>
                    <a:pt x="226" y="10"/>
                  </a:lnTo>
                  <a:lnTo>
                    <a:pt x="226" y="12"/>
                  </a:lnTo>
                  <a:lnTo>
                    <a:pt x="226" y="14"/>
                  </a:lnTo>
                  <a:lnTo>
                    <a:pt x="226" y="16"/>
                  </a:lnTo>
                  <a:lnTo>
                    <a:pt x="226" y="18"/>
                  </a:lnTo>
                  <a:lnTo>
                    <a:pt x="226" y="20"/>
                  </a:lnTo>
                  <a:lnTo>
                    <a:pt x="226" y="20"/>
                  </a:lnTo>
                  <a:lnTo>
                    <a:pt x="226" y="22"/>
                  </a:lnTo>
                  <a:lnTo>
                    <a:pt x="226" y="22"/>
                  </a:lnTo>
                  <a:lnTo>
                    <a:pt x="228" y="24"/>
                  </a:lnTo>
                  <a:lnTo>
                    <a:pt x="228" y="24"/>
                  </a:lnTo>
                  <a:lnTo>
                    <a:pt x="228" y="24"/>
                  </a:lnTo>
                  <a:lnTo>
                    <a:pt x="230" y="26"/>
                  </a:lnTo>
                  <a:lnTo>
                    <a:pt x="230" y="26"/>
                  </a:lnTo>
                  <a:lnTo>
                    <a:pt x="232" y="26"/>
                  </a:lnTo>
                  <a:lnTo>
                    <a:pt x="232" y="26"/>
                  </a:lnTo>
                  <a:lnTo>
                    <a:pt x="234" y="26"/>
                  </a:lnTo>
                  <a:lnTo>
                    <a:pt x="234" y="26"/>
                  </a:lnTo>
                  <a:lnTo>
                    <a:pt x="236" y="26"/>
                  </a:lnTo>
                  <a:lnTo>
                    <a:pt x="236" y="26"/>
                  </a:lnTo>
                  <a:lnTo>
                    <a:pt x="236" y="24"/>
                  </a:lnTo>
                  <a:lnTo>
                    <a:pt x="236" y="24"/>
                  </a:lnTo>
                  <a:lnTo>
                    <a:pt x="234" y="22"/>
                  </a:lnTo>
                  <a:lnTo>
                    <a:pt x="234" y="20"/>
                  </a:lnTo>
                  <a:lnTo>
                    <a:pt x="234" y="20"/>
                  </a:lnTo>
                  <a:lnTo>
                    <a:pt x="234" y="18"/>
                  </a:lnTo>
                  <a:lnTo>
                    <a:pt x="234" y="18"/>
                  </a:lnTo>
                  <a:lnTo>
                    <a:pt x="234" y="18"/>
                  </a:lnTo>
                  <a:lnTo>
                    <a:pt x="236" y="18"/>
                  </a:lnTo>
                  <a:lnTo>
                    <a:pt x="236" y="18"/>
                  </a:lnTo>
                  <a:lnTo>
                    <a:pt x="238" y="18"/>
                  </a:lnTo>
                  <a:lnTo>
                    <a:pt x="238" y="18"/>
                  </a:lnTo>
                  <a:lnTo>
                    <a:pt x="240" y="18"/>
                  </a:lnTo>
                  <a:lnTo>
                    <a:pt x="240" y="18"/>
                  </a:lnTo>
                  <a:lnTo>
                    <a:pt x="242" y="18"/>
                  </a:lnTo>
                  <a:lnTo>
                    <a:pt x="242" y="18"/>
                  </a:lnTo>
                  <a:lnTo>
                    <a:pt x="242" y="18"/>
                  </a:lnTo>
                  <a:lnTo>
                    <a:pt x="242" y="20"/>
                  </a:lnTo>
                  <a:lnTo>
                    <a:pt x="244" y="22"/>
                  </a:lnTo>
                  <a:lnTo>
                    <a:pt x="244" y="24"/>
                  </a:lnTo>
                  <a:lnTo>
                    <a:pt x="244" y="24"/>
                  </a:lnTo>
                  <a:lnTo>
                    <a:pt x="244" y="24"/>
                  </a:lnTo>
                  <a:lnTo>
                    <a:pt x="246" y="26"/>
                  </a:lnTo>
                  <a:lnTo>
                    <a:pt x="246" y="26"/>
                  </a:lnTo>
                  <a:lnTo>
                    <a:pt x="248" y="26"/>
                  </a:lnTo>
                  <a:lnTo>
                    <a:pt x="250" y="26"/>
                  </a:lnTo>
                  <a:lnTo>
                    <a:pt x="252" y="28"/>
                  </a:lnTo>
                  <a:lnTo>
                    <a:pt x="252" y="28"/>
                  </a:lnTo>
                  <a:lnTo>
                    <a:pt x="254" y="28"/>
                  </a:lnTo>
                  <a:lnTo>
                    <a:pt x="254" y="28"/>
                  </a:lnTo>
                  <a:lnTo>
                    <a:pt x="256" y="26"/>
                  </a:lnTo>
                  <a:lnTo>
                    <a:pt x="256" y="26"/>
                  </a:lnTo>
                  <a:lnTo>
                    <a:pt x="256" y="26"/>
                  </a:lnTo>
                  <a:lnTo>
                    <a:pt x="258" y="24"/>
                  </a:lnTo>
                  <a:lnTo>
                    <a:pt x="258" y="22"/>
                  </a:lnTo>
                  <a:lnTo>
                    <a:pt x="260" y="20"/>
                  </a:lnTo>
                  <a:lnTo>
                    <a:pt x="260" y="18"/>
                  </a:lnTo>
                  <a:lnTo>
                    <a:pt x="260" y="18"/>
                  </a:lnTo>
                  <a:lnTo>
                    <a:pt x="260" y="16"/>
                  </a:lnTo>
                  <a:lnTo>
                    <a:pt x="260" y="16"/>
                  </a:lnTo>
                  <a:lnTo>
                    <a:pt x="260" y="16"/>
                  </a:lnTo>
                  <a:lnTo>
                    <a:pt x="260" y="16"/>
                  </a:lnTo>
                  <a:lnTo>
                    <a:pt x="258" y="14"/>
                  </a:lnTo>
                  <a:lnTo>
                    <a:pt x="258" y="14"/>
                  </a:lnTo>
                  <a:lnTo>
                    <a:pt x="256" y="14"/>
                  </a:lnTo>
                  <a:lnTo>
                    <a:pt x="254" y="12"/>
                  </a:lnTo>
                  <a:lnTo>
                    <a:pt x="254" y="12"/>
                  </a:lnTo>
                  <a:lnTo>
                    <a:pt x="252" y="12"/>
                  </a:lnTo>
                  <a:lnTo>
                    <a:pt x="252" y="12"/>
                  </a:lnTo>
                  <a:lnTo>
                    <a:pt x="252" y="10"/>
                  </a:lnTo>
                  <a:lnTo>
                    <a:pt x="252" y="10"/>
                  </a:lnTo>
                  <a:lnTo>
                    <a:pt x="252" y="10"/>
                  </a:lnTo>
                  <a:lnTo>
                    <a:pt x="254" y="8"/>
                  </a:lnTo>
                  <a:lnTo>
                    <a:pt x="254" y="8"/>
                  </a:lnTo>
                  <a:lnTo>
                    <a:pt x="256" y="6"/>
                  </a:lnTo>
                  <a:lnTo>
                    <a:pt x="258" y="6"/>
                  </a:lnTo>
                  <a:lnTo>
                    <a:pt x="260" y="4"/>
                  </a:lnTo>
                  <a:lnTo>
                    <a:pt x="262" y="4"/>
                  </a:lnTo>
                  <a:lnTo>
                    <a:pt x="264" y="4"/>
                  </a:lnTo>
                  <a:lnTo>
                    <a:pt x="264" y="4"/>
                  </a:lnTo>
                  <a:lnTo>
                    <a:pt x="266" y="4"/>
                  </a:lnTo>
                  <a:lnTo>
                    <a:pt x="266" y="4"/>
                  </a:lnTo>
                  <a:lnTo>
                    <a:pt x="268" y="4"/>
                  </a:lnTo>
                  <a:lnTo>
                    <a:pt x="268" y="4"/>
                  </a:lnTo>
                  <a:lnTo>
                    <a:pt x="270" y="6"/>
                  </a:lnTo>
                  <a:lnTo>
                    <a:pt x="272" y="8"/>
                  </a:lnTo>
                  <a:lnTo>
                    <a:pt x="272" y="10"/>
                  </a:lnTo>
                  <a:lnTo>
                    <a:pt x="274" y="12"/>
                  </a:lnTo>
                  <a:lnTo>
                    <a:pt x="276" y="12"/>
                  </a:lnTo>
                  <a:lnTo>
                    <a:pt x="276" y="12"/>
                  </a:lnTo>
                  <a:lnTo>
                    <a:pt x="276" y="14"/>
                  </a:lnTo>
                  <a:lnTo>
                    <a:pt x="278" y="14"/>
                  </a:lnTo>
                  <a:lnTo>
                    <a:pt x="278" y="12"/>
                  </a:lnTo>
                  <a:lnTo>
                    <a:pt x="278" y="12"/>
                  </a:lnTo>
                  <a:lnTo>
                    <a:pt x="280" y="12"/>
                  </a:lnTo>
                  <a:lnTo>
                    <a:pt x="280" y="10"/>
                  </a:lnTo>
                  <a:lnTo>
                    <a:pt x="280" y="8"/>
                  </a:lnTo>
                  <a:lnTo>
                    <a:pt x="282" y="6"/>
                  </a:lnTo>
                  <a:lnTo>
                    <a:pt x="282" y="4"/>
                  </a:lnTo>
                  <a:lnTo>
                    <a:pt x="282" y="2"/>
                  </a:lnTo>
                  <a:lnTo>
                    <a:pt x="284" y="2"/>
                  </a:lnTo>
                  <a:lnTo>
                    <a:pt x="284" y="0"/>
                  </a:lnTo>
                  <a:lnTo>
                    <a:pt x="284" y="0"/>
                  </a:lnTo>
                  <a:lnTo>
                    <a:pt x="286" y="0"/>
                  </a:lnTo>
                  <a:lnTo>
                    <a:pt x="286" y="0"/>
                  </a:lnTo>
                  <a:lnTo>
                    <a:pt x="286" y="2"/>
                  </a:lnTo>
                  <a:lnTo>
                    <a:pt x="286" y="2"/>
                  </a:lnTo>
                  <a:lnTo>
                    <a:pt x="286" y="2"/>
                  </a:lnTo>
                  <a:lnTo>
                    <a:pt x="288" y="4"/>
                  </a:lnTo>
                  <a:lnTo>
                    <a:pt x="288" y="6"/>
                  </a:lnTo>
                  <a:lnTo>
                    <a:pt x="288" y="10"/>
                  </a:lnTo>
                  <a:lnTo>
                    <a:pt x="288" y="12"/>
                  </a:lnTo>
                  <a:lnTo>
                    <a:pt x="288" y="12"/>
                  </a:lnTo>
                  <a:lnTo>
                    <a:pt x="288" y="14"/>
                  </a:lnTo>
                  <a:lnTo>
                    <a:pt x="288" y="14"/>
                  </a:lnTo>
                  <a:lnTo>
                    <a:pt x="288" y="14"/>
                  </a:lnTo>
                  <a:lnTo>
                    <a:pt x="290" y="16"/>
                  </a:lnTo>
                  <a:lnTo>
                    <a:pt x="292" y="16"/>
                  </a:lnTo>
                  <a:lnTo>
                    <a:pt x="294" y="16"/>
                  </a:lnTo>
                  <a:lnTo>
                    <a:pt x="294" y="16"/>
                  </a:lnTo>
                  <a:lnTo>
                    <a:pt x="296" y="16"/>
                  </a:lnTo>
                  <a:lnTo>
                    <a:pt x="298" y="16"/>
                  </a:lnTo>
                  <a:lnTo>
                    <a:pt x="300" y="16"/>
                  </a:lnTo>
                  <a:lnTo>
                    <a:pt x="302" y="16"/>
                  </a:lnTo>
                  <a:lnTo>
                    <a:pt x="302" y="16"/>
                  </a:lnTo>
                  <a:lnTo>
                    <a:pt x="304" y="16"/>
                  </a:lnTo>
                  <a:lnTo>
                    <a:pt x="304" y="14"/>
                  </a:lnTo>
                  <a:lnTo>
                    <a:pt x="306" y="12"/>
                  </a:lnTo>
                  <a:lnTo>
                    <a:pt x="308" y="10"/>
                  </a:lnTo>
                  <a:lnTo>
                    <a:pt x="310" y="8"/>
                  </a:lnTo>
                  <a:lnTo>
                    <a:pt x="312" y="8"/>
                  </a:lnTo>
                  <a:lnTo>
                    <a:pt x="312" y="6"/>
                  </a:lnTo>
                  <a:lnTo>
                    <a:pt x="314" y="6"/>
                  </a:lnTo>
                  <a:lnTo>
                    <a:pt x="314" y="6"/>
                  </a:lnTo>
                  <a:lnTo>
                    <a:pt x="316" y="6"/>
                  </a:lnTo>
                  <a:lnTo>
                    <a:pt x="316" y="6"/>
                  </a:lnTo>
                  <a:lnTo>
                    <a:pt x="318" y="6"/>
                  </a:lnTo>
                  <a:lnTo>
                    <a:pt x="320" y="6"/>
                  </a:lnTo>
                  <a:lnTo>
                    <a:pt x="322" y="8"/>
                  </a:lnTo>
                  <a:lnTo>
                    <a:pt x="324" y="10"/>
                  </a:lnTo>
                  <a:lnTo>
                    <a:pt x="326" y="10"/>
                  </a:lnTo>
                  <a:lnTo>
                    <a:pt x="330" y="12"/>
                  </a:lnTo>
                  <a:lnTo>
                    <a:pt x="330" y="14"/>
                  </a:lnTo>
                  <a:lnTo>
                    <a:pt x="330" y="14"/>
                  </a:lnTo>
                  <a:lnTo>
                    <a:pt x="332" y="14"/>
                  </a:lnTo>
                  <a:lnTo>
                    <a:pt x="332" y="16"/>
                  </a:lnTo>
                  <a:lnTo>
                    <a:pt x="332" y="16"/>
                  </a:lnTo>
                  <a:lnTo>
                    <a:pt x="332" y="16"/>
                  </a:lnTo>
                  <a:lnTo>
                    <a:pt x="332" y="18"/>
                  </a:lnTo>
                  <a:lnTo>
                    <a:pt x="332" y="20"/>
                  </a:lnTo>
                  <a:lnTo>
                    <a:pt x="330" y="22"/>
                  </a:lnTo>
                  <a:lnTo>
                    <a:pt x="330" y="24"/>
                  </a:lnTo>
                  <a:lnTo>
                    <a:pt x="330" y="24"/>
                  </a:lnTo>
                  <a:lnTo>
                    <a:pt x="328" y="26"/>
                  </a:lnTo>
                  <a:lnTo>
                    <a:pt x="328" y="26"/>
                  </a:lnTo>
                  <a:lnTo>
                    <a:pt x="330" y="28"/>
                  </a:lnTo>
                  <a:lnTo>
                    <a:pt x="330" y="28"/>
                  </a:lnTo>
                  <a:lnTo>
                    <a:pt x="330" y="28"/>
                  </a:lnTo>
                  <a:lnTo>
                    <a:pt x="332" y="30"/>
                  </a:lnTo>
                  <a:lnTo>
                    <a:pt x="334" y="30"/>
                  </a:lnTo>
                  <a:lnTo>
                    <a:pt x="336" y="32"/>
                  </a:lnTo>
                  <a:lnTo>
                    <a:pt x="338" y="32"/>
                  </a:lnTo>
                  <a:lnTo>
                    <a:pt x="340" y="34"/>
                  </a:lnTo>
                  <a:lnTo>
                    <a:pt x="344" y="34"/>
                  </a:lnTo>
                  <a:lnTo>
                    <a:pt x="350" y="36"/>
                  </a:lnTo>
                  <a:lnTo>
                    <a:pt x="354" y="38"/>
                  </a:lnTo>
                  <a:lnTo>
                    <a:pt x="358" y="38"/>
                  </a:lnTo>
                  <a:lnTo>
                    <a:pt x="350" y="42"/>
                  </a:lnTo>
                  <a:lnTo>
                    <a:pt x="344" y="46"/>
                  </a:lnTo>
                  <a:lnTo>
                    <a:pt x="342" y="48"/>
                  </a:lnTo>
                  <a:lnTo>
                    <a:pt x="340" y="48"/>
                  </a:lnTo>
                  <a:lnTo>
                    <a:pt x="336" y="52"/>
                  </a:lnTo>
                  <a:lnTo>
                    <a:pt x="332" y="58"/>
                  </a:lnTo>
                  <a:lnTo>
                    <a:pt x="330" y="60"/>
                  </a:lnTo>
                  <a:lnTo>
                    <a:pt x="328" y="62"/>
                  </a:lnTo>
                  <a:lnTo>
                    <a:pt x="326" y="64"/>
                  </a:lnTo>
                  <a:lnTo>
                    <a:pt x="324" y="66"/>
                  </a:lnTo>
                  <a:lnTo>
                    <a:pt x="322" y="68"/>
                  </a:lnTo>
                  <a:lnTo>
                    <a:pt x="322" y="70"/>
                  </a:lnTo>
                  <a:lnTo>
                    <a:pt x="320" y="76"/>
                  </a:lnTo>
                  <a:lnTo>
                    <a:pt x="318" y="82"/>
                  </a:lnTo>
                  <a:lnTo>
                    <a:pt x="302" y="6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1" name="Freeform 279">
              <a:extLst>
                <a:ext uri="{FF2B5EF4-FFF2-40B4-BE49-F238E27FC236}">
                  <a16:creationId xmlns:a16="http://schemas.microsoft.com/office/drawing/2014/main" id="{7933691E-08A3-430D-8E98-85FC25BA7C55}"/>
                </a:ext>
              </a:extLst>
            </p:cNvPr>
            <p:cNvSpPr>
              <a:spLocks/>
            </p:cNvSpPr>
            <p:nvPr/>
          </p:nvSpPr>
          <p:spPr bwMode="auto">
            <a:xfrm>
              <a:off x="4044042" y="3322906"/>
              <a:ext cx="304845" cy="249419"/>
            </a:xfrm>
            <a:custGeom>
              <a:avLst/>
              <a:gdLst>
                <a:gd name="T0" fmla="*/ 166 w 176"/>
                <a:gd name="T1" fmla="*/ 30 h 144"/>
                <a:gd name="T2" fmla="*/ 150 w 176"/>
                <a:gd name="T3" fmla="*/ 30 h 144"/>
                <a:gd name="T4" fmla="*/ 146 w 176"/>
                <a:gd name="T5" fmla="*/ 28 h 144"/>
                <a:gd name="T6" fmla="*/ 138 w 176"/>
                <a:gd name="T7" fmla="*/ 22 h 144"/>
                <a:gd name="T8" fmla="*/ 124 w 176"/>
                <a:gd name="T9" fmla="*/ 20 h 144"/>
                <a:gd name="T10" fmla="*/ 108 w 176"/>
                <a:gd name="T11" fmla="*/ 18 h 144"/>
                <a:gd name="T12" fmla="*/ 86 w 176"/>
                <a:gd name="T13" fmla="*/ 8 h 144"/>
                <a:gd name="T14" fmla="*/ 76 w 176"/>
                <a:gd name="T15" fmla="*/ 6 h 144"/>
                <a:gd name="T16" fmla="*/ 66 w 176"/>
                <a:gd name="T17" fmla="*/ 10 h 144"/>
                <a:gd name="T18" fmla="*/ 62 w 176"/>
                <a:gd name="T19" fmla="*/ 8 h 144"/>
                <a:gd name="T20" fmla="*/ 50 w 176"/>
                <a:gd name="T21" fmla="*/ 2 h 144"/>
                <a:gd name="T22" fmla="*/ 28 w 176"/>
                <a:gd name="T23" fmla="*/ 0 h 144"/>
                <a:gd name="T24" fmla="*/ 12 w 176"/>
                <a:gd name="T25" fmla="*/ 2 h 144"/>
                <a:gd name="T26" fmla="*/ 6 w 176"/>
                <a:gd name="T27" fmla="*/ 4 h 144"/>
                <a:gd name="T28" fmla="*/ 6 w 176"/>
                <a:gd name="T29" fmla="*/ 8 h 144"/>
                <a:gd name="T30" fmla="*/ 8 w 176"/>
                <a:gd name="T31" fmla="*/ 12 h 144"/>
                <a:gd name="T32" fmla="*/ 6 w 176"/>
                <a:gd name="T33" fmla="*/ 14 h 144"/>
                <a:gd name="T34" fmla="*/ 2 w 176"/>
                <a:gd name="T35" fmla="*/ 16 h 144"/>
                <a:gd name="T36" fmla="*/ 0 w 176"/>
                <a:gd name="T37" fmla="*/ 20 h 144"/>
                <a:gd name="T38" fmla="*/ 2 w 176"/>
                <a:gd name="T39" fmla="*/ 26 h 144"/>
                <a:gd name="T40" fmla="*/ 10 w 176"/>
                <a:gd name="T41" fmla="*/ 34 h 144"/>
                <a:gd name="T42" fmla="*/ 12 w 176"/>
                <a:gd name="T43" fmla="*/ 44 h 144"/>
                <a:gd name="T44" fmla="*/ 16 w 176"/>
                <a:gd name="T45" fmla="*/ 46 h 144"/>
                <a:gd name="T46" fmla="*/ 28 w 176"/>
                <a:gd name="T47" fmla="*/ 42 h 144"/>
                <a:gd name="T48" fmla="*/ 36 w 176"/>
                <a:gd name="T49" fmla="*/ 40 h 144"/>
                <a:gd name="T50" fmla="*/ 38 w 176"/>
                <a:gd name="T51" fmla="*/ 40 h 144"/>
                <a:gd name="T52" fmla="*/ 40 w 176"/>
                <a:gd name="T53" fmla="*/ 44 h 144"/>
                <a:gd name="T54" fmla="*/ 36 w 176"/>
                <a:gd name="T55" fmla="*/ 52 h 144"/>
                <a:gd name="T56" fmla="*/ 32 w 176"/>
                <a:gd name="T57" fmla="*/ 60 h 144"/>
                <a:gd name="T58" fmla="*/ 30 w 176"/>
                <a:gd name="T59" fmla="*/ 78 h 144"/>
                <a:gd name="T60" fmla="*/ 28 w 176"/>
                <a:gd name="T61" fmla="*/ 84 h 144"/>
                <a:gd name="T62" fmla="*/ 22 w 176"/>
                <a:gd name="T63" fmla="*/ 88 h 144"/>
                <a:gd name="T64" fmla="*/ 24 w 176"/>
                <a:gd name="T65" fmla="*/ 90 h 144"/>
                <a:gd name="T66" fmla="*/ 30 w 176"/>
                <a:gd name="T67" fmla="*/ 96 h 144"/>
                <a:gd name="T68" fmla="*/ 32 w 176"/>
                <a:gd name="T69" fmla="*/ 114 h 144"/>
                <a:gd name="T70" fmla="*/ 32 w 176"/>
                <a:gd name="T71" fmla="*/ 124 h 144"/>
                <a:gd name="T72" fmla="*/ 34 w 176"/>
                <a:gd name="T73" fmla="*/ 126 h 144"/>
                <a:gd name="T74" fmla="*/ 40 w 176"/>
                <a:gd name="T75" fmla="*/ 126 h 144"/>
                <a:gd name="T76" fmla="*/ 42 w 176"/>
                <a:gd name="T77" fmla="*/ 128 h 144"/>
                <a:gd name="T78" fmla="*/ 42 w 176"/>
                <a:gd name="T79" fmla="*/ 134 h 144"/>
                <a:gd name="T80" fmla="*/ 44 w 176"/>
                <a:gd name="T81" fmla="*/ 140 h 144"/>
                <a:gd name="T82" fmla="*/ 50 w 176"/>
                <a:gd name="T83" fmla="*/ 144 h 144"/>
                <a:gd name="T84" fmla="*/ 56 w 176"/>
                <a:gd name="T85" fmla="*/ 142 h 144"/>
                <a:gd name="T86" fmla="*/ 64 w 176"/>
                <a:gd name="T87" fmla="*/ 138 h 144"/>
                <a:gd name="T88" fmla="*/ 72 w 176"/>
                <a:gd name="T89" fmla="*/ 136 h 144"/>
                <a:gd name="T90" fmla="*/ 90 w 176"/>
                <a:gd name="T91" fmla="*/ 138 h 144"/>
                <a:gd name="T92" fmla="*/ 104 w 176"/>
                <a:gd name="T93" fmla="*/ 138 h 144"/>
                <a:gd name="T94" fmla="*/ 110 w 176"/>
                <a:gd name="T95" fmla="*/ 132 h 144"/>
                <a:gd name="T96" fmla="*/ 110 w 176"/>
                <a:gd name="T97" fmla="*/ 126 h 144"/>
                <a:gd name="T98" fmla="*/ 112 w 176"/>
                <a:gd name="T99" fmla="*/ 122 h 144"/>
                <a:gd name="T100" fmla="*/ 120 w 176"/>
                <a:gd name="T101" fmla="*/ 116 h 144"/>
                <a:gd name="T102" fmla="*/ 128 w 176"/>
                <a:gd name="T103" fmla="*/ 108 h 144"/>
                <a:gd name="T104" fmla="*/ 132 w 176"/>
                <a:gd name="T105" fmla="*/ 100 h 144"/>
                <a:gd name="T106" fmla="*/ 130 w 176"/>
                <a:gd name="T107" fmla="*/ 94 h 144"/>
                <a:gd name="T108" fmla="*/ 122 w 176"/>
                <a:gd name="T109" fmla="*/ 86 h 144"/>
                <a:gd name="T110" fmla="*/ 122 w 176"/>
                <a:gd name="T111" fmla="*/ 84 h 144"/>
                <a:gd name="T112" fmla="*/ 128 w 176"/>
                <a:gd name="T113" fmla="*/ 76 h 144"/>
                <a:gd name="T114" fmla="*/ 132 w 176"/>
                <a:gd name="T115" fmla="*/ 68 h 144"/>
                <a:gd name="T116" fmla="*/ 138 w 176"/>
                <a:gd name="T117" fmla="*/ 64 h 144"/>
                <a:gd name="T118" fmla="*/ 146 w 176"/>
                <a:gd name="T119" fmla="*/ 64 h 144"/>
                <a:gd name="T120" fmla="*/ 152 w 176"/>
                <a:gd name="T121" fmla="*/ 56 h 144"/>
                <a:gd name="T122" fmla="*/ 162 w 176"/>
                <a:gd name="T12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44">
                  <a:moveTo>
                    <a:pt x="176" y="30"/>
                  </a:moveTo>
                  <a:lnTo>
                    <a:pt x="176" y="30"/>
                  </a:lnTo>
                  <a:lnTo>
                    <a:pt x="174" y="30"/>
                  </a:lnTo>
                  <a:lnTo>
                    <a:pt x="170" y="30"/>
                  </a:lnTo>
                  <a:lnTo>
                    <a:pt x="166" y="30"/>
                  </a:lnTo>
                  <a:lnTo>
                    <a:pt x="160" y="30"/>
                  </a:lnTo>
                  <a:lnTo>
                    <a:pt x="156" y="32"/>
                  </a:lnTo>
                  <a:lnTo>
                    <a:pt x="154" y="32"/>
                  </a:lnTo>
                  <a:lnTo>
                    <a:pt x="152" y="30"/>
                  </a:lnTo>
                  <a:lnTo>
                    <a:pt x="150" y="30"/>
                  </a:lnTo>
                  <a:lnTo>
                    <a:pt x="150" y="30"/>
                  </a:lnTo>
                  <a:lnTo>
                    <a:pt x="148" y="30"/>
                  </a:lnTo>
                  <a:lnTo>
                    <a:pt x="148" y="30"/>
                  </a:lnTo>
                  <a:lnTo>
                    <a:pt x="146" y="28"/>
                  </a:lnTo>
                  <a:lnTo>
                    <a:pt x="146" y="28"/>
                  </a:lnTo>
                  <a:lnTo>
                    <a:pt x="144" y="26"/>
                  </a:lnTo>
                  <a:lnTo>
                    <a:pt x="142" y="24"/>
                  </a:lnTo>
                  <a:lnTo>
                    <a:pt x="140" y="22"/>
                  </a:lnTo>
                  <a:lnTo>
                    <a:pt x="138" y="22"/>
                  </a:lnTo>
                  <a:lnTo>
                    <a:pt x="138" y="22"/>
                  </a:lnTo>
                  <a:lnTo>
                    <a:pt x="136" y="22"/>
                  </a:lnTo>
                  <a:lnTo>
                    <a:pt x="134" y="20"/>
                  </a:lnTo>
                  <a:lnTo>
                    <a:pt x="132" y="20"/>
                  </a:lnTo>
                  <a:lnTo>
                    <a:pt x="128" y="20"/>
                  </a:lnTo>
                  <a:lnTo>
                    <a:pt x="124" y="20"/>
                  </a:lnTo>
                  <a:lnTo>
                    <a:pt x="120" y="20"/>
                  </a:lnTo>
                  <a:lnTo>
                    <a:pt x="118" y="20"/>
                  </a:lnTo>
                  <a:lnTo>
                    <a:pt x="116" y="20"/>
                  </a:lnTo>
                  <a:lnTo>
                    <a:pt x="114" y="20"/>
                  </a:lnTo>
                  <a:lnTo>
                    <a:pt x="108" y="18"/>
                  </a:lnTo>
                  <a:lnTo>
                    <a:pt x="100" y="14"/>
                  </a:lnTo>
                  <a:lnTo>
                    <a:pt x="98" y="14"/>
                  </a:lnTo>
                  <a:lnTo>
                    <a:pt x="94" y="12"/>
                  </a:lnTo>
                  <a:lnTo>
                    <a:pt x="88" y="10"/>
                  </a:lnTo>
                  <a:lnTo>
                    <a:pt x="86" y="8"/>
                  </a:lnTo>
                  <a:lnTo>
                    <a:pt x="84" y="8"/>
                  </a:lnTo>
                  <a:lnTo>
                    <a:pt x="80" y="6"/>
                  </a:lnTo>
                  <a:lnTo>
                    <a:pt x="80" y="6"/>
                  </a:lnTo>
                  <a:lnTo>
                    <a:pt x="78" y="6"/>
                  </a:lnTo>
                  <a:lnTo>
                    <a:pt x="76" y="6"/>
                  </a:lnTo>
                  <a:lnTo>
                    <a:pt x="76" y="6"/>
                  </a:lnTo>
                  <a:lnTo>
                    <a:pt x="72" y="8"/>
                  </a:lnTo>
                  <a:lnTo>
                    <a:pt x="70" y="10"/>
                  </a:lnTo>
                  <a:lnTo>
                    <a:pt x="68" y="10"/>
                  </a:lnTo>
                  <a:lnTo>
                    <a:pt x="66" y="10"/>
                  </a:lnTo>
                  <a:lnTo>
                    <a:pt x="66" y="10"/>
                  </a:lnTo>
                  <a:lnTo>
                    <a:pt x="66" y="10"/>
                  </a:lnTo>
                  <a:lnTo>
                    <a:pt x="64" y="10"/>
                  </a:lnTo>
                  <a:lnTo>
                    <a:pt x="64" y="10"/>
                  </a:lnTo>
                  <a:lnTo>
                    <a:pt x="62" y="8"/>
                  </a:lnTo>
                  <a:lnTo>
                    <a:pt x="60" y="8"/>
                  </a:lnTo>
                  <a:lnTo>
                    <a:pt x="58" y="6"/>
                  </a:lnTo>
                  <a:lnTo>
                    <a:pt x="56" y="4"/>
                  </a:lnTo>
                  <a:lnTo>
                    <a:pt x="56" y="4"/>
                  </a:lnTo>
                  <a:lnTo>
                    <a:pt x="50" y="2"/>
                  </a:lnTo>
                  <a:lnTo>
                    <a:pt x="44" y="2"/>
                  </a:lnTo>
                  <a:lnTo>
                    <a:pt x="40" y="0"/>
                  </a:lnTo>
                  <a:lnTo>
                    <a:pt x="36" y="0"/>
                  </a:lnTo>
                  <a:lnTo>
                    <a:pt x="32" y="0"/>
                  </a:lnTo>
                  <a:lnTo>
                    <a:pt x="28" y="0"/>
                  </a:lnTo>
                  <a:lnTo>
                    <a:pt x="26" y="0"/>
                  </a:lnTo>
                  <a:lnTo>
                    <a:pt x="22" y="0"/>
                  </a:lnTo>
                  <a:lnTo>
                    <a:pt x="18" y="0"/>
                  </a:lnTo>
                  <a:lnTo>
                    <a:pt x="14" y="0"/>
                  </a:lnTo>
                  <a:lnTo>
                    <a:pt x="12" y="2"/>
                  </a:lnTo>
                  <a:lnTo>
                    <a:pt x="10" y="2"/>
                  </a:lnTo>
                  <a:lnTo>
                    <a:pt x="10" y="2"/>
                  </a:lnTo>
                  <a:lnTo>
                    <a:pt x="8" y="2"/>
                  </a:lnTo>
                  <a:lnTo>
                    <a:pt x="8" y="4"/>
                  </a:lnTo>
                  <a:lnTo>
                    <a:pt x="6" y="4"/>
                  </a:lnTo>
                  <a:lnTo>
                    <a:pt x="6" y="6"/>
                  </a:lnTo>
                  <a:lnTo>
                    <a:pt x="6" y="6"/>
                  </a:lnTo>
                  <a:lnTo>
                    <a:pt x="6" y="6"/>
                  </a:lnTo>
                  <a:lnTo>
                    <a:pt x="6" y="6"/>
                  </a:lnTo>
                  <a:lnTo>
                    <a:pt x="6" y="8"/>
                  </a:lnTo>
                  <a:lnTo>
                    <a:pt x="8" y="8"/>
                  </a:lnTo>
                  <a:lnTo>
                    <a:pt x="8" y="10"/>
                  </a:lnTo>
                  <a:lnTo>
                    <a:pt x="8" y="12"/>
                  </a:lnTo>
                  <a:lnTo>
                    <a:pt x="8" y="12"/>
                  </a:lnTo>
                  <a:lnTo>
                    <a:pt x="8" y="12"/>
                  </a:lnTo>
                  <a:lnTo>
                    <a:pt x="8" y="12"/>
                  </a:lnTo>
                  <a:lnTo>
                    <a:pt x="8" y="12"/>
                  </a:lnTo>
                  <a:lnTo>
                    <a:pt x="8" y="14"/>
                  </a:lnTo>
                  <a:lnTo>
                    <a:pt x="8" y="14"/>
                  </a:lnTo>
                  <a:lnTo>
                    <a:pt x="6" y="14"/>
                  </a:lnTo>
                  <a:lnTo>
                    <a:pt x="4" y="14"/>
                  </a:lnTo>
                  <a:lnTo>
                    <a:pt x="4" y="14"/>
                  </a:lnTo>
                  <a:lnTo>
                    <a:pt x="2" y="14"/>
                  </a:lnTo>
                  <a:lnTo>
                    <a:pt x="2" y="14"/>
                  </a:lnTo>
                  <a:lnTo>
                    <a:pt x="2" y="16"/>
                  </a:lnTo>
                  <a:lnTo>
                    <a:pt x="0" y="16"/>
                  </a:lnTo>
                  <a:lnTo>
                    <a:pt x="0" y="16"/>
                  </a:lnTo>
                  <a:lnTo>
                    <a:pt x="0" y="16"/>
                  </a:lnTo>
                  <a:lnTo>
                    <a:pt x="0" y="18"/>
                  </a:lnTo>
                  <a:lnTo>
                    <a:pt x="0" y="20"/>
                  </a:lnTo>
                  <a:lnTo>
                    <a:pt x="0" y="20"/>
                  </a:lnTo>
                  <a:lnTo>
                    <a:pt x="0" y="22"/>
                  </a:lnTo>
                  <a:lnTo>
                    <a:pt x="2" y="24"/>
                  </a:lnTo>
                  <a:lnTo>
                    <a:pt x="2" y="26"/>
                  </a:lnTo>
                  <a:lnTo>
                    <a:pt x="2" y="26"/>
                  </a:lnTo>
                  <a:lnTo>
                    <a:pt x="2" y="28"/>
                  </a:lnTo>
                  <a:lnTo>
                    <a:pt x="4" y="28"/>
                  </a:lnTo>
                  <a:lnTo>
                    <a:pt x="6" y="32"/>
                  </a:lnTo>
                  <a:lnTo>
                    <a:pt x="8" y="34"/>
                  </a:lnTo>
                  <a:lnTo>
                    <a:pt x="10" y="34"/>
                  </a:lnTo>
                  <a:lnTo>
                    <a:pt x="10" y="36"/>
                  </a:lnTo>
                  <a:lnTo>
                    <a:pt x="10" y="38"/>
                  </a:lnTo>
                  <a:lnTo>
                    <a:pt x="10" y="40"/>
                  </a:lnTo>
                  <a:lnTo>
                    <a:pt x="12" y="42"/>
                  </a:lnTo>
                  <a:lnTo>
                    <a:pt x="12" y="44"/>
                  </a:lnTo>
                  <a:lnTo>
                    <a:pt x="12" y="44"/>
                  </a:lnTo>
                  <a:lnTo>
                    <a:pt x="12" y="44"/>
                  </a:lnTo>
                  <a:lnTo>
                    <a:pt x="12" y="44"/>
                  </a:lnTo>
                  <a:lnTo>
                    <a:pt x="14" y="44"/>
                  </a:lnTo>
                  <a:lnTo>
                    <a:pt x="16" y="46"/>
                  </a:lnTo>
                  <a:lnTo>
                    <a:pt x="18" y="44"/>
                  </a:lnTo>
                  <a:lnTo>
                    <a:pt x="20" y="44"/>
                  </a:lnTo>
                  <a:lnTo>
                    <a:pt x="24" y="44"/>
                  </a:lnTo>
                  <a:lnTo>
                    <a:pt x="26" y="42"/>
                  </a:lnTo>
                  <a:lnTo>
                    <a:pt x="28" y="42"/>
                  </a:lnTo>
                  <a:lnTo>
                    <a:pt x="28" y="42"/>
                  </a:lnTo>
                  <a:lnTo>
                    <a:pt x="32" y="40"/>
                  </a:lnTo>
                  <a:lnTo>
                    <a:pt x="32" y="40"/>
                  </a:lnTo>
                  <a:lnTo>
                    <a:pt x="34" y="40"/>
                  </a:lnTo>
                  <a:lnTo>
                    <a:pt x="36" y="40"/>
                  </a:lnTo>
                  <a:lnTo>
                    <a:pt x="36" y="40"/>
                  </a:lnTo>
                  <a:lnTo>
                    <a:pt x="36" y="40"/>
                  </a:lnTo>
                  <a:lnTo>
                    <a:pt x="36" y="40"/>
                  </a:lnTo>
                  <a:lnTo>
                    <a:pt x="38" y="40"/>
                  </a:lnTo>
                  <a:lnTo>
                    <a:pt x="38" y="40"/>
                  </a:lnTo>
                  <a:lnTo>
                    <a:pt x="38" y="42"/>
                  </a:lnTo>
                  <a:lnTo>
                    <a:pt x="40" y="42"/>
                  </a:lnTo>
                  <a:lnTo>
                    <a:pt x="40" y="44"/>
                  </a:lnTo>
                  <a:lnTo>
                    <a:pt x="40" y="44"/>
                  </a:lnTo>
                  <a:lnTo>
                    <a:pt x="40" y="44"/>
                  </a:lnTo>
                  <a:lnTo>
                    <a:pt x="40" y="46"/>
                  </a:lnTo>
                  <a:lnTo>
                    <a:pt x="40" y="46"/>
                  </a:lnTo>
                  <a:lnTo>
                    <a:pt x="38" y="50"/>
                  </a:lnTo>
                  <a:lnTo>
                    <a:pt x="36" y="50"/>
                  </a:lnTo>
                  <a:lnTo>
                    <a:pt x="36" y="52"/>
                  </a:lnTo>
                  <a:lnTo>
                    <a:pt x="34" y="54"/>
                  </a:lnTo>
                  <a:lnTo>
                    <a:pt x="34" y="54"/>
                  </a:lnTo>
                  <a:lnTo>
                    <a:pt x="34" y="56"/>
                  </a:lnTo>
                  <a:lnTo>
                    <a:pt x="32" y="56"/>
                  </a:lnTo>
                  <a:lnTo>
                    <a:pt x="32" y="60"/>
                  </a:lnTo>
                  <a:lnTo>
                    <a:pt x="32" y="64"/>
                  </a:lnTo>
                  <a:lnTo>
                    <a:pt x="32" y="68"/>
                  </a:lnTo>
                  <a:lnTo>
                    <a:pt x="30" y="72"/>
                  </a:lnTo>
                  <a:lnTo>
                    <a:pt x="30" y="76"/>
                  </a:lnTo>
                  <a:lnTo>
                    <a:pt x="30" y="78"/>
                  </a:lnTo>
                  <a:lnTo>
                    <a:pt x="30" y="80"/>
                  </a:lnTo>
                  <a:lnTo>
                    <a:pt x="30" y="80"/>
                  </a:lnTo>
                  <a:lnTo>
                    <a:pt x="28" y="82"/>
                  </a:lnTo>
                  <a:lnTo>
                    <a:pt x="28" y="82"/>
                  </a:lnTo>
                  <a:lnTo>
                    <a:pt x="28" y="84"/>
                  </a:lnTo>
                  <a:lnTo>
                    <a:pt x="26" y="84"/>
                  </a:lnTo>
                  <a:lnTo>
                    <a:pt x="24" y="86"/>
                  </a:lnTo>
                  <a:lnTo>
                    <a:pt x="24" y="86"/>
                  </a:lnTo>
                  <a:lnTo>
                    <a:pt x="22" y="88"/>
                  </a:lnTo>
                  <a:lnTo>
                    <a:pt x="22" y="88"/>
                  </a:lnTo>
                  <a:lnTo>
                    <a:pt x="22" y="88"/>
                  </a:lnTo>
                  <a:lnTo>
                    <a:pt x="22" y="88"/>
                  </a:lnTo>
                  <a:lnTo>
                    <a:pt x="22" y="90"/>
                  </a:lnTo>
                  <a:lnTo>
                    <a:pt x="24" y="90"/>
                  </a:lnTo>
                  <a:lnTo>
                    <a:pt x="24" y="90"/>
                  </a:lnTo>
                  <a:lnTo>
                    <a:pt x="26" y="92"/>
                  </a:lnTo>
                  <a:lnTo>
                    <a:pt x="28" y="92"/>
                  </a:lnTo>
                  <a:lnTo>
                    <a:pt x="30" y="94"/>
                  </a:lnTo>
                  <a:lnTo>
                    <a:pt x="30" y="94"/>
                  </a:lnTo>
                  <a:lnTo>
                    <a:pt x="30" y="96"/>
                  </a:lnTo>
                  <a:lnTo>
                    <a:pt x="30" y="96"/>
                  </a:lnTo>
                  <a:lnTo>
                    <a:pt x="32" y="100"/>
                  </a:lnTo>
                  <a:lnTo>
                    <a:pt x="32" y="104"/>
                  </a:lnTo>
                  <a:lnTo>
                    <a:pt x="32" y="106"/>
                  </a:lnTo>
                  <a:lnTo>
                    <a:pt x="32" y="114"/>
                  </a:lnTo>
                  <a:lnTo>
                    <a:pt x="32" y="116"/>
                  </a:lnTo>
                  <a:lnTo>
                    <a:pt x="32" y="118"/>
                  </a:lnTo>
                  <a:lnTo>
                    <a:pt x="32" y="120"/>
                  </a:lnTo>
                  <a:lnTo>
                    <a:pt x="32" y="122"/>
                  </a:lnTo>
                  <a:lnTo>
                    <a:pt x="32" y="124"/>
                  </a:lnTo>
                  <a:lnTo>
                    <a:pt x="32" y="124"/>
                  </a:lnTo>
                  <a:lnTo>
                    <a:pt x="32" y="126"/>
                  </a:lnTo>
                  <a:lnTo>
                    <a:pt x="32" y="126"/>
                  </a:lnTo>
                  <a:lnTo>
                    <a:pt x="32" y="126"/>
                  </a:lnTo>
                  <a:lnTo>
                    <a:pt x="34" y="126"/>
                  </a:lnTo>
                  <a:lnTo>
                    <a:pt x="34" y="126"/>
                  </a:lnTo>
                  <a:lnTo>
                    <a:pt x="36" y="126"/>
                  </a:lnTo>
                  <a:lnTo>
                    <a:pt x="36" y="126"/>
                  </a:lnTo>
                  <a:lnTo>
                    <a:pt x="38" y="126"/>
                  </a:lnTo>
                  <a:lnTo>
                    <a:pt x="40" y="126"/>
                  </a:lnTo>
                  <a:lnTo>
                    <a:pt x="40" y="126"/>
                  </a:lnTo>
                  <a:lnTo>
                    <a:pt x="42" y="126"/>
                  </a:lnTo>
                  <a:lnTo>
                    <a:pt x="42" y="128"/>
                  </a:lnTo>
                  <a:lnTo>
                    <a:pt x="42" y="128"/>
                  </a:lnTo>
                  <a:lnTo>
                    <a:pt x="42" y="128"/>
                  </a:lnTo>
                  <a:lnTo>
                    <a:pt x="42" y="130"/>
                  </a:lnTo>
                  <a:lnTo>
                    <a:pt x="42" y="130"/>
                  </a:lnTo>
                  <a:lnTo>
                    <a:pt x="42" y="132"/>
                  </a:lnTo>
                  <a:lnTo>
                    <a:pt x="42" y="134"/>
                  </a:lnTo>
                  <a:lnTo>
                    <a:pt x="42" y="134"/>
                  </a:lnTo>
                  <a:lnTo>
                    <a:pt x="42" y="136"/>
                  </a:lnTo>
                  <a:lnTo>
                    <a:pt x="42" y="136"/>
                  </a:lnTo>
                  <a:lnTo>
                    <a:pt x="42" y="138"/>
                  </a:lnTo>
                  <a:lnTo>
                    <a:pt x="42" y="138"/>
                  </a:lnTo>
                  <a:lnTo>
                    <a:pt x="44" y="140"/>
                  </a:lnTo>
                  <a:lnTo>
                    <a:pt x="44" y="140"/>
                  </a:lnTo>
                  <a:lnTo>
                    <a:pt x="46" y="142"/>
                  </a:lnTo>
                  <a:lnTo>
                    <a:pt x="48" y="142"/>
                  </a:lnTo>
                  <a:lnTo>
                    <a:pt x="48" y="142"/>
                  </a:lnTo>
                  <a:lnTo>
                    <a:pt x="50" y="144"/>
                  </a:lnTo>
                  <a:lnTo>
                    <a:pt x="52" y="144"/>
                  </a:lnTo>
                  <a:lnTo>
                    <a:pt x="52" y="144"/>
                  </a:lnTo>
                  <a:lnTo>
                    <a:pt x="54" y="144"/>
                  </a:lnTo>
                  <a:lnTo>
                    <a:pt x="56" y="144"/>
                  </a:lnTo>
                  <a:lnTo>
                    <a:pt x="56" y="142"/>
                  </a:lnTo>
                  <a:lnTo>
                    <a:pt x="60" y="142"/>
                  </a:lnTo>
                  <a:lnTo>
                    <a:pt x="62" y="140"/>
                  </a:lnTo>
                  <a:lnTo>
                    <a:pt x="62" y="140"/>
                  </a:lnTo>
                  <a:lnTo>
                    <a:pt x="64" y="140"/>
                  </a:lnTo>
                  <a:lnTo>
                    <a:pt x="64" y="138"/>
                  </a:lnTo>
                  <a:lnTo>
                    <a:pt x="66" y="136"/>
                  </a:lnTo>
                  <a:lnTo>
                    <a:pt x="68" y="136"/>
                  </a:lnTo>
                  <a:lnTo>
                    <a:pt x="68" y="136"/>
                  </a:lnTo>
                  <a:lnTo>
                    <a:pt x="70" y="136"/>
                  </a:lnTo>
                  <a:lnTo>
                    <a:pt x="72" y="136"/>
                  </a:lnTo>
                  <a:lnTo>
                    <a:pt x="74" y="136"/>
                  </a:lnTo>
                  <a:lnTo>
                    <a:pt x="76" y="136"/>
                  </a:lnTo>
                  <a:lnTo>
                    <a:pt x="80" y="136"/>
                  </a:lnTo>
                  <a:lnTo>
                    <a:pt x="86" y="136"/>
                  </a:lnTo>
                  <a:lnTo>
                    <a:pt x="90" y="138"/>
                  </a:lnTo>
                  <a:lnTo>
                    <a:pt x="96" y="138"/>
                  </a:lnTo>
                  <a:lnTo>
                    <a:pt x="98" y="138"/>
                  </a:lnTo>
                  <a:lnTo>
                    <a:pt x="100" y="138"/>
                  </a:lnTo>
                  <a:lnTo>
                    <a:pt x="102" y="138"/>
                  </a:lnTo>
                  <a:lnTo>
                    <a:pt x="104" y="138"/>
                  </a:lnTo>
                  <a:lnTo>
                    <a:pt x="104" y="136"/>
                  </a:lnTo>
                  <a:lnTo>
                    <a:pt x="106" y="136"/>
                  </a:lnTo>
                  <a:lnTo>
                    <a:pt x="108" y="134"/>
                  </a:lnTo>
                  <a:lnTo>
                    <a:pt x="108" y="134"/>
                  </a:lnTo>
                  <a:lnTo>
                    <a:pt x="110" y="132"/>
                  </a:lnTo>
                  <a:lnTo>
                    <a:pt x="110" y="132"/>
                  </a:lnTo>
                  <a:lnTo>
                    <a:pt x="110" y="130"/>
                  </a:lnTo>
                  <a:lnTo>
                    <a:pt x="112" y="130"/>
                  </a:lnTo>
                  <a:lnTo>
                    <a:pt x="112" y="128"/>
                  </a:lnTo>
                  <a:lnTo>
                    <a:pt x="110" y="126"/>
                  </a:lnTo>
                  <a:lnTo>
                    <a:pt x="110" y="124"/>
                  </a:lnTo>
                  <a:lnTo>
                    <a:pt x="110" y="124"/>
                  </a:lnTo>
                  <a:lnTo>
                    <a:pt x="110" y="122"/>
                  </a:lnTo>
                  <a:lnTo>
                    <a:pt x="112" y="122"/>
                  </a:lnTo>
                  <a:lnTo>
                    <a:pt x="112" y="122"/>
                  </a:lnTo>
                  <a:lnTo>
                    <a:pt x="112" y="120"/>
                  </a:lnTo>
                  <a:lnTo>
                    <a:pt x="114" y="120"/>
                  </a:lnTo>
                  <a:lnTo>
                    <a:pt x="116" y="118"/>
                  </a:lnTo>
                  <a:lnTo>
                    <a:pt x="118" y="118"/>
                  </a:lnTo>
                  <a:lnTo>
                    <a:pt x="120" y="116"/>
                  </a:lnTo>
                  <a:lnTo>
                    <a:pt x="122" y="116"/>
                  </a:lnTo>
                  <a:lnTo>
                    <a:pt x="124" y="114"/>
                  </a:lnTo>
                  <a:lnTo>
                    <a:pt x="126" y="112"/>
                  </a:lnTo>
                  <a:lnTo>
                    <a:pt x="128" y="110"/>
                  </a:lnTo>
                  <a:lnTo>
                    <a:pt x="128" y="108"/>
                  </a:lnTo>
                  <a:lnTo>
                    <a:pt x="128" y="106"/>
                  </a:lnTo>
                  <a:lnTo>
                    <a:pt x="130" y="104"/>
                  </a:lnTo>
                  <a:lnTo>
                    <a:pt x="130" y="102"/>
                  </a:lnTo>
                  <a:lnTo>
                    <a:pt x="130" y="100"/>
                  </a:lnTo>
                  <a:lnTo>
                    <a:pt x="132" y="100"/>
                  </a:lnTo>
                  <a:lnTo>
                    <a:pt x="132" y="98"/>
                  </a:lnTo>
                  <a:lnTo>
                    <a:pt x="132" y="96"/>
                  </a:lnTo>
                  <a:lnTo>
                    <a:pt x="130" y="96"/>
                  </a:lnTo>
                  <a:lnTo>
                    <a:pt x="130" y="96"/>
                  </a:lnTo>
                  <a:lnTo>
                    <a:pt x="130" y="94"/>
                  </a:lnTo>
                  <a:lnTo>
                    <a:pt x="128" y="92"/>
                  </a:lnTo>
                  <a:lnTo>
                    <a:pt x="126" y="90"/>
                  </a:lnTo>
                  <a:lnTo>
                    <a:pt x="124" y="90"/>
                  </a:lnTo>
                  <a:lnTo>
                    <a:pt x="122" y="88"/>
                  </a:lnTo>
                  <a:lnTo>
                    <a:pt x="122" y="86"/>
                  </a:lnTo>
                  <a:lnTo>
                    <a:pt x="122" y="86"/>
                  </a:lnTo>
                  <a:lnTo>
                    <a:pt x="122" y="86"/>
                  </a:lnTo>
                  <a:lnTo>
                    <a:pt x="122" y="84"/>
                  </a:lnTo>
                  <a:lnTo>
                    <a:pt x="122" y="84"/>
                  </a:lnTo>
                  <a:lnTo>
                    <a:pt x="122" y="84"/>
                  </a:lnTo>
                  <a:lnTo>
                    <a:pt x="122" y="82"/>
                  </a:lnTo>
                  <a:lnTo>
                    <a:pt x="124" y="80"/>
                  </a:lnTo>
                  <a:lnTo>
                    <a:pt x="124" y="80"/>
                  </a:lnTo>
                  <a:lnTo>
                    <a:pt x="126" y="78"/>
                  </a:lnTo>
                  <a:lnTo>
                    <a:pt x="128" y="76"/>
                  </a:lnTo>
                  <a:lnTo>
                    <a:pt x="128" y="76"/>
                  </a:lnTo>
                  <a:lnTo>
                    <a:pt x="130" y="74"/>
                  </a:lnTo>
                  <a:lnTo>
                    <a:pt x="130" y="74"/>
                  </a:lnTo>
                  <a:lnTo>
                    <a:pt x="132" y="70"/>
                  </a:lnTo>
                  <a:lnTo>
                    <a:pt x="132" y="68"/>
                  </a:lnTo>
                  <a:lnTo>
                    <a:pt x="134" y="68"/>
                  </a:lnTo>
                  <a:lnTo>
                    <a:pt x="134" y="66"/>
                  </a:lnTo>
                  <a:lnTo>
                    <a:pt x="136" y="66"/>
                  </a:lnTo>
                  <a:lnTo>
                    <a:pt x="136" y="64"/>
                  </a:lnTo>
                  <a:lnTo>
                    <a:pt x="138" y="64"/>
                  </a:lnTo>
                  <a:lnTo>
                    <a:pt x="140" y="64"/>
                  </a:lnTo>
                  <a:lnTo>
                    <a:pt x="140" y="64"/>
                  </a:lnTo>
                  <a:lnTo>
                    <a:pt x="144" y="64"/>
                  </a:lnTo>
                  <a:lnTo>
                    <a:pt x="146" y="64"/>
                  </a:lnTo>
                  <a:lnTo>
                    <a:pt x="146" y="64"/>
                  </a:lnTo>
                  <a:lnTo>
                    <a:pt x="148" y="62"/>
                  </a:lnTo>
                  <a:lnTo>
                    <a:pt x="148" y="62"/>
                  </a:lnTo>
                  <a:lnTo>
                    <a:pt x="150" y="60"/>
                  </a:lnTo>
                  <a:lnTo>
                    <a:pt x="150" y="58"/>
                  </a:lnTo>
                  <a:lnTo>
                    <a:pt x="152" y="56"/>
                  </a:lnTo>
                  <a:lnTo>
                    <a:pt x="156" y="52"/>
                  </a:lnTo>
                  <a:lnTo>
                    <a:pt x="156" y="50"/>
                  </a:lnTo>
                  <a:lnTo>
                    <a:pt x="158" y="48"/>
                  </a:lnTo>
                  <a:lnTo>
                    <a:pt x="160" y="46"/>
                  </a:lnTo>
                  <a:lnTo>
                    <a:pt x="162" y="44"/>
                  </a:lnTo>
                  <a:lnTo>
                    <a:pt x="166" y="40"/>
                  </a:lnTo>
                  <a:lnTo>
                    <a:pt x="176" y="3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2" name="Freeform 280">
              <a:extLst>
                <a:ext uri="{FF2B5EF4-FFF2-40B4-BE49-F238E27FC236}">
                  <a16:creationId xmlns:a16="http://schemas.microsoft.com/office/drawing/2014/main" id="{E1A59DEB-CA3A-4190-988C-974DD4B1D019}"/>
                </a:ext>
              </a:extLst>
            </p:cNvPr>
            <p:cNvSpPr>
              <a:spLocks/>
            </p:cNvSpPr>
            <p:nvPr/>
          </p:nvSpPr>
          <p:spPr bwMode="auto">
            <a:xfrm>
              <a:off x="4044042" y="3322906"/>
              <a:ext cx="304845" cy="249419"/>
            </a:xfrm>
            <a:custGeom>
              <a:avLst/>
              <a:gdLst>
                <a:gd name="T0" fmla="*/ 166 w 176"/>
                <a:gd name="T1" fmla="*/ 30 h 144"/>
                <a:gd name="T2" fmla="*/ 150 w 176"/>
                <a:gd name="T3" fmla="*/ 30 h 144"/>
                <a:gd name="T4" fmla="*/ 146 w 176"/>
                <a:gd name="T5" fmla="*/ 28 h 144"/>
                <a:gd name="T6" fmla="*/ 138 w 176"/>
                <a:gd name="T7" fmla="*/ 22 h 144"/>
                <a:gd name="T8" fmla="*/ 124 w 176"/>
                <a:gd name="T9" fmla="*/ 20 h 144"/>
                <a:gd name="T10" fmla="*/ 108 w 176"/>
                <a:gd name="T11" fmla="*/ 18 h 144"/>
                <a:gd name="T12" fmla="*/ 86 w 176"/>
                <a:gd name="T13" fmla="*/ 8 h 144"/>
                <a:gd name="T14" fmla="*/ 76 w 176"/>
                <a:gd name="T15" fmla="*/ 6 h 144"/>
                <a:gd name="T16" fmla="*/ 66 w 176"/>
                <a:gd name="T17" fmla="*/ 10 h 144"/>
                <a:gd name="T18" fmla="*/ 62 w 176"/>
                <a:gd name="T19" fmla="*/ 8 h 144"/>
                <a:gd name="T20" fmla="*/ 50 w 176"/>
                <a:gd name="T21" fmla="*/ 2 h 144"/>
                <a:gd name="T22" fmla="*/ 28 w 176"/>
                <a:gd name="T23" fmla="*/ 0 h 144"/>
                <a:gd name="T24" fmla="*/ 12 w 176"/>
                <a:gd name="T25" fmla="*/ 2 h 144"/>
                <a:gd name="T26" fmla="*/ 6 w 176"/>
                <a:gd name="T27" fmla="*/ 4 h 144"/>
                <a:gd name="T28" fmla="*/ 6 w 176"/>
                <a:gd name="T29" fmla="*/ 8 h 144"/>
                <a:gd name="T30" fmla="*/ 8 w 176"/>
                <a:gd name="T31" fmla="*/ 12 h 144"/>
                <a:gd name="T32" fmla="*/ 6 w 176"/>
                <a:gd name="T33" fmla="*/ 14 h 144"/>
                <a:gd name="T34" fmla="*/ 2 w 176"/>
                <a:gd name="T35" fmla="*/ 16 h 144"/>
                <a:gd name="T36" fmla="*/ 0 w 176"/>
                <a:gd name="T37" fmla="*/ 20 h 144"/>
                <a:gd name="T38" fmla="*/ 2 w 176"/>
                <a:gd name="T39" fmla="*/ 26 h 144"/>
                <a:gd name="T40" fmla="*/ 10 w 176"/>
                <a:gd name="T41" fmla="*/ 34 h 144"/>
                <a:gd name="T42" fmla="*/ 12 w 176"/>
                <a:gd name="T43" fmla="*/ 44 h 144"/>
                <a:gd name="T44" fmla="*/ 16 w 176"/>
                <a:gd name="T45" fmla="*/ 46 h 144"/>
                <a:gd name="T46" fmla="*/ 28 w 176"/>
                <a:gd name="T47" fmla="*/ 42 h 144"/>
                <a:gd name="T48" fmla="*/ 36 w 176"/>
                <a:gd name="T49" fmla="*/ 40 h 144"/>
                <a:gd name="T50" fmla="*/ 38 w 176"/>
                <a:gd name="T51" fmla="*/ 40 h 144"/>
                <a:gd name="T52" fmla="*/ 40 w 176"/>
                <a:gd name="T53" fmla="*/ 44 h 144"/>
                <a:gd name="T54" fmla="*/ 36 w 176"/>
                <a:gd name="T55" fmla="*/ 52 h 144"/>
                <a:gd name="T56" fmla="*/ 32 w 176"/>
                <a:gd name="T57" fmla="*/ 60 h 144"/>
                <a:gd name="T58" fmla="*/ 30 w 176"/>
                <a:gd name="T59" fmla="*/ 78 h 144"/>
                <a:gd name="T60" fmla="*/ 28 w 176"/>
                <a:gd name="T61" fmla="*/ 84 h 144"/>
                <a:gd name="T62" fmla="*/ 22 w 176"/>
                <a:gd name="T63" fmla="*/ 88 h 144"/>
                <a:gd name="T64" fmla="*/ 24 w 176"/>
                <a:gd name="T65" fmla="*/ 90 h 144"/>
                <a:gd name="T66" fmla="*/ 30 w 176"/>
                <a:gd name="T67" fmla="*/ 96 h 144"/>
                <a:gd name="T68" fmla="*/ 32 w 176"/>
                <a:gd name="T69" fmla="*/ 114 h 144"/>
                <a:gd name="T70" fmla="*/ 32 w 176"/>
                <a:gd name="T71" fmla="*/ 124 h 144"/>
                <a:gd name="T72" fmla="*/ 34 w 176"/>
                <a:gd name="T73" fmla="*/ 126 h 144"/>
                <a:gd name="T74" fmla="*/ 40 w 176"/>
                <a:gd name="T75" fmla="*/ 126 h 144"/>
                <a:gd name="T76" fmla="*/ 42 w 176"/>
                <a:gd name="T77" fmla="*/ 128 h 144"/>
                <a:gd name="T78" fmla="*/ 42 w 176"/>
                <a:gd name="T79" fmla="*/ 134 h 144"/>
                <a:gd name="T80" fmla="*/ 44 w 176"/>
                <a:gd name="T81" fmla="*/ 140 h 144"/>
                <a:gd name="T82" fmla="*/ 50 w 176"/>
                <a:gd name="T83" fmla="*/ 144 h 144"/>
                <a:gd name="T84" fmla="*/ 56 w 176"/>
                <a:gd name="T85" fmla="*/ 142 h 144"/>
                <a:gd name="T86" fmla="*/ 64 w 176"/>
                <a:gd name="T87" fmla="*/ 138 h 144"/>
                <a:gd name="T88" fmla="*/ 72 w 176"/>
                <a:gd name="T89" fmla="*/ 136 h 144"/>
                <a:gd name="T90" fmla="*/ 90 w 176"/>
                <a:gd name="T91" fmla="*/ 138 h 144"/>
                <a:gd name="T92" fmla="*/ 104 w 176"/>
                <a:gd name="T93" fmla="*/ 138 h 144"/>
                <a:gd name="T94" fmla="*/ 110 w 176"/>
                <a:gd name="T95" fmla="*/ 132 h 144"/>
                <a:gd name="T96" fmla="*/ 110 w 176"/>
                <a:gd name="T97" fmla="*/ 126 h 144"/>
                <a:gd name="T98" fmla="*/ 112 w 176"/>
                <a:gd name="T99" fmla="*/ 122 h 144"/>
                <a:gd name="T100" fmla="*/ 120 w 176"/>
                <a:gd name="T101" fmla="*/ 116 h 144"/>
                <a:gd name="T102" fmla="*/ 128 w 176"/>
                <a:gd name="T103" fmla="*/ 108 h 144"/>
                <a:gd name="T104" fmla="*/ 132 w 176"/>
                <a:gd name="T105" fmla="*/ 100 h 144"/>
                <a:gd name="T106" fmla="*/ 130 w 176"/>
                <a:gd name="T107" fmla="*/ 94 h 144"/>
                <a:gd name="T108" fmla="*/ 122 w 176"/>
                <a:gd name="T109" fmla="*/ 86 h 144"/>
                <a:gd name="T110" fmla="*/ 122 w 176"/>
                <a:gd name="T111" fmla="*/ 84 h 144"/>
                <a:gd name="T112" fmla="*/ 128 w 176"/>
                <a:gd name="T113" fmla="*/ 76 h 144"/>
                <a:gd name="T114" fmla="*/ 132 w 176"/>
                <a:gd name="T115" fmla="*/ 68 h 144"/>
                <a:gd name="T116" fmla="*/ 138 w 176"/>
                <a:gd name="T117" fmla="*/ 64 h 144"/>
                <a:gd name="T118" fmla="*/ 146 w 176"/>
                <a:gd name="T119" fmla="*/ 64 h 144"/>
                <a:gd name="T120" fmla="*/ 152 w 176"/>
                <a:gd name="T121" fmla="*/ 56 h 144"/>
                <a:gd name="T122" fmla="*/ 162 w 176"/>
                <a:gd name="T12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44">
                  <a:moveTo>
                    <a:pt x="176" y="30"/>
                  </a:moveTo>
                  <a:lnTo>
                    <a:pt x="176" y="30"/>
                  </a:lnTo>
                  <a:lnTo>
                    <a:pt x="174" y="30"/>
                  </a:lnTo>
                  <a:lnTo>
                    <a:pt x="170" y="30"/>
                  </a:lnTo>
                  <a:lnTo>
                    <a:pt x="166" y="30"/>
                  </a:lnTo>
                  <a:lnTo>
                    <a:pt x="160" y="30"/>
                  </a:lnTo>
                  <a:lnTo>
                    <a:pt x="156" y="32"/>
                  </a:lnTo>
                  <a:lnTo>
                    <a:pt x="154" y="32"/>
                  </a:lnTo>
                  <a:lnTo>
                    <a:pt x="152" y="30"/>
                  </a:lnTo>
                  <a:lnTo>
                    <a:pt x="150" y="30"/>
                  </a:lnTo>
                  <a:lnTo>
                    <a:pt x="150" y="30"/>
                  </a:lnTo>
                  <a:lnTo>
                    <a:pt x="148" y="30"/>
                  </a:lnTo>
                  <a:lnTo>
                    <a:pt x="148" y="30"/>
                  </a:lnTo>
                  <a:lnTo>
                    <a:pt x="146" y="28"/>
                  </a:lnTo>
                  <a:lnTo>
                    <a:pt x="146" y="28"/>
                  </a:lnTo>
                  <a:lnTo>
                    <a:pt x="144" y="26"/>
                  </a:lnTo>
                  <a:lnTo>
                    <a:pt x="142" y="24"/>
                  </a:lnTo>
                  <a:lnTo>
                    <a:pt x="140" y="22"/>
                  </a:lnTo>
                  <a:lnTo>
                    <a:pt x="138" y="22"/>
                  </a:lnTo>
                  <a:lnTo>
                    <a:pt x="138" y="22"/>
                  </a:lnTo>
                  <a:lnTo>
                    <a:pt x="136" y="22"/>
                  </a:lnTo>
                  <a:lnTo>
                    <a:pt x="134" y="20"/>
                  </a:lnTo>
                  <a:lnTo>
                    <a:pt x="132" y="20"/>
                  </a:lnTo>
                  <a:lnTo>
                    <a:pt x="128" y="20"/>
                  </a:lnTo>
                  <a:lnTo>
                    <a:pt x="124" y="20"/>
                  </a:lnTo>
                  <a:lnTo>
                    <a:pt x="120" y="20"/>
                  </a:lnTo>
                  <a:lnTo>
                    <a:pt x="118" y="20"/>
                  </a:lnTo>
                  <a:lnTo>
                    <a:pt x="116" y="20"/>
                  </a:lnTo>
                  <a:lnTo>
                    <a:pt x="114" y="20"/>
                  </a:lnTo>
                  <a:lnTo>
                    <a:pt x="108" y="18"/>
                  </a:lnTo>
                  <a:lnTo>
                    <a:pt x="100" y="14"/>
                  </a:lnTo>
                  <a:lnTo>
                    <a:pt x="98" y="14"/>
                  </a:lnTo>
                  <a:lnTo>
                    <a:pt x="94" y="12"/>
                  </a:lnTo>
                  <a:lnTo>
                    <a:pt x="88" y="10"/>
                  </a:lnTo>
                  <a:lnTo>
                    <a:pt x="86" y="8"/>
                  </a:lnTo>
                  <a:lnTo>
                    <a:pt x="84" y="8"/>
                  </a:lnTo>
                  <a:lnTo>
                    <a:pt x="80" y="6"/>
                  </a:lnTo>
                  <a:lnTo>
                    <a:pt x="80" y="6"/>
                  </a:lnTo>
                  <a:lnTo>
                    <a:pt x="78" y="6"/>
                  </a:lnTo>
                  <a:lnTo>
                    <a:pt x="76" y="6"/>
                  </a:lnTo>
                  <a:lnTo>
                    <a:pt x="76" y="6"/>
                  </a:lnTo>
                  <a:lnTo>
                    <a:pt x="72" y="8"/>
                  </a:lnTo>
                  <a:lnTo>
                    <a:pt x="70" y="10"/>
                  </a:lnTo>
                  <a:lnTo>
                    <a:pt x="68" y="10"/>
                  </a:lnTo>
                  <a:lnTo>
                    <a:pt x="66" y="10"/>
                  </a:lnTo>
                  <a:lnTo>
                    <a:pt x="66" y="10"/>
                  </a:lnTo>
                  <a:lnTo>
                    <a:pt x="66" y="10"/>
                  </a:lnTo>
                  <a:lnTo>
                    <a:pt x="64" y="10"/>
                  </a:lnTo>
                  <a:lnTo>
                    <a:pt x="64" y="10"/>
                  </a:lnTo>
                  <a:lnTo>
                    <a:pt x="62" y="8"/>
                  </a:lnTo>
                  <a:lnTo>
                    <a:pt x="60" y="8"/>
                  </a:lnTo>
                  <a:lnTo>
                    <a:pt x="58" y="6"/>
                  </a:lnTo>
                  <a:lnTo>
                    <a:pt x="56" y="4"/>
                  </a:lnTo>
                  <a:lnTo>
                    <a:pt x="56" y="4"/>
                  </a:lnTo>
                  <a:lnTo>
                    <a:pt x="50" y="2"/>
                  </a:lnTo>
                  <a:lnTo>
                    <a:pt x="44" y="2"/>
                  </a:lnTo>
                  <a:lnTo>
                    <a:pt x="40" y="0"/>
                  </a:lnTo>
                  <a:lnTo>
                    <a:pt x="36" y="0"/>
                  </a:lnTo>
                  <a:lnTo>
                    <a:pt x="32" y="0"/>
                  </a:lnTo>
                  <a:lnTo>
                    <a:pt x="28" y="0"/>
                  </a:lnTo>
                  <a:lnTo>
                    <a:pt x="26" y="0"/>
                  </a:lnTo>
                  <a:lnTo>
                    <a:pt x="22" y="0"/>
                  </a:lnTo>
                  <a:lnTo>
                    <a:pt x="18" y="0"/>
                  </a:lnTo>
                  <a:lnTo>
                    <a:pt x="14" y="0"/>
                  </a:lnTo>
                  <a:lnTo>
                    <a:pt x="12" y="2"/>
                  </a:lnTo>
                  <a:lnTo>
                    <a:pt x="10" y="2"/>
                  </a:lnTo>
                  <a:lnTo>
                    <a:pt x="10" y="2"/>
                  </a:lnTo>
                  <a:lnTo>
                    <a:pt x="8" y="2"/>
                  </a:lnTo>
                  <a:lnTo>
                    <a:pt x="8" y="4"/>
                  </a:lnTo>
                  <a:lnTo>
                    <a:pt x="6" y="4"/>
                  </a:lnTo>
                  <a:lnTo>
                    <a:pt x="6" y="6"/>
                  </a:lnTo>
                  <a:lnTo>
                    <a:pt x="6" y="6"/>
                  </a:lnTo>
                  <a:lnTo>
                    <a:pt x="6" y="6"/>
                  </a:lnTo>
                  <a:lnTo>
                    <a:pt x="6" y="6"/>
                  </a:lnTo>
                  <a:lnTo>
                    <a:pt x="6" y="8"/>
                  </a:lnTo>
                  <a:lnTo>
                    <a:pt x="8" y="8"/>
                  </a:lnTo>
                  <a:lnTo>
                    <a:pt x="8" y="10"/>
                  </a:lnTo>
                  <a:lnTo>
                    <a:pt x="8" y="12"/>
                  </a:lnTo>
                  <a:lnTo>
                    <a:pt x="8" y="12"/>
                  </a:lnTo>
                  <a:lnTo>
                    <a:pt x="8" y="12"/>
                  </a:lnTo>
                  <a:lnTo>
                    <a:pt x="8" y="12"/>
                  </a:lnTo>
                  <a:lnTo>
                    <a:pt x="8" y="12"/>
                  </a:lnTo>
                  <a:lnTo>
                    <a:pt x="8" y="14"/>
                  </a:lnTo>
                  <a:lnTo>
                    <a:pt x="8" y="14"/>
                  </a:lnTo>
                  <a:lnTo>
                    <a:pt x="6" y="14"/>
                  </a:lnTo>
                  <a:lnTo>
                    <a:pt x="4" y="14"/>
                  </a:lnTo>
                  <a:lnTo>
                    <a:pt x="4" y="14"/>
                  </a:lnTo>
                  <a:lnTo>
                    <a:pt x="2" y="14"/>
                  </a:lnTo>
                  <a:lnTo>
                    <a:pt x="2" y="14"/>
                  </a:lnTo>
                  <a:lnTo>
                    <a:pt x="2" y="16"/>
                  </a:lnTo>
                  <a:lnTo>
                    <a:pt x="0" y="16"/>
                  </a:lnTo>
                  <a:lnTo>
                    <a:pt x="0" y="16"/>
                  </a:lnTo>
                  <a:lnTo>
                    <a:pt x="0" y="16"/>
                  </a:lnTo>
                  <a:lnTo>
                    <a:pt x="0" y="18"/>
                  </a:lnTo>
                  <a:lnTo>
                    <a:pt x="0" y="20"/>
                  </a:lnTo>
                  <a:lnTo>
                    <a:pt x="0" y="20"/>
                  </a:lnTo>
                  <a:lnTo>
                    <a:pt x="0" y="22"/>
                  </a:lnTo>
                  <a:lnTo>
                    <a:pt x="2" y="24"/>
                  </a:lnTo>
                  <a:lnTo>
                    <a:pt x="2" y="26"/>
                  </a:lnTo>
                  <a:lnTo>
                    <a:pt x="2" y="26"/>
                  </a:lnTo>
                  <a:lnTo>
                    <a:pt x="2" y="28"/>
                  </a:lnTo>
                  <a:lnTo>
                    <a:pt x="4" y="28"/>
                  </a:lnTo>
                  <a:lnTo>
                    <a:pt x="6" y="32"/>
                  </a:lnTo>
                  <a:lnTo>
                    <a:pt x="8" y="34"/>
                  </a:lnTo>
                  <a:lnTo>
                    <a:pt x="10" y="34"/>
                  </a:lnTo>
                  <a:lnTo>
                    <a:pt x="10" y="36"/>
                  </a:lnTo>
                  <a:lnTo>
                    <a:pt x="10" y="38"/>
                  </a:lnTo>
                  <a:lnTo>
                    <a:pt x="10" y="40"/>
                  </a:lnTo>
                  <a:lnTo>
                    <a:pt x="12" y="42"/>
                  </a:lnTo>
                  <a:lnTo>
                    <a:pt x="12" y="44"/>
                  </a:lnTo>
                  <a:lnTo>
                    <a:pt x="12" y="44"/>
                  </a:lnTo>
                  <a:lnTo>
                    <a:pt x="12" y="44"/>
                  </a:lnTo>
                  <a:lnTo>
                    <a:pt x="12" y="44"/>
                  </a:lnTo>
                  <a:lnTo>
                    <a:pt x="14" y="44"/>
                  </a:lnTo>
                  <a:lnTo>
                    <a:pt x="16" y="46"/>
                  </a:lnTo>
                  <a:lnTo>
                    <a:pt x="18" y="44"/>
                  </a:lnTo>
                  <a:lnTo>
                    <a:pt x="20" y="44"/>
                  </a:lnTo>
                  <a:lnTo>
                    <a:pt x="24" y="44"/>
                  </a:lnTo>
                  <a:lnTo>
                    <a:pt x="26" y="42"/>
                  </a:lnTo>
                  <a:lnTo>
                    <a:pt x="28" y="42"/>
                  </a:lnTo>
                  <a:lnTo>
                    <a:pt x="28" y="42"/>
                  </a:lnTo>
                  <a:lnTo>
                    <a:pt x="32" y="40"/>
                  </a:lnTo>
                  <a:lnTo>
                    <a:pt x="32" y="40"/>
                  </a:lnTo>
                  <a:lnTo>
                    <a:pt x="34" y="40"/>
                  </a:lnTo>
                  <a:lnTo>
                    <a:pt x="36" y="40"/>
                  </a:lnTo>
                  <a:lnTo>
                    <a:pt x="36" y="40"/>
                  </a:lnTo>
                  <a:lnTo>
                    <a:pt x="36" y="40"/>
                  </a:lnTo>
                  <a:lnTo>
                    <a:pt x="36" y="40"/>
                  </a:lnTo>
                  <a:lnTo>
                    <a:pt x="38" y="40"/>
                  </a:lnTo>
                  <a:lnTo>
                    <a:pt x="38" y="40"/>
                  </a:lnTo>
                  <a:lnTo>
                    <a:pt x="38" y="42"/>
                  </a:lnTo>
                  <a:lnTo>
                    <a:pt x="40" y="42"/>
                  </a:lnTo>
                  <a:lnTo>
                    <a:pt x="40" y="44"/>
                  </a:lnTo>
                  <a:lnTo>
                    <a:pt x="40" y="44"/>
                  </a:lnTo>
                  <a:lnTo>
                    <a:pt x="40" y="44"/>
                  </a:lnTo>
                  <a:lnTo>
                    <a:pt x="40" y="46"/>
                  </a:lnTo>
                  <a:lnTo>
                    <a:pt x="40" y="46"/>
                  </a:lnTo>
                  <a:lnTo>
                    <a:pt x="38" y="50"/>
                  </a:lnTo>
                  <a:lnTo>
                    <a:pt x="36" y="50"/>
                  </a:lnTo>
                  <a:lnTo>
                    <a:pt x="36" y="52"/>
                  </a:lnTo>
                  <a:lnTo>
                    <a:pt x="34" y="54"/>
                  </a:lnTo>
                  <a:lnTo>
                    <a:pt x="34" y="54"/>
                  </a:lnTo>
                  <a:lnTo>
                    <a:pt x="34" y="56"/>
                  </a:lnTo>
                  <a:lnTo>
                    <a:pt x="32" y="56"/>
                  </a:lnTo>
                  <a:lnTo>
                    <a:pt x="32" y="60"/>
                  </a:lnTo>
                  <a:lnTo>
                    <a:pt x="32" y="64"/>
                  </a:lnTo>
                  <a:lnTo>
                    <a:pt x="32" y="68"/>
                  </a:lnTo>
                  <a:lnTo>
                    <a:pt x="30" y="72"/>
                  </a:lnTo>
                  <a:lnTo>
                    <a:pt x="30" y="76"/>
                  </a:lnTo>
                  <a:lnTo>
                    <a:pt x="30" y="78"/>
                  </a:lnTo>
                  <a:lnTo>
                    <a:pt x="30" y="80"/>
                  </a:lnTo>
                  <a:lnTo>
                    <a:pt x="30" y="80"/>
                  </a:lnTo>
                  <a:lnTo>
                    <a:pt x="28" y="82"/>
                  </a:lnTo>
                  <a:lnTo>
                    <a:pt x="28" y="82"/>
                  </a:lnTo>
                  <a:lnTo>
                    <a:pt x="28" y="84"/>
                  </a:lnTo>
                  <a:lnTo>
                    <a:pt x="26" y="84"/>
                  </a:lnTo>
                  <a:lnTo>
                    <a:pt x="24" y="86"/>
                  </a:lnTo>
                  <a:lnTo>
                    <a:pt x="24" y="86"/>
                  </a:lnTo>
                  <a:lnTo>
                    <a:pt x="22" y="88"/>
                  </a:lnTo>
                  <a:lnTo>
                    <a:pt x="22" y="88"/>
                  </a:lnTo>
                  <a:lnTo>
                    <a:pt x="22" y="88"/>
                  </a:lnTo>
                  <a:lnTo>
                    <a:pt x="22" y="88"/>
                  </a:lnTo>
                  <a:lnTo>
                    <a:pt x="22" y="90"/>
                  </a:lnTo>
                  <a:lnTo>
                    <a:pt x="24" y="90"/>
                  </a:lnTo>
                  <a:lnTo>
                    <a:pt x="24" y="90"/>
                  </a:lnTo>
                  <a:lnTo>
                    <a:pt x="26" y="92"/>
                  </a:lnTo>
                  <a:lnTo>
                    <a:pt x="28" y="92"/>
                  </a:lnTo>
                  <a:lnTo>
                    <a:pt x="30" y="94"/>
                  </a:lnTo>
                  <a:lnTo>
                    <a:pt x="30" y="94"/>
                  </a:lnTo>
                  <a:lnTo>
                    <a:pt x="30" y="96"/>
                  </a:lnTo>
                  <a:lnTo>
                    <a:pt x="30" y="96"/>
                  </a:lnTo>
                  <a:lnTo>
                    <a:pt x="32" y="100"/>
                  </a:lnTo>
                  <a:lnTo>
                    <a:pt x="32" y="104"/>
                  </a:lnTo>
                  <a:lnTo>
                    <a:pt x="32" y="106"/>
                  </a:lnTo>
                  <a:lnTo>
                    <a:pt x="32" y="114"/>
                  </a:lnTo>
                  <a:lnTo>
                    <a:pt x="32" y="116"/>
                  </a:lnTo>
                  <a:lnTo>
                    <a:pt x="32" y="118"/>
                  </a:lnTo>
                  <a:lnTo>
                    <a:pt x="32" y="120"/>
                  </a:lnTo>
                  <a:lnTo>
                    <a:pt x="32" y="122"/>
                  </a:lnTo>
                  <a:lnTo>
                    <a:pt x="32" y="124"/>
                  </a:lnTo>
                  <a:lnTo>
                    <a:pt x="32" y="124"/>
                  </a:lnTo>
                  <a:lnTo>
                    <a:pt x="32" y="126"/>
                  </a:lnTo>
                  <a:lnTo>
                    <a:pt x="32" y="126"/>
                  </a:lnTo>
                  <a:lnTo>
                    <a:pt x="32" y="126"/>
                  </a:lnTo>
                  <a:lnTo>
                    <a:pt x="34" y="126"/>
                  </a:lnTo>
                  <a:lnTo>
                    <a:pt x="34" y="126"/>
                  </a:lnTo>
                  <a:lnTo>
                    <a:pt x="36" y="126"/>
                  </a:lnTo>
                  <a:lnTo>
                    <a:pt x="36" y="126"/>
                  </a:lnTo>
                  <a:lnTo>
                    <a:pt x="38" y="126"/>
                  </a:lnTo>
                  <a:lnTo>
                    <a:pt x="40" y="126"/>
                  </a:lnTo>
                  <a:lnTo>
                    <a:pt x="40" y="126"/>
                  </a:lnTo>
                  <a:lnTo>
                    <a:pt x="42" y="126"/>
                  </a:lnTo>
                  <a:lnTo>
                    <a:pt x="42" y="128"/>
                  </a:lnTo>
                  <a:lnTo>
                    <a:pt x="42" y="128"/>
                  </a:lnTo>
                  <a:lnTo>
                    <a:pt x="42" y="128"/>
                  </a:lnTo>
                  <a:lnTo>
                    <a:pt x="42" y="130"/>
                  </a:lnTo>
                  <a:lnTo>
                    <a:pt x="42" y="130"/>
                  </a:lnTo>
                  <a:lnTo>
                    <a:pt x="42" y="132"/>
                  </a:lnTo>
                  <a:lnTo>
                    <a:pt x="42" y="134"/>
                  </a:lnTo>
                  <a:lnTo>
                    <a:pt x="42" y="134"/>
                  </a:lnTo>
                  <a:lnTo>
                    <a:pt x="42" y="136"/>
                  </a:lnTo>
                  <a:lnTo>
                    <a:pt x="42" y="136"/>
                  </a:lnTo>
                  <a:lnTo>
                    <a:pt x="42" y="138"/>
                  </a:lnTo>
                  <a:lnTo>
                    <a:pt x="42" y="138"/>
                  </a:lnTo>
                  <a:lnTo>
                    <a:pt x="44" y="140"/>
                  </a:lnTo>
                  <a:lnTo>
                    <a:pt x="44" y="140"/>
                  </a:lnTo>
                  <a:lnTo>
                    <a:pt x="46" y="142"/>
                  </a:lnTo>
                  <a:lnTo>
                    <a:pt x="48" y="142"/>
                  </a:lnTo>
                  <a:lnTo>
                    <a:pt x="48" y="142"/>
                  </a:lnTo>
                  <a:lnTo>
                    <a:pt x="50" y="144"/>
                  </a:lnTo>
                  <a:lnTo>
                    <a:pt x="52" y="144"/>
                  </a:lnTo>
                  <a:lnTo>
                    <a:pt x="52" y="144"/>
                  </a:lnTo>
                  <a:lnTo>
                    <a:pt x="54" y="144"/>
                  </a:lnTo>
                  <a:lnTo>
                    <a:pt x="56" y="144"/>
                  </a:lnTo>
                  <a:lnTo>
                    <a:pt x="56" y="142"/>
                  </a:lnTo>
                  <a:lnTo>
                    <a:pt x="60" y="142"/>
                  </a:lnTo>
                  <a:lnTo>
                    <a:pt x="62" y="140"/>
                  </a:lnTo>
                  <a:lnTo>
                    <a:pt x="62" y="140"/>
                  </a:lnTo>
                  <a:lnTo>
                    <a:pt x="64" y="140"/>
                  </a:lnTo>
                  <a:lnTo>
                    <a:pt x="64" y="138"/>
                  </a:lnTo>
                  <a:lnTo>
                    <a:pt x="66" y="136"/>
                  </a:lnTo>
                  <a:lnTo>
                    <a:pt x="68" y="136"/>
                  </a:lnTo>
                  <a:lnTo>
                    <a:pt x="68" y="136"/>
                  </a:lnTo>
                  <a:lnTo>
                    <a:pt x="70" y="136"/>
                  </a:lnTo>
                  <a:lnTo>
                    <a:pt x="72" y="136"/>
                  </a:lnTo>
                  <a:lnTo>
                    <a:pt x="74" y="136"/>
                  </a:lnTo>
                  <a:lnTo>
                    <a:pt x="76" y="136"/>
                  </a:lnTo>
                  <a:lnTo>
                    <a:pt x="80" y="136"/>
                  </a:lnTo>
                  <a:lnTo>
                    <a:pt x="86" y="136"/>
                  </a:lnTo>
                  <a:lnTo>
                    <a:pt x="90" y="138"/>
                  </a:lnTo>
                  <a:lnTo>
                    <a:pt x="96" y="138"/>
                  </a:lnTo>
                  <a:lnTo>
                    <a:pt x="98" y="138"/>
                  </a:lnTo>
                  <a:lnTo>
                    <a:pt x="100" y="138"/>
                  </a:lnTo>
                  <a:lnTo>
                    <a:pt x="102" y="138"/>
                  </a:lnTo>
                  <a:lnTo>
                    <a:pt x="104" y="138"/>
                  </a:lnTo>
                  <a:lnTo>
                    <a:pt x="104" y="136"/>
                  </a:lnTo>
                  <a:lnTo>
                    <a:pt x="106" y="136"/>
                  </a:lnTo>
                  <a:lnTo>
                    <a:pt x="108" y="134"/>
                  </a:lnTo>
                  <a:lnTo>
                    <a:pt x="108" y="134"/>
                  </a:lnTo>
                  <a:lnTo>
                    <a:pt x="110" y="132"/>
                  </a:lnTo>
                  <a:lnTo>
                    <a:pt x="110" y="132"/>
                  </a:lnTo>
                  <a:lnTo>
                    <a:pt x="110" y="130"/>
                  </a:lnTo>
                  <a:lnTo>
                    <a:pt x="112" y="130"/>
                  </a:lnTo>
                  <a:lnTo>
                    <a:pt x="112" y="128"/>
                  </a:lnTo>
                  <a:lnTo>
                    <a:pt x="110" y="126"/>
                  </a:lnTo>
                  <a:lnTo>
                    <a:pt x="110" y="124"/>
                  </a:lnTo>
                  <a:lnTo>
                    <a:pt x="110" y="124"/>
                  </a:lnTo>
                  <a:lnTo>
                    <a:pt x="110" y="122"/>
                  </a:lnTo>
                  <a:lnTo>
                    <a:pt x="112" y="122"/>
                  </a:lnTo>
                  <a:lnTo>
                    <a:pt x="112" y="122"/>
                  </a:lnTo>
                  <a:lnTo>
                    <a:pt x="112" y="120"/>
                  </a:lnTo>
                  <a:lnTo>
                    <a:pt x="114" y="120"/>
                  </a:lnTo>
                  <a:lnTo>
                    <a:pt x="116" y="118"/>
                  </a:lnTo>
                  <a:lnTo>
                    <a:pt x="118" y="118"/>
                  </a:lnTo>
                  <a:lnTo>
                    <a:pt x="120" y="116"/>
                  </a:lnTo>
                  <a:lnTo>
                    <a:pt x="122" y="116"/>
                  </a:lnTo>
                  <a:lnTo>
                    <a:pt x="124" y="114"/>
                  </a:lnTo>
                  <a:lnTo>
                    <a:pt x="126" y="112"/>
                  </a:lnTo>
                  <a:lnTo>
                    <a:pt x="128" y="110"/>
                  </a:lnTo>
                  <a:lnTo>
                    <a:pt x="128" y="108"/>
                  </a:lnTo>
                  <a:lnTo>
                    <a:pt x="128" y="106"/>
                  </a:lnTo>
                  <a:lnTo>
                    <a:pt x="130" y="104"/>
                  </a:lnTo>
                  <a:lnTo>
                    <a:pt x="130" y="102"/>
                  </a:lnTo>
                  <a:lnTo>
                    <a:pt x="130" y="100"/>
                  </a:lnTo>
                  <a:lnTo>
                    <a:pt x="132" y="100"/>
                  </a:lnTo>
                  <a:lnTo>
                    <a:pt x="132" y="98"/>
                  </a:lnTo>
                  <a:lnTo>
                    <a:pt x="132" y="96"/>
                  </a:lnTo>
                  <a:lnTo>
                    <a:pt x="130" y="96"/>
                  </a:lnTo>
                  <a:lnTo>
                    <a:pt x="130" y="96"/>
                  </a:lnTo>
                  <a:lnTo>
                    <a:pt x="130" y="94"/>
                  </a:lnTo>
                  <a:lnTo>
                    <a:pt x="128" y="92"/>
                  </a:lnTo>
                  <a:lnTo>
                    <a:pt x="126" y="90"/>
                  </a:lnTo>
                  <a:lnTo>
                    <a:pt x="124" y="90"/>
                  </a:lnTo>
                  <a:lnTo>
                    <a:pt x="122" y="88"/>
                  </a:lnTo>
                  <a:lnTo>
                    <a:pt x="122" y="86"/>
                  </a:lnTo>
                  <a:lnTo>
                    <a:pt x="122" y="86"/>
                  </a:lnTo>
                  <a:lnTo>
                    <a:pt x="122" y="86"/>
                  </a:lnTo>
                  <a:lnTo>
                    <a:pt x="122" y="84"/>
                  </a:lnTo>
                  <a:lnTo>
                    <a:pt x="122" y="84"/>
                  </a:lnTo>
                  <a:lnTo>
                    <a:pt x="122" y="84"/>
                  </a:lnTo>
                  <a:lnTo>
                    <a:pt x="122" y="82"/>
                  </a:lnTo>
                  <a:lnTo>
                    <a:pt x="124" y="80"/>
                  </a:lnTo>
                  <a:lnTo>
                    <a:pt x="124" y="80"/>
                  </a:lnTo>
                  <a:lnTo>
                    <a:pt x="126" y="78"/>
                  </a:lnTo>
                  <a:lnTo>
                    <a:pt x="128" y="76"/>
                  </a:lnTo>
                  <a:lnTo>
                    <a:pt x="128" y="76"/>
                  </a:lnTo>
                  <a:lnTo>
                    <a:pt x="130" y="74"/>
                  </a:lnTo>
                  <a:lnTo>
                    <a:pt x="130" y="74"/>
                  </a:lnTo>
                  <a:lnTo>
                    <a:pt x="132" y="70"/>
                  </a:lnTo>
                  <a:lnTo>
                    <a:pt x="132" y="68"/>
                  </a:lnTo>
                  <a:lnTo>
                    <a:pt x="134" y="68"/>
                  </a:lnTo>
                  <a:lnTo>
                    <a:pt x="134" y="66"/>
                  </a:lnTo>
                  <a:lnTo>
                    <a:pt x="136" y="66"/>
                  </a:lnTo>
                  <a:lnTo>
                    <a:pt x="136" y="64"/>
                  </a:lnTo>
                  <a:lnTo>
                    <a:pt x="138" y="64"/>
                  </a:lnTo>
                  <a:lnTo>
                    <a:pt x="140" y="64"/>
                  </a:lnTo>
                  <a:lnTo>
                    <a:pt x="140" y="64"/>
                  </a:lnTo>
                  <a:lnTo>
                    <a:pt x="144" y="64"/>
                  </a:lnTo>
                  <a:lnTo>
                    <a:pt x="146" y="64"/>
                  </a:lnTo>
                  <a:lnTo>
                    <a:pt x="146" y="64"/>
                  </a:lnTo>
                  <a:lnTo>
                    <a:pt x="148" y="62"/>
                  </a:lnTo>
                  <a:lnTo>
                    <a:pt x="148" y="62"/>
                  </a:lnTo>
                  <a:lnTo>
                    <a:pt x="150" y="60"/>
                  </a:lnTo>
                  <a:lnTo>
                    <a:pt x="150" y="58"/>
                  </a:lnTo>
                  <a:lnTo>
                    <a:pt x="152" y="56"/>
                  </a:lnTo>
                  <a:lnTo>
                    <a:pt x="156" y="52"/>
                  </a:lnTo>
                  <a:lnTo>
                    <a:pt x="156" y="50"/>
                  </a:lnTo>
                  <a:lnTo>
                    <a:pt x="158" y="48"/>
                  </a:lnTo>
                  <a:lnTo>
                    <a:pt x="160" y="46"/>
                  </a:lnTo>
                  <a:lnTo>
                    <a:pt x="162" y="44"/>
                  </a:lnTo>
                  <a:lnTo>
                    <a:pt x="166" y="40"/>
                  </a:lnTo>
                  <a:lnTo>
                    <a:pt x="176" y="3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3" name="Freeform 281">
              <a:extLst>
                <a:ext uri="{FF2B5EF4-FFF2-40B4-BE49-F238E27FC236}">
                  <a16:creationId xmlns:a16="http://schemas.microsoft.com/office/drawing/2014/main" id="{EB53952D-DE5E-4937-98E2-A3EB252D8FA7}"/>
                </a:ext>
              </a:extLst>
            </p:cNvPr>
            <p:cNvSpPr>
              <a:spLocks/>
            </p:cNvSpPr>
            <p:nvPr/>
          </p:nvSpPr>
          <p:spPr bwMode="auto">
            <a:xfrm>
              <a:off x="4026721" y="3381796"/>
              <a:ext cx="86604" cy="166279"/>
            </a:xfrm>
            <a:custGeom>
              <a:avLst/>
              <a:gdLst>
                <a:gd name="T0" fmla="*/ 42 w 50"/>
                <a:gd name="T1" fmla="*/ 80 h 96"/>
                <a:gd name="T2" fmla="*/ 42 w 50"/>
                <a:gd name="T3" fmla="*/ 66 h 96"/>
                <a:gd name="T4" fmla="*/ 40 w 50"/>
                <a:gd name="T5" fmla="*/ 62 h 96"/>
                <a:gd name="T6" fmla="*/ 36 w 50"/>
                <a:gd name="T7" fmla="*/ 58 h 96"/>
                <a:gd name="T8" fmla="*/ 34 w 50"/>
                <a:gd name="T9" fmla="*/ 56 h 96"/>
                <a:gd name="T10" fmla="*/ 34 w 50"/>
                <a:gd name="T11" fmla="*/ 54 h 96"/>
                <a:gd name="T12" fmla="*/ 34 w 50"/>
                <a:gd name="T13" fmla="*/ 52 h 96"/>
                <a:gd name="T14" fmla="*/ 38 w 50"/>
                <a:gd name="T15" fmla="*/ 50 h 96"/>
                <a:gd name="T16" fmla="*/ 40 w 50"/>
                <a:gd name="T17" fmla="*/ 46 h 96"/>
                <a:gd name="T18" fmla="*/ 42 w 50"/>
                <a:gd name="T19" fmla="*/ 38 h 96"/>
                <a:gd name="T20" fmla="*/ 42 w 50"/>
                <a:gd name="T21" fmla="*/ 26 h 96"/>
                <a:gd name="T22" fmla="*/ 44 w 50"/>
                <a:gd name="T23" fmla="*/ 20 h 96"/>
                <a:gd name="T24" fmla="*/ 48 w 50"/>
                <a:gd name="T25" fmla="*/ 16 h 96"/>
                <a:gd name="T26" fmla="*/ 50 w 50"/>
                <a:gd name="T27" fmla="*/ 12 h 96"/>
                <a:gd name="T28" fmla="*/ 50 w 50"/>
                <a:gd name="T29" fmla="*/ 10 h 96"/>
                <a:gd name="T30" fmla="*/ 48 w 50"/>
                <a:gd name="T31" fmla="*/ 6 h 96"/>
                <a:gd name="T32" fmla="*/ 48 w 50"/>
                <a:gd name="T33" fmla="*/ 6 h 96"/>
                <a:gd name="T34" fmla="*/ 44 w 50"/>
                <a:gd name="T35" fmla="*/ 6 h 96"/>
                <a:gd name="T36" fmla="*/ 40 w 50"/>
                <a:gd name="T37" fmla="*/ 8 h 96"/>
                <a:gd name="T38" fmla="*/ 34 w 50"/>
                <a:gd name="T39" fmla="*/ 10 h 96"/>
                <a:gd name="T40" fmla="*/ 26 w 50"/>
                <a:gd name="T41" fmla="*/ 12 h 96"/>
                <a:gd name="T42" fmla="*/ 24 w 50"/>
                <a:gd name="T43" fmla="*/ 10 h 96"/>
                <a:gd name="T44" fmla="*/ 22 w 50"/>
                <a:gd name="T45" fmla="*/ 8 h 96"/>
                <a:gd name="T46" fmla="*/ 20 w 50"/>
                <a:gd name="T47" fmla="*/ 2 h 96"/>
                <a:gd name="T48" fmla="*/ 16 w 50"/>
                <a:gd name="T49" fmla="*/ 10 h 96"/>
                <a:gd name="T50" fmla="*/ 14 w 50"/>
                <a:gd name="T51" fmla="*/ 14 h 96"/>
                <a:gd name="T52" fmla="*/ 14 w 50"/>
                <a:gd name="T53" fmla="*/ 24 h 96"/>
                <a:gd name="T54" fmla="*/ 14 w 50"/>
                <a:gd name="T55" fmla="*/ 28 h 96"/>
                <a:gd name="T56" fmla="*/ 16 w 50"/>
                <a:gd name="T57" fmla="*/ 34 h 96"/>
                <a:gd name="T58" fmla="*/ 16 w 50"/>
                <a:gd name="T59" fmla="*/ 36 h 96"/>
                <a:gd name="T60" fmla="*/ 14 w 50"/>
                <a:gd name="T61" fmla="*/ 40 h 96"/>
                <a:gd name="T62" fmla="*/ 10 w 50"/>
                <a:gd name="T63" fmla="*/ 46 h 96"/>
                <a:gd name="T64" fmla="*/ 4 w 50"/>
                <a:gd name="T65" fmla="*/ 48 h 96"/>
                <a:gd name="T66" fmla="*/ 2 w 50"/>
                <a:gd name="T67" fmla="*/ 52 h 96"/>
                <a:gd name="T68" fmla="*/ 0 w 50"/>
                <a:gd name="T69" fmla="*/ 56 h 96"/>
                <a:gd name="T70" fmla="*/ 0 w 50"/>
                <a:gd name="T71" fmla="*/ 64 h 96"/>
                <a:gd name="T72" fmla="*/ 0 w 50"/>
                <a:gd name="T73" fmla="*/ 66 h 96"/>
                <a:gd name="T74" fmla="*/ 2 w 50"/>
                <a:gd name="T75" fmla="*/ 68 h 96"/>
                <a:gd name="T76" fmla="*/ 6 w 50"/>
                <a:gd name="T77" fmla="*/ 70 h 96"/>
                <a:gd name="T78" fmla="*/ 10 w 50"/>
                <a:gd name="T79" fmla="*/ 70 h 96"/>
                <a:gd name="T80" fmla="*/ 12 w 50"/>
                <a:gd name="T81" fmla="*/ 74 h 96"/>
                <a:gd name="T82" fmla="*/ 12 w 50"/>
                <a:gd name="T83" fmla="*/ 80 h 96"/>
                <a:gd name="T84" fmla="*/ 12 w 50"/>
                <a:gd name="T85" fmla="*/ 86 h 96"/>
                <a:gd name="T86" fmla="*/ 12 w 50"/>
                <a:gd name="T87" fmla="*/ 90 h 96"/>
                <a:gd name="T88" fmla="*/ 14 w 50"/>
                <a:gd name="T89" fmla="*/ 94 h 96"/>
                <a:gd name="T90" fmla="*/ 20 w 50"/>
                <a:gd name="T91" fmla="*/ 94 h 96"/>
                <a:gd name="T92" fmla="*/ 28 w 50"/>
                <a:gd name="T93" fmla="*/ 96 h 96"/>
                <a:gd name="T94" fmla="*/ 34 w 50"/>
                <a:gd name="T95" fmla="*/ 96 h 96"/>
                <a:gd name="T96" fmla="*/ 36 w 50"/>
                <a:gd name="T97" fmla="*/ 94 h 96"/>
                <a:gd name="T98" fmla="*/ 40 w 50"/>
                <a:gd name="T99"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0" h="96">
                  <a:moveTo>
                    <a:pt x="42" y="82"/>
                  </a:moveTo>
                  <a:lnTo>
                    <a:pt x="42" y="82"/>
                  </a:lnTo>
                  <a:lnTo>
                    <a:pt x="42" y="80"/>
                  </a:lnTo>
                  <a:lnTo>
                    <a:pt x="42" y="74"/>
                  </a:lnTo>
                  <a:lnTo>
                    <a:pt x="42" y="70"/>
                  </a:lnTo>
                  <a:lnTo>
                    <a:pt x="42" y="66"/>
                  </a:lnTo>
                  <a:lnTo>
                    <a:pt x="42" y="64"/>
                  </a:lnTo>
                  <a:lnTo>
                    <a:pt x="42" y="62"/>
                  </a:lnTo>
                  <a:lnTo>
                    <a:pt x="40" y="62"/>
                  </a:lnTo>
                  <a:lnTo>
                    <a:pt x="40" y="60"/>
                  </a:lnTo>
                  <a:lnTo>
                    <a:pt x="40" y="60"/>
                  </a:lnTo>
                  <a:lnTo>
                    <a:pt x="36" y="58"/>
                  </a:lnTo>
                  <a:lnTo>
                    <a:pt x="36" y="58"/>
                  </a:lnTo>
                  <a:lnTo>
                    <a:pt x="34" y="56"/>
                  </a:lnTo>
                  <a:lnTo>
                    <a:pt x="34" y="56"/>
                  </a:lnTo>
                  <a:lnTo>
                    <a:pt x="34" y="56"/>
                  </a:lnTo>
                  <a:lnTo>
                    <a:pt x="34" y="54"/>
                  </a:lnTo>
                  <a:lnTo>
                    <a:pt x="34" y="54"/>
                  </a:lnTo>
                  <a:lnTo>
                    <a:pt x="34" y="54"/>
                  </a:lnTo>
                  <a:lnTo>
                    <a:pt x="34" y="54"/>
                  </a:lnTo>
                  <a:lnTo>
                    <a:pt x="34" y="52"/>
                  </a:lnTo>
                  <a:lnTo>
                    <a:pt x="36" y="52"/>
                  </a:lnTo>
                  <a:lnTo>
                    <a:pt x="38" y="50"/>
                  </a:lnTo>
                  <a:lnTo>
                    <a:pt x="38" y="50"/>
                  </a:lnTo>
                  <a:lnTo>
                    <a:pt x="40" y="48"/>
                  </a:lnTo>
                  <a:lnTo>
                    <a:pt x="40" y="48"/>
                  </a:lnTo>
                  <a:lnTo>
                    <a:pt x="40" y="46"/>
                  </a:lnTo>
                  <a:lnTo>
                    <a:pt x="40" y="44"/>
                  </a:lnTo>
                  <a:lnTo>
                    <a:pt x="42" y="42"/>
                  </a:lnTo>
                  <a:lnTo>
                    <a:pt x="42" y="38"/>
                  </a:lnTo>
                  <a:lnTo>
                    <a:pt x="42" y="34"/>
                  </a:lnTo>
                  <a:lnTo>
                    <a:pt x="42" y="30"/>
                  </a:lnTo>
                  <a:lnTo>
                    <a:pt x="42" y="26"/>
                  </a:lnTo>
                  <a:lnTo>
                    <a:pt x="44" y="24"/>
                  </a:lnTo>
                  <a:lnTo>
                    <a:pt x="44" y="22"/>
                  </a:lnTo>
                  <a:lnTo>
                    <a:pt x="44" y="20"/>
                  </a:lnTo>
                  <a:lnTo>
                    <a:pt x="46" y="20"/>
                  </a:lnTo>
                  <a:lnTo>
                    <a:pt x="46" y="18"/>
                  </a:lnTo>
                  <a:lnTo>
                    <a:pt x="48" y="16"/>
                  </a:lnTo>
                  <a:lnTo>
                    <a:pt x="48" y="16"/>
                  </a:lnTo>
                  <a:lnTo>
                    <a:pt x="50" y="14"/>
                  </a:lnTo>
                  <a:lnTo>
                    <a:pt x="50" y="12"/>
                  </a:lnTo>
                  <a:lnTo>
                    <a:pt x="50" y="12"/>
                  </a:lnTo>
                  <a:lnTo>
                    <a:pt x="50" y="10"/>
                  </a:lnTo>
                  <a:lnTo>
                    <a:pt x="50" y="10"/>
                  </a:lnTo>
                  <a:lnTo>
                    <a:pt x="50" y="10"/>
                  </a:lnTo>
                  <a:lnTo>
                    <a:pt x="50" y="8"/>
                  </a:lnTo>
                  <a:lnTo>
                    <a:pt x="48" y="6"/>
                  </a:lnTo>
                  <a:lnTo>
                    <a:pt x="48" y="6"/>
                  </a:lnTo>
                  <a:lnTo>
                    <a:pt x="48" y="6"/>
                  </a:lnTo>
                  <a:lnTo>
                    <a:pt x="48" y="6"/>
                  </a:lnTo>
                  <a:lnTo>
                    <a:pt x="46" y="6"/>
                  </a:lnTo>
                  <a:lnTo>
                    <a:pt x="46" y="6"/>
                  </a:lnTo>
                  <a:lnTo>
                    <a:pt x="44" y="6"/>
                  </a:lnTo>
                  <a:lnTo>
                    <a:pt x="44" y="6"/>
                  </a:lnTo>
                  <a:lnTo>
                    <a:pt x="42" y="6"/>
                  </a:lnTo>
                  <a:lnTo>
                    <a:pt x="40" y="8"/>
                  </a:lnTo>
                  <a:lnTo>
                    <a:pt x="38" y="8"/>
                  </a:lnTo>
                  <a:lnTo>
                    <a:pt x="36" y="10"/>
                  </a:lnTo>
                  <a:lnTo>
                    <a:pt x="34" y="10"/>
                  </a:lnTo>
                  <a:lnTo>
                    <a:pt x="30" y="10"/>
                  </a:lnTo>
                  <a:lnTo>
                    <a:pt x="28" y="12"/>
                  </a:lnTo>
                  <a:lnTo>
                    <a:pt x="26" y="12"/>
                  </a:lnTo>
                  <a:lnTo>
                    <a:pt x="24" y="12"/>
                  </a:lnTo>
                  <a:lnTo>
                    <a:pt x="24" y="10"/>
                  </a:lnTo>
                  <a:lnTo>
                    <a:pt x="24" y="10"/>
                  </a:lnTo>
                  <a:lnTo>
                    <a:pt x="22" y="10"/>
                  </a:lnTo>
                  <a:lnTo>
                    <a:pt x="22" y="10"/>
                  </a:lnTo>
                  <a:lnTo>
                    <a:pt x="22" y="8"/>
                  </a:lnTo>
                  <a:lnTo>
                    <a:pt x="22" y="6"/>
                  </a:lnTo>
                  <a:lnTo>
                    <a:pt x="22" y="6"/>
                  </a:lnTo>
                  <a:lnTo>
                    <a:pt x="20" y="2"/>
                  </a:lnTo>
                  <a:lnTo>
                    <a:pt x="20" y="0"/>
                  </a:lnTo>
                  <a:lnTo>
                    <a:pt x="18" y="6"/>
                  </a:lnTo>
                  <a:lnTo>
                    <a:pt x="16" y="10"/>
                  </a:lnTo>
                  <a:lnTo>
                    <a:pt x="14" y="12"/>
                  </a:lnTo>
                  <a:lnTo>
                    <a:pt x="14" y="14"/>
                  </a:lnTo>
                  <a:lnTo>
                    <a:pt x="14" y="14"/>
                  </a:lnTo>
                  <a:lnTo>
                    <a:pt x="14" y="16"/>
                  </a:lnTo>
                  <a:lnTo>
                    <a:pt x="14" y="20"/>
                  </a:lnTo>
                  <a:lnTo>
                    <a:pt x="14" y="24"/>
                  </a:lnTo>
                  <a:lnTo>
                    <a:pt x="14" y="26"/>
                  </a:lnTo>
                  <a:lnTo>
                    <a:pt x="14" y="28"/>
                  </a:lnTo>
                  <a:lnTo>
                    <a:pt x="14" y="28"/>
                  </a:lnTo>
                  <a:lnTo>
                    <a:pt x="14" y="30"/>
                  </a:lnTo>
                  <a:lnTo>
                    <a:pt x="16" y="32"/>
                  </a:lnTo>
                  <a:lnTo>
                    <a:pt x="16" y="34"/>
                  </a:lnTo>
                  <a:lnTo>
                    <a:pt x="16" y="34"/>
                  </a:lnTo>
                  <a:lnTo>
                    <a:pt x="16" y="34"/>
                  </a:lnTo>
                  <a:lnTo>
                    <a:pt x="16" y="36"/>
                  </a:lnTo>
                  <a:lnTo>
                    <a:pt x="16" y="38"/>
                  </a:lnTo>
                  <a:lnTo>
                    <a:pt x="16" y="38"/>
                  </a:lnTo>
                  <a:lnTo>
                    <a:pt x="14" y="40"/>
                  </a:lnTo>
                  <a:lnTo>
                    <a:pt x="12" y="42"/>
                  </a:lnTo>
                  <a:lnTo>
                    <a:pt x="10" y="44"/>
                  </a:lnTo>
                  <a:lnTo>
                    <a:pt x="10" y="46"/>
                  </a:lnTo>
                  <a:lnTo>
                    <a:pt x="8" y="46"/>
                  </a:lnTo>
                  <a:lnTo>
                    <a:pt x="6" y="48"/>
                  </a:lnTo>
                  <a:lnTo>
                    <a:pt x="4" y="48"/>
                  </a:lnTo>
                  <a:lnTo>
                    <a:pt x="4" y="50"/>
                  </a:lnTo>
                  <a:lnTo>
                    <a:pt x="2" y="50"/>
                  </a:lnTo>
                  <a:lnTo>
                    <a:pt x="2" y="52"/>
                  </a:lnTo>
                  <a:lnTo>
                    <a:pt x="2" y="52"/>
                  </a:lnTo>
                  <a:lnTo>
                    <a:pt x="0" y="54"/>
                  </a:lnTo>
                  <a:lnTo>
                    <a:pt x="0" y="56"/>
                  </a:lnTo>
                  <a:lnTo>
                    <a:pt x="0" y="58"/>
                  </a:lnTo>
                  <a:lnTo>
                    <a:pt x="0" y="60"/>
                  </a:lnTo>
                  <a:lnTo>
                    <a:pt x="0" y="64"/>
                  </a:lnTo>
                  <a:lnTo>
                    <a:pt x="0" y="64"/>
                  </a:lnTo>
                  <a:lnTo>
                    <a:pt x="0" y="66"/>
                  </a:lnTo>
                  <a:lnTo>
                    <a:pt x="0" y="66"/>
                  </a:lnTo>
                  <a:lnTo>
                    <a:pt x="0" y="66"/>
                  </a:lnTo>
                  <a:lnTo>
                    <a:pt x="2" y="68"/>
                  </a:lnTo>
                  <a:lnTo>
                    <a:pt x="2" y="68"/>
                  </a:lnTo>
                  <a:lnTo>
                    <a:pt x="4" y="68"/>
                  </a:lnTo>
                  <a:lnTo>
                    <a:pt x="6" y="68"/>
                  </a:lnTo>
                  <a:lnTo>
                    <a:pt x="6" y="70"/>
                  </a:lnTo>
                  <a:lnTo>
                    <a:pt x="8" y="70"/>
                  </a:lnTo>
                  <a:lnTo>
                    <a:pt x="10" y="70"/>
                  </a:lnTo>
                  <a:lnTo>
                    <a:pt x="10" y="70"/>
                  </a:lnTo>
                  <a:lnTo>
                    <a:pt x="10" y="72"/>
                  </a:lnTo>
                  <a:lnTo>
                    <a:pt x="12" y="72"/>
                  </a:lnTo>
                  <a:lnTo>
                    <a:pt x="12" y="74"/>
                  </a:lnTo>
                  <a:lnTo>
                    <a:pt x="12" y="74"/>
                  </a:lnTo>
                  <a:lnTo>
                    <a:pt x="12" y="76"/>
                  </a:lnTo>
                  <a:lnTo>
                    <a:pt x="12" y="80"/>
                  </a:lnTo>
                  <a:lnTo>
                    <a:pt x="12" y="82"/>
                  </a:lnTo>
                  <a:lnTo>
                    <a:pt x="12" y="84"/>
                  </a:lnTo>
                  <a:lnTo>
                    <a:pt x="12" y="86"/>
                  </a:lnTo>
                  <a:lnTo>
                    <a:pt x="12" y="88"/>
                  </a:lnTo>
                  <a:lnTo>
                    <a:pt x="12" y="90"/>
                  </a:lnTo>
                  <a:lnTo>
                    <a:pt x="12" y="90"/>
                  </a:lnTo>
                  <a:lnTo>
                    <a:pt x="14" y="92"/>
                  </a:lnTo>
                  <a:lnTo>
                    <a:pt x="14" y="92"/>
                  </a:lnTo>
                  <a:lnTo>
                    <a:pt x="14" y="94"/>
                  </a:lnTo>
                  <a:lnTo>
                    <a:pt x="16" y="94"/>
                  </a:lnTo>
                  <a:lnTo>
                    <a:pt x="18" y="94"/>
                  </a:lnTo>
                  <a:lnTo>
                    <a:pt x="20" y="94"/>
                  </a:lnTo>
                  <a:lnTo>
                    <a:pt x="24" y="96"/>
                  </a:lnTo>
                  <a:lnTo>
                    <a:pt x="26" y="96"/>
                  </a:lnTo>
                  <a:lnTo>
                    <a:pt x="28" y="96"/>
                  </a:lnTo>
                  <a:lnTo>
                    <a:pt x="30" y="96"/>
                  </a:lnTo>
                  <a:lnTo>
                    <a:pt x="32" y="96"/>
                  </a:lnTo>
                  <a:lnTo>
                    <a:pt x="34" y="96"/>
                  </a:lnTo>
                  <a:lnTo>
                    <a:pt x="34" y="96"/>
                  </a:lnTo>
                  <a:lnTo>
                    <a:pt x="36" y="94"/>
                  </a:lnTo>
                  <a:lnTo>
                    <a:pt x="36" y="94"/>
                  </a:lnTo>
                  <a:lnTo>
                    <a:pt x="36" y="92"/>
                  </a:lnTo>
                  <a:lnTo>
                    <a:pt x="38" y="90"/>
                  </a:lnTo>
                  <a:lnTo>
                    <a:pt x="40" y="88"/>
                  </a:lnTo>
                  <a:lnTo>
                    <a:pt x="42" y="84"/>
                  </a:lnTo>
                  <a:lnTo>
                    <a:pt x="42" y="8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4" name="Freeform 282">
              <a:extLst>
                <a:ext uri="{FF2B5EF4-FFF2-40B4-BE49-F238E27FC236}">
                  <a16:creationId xmlns:a16="http://schemas.microsoft.com/office/drawing/2014/main" id="{A55DF2DA-CEF6-4F14-9F77-4D5B582C2BEB}"/>
                </a:ext>
              </a:extLst>
            </p:cNvPr>
            <p:cNvSpPr>
              <a:spLocks/>
            </p:cNvSpPr>
            <p:nvPr/>
          </p:nvSpPr>
          <p:spPr bwMode="auto">
            <a:xfrm>
              <a:off x="4026721" y="3381796"/>
              <a:ext cx="86604" cy="166279"/>
            </a:xfrm>
            <a:custGeom>
              <a:avLst/>
              <a:gdLst>
                <a:gd name="T0" fmla="*/ 42 w 50"/>
                <a:gd name="T1" fmla="*/ 80 h 96"/>
                <a:gd name="T2" fmla="*/ 42 w 50"/>
                <a:gd name="T3" fmla="*/ 66 h 96"/>
                <a:gd name="T4" fmla="*/ 40 w 50"/>
                <a:gd name="T5" fmla="*/ 62 h 96"/>
                <a:gd name="T6" fmla="*/ 36 w 50"/>
                <a:gd name="T7" fmla="*/ 58 h 96"/>
                <a:gd name="T8" fmla="*/ 34 w 50"/>
                <a:gd name="T9" fmla="*/ 56 h 96"/>
                <a:gd name="T10" fmla="*/ 34 w 50"/>
                <a:gd name="T11" fmla="*/ 54 h 96"/>
                <a:gd name="T12" fmla="*/ 34 w 50"/>
                <a:gd name="T13" fmla="*/ 52 h 96"/>
                <a:gd name="T14" fmla="*/ 38 w 50"/>
                <a:gd name="T15" fmla="*/ 50 h 96"/>
                <a:gd name="T16" fmla="*/ 40 w 50"/>
                <a:gd name="T17" fmla="*/ 46 h 96"/>
                <a:gd name="T18" fmla="*/ 42 w 50"/>
                <a:gd name="T19" fmla="*/ 38 h 96"/>
                <a:gd name="T20" fmla="*/ 42 w 50"/>
                <a:gd name="T21" fmla="*/ 26 h 96"/>
                <a:gd name="T22" fmla="*/ 44 w 50"/>
                <a:gd name="T23" fmla="*/ 20 h 96"/>
                <a:gd name="T24" fmla="*/ 48 w 50"/>
                <a:gd name="T25" fmla="*/ 16 h 96"/>
                <a:gd name="T26" fmla="*/ 50 w 50"/>
                <a:gd name="T27" fmla="*/ 12 h 96"/>
                <a:gd name="T28" fmla="*/ 50 w 50"/>
                <a:gd name="T29" fmla="*/ 10 h 96"/>
                <a:gd name="T30" fmla="*/ 48 w 50"/>
                <a:gd name="T31" fmla="*/ 6 h 96"/>
                <a:gd name="T32" fmla="*/ 48 w 50"/>
                <a:gd name="T33" fmla="*/ 6 h 96"/>
                <a:gd name="T34" fmla="*/ 44 w 50"/>
                <a:gd name="T35" fmla="*/ 6 h 96"/>
                <a:gd name="T36" fmla="*/ 40 w 50"/>
                <a:gd name="T37" fmla="*/ 8 h 96"/>
                <a:gd name="T38" fmla="*/ 34 w 50"/>
                <a:gd name="T39" fmla="*/ 10 h 96"/>
                <a:gd name="T40" fmla="*/ 26 w 50"/>
                <a:gd name="T41" fmla="*/ 12 h 96"/>
                <a:gd name="T42" fmla="*/ 24 w 50"/>
                <a:gd name="T43" fmla="*/ 10 h 96"/>
                <a:gd name="T44" fmla="*/ 22 w 50"/>
                <a:gd name="T45" fmla="*/ 8 h 96"/>
                <a:gd name="T46" fmla="*/ 20 w 50"/>
                <a:gd name="T47" fmla="*/ 2 h 96"/>
                <a:gd name="T48" fmla="*/ 16 w 50"/>
                <a:gd name="T49" fmla="*/ 10 h 96"/>
                <a:gd name="T50" fmla="*/ 14 w 50"/>
                <a:gd name="T51" fmla="*/ 14 h 96"/>
                <a:gd name="T52" fmla="*/ 14 w 50"/>
                <a:gd name="T53" fmla="*/ 24 h 96"/>
                <a:gd name="T54" fmla="*/ 14 w 50"/>
                <a:gd name="T55" fmla="*/ 28 h 96"/>
                <a:gd name="T56" fmla="*/ 16 w 50"/>
                <a:gd name="T57" fmla="*/ 34 h 96"/>
                <a:gd name="T58" fmla="*/ 16 w 50"/>
                <a:gd name="T59" fmla="*/ 36 h 96"/>
                <a:gd name="T60" fmla="*/ 14 w 50"/>
                <a:gd name="T61" fmla="*/ 40 h 96"/>
                <a:gd name="T62" fmla="*/ 10 w 50"/>
                <a:gd name="T63" fmla="*/ 46 h 96"/>
                <a:gd name="T64" fmla="*/ 4 w 50"/>
                <a:gd name="T65" fmla="*/ 48 h 96"/>
                <a:gd name="T66" fmla="*/ 2 w 50"/>
                <a:gd name="T67" fmla="*/ 52 h 96"/>
                <a:gd name="T68" fmla="*/ 0 w 50"/>
                <a:gd name="T69" fmla="*/ 56 h 96"/>
                <a:gd name="T70" fmla="*/ 0 w 50"/>
                <a:gd name="T71" fmla="*/ 64 h 96"/>
                <a:gd name="T72" fmla="*/ 0 w 50"/>
                <a:gd name="T73" fmla="*/ 66 h 96"/>
                <a:gd name="T74" fmla="*/ 2 w 50"/>
                <a:gd name="T75" fmla="*/ 68 h 96"/>
                <a:gd name="T76" fmla="*/ 6 w 50"/>
                <a:gd name="T77" fmla="*/ 70 h 96"/>
                <a:gd name="T78" fmla="*/ 10 w 50"/>
                <a:gd name="T79" fmla="*/ 70 h 96"/>
                <a:gd name="T80" fmla="*/ 12 w 50"/>
                <a:gd name="T81" fmla="*/ 74 h 96"/>
                <a:gd name="T82" fmla="*/ 12 w 50"/>
                <a:gd name="T83" fmla="*/ 80 h 96"/>
                <a:gd name="T84" fmla="*/ 12 w 50"/>
                <a:gd name="T85" fmla="*/ 86 h 96"/>
                <a:gd name="T86" fmla="*/ 12 w 50"/>
                <a:gd name="T87" fmla="*/ 90 h 96"/>
                <a:gd name="T88" fmla="*/ 14 w 50"/>
                <a:gd name="T89" fmla="*/ 94 h 96"/>
                <a:gd name="T90" fmla="*/ 20 w 50"/>
                <a:gd name="T91" fmla="*/ 94 h 96"/>
                <a:gd name="T92" fmla="*/ 28 w 50"/>
                <a:gd name="T93" fmla="*/ 96 h 96"/>
                <a:gd name="T94" fmla="*/ 34 w 50"/>
                <a:gd name="T95" fmla="*/ 96 h 96"/>
                <a:gd name="T96" fmla="*/ 36 w 50"/>
                <a:gd name="T97" fmla="*/ 94 h 96"/>
                <a:gd name="T98" fmla="*/ 40 w 50"/>
                <a:gd name="T99"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0" h="96">
                  <a:moveTo>
                    <a:pt x="42" y="82"/>
                  </a:moveTo>
                  <a:lnTo>
                    <a:pt x="42" y="82"/>
                  </a:lnTo>
                  <a:lnTo>
                    <a:pt x="42" y="80"/>
                  </a:lnTo>
                  <a:lnTo>
                    <a:pt x="42" y="74"/>
                  </a:lnTo>
                  <a:lnTo>
                    <a:pt x="42" y="70"/>
                  </a:lnTo>
                  <a:lnTo>
                    <a:pt x="42" y="66"/>
                  </a:lnTo>
                  <a:lnTo>
                    <a:pt x="42" y="64"/>
                  </a:lnTo>
                  <a:lnTo>
                    <a:pt x="42" y="62"/>
                  </a:lnTo>
                  <a:lnTo>
                    <a:pt x="40" y="62"/>
                  </a:lnTo>
                  <a:lnTo>
                    <a:pt x="40" y="60"/>
                  </a:lnTo>
                  <a:lnTo>
                    <a:pt x="40" y="60"/>
                  </a:lnTo>
                  <a:lnTo>
                    <a:pt x="36" y="58"/>
                  </a:lnTo>
                  <a:lnTo>
                    <a:pt x="36" y="58"/>
                  </a:lnTo>
                  <a:lnTo>
                    <a:pt x="34" y="56"/>
                  </a:lnTo>
                  <a:lnTo>
                    <a:pt x="34" y="56"/>
                  </a:lnTo>
                  <a:lnTo>
                    <a:pt x="34" y="56"/>
                  </a:lnTo>
                  <a:lnTo>
                    <a:pt x="34" y="54"/>
                  </a:lnTo>
                  <a:lnTo>
                    <a:pt x="34" y="54"/>
                  </a:lnTo>
                  <a:lnTo>
                    <a:pt x="34" y="54"/>
                  </a:lnTo>
                  <a:lnTo>
                    <a:pt x="34" y="54"/>
                  </a:lnTo>
                  <a:lnTo>
                    <a:pt x="34" y="52"/>
                  </a:lnTo>
                  <a:lnTo>
                    <a:pt x="36" y="52"/>
                  </a:lnTo>
                  <a:lnTo>
                    <a:pt x="38" y="50"/>
                  </a:lnTo>
                  <a:lnTo>
                    <a:pt x="38" y="50"/>
                  </a:lnTo>
                  <a:lnTo>
                    <a:pt x="40" y="48"/>
                  </a:lnTo>
                  <a:lnTo>
                    <a:pt x="40" y="48"/>
                  </a:lnTo>
                  <a:lnTo>
                    <a:pt x="40" y="46"/>
                  </a:lnTo>
                  <a:lnTo>
                    <a:pt x="40" y="44"/>
                  </a:lnTo>
                  <a:lnTo>
                    <a:pt x="42" y="42"/>
                  </a:lnTo>
                  <a:lnTo>
                    <a:pt x="42" y="38"/>
                  </a:lnTo>
                  <a:lnTo>
                    <a:pt x="42" y="34"/>
                  </a:lnTo>
                  <a:lnTo>
                    <a:pt x="42" y="30"/>
                  </a:lnTo>
                  <a:lnTo>
                    <a:pt x="42" y="26"/>
                  </a:lnTo>
                  <a:lnTo>
                    <a:pt x="44" y="24"/>
                  </a:lnTo>
                  <a:lnTo>
                    <a:pt x="44" y="22"/>
                  </a:lnTo>
                  <a:lnTo>
                    <a:pt x="44" y="20"/>
                  </a:lnTo>
                  <a:lnTo>
                    <a:pt x="46" y="20"/>
                  </a:lnTo>
                  <a:lnTo>
                    <a:pt x="46" y="18"/>
                  </a:lnTo>
                  <a:lnTo>
                    <a:pt x="48" y="16"/>
                  </a:lnTo>
                  <a:lnTo>
                    <a:pt x="48" y="16"/>
                  </a:lnTo>
                  <a:lnTo>
                    <a:pt x="50" y="14"/>
                  </a:lnTo>
                  <a:lnTo>
                    <a:pt x="50" y="12"/>
                  </a:lnTo>
                  <a:lnTo>
                    <a:pt x="50" y="12"/>
                  </a:lnTo>
                  <a:lnTo>
                    <a:pt x="50" y="10"/>
                  </a:lnTo>
                  <a:lnTo>
                    <a:pt x="50" y="10"/>
                  </a:lnTo>
                  <a:lnTo>
                    <a:pt x="50" y="10"/>
                  </a:lnTo>
                  <a:lnTo>
                    <a:pt x="50" y="8"/>
                  </a:lnTo>
                  <a:lnTo>
                    <a:pt x="48" y="6"/>
                  </a:lnTo>
                  <a:lnTo>
                    <a:pt x="48" y="6"/>
                  </a:lnTo>
                  <a:lnTo>
                    <a:pt x="48" y="6"/>
                  </a:lnTo>
                  <a:lnTo>
                    <a:pt x="48" y="6"/>
                  </a:lnTo>
                  <a:lnTo>
                    <a:pt x="46" y="6"/>
                  </a:lnTo>
                  <a:lnTo>
                    <a:pt x="46" y="6"/>
                  </a:lnTo>
                  <a:lnTo>
                    <a:pt x="44" y="6"/>
                  </a:lnTo>
                  <a:lnTo>
                    <a:pt x="44" y="6"/>
                  </a:lnTo>
                  <a:lnTo>
                    <a:pt x="42" y="6"/>
                  </a:lnTo>
                  <a:lnTo>
                    <a:pt x="40" y="8"/>
                  </a:lnTo>
                  <a:lnTo>
                    <a:pt x="38" y="8"/>
                  </a:lnTo>
                  <a:lnTo>
                    <a:pt x="36" y="10"/>
                  </a:lnTo>
                  <a:lnTo>
                    <a:pt x="34" y="10"/>
                  </a:lnTo>
                  <a:lnTo>
                    <a:pt x="30" y="10"/>
                  </a:lnTo>
                  <a:lnTo>
                    <a:pt x="28" y="12"/>
                  </a:lnTo>
                  <a:lnTo>
                    <a:pt x="26" y="12"/>
                  </a:lnTo>
                  <a:lnTo>
                    <a:pt x="24" y="12"/>
                  </a:lnTo>
                  <a:lnTo>
                    <a:pt x="24" y="10"/>
                  </a:lnTo>
                  <a:lnTo>
                    <a:pt x="24" y="10"/>
                  </a:lnTo>
                  <a:lnTo>
                    <a:pt x="22" y="10"/>
                  </a:lnTo>
                  <a:lnTo>
                    <a:pt x="22" y="10"/>
                  </a:lnTo>
                  <a:lnTo>
                    <a:pt x="22" y="8"/>
                  </a:lnTo>
                  <a:lnTo>
                    <a:pt x="22" y="6"/>
                  </a:lnTo>
                  <a:lnTo>
                    <a:pt x="22" y="6"/>
                  </a:lnTo>
                  <a:lnTo>
                    <a:pt x="20" y="2"/>
                  </a:lnTo>
                  <a:lnTo>
                    <a:pt x="20" y="0"/>
                  </a:lnTo>
                  <a:lnTo>
                    <a:pt x="18" y="6"/>
                  </a:lnTo>
                  <a:lnTo>
                    <a:pt x="16" y="10"/>
                  </a:lnTo>
                  <a:lnTo>
                    <a:pt x="14" y="12"/>
                  </a:lnTo>
                  <a:lnTo>
                    <a:pt x="14" y="14"/>
                  </a:lnTo>
                  <a:lnTo>
                    <a:pt x="14" y="14"/>
                  </a:lnTo>
                  <a:lnTo>
                    <a:pt x="14" y="16"/>
                  </a:lnTo>
                  <a:lnTo>
                    <a:pt x="14" y="20"/>
                  </a:lnTo>
                  <a:lnTo>
                    <a:pt x="14" y="24"/>
                  </a:lnTo>
                  <a:lnTo>
                    <a:pt x="14" y="26"/>
                  </a:lnTo>
                  <a:lnTo>
                    <a:pt x="14" y="28"/>
                  </a:lnTo>
                  <a:lnTo>
                    <a:pt x="14" y="28"/>
                  </a:lnTo>
                  <a:lnTo>
                    <a:pt x="14" y="30"/>
                  </a:lnTo>
                  <a:lnTo>
                    <a:pt x="16" y="32"/>
                  </a:lnTo>
                  <a:lnTo>
                    <a:pt x="16" y="34"/>
                  </a:lnTo>
                  <a:lnTo>
                    <a:pt x="16" y="34"/>
                  </a:lnTo>
                  <a:lnTo>
                    <a:pt x="16" y="34"/>
                  </a:lnTo>
                  <a:lnTo>
                    <a:pt x="16" y="36"/>
                  </a:lnTo>
                  <a:lnTo>
                    <a:pt x="16" y="38"/>
                  </a:lnTo>
                  <a:lnTo>
                    <a:pt x="16" y="38"/>
                  </a:lnTo>
                  <a:lnTo>
                    <a:pt x="14" y="40"/>
                  </a:lnTo>
                  <a:lnTo>
                    <a:pt x="12" y="42"/>
                  </a:lnTo>
                  <a:lnTo>
                    <a:pt x="10" y="44"/>
                  </a:lnTo>
                  <a:lnTo>
                    <a:pt x="10" y="46"/>
                  </a:lnTo>
                  <a:lnTo>
                    <a:pt x="8" y="46"/>
                  </a:lnTo>
                  <a:lnTo>
                    <a:pt x="6" y="48"/>
                  </a:lnTo>
                  <a:lnTo>
                    <a:pt x="4" y="48"/>
                  </a:lnTo>
                  <a:lnTo>
                    <a:pt x="4" y="50"/>
                  </a:lnTo>
                  <a:lnTo>
                    <a:pt x="2" y="50"/>
                  </a:lnTo>
                  <a:lnTo>
                    <a:pt x="2" y="52"/>
                  </a:lnTo>
                  <a:lnTo>
                    <a:pt x="2" y="52"/>
                  </a:lnTo>
                  <a:lnTo>
                    <a:pt x="0" y="54"/>
                  </a:lnTo>
                  <a:lnTo>
                    <a:pt x="0" y="56"/>
                  </a:lnTo>
                  <a:lnTo>
                    <a:pt x="0" y="58"/>
                  </a:lnTo>
                  <a:lnTo>
                    <a:pt x="0" y="60"/>
                  </a:lnTo>
                  <a:lnTo>
                    <a:pt x="0" y="64"/>
                  </a:lnTo>
                  <a:lnTo>
                    <a:pt x="0" y="64"/>
                  </a:lnTo>
                  <a:lnTo>
                    <a:pt x="0" y="66"/>
                  </a:lnTo>
                  <a:lnTo>
                    <a:pt x="0" y="66"/>
                  </a:lnTo>
                  <a:lnTo>
                    <a:pt x="0" y="66"/>
                  </a:lnTo>
                  <a:lnTo>
                    <a:pt x="2" y="68"/>
                  </a:lnTo>
                  <a:lnTo>
                    <a:pt x="2" y="68"/>
                  </a:lnTo>
                  <a:lnTo>
                    <a:pt x="4" y="68"/>
                  </a:lnTo>
                  <a:lnTo>
                    <a:pt x="6" y="68"/>
                  </a:lnTo>
                  <a:lnTo>
                    <a:pt x="6" y="70"/>
                  </a:lnTo>
                  <a:lnTo>
                    <a:pt x="8" y="70"/>
                  </a:lnTo>
                  <a:lnTo>
                    <a:pt x="10" y="70"/>
                  </a:lnTo>
                  <a:lnTo>
                    <a:pt x="10" y="70"/>
                  </a:lnTo>
                  <a:lnTo>
                    <a:pt x="10" y="72"/>
                  </a:lnTo>
                  <a:lnTo>
                    <a:pt x="12" y="72"/>
                  </a:lnTo>
                  <a:lnTo>
                    <a:pt x="12" y="74"/>
                  </a:lnTo>
                  <a:lnTo>
                    <a:pt x="12" y="74"/>
                  </a:lnTo>
                  <a:lnTo>
                    <a:pt x="12" y="76"/>
                  </a:lnTo>
                  <a:lnTo>
                    <a:pt x="12" y="80"/>
                  </a:lnTo>
                  <a:lnTo>
                    <a:pt x="12" y="82"/>
                  </a:lnTo>
                  <a:lnTo>
                    <a:pt x="12" y="84"/>
                  </a:lnTo>
                  <a:lnTo>
                    <a:pt x="12" y="86"/>
                  </a:lnTo>
                  <a:lnTo>
                    <a:pt x="12" y="88"/>
                  </a:lnTo>
                  <a:lnTo>
                    <a:pt x="12" y="90"/>
                  </a:lnTo>
                  <a:lnTo>
                    <a:pt x="12" y="90"/>
                  </a:lnTo>
                  <a:lnTo>
                    <a:pt x="14" y="92"/>
                  </a:lnTo>
                  <a:lnTo>
                    <a:pt x="14" y="92"/>
                  </a:lnTo>
                  <a:lnTo>
                    <a:pt x="14" y="94"/>
                  </a:lnTo>
                  <a:lnTo>
                    <a:pt x="16" y="94"/>
                  </a:lnTo>
                  <a:lnTo>
                    <a:pt x="18" y="94"/>
                  </a:lnTo>
                  <a:lnTo>
                    <a:pt x="20" y="94"/>
                  </a:lnTo>
                  <a:lnTo>
                    <a:pt x="24" y="96"/>
                  </a:lnTo>
                  <a:lnTo>
                    <a:pt x="26" y="96"/>
                  </a:lnTo>
                  <a:lnTo>
                    <a:pt x="28" y="96"/>
                  </a:lnTo>
                  <a:lnTo>
                    <a:pt x="30" y="96"/>
                  </a:lnTo>
                  <a:lnTo>
                    <a:pt x="32" y="96"/>
                  </a:lnTo>
                  <a:lnTo>
                    <a:pt x="34" y="96"/>
                  </a:lnTo>
                  <a:lnTo>
                    <a:pt x="34" y="96"/>
                  </a:lnTo>
                  <a:lnTo>
                    <a:pt x="36" y="94"/>
                  </a:lnTo>
                  <a:lnTo>
                    <a:pt x="36" y="94"/>
                  </a:lnTo>
                  <a:lnTo>
                    <a:pt x="36" y="92"/>
                  </a:lnTo>
                  <a:lnTo>
                    <a:pt x="38" y="90"/>
                  </a:lnTo>
                  <a:lnTo>
                    <a:pt x="40" y="88"/>
                  </a:lnTo>
                  <a:lnTo>
                    <a:pt x="42" y="84"/>
                  </a:lnTo>
                  <a:lnTo>
                    <a:pt x="42" y="8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5" name="Freeform 283">
              <a:extLst>
                <a:ext uri="{FF2B5EF4-FFF2-40B4-BE49-F238E27FC236}">
                  <a16:creationId xmlns:a16="http://schemas.microsoft.com/office/drawing/2014/main" id="{03ECC52C-A44A-41EA-B0E3-9A4369D85B97}"/>
                </a:ext>
              </a:extLst>
            </p:cNvPr>
            <p:cNvSpPr>
              <a:spLocks/>
            </p:cNvSpPr>
            <p:nvPr/>
          </p:nvSpPr>
          <p:spPr bwMode="auto">
            <a:xfrm>
              <a:off x="4161823" y="3066559"/>
              <a:ext cx="294453" cy="311773"/>
            </a:xfrm>
            <a:custGeom>
              <a:avLst/>
              <a:gdLst>
                <a:gd name="T0" fmla="*/ 88 w 170"/>
                <a:gd name="T1" fmla="*/ 8 h 180"/>
                <a:gd name="T2" fmla="*/ 84 w 170"/>
                <a:gd name="T3" fmla="*/ 18 h 180"/>
                <a:gd name="T4" fmla="*/ 78 w 170"/>
                <a:gd name="T5" fmla="*/ 24 h 180"/>
                <a:gd name="T6" fmla="*/ 74 w 170"/>
                <a:gd name="T7" fmla="*/ 30 h 180"/>
                <a:gd name="T8" fmla="*/ 66 w 170"/>
                <a:gd name="T9" fmla="*/ 28 h 180"/>
                <a:gd name="T10" fmla="*/ 64 w 170"/>
                <a:gd name="T11" fmla="*/ 30 h 180"/>
                <a:gd name="T12" fmla="*/ 62 w 170"/>
                <a:gd name="T13" fmla="*/ 38 h 180"/>
                <a:gd name="T14" fmla="*/ 54 w 170"/>
                <a:gd name="T15" fmla="*/ 40 h 180"/>
                <a:gd name="T16" fmla="*/ 48 w 170"/>
                <a:gd name="T17" fmla="*/ 38 h 180"/>
                <a:gd name="T18" fmla="*/ 44 w 170"/>
                <a:gd name="T19" fmla="*/ 30 h 180"/>
                <a:gd name="T20" fmla="*/ 38 w 170"/>
                <a:gd name="T21" fmla="*/ 30 h 180"/>
                <a:gd name="T22" fmla="*/ 36 w 170"/>
                <a:gd name="T23" fmla="*/ 34 h 180"/>
                <a:gd name="T24" fmla="*/ 38 w 170"/>
                <a:gd name="T25" fmla="*/ 42 h 180"/>
                <a:gd name="T26" fmla="*/ 36 w 170"/>
                <a:gd name="T27" fmla="*/ 50 h 180"/>
                <a:gd name="T28" fmla="*/ 26 w 170"/>
                <a:gd name="T29" fmla="*/ 50 h 180"/>
                <a:gd name="T30" fmla="*/ 18 w 170"/>
                <a:gd name="T31" fmla="*/ 54 h 180"/>
                <a:gd name="T32" fmla="*/ 6 w 170"/>
                <a:gd name="T33" fmla="*/ 56 h 180"/>
                <a:gd name="T34" fmla="*/ 0 w 170"/>
                <a:gd name="T35" fmla="*/ 58 h 180"/>
                <a:gd name="T36" fmla="*/ 0 w 170"/>
                <a:gd name="T37" fmla="*/ 66 h 180"/>
                <a:gd name="T38" fmla="*/ 2 w 170"/>
                <a:gd name="T39" fmla="*/ 70 h 180"/>
                <a:gd name="T40" fmla="*/ 18 w 170"/>
                <a:gd name="T41" fmla="*/ 76 h 180"/>
                <a:gd name="T42" fmla="*/ 32 w 170"/>
                <a:gd name="T43" fmla="*/ 86 h 180"/>
                <a:gd name="T44" fmla="*/ 38 w 170"/>
                <a:gd name="T45" fmla="*/ 102 h 180"/>
                <a:gd name="T46" fmla="*/ 46 w 170"/>
                <a:gd name="T47" fmla="*/ 110 h 180"/>
                <a:gd name="T48" fmla="*/ 48 w 170"/>
                <a:gd name="T49" fmla="*/ 114 h 180"/>
                <a:gd name="T50" fmla="*/ 42 w 170"/>
                <a:gd name="T51" fmla="*/ 116 h 180"/>
                <a:gd name="T52" fmla="*/ 38 w 170"/>
                <a:gd name="T53" fmla="*/ 128 h 180"/>
                <a:gd name="T54" fmla="*/ 38 w 170"/>
                <a:gd name="T55" fmla="*/ 150 h 180"/>
                <a:gd name="T56" fmla="*/ 32 w 170"/>
                <a:gd name="T57" fmla="*/ 162 h 180"/>
                <a:gd name="T58" fmla="*/ 54 w 170"/>
                <a:gd name="T59" fmla="*/ 170 h 180"/>
                <a:gd name="T60" fmla="*/ 70 w 170"/>
                <a:gd name="T61" fmla="*/ 170 h 180"/>
                <a:gd name="T62" fmla="*/ 80 w 170"/>
                <a:gd name="T63" fmla="*/ 178 h 180"/>
                <a:gd name="T64" fmla="*/ 88 w 170"/>
                <a:gd name="T65" fmla="*/ 180 h 180"/>
                <a:gd name="T66" fmla="*/ 108 w 170"/>
                <a:gd name="T67" fmla="*/ 176 h 180"/>
                <a:gd name="T68" fmla="*/ 106 w 170"/>
                <a:gd name="T69" fmla="*/ 164 h 180"/>
                <a:gd name="T70" fmla="*/ 110 w 170"/>
                <a:gd name="T71" fmla="*/ 156 h 180"/>
                <a:gd name="T72" fmla="*/ 122 w 170"/>
                <a:gd name="T73" fmla="*/ 156 h 180"/>
                <a:gd name="T74" fmla="*/ 136 w 170"/>
                <a:gd name="T75" fmla="*/ 156 h 180"/>
                <a:gd name="T76" fmla="*/ 150 w 170"/>
                <a:gd name="T77" fmla="*/ 164 h 180"/>
                <a:gd name="T78" fmla="*/ 156 w 170"/>
                <a:gd name="T79" fmla="*/ 164 h 180"/>
                <a:gd name="T80" fmla="*/ 162 w 170"/>
                <a:gd name="T81" fmla="*/ 154 h 180"/>
                <a:gd name="T82" fmla="*/ 164 w 170"/>
                <a:gd name="T83" fmla="*/ 144 h 180"/>
                <a:gd name="T84" fmla="*/ 162 w 170"/>
                <a:gd name="T85" fmla="*/ 140 h 180"/>
                <a:gd name="T86" fmla="*/ 152 w 170"/>
                <a:gd name="T87" fmla="*/ 136 h 180"/>
                <a:gd name="T88" fmla="*/ 150 w 170"/>
                <a:gd name="T89" fmla="*/ 126 h 180"/>
                <a:gd name="T90" fmla="*/ 154 w 170"/>
                <a:gd name="T91" fmla="*/ 118 h 180"/>
                <a:gd name="T92" fmla="*/ 158 w 170"/>
                <a:gd name="T93" fmla="*/ 106 h 180"/>
                <a:gd name="T94" fmla="*/ 150 w 170"/>
                <a:gd name="T95" fmla="*/ 98 h 180"/>
                <a:gd name="T96" fmla="*/ 150 w 170"/>
                <a:gd name="T97" fmla="*/ 92 h 180"/>
                <a:gd name="T98" fmla="*/ 156 w 170"/>
                <a:gd name="T99" fmla="*/ 78 h 180"/>
                <a:gd name="T100" fmla="*/ 168 w 170"/>
                <a:gd name="T101" fmla="*/ 74 h 180"/>
                <a:gd name="T102" fmla="*/ 164 w 170"/>
                <a:gd name="T103" fmla="*/ 54 h 180"/>
                <a:gd name="T104" fmla="*/ 170 w 170"/>
                <a:gd name="T105" fmla="*/ 46 h 180"/>
                <a:gd name="T106" fmla="*/ 170 w 170"/>
                <a:gd name="T107" fmla="*/ 42 h 180"/>
                <a:gd name="T108" fmla="*/ 158 w 170"/>
                <a:gd name="T109" fmla="*/ 34 h 180"/>
                <a:gd name="T110" fmla="*/ 122 w 170"/>
                <a:gd name="T111" fmla="*/ 30 h 180"/>
                <a:gd name="T112" fmla="*/ 118 w 170"/>
                <a:gd name="T113" fmla="*/ 24 h 180"/>
                <a:gd name="T114" fmla="*/ 112 w 170"/>
                <a:gd name="T115" fmla="*/ 14 h 180"/>
                <a:gd name="T116" fmla="*/ 102 w 170"/>
                <a:gd name="T117" fmla="*/ 10 h 180"/>
                <a:gd name="T118" fmla="*/ 104 w 170"/>
                <a:gd name="T119" fmla="*/ 0 h 180"/>
                <a:gd name="T120" fmla="*/ 90 w 170"/>
                <a:gd name="T12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 h="180">
                  <a:moveTo>
                    <a:pt x="90" y="4"/>
                  </a:moveTo>
                  <a:lnTo>
                    <a:pt x="90" y="4"/>
                  </a:lnTo>
                  <a:lnTo>
                    <a:pt x="90" y="4"/>
                  </a:lnTo>
                  <a:lnTo>
                    <a:pt x="88" y="4"/>
                  </a:lnTo>
                  <a:lnTo>
                    <a:pt x="88" y="6"/>
                  </a:lnTo>
                  <a:lnTo>
                    <a:pt x="88" y="8"/>
                  </a:lnTo>
                  <a:lnTo>
                    <a:pt x="88" y="10"/>
                  </a:lnTo>
                  <a:lnTo>
                    <a:pt x="86" y="14"/>
                  </a:lnTo>
                  <a:lnTo>
                    <a:pt x="86" y="16"/>
                  </a:lnTo>
                  <a:lnTo>
                    <a:pt x="86" y="16"/>
                  </a:lnTo>
                  <a:lnTo>
                    <a:pt x="86" y="18"/>
                  </a:lnTo>
                  <a:lnTo>
                    <a:pt x="84" y="18"/>
                  </a:lnTo>
                  <a:lnTo>
                    <a:pt x="82" y="20"/>
                  </a:lnTo>
                  <a:lnTo>
                    <a:pt x="80" y="22"/>
                  </a:lnTo>
                  <a:lnTo>
                    <a:pt x="78" y="22"/>
                  </a:lnTo>
                  <a:lnTo>
                    <a:pt x="78" y="22"/>
                  </a:lnTo>
                  <a:lnTo>
                    <a:pt x="78" y="24"/>
                  </a:lnTo>
                  <a:lnTo>
                    <a:pt x="78" y="24"/>
                  </a:lnTo>
                  <a:lnTo>
                    <a:pt x="78" y="26"/>
                  </a:lnTo>
                  <a:lnTo>
                    <a:pt x="76" y="28"/>
                  </a:lnTo>
                  <a:lnTo>
                    <a:pt x="76" y="28"/>
                  </a:lnTo>
                  <a:lnTo>
                    <a:pt x="76" y="30"/>
                  </a:lnTo>
                  <a:lnTo>
                    <a:pt x="76" y="30"/>
                  </a:lnTo>
                  <a:lnTo>
                    <a:pt x="74" y="30"/>
                  </a:lnTo>
                  <a:lnTo>
                    <a:pt x="74" y="30"/>
                  </a:lnTo>
                  <a:lnTo>
                    <a:pt x="74" y="30"/>
                  </a:lnTo>
                  <a:lnTo>
                    <a:pt x="72" y="30"/>
                  </a:lnTo>
                  <a:lnTo>
                    <a:pt x="70" y="30"/>
                  </a:lnTo>
                  <a:lnTo>
                    <a:pt x="68" y="30"/>
                  </a:lnTo>
                  <a:lnTo>
                    <a:pt x="66" y="28"/>
                  </a:lnTo>
                  <a:lnTo>
                    <a:pt x="66" y="28"/>
                  </a:lnTo>
                  <a:lnTo>
                    <a:pt x="64" y="28"/>
                  </a:lnTo>
                  <a:lnTo>
                    <a:pt x="64" y="30"/>
                  </a:lnTo>
                  <a:lnTo>
                    <a:pt x="64" y="30"/>
                  </a:lnTo>
                  <a:lnTo>
                    <a:pt x="64" y="30"/>
                  </a:lnTo>
                  <a:lnTo>
                    <a:pt x="64" y="30"/>
                  </a:lnTo>
                  <a:lnTo>
                    <a:pt x="62" y="32"/>
                  </a:lnTo>
                  <a:lnTo>
                    <a:pt x="62" y="34"/>
                  </a:lnTo>
                  <a:lnTo>
                    <a:pt x="62" y="34"/>
                  </a:lnTo>
                  <a:lnTo>
                    <a:pt x="62" y="36"/>
                  </a:lnTo>
                  <a:lnTo>
                    <a:pt x="62" y="38"/>
                  </a:lnTo>
                  <a:lnTo>
                    <a:pt x="62" y="38"/>
                  </a:lnTo>
                  <a:lnTo>
                    <a:pt x="62" y="38"/>
                  </a:lnTo>
                  <a:lnTo>
                    <a:pt x="60" y="38"/>
                  </a:lnTo>
                  <a:lnTo>
                    <a:pt x="60" y="38"/>
                  </a:lnTo>
                  <a:lnTo>
                    <a:pt x="58" y="40"/>
                  </a:lnTo>
                  <a:lnTo>
                    <a:pt x="56" y="40"/>
                  </a:lnTo>
                  <a:lnTo>
                    <a:pt x="54" y="40"/>
                  </a:lnTo>
                  <a:lnTo>
                    <a:pt x="52" y="40"/>
                  </a:lnTo>
                  <a:lnTo>
                    <a:pt x="52" y="40"/>
                  </a:lnTo>
                  <a:lnTo>
                    <a:pt x="50" y="40"/>
                  </a:lnTo>
                  <a:lnTo>
                    <a:pt x="50" y="38"/>
                  </a:lnTo>
                  <a:lnTo>
                    <a:pt x="50" y="38"/>
                  </a:lnTo>
                  <a:lnTo>
                    <a:pt x="48" y="38"/>
                  </a:lnTo>
                  <a:lnTo>
                    <a:pt x="48" y="36"/>
                  </a:lnTo>
                  <a:lnTo>
                    <a:pt x="46" y="34"/>
                  </a:lnTo>
                  <a:lnTo>
                    <a:pt x="46" y="32"/>
                  </a:lnTo>
                  <a:lnTo>
                    <a:pt x="44" y="32"/>
                  </a:lnTo>
                  <a:lnTo>
                    <a:pt x="44" y="30"/>
                  </a:lnTo>
                  <a:lnTo>
                    <a:pt x="44" y="30"/>
                  </a:lnTo>
                  <a:lnTo>
                    <a:pt x="42" y="30"/>
                  </a:lnTo>
                  <a:lnTo>
                    <a:pt x="42" y="30"/>
                  </a:lnTo>
                  <a:lnTo>
                    <a:pt x="40" y="30"/>
                  </a:lnTo>
                  <a:lnTo>
                    <a:pt x="40" y="30"/>
                  </a:lnTo>
                  <a:lnTo>
                    <a:pt x="38" y="30"/>
                  </a:lnTo>
                  <a:lnTo>
                    <a:pt x="38" y="30"/>
                  </a:lnTo>
                  <a:lnTo>
                    <a:pt x="36" y="32"/>
                  </a:lnTo>
                  <a:lnTo>
                    <a:pt x="36" y="32"/>
                  </a:lnTo>
                  <a:lnTo>
                    <a:pt x="36" y="32"/>
                  </a:lnTo>
                  <a:lnTo>
                    <a:pt x="36" y="32"/>
                  </a:lnTo>
                  <a:lnTo>
                    <a:pt x="36" y="34"/>
                  </a:lnTo>
                  <a:lnTo>
                    <a:pt x="36" y="34"/>
                  </a:lnTo>
                  <a:lnTo>
                    <a:pt x="36" y="36"/>
                  </a:lnTo>
                  <a:lnTo>
                    <a:pt x="36" y="36"/>
                  </a:lnTo>
                  <a:lnTo>
                    <a:pt x="38" y="38"/>
                  </a:lnTo>
                  <a:lnTo>
                    <a:pt x="38" y="40"/>
                  </a:lnTo>
                  <a:lnTo>
                    <a:pt x="38" y="40"/>
                  </a:lnTo>
                  <a:lnTo>
                    <a:pt x="38" y="42"/>
                  </a:lnTo>
                  <a:lnTo>
                    <a:pt x="38" y="44"/>
                  </a:lnTo>
                  <a:lnTo>
                    <a:pt x="38" y="46"/>
                  </a:lnTo>
                  <a:lnTo>
                    <a:pt x="38" y="48"/>
                  </a:lnTo>
                  <a:lnTo>
                    <a:pt x="36" y="48"/>
                  </a:lnTo>
                  <a:lnTo>
                    <a:pt x="36" y="50"/>
                  </a:lnTo>
                  <a:lnTo>
                    <a:pt x="36" y="50"/>
                  </a:lnTo>
                  <a:lnTo>
                    <a:pt x="36" y="50"/>
                  </a:lnTo>
                  <a:lnTo>
                    <a:pt x="34" y="50"/>
                  </a:lnTo>
                  <a:lnTo>
                    <a:pt x="32" y="50"/>
                  </a:lnTo>
                  <a:lnTo>
                    <a:pt x="30" y="50"/>
                  </a:lnTo>
                  <a:lnTo>
                    <a:pt x="26" y="50"/>
                  </a:lnTo>
                  <a:lnTo>
                    <a:pt x="26" y="50"/>
                  </a:lnTo>
                  <a:lnTo>
                    <a:pt x="24" y="50"/>
                  </a:lnTo>
                  <a:lnTo>
                    <a:pt x="24" y="50"/>
                  </a:lnTo>
                  <a:lnTo>
                    <a:pt x="22" y="52"/>
                  </a:lnTo>
                  <a:lnTo>
                    <a:pt x="20" y="52"/>
                  </a:lnTo>
                  <a:lnTo>
                    <a:pt x="18" y="54"/>
                  </a:lnTo>
                  <a:lnTo>
                    <a:pt x="18" y="54"/>
                  </a:lnTo>
                  <a:lnTo>
                    <a:pt x="16" y="56"/>
                  </a:lnTo>
                  <a:lnTo>
                    <a:pt x="14" y="56"/>
                  </a:lnTo>
                  <a:lnTo>
                    <a:pt x="14" y="56"/>
                  </a:lnTo>
                  <a:lnTo>
                    <a:pt x="12" y="56"/>
                  </a:lnTo>
                  <a:lnTo>
                    <a:pt x="8" y="56"/>
                  </a:lnTo>
                  <a:lnTo>
                    <a:pt x="6" y="56"/>
                  </a:lnTo>
                  <a:lnTo>
                    <a:pt x="4" y="56"/>
                  </a:lnTo>
                  <a:lnTo>
                    <a:pt x="2" y="56"/>
                  </a:lnTo>
                  <a:lnTo>
                    <a:pt x="2" y="58"/>
                  </a:lnTo>
                  <a:lnTo>
                    <a:pt x="2" y="58"/>
                  </a:lnTo>
                  <a:lnTo>
                    <a:pt x="0" y="58"/>
                  </a:lnTo>
                  <a:lnTo>
                    <a:pt x="0" y="58"/>
                  </a:lnTo>
                  <a:lnTo>
                    <a:pt x="0" y="58"/>
                  </a:lnTo>
                  <a:lnTo>
                    <a:pt x="0" y="60"/>
                  </a:lnTo>
                  <a:lnTo>
                    <a:pt x="0" y="60"/>
                  </a:lnTo>
                  <a:lnTo>
                    <a:pt x="0" y="62"/>
                  </a:lnTo>
                  <a:lnTo>
                    <a:pt x="0" y="64"/>
                  </a:lnTo>
                  <a:lnTo>
                    <a:pt x="0" y="66"/>
                  </a:lnTo>
                  <a:lnTo>
                    <a:pt x="0" y="66"/>
                  </a:lnTo>
                  <a:lnTo>
                    <a:pt x="0" y="68"/>
                  </a:lnTo>
                  <a:lnTo>
                    <a:pt x="0" y="68"/>
                  </a:lnTo>
                  <a:lnTo>
                    <a:pt x="0" y="68"/>
                  </a:lnTo>
                  <a:lnTo>
                    <a:pt x="2" y="70"/>
                  </a:lnTo>
                  <a:lnTo>
                    <a:pt x="2" y="70"/>
                  </a:lnTo>
                  <a:lnTo>
                    <a:pt x="4" y="72"/>
                  </a:lnTo>
                  <a:lnTo>
                    <a:pt x="6" y="72"/>
                  </a:lnTo>
                  <a:lnTo>
                    <a:pt x="8" y="74"/>
                  </a:lnTo>
                  <a:lnTo>
                    <a:pt x="14" y="76"/>
                  </a:lnTo>
                  <a:lnTo>
                    <a:pt x="16" y="76"/>
                  </a:lnTo>
                  <a:lnTo>
                    <a:pt x="18" y="76"/>
                  </a:lnTo>
                  <a:lnTo>
                    <a:pt x="22" y="78"/>
                  </a:lnTo>
                  <a:lnTo>
                    <a:pt x="24" y="80"/>
                  </a:lnTo>
                  <a:lnTo>
                    <a:pt x="26" y="80"/>
                  </a:lnTo>
                  <a:lnTo>
                    <a:pt x="28" y="82"/>
                  </a:lnTo>
                  <a:lnTo>
                    <a:pt x="28" y="82"/>
                  </a:lnTo>
                  <a:lnTo>
                    <a:pt x="32" y="86"/>
                  </a:lnTo>
                  <a:lnTo>
                    <a:pt x="34" y="88"/>
                  </a:lnTo>
                  <a:lnTo>
                    <a:pt x="36" y="90"/>
                  </a:lnTo>
                  <a:lnTo>
                    <a:pt x="36" y="92"/>
                  </a:lnTo>
                  <a:lnTo>
                    <a:pt x="36" y="94"/>
                  </a:lnTo>
                  <a:lnTo>
                    <a:pt x="38" y="98"/>
                  </a:lnTo>
                  <a:lnTo>
                    <a:pt x="38" y="102"/>
                  </a:lnTo>
                  <a:lnTo>
                    <a:pt x="40" y="104"/>
                  </a:lnTo>
                  <a:lnTo>
                    <a:pt x="40" y="104"/>
                  </a:lnTo>
                  <a:lnTo>
                    <a:pt x="40" y="106"/>
                  </a:lnTo>
                  <a:lnTo>
                    <a:pt x="42" y="106"/>
                  </a:lnTo>
                  <a:lnTo>
                    <a:pt x="46" y="110"/>
                  </a:lnTo>
                  <a:lnTo>
                    <a:pt x="46" y="110"/>
                  </a:lnTo>
                  <a:lnTo>
                    <a:pt x="48" y="112"/>
                  </a:lnTo>
                  <a:lnTo>
                    <a:pt x="48" y="112"/>
                  </a:lnTo>
                  <a:lnTo>
                    <a:pt x="48" y="112"/>
                  </a:lnTo>
                  <a:lnTo>
                    <a:pt x="48" y="112"/>
                  </a:lnTo>
                  <a:lnTo>
                    <a:pt x="48" y="114"/>
                  </a:lnTo>
                  <a:lnTo>
                    <a:pt x="48" y="114"/>
                  </a:lnTo>
                  <a:lnTo>
                    <a:pt x="48" y="114"/>
                  </a:lnTo>
                  <a:lnTo>
                    <a:pt x="48" y="114"/>
                  </a:lnTo>
                  <a:lnTo>
                    <a:pt x="46" y="116"/>
                  </a:lnTo>
                  <a:lnTo>
                    <a:pt x="46" y="116"/>
                  </a:lnTo>
                  <a:lnTo>
                    <a:pt x="44" y="116"/>
                  </a:lnTo>
                  <a:lnTo>
                    <a:pt x="42" y="116"/>
                  </a:lnTo>
                  <a:lnTo>
                    <a:pt x="42" y="118"/>
                  </a:lnTo>
                  <a:lnTo>
                    <a:pt x="40" y="118"/>
                  </a:lnTo>
                  <a:lnTo>
                    <a:pt x="40" y="120"/>
                  </a:lnTo>
                  <a:lnTo>
                    <a:pt x="40" y="122"/>
                  </a:lnTo>
                  <a:lnTo>
                    <a:pt x="38" y="126"/>
                  </a:lnTo>
                  <a:lnTo>
                    <a:pt x="38" y="128"/>
                  </a:lnTo>
                  <a:lnTo>
                    <a:pt x="38" y="130"/>
                  </a:lnTo>
                  <a:lnTo>
                    <a:pt x="38" y="136"/>
                  </a:lnTo>
                  <a:lnTo>
                    <a:pt x="38" y="140"/>
                  </a:lnTo>
                  <a:lnTo>
                    <a:pt x="38" y="146"/>
                  </a:lnTo>
                  <a:lnTo>
                    <a:pt x="38" y="148"/>
                  </a:lnTo>
                  <a:lnTo>
                    <a:pt x="38" y="150"/>
                  </a:lnTo>
                  <a:lnTo>
                    <a:pt x="36" y="152"/>
                  </a:lnTo>
                  <a:lnTo>
                    <a:pt x="36" y="154"/>
                  </a:lnTo>
                  <a:lnTo>
                    <a:pt x="36" y="154"/>
                  </a:lnTo>
                  <a:lnTo>
                    <a:pt x="36" y="156"/>
                  </a:lnTo>
                  <a:lnTo>
                    <a:pt x="34" y="160"/>
                  </a:lnTo>
                  <a:lnTo>
                    <a:pt x="32" y="162"/>
                  </a:lnTo>
                  <a:lnTo>
                    <a:pt x="40" y="166"/>
                  </a:lnTo>
                  <a:lnTo>
                    <a:pt x="46" y="168"/>
                  </a:lnTo>
                  <a:lnTo>
                    <a:pt x="48" y="168"/>
                  </a:lnTo>
                  <a:lnTo>
                    <a:pt x="50" y="170"/>
                  </a:lnTo>
                  <a:lnTo>
                    <a:pt x="52" y="170"/>
                  </a:lnTo>
                  <a:lnTo>
                    <a:pt x="54" y="170"/>
                  </a:lnTo>
                  <a:lnTo>
                    <a:pt x="60" y="170"/>
                  </a:lnTo>
                  <a:lnTo>
                    <a:pt x="64" y="170"/>
                  </a:lnTo>
                  <a:lnTo>
                    <a:pt x="66" y="170"/>
                  </a:lnTo>
                  <a:lnTo>
                    <a:pt x="68" y="170"/>
                  </a:lnTo>
                  <a:lnTo>
                    <a:pt x="70" y="170"/>
                  </a:lnTo>
                  <a:lnTo>
                    <a:pt x="70" y="170"/>
                  </a:lnTo>
                  <a:lnTo>
                    <a:pt x="72" y="170"/>
                  </a:lnTo>
                  <a:lnTo>
                    <a:pt x="72" y="172"/>
                  </a:lnTo>
                  <a:lnTo>
                    <a:pt x="76" y="174"/>
                  </a:lnTo>
                  <a:lnTo>
                    <a:pt x="76" y="176"/>
                  </a:lnTo>
                  <a:lnTo>
                    <a:pt x="78" y="178"/>
                  </a:lnTo>
                  <a:lnTo>
                    <a:pt x="80" y="178"/>
                  </a:lnTo>
                  <a:lnTo>
                    <a:pt x="80" y="178"/>
                  </a:lnTo>
                  <a:lnTo>
                    <a:pt x="80" y="180"/>
                  </a:lnTo>
                  <a:lnTo>
                    <a:pt x="82" y="180"/>
                  </a:lnTo>
                  <a:lnTo>
                    <a:pt x="84" y="180"/>
                  </a:lnTo>
                  <a:lnTo>
                    <a:pt x="86" y="180"/>
                  </a:lnTo>
                  <a:lnTo>
                    <a:pt x="88" y="180"/>
                  </a:lnTo>
                  <a:lnTo>
                    <a:pt x="92" y="180"/>
                  </a:lnTo>
                  <a:lnTo>
                    <a:pt x="96" y="180"/>
                  </a:lnTo>
                  <a:lnTo>
                    <a:pt x="102" y="178"/>
                  </a:lnTo>
                  <a:lnTo>
                    <a:pt x="104" y="178"/>
                  </a:lnTo>
                  <a:lnTo>
                    <a:pt x="108" y="178"/>
                  </a:lnTo>
                  <a:lnTo>
                    <a:pt x="108" y="176"/>
                  </a:lnTo>
                  <a:lnTo>
                    <a:pt x="108" y="174"/>
                  </a:lnTo>
                  <a:lnTo>
                    <a:pt x="106" y="170"/>
                  </a:lnTo>
                  <a:lnTo>
                    <a:pt x="106" y="170"/>
                  </a:lnTo>
                  <a:lnTo>
                    <a:pt x="106" y="168"/>
                  </a:lnTo>
                  <a:lnTo>
                    <a:pt x="106" y="166"/>
                  </a:lnTo>
                  <a:lnTo>
                    <a:pt x="106" y="164"/>
                  </a:lnTo>
                  <a:lnTo>
                    <a:pt x="106" y="164"/>
                  </a:lnTo>
                  <a:lnTo>
                    <a:pt x="108" y="162"/>
                  </a:lnTo>
                  <a:lnTo>
                    <a:pt x="108" y="160"/>
                  </a:lnTo>
                  <a:lnTo>
                    <a:pt x="108" y="158"/>
                  </a:lnTo>
                  <a:lnTo>
                    <a:pt x="110" y="158"/>
                  </a:lnTo>
                  <a:lnTo>
                    <a:pt x="110" y="156"/>
                  </a:lnTo>
                  <a:lnTo>
                    <a:pt x="112" y="156"/>
                  </a:lnTo>
                  <a:lnTo>
                    <a:pt x="114" y="156"/>
                  </a:lnTo>
                  <a:lnTo>
                    <a:pt x="114" y="156"/>
                  </a:lnTo>
                  <a:lnTo>
                    <a:pt x="116" y="156"/>
                  </a:lnTo>
                  <a:lnTo>
                    <a:pt x="120" y="156"/>
                  </a:lnTo>
                  <a:lnTo>
                    <a:pt x="122" y="156"/>
                  </a:lnTo>
                  <a:lnTo>
                    <a:pt x="128" y="154"/>
                  </a:lnTo>
                  <a:lnTo>
                    <a:pt x="132" y="154"/>
                  </a:lnTo>
                  <a:lnTo>
                    <a:pt x="134" y="154"/>
                  </a:lnTo>
                  <a:lnTo>
                    <a:pt x="134" y="156"/>
                  </a:lnTo>
                  <a:lnTo>
                    <a:pt x="136" y="156"/>
                  </a:lnTo>
                  <a:lnTo>
                    <a:pt x="136" y="156"/>
                  </a:lnTo>
                  <a:lnTo>
                    <a:pt x="140" y="158"/>
                  </a:lnTo>
                  <a:lnTo>
                    <a:pt x="142" y="160"/>
                  </a:lnTo>
                  <a:lnTo>
                    <a:pt x="142" y="162"/>
                  </a:lnTo>
                  <a:lnTo>
                    <a:pt x="144" y="162"/>
                  </a:lnTo>
                  <a:lnTo>
                    <a:pt x="146" y="164"/>
                  </a:lnTo>
                  <a:lnTo>
                    <a:pt x="150" y="164"/>
                  </a:lnTo>
                  <a:lnTo>
                    <a:pt x="152" y="164"/>
                  </a:lnTo>
                  <a:lnTo>
                    <a:pt x="152" y="166"/>
                  </a:lnTo>
                  <a:lnTo>
                    <a:pt x="154" y="166"/>
                  </a:lnTo>
                  <a:lnTo>
                    <a:pt x="154" y="166"/>
                  </a:lnTo>
                  <a:lnTo>
                    <a:pt x="156" y="166"/>
                  </a:lnTo>
                  <a:lnTo>
                    <a:pt x="156" y="164"/>
                  </a:lnTo>
                  <a:lnTo>
                    <a:pt x="156" y="164"/>
                  </a:lnTo>
                  <a:lnTo>
                    <a:pt x="158" y="164"/>
                  </a:lnTo>
                  <a:lnTo>
                    <a:pt x="158" y="162"/>
                  </a:lnTo>
                  <a:lnTo>
                    <a:pt x="160" y="160"/>
                  </a:lnTo>
                  <a:lnTo>
                    <a:pt x="160" y="158"/>
                  </a:lnTo>
                  <a:lnTo>
                    <a:pt x="162" y="154"/>
                  </a:lnTo>
                  <a:lnTo>
                    <a:pt x="162" y="152"/>
                  </a:lnTo>
                  <a:lnTo>
                    <a:pt x="164" y="150"/>
                  </a:lnTo>
                  <a:lnTo>
                    <a:pt x="164" y="150"/>
                  </a:lnTo>
                  <a:lnTo>
                    <a:pt x="164" y="146"/>
                  </a:lnTo>
                  <a:lnTo>
                    <a:pt x="164" y="144"/>
                  </a:lnTo>
                  <a:lnTo>
                    <a:pt x="164" y="144"/>
                  </a:lnTo>
                  <a:lnTo>
                    <a:pt x="164" y="142"/>
                  </a:lnTo>
                  <a:lnTo>
                    <a:pt x="164" y="142"/>
                  </a:lnTo>
                  <a:lnTo>
                    <a:pt x="164" y="140"/>
                  </a:lnTo>
                  <a:lnTo>
                    <a:pt x="162" y="140"/>
                  </a:lnTo>
                  <a:lnTo>
                    <a:pt x="162" y="140"/>
                  </a:lnTo>
                  <a:lnTo>
                    <a:pt x="162" y="140"/>
                  </a:lnTo>
                  <a:lnTo>
                    <a:pt x="160" y="138"/>
                  </a:lnTo>
                  <a:lnTo>
                    <a:pt x="158" y="138"/>
                  </a:lnTo>
                  <a:lnTo>
                    <a:pt x="156" y="138"/>
                  </a:lnTo>
                  <a:lnTo>
                    <a:pt x="154" y="138"/>
                  </a:lnTo>
                  <a:lnTo>
                    <a:pt x="152" y="136"/>
                  </a:lnTo>
                  <a:lnTo>
                    <a:pt x="152" y="136"/>
                  </a:lnTo>
                  <a:lnTo>
                    <a:pt x="152" y="136"/>
                  </a:lnTo>
                  <a:lnTo>
                    <a:pt x="152" y="134"/>
                  </a:lnTo>
                  <a:lnTo>
                    <a:pt x="150" y="132"/>
                  </a:lnTo>
                  <a:lnTo>
                    <a:pt x="150" y="130"/>
                  </a:lnTo>
                  <a:lnTo>
                    <a:pt x="150" y="128"/>
                  </a:lnTo>
                  <a:lnTo>
                    <a:pt x="150" y="126"/>
                  </a:lnTo>
                  <a:lnTo>
                    <a:pt x="150" y="124"/>
                  </a:lnTo>
                  <a:lnTo>
                    <a:pt x="150" y="124"/>
                  </a:lnTo>
                  <a:lnTo>
                    <a:pt x="150" y="122"/>
                  </a:lnTo>
                  <a:lnTo>
                    <a:pt x="152" y="120"/>
                  </a:lnTo>
                  <a:lnTo>
                    <a:pt x="152" y="120"/>
                  </a:lnTo>
                  <a:lnTo>
                    <a:pt x="154" y="118"/>
                  </a:lnTo>
                  <a:lnTo>
                    <a:pt x="156" y="116"/>
                  </a:lnTo>
                  <a:lnTo>
                    <a:pt x="156" y="114"/>
                  </a:lnTo>
                  <a:lnTo>
                    <a:pt x="158" y="112"/>
                  </a:lnTo>
                  <a:lnTo>
                    <a:pt x="158" y="112"/>
                  </a:lnTo>
                  <a:lnTo>
                    <a:pt x="158" y="110"/>
                  </a:lnTo>
                  <a:lnTo>
                    <a:pt x="158" y="106"/>
                  </a:lnTo>
                  <a:lnTo>
                    <a:pt x="158" y="104"/>
                  </a:lnTo>
                  <a:lnTo>
                    <a:pt x="158" y="102"/>
                  </a:lnTo>
                  <a:lnTo>
                    <a:pt x="156" y="102"/>
                  </a:lnTo>
                  <a:lnTo>
                    <a:pt x="154" y="100"/>
                  </a:lnTo>
                  <a:lnTo>
                    <a:pt x="152" y="98"/>
                  </a:lnTo>
                  <a:lnTo>
                    <a:pt x="150" y="98"/>
                  </a:lnTo>
                  <a:lnTo>
                    <a:pt x="150" y="96"/>
                  </a:lnTo>
                  <a:lnTo>
                    <a:pt x="150" y="96"/>
                  </a:lnTo>
                  <a:lnTo>
                    <a:pt x="148" y="96"/>
                  </a:lnTo>
                  <a:lnTo>
                    <a:pt x="148" y="94"/>
                  </a:lnTo>
                  <a:lnTo>
                    <a:pt x="148" y="94"/>
                  </a:lnTo>
                  <a:lnTo>
                    <a:pt x="150" y="92"/>
                  </a:lnTo>
                  <a:lnTo>
                    <a:pt x="150" y="90"/>
                  </a:lnTo>
                  <a:lnTo>
                    <a:pt x="150" y="88"/>
                  </a:lnTo>
                  <a:lnTo>
                    <a:pt x="152" y="86"/>
                  </a:lnTo>
                  <a:lnTo>
                    <a:pt x="152" y="84"/>
                  </a:lnTo>
                  <a:lnTo>
                    <a:pt x="154" y="80"/>
                  </a:lnTo>
                  <a:lnTo>
                    <a:pt x="156" y="78"/>
                  </a:lnTo>
                  <a:lnTo>
                    <a:pt x="158" y="78"/>
                  </a:lnTo>
                  <a:lnTo>
                    <a:pt x="158" y="76"/>
                  </a:lnTo>
                  <a:lnTo>
                    <a:pt x="158" y="76"/>
                  </a:lnTo>
                  <a:lnTo>
                    <a:pt x="160" y="76"/>
                  </a:lnTo>
                  <a:lnTo>
                    <a:pt x="164" y="74"/>
                  </a:lnTo>
                  <a:lnTo>
                    <a:pt x="168" y="74"/>
                  </a:lnTo>
                  <a:lnTo>
                    <a:pt x="166" y="72"/>
                  </a:lnTo>
                  <a:lnTo>
                    <a:pt x="166" y="66"/>
                  </a:lnTo>
                  <a:lnTo>
                    <a:pt x="164" y="62"/>
                  </a:lnTo>
                  <a:lnTo>
                    <a:pt x="164" y="58"/>
                  </a:lnTo>
                  <a:lnTo>
                    <a:pt x="164" y="54"/>
                  </a:lnTo>
                  <a:lnTo>
                    <a:pt x="164" y="54"/>
                  </a:lnTo>
                  <a:lnTo>
                    <a:pt x="164" y="52"/>
                  </a:lnTo>
                  <a:lnTo>
                    <a:pt x="164" y="52"/>
                  </a:lnTo>
                  <a:lnTo>
                    <a:pt x="166" y="50"/>
                  </a:lnTo>
                  <a:lnTo>
                    <a:pt x="168" y="48"/>
                  </a:lnTo>
                  <a:lnTo>
                    <a:pt x="170" y="48"/>
                  </a:lnTo>
                  <a:lnTo>
                    <a:pt x="170" y="46"/>
                  </a:lnTo>
                  <a:lnTo>
                    <a:pt x="170" y="46"/>
                  </a:lnTo>
                  <a:lnTo>
                    <a:pt x="170" y="46"/>
                  </a:lnTo>
                  <a:lnTo>
                    <a:pt x="170" y="44"/>
                  </a:lnTo>
                  <a:lnTo>
                    <a:pt x="170" y="44"/>
                  </a:lnTo>
                  <a:lnTo>
                    <a:pt x="170" y="44"/>
                  </a:lnTo>
                  <a:lnTo>
                    <a:pt x="170" y="42"/>
                  </a:lnTo>
                  <a:lnTo>
                    <a:pt x="168" y="42"/>
                  </a:lnTo>
                  <a:lnTo>
                    <a:pt x="166" y="40"/>
                  </a:lnTo>
                  <a:lnTo>
                    <a:pt x="164" y="38"/>
                  </a:lnTo>
                  <a:lnTo>
                    <a:pt x="162" y="36"/>
                  </a:lnTo>
                  <a:lnTo>
                    <a:pt x="160" y="34"/>
                  </a:lnTo>
                  <a:lnTo>
                    <a:pt x="158" y="34"/>
                  </a:lnTo>
                  <a:lnTo>
                    <a:pt x="136" y="34"/>
                  </a:lnTo>
                  <a:lnTo>
                    <a:pt x="134" y="34"/>
                  </a:lnTo>
                  <a:lnTo>
                    <a:pt x="130" y="32"/>
                  </a:lnTo>
                  <a:lnTo>
                    <a:pt x="128" y="32"/>
                  </a:lnTo>
                  <a:lnTo>
                    <a:pt x="124" y="30"/>
                  </a:lnTo>
                  <a:lnTo>
                    <a:pt x="122" y="30"/>
                  </a:lnTo>
                  <a:lnTo>
                    <a:pt x="120" y="28"/>
                  </a:lnTo>
                  <a:lnTo>
                    <a:pt x="120" y="28"/>
                  </a:lnTo>
                  <a:lnTo>
                    <a:pt x="120" y="28"/>
                  </a:lnTo>
                  <a:lnTo>
                    <a:pt x="120" y="28"/>
                  </a:lnTo>
                  <a:lnTo>
                    <a:pt x="118" y="26"/>
                  </a:lnTo>
                  <a:lnTo>
                    <a:pt x="118" y="24"/>
                  </a:lnTo>
                  <a:lnTo>
                    <a:pt x="118" y="22"/>
                  </a:lnTo>
                  <a:lnTo>
                    <a:pt x="116" y="18"/>
                  </a:lnTo>
                  <a:lnTo>
                    <a:pt x="114" y="16"/>
                  </a:lnTo>
                  <a:lnTo>
                    <a:pt x="114" y="16"/>
                  </a:lnTo>
                  <a:lnTo>
                    <a:pt x="112" y="14"/>
                  </a:lnTo>
                  <a:lnTo>
                    <a:pt x="112" y="14"/>
                  </a:lnTo>
                  <a:lnTo>
                    <a:pt x="108" y="12"/>
                  </a:lnTo>
                  <a:lnTo>
                    <a:pt x="106" y="12"/>
                  </a:lnTo>
                  <a:lnTo>
                    <a:pt x="104" y="12"/>
                  </a:lnTo>
                  <a:lnTo>
                    <a:pt x="104" y="10"/>
                  </a:lnTo>
                  <a:lnTo>
                    <a:pt x="102" y="10"/>
                  </a:lnTo>
                  <a:lnTo>
                    <a:pt x="102" y="10"/>
                  </a:lnTo>
                  <a:lnTo>
                    <a:pt x="102" y="8"/>
                  </a:lnTo>
                  <a:lnTo>
                    <a:pt x="102" y="8"/>
                  </a:lnTo>
                  <a:lnTo>
                    <a:pt x="102" y="6"/>
                  </a:lnTo>
                  <a:lnTo>
                    <a:pt x="102" y="4"/>
                  </a:lnTo>
                  <a:lnTo>
                    <a:pt x="104" y="2"/>
                  </a:lnTo>
                  <a:lnTo>
                    <a:pt x="104" y="0"/>
                  </a:lnTo>
                  <a:lnTo>
                    <a:pt x="102" y="0"/>
                  </a:lnTo>
                  <a:lnTo>
                    <a:pt x="98" y="2"/>
                  </a:lnTo>
                  <a:lnTo>
                    <a:pt x="96" y="2"/>
                  </a:lnTo>
                  <a:lnTo>
                    <a:pt x="92" y="2"/>
                  </a:lnTo>
                  <a:lnTo>
                    <a:pt x="90" y="2"/>
                  </a:lnTo>
                  <a:lnTo>
                    <a:pt x="90" y="4"/>
                  </a:lnTo>
                  <a:lnTo>
                    <a:pt x="90" y="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6" name="Freeform 284">
              <a:extLst>
                <a:ext uri="{FF2B5EF4-FFF2-40B4-BE49-F238E27FC236}">
                  <a16:creationId xmlns:a16="http://schemas.microsoft.com/office/drawing/2014/main" id="{F840EE5F-3FBA-47ED-A3FB-DD77466ECA71}"/>
                </a:ext>
              </a:extLst>
            </p:cNvPr>
            <p:cNvSpPr>
              <a:spLocks/>
            </p:cNvSpPr>
            <p:nvPr/>
          </p:nvSpPr>
          <p:spPr bwMode="auto">
            <a:xfrm>
              <a:off x="4161823" y="3066559"/>
              <a:ext cx="294453" cy="311773"/>
            </a:xfrm>
            <a:custGeom>
              <a:avLst/>
              <a:gdLst>
                <a:gd name="T0" fmla="*/ 88 w 170"/>
                <a:gd name="T1" fmla="*/ 8 h 180"/>
                <a:gd name="T2" fmla="*/ 84 w 170"/>
                <a:gd name="T3" fmla="*/ 18 h 180"/>
                <a:gd name="T4" fmla="*/ 78 w 170"/>
                <a:gd name="T5" fmla="*/ 24 h 180"/>
                <a:gd name="T6" fmla="*/ 74 w 170"/>
                <a:gd name="T7" fmla="*/ 30 h 180"/>
                <a:gd name="T8" fmla="*/ 66 w 170"/>
                <a:gd name="T9" fmla="*/ 28 h 180"/>
                <a:gd name="T10" fmla="*/ 64 w 170"/>
                <a:gd name="T11" fmla="*/ 30 h 180"/>
                <a:gd name="T12" fmla="*/ 62 w 170"/>
                <a:gd name="T13" fmla="*/ 38 h 180"/>
                <a:gd name="T14" fmla="*/ 54 w 170"/>
                <a:gd name="T15" fmla="*/ 40 h 180"/>
                <a:gd name="T16" fmla="*/ 48 w 170"/>
                <a:gd name="T17" fmla="*/ 38 h 180"/>
                <a:gd name="T18" fmla="*/ 44 w 170"/>
                <a:gd name="T19" fmla="*/ 30 h 180"/>
                <a:gd name="T20" fmla="*/ 38 w 170"/>
                <a:gd name="T21" fmla="*/ 30 h 180"/>
                <a:gd name="T22" fmla="*/ 36 w 170"/>
                <a:gd name="T23" fmla="*/ 34 h 180"/>
                <a:gd name="T24" fmla="*/ 38 w 170"/>
                <a:gd name="T25" fmla="*/ 42 h 180"/>
                <a:gd name="T26" fmla="*/ 36 w 170"/>
                <a:gd name="T27" fmla="*/ 50 h 180"/>
                <a:gd name="T28" fmla="*/ 26 w 170"/>
                <a:gd name="T29" fmla="*/ 50 h 180"/>
                <a:gd name="T30" fmla="*/ 18 w 170"/>
                <a:gd name="T31" fmla="*/ 54 h 180"/>
                <a:gd name="T32" fmla="*/ 6 w 170"/>
                <a:gd name="T33" fmla="*/ 56 h 180"/>
                <a:gd name="T34" fmla="*/ 0 w 170"/>
                <a:gd name="T35" fmla="*/ 58 h 180"/>
                <a:gd name="T36" fmla="*/ 0 w 170"/>
                <a:gd name="T37" fmla="*/ 66 h 180"/>
                <a:gd name="T38" fmla="*/ 2 w 170"/>
                <a:gd name="T39" fmla="*/ 70 h 180"/>
                <a:gd name="T40" fmla="*/ 18 w 170"/>
                <a:gd name="T41" fmla="*/ 76 h 180"/>
                <a:gd name="T42" fmla="*/ 32 w 170"/>
                <a:gd name="T43" fmla="*/ 86 h 180"/>
                <a:gd name="T44" fmla="*/ 38 w 170"/>
                <a:gd name="T45" fmla="*/ 102 h 180"/>
                <a:gd name="T46" fmla="*/ 46 w 170"/>
                <a:gd name="T47" fmla="*/ 110 h 180"/>
                <a:gd name="T48" fmla="*/ 48 w 170"/>
                <a:gd name="T49" fmla="*/ 114 h 180"/>
                <a:gd name="T50" fmla="*/ 42 w 170"/>
                <a:gd name="T51" fmla="*/ 116 h 180"/>
                <a:gd name="T52" fmla="*/ 38 w 170"/>
                <a:gd name="T53" fmla="*/ 128 h 180"/>
                <a:gd name="T54" fmla="*/ 38 w 170"/>
                <a:gd name="T55" fmla="*/ 150 h 180"/>
                <a:gd name="T56" fmla="*/ 32 w 170"/>
                <a:gd name="T57" fmla="*/ 162 h 180"/>
                <a:gd name="T58" fmla="*/ 54 w 170"/>
                <a:gd name="T59" fmla="*/ 170 h 180"/>
                <a:gd name="T60" fmla="*/ 70 w 170"/>
                <a:gd name="T61" fmla="*/ 170 h 180"/>
                <a:gd name="T62" fmla="*/ 80 w 170"/>
                <a:gd name="T63" fmla="*/ 178 h 180"/>
                <a:gd name="T64" fmla="*/ 88 w 170"/>
                <a:gd name="T65" fmla="*/ 180 h 180"/>
                <a:gd name="T66" fmla="*/ 108 w 170"/>
                <a:gd name="T67" fmla="*/ 176 h 180"/>
                <a:gd name="T68" fmla="*/ 106 w 170"/>
                <a:gd name="T69" fmla="*/ 164 h 180"/>
                <a:gd name="T70" fmla="*/ 110 w 170"/>
                <a:gd name="T71" fmla="*/ 156 h 180"/>
                <a:gd name="T72" fmla="*/ 122 w 170"/>
                <a:gd name="T73" fmla="*/ 156 h 180"/>
                <a:gd name="T74" fmla="*/ 136 w 170"/>
                <a:gd name="T75" fmla="*/ 156 h 180"/>
                <a:gd name="T76" fmla="*/ 150 w 170"/>
                <a:gd name="T77" fmla="*/ 164 h 180"/>
                <a:gd name="T78" fmla="*/ 156 w 170"/>
                <a:gd name="T79" fmla="*/ 164 h 180"/>
                <a:gd name="T80" fmla="*/ 162 w 170"/>
                <a:gd name="T81" fmla="*/ 154 h 180"/>
                <a:gd name="T82" fmla="*/ 164 w 170"/>
                <a:gd name="T83" fmla="*/ 144 h 180"/>
                <a:gd name="T84" fmla="*/ 162 w 170"/>
                <a:gd name="T85" fmla="*/ 140 h 180"/>
                <a:gd name="T86" fmla="*/ 152 w 170"/>
                <a:gd name="T87" fmla="*/ 136 h 180"/>
                <a:gd name="T88" fmla="*/ 150 w 170"/>
                <a:gd name="T89" fmla="*/ 126 h 180"/>
                <a:gd name="T90" fmla="*/ 154 w 170"/>
                <a:gd name="T91" fmla="*/ 118 h 180"/>
                <a:gd name="T92" fmla="*/ 158 w 170"/>
                <a:gd name="T93" fmla="*/ 106 h 180"/>
                <a:gd name="T94" fmla="*/ 150 w 170"/>
                <a:gd name="T95" fmla="*/ 98 h 180"/>
                <a:gd name="T96" fmla="*/ 150 w 170"/>
                <a:gd name="T97" fmla="*/ 92 h 180"/>
                <a:gd name="T98" fmla="*/ 156 w 170"/>
                <a:gd name="T99" fmla="*/ 78 h 180"/>
                <a:gd name="T100" fmla="*/ 168 w 170"/>
                <a:gd name="T101" fmla="*/ 74 h 180"/>
                <a:gd name="T102" fmla="*/ 164 w 170"/>
                <a:gd name="T103" fmla="*/ 54 h 180"/>
                <a:gd name="T104" fmla="*/ 170 w 170"/>
                <a:gd name="T105" fmla="*/ 46 h 180"/>
                <a:gd name="T106" fmla="*/ 170 w 170"/>
                <a:gd name="T107" fmla="*/ 42 h 180"/>
                <a:gd name="T108" fmla="*/ 158 w 170"/>
                <a:gd name="T109" fmla="*/ 34 h 180"/>
                <a:gd name="T110" fmla="*/ 122 w 170"/>
                <a:gd name="T111" fmla="*/ 30 h 180"/>
                <a:gd name="T112" fmla="*/ 118 w 170"/>
                <a:gd name="T113" fmla="*/ 24 h 180"/>
                <a:gd name="T114" fmla="*/ 112 w 170"/>
                <a:gd name="T115" fmla="*/ 14 h 180"/>
                <a:gd name="T116" fmla="*/ 102 w 170"/>
                <a:gd name="T117" fmla="*/ 10 h 180"/>
                <a:gd name="T118" fmla="*/ 104 w 170"/>
                <a:gd name="T119" fmla="*/ 0 h 180"/>
                <a:gd name="T120" fmla="*/ 90 w 170"/>
                <a:gd name="T12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 h="180">
                  <a:moveTo>
                    <a:pt x="90" y="4"/>
                  </a:moveTo>
                  <a:lnTo>
                    <a:pt x="90" y="4"/>
                  </a:lnTo>
                  <a:lnTo>
                    <a:pt x="90" y="4"/>
                  </a:lnTo>
                  <a:lnTo>
                    <a:pt x="88" y="4"/>
                  </a:lnTo>
                  <a:lnTo>
                    <a:pt x="88" y="6"/>
                  </a:lnTo>
                  <a:lnTo>
                    <a:pt x="88" y="8"/>
                  </a:lnTo>
                  <a:lnTo>
                    <a:pt x="88" y="10"/>
                  </a:lnTo>
                  <a:lnTo>
                    <a:pt x="86" y="14"/>
                  </a:lnTo>
                  <a:lnTo>
                    <a:pt x="86" y="16"/>
                  </a:lnTo>
                  <a:lnTo>
                    <a:pt x="86" y="16"/>
                  </a:lnTo>
                  <a:lnTo>
                    <a:pt x="86" y="18"/>
                  </a:lnTo>
                  <a:lnTo>
                    <a:pt x="84" y="18"/>
                  </a:lnTo>
                  <a:lnTo>
                    <a:pt x="82" y="20"/>
                  </a:lnTo>
                  <a:lnTo>
                    <a:pt x="80" y="22"/>
                  </a:lnTo>
                  <a:lnTo>
                    <a:pt x="78" y="22"/>
                  </a:lnTo>
                  <a:lnTo>
                    <a:pt x="78" y="22"/>
                  </a:lnTo>
                  <a:lnTo>
                    <a:pt x="78" y="24"/>
                  </a:lnTo>
                  <a:lnTo>
                    <a:pt x="78" y="24"/>
                  </a:lnTo>
                  <a:lnTo>
                    <a:pt x="78" y="26"/>
                  </a:lnTo>
                  <a:lnTo>
                    <a:pt x="76" y="28"/>
                  </a:lnTo>
                  <a:lnTo>
                    <a:pt x="76" y="28"/>
                  </a:lnTo>
                  <a:lnTo>
                    <a:pt x="76" y="30"/>
                  </a:lnTo>
                  <a:lnTo>
                    <a:pt x="76" y="30"/>
                  </a:lnTo>
                  <a:lnTo>
                    <a:pt x="74" y="30"/>
                  </a:lnTo>
                  <a:lnTo>
                    <a:pt x="74" y="30"/>
                  </a:lnTo>
                  <a:lnTo>
                    <a:pt x="74" y="30"/>
                  </a:lnTo>
                  <a:lnTo>
                    <a:pt x="72" y="30"/>
                  </a:lnTo>
                  <a:lnTo>
                    <a:pt x="70" y="30"/>
                  </a:lnTo>
                  <a:lnTo>
                    <a:pt x="68" y="30"/>
                  </a:lnTo>
                  <a:lnTo>
                    <a:pt x="66" y="28"/>
                  </a:lnTo>
                  <a:lnTo>
                    <a:pt x="66" y="28"/>
                  </a:lnTo>
                  <a:lnTo>
                    <a:pt x="64" y="28"/>
                  </a:lnTo>
                  <a:lnTo>
                    <a:pt x="64" y="30"/>
                  </a:lnTo>
                  <a:lnTo>
                    <a:pt x="64" y="30"/>
                  </a:lnTo>
                  <a:lnTo>
                    <a:pt x="64" y="30"/>
                  </a:lnTo>
                  <a:lnTo>
                    <a:pt x="64" y="30"/>
                  </a:lnTo>
                  <a:lnTo>
                    <a:pt x="62" y="32"/>
                  </a:lnTo>
                  <a:lnTo>
                    <a:pt x="62" y="34"/>
                  </a:lnTo>
                  <a:lnTo>
                    <a:pt x="62" y="34"/>
                  </a:lnTo>
                  <a:lnTo>
                    <a:pt x="62" y="36"/>
                  </a:lnTo>
                  <a:lnTo>
                    <a:pt x="62" y="38"/>
                  </a:lnTo>
                  <a:lnTo>
                    <a:pt x="62" y="38"/>
                  </a:lnTo>
                  <a:lnTo>
                    <a:pt x="62" y="38"/>
                  </a:lnTo>
                  <a:lnTo>
                    <a:pt x="60" y="38"/>
                  </a:lnTo>
                  <a:lnTo>
                    <a:pt x="60" y="38"/>
                  </a:lnTo>
                  <a:lnTo>
                    <a:pt x="58" y="40"/>
                  </a:lnTo>
                  <a:lnTo>
                    <a:pt x="56" y="40"/>
                  </a:lnTo>
                  <a:lnTo>
                    <a:pt x="54" y="40"/>
                  </a:lnTo>
                  <a:lnTo>
                    <a:pt x="52" y="40"/>
                  </a:lnTo>
                  <a:lnTo>
                    <a:pt x="52" y="40"/>
                  </a:lnTo>
                  <a:lnTo>
                    <a:pt x="50" y="40"/>
                  </a:lnTo>
                  <a:lnTo>
                    <a:pt x="50" y="38"/>
                  </a:lnTo>
                  <a:lnTo>
                    <a:pt x="50" y="38"/>
                  </a:lnTo>
                  <a:lnTo>
                    <a:pt x="48" y="38"/>
                  </a:lnTo>
                  <a:lnTo>
                    <a:pt x="48" y="36"/>
                  </a:lnTo>
                  <a:lnTo>
                    <a:pt x="46" y="34"/>
                  </a:lnTo>
                  <a:lnTo>
                    <a:pt x="46" y="32"/>
                  </a:lnTo>
                  <a:lnTo>
                    <a:pt x="44" y="32"/>
                  </a:lnTo>
                  <a:lnTo>
                    <a:pt x="44" y="30"/>
                  </a:lnTo>
                  <a:lnTo>
                    <a:pt x="44" y="30"/>
                  </a:lnTo>
                  <a:lnTo>
                    <a:pt x="42" y="30"/>
                  </a:lnTo>
                  <a:lnTo>
                    <a:pt x="42" y="30"/>
                  </a:lnTo>
                  <a:lnTo>
                    <a:pt x="40" y="30"/>
                  </a:lnTo>
                  <a:lnTo>
                    <a:pt x="40" y="30"/>
                  </a:lnTo>
                  <a:lnTo>
                    <a:pt x="38" y="30"/>
                  </a:lnTo>
                  <a:lnTo>
                    <a:pt x="38" y="30"/>
                  </a:lnTo>
                  <a:lnTo>
                    <a:pt x="36" y="32"/>
                  </a:lnTo>
                  <a:lnTo>
                    <a:pt x="36" y="32"/>
                  </a:lnTo>
                  <a:lnTo>
                    <a:pt x="36" y="32"/>
                  </a:lnTo>
                  <a:lnTo>
                    <a:pt x="36" y="32"/>
                  </a:lnTo>
                  <a:lnTo>
                    <a:pt x="36" y="34"/>
                  </a:lnTo>
                  <a:lnTo>
                    <a:pt x="36" y="34"/>
                  </a:lnTo>
                  <a:lnTo>
                    <a:pt x="36" y="36"/>
                  </a:lnTo>
                  <a:lnTo>
                    <a:pt x="36" y="36"/>
                  </a:lnTo>
                  <a:lnTo>
                    <a:pt x="38" y="38"/>
                  </a:lnTo>
                  <a:lnTo>
                    <a:pt x="38" y="40"/>
                  </a:lnTo>
                  <a:lnTo>
                    <a:pt x="38" y="40"/>
                  </a:lnTo>
                  <a:lnTo>
                    <a:pt x="38" y="42"/>
                  </a:lnTo>
                  <a:lnTo>
                    <a:pt x="38" y="44"/>
                  </a:lnTo>
                  <a:lnTo>
                    <a:pt x="38" y="46"/>
                  </a:lnTo>
                  <a:lnTo>
                    <a:pt x="38" y="48"/>
                  </a:lnTo>
                  <a:lnTo>
                    <a:pt x="36" y="48"/>
                  </a:lnTo>
                  <a:lnTo>
                    <a:pt x="36" y="50"/>
                  </a:lnTo>
                  <a:lnTo>
                    <a:pt x="36" y="50"/>
                  </a:lnTo>
                  <a:lnTo>
                    <a:pt x="36" y="50"/>
                  </a:lnTo>
                  <a:lnTo>
                    <a:pt x="34" y="50"/>
                  </a:lnTo>
                  <a:lnTo>
                    <a:pt x="32" y="50"/>
                  </a:lnTo>
                  <a:lnTo>
                    <a:pt x="30" y="50"/>
                  </a:lnTo>
                  <a:lnTo>
                    <a:pt x="26" y="50"/>
                  </a:lnTo>
                  <a:lnTo>
                    <a:pt x="26" y="50"/>
                  </a:lnTo>
                  <a:lnTo>
                    <a:pt x="24" y="50"/>
                  </a:lnTo>
                  <a:lnTo>
                    <a:pt x="24" y="50"/>
                  </a:lnTo>
                  <a:lnTo>
                    <a:pt x="22" y="52"/>
                  </a:lnTo>
                  <a:lnTo>
                    <a:pt x="20" y="52"/>
                  </a:lnTo>
                  <a:lnTo>
                    <a:pt x="18" y="54"/>
                  </a:lnTo>
                  <a:lnTo>
                    <a:pt x="18" y="54"/>
                  </a:lnTo>
                  <a:lnTo>
                    <a:pt x="16" y="56"/>
                  </a:lnTo>
                  <a:lnTo>
                    <a:pt x="14" y="56"/>
                  </a:lnTo>
                  <a:lnTo>
                    <a:pt x="14" y="56"/>
                  </a:lnTo>
                  <a:lnTo>
                    <a:pt x="12" y="56"/>
                  </a:lnTo>
                  <a:lnTo>
                    <a:pt x="8" y="56"/>
                  </a:lnTo>
                  <a:lnTo>
                    <a:pt x="6" y="56"/>
                  </a:lnTo>
                  <a:lnTo>
                    <a:pt x="4" y="56"/>
                  </a:lnTo>
                  <a:lnTo>
                    <a:pt x="2" y="56"/>
                  </a:lnTo>
                  <a:lnTo>
                    <a:pt x="2" y="58"/>
                  </a:lnTo>
                  <a:lnTo>
                    <a:pt x="2" y="58"/>
                  </a:lnTo>
                  <a:lnTo>
                    <a:pt x="0" y="58"/>
                  </a:lnTo>
                  <a:lnTo>
                    <a:pt x="0" y="58"/>
                  </a:lnTo>
                  <a:lnTo>
                    <a:pt x="0" y="58"/>
                  </a:lnTo>
                  <a:lnTo>
                    <a:pt x="0" y="60"/>
                  </a:lnTo>
                  <a:lnTo>
                    <a:pt x="0" y="60"/>
                  </a:lnTo>
                  <a:lnTo>
                    <a:pt x="0" y="62"/>
                  </a:lnTo>
                  <a:lnTo>
                    <a:pt x="0" y="64"/>
                  </a:lnTo>
                  <a:lnTo>
                    <a:pt x="0" y="66"/>
                  </a:lnTo>
                  <a:lnTo>
                    <a:pt x="0" y="66"/>
                  </a:lnTo>
                  <a:lnTo>
                    <a:pt x="0" y="68"/>
                  </a:lnTo>
                  <a:lnTo>
                    <a:pt x="0" y="68"/>
                  </a:lnTo>
                  <a:lnTo>
                    <a:pt x="0" y="68"/>
                  </a:lnTo>
                  <a:lnTo>
                    <a:pt x="2" y="70"/>
                  </a:lnTo>
                  <a:lnTo>
                    <a:pt x="2" y="70"/>
                  </a:lnTo>
                  <a:lnTo>
                    <a:pt x="4" y="72"/>
                  </a:lnTo>
                  <a:lnTo>
                    <a:pt x="6" y="72"/>
                  </a:lnTo>
                  <a:lnTo>
                    <a:pt x="8" y="74"/>
                  </a:lnTo>
                  <a:lnTo>
                    <a:pt x="14" y="76"/>
                  </a:lnTo>
                  <a:lnTo>
                    <a:pt x="16" y="76"/>
                  </a:lnTo>
                  <a:lnTo>
                    <a:pt x="18" y="76"/>
                  </a:lnTo>
                  <a:lnTo>
                    <a:pt x="22" y="78"/>
                  </a:lnTo>
                  <a:lnTo>
                    <a:pt x="24" y="80"/>
                  </a:lnTo>
                  <a:lnTo>
                    <a:pt x="26" y="80"/>
                  </a:lnTo>
                  <a:lnTo>
                    <a:pt x="28" y="82"/>
                  </a:lnTo>
                  <a:lnTo>
                    <a:pt x="28" y="82"/>
                  </a:lnTo>
                  <a:lnTo>
                    <a:pt x="32" y="86"/>
                  </a:lnTo>
                  <a:lnTo>
                    <a:pt x="34" y="88"/>
                  </a:lnTo>
                  <a:lnTo>
                    <a:pt x="36" y="90"/>
                  </a:lnTo>
                  <a:lnTo>
                    <a:pt x="36" y="92"/>
                  </a:lnTo>
                  <a:lnTo>
                    <a:pt x="36" y="94"/>
                  </a:lnTo>
                  <a:lnTo>
                    <a:pt x="38" y="98"/>
                  </a:lnTo>
                  <a:lnTo>
                    <a:pt x="38" y="102"/>
                  </a:lnTo>
                  <a:lnTo>
                    <a:pt x="40" y="104"/>
                  </a:lnTo>
                  <a:lnTo>
                    <a:pt x="40" y="104"/>
                  </a:lnTo>
                  <a:lnTo>
                    <a:pt x="40" y="106"/>
                  </a:lnTo>
                  <a:lnTo>
                    <a:pt x="42" y="106"/>
                  </a:lnTo>
                  <a:lnTo>
                    <a:pt x="46" y="110"/>
                  </a:lnTo>
                  <a:lnTo>
                    <a:pt x="46" y="110"/>
                  </a:lnTo>
                  <a:lnTo>
                    <a:pt x="48" y="112"/>
                  </a:lnTo>
                  <a:lnTo>
                    <a:pt x="48" y="112"/>
                  </a:lnTo>
                  <a:lnTo>
                    <a:pt x="48" y="112"/>
                  </a:lnTo>
                  <a:lnTo>
                    <a:pt x="48" y="112"/>
                  </a:lnTo>
                  <a:lnTo>
                    <a:pt x="48" y="114"/>
                  </a:lnTo>
                  <a:lnTo>
                    <a:pt x="48" y="114"/>
                  </a:lnTo>
                  <a:lnTo>
                    <a:pt x="48" y="114"/>
                  </a:lnTo>
                  <a:lnTo>
                    <a:pt x="48" y="114"/>
                  </a:lnTo>
                  <a:lnTo>
                    <a:pt x="46" y="116"/>
                  </a:lnTo>
                  <a:lnTo>
                    <a:pt x="46" y="116"/>
                  </a:lnTo>
                  <a:lnTo>
                    <a:pt x="44" y="116"/>
                  </a:lnTo>
                  <a:lnTo>
                    <a:pt x="42" y="116"/>
                  </a:lnTo>
                  <a:lnTo>
                    <a:pt x="42" y="118"/>
                  </a:lnTo>
                  <a:lnTo>
                    <a:pt x="40" y="118"/>
                  </a:lnTo>
                  <a:lnTo>
                    <a:pt x="40" y="120"/>
                  </a:lnTo>
                  <a:lnTo>
                    <a:pt x="40" y="122"/>
                  </a:lnTo>
                  <a:lnTo>
                    <a:pt x="38" y="126"/>
                  </a:lnTo>
                  <a:lnTo>
                    <a:pt x="38" y="128"/>
                  </a:lnTo>
                  <a:lnTo>
                    <a:pt x="38" y="130"/>
                  </a:lnTo>
                  <a:lnTo>
                    <a:pt x="38" y="136"/>
                  </a:lnTo>
                  <a:lnTo>
                    <a:pt x="38" y="140"/>
                  </a:lnTo>
                  <a:lnTo>
                    <a:pt x="38" y="146"/>
                  </a:lnTo>
                  <a:lnTo>
                    <a:pt x="38" y="148"/>
                  </a:lnTo>
                  <a:lnTo>
                    <a:pt x="38" y="150"/>
                  </a:lnTo>
                  <a:lnTo>
                    <a:pt x="36" y="152"/>
                  </a:lnTo>
                  <a:lnTo>
                    <a:pt x="36" y="154"/>
                  </a:lnTo>
                  <a:lnTo>
                    <a:pt x="36" y="154"/>
                  </a:lnTo>
                  <a:lnTo>
                    <a:pt x="36" y="156"/>
                  </a:lnTo>
                  <a:lnTo>
                    <a:pt x="34" y="160"/>
                  </a:lnTo>
                  <a:lnTo>
                    <a:pt x="32" y="162"/>
                  </a:lnTo>
                  <a:lnTo>
                    <a:pt x="40" y="166"/>
                  </a:lnTo>
                  <a:lnTo>
                    <a:pt x="46" y="168"/>
                  </a:lnTo>
                  <a:lnTo>
                    <a:pt x="48" y="168"/>
                  </a:lnTo>
                  <a:lnTo>
                    <a:pt x="50" y="170"/>
                  </a:lnTo>
                  <a:lnTo>
                    <a:pt x="52" y="170"/>
                  </a:lnTo>
                  <a:lnTo>
                    <a:pt x="54" y="170"/>
                  </a:lnTo>
                  <a:lnTo>
                    <a:pt x="60" y="170"/>
                  </a:lnTo>
                  <a:lnTo>
                    <a:pt x="64" y="170"/>
                  </a:lnTo>
                  <a:lnTo>
                    <a:pt x="66" y="170"/>
                  </a:lnTo>
                  <a:lnTo>
                    <a:pt x="68" y="170"/>
                  </a:lnTo>
                  <a:lnTo>
                    <a:pt x="70" y="170"/>
                  </a:lnTo>
                  <a:lnTo>
                    <a:pt x="70" y="170"/>
                  </a:lnTo>
                  <a:lnTo>
                    <a:pt x="72" y="170"/>
                  </a:lnTo>
                  <a:lnTo>
                    <a:pt x="72" y="172"/>
                  </a:lnTo>
                  <a:lnTo>
                    <a:pt x="76" y="174"/>
                  </a:lnTo>
                  <a:lnTo>
                    <a:pt x="76" y="176"/>
                  </a:lnTo>
                  <a:lnTo>
                    <a:pt x="78" y="178"/>
                  </a:lnTo>
                  <a:lnTo>
                    <a:pt x="80" y="178"/>
                  </a:lnTo>
                  <a:lnTo>
                    <a:pt x="80" y="178"/>
                  </a:lnTo>
                  <a:lnTo>
                    <a:pt x="80" y="180"/>
                  </a:lnTo>
                  <a:lnTo>
                    <a:pt x="82" y="180"/>
                  </a:lnTo>
                  <a:lnTo>
                    <a:pt x="84" y="180"/>
                  </a:lnTo>
                  <a:lnTo>
                    <a:pt x="86" y="180"/>
                  </a:lnTo>
                  <a:lnTo>
                    <a:pt x="88" y="180"/>
                  </a:lnTo>
                  <a:lnTo>
                    <a:pt x="92" y="180"/>
                  </a:lnTo>
                  <a:lnTo>
                    <a:pt x="96" y="180"/>
                  </a:lnTo>
                  <a:lnTo>
                    <a:pt x="102" y="178"/>
                  </a:lnTo>
                  <a:lnTo>
                    <a:pt x="104" y="178"/>
                  </a:lnTo>
                  <a:lnTo>
                    <a:pt x="108" y="178"/>
                  </a:lnTo>
                  <a:lnTo>
                    <a:pt x="108" y="176"/>
                  </a:lnTo>
                  <a:lnTo>
                    <a:pt x="108" y="174"/>
                  </a:lnTo>
                  <a:lnTo>
                    <a:pt x="106" y="170"/>
                  </a:lnTo>
                  <a:lnTo>
                    <a:pt x="106" y="170"/>
                  </a:lnTo>
                  <a:lnTo>
                    <a:pt x="106" y="168"/>
                  </a:lnTo>
                  <a:lnTo>
                    <a:pt x="106" y="166"/>
                  </a:lnTo>
                  <a:lnTo>
                    <a:pt x="106" y="164"/>
                  </a:lnTo>
                  <a:lnTo>
                    <a:pt x="106" y="164"/>
                  </a:lnTo>
                  <a:lnTo>
                    <a:pt x="108" y="162"/>
                  </a:lnTo>
                  <a:lnTo>
                    <a:pt x="108" y="160"/>
                  </a:lnTo>
                  <a:lnTo>
                    <a:pt x="108" y="158"/>
                  </a:lnTo>
                  <a:lnTo>
                    <a:pt x="110" y="158"/>
                  </a:lnTo>
                  <a:lnTo>
                    <a:pt x="110" y="156"/>
                  </a:lnTo>
                  <a:lnTo>
                    <a:pt x="112" y="156"/>
                  </a:lnTo>
                  <a:lnTo>
                    <a:pt x="114" y="156"/>
                  </a:lnTo>
                  <a:lnTo>
                    <a:pt x="114" y="156"/>
                  </a:lnTo>
                  <a:lnTo>
                    <a:pt x="116" y="156"/>
                  </a:lnTo>
                  <a:lnTo>
                    <a:pt x="120" y="156"/>
                  </a:lnTo>
                  <a:lnTo>
                    <a:pt x="122" y="156"/>
                  </a:lnTo>
                  <a:lnTo>
                    <a:pt x="128" y="154"/>
                  </a:lnTo>
                  <a:lnTo>
                    <a:pt x="132" y="154"/>
                  </a:lnTo>
                  <a:lnTo>
                    <a:pt x="134" y="154"/>
                  </a:lnTo>
                  <a:lnTo>
                    <a:pt x="134" y="156"/>
                  </a:lnTo>
                  <a:lnTo>
                    <a:pt x="136" y="156"/>
                  </a:lnTo>
                  <a:lnTo>
                    <a:pt x="136" y="156"/>
                  </a:lnTo>
                  <a:lnTo>
                    <a:pt x="140" y="158"/>
                  </a:lnTo>
                  <a:lnTo>
                    <a:pt x="142" y="160"/>
                  </a:lnTo>
                  <a:lnTo>
                    <a:pt x="142" y="162"/>
                  </a:lnTo>
                  <a:lnTo>
                    <a:pt x="144" y="162"/>
                  </a:lnTo>
                  <a:lnTo>
                    <a:pt x="146" y="164"/>
                  </a:lnTo>
                  <a:lnTo>
                    <a:pt x="150" y="164"/>
                  </a:lnTo>
                  <a:lnTo>
                    <a:pt x="152" y="164"/>
                  </a:lnTo>
                  <a:lnTo>
                    <a:pt x="152" y="166"/>
                  </a:lnTo>
                  <a:lnTo>
                    <a:pt x="154" y="166"/>
                  </a:lnTo>
                  <a:lnTo>
                    <a:pt x="154" y="166"/>
                  </a:lnTo>
                  <a:lnTo>
                    <a:pt x="156" y="166"/>
                  </a:lnTo>
                  <a:lnTo>
                    <a:pt x="156" y="164"/>
                  </a:lnTo>
                  <a:lnTo>
                    <a:pt x="156" y="164"/>
                  </a:lnTo>
                  <a:lnTo>
                    <a:pt x="158" y="164"/>
                  </a:lnTo>
                  <a:lnTo>
                    <a:pt x="158" y="162"/>
                  </a:lnTo>
                  <a:lnTo>
                    <a:pt x="160" y="160"/>
                  </a:lnTo>
                  <a:lnTo>
                    <a:pt x="160" y="158"/>
                  </a:lnTo>
                  <a:lnTo>
                    <a:pt x="162" y="154"/>
                  </a:lnTo>
                  <a:lnTo>
                    <a:pt x="162" y="152"/>
                  </a:lnTo>
                  <a:lnTo>
                    <a:pt x="164" y="150"/>
                  </a:lnTo>
                  <a:lnTo>
                    <a:pt x="164" y="150"/>
                  </a:lnTo>
                  <a:lnTo>
                    <a:pt x="164" y="146"/>
                  </a:lnTo>
                  <a:lnTo>
                    <a:pt x="164" y="144"/>
                  </a:lnTo>
                  <a:lnTo>
                    <a:pt x="164" y="144"/>
                  </a:lnTo>
                  <a:lnTo>
                    <a:pt x="164" y="142"/>
                  </a:lnTo>
                  <a:lnTo>
                    <a:pt x="164" y="142"/>
                  </a:lnTo>
                  <a:lnTo>
                    <a:pt x="164" y="140"/>
                  </a:lnTo>
                  <a:lnTo>
                    <a:pt x="162" y="140"/>
                  </a:lnTo>
                  <a:lnTo>
                    <a:pt x="162" y="140"/>
                  </a:lnTo>
                  <a:lnTo>
                    <a:pt x="162" y="140"/>
                  </a:lnTo>
                  <a:lnTo>
                    <a:pt x="160" y="138"/>
                  </a:lnTo>
                  <a:lnTo>
                    <a:pt x="158" y="138"/>
                  </a:lnTo>
                  <a:lnTo>
                    <a:pt x="156" y="138"/>
                  </a:lnTo>
                  <a:lnTo>
                    <a:pt x="154" y="138"/>
                  </a:lnTo>
                  <a:lnTo>
                    <a:pt x="152" y="136"/>
                  </a:lnTo>
                  <a:lnTo>
                    <a:pt x="152" y="136"/>
                  </a:lnTo>
                  <a:lnTo>
                    <a:pt x="152" y="136"/>
                  </a:lnTo>
                  <a:lnTo>
                    <a:pt x="152" y="134"/>
                  </a:lnTo>
                  <a:lnTo>
                    <a:pt x="150" y="132"/>
                  </a:lnTo>
                  <a:lnTo>
                    <a:pt x="150" y="130"/>
                  </a:lnTo>
                  <a:lnTo>
                    <a:pt x="150" y="128"/>
                  </a:lnTo>
                  <a:lnTo>
                    <a:pt x="150" y="126"/>
                  </a:lnTo>
                  <a:lnTo>
                    <a:pt x="150" y="124"/>
                  </a:lnTo>
                  <a:lnTo>
                    <a:pt x="150" y="124"/>
                  </a:lnTo>
                  <a:lnTo>
                    <a:pt x="150" y="122"/>
                  </a:lnTo>
                  <a:lnTo>
                    <a:pt x="152" y="120"/>
                  </a:lnTo>
                  <a:lnTo>
                    <a:pt x="152" y="120"/>
                  </a:lnTo>
                  <a:lnTo>
                    <a:pt x="154" y="118"/>
                  </a:lnTo>
                  <a:lnTo>
                    <a:pt x="156" y="116"/>
                  </a:lnTo>
                  <a:lnTo>
                    <a:pt x="156" y="114"/>
                  </a:lnTo>
                  <a:lnTo>
                    <a:pt x="158" y="112"/>
                  </a:lnTo>
                  <a:lnTo>
                    <a:pt x="158" y="112"/>
                  </a:lnTo>
                  <a:lnTo>
                    <a:pt x="158" y="110"/>
                  </a:lnTo>
                  <a:lnTo>
                    <a:pt x="158" y="106"/>
                  </a:lnTo>
                  <a:lnTo>
                    <a:pt x="158" y="104"/>
                  </a:lnTo>
                  <a:lnTo>
                    <a:pt x="158" y="102"/>
                  </a:lnTo>
                  <a:lnTo>
                    <a:pt x="156" y="102"/>
                  </a:lnTo>
                  <a:lnTo>
                    <a:pt x="154" y="100"/>
                  </a:lnTo>
                  <a:lnTo>
                    <a:pt x="152" y="98"/>
                  </a:lnTo>
                  <a:lnTo>
                    <a:pt x="150" y="98"/>
                  </a:lnTo>
                  <a:lnTo>
                    <a:pt x="150" y="96"/>
                  </a:lnTo>
                  <a:lnTo>
                    <a:pt x="150" y="96"/>
                  </a:lnTo>
                  <a:lnTo>
                    <a:pt x="148" y="96"/>
                  </a:lnTo>
                  <a:lnTo>
                    <a:pt x="148" y="94"/>
                  </a:lnTo>
                  <a:lnTo>
                    <a:pt x="148" y="94"/>
                  </a:lnTo>
                  <a:lnTo>
                    <a:pt x="150" y="92"/>
                  </a:lnTo>
                  <a:lnTo>
                    <a:pt x="150" y="90"/>
                  </a:lnTo>
                  <a:lnTo>
                    <a:pt x="150" y="88"/>
                  </a:lnTo>
                  <a:lnTo>
                    <a:pt x="152" y="86"/>
                  </a:lnTo>
                  <a:lnTo>
                    <a:pt x="152" y="84"/>
                  </a:lnTo>
                  <a:lnTo>
                    <a:pt x="154" y="80"/>
                  </a:lnTo>
                  <a:lnTo>
                    <a:pt x="156" y="78"/>
                  </a:lnTo>
                  <a:lnTo>
                    <a:pt x="158" y="78"/>
                  </a:lnTo>
                  <a:lnTo>
                    <a:pt x="158" y="76"/>
                  </a:lnTo>
                  <a:lnTo>
                    <a:pt x="158" y="76"/>
                  </a:lnTo>
                  <a:lnTo>
                    <a:pt x="160" y="76"/>
                  </a:lnTo>
                  <a:lnTo>
                    <a:pt x="164" y="74"/>
                  </a:lnTo>
                  <a:lnTo>
                    <a:pt x="168" y="74"/>
                  </a:lnTo>
                  <a:lnTo>
                    <a:pt x="166" y="72"/>
                  </a:lnTo>
                  <a:lnTo>
                    <a:pt x="166" y="66"/>
                  </a:lnTo>
                  <a:lnTo>
                    <a:pt x="164" y="62"/>
                  </a:lnTo>
                  <a:lnTo>
                    <a:pt x="164" y="58"/>
                  </a:lnTo>
                  <a:lnTo>
                    <a:pt x="164" y="54"/>
                  </a:lnTo>
                  <a:lnTo>
                    <a:pt x="164" y="54"/>
                  </a:lnTo>
                  <a:lnTo>
                    <a:pt x="164" y="52"/>
                  </a:lnTo>
                  <a:lnTo>
                    <a:pt x="164" y="52"/>
                  </a:lnTo>
                  <a:lnTo>
                    <a:pt x="166" y="50"/>
                  </a:lnTo>
                  <a:lnTo>
                    <a:pt x="168" y="48"/>
                  </a:lnTo>
                  <a:lnTo>
                    <a:pt x="170" y="48"/>
                  </a:lnTo>
                  <a:lnTo>
                    <a:pt x="170" y="46"/>
                  </a:lnTo>
                  <a:lnTo>
                    <a:pt x="170" y="46"/>
                  </a:lnTo>
                  <a:lnTo>
                    <a:pt x="170" y="46"/>
                  </a:lnTo>
                  <a:lnTo>
                    <a:pt x="170" y="44"/>
                  </a:lnTo>
                  <a:lnTo>
                    <a:pt x="170" y="44"/>
                  </a:lnTo>
                  <a:lnTo>
                    <a:pt x="170" y="44"/>
                  </a:lnTo>
                  <a:lnTo>
                    <a:pt x="170" y="42"/>
                  </a:lnTo>
                  <a:lnTo>
                    <a:pt x="168" y="42"/>
                  </a:lnTo>
                  <a:lnTo>
                    <a:pt x="166" y="40"/>
                  </a:lnTo>
                  <a:lnTo>
                    <a:pt x="164" y="38"/>
                  </a:lnTo>
                  <a:lnTo>
                    <a:pt x="162" y="36"/>
                  </a:lnTo>
                  <a:lnTo>
                    <a:pt x="160" y="34"/>
                  </a:lnTo>
                  <a:lnTo>
                    <a:pt x="158" y="34"/>
                  </a:lnTo>
                  <a:lnTo>
                    <a:pt x="136" y="34"/>
                  </a:lnTo>
                  <a:lnTo>
                    <a:pt x="134" y="34"/>
                  </a:lnTo>
                  <a:lnTo>
                    <a:pt x="130" y="32"/>
                  </a:lnTo>
                  <a:lnTo>
                    <a:pt x="128" y="32"/>
                  </a:lnTo>
                  <a:lnTo>
                    <a:pt x="124" y="30"/>
                  </a:lnTo>
                  <a:lnTo>
                    <a:pt x="122" y="30"/>
                  </a:lnTo>
                  <a:lnTo>
                    <a:pt x="120" y="28"/>
                  </a:lnTo>
                  <a:lnTo>
                    <a:pt x="120" y="28"/>
                  </a:lnTo>
                  <a:lnTo>
                    <a:pt x="120" y="28"/>
                  </a:lnTo>
                  <a:lnTo>
                    <a:pt x="120" y="28"/>
                  </a:lnTo>
                  <a:lnTo>
                    <a:pt x="118" y="26"/>
                  </a:lnTo>
                  <a:lnTo>
                    <a:pt x="118" y="24"/>
                  </a:lnTo>
                  <a:lnTo>
                    <a:pt x="118" y="22"/>
                  </a:lnTo>
                  <a:lnTo>
                    <a:pt x="116" y="18"/>
                  </a:lnTo>
                  <a:lnTo>
                    <a:pt x="114" y="16"/>
                  </a:lnTo>
                  <a:lnTo>
                    <a:pt x="114" y="16"/>
                  </a:lnTo>
                  <a:lnTo>
                    <a:pt x="112" y="14"/>
                  </a:lnTo>
                  <a:lnTo>
                    <a:pt x="112" y="14"/>
                  </a:lnTo>
                  <a:lnTo>
                    <a:pt x="108" y="12"/>
                  </a:lnTo>
                  <a:lnTo>
                    <a:pt x="106" y="12"/>
                  </a:lnTo>
                  <a:lnTo>
                    <a:pt x="104" y="12"/>
                  </a:lnTo>
                  <a:lnTo>
                    <a:pt x="104" y="10"/>
                  </a:lnTo>
                  <a:lnTo>
                    <a:pt x="102" y="10"/>
                  </a:lnTo>
                  <a:lnTo>
                    <a:pt x="102" y="10"/>
                  </a:lnTo>
                  <a:lnTo>
                    <a:pt x="102" y="8"/>
                  </a:lnTo>
                  <a:lnTo>
                    <a:pt x="102" y="8"/>
                  </a:lnTo>
                  <a:lnTo>
                    <a:pt x="102" y="6"/>
                  </a:lnTo>
                  <a:lnTo>
                    <a:pt x="102" y="4"/>
                  </a:lnTo>
                  <a:lnTo>
                    <a:pt x="104" y="2"/>
                  </a:lnTo>
                  <a:lnTo>
                    <a:pt x="104" y="0"/>
                  </a:lnTo>
                  <a:lnTo>
                    <a:pt x="102" y="0"/>
                  </a:lnTo>
                  <a:lnTo>
                    <a:pt x="98" y="2"/>
                  </a:lnTo>
                  <a:lnTo>
                    <a:pt x="96" y="2"/>
                  </a:lnTo>
                  <a:lnTo>
                    <a:pt x="92" y="2"/>
                  </a:lnTo>
                  <a:lnTo>
                    <a:pt x="90" y="2"/>
                  </a:lnTo>
                  <a:lnTo>
                    <a:pt x="90" y="4"/>
                  </a:lnTo>
                  <a:lnTo>
                    <a:pt x="90" y="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7" name="Freeform 285">
              <a:extLst>
                <a:ext uri="{FF2B5EF4-FFF2-40B4-BE49-F238E27FC236}">
                  <a16:creationId xmlns:a16="http://schemas.microsoft.com/office/drawing/2014/main" id="{27BFF4A0-2E37-4D7B-97AA-8EEF8DB16B8E}"/>
                </a:ext>
              </a:extLst>
            </p:cNvPr>
            <p:cNvSpPr>
              <a:spLocks/>
            </p:cNvSpPr>
            <p:nvPr/>
          </p:nvSpPr>
          <p:spPr bwMode="auto">
            <a:xfrm>
              <a:off x="4480525" y="3361011"/>
              <a:ext cx="27713" cy="48498"/>
            </a:xfrm>
            <a:custGeom>
              <a:avLst/>
              <a:gdLst>
                <a:gd name="T0" fmla="*/ 12 w 16"/>
                <a:gd name="T1" fmla="*/ 0 h 28"/>
                <a:gd name="T2" fmla="*/ 12 w 16"/>
                <a:gd name="T3" fmla="*/ 0 h 28"/>
                <a:gd name="T4" fmla="*/ 12 w 16"/>
                <a:gd name="T5" fmla="*/ 0 h 28"/>
                <a:gd name="T6" fmla="*/ 12 w 16"/>
                <a:gd name="T7" fmla="*/ 0 h 28"/>
                <a:gd name="T8" fmla="*/ 12 w 16"/>
                <a:gd name="T9" fmla="*/ 0 h 28"/>
                <a:gd name="T10" fmla="*/ 12 w 16"/>
                <a:gd name="T11" fmla="*/ 2 h 28"/>
                <a:gd name="T12" fmla="*/ 10 w 16"/>
                <a:gd name="T13" fmla="*/ 2 h 28"/>
                <a:gd name="T14" fmla="*/ 10 w 16"/>
                <a:gd name="T15" fmla="*/ 4 h 28"/>
                <a:gd name="T16" fmla="*/ 10 w 16"/>
                <a:gd name="T17" fmla="*/ 4 h 28"/>
                <a:gd name="T18" fmla="*/ 10 w 16"/>
                <a:gd name="T19" fmla="*/ 6 h 28"/>
                <a:gd name="T20" fmla="*/ 8 w 16"/>
                <a:gd name="T21" fmla="*/ 6 h 28"/>
                <a:gd name="T22" fmla="*/ 8 w 16"/>
                <a:gd name="T23" fmla="*/ 6 h 28"/>
                <a:gd name="T24" fmla="*/ 4 w 16"/>
                <a:gd name="T25" fmla="*/ 8 h 28"/>
                <a:gd name="T26" fmla="*/ 4 w 16"/>
                <a:gd name="T27" fmla="*/ 8 h 28"/>
                <a:gd name="T28" fmla="*/ 2 w 16"/>
                <a:gd name="T29" fmla="*/ 10 h 28"/>
                <a:gd name="T30" fmla="*/ 2 w 16"/>
                <a:gd name="T31" fmla="*/ 10 h 28"/>
                <a:gd name="T32" fmla="*/ 0 w 16"/>
                <a:gd name="T33" fmla="*/ 12 h 28"/>
                <a:gd name="T34" fmla="*/ 0 w 16"/>
                <a:gd name="T35" fmla="*/ 12 h 28"/>
                <a:gd name="T36" fmla="*/ 0 w 16"/>
                <a:gd name="T37" fmla="*/ 14 h 28"/>
                <a:gd name="T38" fmla="*/ 0 w 16"/>
                <a:gd name="T39" fmla="*/ 14 h 28"/>
                <a:gd name="T40" fmla="*/ 0 w 16"/>
                <a:gd name="T41" fmla="*/ 16 h 28"/>
                <a:gd name="T42" fmla="*/ 2 w 16"/>
                <a:gd name="T43" fmla="*/ 18 h 28"/>
                <a:gd name="T44" fmla="*/ 2 w 16"/>
                <a:gd name="T45" fmla="*/ 18 h 28"/>
                <a:gd name="T46" fmla="*/ 2 w 16"/>
                <a:gd name="T47" fmla="*/ 20 h 28"/>
                <a:gd name="T48" fmla="*/ 2 w 16"/>
                <a:gd name="T49" fmla="*/ 22 h 28"/>
                <a:gd name="T50" fmla="*/ 4 w 16"/>
                <a:gd name="T51" fmla="*/ 22 h 28"/>
                <a:gd name="T52" fmla="*/ 6 w 16"/>
                <a:gd name="T53" fmla="*/ 24 h 28"/>
                <a:gd name="T54" fmla="*/ 6 w 16"/>
                <a:gd name="T55" fmla="*/ 26 h 28"/>
                <a:gd name="T56" fmla="*/ 8 w 16"/>
                <a:gd name="T57" fmla="*/ 26 h 28"/>
                <a:gd name="T58" fmla="*/ 8 w 16"/>
                <a:gd name="T59" fmla="*/ 28 h 28"/>
                <a:gd name="T60" fmla="*/ 10 w 16"/>
                <a:gd name="T61" fmla="*/ 28 h 28"/>
                <a:gd name="T62" fmla="*/ 10 w 16"/>
                <a:gd name="T63" fmla="*/ 28 h 28"/>
                <a:gd name="T64" fmla="*/ 10 w 16"/>
                <a:gd name="T65" fmla="*/ 28 h 28"/>
                <a:gd name="T66" fmla="*/ 10 w 16"/>
                <a:gd name="T67" fmla="*/ 28 h 28"/>
                <a:gd name="T68" fmla="*/ 12 w 16"/>
                <a:gd name="T69" fmla="*/ 26 h 28"/>
                <a:gd name="T70" fmla="*/ 12 w 16"/>
                <a:gd name="T71" fmla="*/ 26 h 28"/>
                <a:gd name="T72" fmla="*/ 14 w 16"/>
                <a:gd name="T73" fmla="*/ 24 h 28"/>
                <a:gd name="T74" fmla="*/ 14 w 16"/>
                <a:gd name="T75" fmla="*/ 22 h 28"/>
                <a:gd name="T76" fmla="*/ 16 w 16"/>
                <a:gd name="T77" fmla="*/ 20 h 28"/>
                <a:gd name="T78" fmla="*/ 16 w 16"/>
                <a:gd name="T79" fmla="*/ 18 h 28"/>
                <a:gd name="T80" fmla="*/ 16 w 16"/>
                <a:gd name="T81" fmla="*/ 16 h 28"/>
                <a:gd name="T82" fmla="*/ 16 w 16"/>
                <a:gd name="T83" fmla="*/ 14 h 28"/>
                <a:gd name="T84" fmla="*/ 16 w 16"/>
                <a:gd name="T85" fmla="*/ 12 h 28"/>
                <a:gd name="T86" fmla="*/ 16 w 16"/>
                <a:gd name="T87" fmla="*/ 10 h 28"/>
                <a:gd name="T88" fmla="*/ 16 w 16"/>
                <a:gd name="T89" fmla="*/ 8 h 28"/>
                <a:gd name="T90" fmla="*/ 16 w 16"/>
                <a:gd name="T91" fmla="*/ 6 h 28"/>
                <a:gd name="T92" fmla="*/ 16 w 16"/>
                <a:gd name="T93" fmla="*/ 4 h 28"/>
                <a:gd name="T94" fmla="*/ 14 w 16"/>
                <a:gd name="T95" fmla="*/ 2 h 28"/>
                <a:gd name="T96" fmla="*/ 14 w 16"/>
                <a:gd name="T97" fmla="*/ 2 h 28"/>
                <a:gd name="T98" fmla="*/ 14 w 16"/>
                <a:gd name="T99" fmla="*/ 2 h 28"/>
                <a:gd name="T100" fmla="*/ 14 w 16"/>
                <a:gd name="T101" fmla="*/ 0 h 28"/>
                <a:gd name="T102" fmla="*/ 12 w 16"/>
                <a:gd name="T10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 h="28">
                  <a:moveTo>
                    <a:pt x="12" y="0"/>
                  </a:moveTo>
                  <a:lnTo>
                    <a:pt x="12" y="0"/>
                  </a:lnTo>
                  <a:lnTo>
                    <a:pt x="12" y="0"/>
                  </a:lnTo>
                  <a:lnTo>
                    <a:pt x="12" y="0"/>
                  </a:lnTo>
                  <a:lnTo>
                    <a:pt x="12" y="0"/>
                  </a:lnTo>
                  <a:lnTo>
                    <a:pt x="12" y="2"/>
                  </a:lnTo>
                  <a:lnTo>
                    <a:pt x="10" y="2"/>
                  </a:lnTo>
                  <a:lnTo>
                    <a:pt x="10" y="4"/>
                  </a:lnTo>
                  <a:lnTo>
                    <a:pt x="10" y="4"/>
                  </a:lnTo>
                  <a:lnTo>
                    <a:pt x="10" y="6"/>
                  </a:lnTo>
                  <a:lnTo>
                    <a:pt x="8" y="6"/>
                  </a:lnTo>
                  <a:lnTo>
                    <a:pt x="8" y="6"/>
                  </a:lnTo>
                  <a:lnTo>
                    <a:pt x="4" y="8"/>
                  </a:lnTo>
                  <a:lnTo>
                    <a:pt x="4" y="8"/>
                  </a:lnTo>
                  <a:lnTo>
                    <a:pt x="2" y="10"/>
                  </a:lnTo>
                  <a:lnTo>
                    <a:pt x="2" y="10"/>
                  </a:lnTo>
                  <a:lnTo>
                    <a:pt x="0" y="12"/>
                  </a:lnTo>
                  <a:lnTo>
                    <a:pt x="0" y="12"/>
                  </a:lnTo>
                  <a:lnTo>
                    <a:pt x="0" y="14"/>
                  </a:lnTo>
                  <a:lnTo>
                    <a:pt x="0" y="14"/>
                  </a:lnTo>
                  <a:lnTo>
                    <a:pt x="0" y="16"/>
                  </a:lnTo>
                  <a:lnTo>
                    <a:pt x="2" y="18"/>
                  </a:lnTo>
                  <a:lnTo>
                    <a:pt x="2" y="18"/>
                  </a:lnTo>
                  <a:lnTo>
                    <a:pt x="2" y="20"/>
                  </a:lnTo>
                  <a:lnTo>
                    <a:pt x="2" y="22"/>
                  </a:lnTo>
                  <a:lnTo>
                    <a:pt x="4" y="22"/>
                  </a:lnTo>
                  <a:lnTo>
                    <a:pt x="6" y="24"/>
                  </a:lnTo>
                  <a:lnTo>
                    <a:pt x="6" y="26"/>
                  </a:lnTo>
                  <a:lnTo>
                    <a:pt x="8" y="26"/>
                  </a:lnTo>
                  <a:lnTo>
                    <a:pt x="8" y="28"/>
                  </a:lnTo>
                  <a:lnTo>
                    <a:pt x="10" y="28"/>
                  </a:lnTo>
                  <a:lnTo>
                    <a:pt x="10" y="28"/>
                  </a:lnTo>
                  <a:lnTo>
                    <a:pt x="10" y="28"/>
                  </a:lnTo>
                  <a:lnTo>
                    <a:pt x="10" y="28"/>
                  </a:lnTo>
                  <a:lnTo>
                    <a:pt x="12" y="26"/>
                  </a:lnTo>
                  <a:lnTo>
                    <a:pt x="12" y="26"/>
                  </a:lnTo>
                  <a:lnTo>
                    <a:pt x="14" y="24"/>
                  </a:lnTo>
                  <a:lnTo>
                    <a:pt x="14" y="22"/>
                  </a:lnTo>
                  <a:lnTo>
                    <a:pt x="16" y="20"/>
                  </a:lnTo>
                  <a:lnTo>
                    <a:pt x="16" y="18"/>
                  </a:lnTo>
                  <a:lnTo>
                    <a:pt x="16" y="16"/>
                  </a:lnTo>
                  <a:lnTo>
                    <a:pt x="16" y="14"/>
                  </a:lnTo>
                  <a:lnTo>
                    <a:pt x="16" y="12"/>
                  </a:lnTo>
                  <a:lnTo>
                    <a:pt x="16" y="10"/>
                  </a:lnTo>
                  <a:lnTo>
                    <a:pt x="16" y="8"/>
                  </a:lnTo>
                  <a:lnTo>
                    <a:pt x="16" y="6"/>
                  </a:lnTo>
                  <a:lnTo>
                    <a:pt x="16" y="4"/>
                  </a:lnTo>
                  <a:lnTo>
                    <a:pt x="14" y="2"/>
                  </a:lnTo>
                  <a:lnTo>
                    <a:pt x="14" y="2"/>
                  </a:lnTo>
                  <a:lnTo>
                    <a:pt x="14" y="2"/>
                  </a:lnTo>
                  <a:lnTo>
                    <a:pt x="14" y="0"/>
                  </a:lnTo>
                  <a:lnTo>
                    <a:pt x="12"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8" name="Freeform 286">
              <a:extLst>
                <a:ext uri="{FF2B5EF4-FFF2-40B4-BE49-F238E27FC236}">
                  <a16:creationId xmlns:a16="http://schemas.microsoft.com/office/drawing/2014/main" id="{FA8AB19F-50C3-4EDA-B97C-7E84039D931C}"/>
                </a:ext>
              </a:extLst>
            </p:cNvPr>
            <p:cNvSpPr>
              <a:spLocks/>
            </p:cNvSpPr>
            <p:nvPr/>
          </p:nvSpPr>
          <p:spPr bwMode="auto">
            <a:xfrm>
              <a:off x="4480525" y="3361011"/>
              <a:ext cx="27713" cy="48498"/>
            </a:xfrm>
            <a:custGeom>
              <a:avLst/>
              <a:gdLst>
                <a:gd name="T0" fmla="*/ 12 w 16"/>
                <a:gd name="T1" fmla="*/ 0 h 28"/>
                <a:gd name="T2" fmla="*/ 12 w 16"/>
                <a:gd name="T3" fmla="*/ 0 h 28"/>
                <a:gd name="T4" fmla="*/ 12 w 16"/>
                <a:gd name="T5" fmla="*/ 0 h 28"/>
                <a:gd name="T6" fmla="*/ 12 w 16"/>
                <a:gd name="T7" fmla="*/ 0 h 28"/>
                <a:gd name="T8" fmla="*/ 12 w 16"/>
                <a:gd name="T9" fmla="*/ 0 h 28"/>
                <a:gd name="T10" fmla="*/ 12 w 16"/>
                <a:gd name="T11" fmla="*/ 2 h 28"/>
                <a:gd name="T12" fmla="*/ 10 w 16"/>
                <a:gd name="T13" fmla="*/ 2 h 28"/>
                <a:gd name="T14" fmla="*/ 10 w 16"/>
                <a:gd name="T15" fmla="*/ 4 h 28"/>
                <a:gd name="T16" fmla="*/ 10 w 16"/>
                <a:gd name="T17" fmla="*/ 4 h 28"/>
                <a:gd name="T18" fmla="*/ 10 w 16"/>
                <a:gd name="T19" fmla="*/ 6 h 28"/>
                <a:gd name="T20" fmla="*/ 8 w 16"/>
                <a:gd name="T21" fmla="*/ 6 h 28"/>
                <a:gd name="T22" fmla="*/ 8 w 16"/>
                <a:gd name="T23" fmla="*/ 6 h 28"/>
                <a:gd name="T24" fmla="*/ 4 w 16"/>
                <a:gd name="T25" fmla="*/ 8 h 28"/>
                <a:gd name="T26" fmla="*/ 4 w 16"/>
                <a:gd name="T27" fmla="*/ 8 h 28"/>
                <a:gd name="T28" fmla="*/ 2 w 16"/>
                <a:gd name="T29" fmla="*/ 10 h 28"/>
                <a:gd name="T30" fmla="*/ 2 w 16"/>
                <a:gd name="T31" fmla="*/ 10 h 28"/>
                <a:gd name="T32" fmla="*/ 0 w 16"/>
                <a:gd name="T33" fmla="*/ 12 h 28"/>
                <a:gd name="T34" fmla="*/ 0 w 16"/>
                <a:gd name="T35" fmla="*/ 12 h 28"/>
                <a:gd name="T36" fmla="*/ 0 w 16"/>
                <a:gd name="T37" fmla="*/ 14 h 28"/>
                <a:gd name="T38" fmla="*/ 0 w 16"/>
                <a:gd name="T39" fmla="*/ 14 h 28"/>
                <a:gd name="T40" fmla="*/ 0 w 16"/>
                <a:gd name="T41" fmla="*/ 16 h 28"/>
                <a:gd name="T42" fmla="*/ 2 w 16"/>
                <a:gd name="T43" fmla="*/ 18 h 28"/>
                <a:gd name="T44" fmla="*/ 2 w 16"/>
                <a:gd name="T45" fmla="*/ 18 h 28"/>
                <a:gd name="T46" fmla="*/ 2 w 16"/>
                <a:gd name="T47" fmla="*/ 20 h 28"/>
                <a:gd name="T48" fmla="*/ 2 w 16"/>
                <a:gd name="T49" fmla="*/ 22 h 28"/>
                <a:gd name="T50" fmla="*/ 4 w 16"/>
                <a:gd name="T51" fmla="*/ 22 h 28"/>
                <a:gd name="T52" fmla="*/ 6 w 16"/>
                <a:gd name="T53" fmla="*/ 24 h 28"/>
                <a:gd name="T54" fmla="*/ 6 w 16"/>
                <a:gd name="T55" fmla="*/ 26 h 28"/>
                <a:gd name="T56" fmla="*/ 8 w 16"/>
                <a:gd name="T57" fmla="*/ 26 h 28"/>
                <a:gd name="T58" fmla="*/ 8 w 16"/>
                <a:gd name="T59" fmla="*/ 28 h 28"/>
                <a:gd name="T60" fmla="*/ 10 w 16"/>
                <a:gd name="T61" fmla="*/ 28 h 28"/>
                <a:gd name="T62" fmla="*/ 10 w 16"/>
                <a:gd name="T63" fmla="*/ 28 h 28"/>
                <a:gd name="T64" fmla="*/ 10 w 16"/>
                <a:gd name="T65" fmla="*/ 28 h 28"/>
                <a:gd name="T66" fmla="*/ 10 w 16"/>
                <a:gd name="T67" fmla="*/ 28 h 28"/>
                <a:gd name="T68" fmla="*/ 12 w 16"/>
                <a:gd name="T69" fmla="*/ 26 h 28"/>
                <a:gd name="T70" fmla="*/ 12 w 16"/>
                <a:gd name="T71" fmla="*/ 26 h 28"/>
                <a:gd name="T72" fmla="*/ 14 w 16"/>
                <a:gd name="T73" fmla="*/ 24 h 28"/>
                <a:gd name="T74" fmla="*/ 14 w 16"/>
                <a:gd name="T75" fmla="*/ 22 h 28"/>
                <a:gd name="T76" fmla="*/ 16 w 16"/>
                <a:gd name="T77" fmla="*/ 20 h 28"/>
                <a:gd name="T78" fmla="*/ 16 w 16"/>
                <a:gd name="T79" fmla="*/ 18 h 28"/>
                <a:gd name="T80" fmla="*/ 16 w 16"/>
                <a:gd name="T81" fmla="*/ 16 h 28"/>
                <a:gd name="T82" fmla="*/ 16 w 16"/>
                <a:gd name="T83" fmla="*/ 14 h 28"/>
                <a:gd name="T84" fmla="*/ 16 w 16"/>
                <a:gd name="T85" fmla="*/ 12 h 28"/>
                <a:gd name="T86" fmla="*/ 16 w 16"/>
                <a:gd name="T87" fmla="*/ 10 h 28"/>
                <a:gd name="T88" fmla="*/ 16 w 16"/>
                <a:gd name="T89" fmla="*/ 8 h 28"/>
                <a:gd name="T90" fmla="*/ 16 w 16"/>
                <a:gd name="T91" fmla="*/ 6 h 28"/>
                <a:gd name="T92" fmla="*/ 16 w 16"/>
                <a:gd name="T93" fmla="*/ 4 h 28"/>
                <a:gd name="T94" fmla="*/ 14 w 16"/>
                <a:gd name="T95" fmla="*/ 2 h 28"/>
                <a:gd name="T96" fmla="*/ 14 w 16"/>
                <a:gd name="T97" fmla="*/ 2 h 28"/>
                <a:gd name="T98" fmla="*/ 14 w 16"/>
                <a:gd name="T99" fmla="*/ 2 h 28"/>
                <a:gd name="T100" fmla="*/ 14 w 16"/>
                <a:gd name="T101" fmla="*/ 0 h 28"/>
                <a:gd name="T102" fmla="*/ 12 w 16"/>
                <a:gd name="T10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 h="28">
                  <a:moveTo>
                    <a:pt x="12" y="0"/>
                  </a:moveTo>
                  <a:lnTo>
                    <a:pt x="12" y="0"/>
                  </a:lnTo>
                  <a:lnTo>
                    <a:pt x="12" y="0"/>
                  </a:lnTo>
                  <a:lnTo>
                    <a:pt x="12" y="0"/>
                  </a:lnTo>
                  <a:lnTo>
                    <a:pt x="12" y="0"/>
                  </a:lnTo>
                  <a:lnTo>
                    <a:pt x="12" y="2"/>
                  </a:lnTo>
                  <a:lnTo>
                    <a:pt x="10" y="2"/>
                  </a:lnTo>
                  <a:lnTo>
                    <a:pt x="10" y="4"/>
                  </a:lnTo>
                  <a:lnTo>
                    <a:pt x="10" y="4"/>
                  </a:lnTo>
                  <a:lnTo>
                    <a:pt x="10" y="6"/>
                  </a:lnTo>
                  <a:lnTo>
                    <a:pt x="8" y="6"/>
                  </a:lnTo>
                  <a:lnTo>
                    <a:pt x="8" y="6"/>
                  </a:lnTo>
                  <a:lnTo>
                    <a:pt x="4" y="8"/>
                  </a:lnTo>
                  <a:lnTo>
                    <a:pt x="4" y="8"/>
                  </a:lnTo>
                  <a:lnTo>
                    <a:pt x="2" y="10"/>
                  </a:lnTo>
                  <a:lnTo>
                    <a:pt x="2" y="10"/>
                  </a:lnTo>
                  <a:lnTo>
                    <a:pt x="0" y="12"/>
                  </a:lnTo>
                  <a:lnTo>
                    <a:pt x="0" y="12"/>
                  </a:lnTo>
                  <a:lnTo>
                    <a:pt x="0" y="14"/>
                  </a:lnTo>
                  <a:lnTo>
                    <a:pt x="0" y="14"/>
                  </a:lnTo>
                  <a:lnTo>
                    <a:pt x="0" y="16"/>
                  </a:lnTo>
                  <a:lnTo>
                    <a:pt x="2" y="18"/>
                  </a:lnTo>
                  <a:lnTo>
                    <a:pt x="2" y="18"/>
                  </a:lnTo>
                  <a:lnTo>
                    <a:pt x="2" y="20"/>
                  </a:lnTo>
                  <a:lnTo>
                    <a:pt x="2" y="22"/>
                  </a:lnTo>
                  <a:lnTo>
                    <a:pt x="4" y="22"/>
                  </a:lnTo>
                  <a:lnTo>
                    <a:pt x="6" y="24"/>
                  </a:lnTo>
                  <a:lnTo>
                    <a:pt x="6" y="26"/>
                  </a:lnTo>
                  <a:lnTo>
                    <a:pt x="8" y="26"/>
                  </a:lnTo>
                  <a:lnTo>
                    <a:pt x="8" y="28"/>
                  </a:lnTo>
                  <a:lnTo>
                    <a:pt x="10" y="28"/>
                  </a:lnTo>
                  <a:lnTo>
                    <a:pt x="10" y="28"/>
                  </a:lnTo>
                  <a:lnTo>
                    <a:pt x="10" y="28"/>
                  </a:lnTo>
                  <a:lnTo>
                    <a:pt x="10" y="28"/>
                  </a:lnTo>
                  <a:lnTo>
                    <a:pt x="12" y="26"/>
                  </a:lnTo>
                  <a:lnTo>
                    <a:pt x="12" y="26"/>
                  </a:lnTo>
                  <a:lnTo>
                    <a:pt x="14" y="24"/>
                  </a:lnTo>
                  <a:lnTo>
                    <a:pt x="14" y="22"/>
                  </a:lnTo>
                  <a:lnTo>
                    <a:pt x="16" y="20"/>
                  </a:lnTo>
                  <a:lnTo>
                    <a:pt x="16" y="18"/>
                  </a:lnTo>
                  <a:lnTo>
                    <a:pt x="16" y="16"/>
                  </a:lnTo>
                  <a:lnTo>
                    <a:pt x="16" y="14"/>
                  </a:lnTo>
                  <a:lnTo>
                    <a:pt x="16" y="12"/>
                  </a:lnTo>
                  <a:lnTo>
                    <a:pt x="16" y="10"/>
                  </a:lnTo>
                  <a:lnTo>
                    <a:pt x="16" y="8"/>
                  </a:lnTo>
                  <a:lnTo>
                    <a:pt x="16" y="6"/>
                  </a:lnTo>
                  <a:lnTo>
                    <a:pt x="16" y="4"/>
                  </a:lnTo>
                  <a:lnTo>
                    <a:pt x="14" y="2"/>
                  </a:lnTo>
                  <a:lnTo>
                    <a:pt x="14" y="2"/>
                  </a:lnTo>
                  <a:lnTo>
                    <a:pt x="14" y="2"/>
                  </a:lnTo>
                  <a:lnTo>
                    <a:pt x="14" y="0"/>
                  </a:lnTo>
                  <a:lnTo>
                    <a:pt x="12"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9" name="Freeform 287">
              <a:extLst>
                <a:ext uri="{FF2B5EF4-FFF2-40B4-BE49-F238E27FC236}">
                  <a16:creationId xmlns:a16="http://schemas.microsoft.com/office/drawing/2014/main" id="{F69F19F7-450A-4E9B-80D3-115C0ED8B382}"/>
                </a:ext>
              </a:extLst>
            </p:cNvPr>
            <p:cNvSpPr>
              <a:spLocks/>
            </p:cNvSpPr>
            <p:nvPr/>
          </p:nvSpPr>
          <p:spPr bwMode="auto">
            <a:xfrm>
              <a:off x="4594842" y="3509970"/>
              <a:ext cx="55426" cy="34641"/>
            </a:xfrm>
            <a:custGeom>
              <a:avLst/>
              <a:gdLst>
                <a:gd name="T0" fmla="*/ 28 w 32"/>
                <a:gd name="T1" fmla="*/ 2 h 20"/>
                <a:gd name="T2" fmla="*/ 28 w 32"/>
                <a:gd name="T3" fmla="*/ 2 h 20"/>
                <a:gd name="T4" fmla="*/ 26 w 32"/>
                <a:gd name="T5" fmla="*/ 0 h 20"/>
                <a:gd name="T6" fmla="*/ 26 w 32"/>
                <a:gd name="T7" fmla="*/ 0 h 20"/>
                <a:gd name="T8" fmla="*/ 24 w 32"/>
                <a:gd name="T9" fmla="*/ 0 h 20"/>
                <a:gd name="T10" fmla="*/ 24 w 32"/>
                <a:gd name="T11" fmla="*/ 2 h 20"/>
                <a:gd name="T12" fmla="*/ 22 w 32"/>
                <a:gd name="T13" fmla="*/ 2 h 20"/>
                <a:gd name="T14" fmla="*/ 18 w 32"/>
                <a:gd name="T15" fmla="*/ 2 h 20"/>
                <a:gd name="T16" fmla="*/ 18 w 32"/>
                <a:gd name="T17" fmla="*/ 4 h 20"/>
                <a:gd name="T18" fmla="*/ 16 w 32"/>
                <a:gd name="T19" fmla="*/ 4 h 20"/>
                <a:gd name="T20" fmla="*/ 16 w 32"/>
                <a:gd name="T21" fmla="*/ 4 h 20"/>
                <a:gd name="T22" fmla="*/ 14 w 32"/>
                <a:gd name="T23" fmla="*/ 4 h 20"/>
                <a:gd name="T24" fmla="*/ 12 w 32"/>
                <a:gd name="T25" fmla="*/ 2 h 20"/>
                <a:gd name="T26" fmla="*/ 8 w 32"/>
                <a:gd name="T27" fmla="*/ 2 h 20"/>
                <a:gd name="T28" fmla="*/ 6 w 32"/>
                <a:gd name="T29" fmla="*/ 2 h 20"/>
                <a:gd name="T30" fmla="*/ 4 w 32"/>
                <a:gd name="T31" fmla="*/ 2 h 20"/>
                <a:gd name="T32" fmla="*/ 2 w 32"/>
                <a:gd name="T33" fmla="*/ 2 h 20"/>
                <a:gd name="T34" fmla="*/ 2 w 32"/>
                <a:gd name="T35" fmla="*/ 2 h 20"/>
                <a:gd name="T36" fmla="*/ 0 w 32"/>
                <a:gd name="T37" fmla="*/ 2 h 20"/>
                <a:gd name="T38" fmla="*/ 0 w 32"/>
                <a:gd name="T39" fmla="*/ 2 h 20"/>
                <a:gd name="T40" fmla="*/ 0 w 32"/>
                <a:gd name="T41" fmla="*/ 2 h 20"/>
                <a:gd name="T42" fmla="*/ 0 w 32"/>
                <a:gd name="T43" fmla="*/ 4 h 20"/>
                <a:gd name="T44" fmla="*/ 0 w 32"/>
                <a:gd name="T45" fmla="*/ 4 h 20"/>
                <a:gd name="T46" fmla="*/ 2 w 32"/>
                <a:gd name="T47" fmla="*/ 4 h 20"/>
                <a:gd name="T48" fmla="*/ 2 w 32"/>
                <a:gd name="T49" fmla="*/ 6 h 20"/>
                <a:gd name="T50" fmla="*/ 4 w 32"/>
                <a:gd name="T51" fmla="*/ 6 h 20"/>
                <a:gd name="T52" fmla="*/ 4 w 32"/>
                <a:gd name="T53" fmla="*/ 8 h 20"/>
                <a:gd name="T54" fmla="*/ 4 w 32"/>
                <a:gd name="T55" fmla="*/ 10 h 20"/>
                <a:gd name="T56" fmla="*/ 6 w 32"/>
                <a:gd name="T57" fmla="*/ 12 h 20"/>
                <a:gd name="T58" fmla="*/ 6 w 32"/>
                <a:gd name="T59" fmla="*/ 14 h 20"/>
                <a:gd name="T60" fmla="*/ 6 w 32"/>
                <a:gd name="T61" fmla="*/ 14 h 20"/>
                <a:gd name="T62" fmla="*/ 6 w 32"/>
                <a:gd name="T63" fmla="*/ 14 h 20"/>
                <a:gd name="T64" fmla="*/ 8 w 32"/>
                <a:gd name="T65" fmla="*/ 14 h 20"/>
                <a:gd name="T66" fmla="*/ 10 w 32"/>
                <a:gd name="T67" fmla="*/ 14 h 20"/>
                <a:gd name="T68" fmla="*/ 12 w 32"/>
                <a:gd name="T69" fmla="*/ 14 h 20"/>
                <a:gd name="T70" fmla="*/ 14 w 32"/>
                <a:gd name="T71" fmla="*/ 14 h 20"/>
                <a:gd name="T72" fmla="*/ 14 w 32"/>
                <a:gd name="T73" fmla="*/ 14 h 20"/>
                <a:gd name="T74" fmla="*/ 16 w 32"/>
                <a:gd name="T75" fmla="*/ 16 h 20"/>
                <a:gd name="T76" fmla="*/ 18 w 32"/>
                <a:gd name="T77" fmla="*/ 16 h 20"/>
                <a:gd name="T78" fmla="*/ 22 w 32"/>
                <a:gd name="T79" fmla="*/ 18 h 20"/>
                <a:gd name="T80" fmla="*/ 26 w 32"/>
                <a:gd name="T81" fmla="*/ 20 h 20"/>
                <a:gd name="T82" fmla="*/ 26 w 32"/>
                <a:gd name="T83" fmla="*/ 20 h 20"/>
                <a:gd name="T84" fmla="*/ 28 w 32"/>
                <a:gd name="T85" fmla="*/ 20 h 20"/>
                <a:gd name="T86" fmla="*/ 28 w 32"/>
                <a:gd name="T87" fmla="*/ 20 h 20"/>
                <a:gd name="T88" fmla="*/ 30 w 32"/>
                <a:gd name="T89" fmla="*/ 20 h 20"/>
                <a:gd name="T90" fmla="*/ 30 w 32"/>
                <a:gd name="T91" fmla="*/ 20 h 20"/>
                <a:gd name="T92" fmla="*/ 30 w 32"/>
                <a:gd name="T93" fmla="*/ 20 h 20"/>
                <a:gd name="T94" fmla="*/ 30 w 32"/>
                <a:gd name="T95" fmla="*/ 20 h 20"/>
                <a:gd name="T96" fmla="*/ 32 w 32"/>
                <a:gd name="T97" fmla="*/ 20 h 20"/>
                <a:gd name="T98" fmla="*/ 32 w 32"/>
                <a:gd name="T99" fmla="*/ 20 h 20"/>
                <a:gd name="T100" fmla="*/ 32 w 32"/>
                <a:gd name="T101" fmla="*/ 18 h 20"/>
                <a:gd name="T102" fmla="*/ 32 w 32"/>
                <a:gd name="T103" fmla="*/ 18 h 20"/>
                <a:gd name="T104" fmla="*/ 30 w 32"/>
                <a:gd name="T105" fmla="*/ 16 h 20"/>
                <a:gd name="T106" fmla="*/ 30 w 32"/>
                <a:gd name="T107" fmla="*/ 12 h 20"/>
                <a:gd name="T108" fmla="*/ 30 w 32"/>
                <a:gd name="T109" fmla="*/ 10 h 20"/>
                <a:gd name="T110" fmla="*/ 30 w 32"/>
                <a:gd name="T111" fmla="*/ 8 h 20"/>
                <a:gd name="T112" fmla="*/ 30 w 32"/>
                <a:gd name="T113" fmla="*/ 6 h 20"/>
                <a:gd name="T114" fmla="*/ 28 w 32"/>
                <a:gd name="T115" fmla="*/ 4 h 20"/>
                <a:gd name="T116" fmla="*/ 28 w 32"/>
                <a:gd name="T117" fmla="*/ 2 h 20"/>
                <a:gd name="T118" fmla="*/ 28 w 32"/>
                <a:gd name="T119" fmla="*/ 2 h 20"/>
                <a:gd name="T120" fmla="*/ 28 w 32"/>
                <a:gd name="T121" fmla="*/ 2 h 20"/>
                <a:gd name="T122" fmla="*/ 28 w 32"/>
                <a:gd name="T123"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 h="20">
                  <a:moveTo>
                    <a:pt x="28" y="2"/>
                  </a:moveTo>
                  <a:lnTo>
                    <a:pt x="28" y="2"/>
                  </a:lnTo>
                  <a:lnTo>
                    <a:pt x="26" y="0"/>
                  </a:lnTo>
                  <a:lnTo>
                    <a:pt x="26" y="0"/>
                  </a:lnTo>
                  <a:lnTo>
                    <a:pt x="24" y="0"/>
                  </a:lnTo>
                  <a:lnTo>
                    <a:pt x="24" y="2"/>
                  </a:lnTo>
                  <a:lnTo>
                    <a:pt x="22" y="2"/>
                  </a:lnTo>
                  <a:lnTo>
                    <a:pt x="18" y="2"/>
                  </a:lnTo>
                  <a:lnTo>
                    <a:pt x="18" y="4"/>
                  </a:lnTo>
                  <a:lnTo>
                    <a:pt x="16" y="4"/>
                  </a:lnTo>
                  <a:lnTo>
                    <a:pt x="16" y="4"/>
                  </a:lnTo>
                  <a:lnTo>
                    <a:pt x="14" y="4"/>
                  </a:lnTo>
                  <a:lnTo>
                    <a:pt x="12" y="2"/>
                  </a:lnTo>
                  <a:lnTo>
                    <a:pt x="8" y="2"/>
                  </a:lnTo>
                  <a:lnTo>
                    <a:pt x="6" y="2"/>
                  </a:lnTo>
                  <a:lnTo>
                    <a:pt x="4" y="2"/>
                  </a:lnTo>
                  <a:lnTo>
                    <a:pt x="2" y="2"/>
                  </a:lnTo>
                  <a:lnTo>
                    <a:pt x="2" y="2"/>
                  </a:lnTo>
                  <a:lnTo>
                    <a:pt x="0" y="2"/>
                  </a:lnTo>
                  <a:lnTo>
                    <a:pt x="0" y="2"/>
                  </a:lnTo>
                  <a:lnTo>
                    <a:pt x="0" y="2"/>
                  </a:lnTo>
                  <a:lnTo>
                    <a:pt x="0" y="4"/>
                  </a:lnTo>
                  <a:lnTo>
                    <a:pt x="0" y="4"/>
                  </a:lnTo>
                  <a:lnTo>
                    <a:pt x="2" y="4"/>
                  </a:lnTo>
                  <a:lnTo>
                    <a:pt x="2" y="6"/>
                  </a:lnTo>
                  <a:lnTo>
                    <a:pt x="4" y="6"/>
                  </a:lnTo>
                  <a:lnTo>
                    <a:pt x="4" y="8"/>
                  </a:lnTo>
                  <a:lnTo>
                    <a:pt x="4" y="10"/>
                  </a:lnTo>
                  <a:lnTo>
                    <a:pt x="6" y="12"/>
                  </a:lnTo>
                  <a:lnTo>
                    <a:pt x="6" y="14"/>
                  </a:lnTo>
                  <a:lnTo>
                    <a:pt x="6" y="14"/>
                  </a:lnTo>
                  <a:lnTo>
                    <a:pt x="6" y="14"/>
                  </a:lnTo>
                  <a:lnTo>
                    <a:pt x="8" y="14"/>
                  </a:lnTo>
                  <a:lnTo>
                    <a:pt x="10" y="14"/>
                  </a:lnTo>
                  <a:lnTo>
                    <a:pt x="12" y="14"/>
                  </a:lnTo>
                  <a:lnTo>
                    <a:pt x="14" y="14"/>
                  </a:lnTo>
                  <a:lnTo>
                    <a:pt x="14" y="14"/>
                  </a:lnTo>
                  <a:lnTo>
                    <a:pt x="16" y="16"/>
                  </a:lnTo>
                  <a:lnTo>
                    <a:pt x="18" y="16"/>
                  </a:lnTo>
                  <a:lnTo>
                    <a:pt x="22" y="18"/>
                  </a:lnTo>
                  <a:lnTo>
                    <a:pt x="26" y="20"/>
                  </a:lnTo>
                  <a:lnTo>
                    <a:pt x="26" y="20"/>
                  </a:lnTo>
                  <a:lnTo>
                    <a:pt x="28" y="20"/>
                  </a:lnTo>
                  <a:lnTo>
                    <a:pt x="28" y="20"/>
                  </a:lnTo>
                  <a:lnTo>
                    <a:pt x="30" y="20"/>
                  </a:lnTo>
                  <a:lnTo>
                    <a:pt x="30" y="20"/>
                  </a:lnTo>
                  <a:lnTo>
                    <a:pt x="30" y="20"/>
                  </a:lnTo>
                  <a:lnTo>
                    <a:pt x="30" y="20"/>
                  </a:lnTo>
                  <a:lnTo>
                    <a:pt x="32" y="20"/>
                  </a:lnTo>
                  <a:lnTo>
                    <a:pt x="32" y="20"/>
                  </a:lnTo>
                  <a:lnTo>
                    <a:pt x="32" y="18"/>
                  </a:lnTo>
                  <a:lnTo>
                    <a:pt x="32" y="18"/>
                  </a:lnTo>
                  <a:lnTo>
                    <a:pt x="30" y="16"/>
                  </a:lnTo>
                  <a:lnTo>
                    <a:pt x="30" y="12"/>
                  </a:lnTo>
                  <a:lnTo>
                    <a:pt x="30" y="10"/>
                  </a:lnTo>
                  <a:lnTo>
                    <a:pt x="30" y="8"/>
                  </a:lnTo>
                  <a:lnTo>
                    <a:pt x="30" y="6"/>
                  </a:lnTo>
                  <a:lnTo>
                    <a:pt x="28" y="4"/>
                  </a:lnTo>
                  <a:lnTo>
                    <a:pt x="28" y="2"/>
                  </a:lnTo>
                  <a:lnTo>
                    <a:pt x="28" y="2"/>
                  </a:lnTo>
                  <a:lnTo>
                    <a:pt x="28" y="2"/>
                  </a:lnTo>
                  <a:lnTo>
                    <a:pt x="28"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0" name="Freeform 288">
              <a:extLst>
                <a:ext uri="{FF2B5EF4-FFF2-40B4-BE49-F238E27FC236}">
                  <a16:creationId xmlns:a16="http://schemas.microsoft.com/office/drawing/2014/main" id="{3008064A-8A34-4B17-ACEE-3A350BAE8DB0}"/>
                </a:ext>
              </a:extLst>
            </p:cNvPr>
            <p:cNvSpPr>
              <a:spLocks/>
            </p:cNvSpPr>
            <p:nvPr/>
          </p:nvSpPr>
          <p:spPr bwMode="auto">
            <a:xfrm>
              <a:off x="4594842" y="3509970"/>
              <a:ext cx="55426" cy="34641"/>
            </a:xfrm>
            <a:custGeom>
              <a:avLst/>
              <a:gdLst>
                <a:gd name="T0" fmla="*/ 28 w 32"/>
                <a:gd name="T1" fmla="*/ 2 h 20"/>
                <a:gd name="T2" fmla="*/ 28 w 32"/>
                <a:gd name="T3" fmla="*/ 2 h 20"/>
                <a:gd name="T4" fmla="*/ 26 w 32"/>
                <a:gd name="T5" fmla="*/ 0 h 20"/>
                <a:gd name="T6" fmla="*/ 26 w 32"/>
                <a:gd name="T7" fmla="*/ 0 h 20"/>
                <a:gd name="T8" fmla="*/ 24 w 32"/>
                <a:gd name="T9" fmla="*/ 0 h 20"/>
                <a:gd name="T10" fmla="*/ 24 w 32"/>
                <a:gd name="T11" fmla="*/ 2 h 20"/>
                <a:gd name="T12" fmla="*/ 22 w 32"/>
                <a:gd name="T13" fmla="*/ 2 h 20"/>
                <a:gd name="T14" fmla="*/ 18 w 32"/>
                <a:gd name="T15" fmla="*/ 2 h 20"/>
                <a:gd name="T16" fmla="*/ 18 w 32"/>
                <a:gd name="T17" fmla="*/ 4 h 20"/>
                <a:gd name="T18" fmla="*/ 16 w 32"/>
                <a:gd name="T19" fmla="*/ 4 h 20"/>
                <a:gd name="T20" fmla="*/ 16 w 32"/>
                <a:gd name="T21" fmla="*/ 4 h 20"/>
                <a:gd name="T22" fmla="*/ 14 w 32"/>
                <a:gd name="T23" fmla="*/ 4 h 20"/>
                <a:gd name="T24" fmla="*/ 12 w 32"/>
                <a:gd name="T25" fmla="*/ 2 h 20"/>
                <a:gd name="T26" fmla="*/ 8 w 32"/>
                <a:gd name="T27" fmla="*/ 2 h 20"/>
                <a:gd name="T28" fmla="*/ 6 w 32"/>
                <a:gd name="T29" fmla="*/ 2 h 20"/>
                <a:gd name="T30" fmla="*/ 4 w 32"/>
                <a:gd name="T31" fmla="*/ 2 h 20"/>
                <a:gd name="T32" fmla="*/ 2 w 32"/>
                <a:gd name="T33" fmla="*/ 2 h 20"/>
                <a:gd name="T34" fmla="*/ 2 w 32"/>
                <a:gd name="T35" fmla="*/ 2 h 20"/>
                <a:gd name="T36" fmla="*/ 0 w 32"/>
                <a:gd name="T37" fmla="*/ 2 h 20"/>
                <a:gd name="T38" fmla="*/ 0 w 32"/>
                <a:gd name="T39" fmla="*/ 2 h 20"/>
                <a:gd name="T40" fmla="*/ 0 w 32"/>
                <a:gd name="T41" fmla="*/ 2 h 20"/>
                <a:gd name="T42" fmla="*/ 0 w 32"/>
                <a:gd name="T43" fmla="*/ 4 h 20"/>
                <a:gd name="T44" fmla="*/ 0 w 32"/>
                <a:gd name="T45" fmla="*/ 4 h 20"/>
                <a:gd name="T46" fmla="*/ 2 w 32"/>
                <a:gd name="T47" fmla="*/ 4 h 20"/>
                <a:gd name="T48" fmla="*/ 2 w 32"/>
                <a:gd name="T49" fmla="*/ 6 h 20"/>
                <a:gd name="T50" fmla="*/ 4 w 32"/>
                <a:gd name="T51" fmla="*/ 6 h 20"/>
                <a:gd name="T52" fmla="*/ 4 w 32"/>
                <a:gd name="T53" fmla="*/ 8 h 20"/>
                <a:gd name="T54" fmla="*/ 4 w 32"/>
                <a:gd name="T55" fmla="*/ 10 h 20"/>
                <a:gd name="T56" fmla="*/ 6 w 32"/>
                <a:gd name="T57" fmla="*/ 12 h 20"/>
                <a:gd name="T58" fmla="*/ 6 w 32"/>
                <a:gd name="T59" fmla="*/ 14 h 20"/>
                <a:gd name="T60" fmla="*/ 6 w 32"/>
                <a:gd name="T61" fmla="*/ 14 h 20"/>
                <a:gd name="T62" fmla="*/ 6 w 32"/>
                <a:gd name="T63" fmla="*/ 14 h 20"/>
                <a:gd name="T64" fmla="*/ 8 w 32"/>
                <a:gd name="T65" fmla="*/ 14 h 20"/>
                <a:gd name="T66" fmla="*/ 10 w 32"/>
                <a:gd name="T67" fmla="*/ 14 h 20"/>
                <a:gd name="T68" fmla="*/ 12 w 32"/>
                <a:gd name="T69" fmla="*/ 14 h 20"/>
                <a:gd name="T70" fmla="*/ 14 w 32"/>
                <a:gd name="T71" fmla="*/ 14 h 20"/>
                <a:gd name="T72" fmla="*/ 14 w 32"/>
                <a:gd name="T73" fmla="*/ 14 h 20"/>
                <a:gd name="T74" fmla="*/ 16 w 32"/>
                <a:gd name="T75" fmla="*/ 16 h 20"/>
                <a:gd name="T76" fmla="*/ 18 w 32"/>
                <a:gd name="T77" fmla="*/ 16 h 20"/>
                <a:gd name="T78" fmla="*/ 22 w 32"/>
                <a:gd name="T79" fmla="*/ 18 h 20"/>
                <a:gd name="T80" fmla="*/ 26 w 32"/>
                <a:gd name="T81" fmla="*/ 20 h 20"/>
                <a:gd name="T82" fmla="*/ 26 w 32"/>
                <a:gd name="T83" fmla="*/ 20 h 20"/>
                <a:gd name="T84" fmla="*/ 28 w 32"/>
                <a:gd name="T85" fmla="*/ 20 h 20"/>
                <a:gd name="T86" fmla="*/ 28 w 32"/>
                <a:gd name="T87" fmla="*/ 20 h 20"/>
                <a:gd name="T88" fmla="*/ 30 w 32"/>
                <a:gd name="T89" fmla="*/ 20 h 20"/>
                <a:gd name="T90" fmla="*/ 30 w 32"/>
                <a:gd name="T91" fmla="*/ 20 h 20"/>
                <a:gd name="T92" fmla="*/ 30 w 32"/>
                <a:gd name="T93" fmla="*/ 20 h 20"/>
                <a:gd name="T94" fmla="*/ 30 w 32"/>
                <a:gd name="T95" fmla="*/ 20 h 20"/>
                <a:gd name="T96" fmla="*/ 32 w 32"/>
                <a:gd name="T97" fmla="*/ 20 h 20"/>
                <a:gd name="T98" fmla="*/ 32 w 32"/>
                <a:gd name="T99" fmla="*/ 20 h 20"/>
                <a:gd name="T100" fmla="*/ 32 w 32"/>
                <a:gd name="T101" fmla="*/ 18 h 20"/>
                <a:gd name="T102" fmla="*/ 32 w 32"/>
                <a:gd name="T103" fmla="*/ 18 h 20"/>
                <a:gd name="T104" fmla="*/ 30 w 32"/>
                <a:gd name="T105" fmla="*/ 16 h 20"/>
                <a:gd name="T106" fmla="*/ 30 w 32"/>
                <a:gd name="T107" fmla="*/ 12 h 20"/>
                <a:gd name="T108" fmla="*/ 30 w 32"/>
                <a:gd name="T109" fmla="*/ 10 h 20"/>
                <a:gd name="T110" fmla="*/ 30 w 32"/>
                <a:gd name="T111" fmla="*/ 8 h 20"/>
                <a:gd name="T112" fmla="*/ 30 w 32"/>
                <a:gd name="T113" fmla="*/ 6 h 20"/>
                <a:gd name="T114" fmla="*/ 28 w 32"/>
                <a:gd name="T115" fmla="*/ 4 h 20"/>
                <a:gd name="T116" fmla="*/ 28 w 32"/>
                <a:gd name="T117" fmla="*/ 2 h 20"/>
                <a:gd name="T118" fmla="*/ 28 w 32"/>
                <a:gd name="T119" fmla="*/ 2 h 20"/>
                <a:gd name="T120" fmla="*/ 28 w 32"/>
                <a:gd name="T121" fmla="*/ 2 h 20"/>
                <a:gd name="T122" fmla="*/ 28 w 32"/>
                <a:gd name="T123"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 h="20">
                  <a:moveTo>
                    <a:pt x="28" y="2"/>
                  </a:moveTo>
                  <a:lnTo>
                    <a:pt x="28" y="2"/>
                  </a:lnTo>
                  <a:lnTo>
                    <a:pt x="26" y="0"/>
                  </a:lnTo>
                  <a:lnTo>
                    <a:pt x="26" y="0"/>
                  </a:lnTo>
                  <a:lnTo>
                    <a:pt x="24" y="0"/>
                  </a:lnTo>
                  <a:lnTo>
                    <a:pt x="24" y="2"/>
                  </a:lnTo>
                  <a:lnTo>
                    <a:pt x="22" y="2"/>
                  </a:lnTo>
                  <a:lnTo>
                    <a:pt x="18" y="2"/>
                  </a:lnTo>
                  <a:lnTo>
                    <a:pt x="18" y="4"/>
                  </a:lnTo>
                  <a:lnTo>
                    <a:pt x="16" y="4"/>
                  </a:lnTo>
                  <a:lnTo>
                    <a:pt x="16" y="4"/>
                  </a:lnTo>
                  <a:lnTo>
                    <a:pt x="14" y="4"/>
                  </a:lnTo>
                  <a:lnTo>
                    <a:pt x="12" y="2"/>
                  </a:lnTo>
                  <a:lnTo>
                    <a:pt x="8" y="2"/>
                  </a:lnTo>
                  <a:lnTo>
                    <a:pt x="6" y="2"/>
                  </a:lnTo>
                  <a:lnTo>
                    <a:pt x="4" y="2"/>
                  </a:lnTo>
                  <a:lnTo>
                    <a:pt x="2" y="2"/>
                  </a:lnTo>
                  <a:lnTo>
                    <a:pt x="2" y="2"/>
                  </a:lnTo>
                  <a:lnTo>
                    <a:pt x="0" y="2"/>
                  </a:lnTo>
                  <a:lnTo>
                    <a:pt x="0" y="2"/>
                  </a:lnTo>
                  <a:lnTo>
                    <a:pt x="0" y="2"/>
                  </a:lnTo>
                  <a:lnTo>
                    <a:pt x="0" y="4"/>
                  </a:lnTo>
                  <a:lnTo>
                    <a:pt x="0" y="4"/>
                  </a:lnTo>
                  <a:lnTo>
                    <a:pt x="2" y="4"/>
                  </a:lnTo>
                  <a:lnTo>
                    <a:pt x="2" y="6"/>
                  </a:lnTo>
                  <a:lnTo>
                    <a:pt x="4" y="6"/>
                  </a:lnTo>
                  <a:lnTo>
                    <a:pt x="4" y="8"/>
                  </a:lnTo>
                  <a:lnTo>
                    <a:pt x="4" y="10"/>
                  </a:lnTo>
                  <a:lnTo>
                    <a:pt x="6" y="12"/>
                  </a:lnTo>
                  <a:lnTo>
                    <a:pt x="6" y="14"/>
                  </a:lnTo>
                  <a:lnTo>
                    <a:pt x="6" y="14"/>
                  </a:lnTo>
                  <a:lnTo>
                    <a:pt x="6" y="14"/>
                  </a:lnTo>
                  <a:lnTo>
                    <a:pt x="8" y="14"/>
                  </a:lnTo>
                  <a:lnTo>
                    <a:pt x="10" y="14"/>
                  </a:lnTo>
                  <a:lnTo>
                    <a:pt x="12" y="14"/>
                  </a:lnTo>
                  <a:lnTo>
                    <a:pt x="14" y="14"/>
                  </a:lnTo>
                  <a:lnTo>
                    <a:pt x="14" y="14"/>
                  </a:lnTo>
                  <a:lnTo>
                    <a:pt x="16" y="16"/>
                  </a:lnTo>
                  <a:lnTo>
                    <a:pt x="18" y="16"/>
                  </a:lnTo>
                  <a:lnTo>
                    <a:pt x="22" y="18"/>
                  </a:lnTo>
                  <a:lnTo>
                    <a:pt x="26" y="20"/>
                  </a:lnTo>
                  <a:lnTo>
                    <a:pt x="26" y="20"/>
                  </a:lnTo>
                  <a:lnTo>
                    <a:pt x="28" y="20"/>
                  </a:lnTo>
                  <a:lnTo>
                    <a:pt x="28" y="20"/>
                  </a:lnTo>
                  <a:lnTo>
                    <a:pt x="30" y="20"/>
                  </a:lnTo>
                  <a:lnTo>
                    <a:pt x="30" y="20"/>
                  </a:lnTo>
                  <a:lnTo>
                    <a:pt x="30" y="20"/>
                  </a:lnTo>
                  <a:lnTo>
                    <a:pt x="30" y="20"/>
                  </a:lnTo>
                  <a:lnTo>
                    <a:pt x="32" y="20"/>
                  </a:lnTo>
                  <a:lnTo>
                    <a:pt x="32" y="20"/>
                  </a:lnTo>
                  <a:lnTo>
                    <a:pt x="32" y="18"/>
                  </a:lnTo>
                  <a:lnTo>
                    <a:pt x="32" y="18"/>
                  </a:lnTo>
                  <a:lnTo>
                    <a:pt x="30" y="16"/>
                  </a:lnTo>
                  <a:lnTo>
                    <a:pt x="30" y="12"/>
                  </a:lnTo>
                  <a:lnTo>
                    <a:pt x="30" y="10"/>
                  </a:lnTo>
                  <a:lnTo>
                    <a:pt x="30" y="8"/>
                  </a:lnTo>
                  <a:lnTo>
                    <a:pt x="30" y="6"/>
                  </a:lnTo>
                  <a:lnTo>
                    <a:pt x="28" y="4"/>
                  </a:lnTo>
                  <a:lnTo>
                    <a:pt x="28" y="2"/>
                  </a:lnTo>
                  <a:lnTo>
                    <a:pt x="28" y="2"/>
                  </a:lnTo>
                  <a:lnTo>
                    <a:pt x="28" y="2"/>
                  </a:lnTo>
                  <a:lnTo>
                    <a:pt x="28"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1" name="Freeform 289">
              <a:extLst>
                <a:ext uri="{FF2B5EF4-FFF2-40B4-BE49-F238E27FC236}">
                  <a16:creationId xmlns:a16="http://schemas.microsoft.com/office/drawing/2014/main" id="{3C6D1F25-0B5A-4FB6-AD71-B59910A783D1}"/>
                </a:ext>
              </a:extLst>
            </p:cNvPr>
            <p:cNvSpPr>
              <a:spLocks/>
            </p:cNvSpPr>
            <p:nvPr/>
          </p:nvSpPr>
          <p:spPr bwMode="auto">
            <a:xfrm>
              <a:off x="4421634" y="3215517"/>
              <a:ext cx="301381" cy="294453"/>
            </a:xfrm>
            <a:custGeom>
              <a:avLst/>
              <a:gdLst>
                <a:gd name="T0" fmla="*/ 14 w 174"/>
                <a:gd name="T1" fmla="*/ 58 h 170"/>
                <a:gd name="T2" fmla="*/ 10 w 174"/>
                <a:gd name="T3" fmla="*/ 54 h 170"/>
                <a:gd name="T4" fmla="*/ 2 w 174"/>
                <a:gd name="T5" fmla="*/ 50 h 170"/>
                <a:gd name="T6" fmla="*/ 0 w 174"/>
                <a:gd name="T7" fmla="*/ 40 h 170"/>
                <a:gd name="T8" fmla="*/ 4 w 174"/>
                <a:gd name="T9" fmla="*/ 32 h 170"/>
                <a:gd name="T10" fmla="*/ 6 w 174"/>
                <a:gd name="T11" fmla="*/ 20 h 170"/>
                <a:gd name="T12" fmla="*/ 16 w 174"/>
                <a:gd name="T13" fmla="*/ 16 h 170"/>
                <a:gd name="T14" fmla="*/ 24 w 174"/>
                <a:gd name="T15" fmla="*/ 12 h 170"/>
                <a:gd name="T16" fmla="*/ 26 w 174"/>
                <a:gd name="T17" fmla="*/ 10 h 170"/>
                <a:gd name="T18" fmla="*/ 30 w 174"/>
                <a:gd name="T19" fmla="*/ 16 h 170"/>
                <a:gd name="T20" fmla="*/ 32 w 174"/>
                <a:gd name="T21" fmla="*/ 16 h 170"/>
                <a:gd name="T22" fmla="*/ 36 w 174"/>
                <a:gd name="T23" fmla="*/ 12 h 170"/>
                <a:gd name="T24" fmla="*/ 42 w 174"/>
                <a:gd name="T25" fmla="*/ 14 h 170"/>
                <a:gd name="T26" fmla="*/ 46 w 174"/>
                <a:gd name="T27" fmla="*/ 4 h 170"/>
                <a:gd name="T28" fmla="*/ 54 w 174"/>
                <a:gd name="T29" fmla="*/ 6 h 170"/>
                <a:gd name="T30" fmla="*/ 70 w 174"/>
                <a:gd name="T31" fmla="*/ 6 h 170"/>
                <a:gd name="T32" fmla="*/ 80 w 174"/>
                <a:gd name="T33" fmla="*/ 0 h 170"/>
                <a:gd name="T34" fmla="*/ 84 w 174"/>
                <a:gd name="T35" fmla="*/ 2 h 170"/>
                <a:gd name="T36" fmla="*/ 86 w 174"/>
                <a:gd name="T37" fmla="*/ 26 h 170"/>
                <a:gd name="T38" fmla="*/ 82 w 174"/>
                <a:gd name="T39" fmla="*/ 38 h 170"/>
                <a:gd name="T40" fmla="*/ 80 w 174"/>
                <a:gd name="T41" fmla="*/ 48 h 170"/>
                <a:gd name="T42" fmla="*/ 86 w 174"/>
                <a:gd name="T43" fmla="*/ 52 h 170"/>
                <a:gd name="T44" fmla="*/ 92 w 174"/>
                <a:gd name="T45" fmla="*/ 62 h 170"/>
                <a:gd name="T46" fmla="*/ 104 w 174"/>
                <a:gd name="T47" fmla="*/ 80 h 170"/>
                <a:gd name="T48" fmla="*/ 120 w 174"/>
                <a:gd name="T49" fmla="*/ 98 h 170"/>
                <a:gd name="T50" fmla="*/ 130 w 174"/>
                <a:gd name="T51" fmla="*/ 102 h 170"/>
                <a:gd name="T52" fmla="*/ 138 w 174"/>
                <a:gd name="T53" fmla="*/ 100 h 170"/>
                <a:gd name="T54" fmla="*/ 142 w 174"/>
                <a:gd name="T55" fmla="*/ 100 h 170"/>
                <a:gd name="T56" fmla="*/ 142 w 174"/>
                <a:gd name="T57" fmla="*/ 106 h 170"/>
                <a:gd name="T58" fmla="*/ 150 w 174"/>
                <a:gd name="T59" fmla="*/ 114 h 170"/>
                <a:gd name="T60" fmla="*/ 154 w 174"/>
                <a:gd name="T61" fmla="*/ 122 h 170"/>
                <a:gd name="T62" fmla="*/ 170 w 174"/>
                <a:gd name="T63" fmla="*/ 134 h 170"/>
                <a:gd name="T64" fmla="*/ 174 w 174"/>
                <a:gd name="T65" fmla="*/ 140 h 170"/>
                <a:gd name="T66" fmla="*/ 170 w 174"/>
                <a:gd name="T67" fmla="*/ 142 h 170"/>
                <a:gd name="T68" fmla="*/ 164 w 174"/>
                <a:gd name="T69" fmla="*/ 142 h 170"/>
                <a:gd name="T70" fmla="*/ 156 w 174"/>
                <a:gd name="T71" fmla="*/ 134 h 170"/>
                <a:gd name="T72" fmla="*/ 150 w 174"/>
                <a:gd name="T73" fmla="*/ 136 h 170"/>
                <a:gd name="T74" fmla="*/ 144 w 174"/>
                <a:gd name="T75" fmla="*/ 142 h 170"/>
                <a:gd name="T76" fmla="*/ 148 w 174"/>
                <a:gd name="T77" fmla="*/ 150 h 170"/>
                <a:gd name="T78" fmla="*/ 150 w 174"/>
                <a:gd name="T79" fmla="*/ 156 h 170"/>
                <a:gd name="T80" fmla="*/ 144 w 174"/>
                <a:gd name="T81" fmla="*/ 162 h 170"/>
                <a:gd name="T82" fmla="*/ 140 w 174"/>
                <a:gd name="T83" fmla="*/ 170 h 170"/>
                <a:gd name="T84" fmla="*/ 134 w 174"/>
                <a:gd name="T85" fmla="*/ 170 h 170"/>
                <a:gd name="T86" fmla="*/ 130 w 174"/>
                <a:gd name="T87" fmla="*/ 166 h 170"/>
                <a:gd name="T88" fmla="*/ 132 w 174"/>
                <a:gd name="T89" fmla="*/ 150 h 170"/>
                <a:gd name="T90" fmla="*/ 132 w 174"/>
                <a:gd name="T91" fmla="*/ 144 h 170"/>
                <a:gd name="T92" fmla="*/ 124 w 174"/>
                <a:gd name="T93" fmla="*/ 138 h 170"/>
                <a:gd name="T94" fmla="*/ 120 w 174"/>
                <a:gd name="T95" fmla="*/ 130 h 170"/>
                <a:gd name="T96" fmla="*/ 112 w 174"/>
                <a:gd name="T97" fmla="*/ 128 h 170"/>
                <a:gd name="T98" fmla="*/ 108 w 174"/>
                <a:gd name="T99" fmla="*/ 126 h 170"/>
                <a:gd name="T100" fmla="*/ 110 w 174"/>
                <a:gd name="T101" fmla="*/ 118 h 170"/>
                <a:gd name="T102" fmla="*/ 106 w 174"/>
                <a:gd name="T103" fmla="*/ 116 h 170"/>
                <a:gd name="T104" fmla="*/ 88 w 174"/>
                <a:gd name="T105" fmla="*/ 112 h 170"/>
                <a:gd name="T106" fmla="*/ 70 w 174"/>
                <a:gd name="T107" fmla="*/ 96 h 170"/>
                <a:gd name="T108" fmla="*/ 58 w 174"/>
                <a:gd name="T109" fmla="*/ 86 h 170"/>
                <a:gd name="T110" fmla="*/ 54 w 174"/>
                <a:gd name="T111" fmla="*/ 74 h 170"/>
                <a:gd name="T112" fmla="*/ 52 w 174"/>
                <a:gd name="T113" fmla="*/ 62 h 170"/>
                <a:gd name="T114" fmla="*/ 42 w 174"/>
                <a:gd name="T115" fmla="*/ 56 h 170"/>
                <a:gd name="T116" fmla="*/ 32 w 174"/>
                <a:gd name="T117" fmla="*/ 56 h 170"/>
                <a:gd name="T118" fmla="*/ 30 w 174"/>
                <a:gd name="T119" fmla="*/ 62 h 170"/>
                <a:gd name="T120" fmla="*/ 26 w 174"/>
                <a:gd name="T121" fmla="*/ 6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4" h="170">
                  <a:moveTo>
                    <a:pt x="12" y="64"/>
                  </a:moveTo>
                  <a:lnTo>
                    <a:pt x="12" y="64"/>
                  </a:lnTo>
                  <a:lnTo>
                    <a:pt x="12" y="64"/>
                  </a:lnTo>
                  <a:lnTo>
                    <a:pt x="12" y="60"/>
                  </a:lnTo>
                  <a:lnTo>
                    <a:pt x="14" y="58"/>
                  </a:lnTo>
                  <a:lnTo>
                    <a:pt x="14" y="58"/>
                  </a:lnTo>
                  <a:lnTo>
                    <a:pt x="12" y="56"/>
                  </a:lnTo>
                  <a:lnTo>
                    <a:pt x="12" y="56"/>
                  </a:lnTo>
                  <a:lnTo>
                    <a:pt x="12" y="54"/>
                  </a:lnTo>
                  <a:lnTo>
                    <a:pt x="12" y="54"/>
                  </a:lnTo>
                  <a:lnTo>
                    <a:pt x="12" y="54"/>
                  </a:lnTo>
                  <a:lnTo>
                    <a:pt x="10" y="54"/>
                  </a:lnTo>
                  <a:lnTo>
                    <a:pt x="8" y="52"/>
                  </a:lnTo>
                  <a:lnTo>
                    <a:pt x="6" y="52"/>
                  </a:lnTo>
                  <a:lnTo>
                    <a:pt x="4" y="52"/>
                  </a:lnTo>
                  <a:lnTo>
                    <a:pt x="4" y="52"/>
                  </a:lnTo>
                  <a:lnTo>
                    <a:pt x="2" y="50"/>
                  </a:lnTo>
                  <a:lnTo>
                    <a:pt x="2" y="50"/>
                  </a:lnTo>
                  <a:lnTo>
                    <a:pt x="2" y="50"/>
                  </a:lnTo>
                  <a:lnTo>
                    <a:pt x="0" y="48"/>
                  </a:lnTo>
                  <a:lnTo>
                    <a:pt x="0" y="46"/>
                  </a:lnTo>
                  <a:lnTo>
                    <a:pt x="0" y="44"/>
                  </a:lnTo>
                  <a:lnTo>
                    <a:pt x="0" y="44"/>
                  </a:lnTo>
                  <a:lnTo>
                    <a:pt x="0" y="40"/>
                  </a:lnTo>
                  <a:lnTo>
                    <a:pt x="0" y="38"/>
                  </a:lnTo>
                  <a:lnTo>
                    <a:pt x="0" y="38"/>
                  </a:lnTo>
                  <a:lnTo>
                    <a:pt x="0" y="36"/>
                  </a:lnTo>
                  <a:lnTo>
                    <a:pt x="0" y="34"/>
                  </a:lnTo>
                  <a:lnTo>
                    <a:pt x="0" y="34"/>
                  </a:lnTo>
                  <a:lnTo>
                    <a:pt x="4" y="32"/>
                  </a:lnTo>
                  <a:lnTo>
                    <a:pt x="4" y="30"/>
                  </a:lnTo>
                  <a:lnTo>
                    <a:pt x="6" y="28"/>
                  </a:lnTo>
                  <a:lnTo>
                    <a:pt x="6" y="28"/>
                  </a:lnTo>
                  <a:lnTo>
                    <a:pt x="6" y="26"/>
                  </a:lnTo>
                  <a:lnTo>
                    <a:pt x="6" y="24"/>
                  </a:lnTo>
                  <a:lnTo>
                    <a:pt x="6" y="20"/>
                  </a:lnTo>
                  <a:lnTo>
                    <a:pt x="6" y="18"/>
                  </a:lnTo>
                  <a:lnTo>
                    <a:pt x="6" y="16"/>
                  </a:lnTo>
                  <a:lnTo>
                    <a:pt x="8" y="16"/>
                  </a:lnTo>
                  <a:lnTo>
                    <a:pt x="12" y="16"/>
                  </a:lnTo>
                  <a:lnTo>
                    <a:pt x="14" y="16"/>
                  </a:lnTo>
                  <a:lnTo>
                    <a:pt x="16" y="16"/>
                  </a:lnTo>
                  <a:lnTo>
                    <a:pt x="18" y="16"/>
                  </a:lnTo>
                  <a:lnTo>
                    <a:pt x="20" y="16"/>
                  </a:lnTo>
                  <a:lnTo>
                    <a:pt x="20" y="16"/>
                  </a:lnTo>
                  <a:lnTo>
                    <a:pt x="22" y="14"/>
                  </a:lnTo>
                  <a:lnTo>
                    <a:pt x="22" y="12"/>
                  </a:lnTo>
                  <a:lnTo>
                    <a:pt x="24" y="12"/>
                  </a:lnTo>
                  <a:lnTo>
                    <a:pt x="24" y="10"/>
                  </a:lnTo>
                  <a:lnTo>
                    <a:pt x="26" y="10"/>
                  </a:lnTo>
                  <a:lnTo>
                    <a:pt x="26" y="10"/>
                  </a:lnTo>
                  <a:lnTo>
                    <a:pt x="26" y="10"/>
                  </a:lnTo>
                  <a:lnTo>
                    <a:pt x="26" y="10"/>
                  </a:lnTo>
                  <a:lnTo>
                    <a:pt x="26" y="10"/>
                  </a:lnTo>
                  <a:lnTo>
                    <a:pt x="28" y="12"/>
                  </a:lnTo>
                  <a:lnTo>
                    <a:pt x="28" y="12"/>
                  </a:lnTo>
                  <a:lnTo>
                    <a:pt x="28" y="14"/>
                  </a:lnTo>
                  <a:lnTo>
                    <a:pt x="28" y="14"/>
                  </a:lnTo>
                  <a:lnTo>
                    <a:pt x="30" y="16"/>
                  </a:lnTo>
                  <a:lnTo>
                    <a:pt x="30" y="16"/>
                  </a:lnTo>
                  <a:lnTo>
                    <a:pt x="30" y="16"/>
                  </a:lnTo>
                  <a:lnTo>
                    <a:pt x="32" y="16"/>
                  </a:lnTo>
                  <a:lnTo>
                    <a:pt x="32" y="16"/>
                  </a:lnTo>
                  <a:lnTo>
                    <a:pt x="32" y="16"/>
                  </a:lnTo>
                  <a:lnTo>
                    <a:pt x="32" y="16"/>
                  </a:lnTo>
                  <a:lnTo>
                    <a:pt x="32" y="16"/>
                  </a:lnTo>
                  <a:lnTo>
                    <a:pt x="34" y="14"/>
                  </a:lnTo>
                  <a:lnTo>
                    <a:pt x="34" y="12"/>
                  </a:lnTo>
                  <a:lnTo>
                    <a:pt x="34" y="12"/>
                  </a:lnTo>
                  <a:lnTo>
                    <a:pt x="36" y="12"/>
                  </a:lnTo>
                  <a:lnTo>
                    <a:pt x="36" y="12"/>
                  </a:lnTo>
                  <a:lnTo>
                    <a:pt x="36" y="12"/>
                  </a:lnTo>
                  <a:lnTo>
                    <a:pt x="36" y="12"/>
                  </a:lnTo>
                  <a:lnTo>
                    <a:pt x="38" y="12"/>
                  </a:lnTo>
                  <a:lnTo>
                    <a:pt x="40" y="14"/>
                  </a:lnTo>
                  <a:lnTo>
                    <a:pt x="40" y="14"/>
                  </a:lnTo>
                  <a:lnTo>
                    <a:pt x="42" y="14"/>
                  </a:lnTo>
                  <a:lnTo>
                    <a:pt x="42" y="14"/>
                  </a:lnTo>
                  <a:lnTo>
                    <a:pt x="42" y="12"/>
                  </a:lnTo>
                  <a:lnTo>
                    <a:pt x="42" y="12"/>
                  </a:lnTo>
                  <a:lnTo>
                    <a:pt x="44" y="12"/>
                  </a:lnTo>
                  <a:lnTo>
                    <a:pt x="44" y="10"/>
                  </a:lnTo>
                  <a:lnTo>
                    <a:pt x="44" y="8"/>
                  </a:lnTo>
                  <a:lnTo>
                    <a:pt x="46" y="4"/>
                  </a:lnTo>
                  <a:lnTo>
                    <a:pt x="46" y="2"/>
                  </a:lnTo>
                  <a:lnTo>
                    <a:pt x="48" y="4"/>
                  </a:lnTo>
                  <a:lnTo>
                    <a:pt x="50" y="4"/>
                  </a:lnTo>
                  <a:lnTo>
                    <a:pt x="52" y="6"/>
                  </a:lnTo>
                  <a:lnTo>
                    <a:pt x="52" y="6"/>
                  </a:lnTo>
                  <a:lnTo>
                    <a:pt x="54" y="6"/>
                  </a:lnTo>
                  <a:lnTo>
                    <a:pt x="56" y="6"/>
                  </a:lnTo>
                  <a:lnTo>
                    <a:pt x="60" y="6"/>
                  </a:lnTo>
                  <a:lnTo>
                    <a:pt x="64" y="6"/>
                  </a:lnTo>
                  <a:lnTo>
                    <a:pt x="66" y="6"/>
                  </a:lnTo>
                  <a:lnTo>
                    <a:pt x="68" y="6"/>
                  </a:lnTo>
                  <a:lnTo>
                    <a:pt x="70" y="6"/>
                  </a:lnTo>
                  <a:lnTo>
                    <a:pt x="70" y="4"/>
                  </a:lnTo>
                  <a:lnTo>
                    <a:pt x="74" y="2"/>
                  </a:lnTo>
                  <a:lnTo>
                    <a:pt x="76" y="0"/>
                  </a:lnTo>
                  <a:lnTo>
                    <a:pt x="78" y="0"/>
                  </a:lnTo>
                  <a:lnTo>
                    <a:pt x="78" y="0"/>
                  </a:lnTo>
                  <a:lnTo>
                    <a:pt x="80" y="0"/>
                  </a:lnTo>
                  <a:lnTo>
                    <a:pt x="80" y="0"/>
                  </a:lnTo>
                  <a:lnTo>
                    <a:pt x="80" y="0"/>
                  </a:lnTo>
                  <a:lnTo>
                    <a:pt x="82" y="0"/>
                  </a:lnTo>
                  <a:lnTo>
                    <a:pt x="82" y="0"/>
                  </a:lnTo>
                  <a:lnTo>
                    <a:pt x="84" y="2"/>
                  </a:lnTo>
                  <a:lnTo>
                    <a:pt x="84" y="2"/>
                  </a:lnTo>
                  <a:lnTo>
                    <a:pt x="86" y="4"/>
                  </a:lnTo>
                  <a:lnTo>
                    <a:pt x="88" y="8"/>
                  </a:lnTo>
                  <a:lnTo>
                    <a:pt x="90" y="10"/>
                  </a:lnTo>
                  <a:lnTo>
                    <a:pt x="92" y="20"/>
                  </a:lnTo>
                  <a:lnTo>
                    <a:pt x="90" y="24"/>
                  </a:lnTo>
                  <a:lnTo>
                    <a:pt x="86" y="26"/>
                  </a:lnTo>
                  <a:lnTo>
                    <a:pt x="86" y="26"/>
                  </a:lnTo>
                  <a:lnTo>
                    <a:pt x="84" y="28"/>
                  </a:lnTo>
                  <a:lnTo>
                    <a:pt x="84" y="28"/>
                  </a:lnTo>
                  <a:lnTo>
                    <a:pt x="84" y="30"/>
                  </a:lnTo>
                  <a:lnTo>
                    <a:pt x="82" y="34"/>
                  </a:lnTo>
                  <a:lnTo>
                    <a:pt x="82" y="38"/>
                  </a:lnTo>
                  <a:lnTo>
                    <a:pt x="80" y="38"/>
                  </a:lnTo>
                  <a:lnTo>
                    <a:pt x="80" y="40"/>
                  </a:lnTo>
                  <a:lnTo>
                    <a:pt x="80" y="42"/>
                  </a:lnTo>
                  <a:lnTo>
                    <a:pt x="80" y="46"/>
                  </a:lnTo>
                  <a:lnTo>
                    <a:pt x="80" y="46"/>
                  </a:lnTo>
                  <a:lnTo>
                    <a:pt x="80" y="48"/>
                  </a:lnTo>
                  <a:lnTo>
                    <a:pt x="82" y="50"/>
                  </a:lnTo>
                  <a:lnTo>
                    <a:pt x="82" y="50"/>
                  </a:lnTo>
                  <a:lnTo>
                    <a:pt x="82" y="50"/>
                  </a:lnTo>
                  <a:lnTo>
                    <a:pt x="82" y="52"/>
                  </a:lnTo>
                  <a:lnTo>
                    <a:pt x="84" y="52"/>
                  </a:lnTo>
                  <a:lnTo>
                    <a:pt x="86" y="52"/>
                  </a:lnTo>
                  <a:lnTo>
                    <a:pt x="88" y="54"/>
                  </a:lnTo>
                  <a:lnTo>
                    <a:pt x="88" y="54"/>
                  </a:lnTo>
                  <a:lnTo>
                    <a:pt x="90" y="56"/>
                  </a:lnTo>
                  <a:lnTo>
                    <a:pt x="90" y="58"/>
                  </a:lnTo>
                  <a:lnTo>
                    <a:pt x="92" y="60"/>
                  </a:lnTo>
                  <a:lnTo>
                    <a:pt x="92" y="62"/>
                  </a:lnTo>
                  <a:lnTo>
                    <a:pt x="94" y="66"/>
                  </a:lnTo>
                  <a:lnTo>
                    <a:pt x="96" y="68"/>
                  </a:lnTo>
                  <a:lnTo>
                    <a:pt x="96" y="68"/>
                  </a:lnTo>
                  <a:lnTo>
                    <a:pt x="98" y="72"/>
                  </a:lnTo>
                  <a:lnTo>
                    <a:pt x="102" y="76"/>
                  </a:lnTo>
                  <a:lnTo>
                    <a:pt x="104" y="80"/>
                  </a:lnTo>
                  <a:lnTo>
                    <a:pt x="108" y="84"/>
                  </a:lnTo>
                  <a:lnTo>
                    <a:pt x="110" y="88"/>
                  </a:lnTo>
                  <a:lnTo>
                    <a:pt x="112" y="90"/>
                  </a:lnTo>
                  <a:lnTo>
                    <a:pt x="116" y="94"/>
                  </a:lnTo>
                  <a:lnTo>
                    <a:pt x="118" y="96"/>
                  </a:lnTo>
                  <a:lnTo>
                    <a:pt x="120" y="98"/>
                  </a:lnTo>
                  <a:lnTo>
                    <a:pt x="122" y="100"/>
                  </a:lnTo>
                  <a:lnTo>
                    <a:pt x="124" y="100"/>
                  </a:lnTo>
                  <a:lnTo>
                    <a:pt x="124" y="102"/>
                  </a:lnTo>
                  <a:lnTo>
                    <a:pt x="126" y="102"/>
                  </a:lnTo>
                  <a:lnTo>
                    <a:pt x="126" y="102"/>
                  </a:lnTo>
                  <a:lnTo>
                    <a:pt x="130" y="102"/>
                  </a:lnTo>
                  <a:lnTo>
                    <a:pt x="132" y="102"/>
                  </a:lnTo>
                  <a:lnTo>
                    <a:pt x="134" y="102"/>
                  </a:lnTo>
                  <a:lnTo>
                    <a:pt x="134" y="102"/>
                  </a:lnTo>
                  <a:lnTo>
                    <a:pt x="136" y="102"/>
                  </a:lnTo>
                  <a:lnTo>
                    <a:pt x="138" y="100"/>
                  </a:lnTo>
                  <a:lnTo>
                    <a:pt x="138" y="100"/>
                  </a:lnTo>
                  <a:lnTo>
                    <a:pt x="140" y="100"/>
                  </a:lnTo>
                  <a:lnTo>
                    <a:pt x="140" y="100"/>
                  </a:lnTo>
                  <a:lnTo>
                    <a:pt x="140" y="100"/>
                  </a:lnTo>
                  <a:lnTo>
                    <a:pt x="142" y="100"/>
                  </a:lnTo>
                  <a:lnTo>
                    <a:pt x="142" y="100"/>
                  </a:lnTo>
                  <a:lnTo>
                    <a:pt x="142" y="100"/>
                  </a:lnTo>
                  <a:lnTo>
                    <a:pt x="142" y="102"/>
                  </a:lnTo>
                  <a:lnTo>
                    <a:pt x="142" y="102"/>
                  </a:lnTo>
                  <a:lnTo>
                    <a:pt x="142" y="104"/>
                  </a:lnTo>
                  <a:lnTo>
                    <a:pt x="142" y="104"/>
                  </a:lnTo>
                  <a:lnTo>
                    <a:pt x="142" y="106"/>
                  </a:lnTo>
                  <a:lnTo>
                    <a:pt x="142" y="106"/>
                  </a:lnTo>
                  <a:lnTo>
                    <a:pt x="144" y="106"/>
                  </a:lnTo>
                  <a:lnTo>
                    <a:pt x="144" y="108"/>
                  </a:lnTo>
                  <a:lnTo>
                    <a:pt x="146" y="110"/>
                  </a:lnTo>
                  <a:lnTo>
                    <a:pt x="148" y="112"/>
                  </a:lnTo>
                  <a:lnTo>
                    <a:pt x="148" y="112"/>
                  </a:lnTo>
                  <a:lnTo>
                    <a:pt x="150" y="114"/>
                  </a:lnTo>
                  <a:lnTo>
                    <a:pt x="150" y="116"/>
                  </a:lnTo>
                  <a:lnTo>
                    <a:pt x="150" y="118"/>
                  </a:lnTo>
                  <a:lnTo>
                    <a:pt x="152" y="118"/>
                  </a:lnTo>
                  <a:lnTo>
                    <a:pt x="152" y="120"/>
                  </a:lnTo>
                  <a:lnTo>
                    <a:pt x="152" y="120"/>
                  </a:lnTo>
                  <a:lnTo>
                    <a:pt x="154" y="122"/>
                  </a:lnTo>
                  <a:lnTo>
                    <a:pt x="156" y="122"/>
                  </a:lnTo>
                  <a:lnTo>
                    <a:pt x="158" y="124"/>
                  </a:lnTo>
                  <a:lnTo>
                    <a:pt x="162" y="126"/>
                  </a:lnTo>
                  <a:lnTo>
                    <a:pt x="166" y="130"/>
                  </a:lnTo>
                  <a:lnTo>
                    <a:pt x="168" y="132"/>
                  </a:lnTo>
                  <a:lnTo>
                    <a:pt x="170" y="134"/>
                  </a:lnTo>
                  <a:lnTo>
                    <a:pt x="172" y="136"/>
                  </a:lnTo>
                  <a:lnTo>
                    <a:pt x="172" y="136"/>
                  </a:lnTo>
                  <a:lnTo>
                    <a:pt x="172" y="138"/>
                  </a:lnTo>
                  <a:lnTo>
                    <a:pt x="172" y="138"/>
                  </a:lnTo>
                  <a:lnTo>
                    <a:pt x="174" y="138"/>
                  </a:lnTo>
                  <a:lnTo>
                    <a:pt x="174" y="140"/>
                  </a:lnTo>
                  <a:lnTo>
                    <a:pt x="172" y="140"/>
                  </a:lnTo>
                  <a:lnTo>
                    <a:pt x="172" y="140"/>
                  </a:lnTo>
                  <a:lnTo>
                    <a:pt x="172" y="142"/>
                  </a:lnTo>
                  <a:lnTo>
                    <a:pt x="170" y="142"/>
                  </a:lnTo>
                  <a:lnTo>
                    <a:pt x="170" y="142"/>
                  </a:lnTo>
                  <a:lnTo>
                    <a:pt x="170" y="142"/>
                  </a:lnTo>
                  <a:lnTo>
                    <a:pt x="168" y="142"/>
                  </a:lnTo>
                  <a:lnTo>
                    <a:pt x="168" y="144"/>
                  </a:lnTo>
                  <a:lnTo>
                    <a:pt x="166" y="142"/>
                  </a:lnTo>
                  <a:lnTo>
                    <a:pt x="166" y="142"/>
                  </a:lnTo>
                  <a:lnTo>
                    <a:pt x="166" y="142"/>
                  </a:lnTo>
                  <a:lnTo>
                    <a:pt x="164" y="142"/>
                  </a:lnTo>
                  <a:lnTo>
                    <a:pt x="164" y="140"/>
                  </a:lnTo>
                  <a:lnTo>
                    <a:pt x="162" y="140"/>
                  </a:lnTo>
                  <a:lnTo>
                    <a:pt x="160" y="138"/>
                  </a:lnTo>
                  <a:lnTo>
                    <a:pt x="158" y="136"/>
                  </a:lnTo>
                  <a:lnTo>
                    <a:pt x="158" y="134"/>
                  </a:lnTo>
                  <a:lnTo>
                    <a:pt x="156" y="134"/>
                  </a:lnTo>
                  <a:lnTo>
                    <a:pt x="156" y="134"/>
                  </a:lnTo>
                  <a:lnTo>
                    <a:pt x="154" y="134"/>
                  </a:lnTo>
                  <a:lnTo>
                    <a:pt x="154" y="134"/>
                  </a:lnTo>
                  <a:lnTo>
                    <a:pt x="152" y="134"/>
                  </a:lnTo>
                  <a:lnTo>
                    <a:pt x="150" y="136"/>
                  </a:lnTo>
                  <a:lnTo>
                    <a:pt x="150" y="136"/>
                  </a:lnTo>
                  <a:lnTo>
                    <a:pt x="148" y="136"/>
                  </a:lnTo>
                  <a:lnTo>
                    <a:pt x="148" y="138"/>
                  </a:lnTo>
                  <a:lnTo>
                    <a:pt x="146" y="138"/>
                  </a:lnTo>
                  <a:lnTo>
                    <a:pt x="146" y="138"/>
                  </a:lnTo>
                  <a:lnTo>
                    <a:pt x="146" y="140"/>
                  </a:lnTo>
                  <a:lnTo>
                    <a:pt x="144" y="142"/>
                  </a:lnTo>
                  <a:lnTo>
                    <a:pt x="144" y="144"/>
                  </a:lnTo>
                  <a:lnTo>
                    <a:pt x="144" y="146"/>
                  </a:lnTo>
                  <a:lnTo>
                    <a:pt x="144" y="146"/>
                  </a:lnTo>
                  <a:lnTo>
                    <a:pt x="144" y="146"/>
                  </a:lnTo>
                  <a:lnTo>
                    <a:pt x="146" y="148"/>
                  </a:lnTo>
                  <a:lnTo>
                    <a:pt x="148" y="150"/>
                  </a:lnTo>
                  <a:lnTo>
                    <a:pt x="148" y="152"/>
                  </a:lnTo>
                  <a:lnTo>
                    <a:pt x="148" y="154"/>
                  </a:lnTo>
                  <a:lnTo>
                    <a:pt x="150" y="154"/>
                  </a:lnTo>
                  <a:lnTo>
                    <a:pt x="150" y="156"/>
                  </a:lnTo>
                  <a:lnTo>
                    <a:pt x="150" y="156"/>
                  </a:lnTo>
                  <a:lnTo>
                    <a:pt x="150" y="156"/>
                  </a:lnTo>
                  <a:lnTo>
                    <a:pt x="148" y="158"/>
                  </a:lnTo>
                  <a:lnTo>
                    <a:pt x="148" y="160"/>
                  </a:lnTo>
                  <a:lnTo>
                    <a:pt x="146" y="160"/>
                  </a:lnTo>
                  <a:lnTo>
                    <a:pt x="144" y="162"/>
                  </a:lnTo>
                  <a:lnTo>
                    <a:pt x="144" y="162"/>
                  </a:lnTo>
                  <a:lnTo>
                    <a:pt x="144" y="162"/>
                  </a:lnTo>
                  <a:lnTo>
                    <a:pt x="144" y="164"/>
                  </a:lnTo>
                  <a:lnTo>
                    <a:pt x="142" y="166"/>
                  </a:lnTo>
                  <a:lnTo>
                    <a:pt x="142" y="168"/>
                  </a:lnTo>
                  <a:lnTo>
                    <a:pt x="142" y="168"/>
                  </a:lnTo>
                  <a:lnTo>
                    <a:pt x="140" y="170"/>
                  </a:lnTo>
                  <a:lnTo>
                    <a:pt x="140" y="170"/>
                  </a:lnTo>
                  <a:lnTo>
                    <a:pt x="138" y="170"/>
                  </a:lnTo>
                  <a:lnTo>
                    <a:pt x="138" y="170"/>
                  </a:lnTo>
                  <a:lnTo>
                    <a:pt x="136" y="170"/>
                  </a:lnTo>
                  <a:lnTo>
                    <a:pt x="136" y="170"/>
                  </a:lnTo>
                  <a:lnTo>
                    <a:pt x="134" y="170"/>
                  </a:lnTo>
                  <a:lnTo>
                    <a:pt x="134" y="170"/>
                  </a:lnTo>
                  <a:lnTo>
                    <a:pt x="132" y="170"/>
                  </a:lnTo>
                  <a:lnTo>
                    <a:pt x="132" y="170"/>
                  </a:lnTo>
                  <a:lnTo>
                    <a:pt x="132" y="168"/>
                  </a:lnTo>
                  <a:lnTo>
                    <a:pt x="130" y="168"/>
                  </a:lnTo>
                  <a:lnTo>
                    <a:pt x="130" y="168"/>
                  </a:lnTo>
                  <a:lnTo>
                    <a:pt x="130" y="166"/>
                  </a:lnTo>
                  <a:lnTo>
                    <a:pt x="130" y="164"/>
                  </a:lnTo>
                  <a:lnTo>
                    <a:pt x="132" y="162"/>
                  </a:lnTo>
                  <a:lnTo>
                    <a:pt x="132" y="156"/>
                  </a:lnTo>
                  <a:lnTo>
                    <a:pt x="132" y="154"/>
                  </a:lnTo>
                  <a:lnTo>
                    <a:pt x="132" y="154"/>
                  </a:lnTo>
                  <a:lnTo>
                    <a:pt x="132" y="150"/>
                  </a:lnTo>
                  <a:lnTo>
                    <a:pt x="134" y="148"/>
                  </a:lnTo>
                  <a:lnTo>
                    <a:pt x="134" y="146"/>
                  </a:lnTo>
                  <a:lnTo>
                    <a:pt x="134" y="146"/>
                  </a:lnTo>
                  <a:lnTo>
                    <a:pt x="134" y="144"/>
                  </a:lnTo>
                  <a:lnTo>
                    <a:pt x="132" y="144"/>
                  </a:lnTo>
                  <a:lnTo>
                    <a:pt x="132" y="144"/>
                  </a:lnTo>
                  <a:lnTo>
                    <a:pt x="132" y="142"/>
                  </a:lnTo>
                  <a:lnTo>
                    <a:pt x="130" y="142"/>
                  </a:lnTo>
                  <a:lnTo>
                    <a:pt x="130" y="142"/>
                  </a:lnTo>
                  <a:lnTo>
                    <a:pt x="128" y="140"/>
                  </a:lnTo>
                  <a:lnTo>
                    <a:pt x="124" y="140"/>
                  </a:lnTo>
                  <a:lnTo>
                    <a:pt x="124" y="138"/>
                  </a:lnTo>
                  <a:lnTo>
                    <a:pt x="122" y="138"/>
                  </a:lnTo>
                  <a:lnTo>
                    <a:pt x="122" y="136"/>
                  </a:lnTo>
                  <a:lnTo>
                    <a:pt x="122" y="136"/>
                  </a:lnTo>
                  <a:lnTo>
                    <a:pt x="120" y="132"/>
                  </a:lnTo>
                  <a:lnTo>
                    <a:pt x="120" y="132"/>
                  </a:lnTo>
                  <a:lnTo>
                    <a:pt x="120" y="130"/>
                  </a:lnTo>
                  <a:lnTo>
                    <a:pt x="118" y="128"/>
                  </a:lnTo>
                  <a:lnTo>
                    <a:pt x="118" y="128"/>
                  </a:lnTo>
                  <a:lnTo>
                    <a:pt x="116" y="128"/>
                  </a:lnTo>
                  <a:lnTo>
                    <a:pt x="116" y="128"/>
                  </a:lnTo>
                  <a:lnTo>
                    <a:pt x="114" y="128"/>
                  </a:lnTo>
                  <a:lnTo>
                    <a:pt x="112" y="128"/>
                  </a:lnTo>
                  <a:lnTo>
                    <a:pt x="110" y="128"/>
                  </a:lnTo>
                  <a:lnTo>
                    <a:pt x="110" y="128"/>
                  </a:lnTo>
                  <a:lnTo>
                    <a:pt x="110" y="128"/>
                  </a:lnTo>
                  <a:lnTo>
                    <a:pt x="108" y="126"/>
                  </a:lnTo>
                  <a:lnTo>
                    <a:pt x="108" y="126"/>
                  </a:lnTo>
                  <a:lnTo>
                    <a:pt x="108" y="126"/>
                  </a:lnTo>
                  <a:lnTo>
                    <a:pt x="108" y="124"/>
                  </a:lnTo>
                  <a:lnTo>
                    <a:pt x="108" y="124"/>
                  </a:lnTo>
                  <a:lnTo>
                    <a:pt x="110" y="122"/>
                  </a:lnTo>
                  <a:lnTo>
                    <a:pt x="110" y="122"/>
                  </a:lnTo>
                  <a:lnTo>
                    <a:pt x="110" y="120"/>
                  </a:lnTo>
                  <a:lnTo>
                    <a:pt x="110" y="118"/>
                  </a:lnTo>
                  <a:lnTo>
                    <a:pt x="110" y="118"/>
                  </a:lnTo>
                  <a:lnTo>
                    <a:pt x="110" y="118"/>
                  </a:lnTo>
                  <a:lnTo>
                    <a:pt x="108" y="118"/>
                  </a:lnTo>
                  <a:lnTo>
                    <a:pt x="108" y="116"/>
                  </a:lnTo>
                  <a:lnTo>
                    <a:pt x="106" y="116"/>
                  </a:lnTo>
                  <a:lnTo>
                    <a:pt x="106" y="116"/>
                  </a:lnTo>
                  <a:lnTo>
                    <a:pt x="102" y="114"/>
                  </a:lnTo>
                  <a:lnTo>
                    <a:pt x="100" y="114"/>
                  </a:lnTo>
                  <a:lnTo>
                    <a:pt x="94" y="112"/>
                  </a:lnTo>
                  <a:lnTo>
                    <a:pt x="90" y="112"/>
                  </a:lnTo>
                  <a:lnTo>
                    <a:pt x="90" y="112"/>
                  </a:lnTo>
                  <a:lnTo>
                    <a:pt x="88" y="112"/>
                  </a:lnTo>
                  <a:lnTo>
                    <a:pt x="88" y="110"/>
                  </a:lnTo>
                  <a:lnTo>
                    <a:pt x="86" y="108"/>
                  </a:lnTo>
                  <a:lnTo>
                    <a:pt x="82" y="106"/>
                  </a:lnTo>
                  <a:lnTo>
                    <a:pt x="78" y="102"/>
                  </a:lnTo>
                  <a:lnTo>
                    <a:pt x="74" y="100"/>
                  </a:lnTo>
                  <a:lnTo>
                    <a:pt x="70" y="96"/>
                  </a:lnTo>
                  <a:lnTo>
                    <a:pt x="68" y="94"/>
                  </a:lnTo>
                  <a:lnTo>
                    <a:pt x="66" y="92"/>
                  </a:lnTo>
                  <a:lnTo>
                    <a:pt x="62" y="90"/>
                  </a:lnTo>
                  <a:lnTo>
                    <a:pt x="60" y="88"/>
                  </a:lnTo>
                  <a:lnTo>
                    <a:pt x="60" y="88"/>
                  </a:lnTo>
                  <a:lnTo>
                    <a:pt x="58" y="86"/>
                  </a:lnTo>
                  <a:lnTo>
                    <a:pt x="58" y="86"/>
                  </a:lnTo>
                  <a:lnTo>
                    <a:pt x="58" y="84"/>
                  </a:lnTo>
                  <a:lnTo>
                    <a:pt x="56" y="82"/>
                  </a:lnTo>
                  <a:lnTo>
                    <a:pt x="56" y="80"/>
                  </a:lnTo>
                  <a:lnTo>
                    <a:pt x="56" y="78"/>
                  </a:lnTo>
                  <a:lnTo>
                    <a:pt x="54" y="74"/>
                  </a:lnTo>
                  <a:lnTo>
                    <a:pt x="54" y="70"/>
                  </a:lnTo>
                  <a:lnTo>
                    <a:pt x="54" y="68"/>
                  </a:lnTo>
                  <a:lnTo>
                    <a:pt x="54" y="66"/>
                  </a:lnTo>
                  <a:lnTo>
                    <a:pt x="52" y="64"/>
                  </a:lnTo>
                  <a:lnTo>
                    <a:pt x="52" y="62"/>
                  </a:lnTo>
                  <a:lnTo>
                    <a:pt x="52" y="62"/>
                  </a:lnTo>
                  <a:lnTo>
                    <a:pt x="50" y="60"/>
                  </a:lnTo>
                  <a:lnTo>
                    <a:pt x="50" y="58"/>
                  </a:lnTo>
                  <a:lnTo>
                    <a:pt x="48" y="58"/>
                  </a:lnTo>
                  <a:lnTo>
                    <a:pt x="46" y="58"/>
                  </a:lnTo>
                  <a:lnTo>
                    <a:pt x="44" y="56"/>
                  </a:lnTo>
                  <a:lnTo>
                    <a:pt x="42" y="56"/>
                  </a:lnTo>
                  <a:lnTo>
                    <a:pt x="40" y="56"/>
                  </a:lnTo>
                  <a:lnTo>
                    <a:pt x="36" y="56"/>
                  </a:lnTo>
                  <a:lnTo>
                    <a:pt x="34" y="56"/>
                  </a:lnTo>
                  <a:lnTo>
                    <a:pt x="34" y="56"/>
                  </a:lnTo>
                  <a:lnTo>
                    <a:pt x="34" y="56"/>
                  </a:lnTo>
                  <a:lnTo>
                    <a:pt x="32" y="56"/>
                  </a:lnTo>
                  <a:lnTo>
                    <a:pt x="32" y="56"/>
                  </a:lnTo>
                  <a:lnTo>
                    <a:pt x="32" y="58"/>
                  </a:lnTo>
                  <a:lnTo>
                    <a:pt x="32" y="58"/>
                  </a:lnTo>
                  <a:lnTo>
                    <a:pt x="32" y="60"/>
                  </a:lnTo>
                  <a:lnTo>
                    <a:pt x="32" y="62"/>
                  </a:lnTo>
                  <a:lnTo>
                    <a:pt x="30" y="62"/>
                  </a:lnTo>
                  <a:lnTo>
                    <a:pt x="30" y="64"/>
                  </a:lnTo>
                  <a:lnTo>
                    <a:pt x="30" y="64"/>
                  </a:lnTo>
                  <a:lnTo>
                    <a:pt x="30" y="64"/>
                  </a:lnTo>
                  <a:lnTo>
                    <a:pt x="28" y="64"/>
                  </a:lnTo>
                  <a:lnTo>
                    <a:pt x="28" y="64"/>
                  </a:lnTo>
                  <a:lnTo>
                    <a:pt x="26" y="64"/>
                  </a:lnTo>
                  <a:lnTo>
                    <a:pt x="26" y="66"/>
                  </a:lnTo>
                  <a:lnTo>
                    <a:pt x="22" y="66"/>
                  </a:lnTo>
                  <a:lnTo>
                    <a:pt x="20" y="66"/>
                  </a:lnTo>
                  <a:lnTo>
                    <a:pt x="14" y="64"/>
                  </a:lnTo>
                  <a:lnTo>
                    <a:pt x="12" y="6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2" name="Freeform 290">
              <a:extLst>
                <a:ext uri="{FF2B5EF4-FFF2-40B4-BE49-F238E27FC236}">
                  <a16:creationId xmlns:a16="http://schemas.microsoft.com/office/drawing/2014/main" id="{9316EB3E-5705-48D3-AADE-CA31F44E4A43}"/>
                </a:ext>
              </a:extLst>
            </p:cNvPr>
            <p:cNvSpPr>
              <a:spLocks/>
            </p:cNvSpPr>
            <p:nvPr/>
          </p:nvSpPr>
          <p:spPr bwMode="auto">
            <a:xfrm>
              <a:off x="4421634" y="3215517"/>
              <a:ext cx="301381" cy="294453"/>
            </a:xfrm>
            <a:custGeom>
              <a:avLst/>
              <a:gdLst>
                <a:gd name="T0" fmla="*/ 14 w 174"/>
                <a:gd name="T1" fmla="*/ 58 h 170"/>
                <a:gd name="T2" fmla="*/ 10 w 174"/>
                <a:gd name="T3" fmla="*/ 54 h 170"/>
                <a:gd name="T4" fmla="*/ 2 w 174"/>
                <a:gd name="T5" fmla="*/ 50 h 170"/>
                <a:gd name="T6" fmla="*/ 0 w 174"/>
                <a:gd name="T7" fmla="*/ 40 h 170"/>
                <a:gd name="T8" fmla="*/ 4 w 174"/>
                <a:gd name="T9" fmla="*/ 32 h 170"/>
                <a:gd name="T10" fmla="*/ 6 w 174"/>
                <a:gd name="T11" fmla="*/ 20 h 170"/>
                <a:gd name="T12" fmla="*/ 16 w 174"/>
                <a:gd name="T13" fmla="*/ 16 h 170"/>
                <a:gd name="T14" fmla="*/ 24 w 174"/>
                <a:gd name="T15" fmla="*/ 12 h 170"/>
                <a:gd name="T16" fmla="*/ 26 w 174"/>
                <a:gd name="T17" fmla="*/ 10 h 170"/>
                <a:gd name="T18" fmla="*/ 30 w 174"/>
                <a:gd name="T19" fmla="*/ 16 h 170"/>
                <a:gd name="T20" fmla="*/ 32 w 174"/>
                <a:gd name="T21" fmla="*/ 16 h 170"/>
                <a:gd name="T22" fmla="*/ 36 w 174"/>
                <a:gd name="T23" fmla="*/ 12 h 170"/>
                <a:gd name="T24" fmla="*/ 42 w 174"/>
                <a:gd name="T25" fmla="*/ 14 h 170"/>
                <a:gd name="T26" fmla="*/ 46 w 174"/>
                <a:gd name="T27" fmla="*/ 4 h 170"/>
                <a:gd name="T28" fmla="*/ 54 w 174"/>
                <a:gd name="T29" fmla="*/ 6 h 170"/>
                <a:gd name="T30" fmla="*/ 70 w 174"/>
                <a:gd name="T31" fmla="*/ 6 h 170"/>
                <a:gd name="T32" fmla="*/ 80 w 174"/>
                <a:gd name="T33" fmla="*/ 0 h 170"/>
                <a:gd name="T34" fmla="*/ 84 w 174"/>
                <a:gd name="T35" fmla="*/ 2 h 170"/>
                <a:gd name="T36" fmla="*/ 86 w 174"/>
                <a:gd name="T37" fmla="*/ 26 h 170"/>
                <a:gd name="T38" fmla="*/ 82 w 174"/>
                <a:gd name="T39" fmla="*/ 38 h 170"/>
                <a:gd name="T40" fmla="*/ 80 w 174"/>
                <a:gd name="T41" fmla="*/ 48 h 170"/>
                <a:gd name="T42" fmla="*/ 86 w 174"/>
                <a:gd name="T43" fmla="*/ 52 h 170"/>
                <a:gd name="T44" fmla="*/ 92 w 174"/>
                <a:gd name="T45" fmla="*/ 62 h 170"/>
                <a:gd name="T46" fmla="*/ 104 w 174"/>
                <a:gd name="T47" fmla="*/ 80 h 170"/>
                <a:gd name="T48" fmla="*/ 120 w 174"/>
                <a:gd name="T49" fmla="*/ 98 h 170"/>
                <a:gd name="T50" fmla="*/ 130 w 174"/>
                <a:gd name="T51" fmla="*/ 102 h 170"/>
                <a:gd name="T52" fmla="*/ 138 w 174"/>
                <a:gd name="T53" fmla="*/ 100 h 170"/>
                <a:gd name="T54" fmla="*/ 142 w 174"/>
                <a:gd name="T55" fmla="*/ 100 h 170"/>
                <a:gd name="T56" fmla="*/ 142 w 174"/>
                <a:gd name="T57" fmla="*/ 106 h 170"/>
                <a:gd name="T58" fmla="*/ 150 w 174"/>
                <a:gd name="T59" fmla="*/ 114 h 170"/>
                <a:gd name="T60" fmla="*/ 154 w 174"/>
                <a:gd name="T61" fmla="*/ 122 h 170"/>
                <a:gd name="T62" fmla="*/ 170 w 174"/>
                <a:gd name="T63" fmla="*/ 134 h 170"/>
                <a:gd name="T64" fmla="*/ 174 w 174"/>
                <a:gd name="T65" fmla="*/ 140 h 170"/>
                <a:gd name="T66" fmla="*/ 170 w 174"/>
                <a:gd name="T67" fmla="*/ 142 h 170"/>
                <a:gd name="T68" fmla="*/ 164 w 174"/>
                <a:gd name="T69" fmla="*/ 142 h 170"/>
                <a:gd name="T70" fmla="*/ 156 w 174"/>
                <a:gd name="T71" fmla="*/ 134 h 170"/>
                <a:gd name="T72" fmla="*/ 150 w 174"/>
                <a:gd name="T73" fmla="*/ 136 h 170"/>
                <a:gd name="T74" fmla="*/ 144 w 174"/>
                <a:gd name="T75" fmla="*/ 142 h 170"/>
                <a:gd name="T76" fmla="*/ 148 w 174"/>
                <a:gd name="T77" fmla="*/ 150 h 170"/>
                <a:gd name="T78" fmla="*/ 150 w 174"/>
                <a:gd name="T79" fmla="*/ 156 h 170"/>
                <a:gd name="T80" fmla="*/ 144 w 174"/>
                <a:gd name="T81" fmla="*/ 162 h 170"/>
                <a:gd name="T82" fmla="*/ 140 w 174"/>
                <a:gd name="T83" fmla="*/ 170 h 170"/>
                <a:gd name="T84" fmla="*/ 134 w 174"/>
                <a:gd name="T85" fmla="*/ 170 h 170"/>
                <a:gd name="T86" fmla="*/ 130 w 174"/>
                <a:gd name="T87" fmla="*/ 166 h 170"/>
                <a:gd name="T88" fmla="*/ 132 w 174"/>
                <a:gd name="T89" fmla="*/ 150 h 170"/>
                <a:gd name="T90" fmla="*/ 132 w 174"/>
                <a:gd name="T91" fmla="*/ 144 h 170"/>
                <a:gd name="T92" fmla="*/ 124 w 174"/>
                <a:gd name="T93" fmla="*/ 138 h 170"/>
                <a:gd name="T94" fmla="*/ 120 w 174"/>
                <a:gd name="T95" fmla="*/ 130 h 170"/>
                <a:gd name="T96" fmla="*/ 112 w 174"/>
                <a:gd name="T97" fmla="*/ 128 h 170"/>
                <a:gd name="T98" fmla="*/ 108 w 174"/>
                <a:gd name="T99" fmla="*/ 126 h 170"/>
                <a:gd name="T100" fmla="*/ 110 w 174"/>
                <a:gd name="T101" fmla="*/ 118 h 170"/>
                <a:gd name="T102" fmla="*/ 106 w 174"/>
                <a:gd name="T103" fmla="*/ 116 h 170"/>
                <a:gd name="T104" fmla="*/ 88 w 174"/>
                <a:gd name="T105" fmla="*/ 112 h 170"/>
                <a:gd name="T106" fmla="*/ 70 w 174"/>
                <a:gd name="T107" fmla="*/ 96 h 170"/>
                <a:gd name="T108" fmla="*/ 58 w 174"/>
                <a:gd name="T109" fmla="*/ 86 h 170"/>
                <a:gd name="T110" fmla="*/ 54 w 174"/>
                <a:gd name="T111" fmla="*/ 74 h 170"/>
                <a:gd name="T112" fmla="*/ 52 w 174"/>
                <a:gd name="T113" fmla="*/ 62 h 170"/>
                <a:gd name="T114" fmla="*/ 42 w 174"/>
                <a:gd name="T115" fmla="*/ 56 h 170"/>
                <a:gd name="T116" fmla="*/ 32 w 174"/>
                <a:gd name="T117" fmla="*/ 56 h 170"/>
                <a:gd name="T118" fmla="*/ 30 w 174"/>
                <a:gd name="T119" fmla="*/ 62 h 170"/>
                <a:gd name="T120" fmla="*/ 26 w 174"/>
                <a:gd name="T121" fmla="*/ 6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4" h="170">
                  <a:moveTo>
                    <a:pt x="12" y="64"/>
                  </a:moveTo>
                  <a:lnTo>
                    <a:pt x="12" y="64"/>
                  </a:lnTo>
                  <a:lnTo>
                    <a:pt x="12" y="64"/>
                  </a:lnTo>
                  <a:lnTo>
                    <a:pt x="12" y="60"/>
                  </a:lnTo>
                  <a:lnTo>
                    <a:pt x="14" y="58"/>
                  </a:lnTo>
                  <a:lnTo>
                    <a:pt x="14" y="58"/>
                  </a:lnTo>
                  <a:lnTo>
                    <a:pt x="12" y="56"/>
                  </a:lnTo>
                  <a:lnTo>
                    <a:pt x="12" y="56"/>
                  </a:lnTo>
                  <a:lnTo>
                    <a:pt x="12" y="54"/>
                  </a:lnTo>
                  <a:lnTo>
                    <a:pt x="12" y="54"/>
                  </a:lnTo>
                  <a:lnTo>
                    <a:pt x="12" y="54"/>
                  </a:lnTo>
                  <a:lnTo>
                    <a:pt x="10" y="54"/>
                  </a:lnTo>
                  <a:lnTo>
                    <a:pt x="8" y="52"/>
                  </a:lnTo>
                  <a:lnTo>
                    <a:pt x="6" y="52"/>
                  </a:lnTo>
                  <a:lnTo>
                    <a:pt x="4" y="52"/>
                  </a:lnTo>
                  <a:lnTo>
                    <a:pt x="4" y="52"/>
                  </a:lnTo>
                  <a:lnTo>
                    <a:pt x="2" y="50"/>
                  </a:lnTo>
                  <a:lnTo>
                    <a:pt x="2" y="50"/>
                  </a:lnTo>
                  <a:lnTo>
                    <a:pt x="2" y="50"/>
                  </a:lnTo>
                  <a:lnTo>
                    <a:pt x="0" y="48"/>
                  </a:lnTo>
                  <a:lnTo>
                    <a:pt x="0" y="46"/>
                  </a:lnTo>
                  <a:lnTo>
                    <a:pt x="0" y="44"/>
                  </a:lnTo>
                  <a:lnTo>
                    <a:pt x="0" y="44"/>
                  </a:lnTo>
                  <a:lnTo>
                    <a:pt x="0" y="40"/>
                  </a:lnTo>
                  <a:lnTo>
                    <a:pt x="0" y="38"/>
                  </a:lnTo>
                  <a:lnTo>
                    <a:pt x="0" y="38"/>
                  </a:lnTo>
                  <a:lnTo>
                    <a:pt x="0" y="36"/>
                  </a:lnTo>
                  <a:lnTo>
                    <a:pt x="0" y="34"/>
                  </a:lnTo>
                  <a:lnTo>
                    <a:pt x="0" y="34"/>
                  </a:lnTo>
                  <a:lnTo>
                    <a:pt x="4" y="32"/>
                  </a:lnTo>
                  <a:lnTo>
                    <a:pt x="4" y="30"/>
                  </a:lnTo>
                  <a:lnTo>
                    <a:pt x="6" y="28"/>
                  </a:lnTo>
                  <a:lnTo>
                    <a:pt x="6" y="28"/>
                  </a:lnTo>
                  <a:lnTo>
                    <a:pt x="6" y="26"/>
                  </a:lnTo>
                  <a:lnTo>
                    <a:pt x="6" y="24"/>
                  </a:lnTo>
                  <a:lnTo>
                    <a:pt x="6" y="20"/>
                  </a:lnTo>
                  <a:lnTo>
                    <a:pt x="6" y="18"/>
                  </a:lnTo>
                  <a:lnTo>
                    <a:pt x="6" y="16"/>
                  </a:lnTo>
                  <a:lnTo>
                    <a:pt x="8" y="16"/>
                  </a:lnTo>
                  <a:lnTo>
                    <a:pt x="12" y="16"/>
                  </a:lnTo>
                  <a:lnTo>
                    <a:pt x="14" y="16"/>
                  </a:lnTo>
                  <a:lnTo>
                    <a:pt x="16" y="16"/>
                  </a:lnTo>
                  <a:lnTo>
                    <a:pt x="18" y="16"/>
                  </a:lnTo>
                  <a:lnTo>
                    <a:pt x="20" y="16"/>
                  </a:lnTo>
                  <a:lnTo>
                    <a:pt x="20" y="16"/>
                  </a:lnTo>
                  <a:lnTo>
                    <a:pt x="22" y="14"/>
                  </a:lnTo>
                  <a:lnTo>
                    <a:pt x="22" y="12"/>
                  </a:lnTo>
                  <a:lnTo>
                    <a:pt x="24" y="12"/>
                  </a:lnTo>
                  <a:lnTo>
                    <a:pt x="24" y="10"/>
                  </a:lnTo>
                  <a:lnTo>
                    <a:pt x="26" y="10"/>
                  </a:lnTo>
                  <a:lnTo>
                    <a:pt x="26" y="10"/>
                  </a:lnTo>
                  <a:lnTo>
                    <a:pt x="26" y="10"/>
                  </a:lnTo>
                  <a:lnTo>
                    <a:pt x="26" y="10"/>
                  </a:lnTo>
                  <a:lnTo>
                    <a:pt x="26" y="10"/>
                  </a:lnTo>
                  <a:lnTo>
                    <a:pt x="28" y="12"/>
                  </a:lnTo>
                  <a:lnTo>
                    <a:pt x="28" y="12"/>
                  </a:lnTo>
                  <a:lnTo>
                    <a:pt x="28" y="14"/>
                  </a:lnTo>
                  <a:lnTo>
                    <a:pt x="28" y="14"/>
                  </a:lnTo>
                  <a:lnTo>
                    <a:pt x="30" y="16"/>
                  </a:lnTo>
                  <a:lnTo>
                    <a:pt x="30" y="16"/>
                  </a:lnTo>
                  <a:lnTo>
                    <a:pt x="30" y="16"/>
                  </a:lnTo>
                  <a:lnTo>
                    <a:pt x="32" y="16"/>
                  </a:lnTo>
                  <a:lnTo>
                    <a:pt x="32" y="16"/>
                  </a:lnTo>
                  <a:lnTo>
                    <a:pt x="32" y="16"/>
                  </a:lnTo>
                  <a:lnTo>
                    <a:pt x="32" y="16"/>
                  </a:lnTo>
                  <a:lnTo>
                    <a:pt x="32" y="16"/>
                  </a:lnTo>
                  <a:lnTo>
                    <a:pt x="34" y="14"/>
                  </a:lnTo>
                  <a:lnTo>
                    <a:pt x="34" y="12"/>
                  </a:lnTo>
                  <a:lnTo>
                    <a:pt x="34" y="12"/>
                  </a:lnTo>
                  <a:lnTo>
                    <a:pt x="36" y="12"/>
                  </a:lnTo>
                  <a:lnTo>
                    <a:pt x="36" y="12"/>
                  </a:lnTo>
                  <a:lnTo>
                    <a:pt x="36" y="12"/>
                  </a:lnTo>
                  <a:lnTo>
                    <a:pt x="36" y="12"/>
                  </a:lnTo>
                  <a:lnTo>
                    <a:pt x="38" y="12"/>
                  </a:lnTo>
                  <a:lnTo>
                    <a:pt x="40" y="14"/>
                  </a:lnTo>
                  <a:lnTo>
                    <a:pt x="40" y="14"/>
                  </a:lnTo>
                  <a:lnTo>
                    <a:pt x="42" y="14"/>
                  </a:lnTo>
                  <a:lnTo>
                    <a:pt x="42" y="14"/>
                  </a:lnTo>
                  <a:lnTo>
                    <a:pt x="42" y="12"/>
                  </a:lnTo>
                  <a:lnTo>
                    <a:pt x="42" y="12"/>
                  </a:lnTo>
                  <a:lnTo>
                    <a:pt x="44" y="12"/>
                  </a:lnTo>
                  <a:lnTo>
                    <a:pt x="44" y="10"/>
                  </a:lnTo>
                  <a:lnTo>
                    <a:pt x="44" y="8"/>
                  </a:lnTo>
                  <a:lnTo>
                    <a:pt x="46" y="4"/>
                  </a:lnTo>
                  <a:lnTo>
                    <a:pt x="46" y="2"/>
                  </a:lnTo>
                  <a:lnTo>
                    <a:pt x="48" y="4"/>
                  </a:lnTo>
                  <a:lnTo>
                    <a:pt x="50" y="4"/>
                  </a:lnTo>
                  <a:lnTo>
                    <a:pt x="52" y="6"/>
                  </a:lnTo>
                  <a:lnTo>
                    <a:pt x="52" y="6"/>
                  </a:lnTo>
                  <a:lnTo>
                    <a:pt x="54" y="6"/>
                  </a:lnTo>
                  <a:lnTo>
                    <a:pt x="56" y="6"/>
                  </a:lnTo>
                  <a:lnTo>
                    <a:pt x="60" y="6"/>
                  </a:lnTo>
                  <a:lnTo>
                    <a:pt x="64" y="6"/>
                  </a:lnTo>
                  <a:lnTo>
                    <a:pt x="66" y="6"/>
                  </a:lnTo>
                  <a:lnTo>
                    <a:pt x="68" y="6"/>
                  </a:lnTo>
                  <a:lnTo>
                    <a:pt x="70" y="6"/>
                  </a:lnTo>
                  <a:lnTo>
                    <a:pt x="70" y="4"/>
                  </a:lnTo>
                  <a:lnTo>
                    <a:pt x="74" y="2"/>
                  </a:lnTo>
                  <a:lnTo>
                    <a:pt x="76" y="0"/>
                  </a:lnTo>
                  <a:lnTo>
                    <a:pt x="78" y="0"/>
                  </a:lnTo>
                  <a:lnTo>
                    <a:pt x="78" y="0"/>
                  </a:lnTo>
                  <a:lnTo>
                    <a:pt x="80" y="0"/>
                  </a:lnTo>
                  <a:lnTo>
                    <a:pt x="80" y="0"/>
                  </a:lnTo>
                  <a:lnTo>
                    <a:pt x="80" y="0"/>
                  </a:lnTo>
                  <a:lnTo>
                    <a:pt x="82" y="0"/>
                  </a:lnTo>
                  <a:lnTo>
                    <a:pt x="82" y="0"/>
                  </a:lnTo>
                  <a:lnTo>
                    <a:pt x="84" y="2"/>
                  </a:lnTo>
                  <a:lnTo>
                    <a:pt x="84" y="2"/>
                  </a:lnTo>
                  <a:lnTo>
                    <a:pt x="86" y="4"/>
                  </a:lnTo>
                  <a:lnTo>
                    <a:pt x="88" y="8"/>
                  </a:lnTo>
                  <a:lnTo>
                    <a:pt x="90" y="10"/>
                  </a:lnTo>
                  <a:lnTo>
                    <a:pt x="92" y="20"/>
                  </a:lnTo>
                  <a:lnTo>
                    <a:pt x="90" y="24"/>
                  </a:lnTo>
                  <a:lnTo>
                    <a:pt x="86" y="26"/>
                  </a:lnTo>
                  <a:lnTo>
                    <a:pt x="86" y="26"/>
                  </a:lnTo>
                  <a:lnTo>
                    <a:pt x="84" y="28"/>
                  </a:lnTo>
                  <a:lnTo>
                    <a:pt x="84" y="28"/>
                  </a:lnTo>
                  <a:lnTo>
                    <a:pt x="84" y="30"/>
                  </a:lnTo>
                  <a:lnTo>
                    <a:pt x="82" y="34"/>
                  </a:lnTo>
                  <a:lnTo>
                    <a:pt x="82" y="38"/>
                  </a:lnTo>
                  <a:lnTo>
                    <a:pt x="80" y="38"/>
                  </a:lnTo>
                  <a:lnTo>
                    <a:pt x="80" y="40"/>
                  </a:lnTo>
                  <a:lnTo>
                    <a:pt x="80" y="42"/>
                  </a:lnTo>
                  <a:lnTo>
                    <a:pt x="80" y="46"/>
                  </a:lnTo>
                  <a:lnTo>
                    <a:pt x="80" y="46"/>
                  </a:lnTo>
                  <a:lnTo>
                    <a:pt x="80" y="48"/>
                  </a:lnTo>
                  <a:lnTo>
                    <a:pt x="82" y="50"/>
                  </a:lnTo>
                  <a:lnTo>
                    <a:pt x="82" y="50"/>
                  </a:lnTo>
                  <a:lnTo>
                    <a:pt x="82" y="50"/>
                  </a:lnTo>
                  <a:lnTo>
                    <a:pt x="82" y="52"/>
                  </a:lnTo>
                  <a:lnTo>
                    <a:pt x="84" y="52"/>
                  </a:lnTo>
                  <a:lnTo>
                    <a:pt x="86" y="52"/>
                  </a:lnTo>
                  <a:lnTo>
                    <a:pt x="88" y="54"/>
                  </a:lnTo>
                  <a:lnTo>
                    <a:pt x="88" y="54"/>
                  </a:lnTo>
                  <a:lnTo>
                    <a:pt x="90" y="56"/>
                  </a:lnTo>
                  <a:lnTo>
                    <a:pt x="90" y="58"/>
                  </a:lnTo>
                  <a:lnTo>
                    <a:pt x="92" y="60"/>
                  </a:lnTo>
                  <a:lnTo>
                    <a:pt x="92" y="62"/>
                  </a:lnTo>
                  <a:lnTo>
                    <a:pt x="94" y="66"/>
                  </a:lnTo>
                  <a:lnTo>
                    <a:pt x="96" y="68"/>
                  </a:lnTo>
                  <a:lnTo>
                    <a:pt x="96" y="68"/>
                  </a:lnTo>
                  <a:lnTo>
                    <a:pt x="98" y="72"/>
                  </a:lnTo>
                  <a:lnTo>
                    <a:pt x="102" y="76"/>
                  </a:lnTo>
                  <a:lnTo>
                    <a:pt x="104" y="80"/>
                  </a:lnTo>
                  <a:lnTo>
                    <a:pt x="108" y="84"/>
                  </a:lnTo>
                  <a:lnTo>
                    <a:pt x="110" y="88"/>
                  </a:lnTo>
                  <a:lnTo>
                    <a:pt x="112" y="90"/>
                  </a:lnTo>
                  <a:lnTo>
                    <a:pt x="116" y="94"/>
                  </a:lnTo>
                  <a:lnTo>
                    <a:pt x="118" y="96"/>
                  </a:lnTo>
                  <a:lnTo>
                    <a:pt x="120" y="98"/>
                  </a:lnTo>
                  <a:lnTo>
                    <a:pt x="122" y="100"/>
                  </a:lnTo>
                  <a:lnTo>
                    <a:pt x="124" y="100"/>
                  </a:lnTo>
                  <a:lnTo>
                    <a:pt x="124" y="102"/>
                  </a:lnTo>
                  <a:lnTo>
                    <a:pt x="126" y="102"/>
                  </a:lnTo>
                  <a:lnTo>
                    <a:pt x="126" y="102"/>
                  </a:lnTo>
                  <a:lnTo>
                    <a:pt x="130" y="102"/>
                  </a:lnTo>
                  <a:lnTo>
                    <a:pt x="132" y="102"/>
                  </a:lnTo>
                  <a:lnTo>
                    <a:pt x="134" y="102"/>
                  </a:lnTo>
                  <a:lnTo>
                    <a:pt x="134" y="102"/>
                  </a:lnTo>
                  <a:lnTo>
                    <a:pt x="136" y="102"/>
                  </a:lnTo>
                  <a:lnTo>
                    <a:pt x="138" y="100"/>
                  </a:lnTo>
                  <a:lnTo>
                    <a:pt x="138" y="100"/>
                  </a:lnTo>
                  <a:lnTo>
                    <a:pt x="140" y="100"/>
                  </a:lnTo>
                  <a:lnTo>
                    <a:pt x="140" y="100"/>
                  </a:lnTo>
                  <a:lnTo>
                    <a:pt x="140" y="100"/>
                  </a:lnTo>
                  <a:lnTo>
                    <a:pt x="142" y="100"/>
                  </a:lnTo>
                  <a:lnTo>
                    <a:pt x="142" y="100"/>
                  </a:lnTo>
                  <a:lnTo>
                    <a:pt x="142" y="100"/>
                  </a:lnTo>
                  <a:lnTo>
                    <a:pt x="142" y="102"/>
                  </a:lnTo>
                  <a:lnTo>
                    <a:pt x="142" y="102"/>
                  </a:lnTo>
                  <a:lnTo>
                    <a:pt x="142" y="104"/>
                  </a:lnTo>
                  <a:lnTo>
                    <a:pt x="142" y="104"/>
                  </a:lnTo>
                  <a:lnTo>
                    <a:pt x="142" y="106"/>
                  </a:lnTo>
                  <a:lnTo>
                    <a:pt x="142" y="106"/>
                  </a:lnTo>
                  <a:lnTo>
                    <a:pt x="144" y="106"/>
                  </a:lnTo>
                  <a:lnTo>
                    <a:pt x="144" y="108"/>
                  </a:lnTo>
                  <a:lnTo>
                    <a:pt x="146" y="110"/>
                  </a:lnTo>
                  <a:lnTo>
                    <a:pt x="148" y="112"/>
                  </a:lnTo>
                  <a:lnTo>
                    <a:pt x="148" y="112"/>
                  </a:lnTo>
                  <a:lnTo>
                    <a:pt x="150" y="114"/>
                  </a:lnTo>
                  <a:lnTo>
                    <a:pt x="150" y="116"/>
                  </a:lnTo>
                  <a:lnTo>
                    <a:pt x="150" y="118"/>
                  </a:lnTo>
                  <a:lnTo>
                    <a:pt x="152" y="118"/>
                  </a:lnTo>
                  <a:lnTo>
                    <a:pt x="152" y="120"/>
                  </a:lnTo>
                  <a:lnTo>
                    <a:pt x="152" y="120"/>
                  </a:lnTo>
                  <a:lnTo>
                    <a:pt x="154" y="122"/>
                  </a:lnTo>
                  <a:lnTo>
                    <a:pt x="156" y="122"/>
                  </a:lnTo>
                  <a:lnTo>
                    <a:pt x="158" y="124"/>
                  </a:lnTo>
                  <a:lnTo>
                    <a:pt x="162" y="126"/>
                  </a:lnTo>
                  <a:lnTo>
                    <a:pt x="166" y="130"/>
                  </a:lnTo>
                  <a:lnTo>
                    <a:pt x="168" y="132"/>
                  </a:lnTo>
                  <a:lnTo>
                    <a:pt x="170" y="134"/>
                  </a:lnTo>
                  <a:lnTo>
                    <a:pt x="172" y="136"/>
                  </a:lnTo>
                  <a:lnTo>
                    <a:pt x="172" y="136"/>
                  </a:lnTo>
                  <a:lnTo>
                    <a:pt x="172" y="138"/>
                  </a:lnTo>
                  <a:lnTo>
                    <a:pt x="172" y="138"/>
                  </a:lnTo>
                  <a:lnTo>
                    <a:pt x="174" y="138"/>
                  </a:lnTo>
                  <a:lnTo>
                    <a:pt x="174" y="140"/>
                  </a:lnTo>
                  <a:lnTo>
                    <a:pt x="172" y="140"/>
                  </a:lnTo>
                  <a:lnTo>
                    <a:pt x="172" y="140"/>
                  </a:lnTo>
                  <a:lnTo>
                    <a:pt x="172" y="142"/>
                  </a:lnTo>
                  <a:lnTo>
                    <a:pt x="170" y="142"/>
                  </a:lnTo>
                  <a:lnTo>
                    <a:pt x="170" y="142"/>
                  </a:lnTo>
                  <a:lnTo>
                    <a:pt x="170" y="142"/>
                  </a:lnTo>
                  <a:lnTo>
                    <a:pt x="168" y="142"/>
                  </a:lnTo>
                  <a:lnTo>
                    <a:pt x="168" y="144"/>
                  </a:lnTo>
                  <a:lnTo>
                    <a:pt x="166" y="142"/>
                  </a:lnTo>
                  <a:lnTo>
                    <a:pt x="166" y="142"/>
                  </a:lnTo>
                  <a:lnTo>
                    <a:pt x="166" y="142"/>
                  </a:lnTo>
                  <a:lnTo>
                    <a:pt x="164" y="142"/>
                  </a:lnTo>
                  <a:lnTo>
                    <a:pt x="164" y="140"/>
                  </a:lnTo>
                  <a:lnTo>
                    <a:pt x="162" y="140"/>
                  </a:lnTo>
                  <a:lnTo>
                    <a:pt x="160" y="138"/>
                  </a:lnTo>
                  <a:lnTo>
                    <a:pt x="158" y="136"/>
                  </a:lnTo>
                  <a:lnTo>
                    <a:pt x="158" y="134"/>
                  </a:lnTo>
                  <a:lnTo>
                    <a:pt x="156" y="134"/>
                  </a:lnTo>
                  <a:lnTo>
                    <a:pt x="156" y="134"/>
                  </a:lnTo>
                  <a:lnTo>
                    <a:pt x="154" y="134"/>
                  </a:lnTo>
                  <a:lnTo>
                    <a:pt x="154" y="134"/>
                  </a:lnTo>
                  <a:lnTo>
                    <a:pt x="152" y="134"/>
                  </a:lnTo>
                  <a:lnTo>
                    <a:pt x="150" y="136"/>
                  </a:lnTo>
                  <a:lnTo>
                    <a:pt x="150" y="136"/>
                  </a:lnTo>
                  <a:lnTo>
                    <a:pt x="148" y="136"/>
                  </a:lnTo>
                  <a:lnTo>
                    <a:pt x="148" y="138"/>
                  </a:lnTo>
                  <a:lnTo>
                    <a:pt x="146" y="138"/>
                  </a:lnTo>
                  <a:lnTo>
                    <a:pt x="146" y="138"/>
                  </a:lnTo>
                  <a:lnTo>
                    <a:pt x="146" y="140"/>
                  </a:lnTo>
                  <a:lnTo>
                    <a:pt x="144" y="142"/>
                  </a:lnTo>
                  <a:lnTo>
                    <a:pt x="144" y="144"/>
                  </a:lnTo>
                  <a:lnTo>
                    <a:pt x="144" y="146"/>
                  </a:lnTo>
                  <a:lnTo>
                    <a:pt x="144" y="146"/>
                  </a:lnTo>
                  <a:lnTo>
                    <a:pt x="144" y="146"/>
                  </a:lnTo>
                  <a:lnTo>
                    <a:pt x="146" y="148"/>
                  </a:lnTo>
                  <a:lnTo>
                    <a:pt x="148" y="150"/>
                  </a:lnTo>
                  <a:lnTo>
                    <a:pt x="148" y="152"/>
                  </a:lnTo>
                  <a:lnTo>
                    <a:pt x="148" y="154"/>
                  </a:lnTo>
                  <a:lnTo>
                    <a:pt x="150" y="154"/>
                  </a:lnTo>
                  <a:lnTo>
                    <a:pt x="150" y="156"/>
                  </a:lnTo>
                  <a:lnTo>
                    <a:pt x="150" y="156"/>
                  </a:lnTo>
                  <a:lnTo>
                    <a:pt x="150" y="156"/>
                  </a:lnTo>
                  <a:lnTo>
                    <a:pt x="148" y="158"/>
                  </a:lnTo>
                  <a:lnTo>
                    <a:pt x="148" y="160"/>
                  </a:lnTo>
                  <a:lnTo>
                    <a:pt x="146" y="160"/>
                  </a:lnTo>
                  <a:lnTo>
                    <a:pt x="144" y="162"/>
                  </a:lnTo>
                  <a:lnTo>
                    <a:pt x="144" y="162"/>
                  </a:lnTo>
                  <a:lnTo>
                    <a:pt x="144" y="162"/>
                  </a:lnTo>
                  <a:lnTo>
                    <a:pt x="144" y="164"/>
                  </a:lnTo>
                  <a:lnTo>
                    <a:pt x="142" y="166"/>
                  </a:lnTo>
                  <a:lnTo>
                    <a:pt x="142" y="168"/>
                  </a:lnTo>
                  <a:lnTo>
                    <a:pt x="142" y="168"/>
                  </a:lnTo>
                  <a:lnTo>
                    <a:pt x="140" y="170"/>
                  </a:lnTo>
                  <a:lnTo>
                    <a:pt x="140" y="170"/>
                  </a:lnTo>
                  <a:lnTo>
                    <a:pt x="138" y="170"/>
                  </a:lnTo>
                  <a:lnTo>
                    <a:pt x="138" y="170"/>
                  </a:lnTo>
                  <a:lnTo>
                    <a:pt x="136" y="170"/>
                  </a:lnTo>
                  <a:lnTo>
                    <a:pt x="136" y="170"/>
                  </a:lnTo>
                  <a:lnTo>
                    <a:pt x="134" y="170"/>
                  </a:lnTo>
                  <a:lnTo>
                    <a:pt x="134" y="170"/>
                  </a:lnTo>
                  <a:lnTo>
                    <a:pt x="132" y="170"/>
                  </a:lnTo>
                  <a:lnTo>
                    <a:pt x="132" y="170"/>
                  </a:lnTo>
                  <a:lnTo>
                    <a:pt x="132" y="168"/>
                  </a:lnTo>
                  <a:lnTo>
                    <a:pt x="130" y="168"/>
                  </a:lnTo>
                  <a:lnTo>
                    <a:pt x="130" y="168"/>
                  </a:lnTo>
                  <a:lnTo>
                    <a:pt x="130" y="166"/>
                  </a:lnTo>
                  <a:lnTo>
                    <a:pt x="130" y="164"/>
                  </a:lnTo>
                  <a:lnTo>
                    <a:pt x="132" y="162"/>
                  </a:lnTo>
                  <a:lnTo>
                    <a:pt x="132" y="156"/>
                  </a:lnTo>
                  <a:lnTo>
                    <a:pt x="132" y="154"/>
                  </a:lnTo>
                  <a:lnTo>
                    <a:pt x="132" y="154"/>
                  </a:lnTo>
                  <a:lnTo>
                    <a:pt x="132" y="150"/>
                  </a:lnTo>
                  <a:lnTo>
                    <a:pt x="134" y="148"/>
                  </a:lnTo>
                  <a:lnTo>
                    <a:pt x="134" y="146"/>
                  </a:lnTo>
                  <a:lnTo>
                    <a:pt x="134" y="146"/>
                  </a:lnTo>
                  <a:lnTo>
                    <a:pt x="134" y="144"/>
                  </a:lnTo>
                  <a:lnTo>
                    <a:pt x="132" y="144"/>
                  </a:lnTo>
                  <a:lnTo>
                    <a:pt x="132" y="144"/>
                  </a:lnTo>
                  <a:lnTo>
                    <a:pt x="132" y="142"/>
                  </a:lnTo>
                  <a:lnTo>
                    <a:pt x="130" y="142"/>
                  </a:lnTo>
                  <a:lnTo>
                    <a:pt x="130" y="142"/>
                  </a:lnTo>
                  <a:lnTo>
                    <a:pt x="128" y="140"/>
                  </a:lnTo>
                  <a:lnTo>
                    <a:pt x="124" y="140"/>
                  </a:lnTo>
                  <a:lnTo>
                    <a:pt x="124" y="138"/>
                  </a:lnTo>
                  <a:lnTo>
                    <a:pt x="122" y="138"/>
                  </a:lnTo>
                  <a:lnTo>
                    <a:pt x="122" y="136"/>
                  </a:lnTo>
                  <a:lnTo>
                    <a:pt x="122" y="136"/>
                  </a:lnTo>
                  <a:lnTo>
                    <a:pt x="120" y="132"/>
                  </a:lnTo>
                  <a:lnTo>
                    <a:pt x="120" y="132"/>
                  </a:lnTo>
                  <a:lnTo>
                    <a:pt x="120" y="130"/>
                  </a:lnTo>
                  <a:lnTo>
                    <a:pt x="118" y="128"/>
                  </a:lnTo>
                  <a:lnTo>
                    <a:pt x="118" y="128"/>
                  </a:lnTo>
                  <a:lnTo>
                    <a:pt x="116" y="128"/>
                  </a:lnTo>
                  <a:lnTo>
                    <a:pt x="116" y="128"/>
                  </a:lnTo>
                  <a:lnTo>
                    <a:pt x="114" y="128"/>
                  </a:lnTo>
                  <a:lnTo>
                    <a:pt x="112" y="128"/>
                  </a:lnTo>
                  <a:lnTo>
                    <a:pt x="110" y="128"/>
                  </a:lnTo>
                  <a:lnTo>
                    <a:pt x="110" y="128"/>
                  </a:lnTo>
                  <a:lnTo>
                    <a:pt x="110" y="128"/>
                  </a:lnTo>
                  <a:lnTo>
                    <a:pt x="108" y="126"/>
                  </a:lnTo>
                  <a:lnTo>
                    <a:pt x="108" y="126"/>
                  </a:lnTo>
                  <a:lnTo>
                    <a:pt x="108" y="126"/>
                  </a:lnTo>
                  <a:lnTo>
                    <a:pt x="108" y="124"/>
                  </a:lnTo>
                  <a:lnTo>
                    <a:pt x="108" y="124"/>
                  </a:lnTo>
                  <a:lnTo>
                    <a:pt x="110" y="122"/>
                  </a:lnTo>
                  <a:lnTo>
                    <a:pt x="110" y="122"/>
                  </a:lnTo>
                  <a:lnTo>
                    <a:pt x="110" y="120"/>
                  </a:lnTo>
                  <a:lnTo>
                    <a:pt x="110" y="118"/>
                  </a:lnTo>
                  <a:lnTo>
                    <a:pt x="110" y="118"/>
                  </a:lnTo>
                  <a:lnTo>
                    <a:pt x="110" y="118"/>
                  </a:lnTo>
                  <a:lnTo>
                    <a:pt x="108" y="118"/>
                  </a:lnTo>
                  <a:lnTo>
                    <a:pt x="108" y="116"/>
                  </a:lnTo>
                  <a:lnTo>
                    <a:pt x="106" y="116"/>
                  </a:lnTo>
                  <a:lnTo>
                    <a:pt x="106" y="116"/>
                  </a:lnTo>
                  <a:lnTo>
                    <a:pt x="102" y="114"/>
                  </a:lnTo>
                  <a:lnTo>
                    <a:pt x="100" y="114"/>
                  </a:lnTo>
                  <a:lnTo>
                    <a:pt x="94" y="112"/>
                  </a:lnTo>
                  <a:lnTo>
                    <a:pt x="90" y="112"/>
                  </a:lnTo>
                  <a:lnTo>
                    <a:pt x="90" y="112"/>
                  </a:lnTo>
                  <a:lnTo>
                    <a:pt x="88" y="112"/>
                  </a:lnTo>
                  <a:lnTo>
                    <a:pt x="88" y="110"/>
                  </a:lnTo>
                  <a:lnTo>
                    <a:pt x="86" y="108"/>
                  </a:lnTo>
                  <a:lnTo>
                    <a:pt x="82" y="106"/>
                  </a:lnTo>
                  <a:lnTo>
                    <a:pt x="78" y="102"/>
                  </a:lnTo>
                  <a:lnTo>
                    <a:pt x="74" y="100"/>
                  </a:lnTo>
                  <a:lnTo>
                    <a:pt x="70" y="96"/>
                  </a:lnTo>
                  <a:lnTo>
                    <a:pt x="68" y="94"/>
                  </a:lnTo>
                  <a:lnTo>
                    <a:pt x="66" y="92"/>
                  </a:lnTo>
                  <a:lnTo>
                    <a:pt x="62" y="90"/>
                  </a:lnTo>
                  <a:lnTo>
                    <a:pt x="60" y="88"/>
                  </a:lnTo>
                  <a:lnTo>
                    <a:pt x="60" y="88"/>
                  </a:lnTo>
                  <a:lnTo>
                    <a:pt x="58" y="86"/>
                  </a:lnTo>
                  <a:lnTo>
                    <a:pt x="58" y="86"/>
                  </a:lnTo>
                  <a:lnTo>
                    <a:pt x="58" y="84"/>
                  </a:lnTo>
                  <a:lnTo>
                    <a:pt x="56" y="82"/>
                  </a:lnTo>
                  <a:lnTo>
                    <a:pt x="56" y="80"/>
                  </a:lnTo>
                  <a:lnTo>
                    <a:pt x="56" y="78"/>
                  </a:lnTo>
                  <a:lnTo>
                    <a:pt x="54" y="74"/>
                  </a:lnTo>
                  <a:lnTo>
                    <a:pt x="54" y="70"/>
                  </a:lnTo>
                  <a:lnTo>
                    <a:pt x="54" y="68"/>
                  </a:lnTo>
                  <a:lnTo>
                    <a:pt x="54" y="66"/>
                  </a:lnTo>
                  <a:lnTo>
                    <a:pt x="52" y="64"/>
                  </a:lnTo>
                  <a:lnTo>
                    <a:pt x="52" y="62"/>
                  </a:lnTo>
                  <a:lnTo>
                    <a:pt x="52" y="62"/>
                  </a:lnTo>
                  <a:lnTo>
                    <a:pt x="50" y="60"/>
                  </a:lnTo>
                  <a:lnTo>
                    <a:pt x="50" y="58"/>
                  </a:lnTo>
                  <a:lnTo>
                    <a:pt x="48" y="58"/>
                  </a:lnTo>
                  <a:lnTo>
                    <a:pt x="46" y="58"/>
                  </a:lnTo>
                  <a:lnTo>
                    <a:pt x="44" y="56"/>
                  </a:lnTo>
                  <a:lnTo>
                    <a:pt x="42" y="56"/>
                  </a:lnTo>
                  <a:lnTo>
                    <a:pt x="40" y="56"/>
                  </a:lnTo>
                  <a:lnTo>
                    <a:pt x="36" y="56"/>
                  </a:lnTo>
                  <a:lnTo>
                    <a:pt x="34" y="56"/>
                  </a:lnTo>
                  <a:lnTo>
                    <a:pt x="34" y="56"/>
                  </a:lnTo>
                  <a:lnTo>
                    <a:pt x="34" y="56"/>
                  </a:lnTo>
                  <a:lnTo>
                    <a:pt x="32" y="56"/>
                  </a:lnTo>
                  <a:lnTo>
                    <a:pt x="32" y="56"/>
                  </a:lnTo>
                  <a:lnTo>
                    <a:pt x="32" y="58"/>
                  </a:lnTo>
                  <a:lnTo>
                    <a:pt x="32" y="58"/>
                  </a:lnTo>
                  <a:lnTo>
                    <a:pt x="32" y="60"/>
                  </a:lnTo>
                  <a:lnTo>
                    <a:pt x="32" y="62"/>
                  </a:lnTo>
                  <a:lnTo>
                    <a:pt x="30" y="62"/>
                  </a:lnTo>
                  <a:lnTo>
                    <a:pt x="30" y="64"/>
                  </a:lnTo>
                  <a:lnTo>
                    <a:pt x="30" y="64"/>
                  </a:lnTo>
                  <a:lnTo>
                    <a:pt x="30" y="64"/>
                  </a:lnTo>
                  <a:lnTo>
                    <a:pt x="28" y="64"/>
                  </a:lnTo>
                  <a:lnTo>
                    <a:pt x="28" y="64"/>
                  </a:lnTo>
                  <a:lnTo>
                    <a:pt x="26" y="64"/>
                  </a:lnTo>
                  <a:lnTo>
                    <a:pt x="26" y="66"/>
                  </a:lnTo>
                  <a:lnTo>
                    <a:pt x="22" y="66"/>
                  </a:lnTo>
                  <a:lnTo>
                    <a:pt x="20" y="66"/>
                  </a:lnTo>
                  <a:lnTo>
                    <a:pt x="14" y="64"/>
                  </a:lnTo>
                  <a:lnTo>
                    <a:pt x="12" y="6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3" name="Freeform 291">
              <a:extLst>
                <a:ext uri="{FF2B5EF4-FFF2-40B4-BE49-F238E27FC236}">
                  <a16:creationId xmlns:a16="http://schemas.microsoft.com/office/drawing/2014/main" id="{DC7DFB23-D5D4-49F6-BC92-FE216F7F472A}"/>
                </a:ext>
              </a:extLst>
            </p:cNvPr>
            <p:cNvSpPr>
              <a:spLocks/>
            </p:cNvSpPr>
            <p:nvPr/>
          </p:nvSpPr>
          <p:spPr bwMode="auto">
            <a:xfrm>
              <a:off x="4470132" y="3423366"/>
              <a:ext cx="34642" cy="58891"/>
            </a:xfrm>
            <a:custGeom>
              <a:avLst/>
              <a:gdLst>
                <a:gd name="T0" fmla="*/ 2 w 20"/>
                <a:gd name="T1" fmla="*/ 4 h 34"/>
                <a:gd name="T2" fmla="*/ 2 w 20"/>
                <a:gd name="T3" fmla="*/ 4 h 34"/>
                <a:gd name="T4" fmla="*/ 2 w 20"/>
                <a:gd name="T5" fmla="*/ 2 h 34"/>
                <a:gd name="T6" fmla="*/ 4 w 20"/>
                <a:gd name="T7" fmla="*/ 2 h 34"/>
                <a:gd name="T8" fmla="*/ 6 w 20"/>
                <a:gd name="T9" fmla="*/ 2 h 34"/>
                <a:gd name="T10" fmla="*/ 10 w 20"/>
                <a:gd name="T11" fmla="*/ 2 h 34"/>
                <a:gd name="T12" fmla="*/ 12 w 20"/>
                <a:gd name="T13" fmla="*/ 0 h 34"/>
                <a:gd name="T14" fmla="*/ 14 w 20"/>
                <a:gd name="T15" fmla="*/ 0 h 34"/>
                <a:gd name="T16" fmla="*/ 16 w 20"/>
                <a:gd name="T17" fmla="*/ 0 h 34"/>
                <a:gd name="T18" fmla="*/ 16 w 20"/>
                <a:gd name="T19" fmla="*/ 0 h 34"/>
                <a:gd name="T20" fmla="*/ 18 w 20"/>
                <a:gd name="T21" fmla="*/ 0 h 34"/>
                <a:gd name="T22" fmla="*/ 18 w 20"/>
                <a:gd name="T23" fmla="*/ 0 h 34"/>
                <a:gd name="T24" fmla="*/ 18 w 20"/>
                <a:gd name="T25" fmla="*/ 0 h 34"/>
                <a:gd name="T26" fmla="*/ 18 w 20"/>
                <a:gd name="T27" fmla="*/ 2 h 34"/>
                <a:gd name="T28" fmla="*/ 18 w 20"/>
                <a:gd name="T29" fmla="*/ 4 h 34"/>
                <a:gd name="T30" fmla="*/ 20 w 20"/>
                <a:gd name="T31" fmla="*/ 4 h 34"/>
                <a:gd name="T32" fmla="*/ 20 w 20"/>
                <a:gd name="T33" fmla="*/ 6 h 34"/>
                <a:gd name="T34" fmla="*/ 20 w 20"/>
                <a:gd name="T35" fmla="*/ 10 h 34"/>
                <a:gd name="T36" fmla="*/ 20 w 20"/>
                <a:gd name="T37" fmla="*/ 14 h 34"/>
                <a:gd name="T38" fmla="*/ 20 w 20"/>
                <a:gd name="T39" fmla="*/ 18 h 34"/>
                <a:gd name="T40" fmla="*/ 18 w 20"/>
                <a:gd name="T41" fmla="*/ 22 h 34"/>
                <a:gd name="T42" fmla="*/ 18 w 20"/>
                <a:gd name="T43" fmla="*/ 24 h 34"/>
                <a:gd name="T44" fmla="*/ 18 w 20"/>
                <a:gd name="T45" fmla="*/ 28 h 34"/>
                <a:gd name="T46" fmla="*/ 18 w 20"/>
                <a:gd name="T47" fmla="*/ 28 h 34"/>
                <a:gd name="T48" fmla="*/ 18 w 20"/>
                <a:gd name="T49" fmla="*/ 30 h 34"/>
                <a:gd name="T50" fmla="*/ 18 w 20"/>
                <a:gd name="T51" fmla="*/ 32 h 34"/>
                <a:gd name="T52" fmla="*/ 18 w 20"/>
                <a:gd name="T53" fmla="*/ 32 h 34"/>
                <a:gd name="T54" fmla="*/ 16 w 20"/>
                <a:gd name="T55" fmla="*/ 34 h 34"/>
                <a:gd name="T56" fmla="*/ 16 w 20"/>
                <a:gd name="T57" fmla="*/ 34 h 34"/>
                <a:gd name="T58" fmla="*/ 14 w 20"/>
                <a:gd name="T59" fmla="*/ 34 h 34"/>
                <a:gd name="T60" fmla="*/ 14 w 20"/>
                <a:gd name="T61" fmla="*/ 34 h 34"/>
                <a:gd name="T62" fmla="*/ 12 w 20"/>
                <a:gd name="T63" fmla="*/ 34 h 34"/>
                <a:gd name="T64" fmla="*/ 10 w 20"/>
                <a:gd name="T65" fmla="*/ 34 h 34"/>
                <a:gd name="T66" fmla="*/ 8 w 20"/>
                <a:gd name="T67" fmla="*/ 34 h 34"/>
                <a:gd name="T68" fmla="*/ 6 w 20"/>
                <a:gd name="T69" fmla="*/ 34 h 34"/>
                <a:gd name="T70" fmla="*/ 4 w 20"/>
                <a:gd name="T71" fmla="*/ 32 h 34"/>
                <a:gd name="T72" fmla="*/ 4 w 20"/>
                <a:gd name="T73" fmla="*/ 32 h 34"/>
                <a:gd name="T74" fmla="*/ 4 w 20"/>
                <a:gd name="T75" fmla="*/ 32 h 34"/>
                <a:gd name="T76" fmla="*/ 4 w 20"/>
                <a:gd name="T77" fmla="*/ 32 h 34"/>
                <a:gd name="T78" fmla="*/ 4 w 20"/>
                <a:gd name="T79" fmla="*/ 30 h 34"/>
                <a:gd name="T80" fmla="*/ 4 w 20"/>
                <a:gd name="T81" fmla="*/ 30 h 34"/>
                <a:gd name="T82" fmla="*/ 4 w 20"/>
                <a:gd name="T83" fmla="*/ 28 h 34"/>
                <a:gd name="T84" fmla="*/ 4 w 20"/>
                <a:gd name="T85" fmla="*/ 26 h 34"/>
                <a:gd name="T86" fmla="*/ 4 w 20"/>
                <a:gd name="T87" fmla="*/ 24 h 34"/>
                <a:gd name="T88" fmla="*/ 4 w 20"/>
                <a:gd name="T89" fmla="*/ 20 h 34"/>
                <a:gd name="T90" fmla="*/ 4 w 20"/>
                <a:gd name="T91" fmla="*/ 16 h 34"/>
                <a:gd name="T92" fmla="*/ 4 w 20"/>
                <a:gd name="T93" fmla="*/ 14 h 34"/>
                <a:gd name="T94" fmla="*/ 2 w 20"/>
                <a:gd name="T95" fmla="*/ 12 h 34"/>
                <a:gd name="T96" fmla="*/ 2 w 20"/>
                <a:gd name="T97" fmla="*/ 12 h 34"/>
                <a:gd name="T98" fmla="*/ 2 w 20"/>
                <a:gd name="T99" fmla="*/ 10 h 34"/>
                <a:gd name="T100" fmla="*/ 0 w 20"/>
                <a:gd name="T101" fmla="*/ 8 h 34"/>
                <a:gd name="T102" fmla="*/ 0 w 20"/>
                <a:gd name="T103" fmla="*/ 8 h 34"/>
                <a:gd name="T104" fmla="*/ 0 w 20"/>
                <a:gd name="T105" fmla="*/ 6 h 34"/>
                <a:gd name="T106" fmla="*/ 2 w 20"/>
                <a:gd name="T107" fmla="*/ 6 h 34"/>
                <a:gd name="T108" fmla="*/ 2 w 20"/>
                <a:gd name="T109" fmla="*/ 4 h 34"/>
                <a:gd name="T110" fmla="*/ 2 w 20"/>
                <a:gd name="T111" fmla="*/ 4 h 34"/>
                <a:gd name="T112" fmla="*/ 2 w 20"/>
                <a:gd name="T113"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 h="34">
                  <a:moveTo>
                    <a:pt x="2" y="4"/>
                  </a:moveTo>
                  <a:lnTo>
                    <a:pt x="2" y="4"/>
                  </a:lnTo>
                  <a:lnTo>
                    <a:pt x="2" y="2"/>
                  </a:lnTo>
                  <a:lnTo>
                    <a:pt x="4" y="2"/>
                  </a:lnTo>
                  <a:lnTo>
                    <a:pt x="6" y="2"/>
                  </a:lnTo>
                  <a:lnTo>
                    <a:pt x="10" y="2"/>
                  </a:lnTo>
                  <a:lnTo>
                    <a:pt x="12" y="0"/>
                  </a:lnTo>
                  <a:lnTo>
                    <a:pt x="14" y="0"/>
                  </a:lnTo>
                  <a:lnTo>
                    <a:pt x="16" y="0"/>
                  </a:lnTo>
                  <a:lnTo>
                    <a:pt x="16" y="0"/>
                  </a:lnTo>
                  <a:lnTo>
                    <a:pt x="18" y="0"/>
                  </a:lnTo>
                  <a:lnTo>
                    <a:pt x="18" y="0"/>
                  </a:lnTo>
                  <a:lnTo>
                    <a:pt x="18" y="0"/>
                  </a:lnTo>
                  <a:lnTo>
                    <a:pt x="18" y="2"/>
                  </a:lnTo>
                  <a:lnTo>
                    <a:pt x="18" y="4"/>
                  </a:lnTo>
                  <a:lnTo>
                    <a:pt x="20" y="4"/>
                  </a:lnTo>
                  <a:lnTo>
                    <a:pt x="20" y="6"/>
                  </a:lnTo>
                  <a:lnTo>
                    <a:pt x="20" y="10"/>
                  </a:lnTo>
                  <a:lnTo>
                    <a:pt x="20" y="14"/>
                  </a:lnTo>
                  <a:lnTo>
                    <a:pt x="20" y="18"/>
                  </a:lnTo>
                  <a:lnTo>
                    <a:pt x="18" y="22"/>
                  </a:lnTo>
                  <a:lnTo>
                    <a:pt x="18" y="24"/>
                  </a:lnTo>
                  <a:lnTo>
                    <a:pt x="18" y="28"/>
                  </a:lnTo>
                  <a:lnTo>
                    <a:pt x="18" y="28"/>
                  </a:lnTo>
                  <a:lnTo>
                    <a:pt x="18" y="30"/>
                  </a:lnTo>
                  <a:lnTo>
                    <a:pt x="18" y="32"/>
                  </a:lnTo>
                  <a:lnTo>
                    <a:pt x="18" y="32"/>
                  </a:lnTo>
                  <a:lnTo>
                    <a:pt x="16" y="34"/>
                  </a:lnTo>
                  <a:lnTo>
                    <a:pt x="16" y="34"/>
                  </a:lnTo>
                  <a:lnTo>
                    <a:pt x="14" y="34"/>
                  </a:lnTo>
                  <a:lnTo>
                    <a:pt x="14" y="34"/>
                  </a:lnTo>
                  <a:lnTo>
                    <a:pt x="12" y="34"/>
                  </a:lnTo>
                  <a:lnTo>
                    <a:pt x="10" y="34"/>
                  </a:lnTo>
                  <a:lnTo>
                    <a:pt x="8" y="34"/>
                  </a:lnTo>
                  <a:lnTo>
                    <a:pt x="6" y="34"/>
                  </a:lnTo>
                  <a:lnTo>
                    <a:pt x="4" y="32"/>
                  </a:lnTo>
                  <a:lnTo>
                    <a:pt x="4" y="32"/>
                  </a:lnTo>
                  <a:lnTo>
                    <a:pt x="4" y="32"/>
                  </a:lnTo>
                  <a:lnTo>
                    <a:pt x="4" y="32"/>
                  </a:lnTo>
                  <a:lnTo>
                    <a:pt x="4" y="30"/>
                  </a:lnTo>
                  <a:lnTo>
                    <a:pt x="4" y="30"/>
                  </a:lnTo>
                  <a:lnTo>
                    <a:pt x="4" y="28"/>
                  </a:lnTo>
                  <a:lnTo>
                    <a:pt x="4" y="26"/>
                  </a:lnTo>
                  <a:lnTo>
                    <a:pt x="4" y="24"/>
                  </a:lnTo>
                  <a:lnTo>
                    <a:pt x="4" y="20"/>
                  </a:lnTo>
                  <a:lnTo>
                    <a:pt x="4" y="16"/>
                  </a:lnTo>
                  <a:lnTo>
                    <a:pt x="4" y="14"/>
                  </a:lnTo>
                  <a:lnTo>
                    <a:pt x="2" y="12"/>
                  </a:lnTo>
                  <a:lnTo>
                    <a:pt x="2" y="12"/>
                  </a:lnTo>
                  <a:lnTo>
                    <a:pt x="2" y="10"/>
                  </a:lnTo>
                  <a:lnTo>
                    <a:pt x="0" y="8"/>
                  </a:lnTo>
                  <a:lnTo>
                    <a:pt x="0" y="8"/>
                  </a:lnTo>
                  <a:lnTo>
                    <a:pt x="0" y="6"/>
                  </a:lnTo>
                  <a:lnTo>
                    <a:pt x="2" y="6"/>
                  </a:lnTo>
                  <a:lnTo>
                    <a:pt x="2" y="4"/>
                  </a:lnTo>
                  <a:lnTo>
                    <a:pt x="2" y="4"/>
                  </a:lnTo>
                  <a:lnTo>
                    <a:pt x="2" y="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4" name="Freeform 292">
              <a:extLst>
                <a:ext uri="{FF2B5EF4-FFF2-40B4-BE49-F238E27FC236}">
                  <a16:creationId xmlns:a16="http://schemas.microsoft.com/office/drawing/2014/main" id="{1A93BAB4-D577-4150-825E-6070434CD182}"/>
                </a:ext>
              </a:extLst>
            </p:cNvPr>
            <p:cNvSpPr>
              <a:spLocks/>
            </p:cNvSpPr>
            <p:nvPr/>
          </p:nvSpPr>
          <p:spPr bwMode="auto">
            <a:xfrm>
              <a:off x="4470132" y="3423366"/>
              <a:ext cx="34642" cy="58891"/>
            </a:xfrm>
            <a:custGeom>
              <a:avLst/>
              <a:gdLst>
                <a:gd name="T0" fmla="*/ 2 w 20"/>
                <a:gd name="T1" fmla="*/ 4 h 34"/>
                <a:gd name="T2" fmla="*/ 2 w 20"/>
                <a:gd name="T3" fmla="*/ 4 h 34"/>
                <a:gd name="T4" fmla="*/ 2 w 20"/>
                <a:gd name="T5" fmla="*/ 2 h 34"/>
                <a:gd name="T6" fmla="*/ 4 w 20"/>
                <a:gd name="T7" fmla="*/ 2 h 34"/>
                <a:gd name="T8" fmla="*/ 6 w 20"/>
                <a:gd name="T9" fmla="*/ 2 h 34"/>
                <a:gd name="T10" fmla="*/ 10 w 20"/>
                <a:gd name="T11" fmla="*/ 2 h 34"/>
                <a:gd name="T12" fmla="*/ 12 w 20"/>
                <a:gd name="T13" fmla="*/ 0 h 34"/>
                <a:gd name="T14" fmla="*/ 14 w 20"/>
                <a:gd name="T15" fmla="*/ 0 h 34"/>
                <a:gd name="T16" fmla="*/ 16 w 20"/>
                <a:gd name="T17" fmla="*/ 0 h 34"/>
                <a:gd name="T18" fmla="*/ 16 w 20"/>
                <a:gd name="T19" fmla="*/ 0 h 34"/>
                <a:gd name="T20" fmla="*/ 18 w 20"/>
                <a:gd name="T21" fmla="*/ 0 h 34"/>
                <a:gd name="T22" fmla="*/ 18 w 20"/>
                <a:gd name="T23" fmla="*/ 0 h 34"/>
                <a:gd name="T24" fmla="*/ 18 w 20"/>
                <a:gd name="T25" fmla="*/ 0 h 34"/>
                <a:gd name="T26" fmla="*/ 18 w 20"/>
                <a:gd name="T27" fmla="*/ 2 h 34"/>
                <a:gd name="T28" fmla="*/ 18 w 20"/>
                <a:gd name="T29" fmla="*/ 4 h 34"/>
                <a:gd name="T30" fmla="*/ 20 w 20"/>
                <a:gd name="T31" fmla="*/ 4 h 34"/>
                <a:gd name="T32" fmla="*/ 20 w 20"/>
                <a:gd name="T33" fmla="*/ 6 h 34"/>
                <a:gd name="T34" fmla="*/ 20 w 20"/>
                <a:gd name="T35" fmla="*/ 10 h 34"/>
                <a:gd name="T36" fmla="*/ 20 w 20"/>
                <a:gd name="T37" fmla="*/ 14 h 34"/>
                <a:gd name="T38" fmla="*/ 20 w 20"/>
                <a:gd name="T39" fmla="*/ 18 h 34"/>
                <a:gd name="T40" fmla="*/ 18 w 20"/>
                <a:gd name="T41" fmla="*/ 22 h 34"/>
                <a:gd name="T42" fmla="*/ 18 w 20"/>
                <a:gd name="T43" fmla="*/ 24 h 34"/>
                <a:gd name="T44" fmla="*/ 18 w 20"/>
                <a:gd name="T45" fmla="*/ 28 h 34"/>
                <a:gd name="T46" fmla="*/ 18 w 20"/>
                <a:gd name="T47" fmla="*/ 28 h 34"/>
                <a:gd name="T48" fmla="*/ 18 w 20"/>
                <a:gd name="T49" fmla="*/ 30 h 34"/>
                <a:gd name="T50" fmla="*/ 18 w 20"/>
                <a:gd name="T51" fmla="*/ 32 h 34"/>
                <a:gd name="T52" fmla="*/ 18 w 20"/>
                <a:gd name="T53" fmla="*/ 32 h 34"/>
                <a:gd name="T54" fmla="*/ 16 w 20"/>
                <a:gd name="T55" fmla="*/ 34 h 34"/>
                <a:gd name="T56" fmla="*/ 16 w 20"/>
                <a:gd name="T57" fmla="*/ 34 h 34"/>
                <a:gd name="T58" fmla="*/ 14 w 20"/>
                <a:gd name="T59" fmla="*/ 34 h 34"/>
                <a:gd name="T60" fmla="*/ 14 w 20"/>
                <a:gd name="T61" fmla="*/ 34 h 34"/>
                <a:gd name="T62" fmla="*/ 12 w 20"/>
                <a:gd name="T63" fmla="*/ 34 h 34"/>
                <a:gd name="T64" fmla="*/ 10 w 20"/>
                <a:gd name="T65" fmla="*/ 34 h 34"/>
                <a:gd name="T66" fmla="*/ 8 w 20"/>
                <a:gd name="T67" fmla="*/ 34 h 34"/>
                <a:gd name="T68" fmla="*/ 6 w 20"/>
                <a:gd name="T69" fmla="*/ 34 h 34"/>
                <a:gd name="T70" fmla="*/ 4 w 20"/>
                <a:gd name="T71" fmla="*/ 32 h 34"/>
                <a:gd name="T72" fmla="*/ 4 w 20"/>
                <a:gd name="T73" fmla="*/ 32 h 34"/>
                <a:gd name="T74" fmla="*/ 4 w 20"/>
                <a:gd name="T75" fmla="*/ 32 h 34"/>
                <a:gd name="T76" fmla="*/ 4 w 20"/>
                <a:gd name="T77" fmla="*/ 32 h 34"/>
                <a:gd name="T78" fmla="*/ 4 w 20"/>
                <a:gd name="T79" fmla="*/ 30 h 34"/>
                <a:gd name="T80" fmla="*/ 4 w 20"/>
                <a:gd name="T81" fmla="*/ 30 h 34"/>
                <a:gd name="T82" fmla="*/ 4 w 20"/>
                <a:gd name="T83" fmla="*/ 28 h 34"/>
                <a:gd name="T84" fmla="*/ 4 w 20"/>
                <a:gd name="T85" fmla="*/ 26 h 34"/>
                <a:gd name="T86" fmla="*/ 4 w 20"/>
                <a:gd name="T87" fmla="*/ 24 h 34"/>
                <a:gd name="T88" fmla="*/ 4 w 20"/>
                <a:gd name="T89" fmla="*/ 20 h 34"/>
                <a:gd name="T90" fmla="*/ 4 w 20"/>
                <a:gd name="T91" fmla="*/ 16 h 34"/>
                <a:gd name="T92" fmla="*/ 4 w 20"/>
                <a:gd name="T93" fmla="*/ 14 h 34"/>
                <a:gd name="T94" fmla="*/ 2 w 20"/>
                <a:gd name="T95" fmla="*/ 12 h 34"/>
                <a:gd name="T96" fmla="*/ 2 w 20"/>
                <a:gd name="T97" fmla="*/ 12 h 34"/>
                <a:gd name="T98" fmla="*/ 2 w 20"/>
                <a:gd name="T99" fmla="*/ 10 h 34"/>
                <a:gd name="T100" fmla="*/ 0 w 20"/>
                <a:gd name="T101" fmla="*/ 8 h 34"/>
                <a:gd name="T102" fmla="*/ 0 w 20"/>
                <a:gd name="T103" fmla="*/ 8 h 34"/>
                <a:gd name="T104" fmla="*/ 0 w 20"/>
                <a:gd name="T105" fmla="*/ 6 h 34"/>
                <a:gd name="T106" fmla="*/ 2 w 20"/>
                <a:gd name="T107" fmla="*/ 6 h 34"/>
                <a:gd name="T108" fmla="*/ 2 w 20"/>
                <a:gd name="T109" fmla="*/ 4 h 34"/>
                <a:gd name="T110" fmla="*/ 2 w 20"/>
                <a:gd name="T111" fmla="*/ 4 h 34"/>
                <a:gd name="T112" fmla="*/ 2 w 20"/>
                <a:gd name="T113"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 h="34">
                  <a:moveTo>
                    <a:pt x="2" y="4"/>
                  </a:moveTo>
                  <a:lnTo>
                    <a:pt x="2" y="4"/>
                  </a:lnTo>
                  <a:lnTo>
                    <a:pt x="2" y="2"/>
                  </a:lnTo>
                  <a:lnTo>
                    <a:pt x="4" y="2"/>
                  </a:lnTo>
                  <a:lnTo>
                    <a:pt x="6" y="2"/>
                  </a:lnTo>
                  <a:lnTo>
                    <a:pt x="10" y="2"/>
                  </a:lnTo>
                  <a:lnTo>
                    <a:pt x="12" y="0"/>
                  </a:lnTo>
                  <a:lnTo>
                    <a:pt x="14" y="0"/>
                  </a:lnTo>
                  <a:lnTo>
                    <a:pt x="16" y="0"/>
                  </a:lnTo>
                  <a:lnTo>
                    <a:pt x="16" y="0"/>
                  </a:lnTo>
                  <a:lnTo>
                    <a:pt x="18" y="0"/>
                  </a:lnTo>
                  <a:lnTo>
                    <a:pt x="18" y="0"/>
                  </a:lnTo>
                  <a:lnTo>
                    <a:pt x="18" y="0"/>
                  </a:lnTo>
                  <a:lnTo>
                    <a:pt x="18" y="2"/>
                  </a:lnTo>
                  <a:lnTo>
                    <a:pt x="18" y="4"/>
                  </a:lnTo>
                  <a:lnTo>
                    <a:pt x="20" y="4"/>
                  </a:lnTo>
                  <a:lnTo>
                    <a:pt x="20" y="6"/>
                  </a:lnTo>
                  <a:lnTo>
                    <a:pt x="20" y="10"/>
                  </a:lnTo>
                  <a:lnTo>
                    <a:pt x="20" y="14"/>
                  </a:lnTo>
                  <a:lnTo>
                    <a:pt x="20" y="18"/>
                  </a:lnTo>
                  <a:lnTo>
                    <a:pt x="18" y="22"/>
                  </a:lnTo>
                  <a:lnTo>
                    <a:pt x="18" y="24"/>
                  </a:lnTo>
                  <a:lnTo>
                    <a:pt x="18" y="28"/>
                  </a:lnTo>
                  <a:lnTo>
                    <a:pt x="18" y="28"/>
                  </a:lnTo>
                  <a:lnTo>
                    <a:pt x="18" y="30"/>
                  </a:lnTo>
                  <a:lnTo>
                    <a:pt x="18" y="32"/>
                  </a:lnTo>
                  <a:lnTo>
                    <a:pt x="18" y="32"/>
                  </a:lnTo>
                  <a:lnTo>
                    <a:pt x="16" y="34"/>
                  </a:lnTo>
                  <a:lnTo>
                    <a:pt x="16" y="34"/>
                  </a:lnTo>
                  <a:lnTo>
                    <a:pt x="14" y="34"/>
                  </a:lnTo>
                  <a:lnTo>
                    <a:pt x="14" y="34"/>
                  </a:lnTo>
                  <a:lnTo>
                    <a:pt x="12" y="34"/>
                  </a:lnTo>
                  <a:lnTo>
                    <a:pt x="10" y="34"/>
                  </a:lnTo>
                  <a:lnTo>
                    <a:pt x="8" y="34"/>
                  </a:lnTo>
                  <a:lnTo>
                    <a:pt x="6" y="34"/>
                  </a:lnTo>
                  <a:lnTo>
                    <a:pt x="4" y="32"/>
                  </a:lnTo>
                  <a:lnTo>
                    <a:pt x="4" y="32"/>
                  </a:lnTo>
                  <a:lnTo>
                    <a:pt x="4" y="32"/>
                  </a:lnTo>
                  <a:lnTo>
                    <a:pt x="4" y="32"/>
                  </a:lnTo>
                  <a:lnTo>
                    <a:pt x="4" y="30"/>
                  </a:lnTo>
                  <a:lnTo>
                    <a:pt x="4" y="30"/>
                  </a:lnTo>
                  <a:lnTo>
                    <a:pt x="4" y="28"/>
                  </a:lnTo>
                  <a:lnTo>
                    <a:pt x="4" y="26"/>
                  </a:lnTo>
                  <a:lnTo>
                    <a:pt x="4" y="24"/>
                  </a:lnTo>
                  <a:lnTo>
                    <a:pt x="4" y="20"/>
                  </a:lnTo>
                  <a:lnTo>
                    <a:pt x="4" y="16"/>
                  </a:lnTo>
                  <a:lnTo>
                    <a:pt x="4" y="14"/>
                  </a:lnTo>
                  <a:lnTo>
                    <a:pt x="2" y="12"/>
                  </a:lnTo>
                  <a:lnTo>
                    <a:pt x="2" y="12"/>
                  </a:lnTo>
                  <a:lnTo>
                    <a:pt x="2" y="10"/>
                  </a:lnTo>
                  <a:lnTo>
                    <a:pt x="0" y="8"/>
                  </a:lnTo>
                  <a:lnTo>
                    <a:pt x="0" y="8"/>
                  </a:lnTo>
                  <a:lnTo>
                    <a:pt x="0" y="6"/>
                  </a:lnTo>
                  <a:lnTo>
                    <a:pt x="2" y="6"/>
                  </a:lnTo>
                  <a:lnTo>
                    <a:pt x="2" y="4"/>
                  </a:lnTo>
                  <a:lnTo>
                    <a:pt x="2" y="4"/>
                  </a:lnTo>
                  <a:lnTo>
                    <a:pt x="2" y="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5" name="Freeform 293">
              <a:extLst>
                <a:ext uri="{FF2B5EF4-FFF2-40B4-BE49-F238E27FC236}">
                  <a16:creationId xmlns:a16="http://schemas.microsoft.com/office/drawing/2014/main" id="{BAD65C59-2FB3-45B6-97F0-F53528B71100}"/>
                </a:ext>
              </a:extLst>
            </p:cNvPr>
            <p:cNvSpPr>
              <a:spLocks/>
            </p:cNvSpPr>
            <p:nvPr/>
          </p:nvSpPr>
          <p:spPr bwMode="auto">
            <a:xfrm>
              <a:off x="4400849" y="2945313"/>
              <a:ext cx="211313" cy="259811"/>
            </a:xfrm>
            <a:custGeom>
              <a:avLst/>
              <a:gdLst>
                <a:gd name="T0" fmla="*/ 118 w 122"/>
                <a:gd name="T1" fmla="*/ 62 h 150"/>
                <a:gd name="T2" fmla="*/ 112 w 122"/>
                <a:gd name="T3" fmla="*/ 48 h 150"/>
                <a:gd name="T4" fmla="*/ 112 w 122"/>
                <a:gd name="T5" fmla="*/ 38 h 150"/>
                <a:gd name="T6" fmla="*/ 114 w 122"/>
                <a:gd name="T7" fmla="*/ 18 h 150"/>
                <a:gd name="T8" fmla="*/ 110 w 122"/>
                <a:gd name="T9" fmla="*/ 12 h 150"/>
                <a:gd name="T10" fmla="*/ 102 w 122"/>
                <a:gd name="T11" fmla="*/ 12 h 150"/>
                <a:gd name="T12" fmla="*/ 88 w 122"/>
                <a:gd name="T13" fmla="*/ 18 h 150"/>
                <a:gd name="T14" fmla="*/ 78 w 122"/>
                <a:gd name="T15" fmla="*/ 20 h 150"/>
                <a:gd name="T16" fmla="*/ 74 w 122"/>
                <a:gd name="T17" fmla="*/ 18 h 150"/>
                <a:gd name="T18" fmla="*/ 70 w 122"/>
                <a:gd name="T19" fmla="*/ 12 h 150"/>
                <a:gd name="T20" fmla="*/ 62 w 122"/>
                <a:gd name="T21" fmla="*/ 0 h 150"/>
                <a:gd name="T22" fmla="*/ 44 w 122"/>
                <a:gd name="T23" fmla="*/ 16 h 150"/>
                <a:gd name="T24" fmla="*/ 46 w 122"/>
                <a:gd name="T25" fmla="*/ 20 h 150"/>
                <a:gd name="T26" fmla="*/ 46 w 122"/>
                <a:gd name="T27" fmla="*/ 24 h 150"/>
                <a:gd name="T28" fmla="*/ 42 w 122"/>
                <a:gd name="T29" fmla="*/ 24 h 150"/>
                <a:gd name="T30" fmla="*/ 38 w 122"/>
                <a:gd name="T31" fmla="*/ 24 h 150"/>
                <a:gd name="T32" fmla="*/ 22 w 122"/>
                <a:gd name="T33" fmla="*/ 32 h 150"/>
                <a:gd name="T34" fmla="*/ 22 w 122"/>
                <a:gd name="T35" fmla="*/ 42 h 150"/>
                <a:gd name="T36" fmla="*/ 20 w 122"/>
                <a:gd name="T37" fmla="*/ 50 h 150"/>
                <a:gd name="T38" fmla="*/ 14 w 122"/>
                <a:gd name="T39" fmla="*/ 58 h 150"/>
                <a:gd name="T40" fmla="*/ 6 w 122"/>
                <a:gd name="T41" fmla="*/ 62 h 150"/>
                <a:gd name="T42" fmla="*/ 2 w 122"/>
                <a:gd name="T43" fmla="*/ 66 h 150"/>
                <a:gd name="T44" fmla="*/ 0 w 122"/>
                <a:gd name="T45" fmla="*/ 72 h 150"/>
                <a:gd name="T46" fmla="*/ 10 w 122"/>
                <a:gd name="T47" fmla="*/ 88 h 150"/>
                <a:gd name="T48" fmla="*/ 8 w 122"/>
                <a:gd name="T49" fmla="*/ 94 h 150"/>
                <a:gd name="T50" fmla="*/ 8 w 122"/>
                <a:gd name="T51" fmla="*/ 98 h 150"/>
                <a:gd name="T52" fmla="*/ 14 w 122"/>
                <a:gd name="T53" fmla="*/ 102 h 150"/>
                <a:gd name="T54" fmla="*/ 22 w 122"/>
                <a:gd name="T55" fmla="*/ 106 h 150"/>
                <a:gd name="T56" fmla="*/ 30 w 122"/>
                <a:gd name="T57" fmla="*/ 112 h 150"/>
                <a:gd name="T58" fmla="*/ 32 w 122"/>
                <a:gd name="T59" fmla="*/ 116 h 150"/>
                <a:gd name="T60" fmla="*/ 30 w 122"/>
                <a:gd name="T61" fmla="*/ 118 h 150"/>
                <a:gd name="T62" fmla="*/ 26 w 122"/>
                <a:gd name="T63" fmla="*/ 124 h 150"/>
                <a:gd name="T64" fmla="*/ 26 w 122"/>
                <a:gd name="T65" fmla="*/ 136 h 150"/>
                <a:gd name="T66" fmla="*/ 36 w 122"/>
                <a:gd name="T67" fmla="*/ 146 h 150"/>
                <a:gd name="T68" fmla="*/ 40 w 122"/>
                <a:gd name="T69" fmla="*/ 146 h 150"/>
                <a:gd name="T70" fmla="*/ 48 w 122"/>
                <a:gd name="T71" fmla="*/ 142 h 150"/>
                <a:gd name="T72" fmla="*/ 54 w 122"/>
                <a:gd name="T73" fmla="*/ 148 h 150"/>
                <a:gd name="T74" fmla="*/ 64 w 122"/>
                <a:gd name="T75" fmla="*/ 150 h 150"/>
                <a:gd name="T76" fmla="*/ 72 w 122"/>
                <a:gd name="T77" fmla="*/ 150 h 150"/>
                <a:gd name="T78" fmla="*/ 84 w 122"/>
                <a:gd name="T79" fmla="*/ 142 h 150"/>
                <a:gd name="T80" fmla="*/ 98 w 122"/>
                <a:gd name="T81" fmla="*/ 134 h 150"/>
                <a:gd name="T82" fmla="*/ 104 w 122"/>
                <a:gd name="T83" fmla="*/ 130 h 150"/>
                <a:gd name="T84" fmla="*/ 104 w 122"/>
                <a:gd name="T85" fmla="*/ 120 h 150"/>
                <a:gd name="T86" fmla="*/ 96 w 122"/>
                <a:gd name="T87" fmla="*/ 108 h 150"/>
                <a:gd name="T88" fmla="*/ 86 w 122"/>
                <a:gd name="T89" fmla="*/ 98 h 150"/>
                <a:gd name="T90" fmla="*/ 82 w 122"/>
                <a:gd name="T91" fmla="*/ 92 h 150"/>
                <a:gd name="T92" fmla="*/ 82 w 122"/>
                <a:gd name="T93" fmla="*/ 88 h 150"/>
                <a:gd name="T94" fmla="*/ 84 w 122"/>
                <a:gd name="T95" fmla="*/ 84 h 150"/>
                <a:gd name="T96" fmla="*/ 96 w 122"/>
                <a:gd name="T97" fmla="*/ 78 h 150"/>
                <a:gd name="T98" fmla="*/ 110 w 122"/>
                <a:gd name="T99" fmla="*/ 7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 h="150">
                  <a:moveTo>
                    <a:pt x="122" y="72"/>
                  </a:moveTo>
                  <a:lnTo>
                    <a:pt x="122" y="72"/>
                  </a:lnTo>
                  <a:lnTo>
                    <a:pt x="120" y="70"/>
                  </a:lnTo>
                  <a:lnTo>
                    <a:pt x="118" y="62"/>
                  </a:lnTo>
                  <a:lnTo>
                    <a:pt x="116" y="58"/>
                  </a:lnTo>
                  <a:lnTo>
                    <a:pt x="114" y="54"/>
                  </a:lnTo>
                  <a:lnTo>
                    <a:pt x="114" y="50"/>
                  </a:lnTo>
                  <a:lnTo>
                    <a:pt x="112" y="48"/>
                  </a:lnTo>
                  <a:lnTo>
                    <a:pt x="112" y="46"/>
                  </a:lnTo>
                  <a:lnTo>
                    <a:pt x="112" y="44"/>
                  </a:lnTo>
                  <a:lnTo>
                    <a:pt x="112" y="42"/>
                  </a:lnTo>
                  <a:lnTo>
                    <a:pt x="112" y="38"/>
                  </a:lnTo>
                  <a:lnTo>
                    <a:pt x="112" y="34"/>
                  </a:lnTo>
                  <a:lnTo>
                    <a:pt x="114" y="30"/>
                  </a:lnTo>
                  <a:lnTo>
                    <a:pt x="114" y="20"/>
                  </a:lnTo>
                  <a:lnTo>
                    <a:pt x="114" y="18"/>
                  </a:lnTo>
                  <a:lnTo>
                    <a:pt x="114" y="16"/>
                  </a:lnTo>
                  <a:lnTo>
                    <a:pt x="112" y="14"/>
                  </a:lnTo>
                  <a:lnTo>
                    <a:pt x="110" y="12"/>
                  </a:lnTo>
                  <a:lnTo>
                    <a:pt x="110" y="12"/>
                  </a:lnTo>
                  <a:lnTo>
                    <a:pt x="108" y="12"/>
                  </a:lnTo>
                  <a:lnTo>
                    <a:pt x="106" y="12"/>
                  </a:lnTo>
                  <a:lnTo>
                    <a:pt x="104" y="12"/>
                  </a:lnTo>
                  <a:lnTo>
                    <a:pt x="102" y="12"/>
                  </a:lnTo>
                  <a:lnTo>
                    <a:pt x="100" y="14"/>
                  </a:lnTo>
                  <a:lnTo>
                    <a:pt x="98" y="14"/>
                  </a:lnTo>
                  <a:lnTo>
                    <a:pt x="92" y="16"/>
                  </a:lnTo>
                  <a:lnTo>
                    <a:pt x="88" y="18"/>
                  </a:lnTo>
                  <a:lnTo>
                    <a:pt x="86" y="18"/>
                  </a:lnTo>
                  <a:lnTo>
                    <a:pt x="84" y="20"/>
                  </a:lnTo>
                  <a:lnTo>
                    <a:pt x="82" y="20"/>
                  </a:lnTo>
                  <a:lnTo>
                    <a:pt x="78" y="20"/>
                  </a:lnTo>
                  <a:lnTo>
                    <a:pt x="76" y="20"/>
                  </a:lnTo>
                  <a:lnTo>
                    <a:pt x="76" y="20"/>
                  </a:lnTo>
                  <a:lnTo>
                    <a:pt x="76" y="20"/>
                  </a:lnTo>
                  <a:lnTo>
                    <a:pt x="74" y="18"/>
                  </a:lnTo>
                  <a:lnTo>
                    <a:pt x="74" y="18"/>
                  </a:lnTo>
                  <a:lnTo>
                    <a:pt x="72" y="16"/>
                  </a:lnTo>
                  <a:lnTo>
                    <a:pt x="72" y="16"/>
                  </a:lnTo>
                  <a:lnTo>
                    <a:pt x="70" y="12"/>
                  </a:lnTo>
                  <a:lnTo>
                    <a:pt x="68" y="10"/>
                  </a:lnTo>
                  <a:lnTo>
                    <a:pt x="66" y="8"/>
                  </a:lnTo>
                  <a:lnTo>
                    <a:pt x="64" y="4"/>
                  </a:lnTo>
                  <a:lnTo>
                    <a:pt x="62" y="0"/>
                  </a:lnTo>
                  <a:lnTo>
                    <a:pt x="46" y="4"/>
                  </a:lnTo>
                  <a:lnTo>
                    <a:pt x="44" y="8"/>
                  </a:lnTo>
                  <a:lnTo>
                    <a:pt x="44" y="14"/>
                  </a:lnTo>
                  <a:lnTo>
                    <a:pt x="44" y="16"/>
                  </a:lnTo>
                  <a:lnTo>
                    <a:pt x="44" y="18"/>
                  </a:lnTo>
                  <a:lnTo>
                    <a:pt x="44" y="18"/>
                  </a:lnTo>
                  <a:lnTo>
                    <a:pt x="44" y="18"/>
                  </a:lnTo>
                  <a:lnTo>
                    <a:pt x="46" y="20"/>
                  </a:lnTo>
                  <a:lnTo>
                    <a:pt x="46" y="22"/>
                  </a:lnTo>
                  <a:lnTo>
                    <a:pt x="46" y="22"/>
                  </a:lnTo>
                  <a:lnTo>
                    <a:pt x="46" y="22"/>
                  </a:lnTo>
                  <a:lnTo>
                    <a:pt x="46" y="24"/>
                  </a:lnTo>
                  <a:lnTo>
                    <a:pt x="44" y="24"/>
                  </a:lnTo>
                  <a:lnTo>
                    <a:pt x="44" y="24"/>
                  </a:lnTo>
                  <a:lnTo>
                    <a:pt x="44" y="24"/>
                  </a:lnTo>
                  <a:lnTo>
                    <a:pt x="42" y="24"/>
                  </a:lnTo>
                  <a:lnTo>
                    <a:pt x="42" y="24"/>
                  </a:lnTo>
                  <a:lnTo>
                    <a:pt x="40" y="24"/>
                  </a:lnTo>
                  <a:lnTo>
                    <a:pt x="40" y="24"/>
                  </a:lnTo>
                  <a:lnTo>
                    <a:pt x="38" y="24"/>
                  </a:lnTo>
                  <a:lnTo>
                    <a:pt x="36" y="24"/>
                  </a:lnTo>
                  <a:lnTo>
                    <a:pt x="30" y="26"/>
                  </a:lnTo>
                  <a:lnTo>
                    <a:pt x="22" y="30"/>
                  </a:lnTo>
                  <a:lnTo>
                    <a:pt x="22" y="32"/>
                  </a:lnTo>
                  <a:lnTo>
                    <a:pt x="22" y="36"/>
                  </a:lnTo>
                  <a:lnTo>
                    <a:pt x="22" y="38"/>
                  </a:lnTo>
                  <a:lnTo>
                    <a:pt x="22" y="40"/>
                  </a:lnTo>
                  <a:lnTo>
                    <a:pt x="22" y="42"/>
                  </a:lnTo>
                  <a:lnTo>
                    <a:pt x="22" y="44"/>
                  </a:lnTo>
                  <a:lnTo>
                    <a:pt x="22" y="46"/>
                  </a:lnTo>
                  <a:lnTo>
                    <a:pt x="20" y="48"/>
                  </a:lnTo>
                  <a:lnTo>
                    <a:pt x="20" y="50"/>
                  </a:lnTo>
                  <a:lnTo>
                    <a:pt x="18" y="52"/>
                  </a:lnTo>
                  <a:lnTo>
                    <a:pt x="16" y="56"/>
                  </a:lnTo>
                  <a:lnTo>
                    <a:pt x="14" y="58"/>
                  </a:lnTo>
                  <a:lnTo>
                    <a:pt x="14" y="58"/>
                  </a:lnTo>
                  <a:lnTo>
                    <a:pt x="12" y="60"/>
                  </a:lnTo>
                  <a:lnTo>
                    <a:pt x="10" y="60"/>
                  </a:lnTo>
                  <a:lnTo>
                    <a:pt x="8" y="62"/>
                  </a:lnTo>
                  <a:lnTo>
                    <a:pt x="6" y="62"/>
                  </a:lnTo>
                  <a:lnTo>
                    <a:pt x="4" y="64"/>
                  </a:lnTo>
                  <a:lnTo>
                    <a:pt x="4" y="64"/>
                  </a:lnTo>
                  <a:lnTo>
                    <a:pt x="2" y="64"/>
                  </a:lnTo>
                  <a:lnTo>
                    <a:pt x="2" y="66"/>
                  </a:lnTo>
                  <a:lnTo>
                    <a:pt x="2" y="66"/>
                  </a:lnTo>
                  <a:lnTo>
                    <a:pt x="2" y="68"/>
                  </a:lnTo>
                  <a:lnTo>
                    <a:pt x="2" y="70"/>
                  </a:lnTo>
                  <a:lnTo>
                    <a:pt x="0" y="72"/>
                  </a:lnTo>
                  <a:lnTo>
                    <a:pt x="0" y="76"/>
                  </a:lnTo>
                  <a:lnTo>
                    <a:pt x="0" y="80"/>
                  </a:lnTo>
                  <a:lnTo>
                    <a:pt x="0" y="82"/>
                  </a:lnTo>
                  <a:lnTo>
                    <a:pt x="10" y="88"/>
                  </a:lnTo>
                  <a:lnTo>
                    <a:pt x="10" y="88"/>
                  </a:lnTo>
                  <a:lnTo>
                    <a:pt x="8" y="92"/>
                  </a:lnTo>
                  <a:lnTo>
                    <a:pt x="8" y="94"/>
                  </a:lnTo>
                  <a:lnTo>
                    <a:pt x="8" y="94"/>
                  </a:lnTo>
                  <a:lnTo>
                    <a:pt x="8" y="96"/>
                  </a:lnTo>
                  <a:lnTo>
                    <a:pt x="8" y="96"/>
                  </a:lnTo>
                  <a:lnTo>
                    <a:pt x="8" y="98"/>
                  </a:lnTo>
                  <a:lnTo>
                    <a:pt x="8" y="98"/>
                  </a:lnTo>
                  <a:lnTo>
                    <a:pt x="8" y="98"/>
                  </a:lnTo>
                  <a:lnTo>
                    <a:pt x="10" y="100"/>
                  </a:lnTo>
                  <a:lnTo>
                    <a:pt x="12" y="100"/>
                  </a:lnTo>
                  <a:lnTo>
                    <a:pt x="14" y="102"/>
                  </a:lnTo>
                  <a:lnTo>
                    <a:pt x="16" y="104"/>
                  </a:lnTo>
                  <a:lnTo>
                    <a:pt x="18" y="104"/>
                  </a:lnTo>
                  <a:lnTo>
                    <a:pt x="20" y="104"/>
                  </a:lnTo>
                  <a:lnTo>
                    <a:pt x="22" y="106"/>
                  </a:lnTo>
                  <a:lnTo>
                    <a:pt x="26" y="108"/>
                  </a:lnTo>
                  <a:lnTo>
                    <a:pt x="28" y="110"/>
                  </a:lnTo>
                  <a:lnTo>
                    <a:pt x="30" y="112"/>
                  </a:lnTo>
                  <a:lnTo>
                    <a:pt x="30" y="112"/>
                  </a:lnTo>
                  <a:lnTo>
                    <a:pt x="32" y="114"/>
                  </a:lnTo>
                  <a:lnTo>
                    <a:pt x="32" y="114"/>
                  </a:lnTo>
                  <a:lnTo>
                    <a:pt x="32" y="114"/>
                  </a:lnTo>
                  <a:lnTo>
                    <a:pt x="32" y="116"/>
                  </a:lnTo>
                  <a:lnTo>
                    <a:pt x="32" y="116"/>
                  </a:lnTo>
                  <a:lnTo>
                    <a:pt x="32" y="116"/>
                  </a:lnTo>
                  <a:lnTo>
                    <a:pt x="30" y="118"/>
                  </a:lnTo>
                  <a:lnTo>
                    <a:pt x="30" y="118"/>
                  </a:lnTo>
                  <a:lnTo>
                    <a:pt x="28" y="120"/>
                  </a:lnTo>
                  <a:lnTo>
                    <a:pt x="26" y="122"/>
                  </a:lnTo>
                  <a:lnTo>
                    <a:pt x="26" y="122"/>
                  </a:lnTo>
                  <a:lnTo>
                    <a:pt x="26" y="124"/>
                  </a:lnTo>
                  <a:lnTo>
                    <a:pt x="26" y="124"/>
                  </a:lnTo>
                  <a:lnTo>
                    <a:pt x="26" y="128"/>
                  </a:lnTo>
                  <a:lnTo>
                    <a:pt x="26" y="132"/>
                  </a:lnTo>
                  <a:lnTo>
                    <a:pt x="26" y="136"/>
                  </a:lnTo>
                  <a:lnTo>
                    <a:pt x="28" y="142"/>
                  </a:lnTo>
                  <a:lnTo>
                    <a:pt x="28" y="144"/>
                  </a:lnTo>
                  <a:lnTo>
                    <a:pt x="32" y="146"/>
                  </a:lnTo>
                  <a:lnTo>
                    <a:pt x="36" y="146"/>
                  </a:lnTo>
                  <a:lnTo>
                    <a:pt x="36" y="146"/>
                  </a:lnTo>
                  <a:lnTo>
                    <a:pt x="38" y="146"/>
                  </a:lnTo>
                  <a:lnTo>
                    <a:pt x="38" y="146"/>
                  </a:lnTo>
                  <a:lnTo>
                    <a:pt x="40" y="146"/>
                  </a:lnTo>
                  <a:lnTo>
                    <a:pt x="42" y="144"/>
                  </a:lnTo>
                  <a:lnTo>
                    <a:pt x="46" y="144"/>
                  </a:lnTo>
                  <a:lnTo>
                    <a:pt x="46" y="142"/>
                  </a:lnTo>
                  <a:lnTo>
                    <a:pt x="48" y="142"/>
                  </a:lnTo>
                  <a:lnTo>
                    <a:pt x="48" y="144"/>
                  </a:lnTo>
                  <a:lnTo>
                    <a:pt x="50" y="144"/>
                  </a:lnTo>
                  <a:lnTo>
                    <a:pt x="52" y="146"/>
                  </a:lnTo>
                  <a:lnTo>
                    <a:pt x="54" y="148"/>
                  </a:lnTo>
                  <a:lnTo>
                    <a:pt x="56" y="148"/>
                  </a:lnTo>
                  <a:lnTo>
                    <a:pt x="58" y="148"/>
                  </a:lnTo>
                  <a:lnTo>
                    <a:pt x="62" y="150"/>
                  </a:lnTo>
                  <a:lnTo>
                    <a:pt x="64" y="150"/>
                  </a:lnTo>
                  <a:lnTo>
                    <a:pt x="66" y="150"/>
                  </a:lnTo>
                  <a:lnTo>
                    <a:pt x="68" y="150"/>
                  </a:lnTo>
                  <a:lnTo>
                    <a:pt x="70" y="150"/>
                  </a:lnTo>
                  <a:lnTo>
                    <a:pt x="72" y="150"/>
                  </a:lnTo>
                  <a:lnTo>
                    <a:pt x="74" y="148"/>
                  </a:lnTo>
                  <a:lnTo>
                    <a:pt x="76" y="146"/>
                  </a:lnTo>
                  <a:lnTo>
                    <a:pt x="82" y="144"/>
                  </a:lnTo>
                  <a:lnTo>
                    <a:pt x="84" y="142"/>
                  </a:lnTo>
                  <a:lnTo>
                    <a:pt x="88" y="142"/>
                  </a:lnTo>
                  <a:lnTo>
                    <a:pt x="92" y="138"/>
                  </a:lnTo>
                  <a:lnTo>
                    <a:pt x="96" y="136"/>
                  </a:lnTo>
                  <a:lnTo>
                    <a:pt x="98" y="134"/>
                  </a:lnTo>
                  <a:lnTo>
                    <a:pt x="102" y="132"/>
                  </a:lnTo>
                  <a:lnTo>
                    <a:pt x="102" y="130"/>
                  </a:lnTo>
                  <a:lnTo>
                    <a:pt x="102" y="130"/>
                  </a:lnTo>
                  <a:lnTo>
                    <a:pt x="104" y="130"/>
                  </a:lnTo>
                  <a:lnTo>
                    <a:pt x="104" y="128"/>
                  </a:lnTo>
                  <a:lnTo>
                    <a:pt x="104" y="126"/>
                  </a:lnTo>
                  <a:lnTo>
                    <a:pt x="104" y="124"/>
                  </a:lnTo>
                  <a:lnTo>
                    <a:pt x="104" y="120"/>
                  </a:lnTo>
                  <a:lnTo>
                    <a:pt x="104" y="116"/>
                  </a:lnTo>
                  <a:lnTo>
                    <a:pt x="104" y="114"/>
                  </a:lnTo>
                  <a:lnTo>
                    <a:pt x="100" y="112"/>
                  </a:lnTo>
                  <a:lnTo>
                    <a:pt x="96" y="108"/>
                  </a:lnTo>
                  <a:lnTo>
                    <a:pt x="92" y="104"/>
                  </a:lnTo>
                  <a:lnTo>
                    <a:pt x="90" y="102"/>
                  </a:lnTo>
                  <a:lnTo>
                    <a:pt x="88" y="100"/>
                  </a:lnTo>
                  <a:lnTo>
                    <a:pt x="86" y="98"/>
                  </a:lnTo>
                  <a:lnTo>
                    <a:pt x="84" y="96"/>
                  </a:lnTo>
                  <a:lnTo>
                    <a:pt x="82" y="94"/>
                  </a:lnTo>
                  <a:lnTo>
                    <a:pt x="82" y="92"/>
                  </a:lnTo>
                  <a:lnTo>
                    <a:pt x="82" y="92"/>
                  </a:lnTo>
                  <a:lnTo>
                    <a:pt x="82" y="90"/>
                  </a:lnTo>
                  <a:lnTo>
                    <a:pt x="82" y="90"/>
                  </a:lnTo>
                  <a:lnTo>
                    <a:pt x="82" y="88"/>
                  </a:lnTo>
                  <a:lnTo>
                    <a:pt x="82" y="88"/>
                  </a:lnTo>
                  <a:lnTo>
                    <a:pt x="82" y="86"/>
                  </a:lnTo>
                  <a:lnTo>
                    <a:pt x="82" y="86"/>
                  </a:lnTo>
                  <a:lnTo>
                    <a:pt x="84" y="84"/>
                  </a:lnTo>
                  <a:lnTo>
                    <a:pt x="84" y="84"/>
                  </a:lnTo>
                  <a:lnTo>
                    <a:pt x="86" y="84"/>
                  </a:lnTo>
                  <a:lnTo>
                    <a:pt x="88" y="82"/>
                  </a:lnTo>
                  <a:lnTo>
                    <a:pt x="92" y="80"/>
                  </a:lnTo>
                  <a:lnTo>
                    <a:pt x="96" y="78"/>
                  </a:lnTo>
                  <a:lnTo>
                    <a:pt x="98" y="78"/>
                  </a:lnTo>
                  <a:lnTo>
                    <a:pt x="102" y="76"/>
                  </a:lnTo>
                  <a:lnTo>
                    <a:pt x="106" y="76"/>
                  </a:lnTo>
                  <a:lnTo>
                    <a:pt x="110" y="74"/>
                  </a:lnTo>
                  <a:lnTo>
                    <a:pt x="116" y="74"/>
                  </a:lnTo>
                  <a:lnTo>
                    <a:pt x="122" y="7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6" name="Freeform 294">
              <a:extLst>
                <a:ext uri="{FF2B5EF4-FFF2-40B4-BE49-F238E27FC236}">
                  <a16:creationId xmlns:a16="http://schemas.microsoft.com/office/drawing/2014/main" id="{3E08A8B6-EB7C-4005-A89B-AE3ADCFF5F29}"/>
                </a:ext>
              </a:extLst>
            </p:cNvPr>
            <p:cNvSpPr>
              <a:spLocks/>
            </p:cNvSpPr>
            <p:nvPr/>
          </p:nvSpPr>
          <p:spPr bwMode="auto">
            <a:xfrm>
              <a:off x="4400849" y="2945313"/>
              <a:ext cx="211313" cy="259811"/>
            </a:xfrm>
            <a:custGeom>
              <a:avLst/>
              <a:gdLst>
                <a:gd name="T0" fmla="*/ 118 w 122"/>
                <a:gd name="T1" fmla="*/ 62 h 150"/>
                <a:gd name="T2" fmla="*/ 112 w 122"/>
                <a:gd name="T3" fmla="*/ 48 h 150"/>
                <a:gd name="T4" fmla="*/ 112 w 122"/>
                <a:gd name="T5" fmla="*/ 38 h 150"/>
                <a:gd name="T6" fmla="*/ 114 w 122"/>
                <a:gd name="T7" fmla="*/ 18 h 150"/>
                <a:gd name="T8" fmla="*/ 110 w 122"/>
                <a:gd name="T9" fmla="*/ 12 h 150"/>
                <a:gd name="T10" fmla="*/ 102 w 122"/>
                <a:gd name="T11" fmla="*/ 12 h 150"/>
                <a:gd name="T12" fmla="*/ 88 w 122"/>
                <a:gd name="T13" fmla="*/ 18 h 150"/>
                <a:gd name="T14" fmla="*/ 78 w 122"/>
                <a:gd name="T15" fmla="*/ 20 h 150"/>
                <a:gd name="T16" fmla="*/ 74 w 122"/>
                <a:gd name="T17" fmla="*/ 18 h 150"/>
                <a:gd name="T18" fmla="*/ 70 w 122"/>
                <a:gd name="T19" fmla="*/ 12 h 150"/>
                <a:gd name="T20" fmla="*/ 62 w 122"/>
                <a:gd name="T21" fmla="*/ 0 h 150"/>
                <a:gd name="T22" fmla="*/ 44 w 122"/>
                <a:gd name="T23" fmla="*/ 16 h 150"/>
                <a:gd name="T24" fmla="*/ 46 w 122"/>
                <a:gd name="T25" fmla="*/ 20 h 150"/>
                <a:gd name="T26" fmla="*/ 46 w 122"/>
                <a:gd name="T27" fmla="*/ 24 h 150"/>
                <a:gd name="T28" fmla="*/ 42 w 122"/>
                <a:gd name="T29" fmla="*/ 24 h 150"/>
                <a:gd name="T30" fmla="*/ 38 w 122"/>
                <a:gd name="T31" fmla="*/ 24 h 150"/>
                <a:gd name="T32" fmla="*/ 22 w 122"/>
                <a:gd name="T33" fmla="*/ 32 h 150"/>
                <a:gd name="T34" fmla="*/ 22 w 122"/>
                <a:gd name="T35" fmla="*/ 42 h 150"/>
                <a:gd name="T36" fmla="*/ 20 w 122"/>
                <a:gd name="T37" fmla="*/ 50 h 150"/>
                <a:gd name="T38" fmla="*/ 14 w 122"/>
                <a:gd name="T39" fmla="*/ 58 h 150"/>
                <a:gd name="T40" fmla="*/ 6 w 122"/>
                <a:gd name="T41" fmla="*/ 62 h 150"/>
                <a:gd name="T42" fmla="*/ 2 w 122"/>
                <a:gd name="T43" fmla="*/ 66 h 150"/>
                <a:gd name="T44" fmla="*/ 0 w 122"/>
                <a:gd name="T45" fmla="*/ 72 h 150"/>
                <a:gd name="T46" fmla="*/ 10 w 122"/>
                <a:gd name="T47" fmla="*/ 88 h 150"/>
                <a:gd name="T48" fmla="*/ 8 w 122"/>
                <a:gd name="T49" fmla="*/ 94 h 150"/>
                <a:gd name="T50" fmla="*/ 8 w 122"/>
                <a:gd name="T51" fmla="*/ 98 h 150"/>
                <a:gd name="T52" fmla="*/ 14 w 122"/>
                <a:gd name="T53" fmla="*/ 102 h 150"/>
                <a:gd name="T54" fmla="*/ 22 w 122"/>
                <a:gd name="T55" fmla="*/ 106 h 150"/>
                <a:gd name="T56" fmla="*/ 30 w 122"/>
                <a:gd name="T57" fmla="*/ 112 h 150"/>
                <a:gd name="T58" fmla="*/ 32 w 122"/>
                <a:gd name="T59" fmla="*/ 116 h 150"/>
                <a:gd name="T60" fmla="*/ 30 w 122"/>
                <a:gd name="T61" fmla="*/ 118 h 150"/>
                <a:gd name="T62" fmla="*/ 26 w 122"/>
                <a:gd name="T63" fmla="*/ 124 h 150"/>
                <a:gd name="T64" fmla="*/ 26 w 122"/>
                <a:gd name="T65" fmla="*/ 136 h 150"/>
                <a:gd name="T66" fmla="*/ 36 w 122"/>
                <a:gd name="T67" fmla="*/ 146 h 150"/>
                <a:gd name="T68" fmla="*/ 40 w 122"/>
                <a:gd name="T69" fmla="*/ 146 h 150"/>
                <a:gd name="T70" fmla="*/ 48 w 122"/>
                <a:gd name="T71" fmla="*/ 142 h 150"/>
                <a:gd name="T72" fmla="*/ 54 w 122"/>
                <a:gd name="T73" fmla="*/ 148 h 150"/>
                <a:gd name="T74" fmla="*/ 64 w 122"/>
                <a:gd name="T75" fmla="*/ 150 h 150"/>
                <a:gd name="T76" fmla="*/ 72 w 122"/>
                <a:gd name="T77" fmla="*/ 150 h 150"/>
                <a:gd name="T78" fmla="*/ 84 w 122"/>
                <a:gd name="T79" fmla="*/ 142 h 150"/>
                <a:gd name="T80" fmla="*/ 98 w 122"/>
                <a:gd name="T81" fmla="*/ 134 h 150"/>
                <a:gd name="T82" fmla="*/ 104 w 122"/>
                <a:gd name="T83" fmla="*/ 130 h 150"/>
                <a:gd name="T84" fmla="*/ 104 w 122"/>
                <a:gd name="T85" fmla="*/ 120 h 150"/>
                <a:gd name="T86" fmla="*/ 96 w 122"/>
                <a:gd name="T87" fmla="*/ 108 h 150"/>
                <a:gd name="T88" fmla="*/ 86 w 122"/>
                <a:gd name="T89" fmla="*/ 98 h 150"/>
                <a:gd name="T90" fmla="*/ 82 w 122"/>
                <a:gd name="T91" fmla="*/ 92 h 150"/>
                <a:gd name="T92" fmla="*/ 82 w 122"/>
                <a:gd name="T93" fmla="*/ 88 h 150"/>
                <a:gd name="T94" fmla="*/ 84 w 122"/>
                <a:gd name="T95" fmla="*/ 84 h 150"/>
                <a:gd name="T96" fmla="*/ 96 w 122"/>
                <a:gd name="T97" fmla="*/ 78 h 150"/>
                <a:gd name="T98" fmla="*/ 110 w 122"/>
                <a:gd name="T99" fmla="*/ 7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 h="150">
                  <a:moveTo>
                    <a:pt x="122" y="72"/>
                  </a:moveTo>
                  <a:lnTo>
                    <a:pt x="122" y="72"/>
                  </a:lnTo>
                  <a:lnTo>
                    <a:pt x="120" y="70"/>
                  </a:lnTo>
                  <a:lnTo>
                    <a:pt x="118" y="62"/>
                  </a:lnTo>
                  <a:lnTo>
                    <a:pt x="116" y="58"/>
                  </a:lnTo>
                  <a:lnTo>
                    <a:pt x="114" y="54"/>
                  </a:lnTo>
                  <a:lnTo>
                    <a:pt x="114" y="50"/>
                  </a:lnTo>
                  <a:lnTo>
                    <a:pt x="112" y="48"/>
                  </a:lnTo>
                  <a:lnTo>
                    <a:pt x="112" y="46"/>
                  </a:lnTo>
                  <a:lnTo>
                    <a:pt x="112" y="44"/>
                  </a:lnTo>
                  <a:lnTo>
                    <a:pt x="112" y="42"/>
                  </a:lnTo>
                  <a:lnTo>
                    <a:pt x="112" y="38"/>
                  </a:lnTo>
                  <a:lnTo>
                    <a:pt x="112" y="34"/>
                  </a:lnTo>
                  <a:lnTo>
                    <a:pt x="114" y="30"/>
                  </a:lnTo>
                  <a:lnTo>
                    <a:pt x="114" y="20"/>
                  </a:lnTo>
                  <a:lnTo>
                    <a:pt x="114" y="18"/>
                  </a:lnTo>
                  <a:lnTo>
                    <a:pt x="114" y="16"/>
                  </a:lnTo>
                  <a:lnTo>
                    <a:pt x="112" y="14"/>
                  </a:lnTo>
                  <a:lnTo>
                    <a:pt x="110" y="12"/>
                  </a:lnTo>
                  <a:lnTo>
                    <a:pt x="110" y="12"/>
                  </a:lnTo>
                  <a:lnTo>
                    <a:pt x="108" y="12"/>
                  </a:lnTo>
                  <a:lnTo>
                    <a:pt x="106" y="12"/>
                  </a:lnTo>
                  <a:lnTo>
                    <a:pt x="104" y="12"/>
                  </a:lnTo>
                  <a:lnTo>
                    <a:pt x="102" y="12"/>
                  </a:lnTo>
                  <a:lnTo>
                    <a:pt x="100" y="14"/>
                  </a:lnTo>
                  <a:lnTo>
                    <a:pt x="98" y="14"/>
                  </a:lnTo>
                  <a:lnTo>
                    <a:pt x="92" y="16"/>
                  </a:lnTo>
                  <a:lnTo>
                    <a:pt x="88" y="18"/>
                  </a:lnTo>
                  <a:lnTo>
                    <a:pt x="86" y="18"/>
                  </a:lnTo>
                  <a:lnTo>
                    <a:pt x="84" y="20"/>
                  </a:lnTo>
                  <a:lnTo>
                    <a:pt x="82" y="20"/>
                  </a:lnTo>
                  <a:lnTo>
                    <a:pt x="78" y="20"/>
                  </a:lnTo>
                  <a:lnTo>
                    <a:pt x="76" y="20"/>
                  </a:lnTo>
                  <a:lnTo>
                    <a:pt x="76" y="20"/>
                  </a:lnTo>
                  <a:lnTo>
                    <a:pt x="76" y="20"/>
                  </a:lnTo>
                  <a:lnTo>
                    <a:pt x="74" y="18"/>
                  </a:lnTo>
                  <a:lnTo>
                    <a:pt x="74" y="18"/>
                  </a:lnTo>
                  <a:lnTo>
                    <a:pt x="72" y="16"/>
                  </a:lnTo>
                  <a:lnTo>
                    <a:pt x="72" y="16"/>
                  </a:lnTo>
                  <a:lnTo>
                    <a:pt x="70" y="12"/>
                  </a:lnTo>
                  <a:lnTo>
                    <a:pt x="68" y="10"/>
                  </a:lnTo>
                  <a:lnTo>
                    <a:pt x="66" y="8"/>
                  </a:lnTo>
                  <a:lnTo>
                    <a:pt x="64" y="4"/>
                  </a:lnTo>
                  <a:lnTo>
                    <a:pt x="62" y="0"/>
                  </a:lnTo>
                  <a:lnTo>
                    <a:pt x="46" y="4"/>
                  </a:lnTo>
                  <a:lnTo>
                    <a:pt x="44" y="8"/>
                  </a:lnTo>
                  <a:lnTo>
                    <a:pt x="44" y="14"/>
                  </a:lnTo>
                  <a:lnTo>
                    <a:pt x="44" y="16"/>
                  </a:lnTo>
                  <a:lnTo>
                    <a:pt x="44" y="18"/>
                  </a:lnTo>
                  <a:lnTo>
                    <a:pt x="44" y="18"/>
                  </a:lnTo>
                  <a:lnTo>
                    <a:pt x="44" y="18"/>
                  </a:lnTo>
                  <a:lnTo>
                    <a:pt x="46" y="20"/>
                  </a:lnTo>
                  <a:lnTo>
                    <a:pt x="46" y="22"/>
                  </a:lnTo>
                  <a:lnTo>
                    <a:pt x="46" y="22"/>
                  </a:lnTo>
                  <a:lnTo>
                    <a:pt x="46" y="22"/>
                  </a:lnTo>
                  <a:lnTo>
                    <a:pt x="46" y="24"/>
                  </a:lnTo>
                  <a:lnTo>
                    <a:pt x="44" y="24"/>
                  </a:lnTo>
                  <a:lnTo>
                    <a:pt x="44" y="24"/>
                  </a:lnTo>
                  <a:lnTo>
                    <a:pt x="44" y="24"/>
                  </a:lnTo>
                  <a:lnTo>
                    <a:pt x="42" y="24"/>
                  </a:lnTo>
                  <a:lnTo>
                    <a:pt x="42" y="24"/>
                  </a:lnTo>
                  <a:lnTo>
                    <a:pt x="40" y="24"/>
                  </a:lnTo>
                  <a:lnTo>
                    <a:pt x="40" y="24"/>
                  </a:lnTo>
                  <a:lnTo>
                    <a:pt x="38" y="24"/>
                  </a:lnTo>
                  <a:lnTo>
                    <a:pt x="36" y="24"/>
                  </a:lnTo>
                  <a:lnTo>
                    <a:pt x="30" y="26"/>
                  </a:lnTo>
                  <a:lnTo>
                    <a:pt x="22" y="30"/>
                  </a:lnTo>
                  <a:lnTo>
                    <a:pt x="22" y="32"/>
                  </a:lnTo>
                  <a:lnTo>
                    <a:pt x="22" y="36"/>
                  </a:lnTo>
                  <a:lnTo>
                    <a:pt x="22" y="38"/>
                  </a:lnTo>
                  <a:lnTo>
                    <a:pt x="22" y="40"/>
                  </a:lnTo>
                  <a:lnTo>
                    <a:pt x="22" y="42"/>
                  </a:lnTo>
                  <a:lnTo>
                    <a:pt x="22" y="44"/>
                  </a:lnTo>
                  <a:lnTo>
                    <a:pt x="22" y="46"/>
                  </a:lnTo>
                  <a:lnTo>
                    <a:pt x="20" y="48"/>
                  </a:lnTo>
                  <a:lnTo>
                    <a:pt x="20" y="50"/>
                  </a:lnTo>
                  <a:lnTo>
                    <a:pt x="18" y="52"/>
                  </a:lnTo>
                  <a:lnTo>
                    <a:pt x="16" y="56"/>
                  </a:lnTo>
                  <a:lnTo>
                    <a:pt x="14" y="58"/>
                  </a:lnTo>
                  <a:lnTo>
                    <a:pt x="14" y="58"/>
                  </a:lnTo>
                  <a:lnTo>
                    <a:pt x="12" y="60"/>
                  </a:lnTo>
                  <a:lnTo>
                    <a:pt x="10" y="60"/>
                  </a:lnTo>
                  <a:lnTo>
                    <a:pt x="8" y="62"/>
                  </a:lnTo>
                  <a:lnTo>
                    <a:pt x="6" y="62"/>
                  </a:lnTo>
                  <a:lnTo>
                    <a:pt x="4" y="64"/>
                  </a:lnTo>
                  <a:lnTo>
                    <a:pt x="4" y="64"/>
                  </a:lnTo>
                  <a:lnTo>
                    <a:pt x="2" y="64"/>
                  </a:lnTo>
                  <a:lnTo>
                    <a:pt x="2" y="66"/>
                  </a:lnTo>
                  <a:lnTo>
                    <a:pt x="2" y="66"/>
                  </a:lnTo>
                  <a:lnTo>
                    <a:pt x="2" y="68"/>
                  </a:lnTo>
                  <a:lnTo>
                    <a:pt x="2" y="70"/>
                  </a:lnTo>
                  <a:lnTo>
                    <a:pt x="0" y="72"/>
                  </a:lnTo>
                  <a:lnTo>
                    <a:pt x="0" y="76"/>
                  </a:lnTo>
                  <a:lnTo>
                    <a:pt x="0" y="80"/>
                  </a:lnTo>
                  <a:lnTo>
                    <a:pt x="0" y="82"/>
                  </a:lnTo>
                  <a:lnTo>
                    <a:pt x="10" y="88"/>
                  </a:lnTo>
                  <a:lnTo>
                    <a:pt x="10" y="88"/>
                  </a:lnTo>
                  <a:lnTo>
                    <a:pt x="8" y="92"/>
                  </a:lnTo>
                  <a:lnTo>
                    <a:pt x="8" y="94"/>
                  </a:lnTo>
                  <a:lnTo>
                    <a:pt x="8" y="94"/>
                  </a:lnTo>
                  <a:lnTo>
                    <a:pt x="8" y="96"/>
                  </a:lnTo>
                  <a:lnTo>
                    <a:pt x="8" y="96"/>
                  </a:lnTo>
                  <a:lnTo>
                    <a:pt x="8" y="98"/>
                  </a:lnTo>
                  <a:lnTo>
                    <a:pt x="8" y="98"/>
                  </a:lnTo>
                  <a:lnTo>
                    <a:pt x="8" y="98"/>
                  </a:lnTo>
                  <a:lnTo>
                    <a:pt x="10" y="100"/>
                  </a:lnTo>
                  <a:lnTo>
                    <a:pt x="12" y="100"/>
                  </a:lnTo>
                  <a:lnTo>
                    <a:pt x="14" y="102"/>
                  </a:lnTo>
                  <a:lnTo>
                    <a:pt x="16" y="104"/>
                  </a:lnTo>
                  <a:lnTo>
                    <a:pt x="18" y="104"/>
                  </a:lnTo>
                  <a:lnTo>
                    <a:pt x="20" y="104"/>
                  </a:lnTo>
                  <a:lnTo>
                    <a:pt x="22" y="106"/>
                  </a:lnTo>
                  <a:lnTo>
                    <a:pt x="26" y="108"/>
                  </a:lnTo>
                  <a:lnTo>
                    <a:pt x="28" y="110"/>
                  </a:lnTo>
                  <a:lnTo>
                    <a:pt x="30" y="112"/>
                  </a:lnTo>
                  <a:lnTo>
                    <a:pt x="30" y="112"/>
                  </a:lnTo>
                  <a:lnTo>
                    <a:pt x="32" y="114"/>
                  </a:lnTo>
                  <a:lnTo>
                    <a:pt x="32" y="114"/>
                  </a:lnTo>
                  <a:lnTo>
                    <a:pt x="32" y="114"/>
                  </a:lnTo>
                  <a:lnTo>
                    <a:pt x="32" y="116"/>
                  </a:lnTo>
                  <a:lnTo>
                    <a:pt x="32" y="116"/>
                  </a:lnTo>
                  <a:lnTo>
                    <a:pt x="32" y="116"/>
                  </a:lnTo>
                  <a:lnTo>
                    <a:pt x="30" y="118"/>
                  </a:lnTo>
                  <a:lnTo>
                    <a:pt x="30" y="118"/>
                  </a:lnTo>
                  <a:lnTo>
                    <a:pt x="28" y="120"/>
                  </a:lnTo>
                  <a:lnTo>
                    <a:pt x="26" y="122"/>
                  </a:lnTo>
                  <a:lnTo>
                    <a:pt x="26" y="122"/>
                  </a:lnTo>
                  <a:lnTo>
                    <a:pt x="26" y="124"/>
                  </a:lnTo>
                  <a:lnTo>
                    <a:pt x="26" y="124"/>
                  </a:lnTo>
                  <a:lnTo>
                    <a:pt x="26" y="128"/>
                  </a:lnTo>
                  <a:lnTo>
                    <a:pt x="26" y="132"/>
                  </a:lnTo>
                  <a:lnTo>
                    <a:pt x="26" y="136"/>
                  </a:lnTo>
                  <a:lnTo>
                    <a:pt x="28" y="142"/>
                  </a:lnTo>
                  <a:lnTo>
                    <a:pt x="28" y="144"/>
                  </a:lnTo>
                  <a:lnTo>
                    <a:pt x="32" y="146"/>
                  </a:lnTo>
                  <a:lnTo>
                    <a:pt x="36" y="146"/>
                  </a:lnTo>
                  <a:lnTo>
                    <a:pt x="36" y="146"/>
                  </a:lnTo>
                  <a:lnTo>
                    <a:pt x="38" y="146"/>
                  </a:lnTo>
                  <a:lnTo>
                    <a:pt x="38" y="146"/>
                  </a:lnTo>
                  <a:lnTo>
                    <a:pt x="40" y="146"/>
                  </a:lnTo>
                  <a:lnTo>
                    <a:pt x="42" y="144"/>
                  </a:lnTo>
                  <a:lnTo>
                    <a:pt x="46" y="144"/>
                  </a:lnTo>
                  <a:lnTo>
                    <a:pt x="46" y="142"/>
                  </a:lnTo>
                  <a:lnTo>
                    <a:pt x="48" y="142"/>
                  </a:lnTo>
                  <a:lnTo>
                    <a:pt x="48" y="144"/>
                  </a:lnTo>
                  <a:lnTo>
                    <a:pt x="50" y="144"/>
                  </a:lnTo>
                  <a:lnTo>
                    <a:pt x="52" y="146"/>
                  </a:lnTo>
                  <a:lnTo>
                    <a:pt x="54" y="148"/>
                  </a:lnTo>
                  <a:lnTo>
                    <a:pt x="56" y="148"/>
                  </a:lnTo>
                  <a:lnTo>
                    <a:pt x="58" y="148"/>
                  </a:lnTo>
                  <a:lnTo>
                    <a:pt x="62" y="150"/>
                  </a:lnTo>
                  <a:lnTo>
                    <a:pt x="64" y="150"/>
                  </a:lnTo>
                  <a:lnTo>
                    <a:pt x="66" y="150"/>
                  </a:lnTo>
                  <a:lnTo>
                    <a:pt x="68" y="150"/>
                  </a:lnTo>
                  <a:lnTo>
                    <a:pt x="70" y="150"/>
                  </a:lnTo>
                  <a:lnTo>
                    <a:pt x="72" y="150"/>
                  </a:lnTo>
                  <a:lnTo>
                    <a:pt x="74" y="148"/>
                  </a:lnTo>
                  <a:lnTo>
                    <a:pt x="76" y="146"/>
                  </a:lnTo>
                  <a:lnTo>
                    <a:pt x="82" y="144"/>
                  </a:lnTo>
                  <a:lnTo>
                    <a:pt x="84" y="142"/>
                  </a:lnTo>
                  <a:lnTo>
                    <a:pt x="88" y="142"/>
                  </a:lnTo>
                  <a:lnTo>
                    <a:pt x="92" y="138"/>
                  </a:lnTo>
                  <a:lnTo>
                    <a:pt x="96" y="136"/>
                  </a:lnTo>
                  <a:lnTo>
                    <a:pt x="98" y="134"/>
                  </a:lnTo>
                  <a:lnTo>
                    <a:pt x="102" y="132"/>
                  </a:lnTo>
                  <a:lnTo>
                    <a:pt x="102" y="130"/>
                  </a:lnTo>
                  <a:lnTo>
                    <a:pt x="102" y="130"/>
                  </a:lnTo>
                  <a:lnTo>
                    <a:pt x="104" y="130"/>
                  </a:lnTo>
                  <a:lnTo>
                    <a:pt x="104" y="128"/>
                  </a:lnTo>
                  <a:lnTo>
                    <a:pt x="104" y="126"/>
                  </a:lnTo>
                  <a:lnTo>
                    <a:pt x="104" y="124"/>
                  </a:lnTo>
                  <a:lnTo>
                    <a:pt x="104" y="120"/>
                  </a:lnTo>
                  <a:lnTo>
                    <a:pt x="104" y="116"/>
                  </a:lnTo>
                  <a:lnTo>
                    <a:pt x="104" y="114"/>
                  </a:lnTo>
                  <a:lnTo>
                    <a:pt x="100" y="112"/>
                  </a:lnTo>
                  <a:lnTo>
                    <a:pt x="96" y="108"/>
                  </a:lnTo>
                  <a:lnTo>
                    <a:pt x="92" y="104"/>
                  </a:lnTo>
                  <a:lnTo>
                    <a:pt x="90" y="102"/>
                  </a:lnTo>
                  <a:lnTo>
                    <a:pt x="88" y="100"/>
                  </a:lnTo>
                  <a:lnTo>
                    <a:pt x="86" y="98"/>
                  </a:lnTo>
                  <a:lnTo>
                    <a:pt x="84" y="96"/>
                  </a:lnTo>
                  <a:lnTo>
                    <a:pt x="82" y="94"/>
                  </a:lnTo>
                  <a:lnTo>
                    <a:pt x="82" y="92"/>
                  </a:lnTo>
                  <a:lnTo>
                    <a:pt x="82" y="92"/>
                  </a:lnTo>
                  <a:lnTo>
                    <a:pt x="82" y="90"/>
                  </a:lnTo>
                  <a:lnTo>
                    <a:pt x="82" y="90"/>
                  </a:lnTo>
                  <a:lnTo>
                    <a:pt x="82" y="88"/>
                  </a:lnTo>
                  <a:lnTo>
                    <a:pt x="82" y="88"/>
                  </a:lnTo>
                  <a:lnTo>
                    <a:pt x="82" y="86"/>
                  </a:lnTo>
                  <a:lnTo>
                    <a:pt x="82" y="86"/>
                  </a:lnTo>
                  <a:lnTo>
                    <a:pt x="84" y="84"/>
                  </a:lnTo>
                  <a:lnTo>
                    <a:pt x="84" y="84"/>
                  </a:lnTo>
                  <a:lnTo>
                    <a:pt x="86" y="84"/>
                  </a:lnTo>
                  <a:lnTo>
                    <a:pt x="88" y="82"/>
                  </a:lnTo>
                  <a:lnTo>
                    <a:pt x="92" y="80"/>
                  </a:lnTo>
                  <a:lnTo>
                    <a:pt x="96" y="78"/>
                  </a:lnTo>
                  <a:lnTo>
                    <a:pt x="98" y="78"/>
                  </a:lnTo>
                  <a:lnTo>
                    <a:pt x="102" y="76"/>
                  </a:lnTo>
                  <a:lnTo>
                    <a:pt x="106" y="76"/>
                  </a:lnTo>
                  <a:lnTo>
                    <a:pt x="110" y="74"/>
                  </a:lnTo>
                  <a:lnTo>
                    <a:pt x="116" y="74"/>
                  </a:lnTo>
                  <a:lnTo>
                    <a:pt x="122" y="7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7" name="Freeform 295">
              <a:extLst>
                <a:ext uri="{FF2B5EF4-FFF2-40B4-BE49-F238E27FC236}">
                  <a16:creationId xmlns:a16="http://schemas.microsoft.com/office/drawing/2014/main" id="{8BAFB6EF-E873-4423-8039-8D8C60B313CA}"/>
                </a:ext>
              </a:extLst>
            </p:cNvPr>
            <p:cNvSpPr>
              <a:spLocks/>
            </p:cNvSpPr>
            <p:nvPr/>
          </p:nvSpPr>
          <p:spPr bwMode="auto">
            <a:xfrm>
              <a:off x="4594842" y="2941849"/>
              <a:ext cx="228634" cy="180136"/>
            </a:xfrm>
            <a:custGeom>
              <a:avLst/>
              <a:gdLst>
                <a:gd name="T0" fmla="*/ 10 w 132"/>
                <a:gd name="T1" fmla="*/ 74 h 104"/>
                <a:gd name="T2" fmla="*/ 6 w 132"/>
                <a:gd name="T3" fmla="*/ 64 h 104"/>
                <a:gd name="T4" fmla="*/ 2 w 132"/>
                <a:gd name="T5" fmla="*/ 54 h 104"/>
                <a:gd name="T6" fmla="*/ 0 w 132"/>
                <a:gd name="T7" fmla="*/ 48 h 104"/>
                <a:gd name="T8" fmla="*/ 0 w 132"/>
                <a:gd name="T9" fmla="*/ 46 h 104"/>
                <a:gd name="T10" fmla="*/ 0 w 132"/>
                <a:gd name="T11" fmla="*/ 40 h 104"/>
                <a:gd name="T12" fmla="*/ 2 w 132"/>
                <a:gd name="T13" fmla="*/ 30 h 104"/>
                <a:gd name="T14" fmla="*/ 4 w 132"/>
                <a:gd name="T15" fmla="*/ 18 h 104"/>
                <a:gd name="T16" fmla="*/ 14 w 132"/>
                <a:gd name="T17" fmla="*/ 12 h 104"/>
                <a:gd name="T18" fmla="*/ 26 w 132"/>
                <a:gd name="T19" fmla="*/ 6 h 104"/>
                <a:gd name="T20" fmla="*/ 32 w 132"/>
                <a:gd name="T21" fmla="*/ 2 h 104"/>
                <a:gd name="T22" fmla="*/ 38 w 132"/>
                <a:gd name="T23" fmla="*/ 0 h 104"/>
                <a:gd name="T24" fmla="*/ 44 w 132"/>
                <a:gd name="T25" fmla="*/ 0 h 104"/>
                <a:gd name="T26" fmla="*/ 46 w 132"/>
                <a:gd name="T27" fmla="*/ 0 h 104"/>
                <a:gd name="T28" fmla="*/ 48 w 132"/>
                <a:gd name="T29" fmla="*/ 2 h 104"/>
                <a:gd name="T30" fmla="*/ 54 w 132"/>
                <a:gd name="T31" fmla="*/ 4 h 104"/>
                <a:gd name="T32" fmla="*/ 58 w 132"/>
                <a:gd name="T33" fmla="*/ 6 h 104"/>
                <a:gd name="T34" fmla="*/ 62 w 132"/>
                <a:gd name="T35" fmla="*/ 6 h 104"/>
                <a:gd name="T36" fmla="*/ 70 w 132"/>
                <a:gd name="T37" fmla="*/ 4 h 104"/>
                <a:gd name="T38" fmla="*/ 78 w 132"/>
                <a:gd name="T39" fmla="*/ 4 h 104"/>
                <a:gd name="T40" fmla="*/ 88 w 132"/>
                <a:gd name="T41" fmla="*/ 6 h 104"/>
                <a:gd name="T42" fmla="*/ 96 w 132"/>
                <a:gd name="T43" fmla="*/ 10 h 104"/>
                <a:gd name="T44" fmla="*/ 102 w 132"/>
                <a:gd name="T45" fmla="*/ 12 h 104"/>
                <a:gd name="T46" fmla="*/ 106 w 132"/>
                <a:gd name="T47" fmla="*/ 16 h 104"/>
                <a:gd name="T48" fmla="*/ 114 w 132"/>
                <a:gd name="T49" fmla="*/ 22 h 104"/>
                <a:gd name="T50" fmla="*/ 122 w 132"/>
                <a:gd name="T51" fmla="*/ 30 h 104"/>
                <a:gd name="T52" fmla="*/ 120 w 132"/>
                <a:gd name="T53" fmla="*/ 36 h 104"/>
                <a:gd name="T54" fmla="*/ 120 w 132"/>
                <a:gd name="T55" fmla="*/ 42 h 104"/>
                <a:gd name="T56" fmla="*/ 120 w 132"/>
                <a:gd name="T57" fmla="*/ 46 h 104"/>
                <a:gd name="T58" fmla="*/ 120 w 132"/>
                <a:gd name="T59" fmla="*/ 48 h 104"/>
                <a:gd name="T60" fmla="*/ 122 w 132"/>
                <a:gd name="T61" fmla="*/ 50 h 104"/>
                <a:gd name="T62" fmla="*/ 122 w 132"/>
                <a:gd name="T63" fmla="*/ 50 h 104"/>
                <a:gd name="T64" fmla="*/ 124 w 132"/>
                <a:gd name="T65" fmla="*/ 50 h 104"/>
                <a:gd name="T66" fmla="*/ 128 w 132"/>
                <a:gd name="T67" fmla="*/ 50 h 104"/>
                <a:gd name="T68" fmla="*/ 130 w 132"/>
                <a:gd name="T69" fmla="*/ 50 h 104"/>
                <a:gd name="T70" fmla="*/ 130 w 132"/>
                <a:gd name="T71" fmla="*/ 50 h 104"/>
                <a:gd name="T72" fmla="*/ 132 w 132"/>
                <a:gd name="T73" fmla="*/ 52 h 104"/>
                <a:gd name="T74" fmla="*/ 132 w 132"/>
                <a:gd name="T75" fmla="*/ 54 h 104"/>
                <a:gd name="T76" fmla="*/ 132 w 132"/>
                <a:gd name="T77" fmla="*/ 60 h 104"/>
                <a:gd name="T78" fmla="*/ 132 w 132"/>
                <a:gd name="T79" fmla="*/ 64 h 104"/>
                <a:gd name="T80" fmla="*/ 132 w 132"/>
                <a:gd name="T81" fmla="*/ 70 h 104"/>
                <a:gd name="T82" fmla="*/ 132 w 132"/>
                <a:gd name="T83" fmla="*/ 78 h 104"/>
                <a:gd name="T84" fmla="*/ 132 w 132"/>
                <a:gd name="T85" fmla="*/ 86 h 104"/>
                <a:gd name="T86" fmla="*/ 132 w 132"/>
                <a:gd name="T87" fmla="*/ 90 h 104"/>
                <a:gd name="T88" fmla="*/ 132 w 132"/>
                <a:gd name="T89" fmla="*/ 92 h 104"/>
                <a:gd name="T90" fmla="*/ 130 w 132"/>
                <a:gd name="T91" fmla="*/ 94 h 104"/>
                <a:gd name="T92" fmla="*/ 128 w 132"/>
                <a:gd name="T93" fmla="*/ 96 h 104"/>
                <a:gd name="T94" fmla="*/ 122 w 132"/>
                <a:gd name="T95" fmla="*/ 100 h 104"/>
                <a:gd name="T96" fmla="*/ 96 w 132"/>
                <a:gd name="T97" fmla="*/ 102 h 104"/>
                <a:gd name="T98" fmla="*/ 68 w 132"/>
                <a:gd name="T99" fmla="*/ 100 h 104"/>
                <a:gd name="T100" fmla="*/ 58 w 132"/>
                <a:gd name="T101" fmla="*/ 94 h 104"/>
                <a:gd name="T102" fmla="*/ 50 w 132"/>
                <a:gd name="T103" fmla="*/ 92 h 104"/>
                <a:gd name="T104" fmla="*/ 30 w 132"/>
                <a:gd name="T105" fmla="*/ 86 h 104"/>
                <a:gd name="T106" fmla="*/ 24 w 132"/>
                <a:gd name="T107" fmla="*/ 82 h 104"/>
                <a:gd name="T108" fmla="*/ 20 w 132"/>
                <a:gd name="T109" fmla="*/ 80 h 104"/>
                <a:gd name="T110" fmla="*/ 10 w 132"/>
                <a:gd name="T111"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 h="104">
                  <a:moveTo>
                    <a:pt x="10" y="74"/>
                  </a:moveTo>
                  <a:lnTo>
                    <a:pt x="10" y="74"/>
                  </a:lnTo>
                  <a:lnTo>
                    <a:pt x="8" y="70"/>
                  </a:lnTo>
                  <a:lnTo>
                    <a:pt x="6" y="64"/>
                  </a:lnTo>
                  <a:lnTo>
                    <a:pt x="4" y="58"/>
                  </a:lnTo>
                  <a:lnTo>
                    <a:pt x="2" y="54"/>
                  </a:lnTo>
                  <a:lnTo>
                    <a:pt x="2" y="50"/>
                  </a:lnTo>
                  <a:lnTo>
                    <a:pt x="0" y="48"/>
                  </a:lnTo>
                  <a:lnTo>
                    <a:pt x="0" y="48"/>
                  </a:lnTo>
                  <a:lnTo>
                    <a:pt x="0" y="46"/>
                  </a:lnTo>
                  <a:lnTo>
                    <a:pt x="0" y="44"/>
                  </a:lnTo>
                  <a:lnTo>
                    <a:pt x="0" y="40"/>
                  </a:lnTo>
                  <a:lnTo>
                    <a:pt x="2" y="36"/>
                  </a:lnTo>
                  <a:lnTo>
                    <a:pt x="2" y="30"/>
                  </a:lnTo>
                  <a:lnTo>
                    <a:pt x="2" y="22"/>
                  </a:lnTo>
                  <a:lnTo>
                    <a:pt x="4" y="18"/>
                  </a:lnTo>
                  <a:lnTo>
                    <a:pt x="8" y="16"/>
                  </a:lnTo>
                  <a:lnTo>
                    <a:pt x="14" y="12"/>
                  </a:lnTo>
                  <a:lnTo>
                    <a:pt x="20" y="10"/>
                  </a:lnTo>
                  <a:lnTo>
                    <a:pt x="26" y="6"/>
                  </a:lnTo>
                  <a:lnTo>
                    <a:pt x="30" y="4"/>
                  </a:lnTo>
                  <a:lnTo>
                    <a:pt x="32" y="2"/>
                  </a:lnTo>
                  <a:lnTo>
                    <a:pt x="36" y="2"/>
                  </a:lnTo>
                  <a:lnTo>
                    <a:pt x="38" y="0"/>
                  </a:lnTo>
                  <a:lnTo>
                    <a:pt x="42" y="0"/>
                  </a:lnTo>
                  <a:lnTo>
                    <a:pt x="44" y="0"/>
                  </a:lnTo>
                  <a:lnTo>
                    <a:pt x="44" y="0"/>
                  </a:lnTo>
                  <a:lnTo>
                    <a:pt x="46" y="0"/>
                  </a:lnTo>
                  <a:lnTo>
                    <a:pt x="46" y="0"/>
                  </a:lnTo>
                  <a:lnTo>
                    <a:pt x="48" y="2"/>
                  </a:lnTo>
                  <a:lnTo>
                    <a:pt x="50" y="2"/>
                  </a:lnTo>
                  <a:lnTo>
                    <a:pt x="54" y="4"/>
                  </a:lnTo>
                  <a:lnTo>
                    <a:pt x="56" y="6"/>
                  </a:lnTo>
                  <a:lnTo>
                    <a:pt x="58" y="6"/>
                  </a:lnTo>
                  <a:lnTo>
                    <a:pt x="60" y="6"/>
                  </a:lnTo>
                  <a:lnTo>
                    <a:pt x="62" y="6"/>
                  </a:lnTo>
                  <a:lnTo>
                    <a:pt x="66" y="6"/>
                  </a:lnTo>
                  <a:lnTo>
                    <a:pt x="70" y="4"/>
                  </a:lnTo>
                  <a:lnTo>
                    <a:pt x="76" y="4"/>
                  </a:lnTo>
                  <a:lnTo>
                    <a:pt x="78" y="4"/>
                  </a:lnTo>
                  <a:lnTo>
                    <a:pt x="80" y="4"/>
                  </a:lnTo>
                  <a:lnTo>
                    <a:pt x="88" y="6"/>
                  </a:lnTo>
                  <a:lnTo>
                    <a:pt x="92" y="8"/>
                  </a:lnTo>
                  <a:lnTo>
                    <a:pt x="96" y="10"/>
                  </a:lnTo>
                  <a:lnTo>
                    <a:pt x="98" y="10"/>
                  </a:lnTo>
                  <a:lnTo>
                    <a:pt x="102" y="12"/>
                  </a:lnTo>
                  <a:lnTo>
                    <a:pt x="104" y="14"/>
                  </a:lnTo>
                  <a:lnTo>
                    <a:pt x="106" y="16"/>
                  </a:lnTo>
                  <a:lnTo>
                    <a:pt x="110" y="18"/>
                  </a:lnTo>
                  <a:lnTo>
                    <a:pt x="114" y="22"/>
                  </a:lnTo>
                  <a:lnTo>
                    <a:pt x="120" y="28"/>
                  </a:lnTo>
                  <a:lnTo>
                    <a:pt x="122" y="30"/>
                  </a:lnTo>
                  <a:lnTo>
                    <a:pt x="120" y="32"/>
                  </a:lnTo>
                  <a:lnTo>
                    <a:pt x="120" y="36"/>
                  </a:lnTo>
                  <a:lnTo>
                    <a:pt x="120" y="38"/>
                  </a:lnTo>
                  <a:lnTo>
                    <a:pt x="120" y="42"/>
                  </a:lnTo>
                  <a:lnTo>
                    <a:pt x="120" y="44"/>
                  </a:lnTo>
                  <a:lnTo>
                    <a:pt x="120" y="46"/>
                  </a:lnTo>
                  <a:lnTo>
                    <a:pt x="120" y="46"/>
                  </a:lnTo>
                  <a:lnTo>
                    <a:pt x="120" y="48"/>
                  </a:lnTo>
                  <a:lnTo>
                    <a:pt x="120" y="48"/>
                  </a:lnTo>
                  <a:lnTo>
                    <a:pt x="122" y="50"/>
                  </a:lnTo>
                  <a:lnTo>
                    <a:pt x="122" y="50"/>
                  </a:lnTo>
                  <a:lnTo>
                    <a:pt x="122" y="50"/>
                  </a:lnTo>
                  <a:lnTo>
                    <a:pt x="124" y="50"/>
                  </a:lnTo>
                  <a:lnTo>
                    <a:pt x="124" y="50"/>
                  </a:lnTo>
                  <a:lnTo>
                    <a:pt x="126" y="50"/>
                  </a:lnTo>
                  <a:lnTo>
                    <a:pt x="128" y="50"/>
                  </a:lnTo>
                  <a:lnTo>
                    <a:pt x="128" y="50"/>
                  </a:lnTo>
                  <a:lnTo>
                    <a:pt x="130" y="50"/>
                  </a:lnTo>
                  <a:lnTo>
                    <a:pt x="130" y="50"/>
                  </a:lnTo>
                  <a:lnTo>
                    <a:pt x="130" y="50"/>
                  </a:lnTo>
                  <a:lnTo>
                    <a:pt x="130" y="50"/>
                  </a:lnTo>
                  <a:lnTo>
                    <a:pt x="132" y="52"/>
                  </a:lnTo>
                  <a:lnTo>
                    <a:pt x="132" y="52"/>
                  </a:lnTo>
                  <a:lnTo>
                    <a:pt x="132" y="54"/>
                  </a:lnTo>
                  <a:lnTo>
                    <a:pt x="132" y="56"/>
                  </a:lnTo>
                  <a:lnTo>
                    <a:pt x="132" y="60"/>
                  </a:lnTo>
                  <a:lnTo>
                    <a:pt x="132" y="62"/>
                  </a:lnTo>
                  <a:lnTo>
                    <a:pt x="132" y="64"/>
                  </a:lnTo>
                  <a:lnTo>
                    <a:pt x="130" y="66"/>
                  </a:lnTo>
                  <a:lnTo>
                    <a:pt x="132" y="70"/>
                  </a:lnTo>
                  <a:lnTo>
                    <a:pt x="132" y="74"/>
                  </a:lnTo>
                  <a:lnTo>
                    <a:pt x="132" y="78"/>
                  </a:lnTo>
                  <a:lnTo>
                    <a:pt x="132" y="82"/>
                  </a:lnTo>
                  <a:lnTo>
                    <a:pt x="132" y="86"/>
                  </a:lnTo>
                  <a:lnTo>
                    <a:pt x="132" y="88"/>
                  </a:lnTo>
                  <a:lnTo>
                    <a:pt x="132" y="90"/>
                  </a:lnTo>
                  <a:lnTo>
                    <a:pt x="132" y="92"/>
                  </a:lnTo>
                  <a:lnTo>
                    <a:pt x="132" y="92"/>
                  </a:lnTo>
                  <a:lnTo>
                    <a:pt x="132" y="94"/>
                  </a:lnTo>
                  <a:lnTo>
                    <a:pt x="130" y="94"/>
                  </a:lnTo>
                  <a:lnTo>
                    <a:pt x="128" y="96"/>
                  </a:lnTo>
                  <a:lnTo>
                    <a:pt x="128" y="96"/>
                  </a:lnTo>
                  <a:lnTo>
                    <a:pt x="126" y="98"/>
                  </a:lnTo>
                  <a:lnTo>
                    <a:pt x="122" y="100"/>
                  </a:lnTo>
                  <a:lnTo>
                    <a:pt x="120" y="100"/>
                  </a:lnTo>
                  <a:lnTo>
                    <a:pt x="96" y="102"/>
                  </a:lnTo>
                  <a:lnTo>
                    <a:pt x="74" y="104"/>
                  </a:lnTo>
                  <a:lnTo>
                    <a:pt x="68" y="100"/>
                  </a:lnTo>
                  <a:lnTo>
                    <a:pt x="62" y="96"/>
                  </a:lnTo>
                  <a:lnTo>
                    <a:pt x="58" y="94"/>
                  </a:lnTo>
                  <a:lnTo>
                    <a:pt x="54" y="94"/>
                  </a:lnTo>
                  <a:lnTo>
                    <a:pt x="50" y="92"/>
                  </a:lnTo>
                  <a:lnTo>
                    <a:pt x="40" y="90"/>
                  </a:lnTo>
                  <a:lnTo>
                    <a:pt x="30" y="86"/>
                  </a:lnTo>
                  <a:lnTo>
                    <a:pt x="26" y="84"/>
                  </a:lnTo>
                  <a:lnTo>
                    <a:pt x="24" y="82"/>
                  </a:lnTo>
                  <a:lnTo>
                    <a:pt x="22" y="82"/>
                  </a:lnTo>
                  <a:lnTo>
                    <a:pt x="20" y="80"/>
                  </a:lnTo>
                  <a:lnTo>
                    <a:pt x="16" y="78"/>
                  </a:lnTo>
                  <a:lnTo>
                    <a:pt x="10" y="7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8" name="Freeform 296">
              <a:extLst>
                <a:ext uri="{FF2B5EF4-FFF2-40B4-BE49-F238E27FC236}">
                  <a16:creationId xmlns:a16="http://schemas.microsoft.com/office/drawing/2014/main" id="{2184EF38-A2EA-4019-941E-91BC7163FC5F}"/>
                </a:ext>
              </a:extLst>
            </p:cNvPr>
            <p:cNvSpPr>
              <a:spLocks/>
            </p:cNvSpPr>
            <p:nvPr/>
          </p:nvSpPr>
          <p:spPr bwMode="auto">
            <a:xfrm>
              <a:off x="4594842" y="2941849"/>
              <a:ext cx="228634" cy="180136"/>
            </a:xfrm>
            <a:custGeom>
              <a:avLst/>
              <a:gdLst>
                <a:gd name="T0" fmla="*/ 10 w 132"/>
                <a:gd name="T1" fmla="*/ 74 h 104"/>
                <a:gd name="T2" fmla="*/ 6 w 132"/>
                <a:gd name="T3" fmla="*/ 64 h 104"/>
                <a:gd name="T4" fmla="*/ 2 w 132"/>
                <a:gd name="T5" fmla="*/ 54 h 104"/>
                <a:gd name="T6" fmla="*/ 0 w 132"/>
                <a:gd name="T7" fmla="*/ 48 h 104"/>
                <a:gd name="T8" fmla="*/ 0 w 132"/>
                <a:gd name="T9" fmla="*/ 46 h 104"/>
                <a:gd name="T10" fmla="*/ 0 w 132"/>
                <a:gd name="T11" fmla="*/ 40 h 104"/>
                <a:gd name="T12" fmla="*/ 2 w 132"/>
                <a:gd name="T13" fmla="*/ 30 h 104"/>
                <a:gd name="T14" fmla="*/ 4 w 132"/>
                <a:gd name="T15" fmla="*/ 18 h 104"/>
                <a:gd name="T16" fmla="*/ 14 w 132"/>
                <a:gd name="T17" fmla="*/ 12 h 104"/>
                <a:gd name="T18" fmla="*/ 26 w 132"/>
                <a:gd name="T19" fmla="*/ 6 h 104"/>
                <a:gd name="T20" fmla="*/ 32 w 132"/>
                <a:gd name="T21" fmla="*/ 2 h 104"/>
                <a:gd name="T22" fmla="*/ 38 w 132"/>
                <a:gd name="T23" fmla="*/ 0 h 104"/>
                <a:gd name="T24" fmla="*/ 44 w 132"/>
                <a:gd name="T25" fmla="*/ 0 h 104"/>
                <a:gd name="T26" fmla="*/ 46 w 132"/>
                <a:gd name="T27" fmla="*/ 0 h 104"/>
                <a:gd name="T28" fmla="*/ 48 w 132"/>
                <a:gd name="T29" fmla="*/ 2 h 104"/>
                <a:gd name="T30" fmla="*/ 54 w 132"/>
                <a:gd name="T31" fmla="*/ 4 h 104"/>
                <a:gd name="T32" fmla="*/ 58 w 132"/>
                <a:gd name="T33" fmla="*/ 6 h 104"/>
                <a:gd name="T34" fmla="*/ 62 w 132"/>
                <a:gd name="T35" fmla="*/ 6 h 104"/>
                <a:gd name="T36" fmla="*/ 70 w 132"/>
                <a:gd name="T37" fmla="*/ 4 h 104"/>
                <a:gd name="T38" fmla="*/ 78 w 132"/>
                <a:gd name="T39" fmla="*/ 4 h 104"/>
                <a:gd name="T40" fmla="*/ 88 w 132"/>
                <a:gd name="T41" fmla="*/ 6 h 104"/>
                <a:gd name="T42" fmla="*/ 96 w 132"/>
                <a:gd name="T43" fmla="*/ 10 h 104"/>
                <a:gd name="T44" fmla="*/ 102 w 132"/>
                <a:gd name="T45" fmla="*/ 12 h 104"/>
                <a:gd name="T46" fmla="*/ 106 w 132"/>
                <a:gd name="T47" fmla="*/ 16 h 104"/>
                <a:gd name="T48" fmla="*/ 114 w 132"/>
                <a:gd name="T49" fmla="*/ 22 h 104"/>
                <a:gd name="T50" fmla="*/ 122 w 132"/>
                <a:gd name="T51" fmla="*/ 30 h 104"/>
                <a:gd name="T52" fmla="*/ 120 w 132"/>
                <a:gd name="T53" fmla="*/ 36 h 104"/>
                <a:gd name="T54" fmla="*/ 120 w 132"/>
                <a:gd name="T55" fmla="*/ 42 h 104"/>
                <a:gd name="T56" fmla="*/ 120 w 132"/>
                <a:gd name="T57" fmla="*/ 46 h 104"/>
                <a:gd name="T58" fmla="*/ 120 w 132"/>
                <a:gd name="T59" fmla="*/ 48 h 104"/>
                <a:gd name="T60" fmla="*/ 122 w 132"/>
                <a:gd name="T61" fmla="*/ 50 h 104"/>
                <a:gd name="T62" fmla="*/ 122 w 132"/>
                <a:gd name="T63" fmla="*/ 50 h 104"/>
                <a:gd name="T64" fmla="*/ 124 w 132"/>
                <a:gd name="T65" fmla="*/ 50 h 104"/>
                <a:gd name="T66" fmla="*/ 128 w 132"/>
                <a:gd name="T67" fmla="*/ 50 h 104"/>
                <a:gd name="T68" fmla="*/ 130 w 132"/>
                <a:gd name="T69" fmla="*/ 50 h 104"/>
                <a:gd name="T70" fmla="*/ 130 w 132"/>
                <a:gd name="T71" fmla="*/ 50 h 104"/>
                <a:gd name="T72" fmla="*/ 132 w 132"/>
                <a:gd name="T73" fmla="*/ 52 h 104"/>
                <a:gd name="T74" fmla="*/ 132 w 132"/>
                <a:gd name="T75" fmla="*/ 54 h 104"/>
                <a:gd name="T76" fmla="*/ 132 w 132"/>
                <a:gd name="T77" fmla="*/ 60 h 104"/>
                <a:gd name="T78" fmla="*/ 132 w 132"/>
                <a:gd name="T79" fmla="*/ 64 h 104"/>
                <a:gd name="T80" fmla="*/ 132 w 132"/>
                <a:gd name="T81" fmla="*/ 70 h 104"/>
                <a:gd name="T82" fmla="*/ 132 w 132"/>
                <a:gd name="T83" fmla="*/ 78 h 104"/>
                <a:gd name="T84" fmla="*/ 132 w 132"/>
                <a:gd name="T85" fmla="*/ 86 h 104"/>
                <a:gd name="T86" fmla="*/ 132 w 132"/>
                <a:gd name="T87" fmla="*/ 90 h 104"/>
                <a:gd name="T88" fmla="*/ 132 w 132"/>
                <a:gd name="T89" fmla="*/ 92 h 104"/>
                <a:gd name="T90" fmla="*/ 130 w 132"/>
                <a:gd name="T91" fmla="*/ 94 h 104"/>
                <a:gd name="T92" fmla="*/ 128 w 132"/>
                <a:gd name="T93" fmla="*/ 96 h 104"/>
                <a:gd name="T94" fmla="*/ 122 w 132"/>
                <a:gd name="T95" fmla="*/ 100 h 104"/>
                <a:gd name="T96" fmla="*/ 96 w 132"/>
                <a:gd name="T97" fmla="*/ 102 h 104"/>
                <a:gd name="T98" fmla="*/ 68 w 132"/>
                <a:gd name="T99" fmla="*/ 100 h 104"/>
                <a:gd name="T100" fmla="*/ 58 w 132"/>
                <a:gd name="T101" fmla="*/ 94 h 104"/>
                <a:gd name="T102" fmla="*/ 50 w 132"/>
                <a:gd name="T103" fmla="*/ 92 h 104"/>
                <a:gd name="T104" fmla="*/ 30 w 132"/>
                <a:gd name="T105" fmla="*/ 86 h 104"/>
                <a:gd name="T106" fmla="*/ 24 w 132"/>
                <a:gd name="T107" fmla="*/ 82 h 104"/>
                <a:gd name="T108" fmla="*/ 20 w 132"/>
                <a:gd name="T109" fmla="*/ 80 h 104"/>
                <a:gd name="T110" fmla="*/ 10 w 132"/>
                <a:gd name="T111"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 h="104">
                  <a:moveTo>
                    <a:pt x="10" y="74"/>
                  </a:moveTo>
                  <a:lnTo>
                    <a:pt x="10" y="74"/>
                  </a:lnTo>
                  <a:lnTo>
                    <a:pt x="8" y="70"/>
                  </a:lnTo>
                  <a:lnTo>
                    <a:pt x="6" y="64"/>
                  </a:lnTo>
                  <a:lnTo>
                    <a:pt x="4" y="58"/>
                  </a:lnTo>
                  <a:lnTo>
                    <a:pt x="2" y="54"/>
                  </a:lnTo>
                  <a:lnTo>
                    <a:pt x="2" y="50"/>
                  </a:lnTo>
                  <a:lnTo>
                    <a:pt x="0" y="48"/>
                  </a:lnTo>
                  <a:lnTo>
                    <a:pt x="0" y="48"/>
                  </a:lnTo>
                  <a:lnTo>
                    <a:pt x="0" y="46"/>
                  </a:lnTo>
                  <a:lnTo>
                    <a:pt x="0" y="44"/>
                  </a:lnTo>
                  <a:lnTo>
                    <a:pt x="0" y="40"/>
                  </a:lnTo>
                  <a:lnTo>
                    <a:pt x="2" y="36"/>
                  </a:lnTo>
                  <a:lnTo>
                    <a:pt x="2" y="30"/>
                  </a:lnTo>
                  <a:lnTo>
                    <a:pt x="2" y="22"/>
                  </a:lnTo>
                  <a:lnTo>
                    <a:pt x="4" y="18"/>
                  </a:lnTo>
                  <a:lnTo>
                    <a:pt x="8" y="16"/>
                  </a:lnTo>
                  <a:lnTo>
                    <a:pt x="14" y="12"/>
                  </a:lnTo>
                  <a:lnTo>
                    <a:pt x="20" y="10"/>
                  </a:lnTo>
                  <a:lnTo>
                    <a:pt x="26" y="6"/>
                  </a:lnTo>
                  <a:lnTo>
                    <a:pt x="30" y="4"/>
                  </a:lnTo>
                  <a:lnTo>
                    <a:pt x="32" y="2"/>
                  </a:lnTo>
                  <a:lnTo>
                    <a:pt x="36" y="2"/>
                  </a:lnTo>
                  <a:lnTo>
                    <a:pt x="38" y="0"/>
                  </a:lnTo>
                  <a:lnTo>
                    <a:pt x="42" y="0"/>
                  </a:lnTo>
                  <a:lnTo>
                    <a:pt x="44" y="0"/>
                  </a:lnTo>
                  <a:lnTo>
                    <a:pt x="44" y="0"/>
                  </a:lnTo>
                  <a:lnTo>
                    <a:pt x="46" y="0"/>
                  </a:lnTo>
                  <a:lnTo>
                    <a:pt x="46" y="0"/>
                  </a:lnTo>
                  <a:lnTo>
                    <a:pt x="48" y="2"/>
                  </a:lnTo>
                  <a:lnTo>
                    <a:pt x="50" y="2"/>
                  </a:lnTo>
                  <a:lnTo>
                    <a:pt x="54" y="4"/>
                  </a:lnTo>
                  <a:lnTo>
                    <a:pt x="56" y="6"/>
                  </a:lnTo>
                  <a:lnTo>
                    <a:pt x="58" y="6"/>
                  </a:lnTo>
                  <a:lnTo>
                    <a:pt x="60" y="6"/>
                  </a:lnTo>
                  <a:lnTo>
                    <a:pt x="62" y="6"/>
                  </a:lnTo>
                  <a:lnTo>
                    <a:pt x="66" y="6"/>
                  </a:lnTo>
                  <a:lnTo>
                    <a:pt x="70" y="4"/>
                  </a:lnTo>
                  <a:lnTo>
                    <a:pt x="76" y="4"/>
                  </a:lnTo>
                  <a:lnTo>
                    <a:pt x="78" y="4"/>
                  </a:lnTo>
                  <a:lnTo>
                    <a:pt x="80" y="4"/>
                  </a:lnTo>
                  <a:lnTo>
                    <a:pt x="88" y="6"/>
                  </a:lnTo>
                  <a:lnTo>
                    <a:pt x="92" y="8"/>
                  </a:lnTo>
                  <a:lnTo>
                    <a:pt x="96" y="10"/>
                  </a:lnTo>
                  <a:lnTo>
                    <a:pt x="98" y="10"/>
                  </a:lnTo>
                  <a:lnTo>
                    <a:pt x="102" y="12"/>
                  </a:lnTo>
                  <a:lnTo>
                    <a:pt x="104" y="14"/>
                  </a:lnTo>
                  <a:lnTo>
                    <a:pt x="106" y="16"/>
                  </a:lnTo>
                  <a:lnTo>
                    <a:pt x="110" y="18"/>
                  </a:lnTo>
                  <a:lnTo>
                    <a:pt x="114" y="22"/>
                  </a:lnTo>
                  <a:lnTo>
                    <a:pt x="120" y="28"/>
                  </a:lnTo>
                  <a:lnTo>
                    <a:pt x="122" y="30"/>
                  </a:lnTo>
                  <a:lnTo>
                    <a:pt x="120" y="32"/>
                  </a:lnTo>
                  <a:lnTo>
                    <a:pt x="120" y="36"/>
                  </a:lnTo>
                  <a:lnTo>
                    <a:pt x="120" y="38"/>
                  </a:lnTo>
                  <a:lnTo>
                    <a:pt x="120" y="42"/>
                  </a:lnTo>
                  <a:lnTo>
                    <a:pt x="120" y="44"/>
                  </a:lnTo>
                  <a:lnTo>
                    <a:pt x="120" y="46"/>
                  </a:lnTo>
                  <a:lnTo>
                    <a:pt x="120" y="46"/>
                  </a:lnTo>
                  <a:lnTo>
                    <a:pt x="120" y="48"/>
                  </a:lnTo>
                  <a:lnTo>
                    <a:pt x="120" y="48"/>
                  </a:lnTo>
                  <a:lnTo>
                    <a:pt x="122" y="50"/>
                  </a:lnTo>
                  <a:lnTo>
                    <a:pt x="122" y="50"/>
                  </a:lnTo>
                  <a:lnTo>
                    <a:pt x="122" y="50"/>
                  </a:lnTo>
                  <a:lnTo>
                    <a:pt x="124" y="50"/>
                  </a:lnTo>
                  <a:lnTo>
                    <a:pt x="124" y="50"/>
                  </a:lnTo>
                  <a:lnTo>
                    <a:pt x="126" y="50"/>
                  </a:lnTo>
                  <a:lnTo>
                    <a:pt x="128" y="50"/>
                  </a:lnTo>
                  <a:lnTo>
                    <a:pt x="128" y="50"/>
                  </a:lnTo>
                  <a:lnTo>
                    <a:pt x="130" y="50"/>
                  </a:lnTo>
                  <a:lnTo>
                    <a:pt x="130" y="50"/>
                  </a:lnTo>
                  <a:lnTo>
                    <a:pt x="130" y="50"/>
                  </a:lnTo>
                  <a:lnTo>
                    <a:pt x="130" y="50"/>
                  </a:lnTo>
                  <a:lnTo>
                    <a:pt x="132" y="52"/>
                  </a:lnTo>
                  <a:lnTo>
                    <a:pt x="132" y="52"/>
                  </a:lnTo>
                  <a:lnTo>
                    <a:pt x="132" y="54"/>
                  </a:lnTo>
                  <a:lnTo>
                    <a:pt x="132" y="56"/>
                  </a:lnTo>
                  <a:lnTo>
                    <a:pt x="132" y="60"/>
                  </a:lnTo>
                  <a:lnTo>
                    <a:pt x="132" y="62"/>
                  </a:lnTo>
                  <a:lnTo>
                    <a:pt x="132" y="64"/>
                  </a:lnTo>
                  <a:lnTo>
                    <a:pt x="130" y="66"/>
                  </a:lnTo>
                  <a:lnTo>
                    <a:pt x="132" y="70"/>
                  </a:lnTo>
                  <a:lnTo>
                    <a:pt x="132" y="74"/>
                  </a:lnTo>
                  <a:lnTo>
                    <a:pt x="132" y="78"/>
                  </a:lnTo>
                  <a:lnTo>
                    <a:pt x="132" y="82"/>
                  </a:lnTo>
                  <a:lnTo>
                    <a:pt x="132" y="86"/>
                  </a:lnTo>
                  <a:lnTo>
                    <a:pt x="132" y="88"/>
                  </a:lnTo>
                  <a:lnTo>
                    <a:pt x="132" y="90"/>
                  </a:lnTo>
                  <a:lnTo>
                    <a:pt x="132" y="92"/>
                  </a:lnTo>
                  <a:lnTo>
                    <a:pt x="132" y="92"/>
                  </a:lnTo>
                  <a:lnTo>
                    <a:pt x="132" y="94"/>
                  </a:lnTo>
                  <a:lnTo>
                    <a:pt x="130" y="94"/>
                  </a:lnTo>
                  <a:lnTo>
                    <a:pt x="128" y="96"/>
                  </a:lnTo>
                  <a:lnTo>
                    <a:pt x="128" y="96"/>
                  </a:lnTo>
                  <a:lnTo>
                    <a:pt x="126" y="98"/>
                  </a:lnTo>
                  <a:lnTo>
                    <a:pt x="122" y="100"/>
                  </a:lnTo>
                  <a:lnTo>
                    <a:pt x="120" y="100"/>
                  </a:lnTo>
                  <a:lnTo>
                    <a:pt x="96" y="102"/>
                  </a:lnTo>
                  <a:lnTo>
                    <a:pt x="74" y="104"/>
                  </a:lnTo>
                  <a:lnTo>
                    <a:pt x="68" y="100"/>
                  </a:lnTo>
                  <a:lnTo>
                    <a:pt x="62" y="96"/>
                  </a:lnTo>
                  <a:lnTo>
                    <a:pt x="58" y="94"/>
                  </a:lnTo>
                  <a:lnTo>
                    <a:pt x="54" y="94"/>
                  </a:lnTo>
                  <a:lnTo>
                    <a:pt x="50" y="92"/>
                  </a:lnTo>
                  <a:lnTo>
                    <a:pt x="40" y="90"/>
                  </a:lnTo>
                  <a:lnTo>
                    <a:pt x="30" y="86"/>
                  </a:lnTo>
                  <a:lnTo>
                    <a:pt x="26" y="84"/>
                  </a:lnTo>
                  <a:lnTo>
                    <a:pt x="24" y="82"/>
                  </a:lnTo>
                  <a:lnTo>
                    <a:pt x="22" y="82"/>
                  </a:lnTo>
                  <a:lnTo>
                    <a:pt x="20" y="80"/>
                  </a:lnTo>
                  <a:lnTo>
                    <a:pt x="16" y="78"/>
                  </a:lnTo>
                  <a:lnTo>
                    <a:pt x="10" y="7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9" name="Freeform 297">
              <a:extLst>
                <a:ext uri="{FF2B5EF4-FFF2-40B4-BE49-F238E27FC236}">
                  <a16:creationId xmlns:a16="http://schemas.microsoft.com/office/drawing/2014/main" id="{B8501AA5-7909-47DC-8D30-A426146904B2}"/>
                </a:ext>
              </a:extLst>
            </p:cNvPr>
            <p:cNvSpPr>
              <a:spLocks/>
            </p:cNvSpPr>
            <p:nvPr/>
          </p:nvSpPr>
          <p:spPr bwMode="auto">
            <a:xfrm>
              <a:off x="4594842" y="2941849"/>
              <a:ext cx="228634" cy="180136"/>
            </a:xfrm>
            <a:custGeom>
              <a:avLst/>
              <a:gdLst>
                <a:gd name="T0" fmla="*/ 10 w 132"/>
                <a:gd name="T1" fmla="*/ 74 h 104"/>
                <a:gd name="T2" fmla="*/ 6 w 132"/>
                <a:gd name="T3" fmla="*/ 64 h 104"/>
                <a:gd name="T4" fmla="*/ 2 w 132"/>
                <a:gd name="T5" fmla="*/ 54 h 104"/>
                <a:gd name="T6" fmla="*/ 0 w 132"/>
                <a:gd name="T7" fmla="*/ 48 h 104"/>
                <a:gd name="T8" fmla="*/ 0 w 132"/>
                <a:gd name="T9" fmla="*/ 46 h 104"/>
                <a:gd name="T10" fmla="*/ 0 w 132"/>
                <a:gd name="T11" fmla="*/ 40 h 104"/>
                <a:gd name="T12" fmla="*/ 2 w 132"/>
                <a:gd name="T13" fmla="*/ 30 h 104"/>
                <a:gd name="T14" fmla="*/ 4 w 132"/>
                <a:gd name="T15" fmla="*/ 18 h 104"/>
                <a:gd name="T16" fmla="*/ 14 w 132"/>
                <a:gd name="T17" fmla="*/ 12 h 104"/>
                <a:gd name="T18" fmla="*/ 26 w 132"/>
                <a:gd name="T19" fmla="*/ 6 h 104"/>
                <a:gd name="T20" fmla="*/ 32 w 132"/>
                <a:gd name="T21" fmla="*/ 2 h 104"/>
                <a:gd name="T22" fmla="*/ 38 w 132"/>
                <a:gd name="T23" fmla="*/ 0 h 104"/>
                <a:gd name="T24" fmla="*/ 44 w 132"/>
                <a:gd name="T25" fmla="*/ 0 h 104"/>
                <a:gd name="T26" fmla="*/ 46 w 132"/>
                <a:gd name="T27" fmla="*/ 0 h 104"/>
                <a:gd name="T28" fmla="*/ 48 w 132"/>
                <a:gd name="T29" fmla="*/ 2 h 104"/>
                <a:gd name="T30" fmla="*/ 54 w 132"/>
                <a:gd name="T31" fmla="*/ 4 h 104"/>
                <a:gd name="T32" fmla="*/ 58 w 132"/>
                <a:gd name="T33" fmla="*/ 6 h 104"/>
                <a:gd name="T34" fmla="*/ 62 w 132"/>
                <a:gd name="T35" fmla="*/ 6 h 104"/>
                <a:gd name="T36" fmla="*/ 70 w 132"/>
                <a:gd name="T37" fmla="*/ 4 h 104"/>
                <a:gd name="T38" fmla="*/ 78 w 132"/>
                <a:gd name="T39" fmla="*/ 4 h 104"/>
                <a:gd name="T40" fmla="*/ 88 w 132"/>
                <a:gd name="T41" fmla="*/ 6 h 104"/>
                <a:gd name="T42" fmla="*/ 96 w 132"/>
                <a:gd name="T43" fmla="*/ 10 h 104"/>
                <a:gd name="T44" fmla="*/ 102 w 132"/>
                <a:gd name="T45" fmla="*/ 12 h 104"/>
                <a:gd name="T46" fmla="*/ 106 w 132"/>
                <a:gd name="T47" fmla="*/ 16 h 104"/>
                <a:gd name="T48" fmla="*/ 114 w 132"/>
                <a:gd name="T49" fmla="*/ 22 h 104"/>
                <a:gd name="T50" fmla="*/ 122 w 132"/>
                <a:gd name="T51" fmla="*/ 30 h 104"/>
                <a:gd name="T52" fmla="*/ 120 w 132"/>
                <a:gd name="T53" fmla="*/ 36 h 104"/>
                <a:gd name="T54" fmla="*/ 120 w 132"/>
                <a:gd name="T55" fmla="*/ 42 h 104"/>
                <a:gd name="T56" fmla="*/ 120 w 132"/>
                <a:gd name="T57" fmla="*/ 46 h 104"/>
                <a:gd name="T58" fmla="*/ 120 w 132"/>
                <a:gd name="T59" fmla="*/ 48 h 104"/>
                <a:gd name="T60" fmla="*/ 122 w 132"/>
                <a:gd name="T61" fmla="*/ 50 h 104"/>
                <a:gd name="T62" fmla="*/ 122 w 132"/>
                <a:gd name="T63" fmla="*/ 50 h 104"/>
                <a:gd name="T64" fmla="*/ 124 w 132"/>
                <a:gd name="T65" fmla="*/ 50 h 104"/>
                <a:gd name="T66" fmla="*/ 128 w 132"/>
                <a:gd name="T67" fmla="*/ 50 h 104"/>
                <a:gd name="T68" fmla="*/ 130 w 132"/>
                <a:gd name="T69" fmla="*/ 50 h 104"/>
                <a:gd name="T70" fmla="*/ 130 w 132"/>
                <a:gd name="T71" fmla="*/ 50 h 104"/>
                <a:gd name="T72" fmla="*/ 132 w 132"/>
                <a:gd name="T73" fmla="*/ 52 h 104"/>
                <a:gd name="T74" fmla="*/ 132 w 132"/>
                <a:gd name="T75" fmla="*/ 54 h 104"/>
                <a:gd name="T76" fmla="*/ 132 w 132"/>
                <a:gd name="T77" fmla="*/ 60 h 104"/>
                <a:gd name="T78" fmla="*/ 132 w 132"/>
                <a:gd name="T79" fmla="*/ 64 h 104"/>
                <a:gd name="T80" fmla="*/ 132 w 132"/>
                <a:gd name="T81" fmla="*/ 70 h 104"/>
                <a:gd name="T82" fmla="*/ 132 w 132"/>
                <a:gd name="T83" fmla="*/ 78 h 104"/>
                <a:gd name="T84" fmla="*/ 132 w 132"/>
                <a:gd name="T85" fmla="*/ 86 h 104"/>
                <a:gd name="T86" fmla="*/ 132 w 132"/>
                <a:gd name="T87" fmla="*/ 90 h 104"/>
                <a:gd name="T88" fmla="*/ 132 w 132"/>
                <a:gd name="T89" fmla="*/ 92 h 104"/>
                <a:gd name="T90" fmla="*/ 130 w 132"/>
                <a:gd name="T91" fmla="*/ 94 h 104"/>
                <a:gd name="T92" fmla="*/ 128 w 132"/>
                <a:gd name="T93" fmla="*/ 96 h 104"/>
                <a:gd name="T94" fmla="*/ 122 w 132"/>
                <a:gd name="T95" fmla="*/ 100 h 104"/>
                <a:gd name="T96" fmla="*/ 96 w 132"/>
                <a:gd name="T97" fmla="*/ 102 h 104"/>
                <a:gd name="T98" fmla="*/ 68 w 132"/>
                <a:gd name="T99" fmla="*/ 100 h 104"/>
                <a:gd name="T100" fmla="*/ 58 w 132"/>
                <a:gd name="T101" fmla="*/ 94 h 104"/>
                <a:gd name="T102" fmla="*/ 50 w 132"/>
                <a:gd name="T103" fmla="*/ 92 h 104"/>
                <a:gd name="T104" fmla="*/ 30 w 132"/>
                <a:gd name="T105" fmla="*/ 86 h 104"/>
                <a:gd name="T106" fmla="*/ 24 w 132"/>
                <a:gd name="T107" fmla="*/ 82 h 104"/>
                <a:gd name="T108" fmla="*/ 20 w 132"/>
                <a:gd name="T109" fmla="*/ 80 h 104"/>
                <a:gd name="T110" fmla="*/ 10 w 132"/>
                <a:gd name="T111"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 h="104">
                  <a:moveTo>
                    <a:pt x="10" y="74"/>
                  </a:moveTo>
                  <a:lnTo>
                    <a:pt x="10" y="74"/>
                  </a:lnTo>
                  <a:lnTo>
                    <a:pt x="8" y="70"/>
                  </a:lnTo>
                  <a:lnTo>
                    <a:pt x="6" y="64"/>
                  </a:lnTo>
                  <a:lnTo>
                    <a:pt x="4" y="58"/>
                  </a:lnTo>
                  <a:lnTo>
                    <a:pt x="2" y="54"/>
                  </a:lnTo>
                  <a:lnTo>
                    <a:pt x="2" y="50"/>
                  </a:lnTo>
                  <a:lnTo>
                    <a:pt x="0" y="48"/>
                  </a:lnTo>
                  <a:lnTo>
                    <a:pt x="0" y="48"/>
                  </a:lnTo>
                  <a:lnTo>
                    <a:pt x="0" y="46"/>
                  </a:lnTo>
                  <a:lnTo>
                    <a:pt x="0" y="44"/>
                  </a:lnTo>
                  <a:lnTo>
                    <a:pt x="0" y="40"/>
                  </a:lnTo>
                  <a:lnTo>
                    <a:pt x="2" y="36"/>
                  </a:lnTo>
                  <a:lnTo>
                    <a:pt x="2" y="30"/>
                  </a:lnTo>
                  <a:lnTo>
                    <a:pt x="2" y="22"/>
                  </a:lnTo>
                  <a:lnTo>
                    <a:pt x="4" y="18"/>
                  </a:lnTo>
                  <a:lnTo>
                    <a:pt x="8" y="16"/>
                  </a:lnTo>
                  <a:lnTo>
                    <a:pt x="14" y="12"/>
                  </a:lnTo>
                  <a:lnTo>
                    <a:pt x="20" y="10"/>
                  </a:lnTo>
                  <a:lnTo>
                    <a:pt x="26" y="6"/>
                  </a:lnTo>
                  <a:lnTo>
                    <a:pt x="30" y="4"/>
                  </a:lnTo>
                  <a:lnTo>
                    <a:pt x="32" y="2"/>
                  </a:lnTo>
                  <a:lnTo>
                    <a:pt x="36" y="2"/>
                  </a:lnTo>
                  <a:lnTo>
                    <a:pt x="38" y="0"/>
                  </a:lnTo>
                  <a:lnTo>
                    <a:pt x="42" y="0"/>
                  </a:lnTo>
                  <a:lnTo>
                    <a:pt x="44" y="0"/>
                  </a:lnTo>
                  <a:lnTo>
                    <a:pt x="44" y="0"/>
                  </a:lnTo>
                  <a:lnTo>
                    <a:pt x="46" y="0"/>
                  </a:lnTo>
                  <a:lnTo>
                    <a:pt x="46" y="0"/>
                  </a:lnTo>
                  <a:lnTo>
                    <a:pt x="48" y="2"/>
                  </a:lnTo>
                  <a:lnTo>
                    <a:pt x="50" y="2"/>
                  </a:lnTo>
                  <a:lnTo>
                    <a:pt x="54" y="4"/>
                  </a:lnTo>
                  <a:lnTo>
                    <a:pt x="56" y="6"/>
                  </a:lnTo>
                  <a:lnTo>
                    <a:pt x="58" y="6"/>
                  </a:lnTo>
                  <a:lnTo>
                    <a:pt x="60" y="6"/>
                  </a:lnTo>
                  <a:lnTo>
                    <a:pt x="62" y="6"/>
                  </a:lnTo>
                  <a:lnTo>
                    <a:pt x="66" y="6"/>
                  </a:lnTo>
                  <a:lnTo>
                    <a:pt x="70" y="4"/>
                  </a:lnTo>
                  <a:lnTo>
                    <a:pt x="76" y="4"/>
                  </a:lnTo>
                  <a:lnTo>
                    <a:pt x="78" y="4"/>
                  </a:lnTo>
                  <a:lnTo>
                    <a:pt x="80" y="4"/>
                  </a:lnTo>
                  <a:lnTo>
                    <a:pt x="88" y="6"/>
                  </a:lnTo>
                  <a:lnTo>
                    <a:pt x="92" y="8"/>
                  </a:lnTo>
                  <a:lnTo>
                    <a:pt x="96" y="10"/>
                  </a:lnTo>
                  <a:lnTo>
                    <a:pt x="98" y="10"/>
                  </a:lnTo>
                  <a:lnTo>
                    <a:pt x="102" y="12"/>
                  </a:lnTo>
                  <a:lnTo>
                    <a:pt x="104" y="14"/>
                  </a:lnTo>
                  <a:lnTo>
                    <a:pt x="106" y="16"/>
                  </a:lnTo>
                  <a:lnTo>
                    <a:pt x="110" y="18"/>
                  </a:lnTo>
                  <a:lnTo>
                    <a:pt x="114" y="22"/>
                  </a:lnTo>
                  <a:lnTo>
                    <a:pt x="120" y="28"/>
                  </a:lnTo>
                  <a:lnTo>
                    <a:pt x="122" y="30"/>
                  </a:lnTo>
                  <a:lnTo>
                    <a:pt x="120" y="32"/>
                  </a:lnTo>
                  <a:lnTo>
                    <a:pt x="120" y="36"/>
                  </a:lnTo>
                  <a:lnTo>
                    <a:pt x="120" y="38"/>
                  </a:lnTo>
                  <a:lnTo>
                    <a:pt x="120" y="42"/>
                  </a:lnTo>
                  <a:lnTo>
                    <a:pt x="120" y="44"/>
                  </a:lnTo>
                  <a:lnTo>
                    <a:pt x="120" y="46"/>
                  </a:lnTo>
                  <a:lnTo>
                    <a:pt x="120" y="46"/>
                  </a:lnTo>
                  <a:lnTo>
                    <a:pt x="120" y="48"/>
                  </a:lnTo>
                  <a:lnTo>
                    <a:pt x="120" y="48"/>
                  </a:lnTo>
                  <a:lnTo>
                    <a:pt x="122" y="50"/>
                  </a:lnTo>
                  <a:lnTo>
                    <a:pt x="122" y="50"/>
                  </a:lnTo>
                  <a:lnTo>
                    <a:pt x="122" y="50"/>
                  </a:lnTo>
                  <a:lnTo>
                    <a:pt x="124" y="50"/>
                  </a:lnTo>
                  <a:lnTo>
                    <a:pt x="124" y="50"/>
                  </a:lnTo>
                  <a:lnTo>
                    <a:pt x="126" y="50"/>
                  </a:lnTo>
                  <a:lnTo>
                    <a:pt x="128" y="50"/>
                  </a:lnTo>
                  <a:lnTo>
                    <a:pt x="128" y="50"/>
                  </a:lnTo>
                  <a:lnTo>
                    <a:pt x="130" y="50"/>
                  </a:lnTo>
                  <a:lnTo>
                    <a:pt x="130" y="50"/>
                  </a:lnTo>
                  <a:lnTo>
                    <a:pt x="130" y="50"/>
                  </a:lnTo>
                  <a:lnTo>
                    <a:pt x="130" y="50"/>
                  </a:lnTo>
                  <a:lnTo>
                    <a:pt x="132" y="52"/>
                  </a:lnTo>
                  <a:lnTo>
                    <a:pt x="132" y="52"/>
                  </a:lnTo>
                  <a:lnTo>
                    <a:pt x="132" y="54"/>
                  </a:lnTo>
                  <a:lnTo>
                    <a:pt x="132" y="56"/>
                  </a:lnTo>
                  <a:lnTo>
                    <a:pt x="132" y="60"/>
                  </a:lnTo>
                  <a:lnTo>
                    <a:pt x="132" y="62"/>
                  </a:lnTo>
                  <a:lnTo>
                    <a:pt x="132" y="64"/>
                  </a:lnTo>
                  <a:lnTo>
                    <a:pt x="130" y="66"/>
                  </a:lnTo>
                  <a:lnTo>
                    <a:pt x="132" y="70"/>
                  </a:lnTo>
                  <a:lnTo>
                    <a:pt x="132" y="74"/>
                  </a:lnTo>
                  <a:lnTo>
                    <a:pt x="132" y="78"/>
                  </a:lnTo>
                  <a:lnTo>
                    <a:pt x="132" y="82"/>
                  </a:lnTo>
                  <a:lnTo>
                    <a:pt x="132" y="86"/>
                  </a:lnTo>
                  <a:lnTo>
                    <a:pt x="132" y="88"/>
                  </a:lnTo>
                  <a:lnTo>
                    <a:pt x="132" y="90"/>
                  </a:lnTo>
                  <a:lnTo>
                    <a:pt x="132" y="92"/>
                  </a:lnTo>
                  <a:lnTo>
                    <a:pt x="132" y="92"/>
                  </a:lnTo>
                  <a:lnTo>
                    <a:pt x="132" y="94"/>
                  </a:lnTo>
                  <a:lnTo>
                    <a:pt x="130" y="94"/>
                  </a:lnTo>
                  <a:lnTo>
                    <a:pt x="128" y="96"/>
                  </a:lnTo>
                  <a:lnTo>
                    <a:pt x="128" y="96"/>
                  </a:lnTo>
                  <a:lnTo>
                    <a:pt x="126" y="98"/>
                  </a:lnTo>
                  <a:lnTo>
                    <a:pt x="122" y="100"/>
                  </a:lnTo>
                  <a:lnTo>
                    <a:pt x="120" y="100"/>
                  </a:lnTo>
                  <a:lnTo>
                    <a:pt x="96" y="102"/>
                  </a:lnTo>
                  <a:lnTo>
                    <a:pt x="74" y="104"/>
                  </a:lnTo>
                  <a:lnTo>
                    <a:pt x="68" y="100"/>
                  </a:lnTo>
                  <a:lnTo>
                    <a:pt x="62" y="96"/>
                  </a:lnTo>
                  <a:lnTo>
                    <a:pt x="58" y="94"/>
                  </a:lnTo>
                  <a:lnTo>
                    <a:pt x="54" y="94"/>
                  </a:lnTo>
                  <a:lnTo>
                    <a:pt x="50" y="92"/>
                  </a:lnTo>
                  <a:lnTo>
                    <a:pt x="40" y="90"/>
                  </a:lnTo>
                  <a:lnTo>
                    <a:pt x="30" y="86"/>
                  </a:lnTo>
                  <a:lnTo>
                    <a:pt x="26" y="84"/>
                  </a:lnTo>
                  <a:lnTo>
                    <a:pt x="24" y="82"/>
                  </a:lnTo>
                  <a:lnTo>
                    <a:pt x="22" y="82"/>
                  </a:lnTo>
                  <a:lnTo>
                    <a:pt x="20" y="80"/>
                  </a:lnTo>
                  <a:lnTo>
                    <a:pt x="16" y="78"/>
                  </a:lnTo>
                  <a:lnTo>
                    <a:pt x="10" y="7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0" name="Freeform 298">
              <a:extLst>
                <a:ext uri="{FF2B5EF4-FFF2-40B4-BE49-F238E27FC236}">
                  <a16:creationId xmlns:a16="http://schemas.microsoft.com/office/drawing/2014/main" id="{B9ECAB4C-286E-4BEC-8394-569611BED274}"/>
                </a:ext>
              </a:extLst>
            </p:cNvPr>
            <p:cNvSpPr>
              <a:spLocks/>
            </p:cNvSpPr>
            <p:nvPr/>
          </p:nvSpPr>
          <p:spPr bwMode="auto">
            <a:xfrm>
              <a:off x="4594842" y="2941849"/>
              <a:ext cx="228634" cy="180136"/>
            </a:xfrm>
            <a:custGeom>
              <a:avLst/>
              <a:gdLst>
                <a:gd name="T0" fmla="*/ 10 w 132"/>
                <a:gd name="T1" fmla="*/ 74 h 104"/>
                <a:gd name="T2" fmla="*/ 6 w 132"/>
                <a:gd name="T3" fmla="*/ 64 h 104"/>
                <a:gd name="T4" fmla="*/ 2 w 132"/>
                <a:gd name="T5" fmla="*/ 54 h 104"/>
                <a:gd name="T6" fmla="*/ 0 w 132"/>
                <a:gd name="T7" fmla="*/ 48 h 104"/>
                <a:gd name="T8" fmla="*/ 0 w 132"/>
                <a:gd name="T9" fmla="*/ 46 h 104"/>
                <a:gd name="T10" fmla="*/ 0 w 132"/>
                <a:gd name="T11" fmla="*/ 40 h 104"/>
                <a:gd name="T12" fmla="*/ 2 w 132"/>
                <a:gd name="T13" fmla="*/ 30 h 104"/>
                <a:gd name="T14" fmla="*/ 4 w 132"/>
                <a:gd name="T15" fmla="*/ 18 h 104"/>
                <a:gd name="T16" fmla="*/ 14 w 132"/>
                <a:gd name="T17" fmla="*/ 12 h 104"/>
                <a:gd name="T18" fmla="*/ 26 w 132"/>
                <a:gd name="T19" fmla="*/ 6 h 104"/>
                <a:gd name="T20" fmla="*/ 32 w 132"/>
                <a:gd name="T21" fmla="*/ 2 h 104"/>
                <a:gd name="T22" fmla="*/ 38 w 132"/>
                <a:gd name="T23" fmla="*/ 0 h 104"/>
                <a:gd name="T24" fmla="*/ 44 w 132"/>
                <a:gd name="T25" fmla="*/ 0 h 104"/>
                <a:gd name="T26" fmla="*/ 46 w 132"/>
                <a:gd name="T27" fmla="*/ 0 h 104"/>
                <a:gd name="T28" fmla="*/ 48 w 132"/>
                <a:gd name="T29" fmla="*/ 2 h 104"/>
                <a:gd name="T30" fmla="*/ 54 w 132"/>
                <a:gd name="T31" fmla="*/ 4 h 104"/>
                <a:gd name="T32" fmla="*/ 58 w 132"/>
                <a:gd name="T33" fmla="*/ 6 h 104"/>
                <a:gd name="T34" fmla="*/ 62 w 132"/>
                <a:gd name="T35" fmla="*/ 6 h 104"/>
                <a:gd name="T36" fmla="*/ 70 w 132"/>
                <a:gd name="T37" fmla="*/ 4 h 104"/>
                <a:gd name="T38" fmla="*/ 78 w 132"/>
                <a:gd name="T39" fmla="*/ 4 h 104"/>
                <a:gd name="T40" fmla="*/ 88 w 132"/>
                <a:gd name="T41" fmla="*/ 6 h 104"/>
                <a:gd name="T42" fmla="*/ 96 w 132"/>
                <a:gd name="T43" fmla="*/ 10 h 104"/>
                <a:gd name="T44" fmla="*/ 102 w 132"/>
                <a:gd name="T45" fmla="*/ 12 h 104"/>
                <a:gd name="T46" fmla="*/ 106 w 132"/>
                <a:gd name="T47" fmla="*/ 16 h 104"/>
                <a:gd name="T48" fmla="*/ 114 w 132"/>
                <a:gd name="T49" fmla="*/ 22 h 104"/>
                <a:gd name="T50" fmla="*/ 122 w 132"/>
                <a:gd name="T51" fmla="*/ 30 h 104"/>
                <a:gd name="T52" fmla="*/ 120 w 132"/>
                <a:gd name="T53" fmla="*/ 36 h 104"/>
                <a:gd name="T54" fmla="*/ 120 w 132"/>
                <a:gd name="T55" fmla="*/ 42 h 104"/>
                <a:gd name="T56" fmla="*/ 120 w 132"/>
                <a:gd name="T57" fmla="*/ 46 h 104"/>
                <a:gd name="T58" fmla="*/ 120 w 132"/>
                <a:gd name="T59" fmla="*/ 48 h 104"/>
                <a:gd name="T60" fmla="*/ 122 w 132"/>
                <a:gd name="T61" fmla="*/ 50 h 104"/>
                <a:gd name="T62" fmla="*/ 122 w 132"/>
                <a:gd name="T63" fmla="*/ 50 h 104"/>
                <a:gd name="T64" fmla="*/ 124 w 132"/>
                <a:gd name="T65" fmla="*/ 50 h 104"/>
                <a:gd name="T66" fmla="*/ 128 w 132"/>
                <a:gd name="T67" fmla="*/ 50 h 104"/>
                <a:gd name="T68" fmla="*/ 130 w 132"/>
                <a:gd name="T69" fmla="*/ 50 h 104"/>
                <a:gd name="T70" fmla="*/ 130 w 132"/>
                <a:gd name="T71" fmla="*/ 50 h 104"/>
                <a:gd name="T72" fmla="*/ 132 w 132"/>
                <a:gd name="T73" fmla="*/ 52 h 104"/>
                <a:gd name="T74" fmla="*/ 132 w 132"/>
                <a:gd name="T75" fmla="*/ 54 h 104"/>
                <a:gd name="T76" fmla="*/ 132 w 132"/>
                <a:gd name="T77" fmla="*/ 60 h 104"/>
                <a:gd name="T78" fmla="*/ 132 w 132"/>
                <a:gd name="T79" fmla="*/ 64 h 104"/>
                <a:gd name="T80" fmla="*/ 132 w 132"/>
                <a:gd name="T81" fmla="*/ 70 h 104"/>
                <a:gd name="T82" fmla="*/ 132 w 132"/>
                <a:gd name="T83" fmla="*/ 78 h 104"/>
                <a:gd name="T84" fmla="*/ 132 w 132"/>
                <a:gd name="T85" fmla="*/ 86 h 104"/>
                <a:gd name="T86" fmla="*/ 132 w 132"/>
                <a:gd name="T87" fmla="*/ 90 h 104"/>
                <a:gd name="T88" fmla="*/ 132 w 132"/>
                <a:gd name="T89" fmla="*/ 92 h 104"/>
                <a:gd name="T90" fmla="*/ 130 w 132"/>
                <a:gd name="T91" fmla="*/ 94 h 104"/>
                <a:gd name="T92" fmla="*/ 128 w 132"/>
                <a:gd name="T93" fmla="*/ 96 h 104"/>
                <a:gd name="T94" fmla="*/ 122 w 132"/>
                <a:gd name="T95" fmla="*/ 100 h 104"/>
                <a:gd name="T96" fmla="*/ 96 w 132"/>
                <a:gd name="T97" fmla="*/ 102 h 104"/>
                <a:gd name="T98" fmla="*/ 68 w 132"/>
                <a:gd name="T99" fmla="*/ 100 h 104"/>
                <a:gd name="T100" fmla="*/ 58 w 132"/>
                <a:gd name="T101" fmla="*/ 94 h 104"/>
                <a:gd name="T102" fmla="*/ 50 w 132"/>
                <a:gd name="T103" fmla="*/ 92 h 104"/>
                <a:gd name="T104" fmla="*/ 30 w 132"/>
                <a:gd name="T105" fmla="*/ 86 h 104"/>
                <a:gd name="T106" fmla="*/ 24 w 132"/>
                <a:gd name="T107" fmla="*/ 82 h 104"/>
                <a:gd name="T108" fmla="*/ 20 w 132"/>
                <a:gd name="T109" fmla="*/ 80 h 104"/>
                <a:gd name="T110" fmla="*/ 10 w 132"/>
                <a:gd name="T111"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 h="104">
                  <a:moveTo>
                    <a:pt x="10" y="74"/>
                  </a:moveTo>
                  <a:lnTo>
                    <a:pt x="10" y="74"/>
                  </a:lnTo>
                  <a:lnTo>
                    <a:pt x="8" y="70"/>
                  </a:lnTo>
                  <a:lnTo>
                    <a:pt x="6" y="64"/>
                  </a:lnTo>
                  <a:lnTo>
                    <a:pt x="4" y="58"/>
                  </a:lnTo>
                  <a:lnTo>
                    <a:pt x="2" y="54"/>
                  </a:lnTo>
                  <a:lnTo>
                    <a:pt x="2" y="50"/>
                  </a:lnTo>
                  <a:lnTo>
                    <a:pt x="0" y="48"/>
                  </a:lnTo>
                  <a:lnTo>
                    <a:pt x="0" y="48"/>
                  </a:lnTo>
                  <a:lnTo>
                    <a:pt x="0" y="46"/>
                  </a:lnTo>
                  <a:lnTo>
                    <a:pt x="0" y="44"/>
                  </a:lnTo>
                  <a:lnTo>
                    <a:pt x="0" y="40"/>
                  </a:lnTo>
                  <a:lnTo>
                    <a:pt x="2" y="36"/>
                  </a:lnTo>
                  <a:lnTo>
                    <a:pt x="2" y="30"/>
                  </a:lnTo>
                  <a:lnTo>
                    <a:pt x="2" y="22"/>
                  </a:lnTo>
                  <a:lnTo>
                    <a:pt x="4" y="18"/>
                  </a:lnTo>
                  <a:lnTo>
                    <a:pt x="8" y="16"/>
                  </a:lnTo>
                  <a:lnTo>
                    <a:pt x="14" y="12"/>
                  </a:lnTo>
                  <a:lnTo>
                    <a:pt x="20" y="10"/>
                  </a:lnTo>
                  <a:lnTo>
                    <a:pt x="26" y="6"/>
                  </a:lnTo>
                  <a:lnTo>
                    <a:pt x="30" y="4"/>
                  </a:lnTo>
                  <a:lnTo>
                    <a:pt x="32" y="2"/>
                  </a:lnTo>
                  <a:lnTo>
                    <a:pt x="36" y="2"/>
                  </a:lnTo>
                  <a:lnTo>
                    <a:pt x="38" y="0"/>
                  </a:lnTo>
                  <a:lnTo>
                    <a:pt x="42" y="0"/>
                  </a:lnTo>
                  <a:lnTo>
                    <a:pt x="44" y="0"/>
                  </a:lnTo>
                  <a:lnTo>
                    <a:pt x="44" y="0"/>
                  </a:lnTo>
                  <a:lnTo>
                    <a:pt x="46" y="0"/>
                  </a:lnTo>
                  <a:lnTo>
                    <a:pt x="46" y="0"/>
                  </a:lnTo>
                  <a:lnTo>
                    <a:pt x="48" y="2"/>
                  </a:lnTo>
                  <a:lnTo>
                    <a:pt x="50" y="2"/>
                  </a:lnTo>
                  <a:lnTo>
                    <a:pt x="54" y="4"/>
                  </a:lnTo>
                  <a:lnTo>
                    <a:pt x="56" y="6"/>
                  </a:lnTo>
                  <a:lnTo>
                    <a:pt x="58" y="6"/>
                  </a:lnTo>
                  <a:lnTo>
                    <a:pt x="60" y="6"/>
                  </a:lnTo>
                  <a:lnTo>
                    <a:pt x="62" y="6"/>
                  </a:lnTo>
                  <a:lnTo>
                    <a:pt x="66" y="6"/>
                  </a:lnTo>
                  <a:lnTo>
                    <a:pt x="70" y="4"/>
                  </a:lnTo>
                  <a:lnTo>
                    <a:pt x="76" y="4"/>
                  </a:lnTo>
                  <a:lnTo>
                    <a:pt x="78" y="4"/>
                  </a:lnTo>
                  <a:lnTo>
                    <a:pt x="80" y="4"/>
                  </a:lnTo>
                  <a:lnTo>
                    <a:pt x="88" y="6"/>
                  </a:lnTo>
                  <a:lnTo>
                    <a:pt x="92" y="8"/>
                  </a:lnTo>
                  <a:lnTo>
                    <a:pt x="96" y="10"/>
                  </a:lnTo>
                  <a:lnTo>
                    <a:pt x="98" y="10"/>
                  </a:lnTo>
                  <a:lnTo>
                    <a:pt x="102" y="12"/>
                  </a:lnTo>
                  <a:lnTo>
                    <a:pt x="104" y="14"/>
                  </a:lnTo>
                  <a:lnTo>
                    <a:pt x="106" y="16"/>
                  </a:lnTo>
                  <a:lnTo>
                    <a:pt x="110" y="18"/>
                  </a:lnTo>
                  <a:lnTo>
                    <a:pt x="114" y="22"/>
                  </a:lnTo>
                  <a:lnTo>
                    <a:pt x="120" y="28"/>
                  </a:lnTo>
                  <a:lnTo>
                    <a:pt x="122" y="30"/>
                  </a:lnTo>
                  <a:lnTo>
                    <a:pt x="120" y="32"/>
                  </a:lnTo>
                  <a:lnTo>
                    <a:pt x="120" y="36"/>
                  </a:lnTo>
                  <a:lnTo>
                    <a:pt x="120" y="38"/>
                  </a:lnTo>
                  <a:lnTo>
                    <a:pt x="120" y="42"/>
                  </a:lnTo>
                  <a:lnTo>
                    <a:pt x="120" y="44"/>
                  </a:lnTo>
                  <a:lnTo>
                    <a:pt x="120" y="46"/>
                  </a:lnTo>
                  <a:lnTo>
                    <a:pt x="120" y="46"/>
                  </a:lnTo>
                  <a:lnTo>
                    <a:pt x="120" y="48"/>
                  </a:lnTo>
                  <a:lnTo>
                    <a:pt x="120" y="48"/>
                  </a:lnTo>
                  <a:lnTo>
                    <a:pt x="122" y="50"/>
                  </a:lnTo>
                  <a:lnTo>
                    <a:pt x="122" y="50"/>
                  </a:lnTo>
                  <a:lnTo>
                    <a:pt x="122" y="50"/>
                  </a:lnTo>
                  <a:lnTo>
                    <a:pt x="124" y="50"/>
                  </a:lnTo>
                  <a:lnTo>
                    <a:pt x="124" y="50"/>
                  </a:lnTo>
                  <a:lnTo>
                    <a:pt x="126" y="50"/>
                  </a:lnTo>
                  <a:lnTo>
                    <a:pt x="128" y="50"/>
                  </a:lnTo>
                  <a:lnTo>
                    <a:pt x="128" y="50"/>
                  </a:lnTo>
                  <a:lnTo>
                    <a:pt x="130" y="50"/>
                  </a:lnTo>
                  <a:lnTo>
                    <a:pt x="130" y="50"/>
                  </a:lnTo>
                  <a:lnTo>
                    <a:pt x="130" y="50"/>
                  </a:lnTo>
                  <a:lnTo>
                    <a:pt x="130" y="50"/>
                  </a:lnTo>
                  <a:lnTo>
                    <a:pt x="132" y="52"/>
                  </a:lnTo>
                  <a:lnTo>
                    <a:pt x="132" y="52"/>
                  </a:lnTo>
                  <a:lnTo>
                    <a:pt x="132" y="54"/>
                  </a:lnTo>
                  <a:lnTo>
                    <a:pt x="132" y="56"/>
                  </a:lnTo>
                  <a:lnTo>
                    <a:pt x="132" y="60"/>
                  </a:lnTo>
                  <a:lnTo>
                    <a:pt x="132" y="62"/>
                  </a:lnTo>
                  <a:lnTo>
                    <a:pt x="132" y="64"/>
                  </a:lnTo>
                  <a:lnTo>
                    <a:pt x="130" y="66"/>
                  </a:lnTo>
                  <a:lnTo>
                    <a:pt x="132" y="70"/>
                  </a:lnTo>
                  <a:lnTo>
                    <a:pt x="132" y="74"/>
                  </a:lnTo>
                  <a:lnTo>
                    <a:pt x="132" y="78"/>
                  </a:lnTo>
                  <a:lnTo>
                    <a:pt x="132" y="82"/>
                  </a:lnTo>
                  <a:lnTo>
                    <a:pt x="132" y="86"/>
                  </a:lnTo>
                  <a:lnTo>
                    <a:pt x="132" y="88"/>
                  </a:lnTo>
                  <a:lnTo>
                    <a:pt x="132" y="90"/>
                  </a:lnTo>
                  <a:lnTo>
                    <a:pt x="132" y="92"/>
                  </a:lnTo>
                  <a:lnTo>
                    <a:pt x="132" y="92"/>
                  </a:lnTo>
                  <a:lnTo>
                    <a:pt x="132" y="94"/>
                  </a:lnTo>
                  <a:lnTo>
                    <a:pt x="130" y="94"/>
                  </a:lnTo>
                  <a:lnTo>
                    <a:pt x="128" y="96"/>
                  </a:lnTo>
                  <a:lnTo>
                    <a:pt x="128" y="96"/>
                  </a:lnTo>
                  <a:lnTo>
                    <a:pt x="126" y="98"/>
                  </a:lnTo>
                  <a:lnTo>
                    <a:pt x="122" y="100"/>
                  </a:lnTo>
                  <a:lnTo>
                    <a:pt x="120" y="100"/>
                  </a:lnTo>
                  <a:lnTo>
                    <a:pt x="96" y="102"/>
                  </a:lnTo>
                  <a:lnTo>
                    <a:pt x="74" y="104"/>
                  </a:lnTo>
                  <a:lnTo>
                    <a:pt x="68" y="100"/>
                  </a:lnTo>
                  <a:lnTo>
                    <a:pt x="62" y="96"/>
                  </a:lnTo>
                  <a:lnTo>
                    <a:pt x="58" y="94"/>
                  </a:lnTo>
                  <a:lnTo>
                    <a:pt x="54" y="94"/>
                  </a:lnTo>
                  <a:lnTo>
                    <a:pt x="50" y="92"/>
                  </a:lnTo>
                  <a:lnTo>
                    <a:pt x="40" y="90"/>
                  </a:lnTo>
                  <a:lnTo>
                    <a:pt x="30" y="86"/>
                  </a:lnTo>
                  <a:lnTo>
                    <a:pt x="26" y="84"/>
                  </a:lnTo>
                  <a:lnTo>
                    <a:pt x="24" y="82"/>
                  </a:lnTo>
                  <a:lnTo>
                    <a:pt x="22" y="82"/>
                  </a:lnTo>
                  <a:lnTo>
                    <a:pt x="20" y="80"/>
                  </a:lnTo>
                  <a:lnTo>
                    <a:pt x="16" y="78"/>
                  </a:lnTo>
                  <a:lnTo>
                    <a:pt x="10" y="74"/>
                  </a:lnTo>
                </a:path>
              </a:pathLst>
            </a:custGeom>
            <a:grp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1" name="Freeform 299">
              <a:extLst>
                <a:ext uri="{FF2B5EF4-FFF2-40B4-BE49-F238E27FC236}">
                  <a16:creationId xmlns:a16="http://schemas.microsoft.com/office/drawing/2014/main" id="{28098C68-0538-4F0C-B76D-92AB8D4E68C2}"/>
                </a:ext>
              </a:extLst>
            </p:cNvPr>
            <p:cNvSpPr>
              <a:spLocks/>
            </p:cNvSpPr>
            <p:nvPr/>
          </p:nvSpPr>
          <p:spPr bwMode="auto">
            <a:xfrm>
              <a:off x="4594842" y="2941849"/>
              <a:ext cx="228634" cy="180136"/>
            </a:xfrm>
            <a:custGeom>
              <a:avLst/>
              <a:gdLst>
                <a:gd name="T0" fmla="*/ 10 w 132"/>
                <a:gd name="T1" fmla="*/ 74 h 104"/>
                <a:gd name="T2" fmla="*/ 6 w 132"/>
                <a:gd name="T3" fmla="*/ 64 h 104"/>
                <a:gd name="T4" fmla="*/ 2 w 132"/>
                <a:gd name="T5" fmla="*/ 54 h 104"/>
                <a:gd name="T6" fmla="*/ 0 w 132"/>
                <a:gd name="T7" fmla="*/ 48 h 104"/>
                <a:gd name="T8" fmla="*/ 0 w 132"/>
                <a:gd name="T9" fmla="*/ 46 h 104"/>
                <a:gd name="T10" fmla="*/ 0 w 132"/>
                <a:gd name="T11" fmla="*/ 40 h 104"/>
                <a:gd name="T12" fmla="*/ 2 w 132"/>
                <a:gd name="T13" fmla="*/ 30 h 104"/>
                <a:gd name="T14" fmla="*/ 4 w 132"/>
                <a:gd name="T15" fmla="*/ 18 h 104"/>
                <a:gd name="T16" fmla="*/ 14 w 132"/>
                <a:gd name="T17" fmla="*/ 12 h 104"/>
                <a:gd name="T18" fmla="*/ 26 w 132"/>
                <a:gd name="T19" fmla="*/ 6 h 104"/>
                <a:gd name="T20" fmla="*/ 32 w 132"/>
                <a:gd name="T21" fmla="*/ 2 h 104"/>
                <a:gd name="T22" fmla="*/ 38 w 132"/>
                <a:gd name="T23" fmla="*/ 0 h 104"/>
                <a:gd name="T24" fmla="*/ 44 w 132"/>
                <a:gd name="T25" fmla="*/ 0 h 104"/>
                <a:gd name="T26" fmla="*/ 46 w 132"/>
                <a:gd name="T27" fmla="*/ 0 h 104"/>
                <a:gd name="T28" fmla="*/ 48 w 132"/>
                <a:gd name="T29" fmla="*/ 2 h 104"/>
                <a:gd name="T30" fmla="*/ 54 w 132"/>
                <a:gd name="T31" fmla="*/ 4 h 104"/>
                <a:gd name="T32" fmla="*/ 58 w 132"/>
                <a:gd name="T33" fmla="*/ 6 h 104"/>
                <a:gd name="T34" fmla="*/ 62 w 132"/>
                <a:gd name="T35" fmla="*/ 6 h 104"/>
                <a:gd name="T36" fmla="*/ 70 w 132"/>
                <a:gd name="T37" fmla="*/ 4 h 104"/>
                <a:gd name="T38" fmla="*/ 78 w 132"/>
                <a:gd name="T39" fmla="*/ 4 h 104"/>
                <a:gd name="T40" fmla="*/ 88 w 132"/>
                <a:gd name="T41" fmla="*/ 6 h 104"/>
                <a:gd name="T42" fmla="*/ 96 w 132"/>
                <a:gd name="T43" fmla="*/ 10 h 104"/>
                <a:gd name="T44" fmla="*/ 102 w 132"/>
                <a:gd name="T45" fmla="*/ 12 h 104"/>
                <a:gd name="T46" fmla="*/ 106 w 132"/>
                <a:gd name="T47" fmla="*/ 16 h 104"/>
                <a:gd name="T48" fmla="*/ 114 w 132"/>
                <a:gd name="T49" fmla="*/ 22 h 104"/>
                <a:gd name="T50" fmla="*/ 122 w 132"/>
                <a:gd name="T51" fmla="*/ 30 h 104"/>
                <a:gd name="T52" fmla="*/ 120 w 132"/>
                <a:gd name="T53" fmla="*/ 36 h 104"/>
                <a:gd name="T54" fmla="*/ 120 w 132"/>
                <a:gd name="T55" fmla="*/ 42 h 104"/>
                <a:gd name="T56" fmla="*/ 120 w 132"/>
                <a:gd name="T57" fmla="*/ 46 h 104"/>
                <a:gd name="T58" fmla="*/ 120 w 132"/>
                <a:gd name="T59" fmla="*/ 48 h 104"/>
                <a:gd name="T60" fmla="*/ 122 w 132"/>
                <a:gd name="T61" fmla="*/ 50 h 104"/>
                <a:gd name="T62" fmla="*/ 122 w 132"/>
                <a:gd name="T63" fmla="*/ 50 h 104"/>
                <a:gd name="T64" fmla="*/ 124 w 132"/>
                <a:gd name="T65" fmla="*/ 50 h 104"/>
                <a:gd name="T66" fmla="*/ 128 w 132"/>
                <a:gd name="T67" fmla="*/ 50 h 104"/>
                <a:gd name="T68" fmla="*/ 130 w 132"/>
                <a:gd name="T69" fmla="*/ 50 h 104"/>
                <a:gd name="T70" fmla="*/ 130 w 132"/>
                <a:gd name="T71" fmla="*/ 50 h 104"/>
                <a:gd name="T72" fmla="*/ 132 w 132"/>
                <a:gd name="T73" fmla="*/ 52 h 104"/>
                <a:gd name="T74" fmla="*/ 132 w 132"/>
                <a:gd name="T75" fmla="*/ 54 h 104"/>
                <a:gd name="T76" fmla="*/ 132 w 132"/>
                <a:gd name="T77" fmla="*/ 60 h 104"/>
                <a:gd name="T78" fmla="*/ 132 w 132"/>
                <a:gd name="T79" fmla="*/ 64 h 104"/>
                <a:gd name="T80" fmla="*/ 132 w 132"/>
                <a:gd name="T81" fmla="*/ 70 h 104"/>
                <a:gd name="T82" fmla="*/ 132 w 132"/>
                <a:gd name="T83" fmla="*/ 78 h 104"/>
                <a:gd name="T84" fmla="*/ 132 w 132"/>
                <a:gd name="T85" fmla="*/ 86 h 104"/>
                <a:gd name="T86" fmla="*/ 132 w 132"/>
                <a:gd name="T87" fmla="*/ 90 h 104"/>
                <a:gd name="T88" fmla="*/ 132 w 132"/>
                <a:gd name="T89" fmla="*/ 92 h 104"/>
                <a:gd name="T90" fmla="*/ 130 w 132"/>
                <a:gd name="T91" fmla="*/ 94 h 104"/>
                <a:gd name="T92" fmla="*/ 128 w 132"/>
                <a:gd name="T93" fmla="*/ 96 h 104"/>
                <a:gd name="T94" fmla="*/ 122 w 132"/>
                <a:gd name="T95" fmla="*/ 100 h 104"/>
                <a:gd name="T96" fmla="*/ 96 w 132"/>
                <a:gd name="T97" fmla="*/ 102 h 104"/>
                <a:gd name="T98" fmla="*/ 68 w 132"/>
                <a:gd name="T99" fmla="*/ 100 h 104"/>
                <a:gd name="T100" fmla="*/ 58 w 132"/>
                <a:gd name="T101" fmla="*/ 94 h 104"/>
                <a:gd name="T102" fmla="*/ 50 w 132"/>
                <a:gd name="T103" fmla="*/ 92 h 104"/>
                <a:gd name="T104" fmla="*/ 30 w 132"/>
                <a:gd name="T105" fmla="*/ 86 h 104"/>
                <a:gd name="T106" fmla="*/ 24 w 132"/>
                <a:gd name="T107" fmla="*/ 82 h 104"/>
                <a:gd name="T108" fmla="*/ 20 w 132"/>
                <a:gd name="T109" fmla="*/ 80 h 104"/>
                <a:gd name="T110" fmla="*/ 10 w 132"/>
                <a:gd name="T111"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 h="104">
                  <a:moveTo>
                    <a:pt x="10" y="74"/>
                  </a:moveTo>
                  <a:lnTo>
                    <a:pt x="10" y="74"/>
                  </a:lnTo>
                  <a:lnTo>
                    <a:pt x="8" y="70"/>
                  </a:lnTo>
                  <a:lnTo>
                    <a:pt x="6" y="64"/>
                  </a:lnTo>
                  <a:lnTo>
                    <a:pt x="4" y="58"/>
                  </a:lnTo>
                  <a:lnTo>
                    <a:pt x="2" y="54"/>
                  </a:lnTo>
                  <a:lnTo>
                    <a:pt x="2" y="50"/>
                  </a:lnTo>
                  <a:lnTo>
                    <a:pt x="0" y="48"/>
                  </a:lnTo>
                  <a:lnTo>
                    <a:pt x="0" y="48"/>
                  </a:lnTo>
                  <a:lnTo>
                    <a:pt x="0" y="46"/>
                  </a:lnTo>
                  <a:lnTo>
                    <a:pt x="0" y="44"/>
                  </a:lnTo>
                  <a:lnTo>
                    <a:pt x="0" y="40"/>
                  </a:lnTo>
                  <a:lnTo>
                    <a:pt x="2" y="36"/>
                  </a:lnTo>
                  <a:lnTo>
                    <a:pt x="2" y="30"/>
                  </a:lnTo>
                  <a:lnTo>
                    <a:pt x="2" y="22"/>
                  </a:lnTo>
                  <a:lnTo>
                    <a:pt x="4" y="18"/>
                  </a:lnTo>
                  <a:lnTo>
                    <a:pt x="8" y="16"/>
                  </a:lnTo>
                  <a:lnTo>
                    <a:pt x="14" y="12"/>
                  </a:lnTo>
                  <a:lnTo>
                    <a:pt x="20" y="10"/>
                  </a:lnTo>
                  <a:lnTo>
                    <a:pt x="26" y="6"/>
                  </a:lnTo>
                  <a:lnTo>
                    <a:pt x="30" y="4"/>
                  </a:lnTo>
                  <a:lnTo>
                    <a:pt x="32" y="2"/>
                  </a:lnTo>
                  <a:lnTo>
                    <a:pt x="36" y="2"/>
                  </a:lnTo>
                  <a:lnTo>
                    <a:pt x="38" y="0"/>
                  </a:lnTo>
                  <a:lnTo>
                    <a:pt x="42" y="0"/>
                  </a:lnTo>
                  <a:lnTo>
                    <a:pt x="44" y="0"/>
                  </a:lnTo>
                  <a:lnTo>
                    <a:pt x="44" y="0"/>
                  </a:lnTo>
                  <a:lnTo>
                    <a:pt x="46" y="0"/>
                  </a:lnTo>
                  <a:lnTo>
                    <a:pt x="46" y="0"/>
                  </a:lnTo>
                  <a:lnTo>
                    <a:pt x="48" y="2"/>
                  </a:lnTo>
                  <a:lnTo>
                    <a:pt x="50" y="2"/>
                  </a:lnTo>
                  <a:lnTo>
                    <a:pt x="54" y="4"/>
                  </a:lnTo>
                  <a:lnTo>
                    <a:pt x="56" y="6"/>
                  </a:lnTo>
                  <a:lnTo>
                    <a:pt x="58" y="6"/>
                  </a:lnTo>
                  <a:lnTo>
                    <a:pt x="60" y="6"/>
                  </a:lnTo>
                  <a:lnTo>
                    <a:pt x="62" y="6"/>
                  </a:lnTo>
                  <a:lnTo>
                    <a:pt x="66" y="6"/>
                  </a:lnTo>
                  <a:lnTo>
                    <a:pt x="70" y="4"/>
                  </a:lnTo>
                  <a:lnTo>
                    <a:pt x="76" y="4"/>
                  </a:lnTo>
                  <a:lnTo>
                    <a:pt x="78" y="4"/>
                  </a:lnTo>
                  <a:lnTo>
                    <a:pt x="80" y="4"/>
                  </a:lnTo>
                  <a:lnTo>
                    <a:pt x="88" y="6"/>
                  </a:lnTo>
                  <a:lnTo>
                    <a:pt x="92" y="8"/>
                  </a:lnTo>
                  <a:lnTo>
                    <a:pt x="96" y="10"/>
                  </a:lnTo>
                  <a:lnTo>
                    <a:pt x="98" y="10"/>
                  </a:lnTo>
                  <a:lnTo>
                    <a:pt x="102" y="12"/>
                  </a:lnTo>
                  <a:lnTo>
                    <a:pt x="104" y="14"/>
                  </a:lnTo>
                  <a:lnTo>
                    <a:pt x="106" y="16"/>
                  </a:lnTo>
                  <a:lnTo>
                    <a:pt x="110" y="18"/>
                  </a:lnTo>
                  <a:lnTo>
                    <a:pt x="114" y="22"/>
                  </a:lnTo>
                  <a:lnTo>
                    <a:pt x="120" y="28"/>
                  </a:lnTo>
                  <a:lnTo>
                    <a:pt x="122" y="30"/>
                  </a:lnTo>
                  <a:lnTo>
                    <a:pt x="120" y="32"/>
                  </a:lnTo>
                  <a:lnTo>
                    <a:pt x="120" y="36"/>
                  </a:lnTo>
                  <a:lnTo>
                    <a:pt x="120" y="38"/>
                  </a:lnTo>
                  <a:lnTo>
                    <a:pt x="120" y="42"/>
                  </a:lnTo>
                  <a:lnTo>
                    <a:pt x="120" y="44"/>
                  </a:lnTo>
                  <a:lnTo>
                    <a:pt x="120" y="46"/>
                  </a:lnTo>
                  <a:lnTo>
                    <a:pt x="120" y="46"/>
                  </a:lnTo>
                  <a:lnTo>
                    <a:pt x="120" y="48"/>
                  </a:lnTo>
                  <a:lnTo>
                    <a:pt x="120" y="48"/>
                  </a:lnTo>
                  <a:lnTo>
                    <a:pt x="122" y="50"/>
                  </a:lnTo>
                  <a:lnTo>
                    <a:pt x="122" y="50"/>
                  </a:lnTo>
                  <a:lnTo>
                    <a:pt x="122" y="50"/>
                  </a:lnTo>
                  <a:lnTo>
                    <a:pt x="124" y="50"/>
                  </a:lnTo>
                  <a:lnTo>
                    <a:pt x="124" y="50"/>
                  </a:lnTo>
                  <a:lnTo>
                    <a:pt x="126" y="50"/>
                  </a:lnTo>
                  <a:lnTo>
                    <a:pt x="128" y="50"/>
                  </a:lnTo>
                  <a:lnTo>
                    <a:pt x="128" y="50"/>
                  </a:lnTo>
                  <a:lnTo>
                    <a:pt x="130" y="50"/>
                  </a:lnTo>
                  <a:lnTo>
                    <a:pt x="130" y="50"/>
                  </a:lnTo>
                  <a:lnTo>
                    <a:pt x="130" y="50"/>
                  </a:lnTo>
                  <a:lnTo>
                    <a:pt x="130" y="50"/>
                  </a:lnTo>
                  <a:lnTo>
                    <a:pt x="132" y="52"/>
                  </a:lnTo>
                  <a:lnTo>
                    <a:pt x="132" y="52"/>
                  </a:lnTo>
                  <a:lnTo>
                    <a:pt x="132" y="54"/>
                  </a:lnTo>
                  <a:lnTo>
                    <a:pt x="132" y="56"/>
                  </a:lnTo>
                  <a:lnTo>
                    <a:pt x="132" y="60"/>
                  </a:lnTo>
                  <a:lnTo>
                    <a:pt x="132" y="62"/>
                  </a:lnTo>
                  <a:lnTo>
                    <a:pt x="132" y="64"/>
                  </a:lnTo>
                  <a:lnTo>
                    <a:pt x="130" y="66"/>
                  </a:lnTo>
                  <a:lnTo>
                    <a:pt x="132" y="70"/>
                  </a:lnTo>
                  <a:lnTo>
                    <a:pt x="132" y="74"/>
                  </a:lnTo>
                  <a:lnTo>
                    <a:pt x="132" y="78"/>
                  </a:lnTo>
                  <a:lnTo>
                    <a:pt x="132" y="82"/>
                  </a:lnTo>
                  <a:lnTo>
                    <a:pt x="132" y="86"/>
                  </a:lnTo>
                  <a:lnTo>
                    <a:pt x="132" y="88"/>
                  </a:lnTo>
                  <a:lnTo>
                    <a:pt x="132" y="90"/>
                  </a:lnTo>
                  <a:lnTo>
                    <a:pt x="132" y="92"/>
                  </a:lnTo>
                  <a:lnTo>
                    <a:pt x="132" y="92"/>
                  </a:lnTo>
                  <a:lnTo>
                    <a:pt x="132" y="94"/>
                  </a:lnTo>
                  <a:lnTo>
                    <a:pt x="130" y="94"/>
                  </a:lnTo>
                  <a:lnTo>
                    <a:pt x="128" y="96"/>
                  </a:lnTo>
                  <a:lnTo>
                    <a:pt x="128" y="96"/>
                  </a:lnTo>
                  <a:lnTo>
                    <a:pt x="126" y="98"/>
                  </a:lnTo>
                  <a:lnTo>
                    <a:pt x="122" y="100"/>
                  </a:lnTo>
                  <a:lnTo>
                    <a:pt x="120" y="100"/>
                  </a:lnTo>
                  <a:lnTo>
                    <a:pt x="96" y="102"/>
                  </a:lnTo>
                  <a:lnTo>
                    <a:pt x="74" y="104"/>
                  </a:lnTo>
                  <a:lnTo>
                    <a:pt x="68" y="100"/>
                  </a:lnTo>
                  <a:lnTo>
                    <a:pt x="62" y="96"/>
                  </a:lnTo>
                  <a:lnTo>
                    <a:pt x="58" y="94"/>
                  </a:lnTo>
                  <a:lnTo>
                    <a:pt x="54" y="94"/>
                  </a:lnTo>
                  <a:lnTo>
                    <a:pt x="50" y="92"/>
                  </a:lnTo>
                  <a:lnTo>
                    <a:pt x="40" y="90"/>
                  </a:lnTo>
                  <a:lnTo>
                    <a:pt x="30" y="86"/>
                  </a:lnTo>
                  <a:lnTo>
                    <a:pt x="26" y="84"/>
                  </a:lnTo>
                  <a:lnTo>
                    <a:pt x="24" y="82"/>
                  </a:lnTo>
                  <a:lnTo>
                    <a:pt x="22" y="82"/>
                  </a:lnTo>
                  <a:lnTo>
                    <a:pt x="20" y="80"/>
                  </a:lnTo>
                  <a:lnTo>
                    <a:pt x="16" y="78"/>
                  </a:lnTo>
                  <a:lnTo>
                    <a:pt x="10" y="74"/>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2" name="Freeform 300">
              <a:extLst>
                <a:ext uri="{FF2B5EF4-FFF2-40B4-BE49-F238E27FC236}">
                  <a16:creationId xmlns:a16="http://schemas.microsoft.com/office/drawing/2014/main" id="{2FAABDF7-A710-434F-A706-C166CD34818D}"/>
                </a:ext>
              </a:extLst>
            </p:cNvPr>
            <p:cNvSpPr>
              <a:spLocks/>
            </p:cNvSpPr>
            <p:nvPr/>
          </p:nvSpPr>
          <p:spPr bwMode="auto">
            <a:xfrm>
              <a:off x="4532487" y="2394513"/>
              <a:ext cx="266740" cy="526551"/>
            </a:xfrm>
            <a:custGeom>
              <a:avLst/>
              <a:gdLst>
                <a:gd name="T0" fmla="*/ 6 w 154"/>
                <a:gd name="T1" fmla="*/ 222 h 304"/>
                <a:gd name="T2" fmla="*/ 10 w 154"/>
                <a:gd name="T3" fmla="*/ 208 h 304"/>
                <a:gd name="T4" fmla="*/ 22 w 154"/>
                <a:gd name="T5" fmla="*/ 204 h 304"/>
                <a:gd name="T6" fmla="*/ 24 w 154"/>
                <a:gd name="T7" fmla="*/ 198 h 304"/>
                <a:gd name="T8" fmla="*/ 18 w 154"/>
                <a:gd name="T9" fmla="*/ 180 h 304"/>
                <a:gd name="T10" fmla="*/ 12 w 154"/>
                <a:gd name="T11" fmla="*/ 160 h 304"/>
                <a:gd name="T12" fmla="*/ 6 w 154"/>
                <a:gd name="T13" fmla="*/ 126 h 304"/>
                <a:gd name="T14" fmla="*/ 10 w 154"/>
                <a:gd name="T15" fmla="*/ 116 h 304"/>
                <a:gd name="T16" fmla="*/ 16 w 154"/>
                <a:gd name="T17" fmla="*/ 116 h 304"/>
                <a:gd name="T18" fmla="*/ 26 w 154"/>
                <a:gd name="T19" fmla="*/ 116 h 304"/>
                <a:gd name="T20" fmla="*/ 30 w 154"/>
                <a:gd name="T21" fmla="*/ 112 h 304"/>
                <a:gd name="T22" fmla="*/ 22 w 154"/>
                <a:gd name="T23" fmla="*/ 106 h 304"/>
                <a:gd name="T24" fmla="*/ 22 w 154"/>
                <a:gd name="T25" fmla="*/ 100 h 304"/>
                <a:gd name="T26" fmla="*/ 28 w 154"/>
                <a:gd name="T27" fmla="*/ 82 h 304"/>
                <a:gd name="T28" fmla="*/ 30 w 154"/>
                <a:gd name="T29" fmla="*/ 72 h 304"/>
                <a:gd name="T30" fmla="*/ 38 w 154"/>
                <a:gd name="T31" fmla="*/ 68 h 304"/>
                <a:gd name="T32" fmla="*/ 42 w 154"/>
                <a:gd name="T33" fmla="*/ 58 h 304"/>
                <a:gd name="T34" fmla="*/ 50 w 154"/>
                <a:gd name="T35" fmla="*/ 58 h 304"/>
                <a:gd name="T36" fmla="*/ 52 w 154"/>
                <a:gd name="T37" fmla="*/ 52 h 304"/>
                <a:gd name="T38" fmla="*/ 54 w 154"/>
                <a:gd name="T39" fmla="*/ 44 h 304"/>
                <a:gd name="T40" fmla="*/ 62 w 154"/>
                <a:gd name="T41" fmla="*/ 38 h 304"/>
                <a:gd name="T42" fmla="*/ 62 w 154"/>
                <a:gd name="T43" fmla="*/ 28 h 304"/>
                <a:gd name="T44" fmla="*/ 68 w 154"/>
                <a:gd name="T45" fmla="*/ 28 h 304"/>
                <a:gd name="T46" fmla="*/ 78 w 154"/>
                <a:gd name="T47" fmla="*/ 26 h 304"/>
                <a:gd name="T48" fmla="*/ 86 w 154"/>
                <a:gd name="T49" fmla="*/ 18 h 304"/>
                <a:gd name="T50" fmla="*/ 104 w 154"/>
                <a:gd name="T51" fmla="*/ 18 h 304"/>
                <a:gd name="T52" fmla="*/ 114 w 154"/>
                <a:gd name="T53" fmla="*/ 14 h 304"/>
                <a:gd name="T54" fmla="*/ 128 w 154"/>
                <a:gd name="T55" fmla="*/ 0 h 304"/>
                <a:gd name="T56" fmla="*/ 146 w 154"/>
                <a:gd name="T57" fmla="*/ 20 h 304"/>
                <a:gd name="T58" fmla="*/ 150 w 154"/>
                <a:gd name="T59" fmla="*/ 34 h 304"/>
                <a:gd name="T60" fmla="*/ 154 w 154"/>
                <a:gd name="T61" fmla="*/ 58 h 304"/>
                <a:gd name="T62" fmla="*/ 150 w 154"/>
                <a:gd name="T63" fmla="*/ 66 h 304"/>
                <a:gd name="T64" fmla="*/ 136 w 154"/>
                <a:gd name="T65" fmla="*/ 76 h 304"/>
                <a:gd name="T66" fmla="*/ 128 w 154"/>
                <a:gd name="T67" fmla="*/ 88 h 304"/>
                <a:gd name="T68" fmla="*/ 128 w 154"/>
                <a:gd name="T69" fmla="*/ 106 h 304"/>
                <a:gd name="T70" fmla="*/ 126 w 154"/>
                <a:gd name="T71" fmla="*/ 112 h 304"/>
                <a:gd name="T72" fmla="*/ 112 w 154"/>
                <a:gd name="T73" fmla="*/ 122 h 304"/>
                <a:gd name="T74" fmla="*/ 102 w 154"/>
                <a:gd name="T75" fmla="*/ 130 h 304"/>
                <a:gd name="T76" fmla="*/ 86 w 154"/>
                <a:gd name="T77" fmla="*/ 132 h 304"/>
                <a:gd name="T78" fmla="*/ 80 w 154"/>
                <a:gd name="T79" fmla="*/ 142 h 304"/>
                <a:gd name="T80" fmla="*/ 76 w 154"/>
                <a:gd name="T81" fmla="*/ 164 h 304"/>
                <a:gd name="T82" fmla="*/ 78 w 154"/>
                <a:gd name="T83" fmla="*/ 180 h 304"/>
                <a:gd name="T84" fmla="*/ 90 w 154"/>
                <a:gd name="T85" fmla="*/ 194 h 304"/>
                <a:gd name="T86" fmla="*/ 92 w 154"/>
                <a:gd name="T87" fmla="*/ 204 h 304"/>
                <a:gd name="T88" fmla="*/ 80 w 154"/>
                <a:gd name="T89" fmla="*/ 208 h 304"/>
                <a:gd name="T90" fmla="*/ 70 w 154"/>
                <a:gd name="T91" fmla="*/ 212 h 304"/>
                <a:gd name="T92" fmla="*/ 72 w 154"/>
                <a:gd name="T93" fmla="*/ 216 h 304"/>
                <a:gd name="T94" fmla="*/ 82 w 154"/>
                <a:gd name="T95" fmla="*/ 216 h 304"/>
                <a:gd name="T96" fmla="*/ 90 w 154"/>
                <a:gd name="T97" fmla="*/ 228 h 304"/>
                <a:gd name="T98" fmla="*/ 86 w 154"/>
                <a:gd name="T99" fmla="*/ 234 h 304"/>
                <a:gd name="T100" fmla="*/ 74 w 154"/>
                <a:gd name="T101" fmla="*/ 246 h 304"/>
                <a:gd name="T102" fmla="*/ 72 w 154"/>
                <a:gd name="T103" fmla="*/ 258 h 304"/>
                <a:gd name="T104" fmla="*/ 72 w 154"/>
                <a:gd name="T105" fmla="*/ 268 h 304"/>
                <a:gd name="T106" fmla="*/ 60 w 154"/>
                <a:gd name="T107" fmla="*/ 276 h 304"/>
                <a:gd name="T108" fmla="*/ 56 w 154"/>
                <a:gd name="T109" fmla="*/ 286 h 304"/>
                <a:gd name="T110" fmla="*/ 44 w 154"/>
                <a:gd name="T111" fmla="*/ 296 h 304"/>
                <a:gd name="T112" fmla="*/ 38 w 154"/>
                <a:gd name="T113" fmla="*/ 304 h 304"/>
                <a:gd name="T114" fmla="*/ 26 w 154"/>
                <a:gd name="T115" fmla="*/ 300 h 304"/>
                <a:gd name="T116" fmla="*/ 22 w 154"/>
                <a:gd name="T117" fmla="*/ 294 h 304"/>
                <a:gd name="T118" fmla="*/ 24 w 154"/>
                <a:gd name="T119" fmla="*/ 280 h 304"/>
                <a:gd name="T120" fmla="*/ 16 w 154"/>
                <a:gd name="T121" fmla="*/ 276 h 304"/>
                <a:gd name="T122" fmla="*/ 14 w 154"/>
                <a:gd name="T123" fmla="*/ 272 h 304"/>
                <a:gd name="T124" fmla="*/ 6 w 154"/>
                <a:gd name="T125" fmla="*/ 25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4" h="304">
                  <a:moveTo>
                    <a:pt x="0" y="236"/>
                  </a:moveTo>
                  <a:lnTo>
                    <a:pt x="0" y="236"/>
                  </a:lnTo>
                  <a:lnTo>
                    <a:pt x="2" y="232"/>
                  </a:lnTo>
                  <a:lnTo>
                    <a:pt x="4" y="230"/>
                  </a:lnTo>
                  <a:lnTo>
                    <a:pt x="6" y="226"/>
                  </a:lnTo>
                  <a:lnTo>
                    <a:pt x="6" y="224"/>
                  </a:lnTo>
                  <a:lnTo>
                    <a:pt x="6" y="222"/>
                  </a:lnTo>
                  <a:lnTo>
                    <a:pt x="6" y="218"/>
                  </a:lnTo>
                  <a:lnTo>
                    <a:pt x="8" y="216"/>
                  </a:lnTo>
                  <a:lnTo>
                    <a:pt x="8" y="212"/>
                  </a:lnTo>
                  <a:lnTo>
                    <a:pt x="10" y="210"/>
                  </a:lnTo>
                  <a:lnTo>
                    <a:pt x="10" y="210"/>
                  </a:lnTo>
                  <a:lnTo>
                    <a:pt x="10" y="210"/>
                  </a:lnTo>
                  <a:lnTo>
                    <a:pt x="10" y="208"/>
                  </a:lnTo>
                  <a:lnTo>
                    <a:pt x="12" y="208"/>
                  </a:lnTo>
                  <a:lnTo>
                    <a:pt x="12" y="208"/>
                  </a:lnTo>
                  <a:lnTo>
                    <a:pt x="16" y="206"/>
                  </a:lnTo>
                  <a:lnTo>
                    <a:pt x="18" y="206"/>
                  </a:lnTo>
                  <a:lnTo>
                    <a:pt x="20" y="204"/>
                  </a:lnTo>
                  <a:lnTo>
                    <a:pt x="22" y="204"/>
                  </a:lnTo>
                  <a:lnTo>
                    <a:pt x="22" y="204"/>
                  </a:lnTo>
                  <a:lnTo>
                    <a:pt x="22" y="202"/>
                  </a:lnTo>
                  <a:lnTo>
                    <a:pt x="24" y="202"/>
                  </a:lnTo>
                  <a:lnTo>
                    <a:pt x="24" y="202"/>
                  </a:lnTo>
                  <a:lnTo>
                    <a:pt x="24" y="200"/>
                  </a:lnTo>
                  <a:lnTo>
                    <a:pt x="24" y="200"/>
                  </a:lnTo>
                  <a:lnTo>
                    <a:pt x="24" y="198"/>
                  </a:lnTo>
                  <a:lnTo>
                    <a:pt x="24" y="198"/>
                  </a:lnTo>
                  <a:lnTo>
                    <a:pt x="24" y="196"/>
                  </a:lnTo>
                  <a:lnTo>
                    <a:pt x="24" y="192"/>
                  </a:lnTo>
                  <a:lnTo>
                    <a:pt x="22" y="190"/>
                  </a:lnTo>
                  <a:lnTo>
                    <a:pt x="22" y="188"/>
                  </a:lnTo>
                  <a:lnTo>
                    <a:pt x="20" y="184"/>
                  </a:lnTo>
                  <a:lnTo>
                    <a:pt x="20" y="182"/>
                  </a:lnTo>
                  <a:lnTo>
                    <a:pt x="18" y="180"/>
                  </a:lnTo>
                  <a:lnTo>
                    <a:pt x="16" y="176"/>
                  </a:lnTo>
                  <a:lnTo>
                    <a:pt x="14" y="172"/>
                  </a:lnTo>
                  <a:lnTo>
                    <a:pt x="14" y="170"/>
                  </a:lnTo>
                  <a:lnTo>
                    <a:pt x="12" y="168"/>
                  </a:lnTo>
                  <a:lnTo>
                    <a:pt x="12" y="166"/>
                  </a:lnTo>
                  <a:lnTo>
                    <a:pt x="12" y="164"/>
                  </a:lnTo>
                  <a:lnTo>
                    <a:pt x="12" y="160"/>
                  </a:lnTo>
                  <a:lnTo>
                    <a:pt x="10" y="152"/>
                  </a:lnTo>
                  <a:lnTo>
                    <a:pt x="8" y="146"/>
                  </a:lnTo>
                  <a:lnTo>
                    <a:pt x="8" y="138"/>
                  </a:lnTo>
                  <a:lnTo>
                    <a:pt x="6" y="134"/>
                  </a:lnTo>
                  <a:lnTo>
                    <a:pt x="6" y="130"/>
                  </a:lnTo>
                  <a:lnTo>
                    <a:pt x="6" y="128"/>
                  </a:lnTo>
                  <a:lnTo>
                    <a:pt x="6" y="126"/>
                  </a:lnTo>
                  <a:lnTo>
                    <a:pt x="6" y="124"/>
                  </a:lnTo>
                  <a:lnTo>
                    <a:pt x="6" y="122"/>
                  </a:lnTo>
                  <a:lnTo>
                    <a:pt x="8" y="120"/>
                  </a:lnTo>
                  <a:lnTo>
                    <a:pt x="8" y="118"/>
                  </a:lnTo>
                  <a:lnTo>
                    <a:pt x="8" y="116"/>
                  </a:lnTo>
                  <a:lnTo>
                    <a:pt x="10" y="116"/>
                  </a:lnTo>
                  <a:lnTo>
                    <a:pt x="10" y="116"/>
                  </a:lnTo>
                  <a:lnTo>
                    <a:pt x="10" y="114"/>
                  </a:lnTo>
                  <a:lnTo>
                    <a:pt x="10" y="114"/>
                  </a:lnTo>
                  <a:lnTo>
                    <a:pt x="12" y="114"/>
                  </a:lnTo>
                  <a:lnTo>
                    <a:pt x="12" y="114"/>
                  </a:lnTo>
                  <a:lnTo>
                    <a:pt x="12" y="114"/>
                  </a:lnTo>
                  <a:lnTo>
                    <a:pt x="14" y="116"/>
                  </a:lnTo>
                  <a:lnTo>
                    <a:pt x="16" y="116"/>
                  </a:lnTo>
                  <a:lnTo>
                    <a:pt x="18" y="116"/>
                  </a:lnTo>
                  <a:lnTo>
                    <a:pt x="20" y="118"/>
                  </a:lnTo>
                  <a:lnTo>
                    <a:pt x="22" y="118"/>
                  </a:lnTo>
                  <a:lnTo>
                    <a:pt x="24" y="118"/>
                  </a:lnTo>
                  <a:lnTo>
                    <a:pt x="24" y="118"/>
                  </a:lnTo>
                  <a:lnTo>
                    <a:pt x="24" y="118"/>
                  </a:lnTo>
                  <a:lnTo>
                    <a:pt x="26" y="116"/>
                  </a:lnTo>
                  <a:lnTo>
                    <a:pt x="26" y="116"/>
                  </a:lnTo>
                  <a:lnTo>
                    <a:pt x="28" y="116"/>
                  </a:lnTo>
                  <a:lnTo>
                    <a:pt x="28" y="114"/>
                  </a:lnTo>
                  <a:lnTo>
                    <a:pt x="30" y="114"/>
                  </a:lnTo>
                  <a:lnTo>
                    <a:pt x="30" y="114"/>
                  </a:lnTo>
                  <a:lnTo>
                    <a:pt x="30" y="112"/>
                  </a:lnTo>
                  <a:lnTo>
                    <a:pt x="30" y="112"/>
                  </a:lnTo>
                  <a:lnTo>
                    <a:pt x="30" y="112"/>
                  </a:lnTo>
                  <a:lnTo>
                    <a:pt x="30" y="110"/>
                  </a:lnTo>
                  <a:lnTo>
                    <a:pt x="28" y="110"/>
                  </a:lnTo>
                  <a:lnTo>
                    <a:pt x="28" y="110"/>
                  </a:lnTo>
                  <a:lnTo>
                    <a:pt x="26" y="108"/>
                  </a:lnTo>
                  <a:lnTo>
                    <a:pt x="24" y="108"/>
                  </a:lnTo>
                  <a:lnTo>
                    <a:pt x="22" y="106"/>
                  </a:lnTo>
                  <a:lnTo>
                    <a:pt x="22" y="106"/>
                  </a:lnTo>
                  <a:lnTo>
                    <a:pt x="22" y="106"/>
                  </a:lnTo>
                  <a:lnTo>
                    <a:pt x="22" y="104"/>
                  </a:lnTo>
                  <a:lnTo>
                    <a:pt x="22" y="104"/>
                  </a:lnTo>
                  <a:lnTo>
                    <a:pt x="22" y="104"/>
                  </a:lnTo>
                  <a:lnTo>
                    <a:pt x="22" y="102"/>
                  </a:lnTo>
                  <a:lnTo>
                    <a:pt x="22" y="100"/>
                  </a:lnTo>
                  <a:lnTo>
                    <a:pt x="24" y="98"/>
                  </a:lnTo>
                  <a:lnTo>
                    <a:pt x="26" y="96"/>
                  </a:lnTo>
                  <a:lnTo>
                    <a:pt x="28" y="94"/>
                  </a:lnTo>
                  <a:lnTo>
                    <a:pt x="28" y="92"/>
                  </a:lnTo>
                  <a:lnTo>
                    <a:pt x="28" y="90"/>
                  </a:lnTo>
                  <a:lnTo>
                    <a:pt x="28" y="88"/>
                  </a:lnTo>
                  <a:lnTo>
                    <a:pt x="28" y="82"/>
                  </a:lnTo>
                  <a:lnTo>
                    <a:pt x="28" y="80"/>
                  </a:lnTo>
                  <a:lnTo>
                    <a:pt x="28" y="78"/>
                  </a:lnTo>
                  <a:lnTo>
                    <a:pt x="28" y="76"/>
                  </a:lnTo>
                  <a:lnTo>
                    <a:pt x="30" y="74"/>
                  </a:lnTo>
                  <a:lnTo>
                    <a:pt x="30" y="74"/>
                  </a:lnTo>
                  <a:lnTo>
                    <a:pt x="30" y="74"/>
                  </a:lnTo>
                  <a:lnTo>
                    <a:pt x="30" y="72"/>
                  </a:lnTo>
                  <a:lnTo>
                    <a:pt x="32" y="72"/>
                  </a:lnTo>
                  <a:lnTo>
                    <a:pt x="34" y="72"/>
                  </a:lnTo>
                  <a:lnTo>
                    <a:pt x="36" y="70"/>
                  </a:lnTo>
                  <a:lnTo>
                    <a:pt x="38" y="70"/>
                  </a:lnTo>
                  <a:lnTo>
                    <a:pt x="38" y="70"/>
                  </a:lnTo>
                  <a:lnTo>
                    <a:pt x="38" y="70"/>
                  </a:lnTo>
                  <a:lnTo>
                    <a:pt x="38" y="68"/>
                  </a:lnTo>
                  <a:lnTo>
                    <a:pt x="38" y="68"/>
                  </a:lnTo>
                  <a:lnTo>
                    <a:pt x="40" y="64"/>
                  </a:lnTo>
                  <a:lnTo>
                    <a:pt x="40" y="62"/>
                  </a:lnTo>
                  <a:lnTo>
                    <a:pt x="40" y="60"/>
                  </a:lnTo>
                  <a:lnTo>
                    <a:pt x="40" y="60"/>
                  </a:lnTo>
                  <a:lnTo>
                    <a:pt x="42" y="58"/>
                  </a:lnTo>
                  <a:lnTo>
                    <a:pt x="42" y="58"/>
                  </a:lnTo>
                  <a:lnTo>
                    <a:pt x="42" y="58"/>
                  </a:lnTo>
                  <a:lnTo>
                    <a:pt x="42" y="58"/>
                  </a:lnTo>
                  <a:lnTo>
                    <a:pt x="44" y="58"/>
                  </a:lnTo>
                  <a:lnTo>
                    <a:pt x="44" y="58"/>
                  </a:lnTo>
                  <a:lnTo>
                    <a:pt x="46" y="58"/>
                  </a:lnTo>
                  <a:lnTo>
                    <a:pt x="48" y="58"/>
                  </a:lnTo>
                  <a:lnTo>
                    <a:pt x="50" y="58"/>
                  </a:lnTo>
                  <a:lnTo>
                    <a:pt x="50" y="58"/>
                  </a:lnTo>
                  <a:lnTo>
                    <a:pt x="52" y="58"/>
                  </a:lnTo>
                  <a:lnTo>
                    <a:pt x="52" y="58"/>
                  </a:lnTo>
                  <a:lnTo>
                    <a:pt x="52" y="56"/>
                  </a:lnTo>
                  <a:lnTo>
                    <a:pt x="52" y="56"/>
                  </a:lnTo>
                  <a:lnTo>
                    <a:pt x="52" y="54"/>
                  </a:lnTo>
                  <a:lnTo>
                    <a:pt x="52" y="52"/>
                  </a:lnTo>
                  <a:lnTo>
                    <a:pt x="54" y="50"/>
                  </a:lnTo>
                  <a:lnTo>
                    <a:pt x="54" y="48"/>
                  </a:lnTo>
                  <a:lnTo>
                    <a:pt x="54" y="48"/>
                  </a:lnTo>
                  <a:lnTo>
                    <a:pt x="54" y="46"/>
                  </a:lnTo>
                  <a:lnTo>
                    <a:pt x="54" y="46"/>
                  </a:lnTo>
                  <a:lnTo>
                    <a:pt x="54" y="44"/>
                  </a:lnTo>
                  <a:lnTo>
                    <a:pt x="54" y="44"/>
                  </a:lnTo>
                  <a:lnTo>
                    <a:pt x="56" y="44"/>
                  </a:lnTo>
                  <a:lnTo>
                    <a:pt x="58" y="42"/>
                  </a:lnTo>
                  <a:lnTo>
                    <a:pt x="60" y="40"/>
                  </a:lnTo>
                  <a:lnTo>
                    <a:pt x="62" y="40"/>
                  </a:lnTo>
                  <a:lnTo>
                    <a:pt x="62" y="40"/>
                  </a:lnTo>
                  <a:lnTo>
                    <a:pt x="62" y="38"/>
                  </a:lnTo>
                  <a:lnTo>
                    <a:pt x="62" y="38"/>
                  </a:lnTo>
                  <a:lnTo>
                    <a:pt x="62" y="36"/>
                  </a:lnTo>
                  <a:lnTo>
                    <a:pt x="62" y="34"/>
                  </a:lnTo>
                  <a:lnTo>
                    <a:pt x="62" y="32"/>
                  </a:lnTo>
                  <a:lnTo>
                    <a:pt x="62" y="30"/>
                  </a:lnTo>
                  <a:lnTo>
                    <a:pt x="62" y="30"/>
                  </a:lnTo>
                  <a:lnTo>
                    <a:pt x="62" y="28"/>
                  </a:lnTo>
                  <a:lnTo>
                    <a:pt x="62" y="28"/>
                  </a:lnTo>
                  <a:lnTo>
                    <a:pt x="62" y="28"/>
                  </a:lnTo>
                  <a:lnTo>
                    <a:pt x="62" y="26"/>
                  </a:lnTo>
                  <a:lnTo>
                    <a:pt x="64" y="26"/>
                  </a:lnTo>
                  <a:lnTo>
                    <a:pt x="64" y="26"/>
                  </a:lnTo>
                  <a:lnTo>
                    <a:pt x="64" y="26"/>
                  </a:lnTo>
                  <a:lnTo>
                    <a:pt x="66" y="28"/>
                  </a:lnTo>
                  <a:lnTo>
                    <a:pt x="68" y="28"/>
                  </a:lnTo>
                  <a:lnTo>
                    <a:pt x="70" y="28"/>
                  </a:lnTo>
                  <a:lnTo>
                    <a:pt x="70" y="30"/>
                  </a:lnTo>
                  <a:lnTo>
                    <a:pt x="72" y="30"/>
                  </a:lnTo>
                  <a:lnTo>
                    <a:pt x="72" y="30"/>
                  </a:lnTo>
                  <a:lnTo>
                    <a:pt x="74" y="28"/>
                  </a:lnTo>
                  <a:lnTo>
                    <a:pt x="76" y="28"/>
                  </a:lnTo>
                  <a:lnTo>
                    <a:pt x="78" y="26"/>
                  </a:lnTo>
                  <a:lnTo>
                    <a:pt x="80" y="26"/>
                  </a:lnTo>
                  <a:lnTo>
                    <a:pt x="80" y="24"/>
                  </a:lnTo>
                  <a:lnTo>
                    <a:pt x="82" y="24"/>
                  </a:lnTo>
                  <a:lnTo>
                    <a:pt x="82" y="22"/>
                  </a:lnTo>
                  <a:lnTo>
                    <a:pt x="84" y="20"/>
                  </a:lnTo>
                  <a:lnTo>
                    <a:pt x="86" y="18"/>
                  </a:lnTo>
                  <a:lnTo>
                    <a:pt x="86" y="18"/>
                  </a:lnTo>
                  <a:lnTo>
                    <a:pt x="88" y="18"/>
                  </a:lnTo>
                  <a:lnTo>
                    <a:pt x="90" y="18"/>
                  </a:lnTo>
                  <a:lnTo>
                    <a:pt x="92" y="18"/>
                  </a:lnTo>
                  <a:lnTo>
                    <a:pt x="96" y="16"/>
                  </a:lnTo>
                  <a:lnTo>
                    <a:pt x="98" y="16"/>
                  </a:lnTo>
                  <a:lnTo>
                    <a:pt x="100" y="16"/>
                  </a:lnTo>
                  <a:lnTo>
                    <a:pt x="104" y="18"/>
                  </a:lnTo>
                  <a:lnTo>
                    <a:pt x="106" y="18"/>
                  </a:lnTo>
                  <a:lnTo>
                    <a:pt x="108" y="18"/>
                  </a:lnTo>
                  <a:lnTo>
                    <a:pt x="110" y="18"/>
                  </a:lnTo>
                  <a:lnTo>
                    <a:pt x="110" y="16"/>
                  </a:lnTo>
                  <a:lnTo>
                    <a:pt x="112" y="16"/>
                  </a:lnTo>
                  <a:lnTo>
                    <a:pt x="112" y="16"/>
                  </a:lnTo>
                  <a:lnTo>
                    <a:pt x="114" y="14"/>
                  </a:lnTo>
                  <a:lnTo>
                    <a:pt x="114" y="12"/>
                  </a:lnTo>
                  <a:lnTo>
                    <a:pt x="116" y="10"/>
                  </a:lnTo>
                  <a:lnTo>
                    <a:pt x="118" y="8"/>
                  </a:lnTo>
                  <a:lnTo>
                    <a:pt x="118" y="8"/>
                  </a:lnTo>
                  <a:lnTo>
                    <a:pt x="120" y="6"/>
                  </a:lnTo>
                  <a:lnTo>
                    <a:pt x="124" y="4"/>
                  </a:lnTo>
                  <a:lnTo>
                    <a:pt x="128" y="0"/>
                  </a:lnTo>
                  <a:lnTo>
                    <a:pt x="132" y="6"/>
                  </a:lnTo>
                  <a:lnTo>
                    <a:pt x="136" y="10"/>
                  </a:lnTo>
                  <a:lnTo>
                    <a:pt x="138" y="14"/>
                  </a:lnTo>
                  <a:lnTo>
                    <a:pt x="140" y="14"/>
                  </a:lnTo>
                  <a:lnTo>
                    <a:pt x="142" y="16"/>
                  </a:lnTo>
                  <a:lnTo>
                    <a:pt x="144" y="18"/>
                  </a:lnTo>
                  <a:lnTo>
                    <a:pt x="146" y="20"/>
                  </a:lnTo>
                  <a:lnTo>
                    <a:pt x="148" y="20"/>
                  </a:lnTo>
                  <a:lnTo>
                    <a:pt x="148" y="22"/>
                  </a:lnTo>
                  <a:lnTo>
                    <a:pt x="150" y="24"/>
                  </a:lnTo>
                  <a:lnTo>
                    <a:pt x="150" y="24"/>
                  </a:lnTo>
                  <a:lnTo>
                    <a:pt x="150" y="26"/>
                  </a:lnTo>
                  <a:lnTo>
                    <a:pt x="150" y="28"/>
                  </a:lnTo>
                  <a:lnTo>
                    <a:pt x="150" y="34"/>
                  </a:lnTo>
                  <a:lnTo>
                    <a:pt x="152" y="36"/>
                  </a:lnTo>
                  <a:lnTo>
                    <a:pt x="152" y="40"/>
                  </a:lnTo>
                  <a:lnTo>
                    <a:pt x="152" y="44"/>
                  </a:lnTo>
                  <a:lnTo>
                    <a:pt x="154" y="50"/>
                  </a:lnTo>
                  <a:lnTo>
                    <a:pt x="154" y="54"/>
                  </a:lnTo>
                  <a:lnTo>
                    <a:pt x="154" y="56"/>
                  </a:lnTo>
                  <a:lnTo>
                    <a:pt x="154" y="58"/>
                  </a:lnTo>
                  <a:lnTo>
                    <a:pt x="154" y="60"/>
                  </a:lnTo>
                  <a:lnTo>
                    <a:pt x="154" y="62"/>
                  </a:lnTo>
                  <a:lnTo>
                    <a:pt x="152" y="64"/>
                  </a:lnTo>
                  <a:lnTo>
                    <a:pt x="152" y="64"/>
                  </a:lnTo>
                  <a:lnTo>
                    <a:pt x="152" y="64"/>
                  </a:lnTo>
                  <a:lnTo>
                    <a:pt x="152" y="66"/>
                  </a:lnTo>
                  <a:lnTo>
                    <a:pt x="150" y="66"/>
                  </a:lnTo>
                  <a:lnTo>
                    <a:pt x="148" y="68"/>
                  </a:lnTo>
                  <a:lnTo>
                    <a:pt x="146" y="68"/>
                  </a:lnTo>
                  <a:lnTo>
                    <a:pt x="144" y="70"/>
                  </a:lnTo>
                  <a:lnTo>
                    <a:pt x="142" y="70"/>
                  </a:lnTo>
                  <a:lnTo>
                    <a:pt x="140" y="72"/>
                  </a:lnTo>
                  <a:lnTo>
                    <a:pt x="138" y="74"/>
                  </a:lnTo>
                  <a:lnTo>
                    <a:pt x="136" y="76"/>
                  </a:lnTo>
                  <a:lnTo>
                    <a:pt x="134" y="76"/>
                  </a:lnTo>
                  <a:lnTo>
                    <a:pt x="132" y="78"/>
                  </a:lnTo>
                  <a:lnTo>
                    <a:pt x="130" y="80"/>
                  </a:lnTo>
                  <a:lnTo>
                    <a:pt x="130" y="82"/>
                  </a:lnTo>
                  <a:lnTo>
                    <a:pt x="130" y="84"/>
                  </a:lnTo>
                  <a:lnTo>
                    <a:pt x="128" y="86"/>
                  </a:lnTo>
                  <a:lnTo>
                    <a:pt x="128" y="88"/>
                  </a:lnTo>
                  <a:lnTo>
                    <a:pt x="128" y="94"/>
                  </a:lnTo>
                  <a:lnTo>
                    <a:pt x="128" y="98"/>
                  </a:lnTo>
                  <a:lnTo>
                    <a:pt x="128" y="98"/>
                  </a:lnTo>
                  <a:lnTo>
                    <a:pt x="128" y="100"/>
                  </a:lnTo>
                  <a:lnTo>
                    <a:pt x="128" y="102"/>
                  </a:lnTo>
                  <a:lnTo>
                    <a:pt x="128" y="104"/>
                  </a:lnTo>
                  <a:lnTo>
                    <a:pt x="128" y="106"/>
                  </a:lnTo>
                  <a:lnTo>
                    <a:pt x="128" y="108"/>
                  </a:lnTo>
                  <a:lnTo>
                    <a:pt x="128" y="108"/>
                  </a:lnTo>
                  <a:lnTo>
                    <a:pt x="128" y="108"/>
                  </a:lnTo>
                  <a:lnTo>
                    <a:pt x="128" y="110"/>
                  </a:lnTo>
                  <a:lnTo>
                    <a:pt x="128" y="110"/>
                  </a:lnTo>
                  <a:lnTo>
                    <a:pt x="126" y="110"/>
                  </a:lnTo>
                  <a:lnTo>
                    <a:pt x="126" y="112"/>
                  </a:lnTo>
                  <a:lnTo>
                    <a:pt x="124" y="112"/>
                  </a:lnTo>
                  <a:lnTo>
                    <a:pt x="122" y="114"/>
                  </a:lnTo>
                  <a:lnTo>
                    <a:pt x="116" y="116"/>
                  </a:lnTo>
                  <a:lnTo>
                    <a:pt x="114" y="118"/>
                  </a:lnTo>
                  <a:lnTo>
                    <a:pt x="114" y="118"/>
                  </a:lnTo>
                  <a:lnTo>
                    <a:pt x="112" y="120"/>
                  </a:lnTo>
                  <a:lnTo>
                    <a:pt x="112" y="122"/>
                  </a:lnTo>
                  <a:lnTo>
                    <a:pt x="108" y="124"/>
                  </a:lnTo>
                  <a:lnTo>
                    <a:pt x="108" y="126"/>
                  </a:lnTo>
                  <a:lnTo>
                    <a:pt x="106" y="128"/>
                  </a:lnTo>
                  <a:lnTo>
                    <a:pt x="106" y="130"/>
                  </a:lnTo>
                  <a:lnTo>
                    <a:pt x="104" y="130"/>
                  </a:lnTo>
                  <a:lnTo>
                    <a:pt x="104" y="130"/>
                  </a:lnTo>
                  <a:lnTo>
                    <a:pt x="102" y="130"/>
                  </a:lnTo>
                  <a:lnTo>
                    <a:pt x="100" y="132"/>
                  </a:lnTo>
                  <a:lnTo>
                    <a:pt x="98" y="132"/>
                  </a:lnTo>
                  <a:lnTo>
                    <a:pt x="94" y="132"/>
                  </a:lnTo>
                  <a:lnTo>
                    <a:pt x="92" y="132"/>
                  </a:lnTo>
                  <a:lnTo>
                    <a:pt x="88" y="132"/>
                  </a:lnTo>
                  <a:lnTo>
                    <a:pt x="88" y="132"/>
                  </a:lnTo>
                  <a:lnTo>
                    <a:pt x="86" y="132"/>
                  </a:lnTo>
                  <a:lnTo>
                    <a:pt x="86" y="134"/>
                  </a:lnTo>
                  <a:lnTo>
                    <a:pt x="84" y="134"/>
                  </a:lnTo>
                  <a:lnTo>
                    <a:pt x="84" y="134"/>
                  </a:lnTo>
                  <a:lnTo>
                    <a:pt x="82" y="136"/>
                  </a:lnTo>
                  <a:lnTo>
                    <a:pt x="82" y="136"/>
                  </a:lnTo>
                  <a:lnTo>
                    <a:pt x="80" y="138"/>
                  </a:lnTo>
                  <a:lnTo>
                    <a:pt x="80" y="142"/>
                  </a:lnTo>
                  <a:lnTo>
                    <a:pt x="78" y="144"/>
                  </a:lnTo>
                  <a:lnTo>
                    <a:pt x="78" y="146"/>
                  </a:lnTo>
                  <a:lnTo>
                    <a:pt x="76" y="150"/>
                  </a:lnTo>
                  <a:lnTo>
                    <a:pt x="76" y="152"/>
                  </a:lnTo>
                  <a:lnTo>
                    <a:pt x="76" y="156"/>
                  </a:lnTo>
                  <a:lnTo>
                    <a:pt x="76" y="160"/>
                  </a:lnTo>
                  <a:lnTo>
                    <a:pt x="76" y="164"/>
                  </a:lnTo>
                  <a:lnTo>
                    <a:pt x="76" y="168"/>
                  </a:lnTo>
                  <a:lnTo>
                    <a:pt x="76" y="172"/>
                  </a:lnTo>
                  <a:lnTo>
                    <a:pt x="76" y="174"/>
                  </a:lnTo>
                  <a:lnTo>
                    <a:pt x="76" y="176"/>
                  </a:lnTo>
                  <a:lnTo>
                    <a:pt x="76" y="178"/>
                  </a:lnTo>
                  <a:lnTo>
                    <a:pt x="78" y="178"/>
                  </a:lnTo>
                  <a:lnTo>
                    <a:pt x="78" y="180"/>
                  </a:lnTo>
                  <a:lnTo>
                    <a:pt x="78" y="182"/>
                  </a:lnTo>
                  <a:lnTo>
                    <a:pt x="80" y="182"/>
                  </a:lnTo>
                  <a:lnTo>
                    <a:pt x="82" y="184"/>
                  </a:lnTo>
                  <a:lnTo>
                    <a:pt x="86" y="188"/>
                  </a:lnTo>
                  <a:lnTo>
                    <a:pt x="88" y="190"/>
                  </a:lnTo>
                  <a:lnTo>
                    <a:pt x="88" y="192"/>
                  </a:lnTo>
                  <a:lnTo>
                    <a:pt x="90" y="194"/>
                  </a:lnTo>
                  <a:lnTo>
                    <a:pt x="92" y="198"/>
                  </a:lnTo>
                  <a:lnTo>
                    <a:pt x="92" y="198"/>
                  </a:lnTo>
                  <a:lnTo>
                    <a:pt x="92" y="200"/>
                  </a:lnTo>
                  <a:lnTo>
                    <a:pt x="94" y="202"/>
                  </a:lnTo>
                  <a:lnTo>
                    <a:pt x="94" y="202"/>
                  </a:lnTo>
                  <a:lnTo>
                    <a:pt x="94" y="202"/>
                  </a:lnTo>
                  <a:lnTo>
                    <a:pt x="92" y="204"/>
                  </a:lnTo>
                  <a:lnTo>
                    <a:pt x="92" y="204"/>
                  </a:lnTo>
                  <a:lnTo>
                    <a:pt x="92" y="204"/>
                  </a:lnTo>
                  <a:lnTo>
                    <a:pt x="90" y="206"/>
                  </a:lnTo>
                  <a:lnTo>
                    <a:pt x="88" y="206"/>
                  </a:lnTo>
                  <a:lnTo>
                    <a:pt x="86" y="206"/>
                  </a:lnTo>
                  <a:lnTo>
                    <a:pt x="84" y="208"/>
                  </a:lnTo>
                  <a:lnTo>
                    <a:pt x="80" y="208"/>
                  </a:lnTo>
                  <a:lnTo>
                    <a:pt x="76" y="210"/>
                  </a:lnTo>
                  <a:lnTo>
                    <a:pt x="74" y="210"/>
                  </a:lnTo>
                  <a:lnTo>
                    <a:pt x="72" y="210"/>
                  </a:lnTo>
                  <a:lnTo>
                    <a:pt x="70" y="212"/>
                  </a:lnTo>
                  <a:lnTo>
                    <a:pt x="70" y="212"/>
                  </a:lnTo>
                  <a:lnTo>
                    <a:pt x="70" y="212"/>
                  </a:lnTo>
                  <a:lnTo>
                    <a:pt x="70" y="212"/>
                  </a:lnTo>
                  <a:lnTo>
                    <a:pt x="70" y="214"/>
                  </a:lnTo>
                  <a:lnTo>
                    <a:pt x="70" y="214"/>
                  </a:lnTo>
                  <a:lnTo>
                    <a:pt x="70" y="214"/>
                  </a:lnTo>
                  <a:lnTo>
                    <a:pt x="70" y="214"/>
                  </a:lnTo>
                  <a:lnTo>
                    <a:pt x="70" y="216"/>
                  </a:lnTo>
                  <a:lnTo>
                    <a:pt x="70" y="216"/>
                  </a:lnTo>
                  <a:lnTo>
                    <a:pt x="72" y="216"/>
                  </a:lnTo>
                  <a:lnTo>
                    <a:pt x="74" y="214"/>
                  </a:lnTo>
                  <a:lnTo>
                    <a:pt x="78" y="214"/>
                  </a:lnTo>
                  <a:lnTo>
                    <a:pt x="80" y="214"/>
                  </a:lnTo>
                  <a:lnTo>
                    <a:pt x="80" y="214"/>
                  </a:lnTo>
                  <a:lnTo>
                    <a:pt x="80" y="214"/>
                  </a:lnTo>
                  <a:lnTo>
                    <a:pt x="82" y="214"/>
                  </a:lnTo>
                  <a:lnTo>
                    <a:pt x="82" y="216"/>
                  </a:lnTo>
                  <a:lnTo>
                    <a:pt x="84" y="216"/>
                  </a:lnTo>
                  <a:lnTo>
                    <a:pt x="86" y="218"/>
                  </a:lnTo>
                  <a:lnTo>
                    <a:pt x="86" y="220"/>
                  </a:lnTo>
                  <a:lnTo>
                    <a:pt x="88" y="222"/>
                  </a:lnTo>
                  <a:lnTo>
                    <a:pt x="90" y="226"/>
                  </a:lnTo>
                  <a:lnTo>
                    <a:pt x="90" y="226"/>
                  </a:lnTo>
                  <a:lnTo>
                    <a:pt x="90" y="228"/>
                  </a:lnTo>
                  <a:lnTo>
                    <a:pt x="90" y="230"/>
                  </a:lnTo>
                  <a:lnTo>
                    <a:pt x="90" y="230"/>
                  </a:lnTo>
                  <a:lnTo>
                    <a:pt x="90" y="230"/>
                  </a:lnTo>
                  <a:lnTo>
                    <a:pt x="90" y="232"/>
                  </a:lnTo>
                  <a:lnTo>
                    <a:pt x="90" y="232"/>
                  </a:lnTo>
                  <a:lnTo>
                    <a:pt x="88" y="234"/>
                  </a:lnTo>
                  <a:lnTo>
                    <a:pt x="86" y="234"/>
                  </a:lnTo>
                  <a:lnTo>
                    <a:pt x="84" y="236"/>
                  </a:lnTo>
                  <a:lnTo>
                    <a:pt x="82" y="236"/>
                  </a:lnTo>
                  <a:lnTo>
                    <a:pt x="82" y="236"/>
                  </a:lnTo>
                  <a:lnTo>
                    <a:pt x="80" y="240"/>
                  </a:lnTo>
                  <a:lnTo>
                    <a:pt x="76" y="242"/>
                  </a:lnTo>
                  <a:lnTo>
                    <a:pt x="74" y="244"/>
                  </a:lnTo>
                  <a:lnTo>
                    <a:pt x="74" y="246"/>
                  </a:lnTo>
                  <a:lnTo>
                    <a:pt x="72" y="246"/>
                  </a:lnTo>
                  <a:lnTo>
                    <a:pt x="72" y="248"/>
                  </a:lnTo>
                  <a:lnTo>
                    <a:pt x="72" y="248"/>
                  </a:lnTo>
                  <a:lnTo>
                    <a:pt x="72" y="250"/>
                  </a:lnTo>
                  <a:lnTo>
                    <a:pt x="72" y="252"/>
                  </a:lnTo>
                  <a:lnTo>
                    <a:pt x="72" y="254"/>
                  </a:lnTo>
                  <a:lnTo>
                    <a:pt x="72" y="258"/>
                  </a:lnTo>
                  <a:lnTo>
                    <a:pt x="72" y="260"/>
                  </a:lnTo>
                  <a:lnTo>
                    <a:pt x="72" y="262"/>
                  </a:lnTo>
                  <a:lnTo>
                    <a:pt x="72" y="264"/>
                  </a:lnTo>
                  <a:lnTo>
                    <a:pt x="72" y="266"/>
                  </a:lnTo>
                  <a:lnTo>
                    <a:pt x="72" y="266"/>
                  </a:lnTo>
                  <a:lnTo>
                    <a:pt x="72" y="268"/>
                  </a:lnTo>
                  <a:lnTo>
                    <a:pt x="72" y="268"/>
                  </a:lnTo>
                  <a:lnTo>
                    <a:pt x="70" y="268"/>
                  </a:lnTo>
                  <a:lnTo>
                    <a:pt x="70" y="270"/>
                  </a:lnTo>
                  <a:lnTo>
                    <a:pt x="68" y="270"/>
                  </a:lnTo>
                  <a:lnTo>
                    <a:pt x="66" y="272"/>
                  </a:lnTo>
                  <a:lnTo>
                    <a:pt x="62" y="274"/>
                  </a:lnTo>
                  <a:lnTo>
                    <a:pt x="62" y="274"/>
                  </a:lnTo>
                  <a:lnTo>
                    <a:pt x="60" y="276"/>
                  </a:lnTo>
                  <a:lnTo>
                    <a:pt x="60" y="276"/>
                  </a:lnTo>
                  <a:lnTo>
                    <a:pt x="60" y="278"/>
                  </a:lnTo>
                  <a:lnTo>
                    <a:pt x="58" y="280"/>
                  </a:lnTo>
                  <a:lnTo>
                    <a:pt x="58" y="284"/>
                  </a:lnTo>
                  <a:lnTo>
                    <a:pt x="58" y="284"/>
                  </a:lnTo>
                  <a:lnTo>
                    <a:pt x="56" y="286"/>
                  </a:lnTo>
                  <a:lnTo>
                    <a:pt x="56" y="286"/>
                  </a:lnTo>
                  <a:lnTo>
                    <a:pt x="54" y="288"/>
                  </a:lnTo>
                  <a:lnTo>
                    <a:pt x="50" y="290"/>
                  </a:lnTo>
                  <a:lnTo>
                    <a:pt x="48" y="292"/>
                  </a:lnTo>
                  <a:lnTo>
                    <a:pt x="46" y="292"/>
                  </a:lnTo>
                  <a:lnTo>
                    <a:pt x="46" y="294"/>
                  </a:lnTo>
                  <a:lnTo>
                    <a:pt x="44" y="294"/>
                  </a:lnTo>
                  <a:lnTo>
                    <a:pt x="44" y="296"/>
                  </a:lnTo>
                  <a:lnTo>
                    <a:pt x="42" y="298"/>
                  </a:lnTo>
                  <a:lnTo>
                    <a:pt x="42" y="300"/>
                  </a:lnTo>
                  <a:lnTo>
                    <a:pt x="40" y="302"/>
                  </a:lnTo>
                  <a:lnTo>
                    <a:pt x="40" y="302"/>
                  </a:lnTo>
                  <a:lnTo>
                    <a:pt x="40" y="304"/>
                  </a:lnTo>
                  <a:lnTo>
                    <a:pt x="40" y="304"/>
                  </a:lnTo>
                  <a:lnTo>
                    <a:pt x="38" y="304"/>
                  </a:lnTo>
                  <a:lnTo>
                    <a:pt x="38" y="304"/>
                  </a:lnTo>
                  <a:lnTo>
                    <a:pt x="36" y="304"/>
                  </a:lnTo>
                  <a:lnTo>
                    <a:pt x="34" y="304"/>
                  </a:lnTo>
                  <a:lnTo>
                    <a:pt x="32" y="302"/>
                  </a:lnTo>
                  <a:lnTo>
                    <a:pt x="30" y="302"/>
                  </a:lnTo>
                  <a:lnTo>
                    <a:pt x="28" y="302"/>
                  </a:lnTo>
                  <a:lnTo>
                    <a:pt x="26" y="300"/>
                  </a:lnTo>
                  <a:lnTo>
                    <a:pt x="24" y="298"/>
                  </a:lnTo>
                  <a:lnTo>
                    <a:pt x="24" y="298"/>
                  </a:lnTo>
                  <a:lnTo>
                    <a:pt x="22" y="298"/>
                  </a:lnTo>
                  <a:lnTo>
                    <a:pt x="22" y="296"/>
                  </a:lnTo>
                  <a:lnTo>
                    <a:pt x="22" y="296"/>
                  </a:lnTo>
                  <a:lnTo>
                    <a:pt x="22" y="294"/>
                  </a:lnTo>
                  <a:lnTo>
                    <a:pt x="22" y="294"/>
                  </a:lnTo>
                  <a:lnTo>
                    <a:pt x="22" y="290"/>
                  </a:lnTo>
                  <a:lnTo>
                    <a:pt x="24" y="288"/>
                  </a:lnTo>
                  <a:lnTo>
                    <a:pt x="24" y="284"/>
                  </a:lnTo>
                  <a:lnTo>
                    <a:pt x="24" y="282"/>
                  </a:lnTo>
                  <a:lnTo>
                    <a:pt x="24" y="282"/>
                  </a:lnTo>
                  <a:lnTo>
                    <a:pt x="24" y="280"/>
                  </a:lnTo>
                  <a:lnTo>
                    <a:pt x="24" y="280"/>
                  </a:lnTo>
                  <a:lnTo>
                    <a:pt x="24" y="278"/>
                  </a:lnTo>
                  <a:lnTo>
                    <a:pt x="24" y="278"/>
                  </a:lnTo>
                  <a:lnTo>
                    <a:pt x="24" y="278"/>
                  </a:lnTo>
                  <a:lnTo>
                    <a:pt x="22" y="278"/>
                  </a:lnTo>
                  <a:lnTo>
                    <a:pt x="22" y="278"/>
                  </a:lnTo>
                  <a:lnTo>
                    <a:pt x="20" y="276"/>
                  </a:lnTo>
                  <a:lnTo>
                    <a:pt x="16" y="276"/>
                  </a:lnTo>
                  <a:lnTo>
                    <a:pt x="16" y="276"/>
                  </a:lnTo>
                  <a:lnTo>
                    <a:pt x="16" y="276"/>
                  </a:lnTo>
                  <a:lnTo>
                    <a:pt x="16" y="276"/>
                  </a:lnTo>
                  <a:lnTo>
                    <a:pt x="14" y="276"/>
                  </a:lnTo>
                  <a:lnTo>
                    <a:pt x="14" y="274"/>
                  </a:lnTo>
                  <a:lnTo>
                    <a:pt x="14" y="274"/>
                  </a:lnTo>
                  <a:lnTo>
                    <a:pt x="14" y="272"/>
                  </a:lnTo>
                  <a:lnTo>
                    <a:pt x="14" y="270"/>
                  </a:lnTo>
                  <a:lnTo>
                    <a:pt x="12" y="268"/>
                  </a:lnTo>
                  <a:lnTo>
                    <a:pt x="12" y="266"/>
                  </a:lnTo>
                  <a:lnTo>
                    <a:pt x="12" y="264"/>
                  </a:lnTo>
                  <a:lnTo>
                    <a:pt x="12" y="260"/>
                  </a:lnTo>
                  <a:lnTo>
                    <a:pt x="10" y="256"/>
                  </a:lnTo>
                  <a:lnTo>
                    <a:pt x="6" y="250"/>
                  </a:lnTo>
                  <a:lnTo>
                    <a:pt x="2" y="242"/>
                  </a:lnTo>
                  <a:lnTo>
                    <a:pt x="0" y="23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3" name="Freeform 301">
              <a:extLst>
                <a:ext uri="{FF2B5EF4-FFF2-40B4-BE49-F238E27FC236}">
                  <a16:creationId xmlns:a16="http://schemas.microsoft.com/office/drawing/2014/main" id="{FA673491-5A90-48D0-A338-B3FBF4472918}"/>
                </a:ext>
              </a:extLst>
            </p:cNvPr>
            <p:cNvSpPr>
              <a:spLocks/>
            </p:cNvSpPr>
            <p:nvPr/>
          </p:nvSpPr>
          <p:spPr bwMode="auto">
            <a:xfrm>
              <a:off x="4532487" y="2394513"/>
              <a:ext cx="266740" cy="526551"/>
            </a:xfrm>
            <a:custGeom>
              <a:avLst/>
              <a:gdLst>
                <a:gd name="T0" fmla="*/ 6 w 154"/>
                <a:gd name="T1" fmla="*/ 222 h 304"/>
                <a:gd name="T2" fmla="*/ 10 w 154"/>
                <a:gd name="T3" fmla="*/ 208 h 304"/>
                <a:gd name="T4" fmla="*/ 22 w 154"/>
                <a:gd name="T5" fmla="*/ 204 h 304"/>
                <a:gd name="T6" fmla="*/ 24 w 154"/>
                <a:gd name="T7" fmla="*/ 198 h 304"/>
                <a:gd name="T8" fmla="*/ 18 w 154"/>
                <a:gd name="T9" fmla="*/ 180 h 304"/>
                <a:gd name="T10" fmla="*/ 12 w 154"/>
                <a:gd name="T11" fmla="*/ 160 h 304"/>
                <a:gd name="T12" fmla="*/ 6 w 154"/>
                <a:gd name="T13" fmla="*/ 126 h 304"/>
                <a:gd name="T14" fmla="*/ 10 w 154"/>
                <a:gd name="T15" fmla="*/ 116 h 304"/>
                <a:gd name="T16" fmla="*/ 16 w 154"/>
                <a:gd name="T17" fmla="*/ 116 h 304"/>
                <a:gd name="T18" fmla="*/ 26 w 154"/>
                <a:gd name="T19" fmla="*/ 116 h 304"/>
                <a:gd name="T20" fmla="*/ 30 w 154"/>
                <a:gd name="T21" fmla="*/ 112 h 304"/>
                <a:gd name="T22" fmla="*/ 22 w 154"/>
                <a:gd name="T23" fmla="*/ 106 h 304"/>
                <a:gd name="T24" fmla="*/ 22 w 154"/>
                <a:gd name="T25" fmla="*/ 100 h 304"/>
                <a:gd name="T26" fmla="*/ 28 w 154"/>
                <a:gd name="T27" fmla="*/ 82 h 304"/>
                <a:gd name="T28" fmla="*/ 30 w 154"/>
                <a:gd name="T29" fmla="*/ 72 h 304"/>
                <a:gd name="T30" fmla="*/ 38 w 154"/>
                <a:gd name="T31" fmla="*/ 68 h 304"/>
                <a:gd name="T32" fmla="*/ 42 w 154"/>
                <a:gd name="T33" fmla="*/ 58 h 304"/>
                <a:gd name="T34" fmla="*/ 50 w 154"/>
                <a:gd name="T35" fmla="*/ 58 h 304"/>
                <a:gd name="T36" fmla="*/ 52 w 154"/>
                <a:gd name="T37" fmla="*/ 52 h 304"/>
                <a:gd name="T38" fmla="*/ 54 w 154"/>
                <a:gd name="T39" fmla="*/ 44 h 304"/>
                <a:gd name="T40" fmla="*/ 62 w 154"/>
                <a:gd name="T41" fmla="*/ 38 h 304"/>
                <a:gd name="T42" fmla="*/ 62 w 154"/>
                <a:gd name="T43" fmla="*/ 28 h 304"/>
                <a:gd name="T44" fmla="*/ 68 w 154"/>
                <a:gd name="T45" fmla="*/ 28 h 304"/>
                <a:gd name="T46" fmla="*/ 78 w 154"/>
                <a:gd name="T47" fmla="*/ 26 h 304"/>
                <a:gd name="T48" fmla="*/ 86 w 154"/>
                <a:gd name="T49" fmla="*/ 18 h 304"/>
                <a:gd name="T50" fmla="*/ 104 w 154"/>
                <a:gd name="T51" fmla="*/ 18 h 304"/>
                <a:gd name="T52" fmla="*/ 114 w 154"/>
                <a:gd name="T53" fmla="*/ 14 h 304"/>
                <a:gd name="T54" fmla="*/ 128 w 154"/>
                <a:gd name="T55" fmla="*/ 0 h 304"/>
                <a:gd name="T56" fmla="*/ 146 w 154"/>
                <a:gd name="T57" fmla="*/ 20 h 304"/>
                <a:gd name="T58" fmla="*/ 150 w 154"/>
                <a:gd name="T59" fmla="*/ 34 h 304"/>
                <a:gd name="T60" fmla="*/ 154 w 154"/>
                <a:gd name="T61" fmla="*/ 58 h 304"/>
                <a:gd name="T62" fmla="*/ 150 w 154"/>
                <a:gd name="T63" fmla="*/ 66 h 304"/>
                <a:gd name="T64" fmla="*/ 136 w 154"/>
                <a:gd name="T65" fmla="*/ 76 h 304"/>
                <a:gd name="T66" fmla="*/ 128 w 154"/>
                <a:gd name="T67" fmla="*/ 88 h 304"/>
                <a:gd name="T68" fmla="*/ 128 w 154"/>
                <a:gd name="T69" fmla="*/ 106 h 304"/>
                <a:gd name="T70" fmla="*/ 126 w 154"/>
                <a:gd name="T71" fmla="*/ 112 h 304"/>
                <a:gd name="T72" fmla="*/ 112 w 154"/>
                <a:gd name="T73" fmla="*/ 122 h 304"/>
                <a:gd name="T74" fmla="*/ 102 w 154"/>
                <a:gd name="T75" fmla="*/ 130 h 304"/>
                <a:gd name="T76" fmla="*/ 86 w 154"/>
                <a:gd name="T77" fmla="*/ 132 h 304"/>
                <a:gd name="T78" fmla="*/ 80 w 154"/>
                <a:gd name="T79" fmla="*/ 142 h 304"/>
                <a:gd name="T80" fmla="*/ 76 w 154"/>
                <a:gd name="T81" fmla="*/ 164 h 304"/>
                <a:gd name="T82" fmla="*/ 78 w 154"/>
                <a:gd name="T83" fmla="*/ 180 h 304"/>
                <a:gd name="T84" fmla="*/ 90 w 154"/>
                <a:gd name="T85" fmla="*/ 194 h 304"/>
                <a:gd name="T86" fmla="*/ 92 w 154"/>
                <a:gd name="T87" fmla="*/ 204 h 304"/>
                <a:gd name="T88" fmla="*/ 80 w 154"/>
                <a:gd name="T89" fmla="*/ 208 h 304"/>
                <a:gd name="T90" fmla="*/ 70 w 154"/>
                <a:gd name="T91" fmla="*/ 212 h 304"/>
                <a:gd name="T92" fmla="*/ 72 w 154"/>
                <a:gd name="T93" fmla="*/ 216 h 304"/>
                <a:gd name="T94" fmla="*/ 82 w 154"/>
                <a:gd name="T95" fmla="*/ 216 h 304"/>
                <a:gd name="T96" fmla="*/ 90 w 154"/>
                <a:gd name="T97" fmla="*/ 228 h 304"/>
                <a:gd name="T98" fmla="*/ 86 w 154"/>
                <a:gd name="T99" fmla="*/ 234 h 304"/>
                <a:gd name="T100" fmla="*/ 74 w 154"/>
                <a:gd name="T101" fmla="*/ 246 h 304"/>
                <a:gd name="T102" fmla="*/ 72 w 154"/>
                <a:gd name="T103" fmla="*/ 258 h 304"/>
                <a:gd name="T104" fmla="*/ 72 w 154"/>
                <a:gd name="T105" fmla="*/ 268 h 304"/>
                <a:gd name="T106" fmla="*/ 60 w 154"/>
                <a:gd name="T107" fmla="*/ 276 h 304"/>
                <a:gd name="T108" fmla="*/ 56 w 154"/>
                <a:gd name="T109" fmla="*/ 286 h 304"/>
                <a:gd name="T110" fmla="*/ 44 w 154"/>
                <a:gd name="T111" fmla="*/ 296 h 304"/>
                <a:gd name="T112" fmla="*/ 38 w 154"/>
                <a:gd name="T113" fmla="*/ 304 h 304"/>
                <a:gd name="T114" fmla="*/ 26 w 154"/>
                <a:gd name="T115" fmla="*/ 300 h 304"/>
                <a:gd name="T116" fmla="*/ 22 w 154"/>
                <a:gd name="T117" fmla="*/ 294 h 304"/>
                <a:gd name="T118" fmla="*/ 24 w 154"/>
                <a:gd name="T119" fmla="*/ 280 h 304"/>
                <a:gd name="T120" fmla="*/ 16 w 154"/>
                <a:gd name="T121" fmla="*/ 276 h 304"/>
                <a:gd name="T122" fmla="*/ 14 w 154"/>
                <a:gd name="T123" fmla="*/ 272 h 304"/>
                <a:gd name="T124" fmla="*/ 6 w 154"/>
                <a:gd name="T125" fmla="*/ 25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4" h="304">
                  <a:moveTo>
                    <a:pt x="0" y="236"/>
                  </a:moveTo>
                  <a:lnTo>
                    <a:pt x="0" y="236"/>
                  </a:lnTo>
                  <a:lnTo>
                    <a:pt x="2" y="232"/>
                  </a:lnTo>
                  <a:lnTo>
                    <a:pt x="4" y="230"/>
                  </a:lnTo>
                  <a:lnTo>
                    <a:pt x="6" y="226"/>
                  </a:lnTo>
                  <a:lnTo>
                    <a:pt x="6" y="224"/>
                  </a:lnTo>
                  <a:lnTo>
                    <a:pt x="6" y="222"/>
                  </a:lnTo>
                  <a:lnTo>
                    <a:pt x="6" y="218"/>
                  </a:lnTo>
                  <a:lnTo>
                    <a:pt x="8" y="216"/>
                  </a:lnTo>
                  <a:lnTo>
                    <a:pt x="8" y="212"/>
                  </a:lnTo>
                  <a:lnTo>
                    <a:pt x="10" y="210"/>
                  </a:lnTo>
                  <a:lnTo>
                    <a:pt x="10" y="210"/>
                  </a:lnTo>
                  <a:lnTo>
                    <a:pt x="10" y="210"/>
                  </a:lnTo>
                  <a:lnTo>
                    <a:pt x="10" y="208"/>
                  </a:lnTo>
                  <a:lnTo>
                    <a:pt x="12" y="208"/>
                  </a:lnTo>
                  <a:lnTo>
                    <a:pt x="12" y="208"/>
                  </a:lnTo>
                  <a:lnTo>
                    <a:pt x="16" y="206"/>
                  </a:lnTo>
                  <a:lnTo>
                    <a:pt x="18" y="206"/>
                  </a:lnTo>
                  <a:lnTo>
                    <a:pt x="20" y="204"/>
                  </a:lnTo>
                  <a:lnTo>
                    <a:pt x="22" y="204"/>
                  </a:lnTo>
                  <a:lnTo>
                    <a:pt x="22" y="204"/>
                  </a:lnTo>
                  <a:lnTo>
                    <a:pt x="22" y="202"/>
                  </a:lnTo>
                  <a:lnTo>
                    <a:pt x="24" y="202"/>
                  </a:lnTo>
                  <a:lnTo>
                    <a:pt x="24" y="202"/>
                  </a:lnTo>
                  <a:lnTo>
                    <a:pt x="24" y="200"/>
                  </a:lnTo>
                  <a:lnTo>
                    <a:pt x="24" y="200"/>
                  </a:lnTo>
                  <a:lnTo>
                    <a:pt x="24" y="198"/>
                  </a:lnTo>
                  <a:lnTo>
                    <a:pt x="24" y="198"/>
                  </a:lnTo>
                  <a:lnTo>
                    <a:pt x="24" y="196"/>
                  </a:lnTo>
                  <a:lnTo>
                    <a:pt x="24" y="192"/>
                  </a:lnTo>
                  <a:lnTo>
                    <a:pt x="22" y="190"/>
                  </a:lnTo>
                  <a:lnTo>
                    <a:pt x="22" y="188"/>
                  </a:lnTo>
                  <a:lnTo>
                    <a:pt x="20" y="184"/>
                  </a:lnTo>
                  <a:lnTo>
                    <a:pt x="20" y="182"/>
                  </a:lnTo>
                  <a:lnTo>
                    <a:pt x="18" y="180"/>
                  </a:lnTo>
                  <a:lnTo>
                    <a:pt x="16" y="176"/>
                  </a:lnTo>
                  <a:lnTo>
                    <a:pt x="14" y="172"/>
                  </a:lnTo>
                  <a:lnTo>
                    <a:pt x="14" y="170"/>
                  </a:lnTo>
                  <a:lnTo>
                    <a:pt x="12" y="168"/>
                  </a:lnTo>
                  <a:lnTo>
                    <a:pt x="12" y="166"/>
                  </a:lnTo>
                  <a:lnTo>
                    <a:pt x="12" y="164"/>
                  </a:lnTo>
                  <a:lnTo>
                    <a:pt x="12" y="160"/>
                  </a:lnTo>
                  <a:lnTo>
                    <a:pt x="10" y="152"/>
                  </a:lnTo>
                  <a:lnTo>
                    <a:pt x="8" y="146"/>
                  </a:lnTo>
                  <a:lnTo>
                    <a:pt x="8" y="138"/>
                  </a:lnTo>
                  <a:lnTo>
                    <a:pt x="6" y="134"/>
                  </a:lnTo>
                  <a:lnTo>
                    <a:pt x="6" y="130"/>
                  </a:lnTo>
                  <a:lnTo>
                    <a:pt x="6" y="128"/>
                  </a:lnTo>
                  <a:lnTo>
                    <a:pt x="6" y="126"/>
                  </a:lnTo>
                  <a:lnTo>
                    <a:pt x="6" y="124"/>
                  </a:lnTo>
                  <a:lnTo>
                    <a:pt x="6" y="122"/>
                  </a:lnTo>
                  <a:lnTo>
                    <a:pt x="8" y="120"/>
                  </a:lnTo>
                  <a:lnTo>
                    <a:pt x="8" y="118"/>
                  </a:lnTo>
                  <a:lnTo>
                    <a:pt x="8" y="116"/>
                  </a:lnTo>
                  <a:lnTo>
                    <a:pt x="10" y="116"/>
                  </a:lnTo>
                  <a:lnTo>
                    <a:pt x="10" y="116"/>
                  </a:lnTo>
                  <a:lnTo>
                    <a:pt x="10" y="114"/>
                  </a:lnTo>
                  <a:lnTo>
                    <a:pt x="10" y="114"/>
                  </a:lnTo>
                  <a:lnTo>
                    <a:pt x="12" y="114"/>
                  </a:lnTo>
                  <a:lnTo>
                    <a:pt x="12" y="114"/>
                  </a:lnTo>
                  <a:lnTo>
                    <a:pt x="12" y="114"/>
                  </a:lnTo>
                  <a:lnTo>
                    <a:pt x="14" y="116"/>
                  </a:lnTo>
                  <a:lnTo>
                    <a:pt x="16" y="116"/>
                  </a:lnTo>
                  <a:lnTo>
                    <a:pt x="18" y="116"/>
                  </a:lnTo>
                  <a:lnTo>
                    <a:pt x="20" y="118"/>
                  </a:lnTo>
                  <a:lnTo>
                    <a:pt x="22" y="118"/>
                  </a:lnTo>
                  <a:lnTo>
                    <a:pt x="24" y="118"/>
                  </a:lnTo>
                  <a:lnTo>
                    <a:pt x="24" y="118"/>
                  </a:lnTo>
                  <a:lnTo>
                    <a:pt x="24" y="118"/>
                  </a:lnTo>
                  <a:lnTo>
                    <a:pt x="26" y="116"/>
                  </a:lnTo>
                  <a:lnTo>
                    <a:pt x="26" y="116"/>
                  </a:lnTo>
                  <a:lnTo>
                    <a:pt x="28" y="116"/>
                  </a:lnTo>
                  <a:lnTo>
                    <a:pt x="28" y="114"/>
                  </a:lnTo>
                  <a:lnTo>
                    <a:pt x="30" y="114"/>
                  </a:lnTo>
                  <a:lnTo>
                    <a:pt x="30" y="114"/>
                  </a:lnTo>
                  <a:lnTo>
                    <a:pt x="30" y="112"/>
                  </a:lnTo>
                  <a:lnTo>
                    <a:pt x="30" y="112"/>
                  </a:lnTo>
                  <a:lnTo>
                    <a:pt x="30" y="112"/>
                  </a:lnTo>
                  <a:lnTo>
                    <a:pt x="30" y="110"/>
                  </a:lnTo>
                  <a:lnTo>
                    <a:pt x="28" y="110"/>
                  </a:lnTo>
                  <a:lnTo>
                    <a:pt x="28" y="110"/>
                  </a:lnTo>
                  <a:lnTo>
                    <a:pt x="26" y="108"/>
                  </a:lnTo>
                  <a:lnTo>
                    <a:pt x="24" y="108"/>
                  </a:lnTo>
                  <a:lnTo>
                    <a:pt x="22" y="106"/>
                  </a:lnTo>
                  <a:lnTo>
                    <a:pt x="22" y="106"/>
                  </a:lnTo>
                  <a:lnTo>
                    <a:pt x="22" y="106"/>
                  </a:lnTo>
                  <a:lnTo>
                    <a:pt x="22" y="104"/>
                  </a:lnTo>
                  <a:lnTo>
                    <a:pt x="22" y="104"/>
                  </a:lnTo>
                  <a:lnTo>
                    <a:pt x="22" y="104"/>
                  </a:lnTo>
                  <a:lnTo>
                    <a:pt x="22" y="102"/>
                  </a:lnTo>
                  <a:lnTo>
                    <a:pt x="22" y="100"/>
                  </a:lnTo>
                  <a:lnTo>
                    <a:pt x="24" y="98"/>
                  </a:lnTo>
                  <a:lnTo>
                    <a:pt x="26" y="96"/>
                  </a:lnTo>
                  <a:lnTo>
                    <a:pt x="28" y="94"/>
                  </a:lnTo>
                  <a:lnTo>
                    <a:pt x="28" y="92"/>
                  </a:lnTo>
                  <a:lnTo>
                    <a:pt x="28" y="90"/>
                  </a:lnTo>
                  <a:lnTo>
                    <a:pt x="28" y="88"/>
                  </a:lnTo>
                  <a:lnTo>
                    <a:pt x="28" y="82"/>
                  </a:lnTo>
                  <a:lnTo>
                    <a:pt x="28" y="80"/>
                  </a:lnTo>
                  <a:lnTo>
                    <a:pt x="28" y="78"/>
                  </a:lnTo>
                  <a:lnTo>
                    <a:pt x="28" y="76"/>
                  </a:lnTo>
                  <a:lnTo>
                    <a:pt x="30" y="74"/>
                  </a:lnTo>
                  <a:lnTo>
                    <a:pt x="30" y="74"/>
                  </a:lnTo>
                  <a:lnTo>
                    <a:pt x="30" y="74"/>
                  </a:lnTo>
                  <a:lnTo>
                    <a:pt x="30" y="72"/>
                  </a:lnTo>
                  <a:lnTo>
                    <a:pt x="32" y="72"/>
                  </a:lnTo>
                  <a:lnTo>
                    <a:pt x="34" y="72"/>
                  </a:lnTo>
                  <a:lnTo>
                    <a:pt x="36" y="70"/>
                  </a:lnTo>
                  <a:lnTo>
                    <a:pt x="38" y="70"/>
                  </a:lnTo>
                  <a:lnTo>
                    <a:pt x="38" y="70"/>
                  </a:lnTo>
                  <a:lnTo>
                    <a:pt x="38" y="70"/>
                  </a:lnTo>
                  <a:lnTo>
                    <a:pt x="38" y="68"/>
                  </a:lnTo>
                  <a:lnTo>
                    <a:pt x="38" y="68"/>
                  </a:lnTo>
                  <a:lnTo>
                    <a:pt x="40" y="64"/>
                  </a:lnTo>
                  <a:lnTo>
                    <a:pt x="40" y="62"/>
                  </a:lnTo>
                  <a:lnTo>
                    <a:pt x="40" y="60"/>
                  </a:lnTo>
                  <a:lnTo>
                    <a:pt x="40" y="60"/>
                  </a:lnTo>
                  <a:lnTo>
                    <a:pt x="42" y="58"/>
                  </a:lnTo>
                  <a:lnTo>
                    <a:pt x="42" y="58"/>
                  </a:lnTo>
                  <a:lnTo>
                    <a:pt x="42" y="58"/>
                  </a:lnTo>
                  <a:lnTo>
                    <a:pt x="42" y="58"/>
                  </a:lnTo>
                  <a:lnTo>
                    <a:pt x="44" y="58"/>
                  </a:lnTo>
                  <a:lnTo>
                    <a:pt x="44" y="58"/>
                  </a:lnTo>
                  <a:lnTo>
                    <a:pt x="46" y="58"/>
                  </a:lnTo>
                  <a:lnTo>
                    <a:pt x="48" y="58"/>
                  </a:lnTo>
                  <a:lnTo>
                    <a:pt x="50" y="58"/>
                  </a:lnTo>
                  <a:lnTo>
                    <a:pt x="50" y="58"/>
                  </a:lnTo>
                  <a:lnTo>
                    <a:pt x="52" y="58"/>
                  </a:lnTo>
                  <a:lnTo>
                    <a:pt x="52" y="58"/>
                  </a:lnTo>
                  <a:lnTo>
                    <a:pt x="52" y="56"/>
                  </a:lnTo>
                  <a:lnTo>
                    <a:pt x="52" y="56"/>
                  </a:lnTo>
                  <a:lnTo>
                    <a:pt x="52" y="54"/>
                  </a:lnTo>
                  <a:lnTo>
                    <a:pt x="52" y="52"/>
                  </a:lnTo>
                  <a:lnTo>
                    <a:pt x="54" y="50"/>
                  </a:lnTo>
                  <a:lnTo>
                    <a:pt x="54" y="48"/>
                  </a:lnTo>
                  <a:lnTo>
                    <a:pt x="54" y="48"/>
                  </a:lnTo>
                  <a:lnTo>
                    <a:pt x="54" y="46"/>
                  </a:lnTo>
                  <a:lnTo>
                    <a:pt x="54" y="46"/>
                  </a:lnTo>
                  <a:lnTo>
                    <a:pt x="54" y="44"/>
                  </a:lnTo>
                  <a:lnTo>
                    <a:pt x="54" y="44"/>
                  </a:lnTo>
                  <a:lnTo>
                    <a:pt x="56" y="44"/>
                  </a:lnTo>
                  <a:lnTo>
                    <a:pt x="58" y="42"/>
                  </a:lnTo>
                  <a:lnTo>
                    <a:pt x="60" y="40"/>
                  </a:lnTo>
                  <a:lnTo>
                    <a:pt x="62" y="40"/>
                  </a:lnTo>
                  <a:lnTo>
                    <a:pt x="62" y="40"/>
                  </a:lnTo>
                  <a:lnTo>
                    <a:pt x="62" y="38"/>
                  </a:lnTo>
                  <a:lnTo>
                    <a:pt x="62" y="38"/>
                  </a:lnTo>
                  <a:lnTo>
                    <a:pt x="62" y="36"/>
                  </a:lnTo>
                  <a:lnTo>
                    <a:pt x="62" y="34"/>
                  </a:lnTo>
                  <a:lnTo>
                    <a:pt x="62" y="32"/>
                  </a:lnTo>
                  <a:lnTo>
                    <a:pt x="62" y="30"/>
                  </a:lnTo>
                  <a:lnTo>
                    <a:pt x="62" y="30"/>
                  </a:lnTo>
                  <a:lnTo>
                    <a:pt x="62" y="28"/>
                  </a:lnTo>
                  <a:lnTo>
                    <a:pt x="62" y="28"/>
                  </a:lnTo>
                  <a:lnTo>
                    <a:pt x="62" y="28"/>
                  </a:lnTo>
                  <a:lnTo>
                    <a:pt x="62" y="26"/>
                  </a:lnTo>
                  <a:lnTo>
                    <a:pt x="64" y="26"/>
                  </a:lnTo>
                  <a:lnTo>
                    <a:pt x="64" y="26"/>
                  </a:lnTo>
                  <a:lnTo>
                    <a:pt x="64" y="26"/>
                  </a:lnTo>
                  <a:lnTo>
                    <a:pt x="66" y="28"/>
                  </a:lnTo>
                  <a:lnTo>
                    <a:pt x="68" y="28"/>
                  </a:lnTo>
                  <a:lnTo>
                    <a:pt x="70" y="28"/>
                  </a:lnTo>
                  <a:lnTo>
                    <a:pt x="70" y="30"/>
                  </a:lnTo>
                  <a:lnTo>
                    <a:pt x="72" y="30"/>
                  </a:lnTo>
                  <a:lnTo>
                    <a:pt x="72" y="30"/>
                  </a:lnTo>
                  <a:lnTo>
                    <a:pt x="74" y="28"/>
                  </a:lnTo>
                  <a:lnTo>
                    <a:pt x="76" y="28"/>
                  </a:lnTo>
                  <a:lnTo>
                    <a:pt x="78" y="26"/>
                  </a:lnTo>
                  <a:lnTo>
                    <a:pt x="80" y="26"/>
                  </a:lnTo>
                  <a:lnTo>
                    <a:pt x="80" y="24"/>
                  </a:lnTo>
                  <a:lnTo>
                    <a:pt x="82" y="24"/>
                  </a:lnTo>
                  <a:lnTo>
                    <a:pt x="82" y="22"/>
                  </a:lnTo>
                  <a:lnTo>
                    <a:pt x="84" y="20"/>
                  </a:lnTo>
                  <a:lnTo>
                    <a:pt x="86" y="18"/>
                  </a:lnTo>
                  <a:lnTo>
                    <a:pt x="86" y="18"/>
                  </a:lnTo>
                  <a:lnTo>
                    <a:pt x="88" y="18"/>
                  </a:lnTo>
                  <a:lnTo>
                    <a:pt x="90" y="18"/>
                  </a:lnTo>
                  <a:lnTo>
                    <a:pt x="92" y="18"/>
                  </a:lnTo>
                  <a:lnTo>
                    <a:pt x="96" y="16"/>
                  </a:lnTo>
                  <a:lnTo>
                    <a:pt x="98" y="16"/>
                  </a:lnTo>
                  <a:lnTo>
                    <a:pt x="100" y="16"/>
                  </a:lnTo>
                  <a:lnTo>
                    <a:pt x="104" y="18"/>
                  </a:lnTo>
                  <a:lnTo>
                    <a:pt x="106" y="18"/>
                  </a:lnTo>
                  <a:lnTo>
                    <a:pt x="108" y="18"/>
                  </a:lnTo>
                  <a:lnTo>
                    <a:pt x="110" y="18"/>
                  </a:lnTo>
                  <a:lnTo>
                    <a:pt x="110" y="16"/>
                  </a:lnTo>
                  <a:lnTo>
                    <a:pt x="112" y="16"/>
                  </a:lnTo>
                  <a:lnTo>
                    <a:pt x="112" y="16"/>
                  </a:lnTo>
                  <a:lnTo>
                    <a:pt x="114" y="14"/>
                  </a:lnTo>
                  <a:lnTo>
                    <a:pt x="114" y="12"/>
                  </a:lnTo>
                  <a:lnTo>
                    <a:pt x="116" y="10"/>
                  </a:lnTo>
                  <a:lnTo>
                    <a:pt x="118" y="8"/>
                  </a:lnTo>
                  <a:lnTo>
                    <a:pt x="118" y="8"/>
                  </a:lnTo>
                  <a:lnTo>
                    <a:pt x="120" y="6"/>
                  </a:lnTo>
                  <a:lnTo>
                    <a:pt x="124" y="4"/>
                  </a:lnTo>
                  <a:lnTo>
                    <a:pt x="128" y="0"/>
                  </a:lnTo>
                  <a:lnTo>
                    <a:pt x="132" y="6"/>
                  </a:lnTo>
                  <a:lnTo>
                    <a:pt x="136" y="10"/>
                  </a:lnTo>
                  <a:lnTo>
                    <a:pt x="138" y="14"/>
                  </a:lnTo>
                  <a:lnTo>
                    <a:pt x="140" y="14"/>
                  </a:lnTo>
                  <a:lnTo>
                    <a:pt x="142" y="16"/>
                  </a:lnTo>
                  <a:lnTo>
                    <a:pt x="144" y="18"/>
                  </a:lnTo>
                  <a:lnTo>
                    <a:pt x="146" y="20"/>
                  </a:lnTo>
                  <a:lnTo>
                    <a:pt x="148" y="20"/>
                  </a:lnTo>
                  <a:lnTo>
                    <a:pt x="148" y="22"/>
                  </a:lnTo>
                  <a:lnTo>
                    <a:pt x="150" y="24"/>
                  </a:lnTo>
                  <a:lnTo>
                    <a:pt x="150" y="24"/>
                  </a:lnTo>
                  <a:lnTo>
                    <a:pt x="150" y="26"/>
                  </a:lnTo>
                  <a:lnTo>
                    <a:pt x="150" y="28"/>
                  </a:lnTo>
                  <a:lnTo>
                    <a:pt x="150" y="34"/>
                  </a:lnTo>
                  <a:lnTo>
                    <a:pt x="152" y="36"/>
                  </a:lnTo>
                  <a:lnTo>
                    <a:pt x="152" y="40"/>
                  </a:lnTo>
                  <a:lnTo>
                    <a:pt x="152" y="44"/>
                  </a:lnTo>
                  <a:lnTo>
                    <a:pt x="154" y="50"/>
                  </a:lnTo>
                  <a:lnTo>
                    <a:pt x="154" y="54"/>
                  </a:lnTo>
                  <a:lnTo>
                    <a:pt x="154" y="56"/>
                  </a:lnTo>
                  <a:lnTo>
                    <a:pt x="154" y="58"/>
                  </a:lnTo>
                  <a:lnTo>
                    <a:pt x="154" y="60"/>
                  </a:lnTo>
                  <a:lnTo>
                    <a:pt x="154" y="62"/>
                  </a:lnTo>
                  <a:lnTo>
                    <a:pt x="152" y="64"/>
                  </a:lnTo>
                  <a:lnTo>
                    <a:pt x="152" y="64"/>
                  </a:lnTo>
                  <a:lnTo>
                    <a:pt x="152" y="64"/>
                  </a:lnTo>
                  <a:lnTo>
                    <a:pt x="152" y="66"/>
                  </a:lnTo>
                  <a:lnTo>
                    <a:pt x="150" y="66"/>
                  </a:lnTo>
                  <a:lnTo>
                    <a:pt x="148" y="68"/>
                  </a:lnTo>
                  <a:lnTo>
                    <a:pt x="146" y="68"/>
                  </a:lnTo>
                  <a:lnTo>
                    <a:pt x="144" y="70"/>
                  </a:lnTo>
                  <a:lnTo>
                    <a:pt x="142" y="70"/>
                  </a:lnTo>
                  <a:lnTo>
                    <a:pt x="140" y="72"/>
                  </a:lnTo>
                  <a:lnTo>
                    <a:pt x="138" y="74"/>
                  </a:lnTo>
                  <a:lnTo>
                    <a:pt x="136" y="76"/>
                  </a:lnTo>
                  <a:lnTo>
                    <a:pt x="134" y="76"/>
                  </a:lnTo>
                  <a:lnTo>
                    <a:pt x="132" y="78"/>
                  </a:lnTo>
                  <a:lnTo>
                    <a:pt x="130" y="80"/>
                  </a:lnTo>
                  <a:lnTo>
                    <a:pt x="130" y="82"/>
                  </a:lnTo>
                  <a:lnTo>
                    <a:pt x="130" y="84"/>
                  </a:lnTo>
                  <a:lnTo>
                    <a:pt x="128" y="86"/>
                  </a:lnTo>
                  <a:lnTo>
                    <a:pt x="128" y="88"/>
                  </a:lnTo>
                  <a:lnTo>
                    <a:pt x="128" y="94"/>
                  </a:lnTo>
                  <a:lnTo>
                    <a:pt x="128" y="98"/>
                  </a:lnTo>
                  <a:lnTo>
                    <a:pt x="128" y="98"/>
                  </a:lnTo>
                  <a:lnTo>
                    <a:pt x="128" y="100"/>
                  </a:lnTo>
                  <a:lnTo>
                    <a:pt x="128" y="102"/>
                  </a:lnTo>
                  <a:lnTo>
                    <a:pt x="128" y="104"/>
                  </a:lnTo>
                  <a:lnTo>
                    <a:pt x="128" y="106"/>
                  </a:lnTo>
                  <a:lnTo>
                    <a:pt x="128" y="108"/>
                  </a:lnTo>
                  <a:lnTo>
                    <a:pt x="128" y="108"/>
                  </a:lnTo>
                  <a:lnTo>
                    <a:pt x="128" y="108"/>
                  </a:lnTo>
                  <a:lnTo>
                    <a:pt x="128" y="110"/>
                  </a:lnTo>
                  <a:lnTo>
                    <a:pt x="128" y="110"/>
                  </a:lnTo>
                  <a:lnTo>
                    <a:pt x="126" y="110"/>
                  </a:lnTo>
                  <a:lnTo>
                    <a:pt x="126" y="112"/>
                  </a:lnTo>
                  <a:lnTo>
                    <a:pt x="124" y="112"/>
                  </a:lnTo>
                  <a:lnTo>
                    <a:pt x="122" y="114"/>
                  </a:lnTo>
                  <a:lnTo>
                    <a:pt x="116" y="116"/>
                  </a:lnTo>
                  <a:lnTo>
                    <a:pt x="114" y="118"/>
                  </a:lnTo>
                  <a:lnTo>
                    <a:pt x="114" y="118"/>
                  </a:lnTo>
                  <a:lnTo>
                    <a:pt x="112" y="120"/>
                  </a:lnTo>
                  <a:lnTo>
                    <a:pt x="112" y="122"/>
                  </a:lnTo>
                  <a:lnTo>
                    <a:pt x="108" y="124"/>
                  </a:lnTo>
                  <a:lnTo>
                    <a:pt x="108" y="126"/>
                  </a:lnTo>
                  <a:lnTo>
                    <a:pt x="106" y="128"/>
                  </a:lnTo>
                  <a:lnTo>
                    <a:pt x="106" y="130"/>
                  </a:lnTo>
                  <a:lnTo>
                    <a:pt x="104" y="130"/>
                  </a:lnTo>
                  <a:lnTo>
                    <a:pt x="104" y="130"/>
                  </a:lnTo>
                  <a:lnTo>
                    <a:pt x="102" y="130"/>
                  </a:lnTo>
                  <a:lnTo>
                    <a:pt x="100" y="132"/>
                  </a:lnTo>
                  <a:lnTo>
                    <a:pt x="98" y="132"/>
                  </a:lnTo>
                  <a:lnTo>
                    <a:pt x="94" y="132"/>
                  </a:lnTo>
                  <a:lnTo>
                    <a:pt x="92" y="132"/>
                  </a:lnTo>
                  <a:lnTo>
                    <a:pt x="88" y="132"/>
                  </a:lnTo>
                  <a:lnTo>
                    <a:pt x="88" y="132"/>
                  </a:lnTo>
                  <a:lnTo>
                    <a:pt x="86" y="132"/>
                  </a:lnTo>
                  <a:lnTo>
                    <a:pt x="86" y="134"/>
                  </a:lnTo>
                  <a:lnTo>
                    <a:pt x="84" y="134"/>
                  </a:lnTo>
                  <a:lnTo>
                    <a:pt x="84" y="134"/>
                  </a:lnTo>
                  <a:lnTo>
                    <a:pt x="82" y="136"/>
                  </a:lnTo>
                  <a:lnTo>
                    <a:pt x="82" y="136"/>
                  </a:lnTo>
                  <a:lnTo>
                    <a:pt x="80" y="138"/>
                  </a:lnTo>
                  <a:lnTo>
                    <a:pt x="80" y="142"/>
                  </a:lnTo>
                  <a:lnTo>
                    <a:pt x="78" y="144"/>
                  </a:lnTo>
                  <a:lnTo>
                    <a:pt x="78" y="146"/>
                  </a:lnTo>
                  <a:lnTo>
                    <a:pt x="76" y="150"/>
                  </a:lnTo>
                  <a:lnTo>
                    <a:pt x="76" y="152"/>
                  </a:lnTo>
                  <a:lnTo>
                    <a:pt x="76" y="156"/>
                  </a:lnTo>
                  <a:lnTo>
                    <a:pt x="76" y="160"/>
                  </a:lnTo>
                  <a:lnTo>
                    <a:pt x="76" y="164"/>
                  </a:lnTo>
                  <a:lnTo>
                    <a:pt x="76" y="168"/>
                  </a:lnTo>
                  <a:lnTo>
                    <a:pt x="76" y="172"/>
                  </a:lnTo>
                  <a:lnTo>
                    <a:pt x="76" y="174"/>
                  </a:lnTo>
                  <a:lnTo>
                    <a:pt x="76" y="176"/>
                  </a:lnTo>
                  <a:lnTo>
                    <a:pt x="76" y="178"/>
                  </a:lnTo>
                  <a:lnTo>
                    <a:pt x="78" y="178"/>
                  </a:lnTo>
                  <a:lnTo>
                    <a:pt x="78" y="180"/>
                  </a:lnTo>
                  <a:lnTo>
                    <a:pt x="78" y="182"/>
                  </a:lnTo>
                  <a:lnTo>
                    <a:pt x="80" y="182"/>
                  </a:lnTo>
                  <a:lnTo>
                    <a:pt x="82" y="184"/>
                  </a:lnTo>
                  <a:lnTo>
                    <a:pt x="86" y="188"/>
                  </a:lnTo>
                  <a:lnTo>
                    <a:pt x="88" y="190"/>
                  </a:lnTo>
                  <a:lnTo>
                    <a:pt x="88" y="192"/>
                  </a:lnTo>
                  <a:lnTo>
                    <a:pt x="90" y="194"/>
                  </a:lnTo>
                  <a:lnTo>
                    <a:pt x="92" y="198"/>
                  </a:lnTo>
                  <a:lnTo>
                    <a:pt x="92" y="198"/>
                  </a:lnTo>
                  <a:lnTo>
                    <a:pt x="92" y="200"/>
                  </a:lnTo>
                  <a:lnTo>
                    <a:pt x="94" y="202"/>
                  </a:lnTo>
                  <a:lnTo>
                    <a:pt x="94" y="202"/>
                  </a:lnTo>
                  <a:lnTo>
                    <a:pt x="94" y="202"/>
                  </a:lnTo>
                  <a:lnTo>
                    <a:pt x="92" y="204"/>
                  </a:lnTo>
                  <a:lnTo>
                    <a:pt x="92" y="204"/>
                  </a:lnTo>
                  <a:lnTo>
                    <a:pt x="92" y="204"/>
                  </a:lnTo>
                  <a:lnTo>
                    <a:pt x="90" y="206"/>
                  </a:lnTo>
                  <a:lnTo>
                    <a:pt x="88" y="206"/>
                  </a:lnTo>
                  <a:lnTo>
                    <a:pt x="86" y="206"/>
                  </a:lnTo>
                  <a:lnTo>
                    <a:pt x="84" y="208"/>
                  </a:lnTo>
                  <a:lnTo>
                    <a:pt x="80" y="208"/>
                  </a:lnTo>
                  <a:lnTo>
                    <a:pt x="76" y="210"/>
                  </a:lnTo>
                  <a:lnTo>
                    <a:pt x="74" y="210"/>
                  </a:lnTo>
                  <a:lnTo>
                    <a:pt x="72" y="210"/>
                  </a:lnTo>
                  <a:lnTo>
                    <a:pt x="70" y="212"/>
                  </a:lnTo>
                  <a:lnTo>
                    <a:pt x="70" y="212"/>
                  </a:lnTo>
                  <a:lnTo>
                    <a:pt x="70" y="212"/>
                  </a:lnTo>
                  <a:lnTo>
                    <a:pt x="70" y="212"/>
                  </a:lnTo>
                  <a:lnTo>
                    <a:pt x="70" y="214"/>
                  </a:lnTo>
                  <a:lnTo>
                    <a:pt x="70" y="214"/>
                  </a:lnTo>
                  <a:lnTo>
                    <a:pt x="70" y="214"/>
                  </a:lnTo>
                  <a:lnTo>
                    <a:pt x="70" y="214"/>
                  </a:lnTo>
                  <a:lnTo>
                    <a:pt x="70" y="216"/>
                  </a:lnTo>
                  <a:lnTo>
                    <a:pt x="70" y="216"/>
                  </a:lnTo>
                  <a:lnTo>
                    <a:pt x="72" y="216"/>
                  </a:lnTo>
                  <a:lnTo>
                    <a:pt x="74" y="214"/>
                  </a:lnTo>
                  <a:lnTo>
                    <a:pt x="78" y="214"/>
                  </a:lnTo>
                  <a:lnTo>
                    <a:pt x="80" y="214"/>
                  </a:lnTo>
                  <a:lnTo>
                    <a:pt x="80" y="214"/>
                  </a:lnTo>
                  <a:lnTo>
                    <a:pt x="80" y="214"/>
                  </a:lnTo>
                  <a:lnTo>
                    <a:pt x="82" y="214"/>
                  </a:lnTo>
                  <a:lnTo>
                    <a:pt x="82" y="216"/>
                  </a:lnTo>
                  <a:lnTo>
                    <a:pt x="84" y="216"/>
                  </a:lnTo>
                  <a:lnTo>
                    <a:pt x="86" y="218"/>
                  </a:lnTo>
                  <a:lnTo>
                    <a:pt x="86" y="220"/>
                  </a:lnTo>
                  <a:lnTo>
                    <a:pt x="88" y="222"/>
                  </a:lnTo>
                  <a:lnTo>
                    <a:pt x="90" y="226"/>
                  </a:lnTo>
                  <a:lnTo>
                    <a:pt x="90" y="226"/>
                  </a:lnTo>
                  <a:lnTo>
                    <a:pt x="90" y="228"/>
                  </a:lnTo>
                  <a:lnTo>
                    <a:pt x="90" y="230"/>
                  </a:lnTo>
                  <a:lnTo>
                    <a:pt x="90" y="230"/>
                  </a:lnTo>
                  <a:lnTo>
                    <a:pt x="90" y="230"/>
                  </a:lnTo>
                  <a:lnTo>
                    <a:pt x="90" y="232"/>
                  </a:lnTo>
                  <a:lnTo>
                    <a:pt x="90" y="232"/>
                  </a:lnTo>
                  <a:lnTo>
                    <a:pt x="88" y="234"/>
                  </a:lnTo>
                  <a:lnTo>
                    <a:pt x="86" y="234"/>
                  </a:lnTo>
                  <a:lnTo>
                    <a:pt x="84" y="236"/>
                  </a:lnTo>
                  <a:lnTo>
                    <a:pt x="82" y="236"/>
                  </a:lnTo>
                  <a:lnTo>
                    <a:pt x="82" y="236"/>
                  </a:lnTo>
                  <a:lnTo>
                    <a:pt x="80" y="240"/>
                  </a:lnTo>
                  <a:lnTo>
                    <a:pt x="76" y="242"/>
                  </a:lnTo>
                  <a:lnTo>
                    <a:pt x="74" y="244"/>
                  </a:lnTo>
                  <a:lnTo>
                    <a:pt x="74" y="246"/>
                  </a:lnTo>
                  <a:lnTo>
                    <a:pt x="72" y="246"/>
                  </a:lnTo>
                  <a:lnTo>
                    <a:pt x="72" y="248"/>
                  </a:lnTo>
                  <a:lnTo>
                    <a:pt x="72" y="248"/>
                  </a:lnTo>
                  <a:lnTo>
                    <a:pt x="72" y="250"/>
                  </a:lnTo>
                  <a:lnTo>
                    <a:pt x="72" y="252"/>
                  </a:lnTo>
                  <a:lnTo>
                    <a:pt x="72" y="254"/>
                  </a:lnTo>
                  <a:lnTo>
                    <a:pt x="72" y="258"/>
                  </a:lnTo>
                  <a:lnTo>
                    <a:pt x="72" y="260"/>
                  </a:lnTo>
                  <a:lnTo>
                    <a:pt x="72" y="262"/>
                  </a:lnTo>
                  <a:lnTo>
                    <a:pt x="72" y="264"/>
                  </a:lnTo>
                  <a:lnTo>
                    <a:pt x="72" y="266"/>
                  </a:lnTo>
                  <a:lnTo>
                    <a:pt x="72" y="266"/>
                  </a:lnTo>
                  <a:lnTo>
                    <a:pt x="72" y="268"/>
                  </a:lnTo>
                  <a:lnTo>
                    <a:pt x="72" y="268"/>
                  </a:lnTo>
                  <a:lnTo>
                    <a:pt x="70" y="268"/>
                  </a:lnTo>
                  <a:lnTo>
                    <a:pt x="70" y="270"/>
                  </a:lnTo>
                  <a:lnTo>
                    <a:pt x="68" y="270"/>
                  </a:lnTo>
                  <a:lnTo>
                    <a:pt x="66" y="272"/>
                  </a:lnTo>
                  <a:lnTo>
                    <a:pt x="62" y="274"/>
                  </a:lnTo>
                  <a:lnTo>
                    <a:pt x="62" y="274"/>
                  </a:lnTo>
                  <a:lnTo>
                    <a:pt x="60" y="276"/>
                  </a:lnTo>
                  <a:lnTo>
                    <a:pt x="60" y="276"/>
                  </a:lnTo>
                  <a:lnTo>
                    <a:pt x="60" y="278"/>
                  </a:lnTo>
                  <a:lnTo>
                    <a:pt x="58" y="280"/>
                  </a:lnTo>
                  <a:lnTo>
                    <a:pt x="58" y="284"/>
                  </a:lnTo>
                  <a:lnTo>
                    <a:pt x="58" y="284"/>
                  </a:lnTo>
                  <a:lnTo>
                    <a:pt x="56" y="286"/>
                  </a:lnTo>
                  <a:lnTo>
                    <a:pt x="56" y="286"/>
                  </a:lnTo>
                  <a:lnTo>
                    <a:pt x="54" y="288"/>
                  </a:lnTo>
                  <a:lnTo>
                    <a:pt x="50" y="290"/>
                  </a:lnTo>
                  <a:lnTo>
                    <a:pt x="48" y="292"/>
                  </a:lnTo>
                  <a:lnTo>
                    <a:pt x="46" y="292"/>
                  </a:lnTo>
                  <a:lnTo>
                    <a:pt x="46" y="294"/>
                  </a:lnTo>
                  <a:lnTo>
                    <a:pt x="44" y="294"/>
                  </a:lnTo>
                  <a:lnTo>
                    <a:pt x="44" y="296"/>
                  </a:lnTo>
                  <a:lnTo>
                    <a:pt x="42" y="298"/>
                  </a:lnTo>
                  <a:lnTo>
                    <a:pt x="42" y="300"/>
                  </a:lnTo>
                  <a:lnTo>
                    <a:pt x="40" y="302"/>
                  </a:lnTo>
                  <a:lnTo>
                    <a:pt x="40" y="302"/>
                  </a:lnTo>
                  <a:lnTo>
                    <a:pt x="40" y="304"/>
                  </a:lnTo>
                  <a:lnTo>
                    <a:pt x="40" y="304"/>
                  </a:lnTo>
                  <a:lnTo>
                    <a:pt x="38" y="304"/>
                  </a:lnTo>
                  <a:lnTo>
                    <a:pt x="38" y="304"/>
                  </a:lnTo>
                  <a:lnTo>
                    <a:pt x="36" y="304"/>
                  </a:lnTo>
                  <a:lnTo>
                    <a:pt x="34" y="304"/>
                  </a:lnTo>
                  <a:lnTo>
                    <a:pt x="32" y="302"/>
                  </a:lnTo>
                  <a:lnTo>
                    <a:pt x="30" y="302"/>
                  </a:lnTo>
                  <a:lnTo>
                    <a:pt x="28" y="302"/>
                  </a:lnTo>
                  <a:lnTo>
                    <a:pt x="26" y="300"/>
                  </a:lnTo>
                  <a:lnTo>
                    <a:pt x="24" y="298"/>
                  </a:lnTo>
                  <a:lnTo>
                    <a:pt x="24" y="298"/>
                  </a:lnTo>
                  <a:lnTo>
                    <a:pt x="22" y="298"/>
                  </a:lnTo>
                  <a:lnTo>
                    <a:pt x="22" y="296"/>
                  </a:lnTo>
                  <a:lnTo>
                    <a:pt x="22" y="296"/>
                  </a:lnTo>
                  <a:lnTo>
                    <a:pt x="22" y="294"/>
                  </a:lnTo>
                  <a:lnTo>
                    <a:pt x="22" y="294"/>
                  </a:lnTo>
                  <a:lnTo>
                    <a:pt x="22" y="290"/>
                  </a:lnTo>
                  <a:lnTo>
                    <a:pt x="24" y="288"/>
                  </a:lnTo>
                  <a:lnTo>
                    <a:pt x="24" y="284"/>
                  </a:lnTo>
                  <a:lnTo>
                    <a:pt x="24" y="282"/>
                  </a:lnTo>
                  <a:lnTo>
                    <a:pt x="24" y="282"/>
                  </a:lnTo>
                  <a:lnTo>
                    <a:pt x="24" y="280"/>
                  </a:lnTo>
                  <a:lnTo>
                    <a:pt x="24" y="280"/>
                  </a:lnTo>
                  <a:lnTo>
                    <a:pt x="24" y="278"/>
                  </a:lnTo>
                  <a:lnTo>
                    <a:pt x="24" y="278"/>
                  </a:lnTo>
                  <a:lnTo>
                    <a:pt x="24" y="278"/>
                  </a:lnTo>
                  <a:lnTo>
                    <a:pt x="22" y="278"/>
                  </a:lnTo>
                  <a:lnTo>
                    <a:pt x="22" y="278"/>
                  </a:lnTo>
                  <a:lnTo>
                    <a:pt x="20" y="276"/>
                  </a:lnTo>
                  <a:lnTo>
                    <a:pt x="16" y="276"/>
                  </a:lnTo>
                  <a:lnTo>
                    <a:pt x="16" y="276"/>
                  </a:lnTo>
                  <a:lnTo>
                    <a:pt x="16" y="276"/>
                  </a:lnTo>
                  <a:lnTo>
                    <a:pt x="16" y="276"/>
                  </a:lnTo>
                  <a:lnTo>
                    <a:pt x="14" y="276"/>
                  </a:lnTo>
                  <a:lnTo>
                    <a:pt x="14" y="274"/>
                  </a:lnTo>
                  <a:lnTo>
                    <a:pt x="14" y="274"/>
                  </a:lnTo>
                  <a:lnTo>
                    <a:pt x="14" y="272"/>
                  </a:lnTo>
                  <a:lnTo>
                    <a:pt x="14" y="270"/>
                  </a:lnTo>
                  <a:lnTo>
                    <a:pt x="12" y="268"/>
                  </a:lnTo>
                  <a:lnTo>
                    <a:pt x="12" y="266"/>
                  </a:lnTo>
                  <a:lnTo>
                    <a:pt x="12" y="264"/>
                  </a:lnTo>
                  <a:lnTo>
                    <a:pt x="12" y="260"/>
                  </a:lnTo>
                  <a:lnTo>
                    <a:pt x="10" y="256"/>
                  </a:lnTo>
                  <a:lnTo>
                    <a:pt x="6" y="250"/>
                  </a:lnTo>
                  <a:lnTo>
                    <a:pt x="2" y="242"/>
                  </a:lnTo>
                  <a:lnTo>
                    <a:pt x="0" y="23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4" name="Freeform 302">
              <a:extLst>
                <a:ext uri="{FF2B5EF4-FFF2-40B4-BE49-F238E27FC236}">
                  <a16:creationId xmlns:a16="http://schemas.microsoft.com/office/drawing/2014/main" id="{D75F2ADF-2722-4194-9F64-1AD80746583D}"/>
                </a:ext>
              </a:extLst>
            </p:cNvPr>
            <p:cNvSpPr>
              <a:spLocks/>
            </p:cNvSpPr>
            <p:nvPr/>
          </p:nvSpPr>
          <p:spPr bwMode="auto">
            <a:xfrm>
              <a:off x="4057899" y="2290589"/>
              <a:ext cx="41570" cy="48498"/>
            </a:xfrm>
            <a:custGeom>
              <a:avLst/>
              <a:gdLst>
                <a:gd name="T0" fmla="*/ 10 w 24"/>
                <a:gd name="T1" fmla="*/ 0 h 28"/>
                <a:gd name="T2" fmla="*/ 10 w 24"/>
                <a:gd name="T3" fmla="*/ 0 h 28"/>
                <a:gd name="T4" fmla="*/ 8 w 24"/>
                <a:gd name="T5" fmla="*/ 0 h 28"/>
                <a:gd name="T6" fmla="*/ 6 w 24"/>
                <a:gd name="T7" fmla="*/ 2 h 28"/>
                <a:gd name="T8" fmla="*/ 6 w 24"/>
                <a:gd name="T9" fmla="*/ 4 h 28"/>
                <a:gd name="T10" fmla="*/ 4 w 24"/>
                <a:gd name="T11" fmla="*/ 4 h 28"/>
                <a:gd name="T12" fmla="*/ 4 w 24"/>
                <a:gd name="T13" fmla="*/ 6 h 28"/>
                <a:gd name="T14" fmla="*/ 2 w 24"/>
                <a:gd name="T15" fmla="*/ 8 h 28"/>
                <a:gd name="T16" fmla="*/ 2 w 24"/>
                <a:gd name="T17" fmla="*/ 12 h 28"/>
                <a:gd name="T18" fmla="*/ 0 w 24"/>
                <a:gd name="T19" fmla="*/ 14 h 28"/>
                <a:gd name="T20" fmla="*/ 0 w 24"/>
                <a:gd name="T21" fmla="*/ 16 h 28"/>
                <a:gd name="T22" fmla="*/ 0 w 24"/>
                <a:gd name="T23" fmla="*/ 18 h 28"/>
                <a:gd name="T24" fmla="*/ 0 w 24"/>
                <a:gd name="T25" fmla="*/ 20 h 28"/>
                <a:gd name="T26" fmla="*/ 0 w 24"/>
                <a:gd name="T27" fmla="*/ 22 h 28"/>
                <a:gd name="T28" fmla="*/ 0 w 24"/>
                <a:gd name="T29" fmla="*/ 24 h 28"/>
                <a:gd name="T30" fmla="*/ 0 w 24"/>
                <a:gd name="T31" fmla="*/ 26 h 28"/>
                <a:gd name="T32" fmla="*/ 0 w 24"/>
                <a:gd name="T33" fmla="*/ 26 h 28"/>
                <a:gd name="T34" fmla="*/ 0 w 24"/>
                <a:gd name="T35" fmla="*/ 26 h 28"/>
                <a:gd name="T36" fmla="*/ 0 w 24"/>
                <a:gd name="T37" fmla="*/ 28 h 28"/>
                <a:gd name="T38" fmla="*/ 2 w 24"/>
                <a:gd name="T39" fmla="*/ 28 h 28"/>
                <a:gd name="T40" fmla="*/ 2 w 24"/>
                <a:gd name="T41" fmla="*/ 28 h 28"/>
                <a:gd name="T42" fmla="*/ 2 w 24"/>
                <a:gd name="T43" fmla="*/ 28 h 28"/>
                <a:gd name="T44" fmla="*/ 4 w 24"/>
                <a:gd name="T45" fmla="*/ 28 h 28"/>
                <a:gd name="T46" fmla="*/ 4 w 24"/>
                <a:gd name="T47" fmla="*/ 28 h 28"/>
                <a:gd name="T48" fmla="*/ 6 w 24"/>
                <a:gd name="T49" fmla="*/ 28 h 28"/>
                <a:gd name="T50" fmla="*/ 8 w 24"/>
                <a:gd name="T51" fmla="*/ 28 h 28"/>
                <a:gd name="T52" fmla="*/ 10 w 24"/>
                <a:gd name="T53" fmla="*/ 26 h 28"/>
                <a:gd name="T54" fmla="*/ 12 w 24"/>
                <a:gd name="T55" fmla="*/ 26 h 28"/>
                <a:gd name="T56" fmla="*/ 14 w 24"/>
                <a:gd name="T57" fmla="*/ 24 h 28"/>
                <a:gd name="T58" fmla="*/ 16 w 24"/>
                <a:gd name="T59" fmla="*/ 22 h 28"/>
                <a:gd name="T60" fmla="*/ 18 w 24"/>
                <a:gd name="T61" fmla="*/ 22 h 28"/>
                <a:gd name="T62" fmla="*/ 20 w 24"/>
                <a:gd name="T63" fmla="*/ 20 h 28"/>
                <a:gd name="T64" fmla="*/ 20 w 24"/>
                <a:gd name="T65" fmla="*/ 18 h 28"/>
                <a:gd name="T66" fmla="*/ 22 w 24"/>
                <a:gd name="T67" fmla="*/ 16 h 28"/>
                <a:gd name="T68" fmla="*/ 24 w 24"/>
                <a:gd name="T69" fmla="*/ 14 h 28"/>
                <a:gd name="T70" fmla="*/ 24 w 24"/>
                <a:gd name="T71" fmla="*/ 14 h 28"/>
                <a:gd name="T72" fmla="*/ 24 w 24"/>
                <a:gd name="T73" fmla="*/ 12 h 28"/>
                <a:gd name="T74" fmla="*/ 24 w 24"/>
                <a:gd name="T75" fmla="*/ 10 h 28"/>
                <a:gd name="T76" fmla="*/ 24 w 24"/>
                <a:gd name="T77" fmla="*/ 10 h 28"/>
                <a:gd name="T78" fmla="*/ 24 w 24"/>
                <a:gd name="T79" fmla="*/ 8 h 28"/>
                <a:gd name="T80" fmla="*/ 24 w 24"/>
                <a:gd name="T81" fmla="*/ 8 h 28"/>
                <a:gd name="T82" fmla="*/ 22 w 24"/>
                <a:gd name="T83" fmla="*/ 6 h 28"/>
                <a:gd name="T84" fmla="*/ 22 w 24"/>
                <a:gd name="T85" fmla="*/ 6 h 28"/>
                <a:gd name="T86" fmla="*/ 20 w 24"/>
                <a:gd name="T87" fmla="*/ 4 h 28"/>
                <a:gd name="T88" fmla="*/ 18 w 24"/>
                <a:gd name="T89" fmla="*/ 2 h 28"/>
                <a:gd name="T90" fmla="*/ 16 w 24"/>
                <a:gd name="T91" fmla="*/ 2 h 28"/>
                <a:gd name="T92" fmla="*/ 14 w 24"/>
                <a:gd name="T93" fmla="*/ 0 h 28"/>
                <a:gd name="T94" fmla="*/ 14 w 24"/>
                <a:gd name="T95" fmla="*/ 0 h 28"/>
                <a:gd name="T96" fmla="*/ 12 w 24"/>
                <a:gd name="T97" fmla="*/ 0 h 28"/>
                <a:gd name="T98" fmla="*/ 12 w 24"/>
                <a:gd name="T99" fmla="*/ 0 h 28"/>
                <a:gd name="T100" fmla="*/ 10 w 24"/>
                <a:gd name="T101" fmla="*/ 0 h 28"/>
                <a:gd name="T102" fmla="*/ 10 w 24"/>
                <a:gd name="T10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 h="28">
                  <a:moveTo>
                    <a:pt x="10" y="0"/>
                  </a:moveTo>
                  <a:lnTo>
                    <a:pt x="10" y="0"/>
                  </a:lnTo>
                  <a:lnTo>
                    <a:pt x="8" y="0"/>
                  </a:lnTo>
                  <a:lnTo>
                    <a:pt x="6" y="2"/>
                  </a:lnTo>
                  <a:lnTo>
                    <a:pt x="6" y="4"/>
                  </a:lnTo>
                  <a:lnTo>
                    <a:pt x="4" y="4"/>
                  </a:lnTo>
                  <a:lnTo>
                    <a:pt x="4" y="6"/>
                  </a:lnTo>
                  <a:lnTo>
                    <a:pt x="2" y="8"/>
                  </a:lnTo>
                  <a:lnTo>
                    <a:pt x="2" y="12"/>
                  </a:lnTo>
                  <a:lnTo>
                    <a:pt x="0" y="14"/>
                  </a:lnTo>
                  <a:lnTo>
                    <a:pt x="0" y="16"/>
                  </a:lnTo>
                  <a:lnTo>
                    <a:pt x="0" y="18"/>
                  </a:lnTo>
                  <a:lnTo>
                    <a:pt x="0" y="20"/>
                  </a:lnTo>
                  <a:lnTo>
                    <a:pt x="0" y="22"/>
                  </a:lnTo>
                  <a:lnTo>
                    <a:pt x="0" y="24"/>
                  </a:lnTo>
                  <a:lnTo>
                    <a:pt x="0" y="26"/>
                  </a:lnTo>
                  <a:lnTo>
                    <a:pt x="0" y="26"/>
                  </a:lnTo>
                  <a:lnTo>
                    <a:pt x="0" y="26"/>
                  </a:lnTo>
                  <a:lnTo>
                    <a:pt x="0" y="28"/>
                  </a:lnTo>
                  <a:lnTo>
                    <a:pt x="2" y="28"/>
                  </a:lnTo>
                  <a:lnTo>
                    <a:pt x="2" y="28"/>
                  </a:lnTo>
                  <a:lnTo>
                    <a:pt x="2" y="28"/>
                  </a:lnTo>
                  <a:lnTo>
                    <a:pt x="4" y="28"/>
                  </a:lnTo>
                  <a:lnTo>
                    <a:pt x="4" y="28"/>
                  </a:lnTo>
                  <a:lnTo>
                    <a:pt x="6" y="28"/>
                  </a:lnTo>
                  <a:lnTo>
                    <a:pt x="8" y="28"/>
                  </a:lnTo>
                  <a:lnTo>
                    <a:pt x="10" y="26"/>
                  </a:lnTo>
                  <a:lnTo>
                    <a:pt x="12" y="26"/>
                  </a:lnTo>
                  <a:lnTo>
                    <a:pt x="14" y="24"/>
                  </a:lnTo>
                  <a:lnTo>
                    <a:pt x="16" y="22"/>
                  </a:lnTo>
                  <a:lnTo>
                    <a:pt x="18" y="22"/>
                  </a:lnTo>
                  <a:lnTo>
                    <a:pt x="20" y="20"/>
                  </a:lnTo>
                  <a:lnTo>
                    <a:pt x="20" y="18"/>
                  </a:lnTo>
                  <a:lnTo>
                    <a:pt x="22" y="16"/>
                  </a:lnTo>
                  <a:lnTo>
                    <a:pt x="24" y="14"/>
                  </a:lnTo>
                  <a:lnTo>
                    <a:pt x="24" y="14"/>
                  </a:lnTo>
                  <a:lnTo>
                    <a:pt x="24" y="12"/>
                  </a:lnTo>
                  <a:lnTo>
                    <a:pt x="24" y="10"/>
                  </a:lnTo>
                  <a:lnTo>
                    <a:pt x="24" y="10"/>
                  </a:lnTo>
                  <a:lnTo>
                    <a:pt x="24" y="8"/>
                  </a:lnTo>
                  <a:lnTo>
                    <a:pt x="24" y="8"/>
                  </a:lnTo>
                  <a:lnTo>
                    <a:pt x="22" y="6"/>
                  </a:lnTo>
                  <a:lnTo>
                    <a:pt x="22" y="6"/>
                  </a:lnTo>
                  <a:lnTo>
                    <a:pt x="20" y="4"/>
                  </a:lnTo>
                  <a:lnTo>
                    <a:pt x="18" y="2"/>
                  </a:lnTo>
                  <a:lnTo>
                    <a:pt x="16" y="2"/>
                  </a:lnTo>
                  <a:lnTo>
                    <a:pt x="14" y="0"/>
                  </a:lnTo>
                  <a:lnTo>
                    <a:pt x="14" y="0"/>
                  </a:lnTo>
                  <a:lnTo>
                    <a:pt x="12" y="0"/>
                  </a:lnTo>
                  <a:lnTo>
                    <a:pt x="12" y="0"/>
                  </a:lnTo>
                  <a:lnTo>
                    <a:pt x="10" y="0"/>
                  </a:lnTo>
                  <a:lnTo>
                    <a:pt x="10"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5" name="Freeform 303">
              <a:extLst>
                <a:ext uri="{FF2B5EF4-FFF2-40B4-BE49-F238E27FC236}">
                  <a16:creationId xmlns:a16="http://schemas.microsoft.com/office/drawing/2014/main" id="{55372230-CF42-459E-BBDE-E2B38CCDB660}"/>
                </a:ext>
              </a:extLst>
            </p:cNvPr>
            <p:cNvSpPr>
              <a:spLocks/>
            </p:cNvSpPr>
            <p:nvPr/>
          </p:nvSpPr>
          <p:spPr bwMode="auto">
            <a:xfrm>
              <a:off x="4057899" y="2290589"/>
              <a:ext cx="41570" cy="48498"/>
            </a:xfrm>
            <a:custGeom>
              <a:avLst/>
              <a:gdLst>
                <a:gd name="T0" fmla="*/ 10 w 24"/>
                <a:gd name="T1" fmla="*/ 0 h 28"/>
                <a:gd name="T2" fmla="*/ 10 w 24"/>
                <a:gd name="T3" fmla="*/ 0 h 28"/>
                <a:gd name="T4" fmla="*/ 8 w 24"/>
                <a:gd name="T5" fmla="*/ 0 h 28"/>
                <a:gd name="T6" fmla="*/ 6 w 24"/>
                <a:gd name="T7" fmla="*/ 2 h 28"/>
                <a:gd name="T8" fmla="*/ 6 w 24"/>
                <a:gd name="T9" fmla="*/ 4 h 28"/>
                <a:gd name="T10" fmla="*/ 4 w 24"/>
                <a:gd name="T11" fmla="*/ 4 h 28"/>
                <a:gd name="T12" fmla="*/ 4 w 24"/>
                <a:gd name="T13" fmla="*/ 6 h 28"/>
                <a:gd name="T14" fmla="*/ 2 w 24"/>
                <a:gd name="T15" fmla="*/ 8 h 28"/>
                <a:gd name="T16" fmla="*/ 2 w 24"/>
                <a:gd name="T17" fmla="*/ 12 h 28"/>
                <a:gd name="T18" fmla="*/ 0 w 24"/>
                <a:gd name="T19" fmla="*/ 14 h 28"/>
                <a:gd name="T20" fmla="*/ 0 w 24"/>
                <a:gd name="T21" fmla="*/ 16 h 28"/>
                <a:gd name="T22" fmla="*/ 0 w 24"/>
                <a:gd name="T23" fmla="*/ 18 h 28"/>
                <a:gd name="T24" fmla="*/ 0 w 24"/>
                <a:gd name="T25" fmla="*/ 20 h 28"/>
                <a:gd name="T26" fmla="*/ 0 w 24"/>
                <a:gd name="T27" fmla="*/ 22 h 28"/>
                <a:gd name="T28" fmla="*/ 0 w 24"/>
                <a:gd name="T29" fmla="*/ 24 h 28"/>
                <a:gd name="T30" fmla="*/ 0 w 24"/>
                <a:gd name="T31" fmla="*/ 26 h 28"/>
                <a:gd name="T32" fmla="*/ 0 w 24"/>
                <a:gd name="T33" fmla="*/ 26 h 28"/>
                <a:gd name="T34" fmla="*/ 0 w 24"/>
                <a:gd name="T35" fmla="*/ 26 h 28"/>
                <a:gd name="T36" fmla="*/ 0 w 24"/>
                <a:gd name="T37" fmla="*/ 28 h 28"/>
                <a:gd name="T38" fmla="*/ 2 w 24"/>
                <a:gd name="T39" fmla="*/ 28 h 28"/>
                <a:gd name="T40" fmla="*/ 2 w 24"/>
                <a:gd name="T41" fmla="*/ 28 h 28"/>
                <a:gd name="T42" fmla="*/ 2 w 24"/>
                <a:gd name="T43" fmla="*/ 28 h 28"/>
                <a:gd name="T44" fmla="*/ 4 w 24"/>
                <a:gd name="T45" fmla="*/ 28 h 28"/>
                <a:gd name="T46" fmla="*/ 4 w 24"/>
                <a:gd name="T47" fmla="*/ 28 h 28"/>
                <a:gd name="T48" fmla="*/ 6 w 24"/>
                <a:gd name="T49" fmla="*/ 28 h 28"/>
                <a:gd name="T50" fmla="*/ 8 w 24"/>
                <a:gd name="T51" fmla="*/ 28 h 28"/>
                <a:gd name="T52" fmla="*/ 10 w 24"/>
                <a:gd name="T53" fmla="*/ 26 h 28"/>
                <a:gd name="T54" fmla="*/ 12 w 24"/>
                <a:gd name="T55" fmla="*/ 26 h 28"/>
                <a:gd name="T56" fmla="*/ 14 w 24"/>
                <a:gd name="T57" fmla="*/ 24 h 28"/>
                <a:gd name="T58" fmla="*/ 16 w 24"/>
                <a:gd name="T59" fmla="*/ 22 h 28"/>
                <a:gd name="T60" fmla="*/ 18 w 24"/>
                <a:gd name="T61" fmla="*/ 22 h 28"/>
                <a:gd name="T62" fmla="*/ 20 w 24"/>
                <a:gd name="T63" fmla="*/ 20 h 28"/>
                <a:gd name="T64" fmla="*/ 20 w 24"/>
                <a:gd name="T65" fmla="*/ 18 h 28"/>
                <a:gd name="T66" fmla="*/ 22 w 24"/>
                <a:gd name="T67" fmla="*/ 16 h 28"/>
                <a:gd name="T68" fmla="*/ 24 w 24"/>
                <a:gd name="T69" fmla="*/ 14 h 28"/>
                <a:gd name="T70" fmla="*/ 24 w 24"/>
                <a:gd name="T71" fmla="*/ 14 h 28"/>
                <a:gd name="T72" fmla="*/ 24 w 24"/>
                <a:gd name="T73" fmla="*/ 12 h 28"/>
                <a:gd name="T74" fmla="*/ 24 w 24"/>
                <a:gd name="T75" fmla="*/ 10 h 28"/>
                <a:gd name="T76" fmla="*/ 24 w 24"/>
                <a:gd name="T77" fmla="*/ 10 h 28"/>
                <a:gd name="T78" fmla="*/ 24 w 24"/>
                <a:gd name="T79" fmla="*/ 8 h 28"/>
                <a:gd name="T80" fmla="*/ 24 w 24"/>
                <a:gd name="T81" fmla="*/ 8 h 28"/>
                <a:gd name="T82" fmla="*/ 22 w 24"/>
                <a:gd name="T83" fmla="*/ 6 h 28"/>
                <a:gd name="T84" fmla="*/ 22 w 24"/>
                <a:gd name="T85" fmla="*/ 6 h 28"/>
                <a:gd name="T86" fmla="*/ 20 w 24"/>
                <a:gd name="T87" fmla="*/ 4 h 28"/>
                <a:gd name="T88" fmla="*/ 18 w 24"/>
                <a:gd name="T89" fmla="*/ 2 h 28"/>
                <a:gd name="T90" fmla="*/ 16 w 24"/>
                <a:gd name="T91" fmla="*/ 2 h 28"/>
                <a:gd name="T92" fmla="*/ 14 w 24"/>
                <a:gd name="T93" fmla="*/ 0 h 28"/>
                <a:gd name="T94" fmla="*/ 14 w 24"/>
                <a:gd name="T95" fmla="*/ 0 h 28"/>
                <a:gd name="T96" fmla="*/ 12 w 24"/>
                <a:gd name="T97" fmla="*/ 0 h 28"/>
                <a:gd name="T98" fmla="*/ 12 w 24"/>
                <a:gd name="T99" fmla="*/ 0 h 28"/>
                <a:gd name="T100" fmla="*/ 10 w 24"/>
                <a:gd name="T101" fmla="*/ 0 h 28"/>
                <a:gd name="T102" fmla="*/ 10 w 24"/>
                <a:gd name="T10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 h="28">
                  <a:moveTo>
                    <a:pt x="10" y="0"/>
                  </a:moveTo>
                  <a:lnTo>
                    <a:pt x="10" y="0"/>
                  </a:lnTo>
                  <a:lnTo>
                    <a:pt x="8" y="0"/>
                  </a:lnTo>
                  <a:lnTo>
                    <a:pt x="6" y="2"/>
                  </a:lnTo>
                  <a:lnTo>
                    <a:pt x="6" y="4"/>
                  </a:lnTo>
                  <a:lnTo>
                    <a:pt x="4" y="4"/>
                  </a:lnTo>
                  <a:lnTo>
                    <a:pt x="4" y="6"/>
                  </a:lnTo>
                  <a:lnTo>
                    <a:pt x="2" y="8"/>
                  </a:lnTo>
                  <a:lnTo>
                    <a:pt x="2" y="12"/>
                  </a:lnTo>
                  <a:lnTo>
                    <a:pt x="0" y="14"/>
                  </a:lnTo>
                  <a:lnTo>
                    <a:pt x="0" y="16"/>
                  </a:lnTo>
                  <a:lnTo>
                    <a:pt x="0" y="18"/>
                  </a:lnTo>
                  <a:lnTo>
                    <a:pt x="0" y="20"/>
                  </a:lnTo>
                  <a:lnTo>
                    <a:pt x="0" y="22"/>
                  </a:lnTo>
                  <a:lnTo>
                    <a:pt x="0" y="24"/>
                  </a:lnTo>
                  <a:lnTo>
                    <a:pt x="0" y="26"/>
                  </a:lnTo>
                  <a:lnTo>
                    <a:pt x="0" y="26"/>
                  </a:lnTo>
                  <a:lnTo>
                    <a:pt x="0" y="26"/>
                  </a:lnTo>
                  <a:lnTo>
                    <a:pt x="0" y="28"/>
                  </a:lnTo>
                  <a:lnTo>
                    <a:pt x="2" y="28"/>
                  </a:lnTo>
                  <a:lnTo>
                    <a:pt x="2" y="28"/>
                  </a:lnTo>
                  <a:lnTo>
                    <a:pt x="2" y="28"/>
                  </a:lnTo>
                  <a:lnTo>
                    <a:pt x="4" y="28"/>
                  </a:lnTo>
                  <a:lnTo>
                    <a:pt x="4" y="28"/>
                  </a:lnTo>
                  <a:lnTo>
                    <a:pt x="6" y="28"/>
                  </a:lnTo>
                  <a:lnTo>
                    <a:pt x="8" y="28"/>
                  </a:lnTo>
                  <a:lnTo>
                    <a:pt x="10" y="26"/>
                  </a:lnTo>
                  <a:lnTo>
                    <a:pt x="12" y="26"/>
                  </a:lnTo>
                  <a:lnTo>
                    <a:pt x="14" y="24"/>
                  </a:lnTo>
                  <a:lnTo>
                    <a:pt x="16" y="22"/>
                  </a:lnTo>
                  <a:lnTo>
                    <a:pt x="18" y="22"/>
                  </a:lnTo>
                  <a:lnTo>
                    <a:pt x="20" y="20"/>
                  </a:lnTo>
                  <a:lnTo>
                    <a:pt x="20" y="18"/>
                  </a:lnTo>
                  <a:lnTo>
                    <a:pt x="22" y="16"/>
                  </a:lnTo>
                  <a:lnTo>
                    <a:pt x="24" y="14"/>
                  </a:lnTo>
                  <a:lnTo>
                    <a:pt x="24" y="14"/>
                  </a:lnTo>
                  <a:lnTo>
                    <a:pt x="24" y="12"/>
                  </a:lnTo>
                  <a:lnTo>
                    <a:pt x="24" y="10"/>
                  </a:lnTo>
                  <a:lnTo>
                    <a:pt x="24" y="10"/>
                  </a:lnTo>
                  <a:lnTo>
                    <a:pt x="24" y="8"/>
                  </a:lnTo>
                  <a:lnTo>
                    <a:pt x="24" y="8"/>
                  </a:lnTo>
                  <a:lnTo>
                    <a:pt x="22" y="6"/>
                  </a:lnTo>
                  <a:lnTo>
                    <a:pt x="22" y="6"/>
                  </a:lnTo>
                  <a:lnTo>
                    <a:pt x="20" y="4"/>
                  </a:lnTo>
                  <a:lnTo>
                    <a:pt x="18" y="2"/>
                  </a:lnTo>
                  <a:lnTo>
                    <a:pt x="16" y="2"/>
                  </a:lnTo>
                  <a:lnTo>
                    <a:pt x="14" y="0"/>
                  </a:lnTo>
                  <a:lnTo>
                    <a:pt x="14" y="0"/>
                  </a:lnTo>
                  <a:lnTo>
                    <a:pt x="12" y="0"/>
                  </a:lnTo>
                  <a:lnTo>
                    <a:pt x="12" y="0"/>
                  </a:lnTo>
                  <a:lnTo>
                    <a:pt x="10" y="0"/>
                  </a:lnTo>
                  <a:lnTo>
                    <a:pt x="10"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6" name="Freeform 304">
              <a:extLst>
                <a:ext uri="{FF2B5EF4-FFF2-40B4-BE49-F238E27FC236}">
                  <a16:creationId xmlns:a16="http://schemas.microsoft.com/office/drawing/2014/main" id="{D2813311-EBC0-4C73-BD04-22BD3B8E7781}"/>
                </a:ext>
              </a:extLst>
            </p:cNvPr>
            <p:cNvSpPr>
              <a:spLocks/>
            </p:cNvSpPr>
            <p:nvPr/>
          </p:nvSpPr>
          <p:spPr bwMode="auto">
            <a:xfrm>
              <a:off x="4743800" y="3187804"/>
              <a:ext cx="204385" cy="145494"/>
            </a:xfrm>
            <a:custGeom>
              <a:avLst/>
              <a:gdLst>
                <a:gd name="T0" fmla="*/ 38 w 118"/>
                <a:gd name="T1" fmla="*/ 64 h 84"/>
                <a:gd name="T2" fmla="*/ 30 w 118"/>
                <a:gd name="T3" fmla="*/ 58 h 84"/>
                <a:gd name="T4" fmla="*/ 6 w 118"/>
                <a:gd name="T5" fmla="*/ 46 h 84"/>
                <a:gd name="T6" fmla="*/ 4 w 118"/>
                <a:gd name="T7" fmla="*/ 44 h 84"/>
                <a:gd name="T8" fmla="*/ 2 w 118"/>
                <a:gd name="T9" fmla="*/ 44 h 84"/>
                <a:gd name="T10" fmla="*/ 0 w 118"/>
                <a:gd name="T11" fmla="*/ 36 h 84"/>
                <a:gd name="T12" fmla="*/ 2 w 118"/>
                <a:gd name="T13" fmla="*/ 30 h 84"/>
                <a:gd name="T14" fmla="*/ 10 w 118"/>
                <a:gd name="T15" fmla="*/ 28 h 84"/>
                <a:gd name="T16" fmla="*/ 14 w 118"/>
                <a:gd name="T17" fmla="*/ 26 h 84"/>
                <a:gd name="T18" fmla="*/ 16 w 118"/>
                <a:gd name="T19" fmla="*/ 24 h 84"/>
                <a:gd name="T20" fmla="*/ 22 w 118"/>
                <a:gd name="T21" fmla="*/ 14 h 84"/>
                <a:gd name="T22" fmla="*/ 30 w 118"/>
                <a:gd name="T23" fmla="*/ 0 h 84"/>
                <a:gd name="T24" fmla="*/ 42 w 118"/>
                <a:gd name="T25" fmla="*/ 0 h 84"/>
                <a:gd name="T26" fmla="*/ 50 w 118"/>
                <a:gd name="T27" fmla="*/ 0 h 84"/>
                <a:gd name="T28" fmla="*/ 52 w 118"/>
                <a:gd name="T29" fmla="*/ 2 h 84"/>
                <a:gd name="T30" fmla="*/ 58 w 118"/>
                <a:gd name="T31" fmla="*/ 6 h 84"/>
                <a:gd name="T32" fmla="*/ 64 w 118"/>
                <a:gd name="T33" fmla="*/ 6 h 84"/>
                <a:gd name="T34" fmla="*/ 72 w 118"/>
                <a:gd name="T35" fmla="*/ 8 h 84"/>
                <a:gd name="T36" fmla="*/ 80 w 118"/>
                <a:gd name="T37" fmla="*/ 8 h 84"/>
                <a:gd name="T38" fmla="*/ 86 w 118"/>
                <a:gd name="T39" fmla="*/ 6 h 84"/>
                <a:gd name="T40" fmla="*/ 98 w 118"/>
                <a:gd name="T41" fmla="*/ 12 h 84"/>
                <a:gd name="T42" fmla="*/ 106 w 118"/>
                <a:gd name="T43" fmla="*/ 22 h 84"/>
                <a:gd name="T44" fmla="*/ 108 w 118"/>
                <a:gd name="T45" fmla="*/ 26 h 84"/>
                <a:gd name="T46" fmla="*/ 110 w 118"/>
                <a:gd name="T47" fmla="*/ 32 h 84"/>
                <a:gd name="T48" fmla="*/ 110 w 118"/>
                <a:gd name="T49" fmla="*/ 40 h 84"/>
                <a:gd name="T50" fmla="*/ 114 w 118"/>
                <a:gd name="T51" fmla="*/ 52 h 84"/>
                <a:gd name="T52" fmla="*/ 116 w 118"/>
                <a:gd name="T53" fmla="*/ 66 h 84"/>
                <a:gd name="T54" fmla="*/ 114 w 118"/>
                <a:gd name="T55" fmla="*/ 70 h 84"/>
                <a:gd name="T56" fmla="*/ 110 w 118"/>
                <a:gd name="T57" fmla="*/ 76 h 84"/>
                <a:gd name="T58" fmla="*/ 92 w 118"/>
                <a:gd name="T59" fmla="*/ 80 h 84"/>
                <a:gd name="T60" fmla="*/ 80 w 118"/>
                <a:gd name="T61" fmla="*/ 84 h 84"/>
                <a:gd name="T62" fmla="*/ 74 w 118"/>
                <a:gd name="T63" fmla="*/ 84 h 84"/>
                <a:gd name="T64" fmla="*/ 70 w 118"/>
                <a:gd name="T65" fmla="*/ 84 h 84"/>
                <a:gd name="T66" fmla="*/ 68 w 118"/>
                <a:gd name="T67" fmla="*/ 82 h 84"/>
                <a:gd name="T68" fmla="*/ 68 w 118"/>
                <a:gd name="T69" fmla="*/ 78 h 84"/>
                <a:gd name="T70" fmla="*/ 66 w 118"/>
                <a:gd name="T71" fmla="*/ 72 h 84"/>
                <a:gd name="T72" fmla="*/ 64 w 118"/>
                <a:gd name="T73" fmla="*/ 70 h 84"/>
                <a:gd name="T74" fmla="*/ 58 w 118"/>
                <a:gd name="T75" fmla="*/ 66 h 84"/>
                <a:gd name="T76" fmla="*/ 52 w 118"/>
                <a:gd name="T77" fmla="*/ 64 h 84"/>
                <a:gd name="T78" fmla="*/ 48 w 118"/>
                <a:gd name="T79" fmla="*/ 66 h 84"/>
                <a:gd name="T80" fmla="*/ 46 w 118"/>
                <a:gd name="T81" fmla="*/ 70 h 84"/>
                <a:gd name="T82" fmla="*/ 46 w 118"/>
                <a:gd name="T83" fmla="*/ 70 h 84"/>
                <a:gd name="T84" fmla="*/ 44 w 118"/>
                <a:gd name="T85" fmla="*/ 70 h 84"/>
                <a:gd name="T86" fmla="*/ 40 w 118"/>
                <a:gd name="T87" fmla="*/ 6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8" h="84">
                  <a:moveTo>
                    <a:pt x="40" y="68"/>
                  </a:moveTo>
                  <a:lnTo>
                    <a:pt x="40" y="68"/>
                  </a:lnTo>
                  <a:lnTo>
                    <a:pt x="38" y="64"/>
                  </a:lnTo>
                  <a:lnTo>
                    <a:pt x="34" y="62"/>
                  </a:lnTo>
                  <a:lnTo>
                    <a:pt x="32" y="60"/>
                  </a:lnTo>
                  <a:lnTo>
                    <a:pt x="30" y="58"/>
                  </a:lnTo>
                  <a:lnTo>
                    <a:pt x="26" y="56"/>
                  </a:lnTo>
                  <a:lnTo>
                    <a:pt x="18" y="54"/>
                  </a:lnTo>
                  <a:lnTo>
                    <a:pt x="6" y="46"/>
                  </a:lnTo>
                  <a:lnTo>
                    <a:pt x="6" y="46"/>
                  </a:lnTo>
                  <a:lnTo>
                    <a:pt x="4" y="46"/>
                  </a:lnTo>
                  <a:lnTo>
                    <a:pt x="4" y="44"/>
                  </a:lnTo>
                  <a:lnTo>
                    <a:pt x="4" y="44"/>
                  </a:lnTo>
                  <a:lnTo>
                    <a:pt x="2" y="44"/>
                  </a:lnTo>
                  <a:lnTo>
                    <a:pt x="2" y="44"/>
                  </a:lnTo>
                  <a:lnTo>
                    <a:pt x="2" y="42"/>
                  </a:lnTo>
                  <a:lnTo>
                    <a:pt x="2" y="38"/>
                  </a:lnTo>
                  <a:lnTo>
                    <a:pt x="0" y="36"/>
                  </a:lnTo>
                  <a:lnTo>
                    <a:pt x="0" y="32"/>
                  </a:lnTo>
                  <a:lnTo>
                    <a:pt x="0" y="30"/>
                  </a:lnTo>
                  <a:lnTo>
                    <a:pt x="2" y="30"/>
                  </a:lnTo>
                  <a:lnTo>
                    <a:pt x="6" y="30"/>
                  </a:lnTo>
                  <a:lnTo>
                    <a:pt x="8" y="28"/>
                  </a:lnTo>
                  <a:lnTo>
                    <a:pt x="10" y="28"/>
                  </a:lnTo>
                  <a:lnTo>
                    <a:pt x="12" y="28"/>
                  </a:lnTo>
                  <a:lnTo>
                    <a:pt x="12" y="28"/>
                  </a:lnTo>
                  <a:lnTo>
                    <a:pt x="14" y="26"/>
                  </a:lnTo>
                  <a:lnTo>
                    <a:pt x="14" y="26"/>
                  </a:lnTo>
                  <a:lnTo>
                    <a:pt x="14" y="26"/>
                  </a:lnTo>
                  <a:lnTo>
                    <a:pt x="16" y="24"/>
                  </a:lnTo>
                  <a:lnTo>
                    <a:pt x="18" y="22"/>
                  </a:lnTo>
                  <a:lnTo>
                    <a:pt x="18" y="18"/>
                  </a:lnTo>
                  <a:lnTo>
                    <a:pt x="22" y="14"/>
                  </a:lnTo>
                  <a:lnTo>
                    <a:pt x="22" y="12"/>
                  </a:lnTo>
                  <a:lnTo>
                    <a:pt x="24" y="10"/>
                  </a:lnTo>
                  <a:lnTo>
                    <a:pt x="30" y="0"/>
                  </a:lnTo>
                  <a:lnTo>
                    <a:pt x="32" y="0"/>
                  </a:lnTo>
                  <a:lnTo>
                    <a:pt x="38" y="0"/>
                  </a:lnTo>
                  <a:lnTo>
                    <a:pt x="42" y="0"/>
                  </a:lnTo>
                  <a:lnTo>
                    <a:pt x="46" y="0"/>
                  </a:lnTo>
                  <a:lnTo>
                    <a:pt x="48" y="0"/>
                  </a:lnTo>
                  <a:lnTo>
                    <a:pt x="50" y="0"/>
                  </a:lnTo>
                  <a:lnTo>
                    <a:pt x="52" y="0"/>
                  </a:lnTo>
                  <a:lnTo>
                    <a:pt x="52" y="0"/>
                  </a:lnTo>
                  <a:lnTo>
                    <a:pt x="52" y="2"/>
                  </a:lnTo>
                  <a:lnTo>
                    <a:pt x="54" y="2"/>
                  </a:lnTo>
                  <a:lnTo>
                    <a:pt x="56" y="4"/>
                  </a:lnTo>
                  <a:lnTo>
                    <a:pt x="58" y="6"/>
                  </a:lnTo>
                  <a:lnTo>
                    <a:pt x="58" y="6"/>
                  </a:lnTo>
                  <a:lnTo>
                    <a:pt x="60" y="6"/>
                  </a:lnTo>
                  <a:lnTo>
                    <a:pt x="64" y="6"/>
                  </a:lnTo>
                  <a:lnTo>
                    <a:pt x="66" y="8"/>
                  </a:lnTo>
                  <a:lnTo>
                    <a:pt x="70" y="8"/>
                  </a:lnTo>
                  <a:lnTo>
                    <a:pt x="72" y="8"/>
                  </a:lnTo>
                  <a:lnTo>
                    <a:pt x="76" y="8"/>
                  </a:lnTo>
                  <a:lnTo>
                    <a:pt x="78" y="8"/>
                  </a:lnTo>
                  <a:lnTo>
                    <a:pt x="80" y="8"/>
                  </a:lnTo>
                  <a:lnTo>
                    <a:pt x="82" y="8"/>
                  </a:lnTo>
                  <a:lnTo>
                    <a:pt x="82" y="6"/>
                  </a:lnTo>
                  <a:lnTo>
                    <a:pt x="86" y="6"/>
                  </a:lnTo>
                  <a:lnTo>
                    <a:pt x="88" y="4"/>
                  </a:lnTo>
                  <a:lnTo>
                    <a:pt x="92" y="6"/>
                  </a:lnTo>
                  <a:lnTo>
                    <a:pt x="98" y="12"/>
                  </a:lnTo>
                  <a:lnTo>
                    <a:pt x="100" y="16"/>
                  </a:lnTo>
                  <a:lnTo>
                    <a:pt x="104" y="18"/>
                  </a:lnTo>
                  <a:lnTo>
                    <a:pt x="106" y="22"/>
                  </a:lnTo>
                  <a:lnTo>
                    <a:pt x="108" y="22"/>
                  </a:lnTo>
                  <a:lnTo>
                    <a:pt x="108" y="24"/>
                  </a:lnTo>
                  <a:lnTo>
                    <a:pt x="108" y="26"/>
                  </a:lnTo>
                  <a:lnTo>
                    <a:pt x="110" y="28"/>
                  </a:lnTo>
                  <a:lnTo>
                    <a:pt x="110" y="30"/>
                  </a:lnTo>
                  <a:lnTo>
                    <a:pt x="110" y="32"/>
                  </a:lnTo>
                  <a:lnTo>
                    <a:pt x="110" y="36"/>
                  </a:lnTo>
                  <a:lnTo>
                    <a:pt x="110" y="38"/>
                  </a:lnTo>
                  <a:lnTo>
                    <a:pt x="110" y="40"/>
                  </a:lnTo>
                  <a:lnTo>
                    <a:pt x="110" y="42"/>
                  </a:lnTo>
                  <a:lnTo>
                    <a:pt x="112" y="46"/>
                  </a:lnTo>
                  <a:lnTo>
                    <a:pt x="114" y="52"/>
                  </a:lnTo>
                  <a:lnTo>
                    <a:pt x="118" y="58"/>
                  </a:lnTo>
                  <a:lnTo>
                    <a:pt x="118" y="64"/>
                  </a:lnTo>
                  <a:lnTo>
                    <a:pt x="116" y="66"/>
                  </a:lnTo>
                  <a:lnTo>
                    <a:pt x="116" y="68"/>
                  </a:lnTo>
                  <a:lnTo>
                    <a:pt x="116" y="70"/>
                  </a:lnTo>
                  <a:lnTo>
                    <a:pt x="114" y="70"/>
                  </a:lnTo>
                  <a:lnTo>
                    <a:pt x="114" y="72"/>
                  </a:lnTo>
                  <a:lnTo>
                    <a:pt x="112" y="74"/>
                  </a:lnTo>
                  <a:lnTo>
                    <a:pt x="110" y="76"/>
                  </a:lnTo>
                  <a:lnTo>
                    <a:pt x="106" y="78"/>
                  </a:lnTo>
                  <a:lnTo>
                    <a:pt x="104" y="80"/>
                  </a:lnTo>
                  <a:lnTo>
                    <a:pt x="92" y="80"/>
                  </a:lnTo>
                  <a:lnTo>
                    <a:pt x="90" y="82"/>
                  </a:lnTo>
                  <a:lnTo>
                    <a:pt x="86" y="82"/>
                  </a:lnTo>
                  <a:lnTo>
                    <a:pt x="80" y="84"/>
                  </a:lnTo>
                  <a:lnTo>
                    <a:pt x="78" y="84"/>
                  </a:lnTo>
                  <a:lnTo>
                    <a:pt x="74" y="84"/>
                  </a:lnTo>
                  <a:lnTo>
                    <a:pt x="74" y="84"/>
                  </a:lnTo>
                  <a:lnTo>
                    <a:pt x="72" y="84"/>
                  </a:lnTo>
                  <a:lnTo>
                    <a:pt x="72" y="84"/>
                  </a:lnTo>
                  <a:lnTo>
                    <a:pt x="70" y="84"/>
                  </a:lnTo>
                  <a:lnTo>
                    <a:pt x="70" y="84"/>
                  </a:lnTo>
                  <a:lnTo>
                    <a:pt x="70" y="82"/>
                  </a:lnTo>
                  <a:lnTo>
                    <a:pt x="68" y="82"/>
                  </a:lnTo>
                  <a:lnTo>
                    <a:pt x="68" y="82"/>
                  </a:lnTo>
                  <a:lnTo>
                    <a:pt x="68" y="80"/>
                  </a:lnTo>
                  <a:lnTo>
                    <a:pt x="68" y="78"/>
                  </a:lnTo>
                  <a:lnTo>
                    <a:pt x="68" y="76"/>
                  </a:lnTo>
                  <a:lnTo>
                    <a:pt x="68" y="74"/>
                  </a:lnTo>
                  <a:lnTo>
                    <a:pt x="66" y="72"/>
                  </a:lnTo>
                  <a:lnTo>
                    <a:pt x="66" y="72"/>
                  </a:lnTo>
                  <a:lnTo>
                    <a:pt x="66" y="70"/>
                  </a:lnTo>
                  <a:lnTo>
                    <a:pt x="64" y="70"/>
                  </a:lnTo>
                  <a:lnTo>
                    <a:pt x="62" y="68"/>
                  </a:lnTo>
                  <a:lnTo>
                    <a:pt x="60" y="68"/>
                  </a:lnTo>
                  <a:lnTo>
                    <a:pt x="58" y="66"/>
                  </a:lnTo>
                  <a:lnTo>
                    <a:pt x="56" y="66"/>
                  </a:lnTo>
                  <a:lnTo>
                    <a:pt x="54" y="66"/>
                  </a:lnTo>
                  <a:lnTo>
                    <a:pt x="52" y="64"/>
                  </a:lnTo>
                  <a:lnTo>
                    <a:pt x="50" y="66"/>
                  </a:lnTo>
                  <a:lnTo>
                    <a:pt x="50" y="66"/>
                  </a:lnTo>
                  <a:lnTo>
                    <a:pt x="48" y="66"/>
                  </a:lnTo>
                  <a:lnTo>
                    <a:pt x="48" y="66"/>
                  </a:lnTo>
                  <a:lnTo>
                    <a:pt x="48" y="68"/>
                  </a:lnTo>
                  <a:lnTo>
                    <a:pt x="46" y="70"/>
                  </a:lnTo>
                  <a:lnTo>
                    <a:pt x="46" y="70"/>
                  </a:lnTo>
                  <a:lnTo>
                    <a:pt x="46" y="70"/>
                  </a:lnTo>
                  <a:lnTo>
                    <a:pt x="46" y="70"/>
                  </a:lnTo>
                  <a:lnTo>
                    <a:pt x="46" y="70"/>
                  </a:lnTo>
                  <a:lnTo>
                    <a:pt x="44" y="70"/>
                  </a:lnTo>
                  <a:lnTo>
                    <a:pt x="44" y="70"/>
                  </a:lnTo>
                  <a:lnTo>
                    <a:pt x="42" y="68"/>
                  </a:lnTo>
                  <a:lnTo>
                    <a:pt x="42" y="68"/>
                  </a:lnTo>
                  <a:lnTo>
                    <a:pt x="40" y="6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7" name="Freeform 305">
              <a:extLst>
                <a:ext uri="{FF2B5EF4-FFF2-40B4-BE49-F238E27FC236}">
                  <a16:creationId xmlns:a16="http://schemas.microsoft.com/office/drawing/2014/main" id="{2789EA88-6327-4646-B05C-3306456233CA}"/>
                </a:ext>
              </a:extLst>
            </p:cNvPr>
            <p:cNvSpPr>
              <a:spLocks/>
            </p:cNvSpPr>
            <p:nvPr/>
          </p:nvSpPr>
          <p:spPr bwMode="auto">
            <a:xfrm>
              <a:off x="4743800" y="3187804"/>
              <a:ext cx="204385" cy="145494"/>
            </a:xfrm>
            <a:custGeom>
              <a:avLst/>
              <a:gdLst>
                <a:gd name="T0" fmla="*/ 38 w 118"/>
                <a:gd name="T1" fmla="*/ 64 h 84"/>
                <a:gd name="T2" fmla="*/ 30 w 118"/>
                <a:gd name="T3" fmla="*/ 58 h 84"/>
                <a:gd name="T4" fmla="*/ 6 w 118"/>
                <a:gd name="T5" fmla="*/ 46 h 84"/>
                <a:gd name="T6" fmla="*/ 4 w 118"/>
                <a:gd name="T7" fmla="*/ 44 h 84"/>
                <a:gd name="T8" fmla="*/ 2 w 118"/>
                <a:gd name="T9" fmla="*/ 44 h 84"/>
                <a:gd name="T10" fmla="*/ 0 w 118"/>
                <a:gd name="T11" fmla="*/ 36 h 84"/>
                <a:gd name="T12" fmla="*/ 2 w 118"/>
                <a:gd name="T13" fmla="*/ 30 h 84"/>
                <a:gd name="T14" fmla="*/ 10 w 118"/>
                <a:gd name="T15" fmla="*/ 28 h 84"/>
                <a:gd name="T16" fmla="*/ 14 w 118"/>
                <a:gd name="T17" fmla="*/ 26 h 84"/>
                <a:gd name="T18" fmla="*/ 16 w 118"/>
                <a:gd name="T19" fmla="*/ 24 h 84"/>
                <a:gd name="T20" fmla="*/ 22 w 118"/>
                <a:gd name="T21" fmla="*/ 14 h 84"/>
                <a:gd name="T22" fmla="*/ 30 w 118"/>
                <a:gd name="T23" fmla="*/ 0 h 84"/>
                <a:gd name="T24" fmla="*/ 42 w 118"/>
                <a:gd name="T25" fmla="*/ 0 h 84"/>
                <a:gd name="T26" fmla="*/ 50 w 118"/>
                <a:gd name="T27" fmla="*/ 0 h 84"/>
                <a:gd name="T28" fmla="*/ 52 w 118"/>
                <a:gd name="T29" fmla="*/ 2 h 84"/>
                <a:gd name="T30" fmla="*/ 58 w 118"/>
                <a:gd name="T31" fmla="*/ 6 h 84"/>
                <a:gd name="T32" fmla="*/ 64 w 118"/>
                <a:gd name="T33" fmla="*/ 6 h 84"/>
                <a:gd name="T34" fmla="*/ 72 w 118"/>
                <a:gd name="T35" fmla="*/ 8 h 84"/>
                <a:gd name="T36" fmla="*/ 80 w 118"/>
                <a:gd name="T37" fmla="*/ 8 h 84"/>
                <a:gd name="T38" fmla="*/ 86 w 118"/>
                <a:gd name="T39" fmla="*/ 6 h 84"/>
                <a:gd name="T40" fmla="*/ 98 w 118"/>
                <a:gd name="T41" fmla="*/ 12 h 84"/>
                <a:gd name="T42" fmla="*/ 106 w 118"/>
                <a:gd name="T43" fmla="*/ 22 h 84"/>
                <a:gd name="T44" fmla="*/ 108 w 118"/>
                <a:gd name="T45" fmla="*/ 26 h 84"/>
                <a:gd name="T46" fmla="*/ 110 w 118"/>
                <a:gd name="T47" fmla="*/ 32 h 84"/>
                <a:gd name="T48" fmla="*/ 110 w 118"/>
                <a:gd name="T49" fmla="*/ 40 h 84"/>
                <a:gd name="T50" fmla="*/ 114 w 118"/>
                <a:gd name="T51" fmla="*/ 52 h 84"/>
                <a:gd name="T52" fmla="*/ 116 w 118"/>
                <a:gd name="T53" fmla="*/ 66 h 84"/>
                <a:gd name="T54" fmla="*/ 114 w 118"/>
                <a:gd name="T55" fmla="*/ 70 h 84"/>
                <a:gd name="T56" fmla="*/ 110 w 118"/>
                <a:gd name="T57" fmla="*/ 76 h 84"/>
                <a:gd name="T58" fmla="*/ 92 w 118"/>
                <a:gd name="T59" fmla="*/ 80 h 84"/>
                <a:gd name="T60" fmla="*/ 80 w 118"/>
                <a:gd name="T61" fmla="*/ 84 h 84"/>
                <a:gd name="T62" fmla="*/ 74 w 118"/>
                <a:gd name="T63" fmla="*/ 84 h 84"/>
                <a:gd name="T64" fmla="*/ 70 w 118"/>
                <a:gd name="T65" fmla="*/ 84 h 84"/>
                <a:gd name="T66" fmla="*/ 68 w 118"/>
                <a:gd name="T67" fmla="*/ 82 h 84"/>
                <a:gd name="T68" fmla="*/ 68 w 118"/>
                <a:gd name="T69" fmla="*/ 78 h 84"/>
                <a:gd name="T70" fmla="*/ 66 w 118"/>
                <a:gd name="T71" fmla="*/ 72 h 84"/>
                <a:gd name="T72" fmla="*/ 64 w 118"/>
                <a:gd name="T73" fmla="*/ 70 h 84"/>
                <a:gd name="T74" fmla="*/ 58 w 118"/>
                <a:gd name="T75" fmla="*/ 66 h 84"/>
                <a:gd name="T76" fmla="*/ 52 w 118"/>
                <a:gd name="T77" fmla="*/ 64 h 84"/>
                <a:gd name="T78" fmla="*/ 48 w 118"/>
                <a:gd name="T79" fmla="*/ 66 h 84"/>
                <a:gd name="T80" fmla="*/ 46 w 118"/>
                <a:gd name="T81" fmla="*/ 70 h 84"/>
                <a:gd name="T82" fmla="*/ 46 w 118"/>
                <a:gd name="T83" fmla="*/ 70 h 84"/>
                <a:gd name="T84" fmla="*/ 44 w 118"/>
                <a:gd name="T85" fmla="*/ 70 h 84"/>
                <a:gd name="T86" fmla="*/ 40 w 118"/>
                <a:gd name="T87" fmla="*/ 6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8" h="84">
                  <a:moveTo>
                    <a:pt x="40" y="68"/>
                  </a:moveTo>
                  <a:lnTo>
                    <a:pt x="40" y="68"/>
                  </a:lnTo>
                  <a:lnTo>
                    <a:pt x="38" y="64"/>
                  </a:lnTo>
                  <a:lnTo>
                    <a:pt x="34" y="62"/>
                  </a:lnTo>
                  <a:lnTo>
                    <a:pt x="32" y="60"/>
                  </a:lnTo>
                  <a:lnTo>
                    <a:pt x="30" y="58"/>
                  </a:lnTo>
                  <a:lnTo>
                    <a:pt x="26" y="56"/>
                  </a:lnTo>
                  <a:lnTo>
                    <a:pt x="18" y="54"/>
                  </a:lnTo>
                  <a:lnTo>
                    <a:pt x="6" y="46"/>
                  </a:lnTo>
                  <a:lnTo>
                    <a:pt x="6" y="46"/>
                  </a:lnTo>
                  <a:lnTo>
                    <a:pt x="4" y="46"/>
                  </a:lnTo>
                  <a:lnTo>
                    <a:pt x="4" y="44"/>
                  </a:lnTo>
                  <a:lnTo>
                    <a:pt x="4" y="44"/>
                  </a:lnTo>
                  <a:lnTo>
                    <a:pt x="2" y="44"/>
                  </a:lnTo>
                  <a:lnTo>
                    <a:pt x="2" y="44"/>
                  </a:lnTo>
                  <a:lnTo>
                    <a:pt x="2" y="42"/>
                  </a:lnTo>
                  <a:lnTo>
                    <a:pt x="2" y="38"/>
                  </a:lnTo>
                  <a:lnTo>
                    <a:pt x="0" y="36"/>
                  </a:lnTo>
                  <a:lnTo>
                    <a:pt x="0" y="32"/>
                  </a:lnTo>
                  <a:lnTo>
                    <a:pt x="0" y="30"/>
                  </a:lnTo>
                  <a:lnTo>
                    <a:pt x="2" y="30"/>
                  </a:lnTo>
                  <a:lnTo>
                    <a:pt x="6" y="30"/>
                  </a:lnTo>
                  <a:lnTo>
                    <a:pt x="8" y="28"/>
                  </a:lnTo>
                  <a:lnTo>
                    <a:pt x="10" y="28"/>
                  </a:lnTo>
                  <a:lnTo>
                    <a:pt x="12" y="28"/>
                  </a:lnTo>
                  <a:lnTo>
                    <a:pt x="12" y="28"/>
                  </a:lnTo>
                  <a:lnTo>
                    <a:pt x="14" y="26"/>
                  </a:lnTo>
                  <a:lnTo>
                    <a:pt x="14" y="26"/>
                  </a:lnTo>
                  <a:lnTo>
                    <a:pt x="14" y="26"/>
                  </a:lnTo>
                  <a:lnTo>
                    <a:pt x="16" y="24"/>
                  </a:lnTo>
                  <a:lnTo>
                    <a:pt x="18" y="22"/>
                  </a:lnTo>
                  <a:lnTo>
                    <a:pt x="18" y="18"/>
                  </a:lnTo>
                  <a:lnTo>
                    <a:pt x="22" y="14"/>
                  </a:lnTo>
                  <a:lnTo>
                    <a:pt x="22" y="12"/>
                  </a:lnTo>
                  <a:lnTo>
                    <a:pt x="24" y="10"/>
                  </a:lnTo>
                  <a:lnTo>
                    <a:pt x="30" y="0"/>
                  </a:lnTo>
                  <a:lnTo>
                    <a:pt x="32" y="0"/>
                  </a:lnTo>
                  <a:lnTo>
                    <a:pt x="38" y="0"/>
                  </a:lnTo>
                  <a:lnTo>
                    <a:pt x="42" y="0"/>
                  </a:lnTo>
                  <a:lnTo>
                    <a:pt x="46" y="0"/>
                  </a:lnTo>
                  <a:lnTo>
                    <a:pt x="48" y="0"/>
                  </a:lnTo>
                  <a:lnTo>
                    <a:pt x="50" y="0"/>
                  </a:lnTo>
                  <a:lnTo>
                    <a:pt x="52" y="0"/>
                  </a:lnTo>
                  <a:lnTo>
                    <a:pt x="52" y="0"/>
                  </a:lnTo>
                  <a:lnTo>
                    <a:pt x="52" y="2"/>
                  </a:lnTo>
                  <a:lnTo>
                    <a:pt x="54" y="2"/>
                  </a:lnTo>
                  <a:lnTo>
                    <a:pt x="56" y="4"/>
                  </a:lnTo>
                  <a:lnTo>
                    <a:pt x="58" y="6"/>
                  </a:lnTo>
                  <a:lnTo>
                    <a:pt x="58" y="6"/>
                  </a:lnTo>
                  <a:lnTo>
                    <a:pt x="60" y="6"/>
                  </a:lnTo>
                  <a:lnTo>
                    <a:pt x="64" y="6"/>
                  </a:lnTo>
                  <a:lnTo>
                    <a:pt x="66" y="8"/>
                  </a:lnTo>
                  <a:lnTo>
                    <a:pt x="70" y="8"/>
                  </a:lnTo>
                  <a:lnTo>
                    <a:pt x="72" y="8"/>
                  </a:lnTo>
                  <a:lnTo>
                    <a:pt x="76" y="8"/>
                  </a:lnTo>
                  <a:lnTo>
                    <a:pt x="78" y="8"/>
                  </a:lnTo>
                  <a:lnTo>
                    <a:pt x="80" y="8"/>
                  </a:lnTo>
                  <a:lnTo>
                    <a:pt x="82" y="8"/>
                  </a:lnTo>
                  <a:lnTo>
                    <a:pt x="82" y="6"/>
                  </a:lnTo>
                  <a:lnTo>
                    <a:pt x="86" y="6"/>
                  </a:lnTo>
                  <a:lnTo>
                    <a:pt x="88" y="4"/>
                  </a:lnTo>
                  <a:lnTo>
                    <a:pt x="92" y="6"/>
                  </a:lnTo>
                  <a:lnTo>
                    <a:pt x="98" y="12"/>
                  </a:lnTo>
                  <a:lnTo>
                    <a:pt x="100" y="16"/>
                  </a:lnTo>
                  <a:lnTo>
                    <a:pt x="104" y="18"/>
                  </a:lnTo>
                  <a:lnTo>
                    <a:pt x="106" y="22"/>
                  </a:lnTo>
                  <a:lnTo>
                    <a:pt x="108" y="22"/>
                  </a:lnTo>
                  <a:lnTo>
                    <a:pt x="108" y="24"/>
                  </a:lnTo>
                  <a:lnTo>
                    <a:pt x="108" y="26"/>
                  </a:lnTo>
                  <a:lnTo>
                    <a:pt x="110" y="28"/>
                  </a:lnTo>
                  <a:lnTo>
                    <a:pt x="110" y="30"/>
                  </a:lnTo>
                  <a:lnTo>
                    <a:pt x="110" y="32"/>
                  </a:lnTo>
                  <a:lnTo>
                    <a:pt x="110" y="36"/>
                  </a:lnTo>
                  <a:lnTo>
                    <a:pt x="110" y="38"/>
                  </a:lnTo>
                  <a:lnTo>
                    <a:pt x="110" y="40"/>
                  </a:lnTo>
                  <a:lnTo>
                    <a:pt x="110" y="42"/>
                  </a:lnTo>
                  <a:lnTo>
                    <a:pt x="112" y="46"/>
                  </a:lnTo>
                  <a:lnTo>
                    <a:pt x="114" y="52"/>
                  </a:lnTo>
                  <a:lnTo>
                    <a:pt x="118" y="58"/>
                  </a:lnTo>
                  <a:lnTo>
                    <a:pt x="118" y="64"/>
                  </a:lnTo>
                  <a:lnTo>
                    <a:pt x="116" y="66"/>
                  </a:lnTo>
                  <a:lnTo>
                    <a:pt x="116" y="68"/>
                  </a:lnTo>
                  <a:lnTo>
                    <a:pt x="116" y="70"/>
                  </a:lnTo>
                  <a:lnTo>
                    <a:pt x="114" y="70"/>
                  </a:lnTo>
                  <a:lnTo>
                    <a:pt x="114" y="72"/>
                  </a:lnTo>
                  <a:lnTo>
                    <a:pt x="112" y="74"/>
                  </a:lnTo>
                  <a:lnTo>
                    <a:pt x="110" y="76"/>
                  </a:lnTo>
                  <a:lnTo>
                    <a:pt x="106" y="78"/>
                  </a:lnTo>
                  <a:lnTo>
                    <a:pt x="104" y="80"/>
                  </a:lnTo>
                  <a:lnTo>
                    <a:pt x="92" y="80"/>
                  </a:lnTo>
                  <a:lnTo>
                    <a:pt x="90" y="82"/>
                  </a:lnTo>
                  <a:lnTo>
                    <a:pt x="86" y="82"/>
                  </a:lnTo>
                  <a:lnTo>
                    <a:pt x="80" y="84"/>
                  </a:lnTo>
                  <a:lnTo>
                    <a:pt x="78" y="84"/>
                  </a:lnTo>
                  <a:lnTo>
                    <a:pt x="74" y="84"/>
                  </a:lnTo>
                  <a:lnTo>
                    <a:pt x="74" y="84"/>
                  </a:lnTo>
                  <a:lnTo>
                    <a:pt x="72" y="84"/>
                  </a:lnTo>
                  <a:lnTo>
                    <a:pt x="72" y="84"/>
                  </a:lnTo>
                  <a:lnTo>
                    <a:pt x="70" y="84"/>
                  </a:lnTo>
                  <a:lnTo>
                    <a:pt x="70" y="84"/>
                  </a:lnTo>
                  <a:lnTo>
                    <a:pt x="70" y="82"/>
                  </a:lnTo>
                  <a:lnTo>
                    <a:pt x="68" y="82"/>
                  </a:lnTo>
                  <a:lnTo>
                    <a:pt x="68" y="82"/>
                  </a:lnTo>
                  <a:lnTo>
                    <a:pt x="68" y="80"/>
                  </a:lnTo>
                  <a:lnTo>
                    <a:pt x="68" y="78"/>
                  </a:lnTo>
                  <a:lnTo>
                    <a:pt x="68" y="76"/>
                  </a:lnTo>
                  <a:lnTo>
                    <a:pt x="68" y="74"/>
                  </a:lnTo>
                  <a:lnTo>
                    <a:pt x="66" y="72"/>
                  </a:lnTo>
                  <a:lnTo>
                    <a:pt x="66" y="72"/>
                  </a:lnTo>
                  <a:lnTo>
                    <a:pt x="66" y="70"/>
                  </a:lnTo>
                  <a:lnTo>
                    <a:pt x="64" y="70"/>
                  </a:lnTo>
                  <a:lnTo>
                    <a:pt x="62" y="68"/>
                  </a:lnTo>
                  <a:lnTo>
                    <a:pt x="60" y="68"/>
                  </a:lnTo>
                  <a:lnTo>
                    <a:pt x="58" y="66"/>
                  </a:lnTo>
                  <a:lnTo>
                    <a:pt x="56" y="66"/>
                  </a:lnTo>
                  <a:lnTo>
                    <a:pt x="54" y="66"/>
                  </a:lnTo>
                  <a:lnTo>
                    <a:pt x="52" y="64"/>
                  </a:lnTo>
                  <a:lnTo>
                    <a:pt x="50" y="66"/>
                  </a:lnTo>
                  <a:lnTo>
                    <a:pt x="50" y="66"/>
                  </a:lnTo>
                  <a:lnTo>
                    <a:pt x="48" y="66"/>
                  </a:lnTo>
                  <a:lnTo>
                    <a:pt x="48" y="66"/>
                  </a:lnTo>
                  <a:lnTo>
                    <a:pt x="48" y="68"/>
                  </a:lnTo>
                  <a:lnTo>
                    <a:pt x="46" y="70"/>
                  </a:lnTo>
                  <a:lnTo>
                    <a:pt x="46" y="70"/>
                  </a:lnTo>
                  <a:lnTo>
                    <a:pt x="46" y="70"/>
                  </a:lnTo>
                  <a:lnTo>
                    <a:pt x="46" y="70"/>
                  </a:lnTo>
                  <a:lnTo>
                    <a:pt x="46" y="70"/>
                  </a:lnTo>
                  <a:lnTo>
                    <a:pt x="44" y="70"/>
                  </a:lnTo>
                  <a:lnTo>
                    <a:pt x="44" y="70"/>
                  </a:lnTo>
                  <a:lnTo>
                    <a:pt x="42" y="68"/>
                  </a:lnTo>
                  <a:lnTo>
                    <a:pt x="42" y="68"/>
                  </a:lnTo>
                  <a:lnTo>
                    <a:pt x="40" y="6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8" name="Freeform 306">
              <a:extLst>
                <a:ext uri="{FF2B5EF4-FFF2-40B4-BE49-F238E27FC236}">
                  <a16:creationId xmlns:a16="http://schemas.microsoft.com/office/drawing/2014/main" id="{C91168B6-BAFF-43DD-A2AC-96A770AA5A0E}"/>
                </a:ext>
              </a:extLst>
            </p:cNvPr>
            <p:cNvSpPr>
              <a:spLocks/>
            </p:cNvSpPr>
            <p:nvPr/>
          </p:nvSpPr>
          <p:spPr bwMode="auto">
            <a:xfrm>
              <a:off x="4729944" y="2844853"/>
              <a:ext cx="180136" cy="148958"/>
            </a:xfrm>
            <a:custGeom>
              <a:avLst/>
              <a:gdLst>
                <a:gd name="T0" fmla="*/ 12 w 104"/>
                <a:gd name="T1" fmla="*/ 38 h 86"/>
                <a:gd name="T2" fmla="*/ 10 w 104"/>
                <a:gd name="T3" fmla="*/ 42 h 86"/>
                <a:gd name="T4" fmla="*/ 4 w 104"/>
                <a:gd name="T5" fmla="*/ 54 h 86"/>
                <a:gd name="T6" fmla="*/ 2 w 104"/>
                <a:gd name="T7" fmla="*/ 60 h 86"/>
                <a:gd name="T8" fmla="*/ 18 w 104"/>
                <a:gd name="T9" fmla="*/ 66 h 86"/>
                <a:gd name="T10" fmla="*/ 26 w 104"/>
                <a:gd name="T11" fmla="*/ 70 h 86"/>
                <a:gd name="T12" fmla="*/ 36 w 104"/>
                <a:gd name="T13" fmla="*/ 78 h 86"/>
                <a:gd name="T14" fmla="*/ 42 w 104"/>
                <a:gd name="T15" fmla="*/ 84 h 86"/>
                <a:gd name="T16" fmla="*/ 42 w 104"/>
                <a:gd name="T17" fmla="*/ 76 h 86"/>
                <a:gd name="T18" fmla="*/ 42 w 104"/>
                <a:gd name="T19" fmla="*/ 72 h 86"/>
                <a:gd name="T20" fmla="*/ 44 w 104"/>
                <a:gd name="T21" fmla="*/ 70 h 86"/>
                <a:gd name="T22" fmla="*/ 48 w 104"/>
                <a:gd name="T23" fmla="*/ 68 h 86"/>
                <a:gd name="T24" fmla="*/ 58 w 104"/>
                <a:gd name="T25" fmla="*/ 66 h 86"/>
                <a:gd name="T26" fmla="*/ 62 w 104"/>
                <a:gd name="T27" fmla="*/ 66 h 86"/>
                <a:gd name="T28" fmla="*/ 72 w 104"/>
                <a:gd name="T29" fmla="*/ 68 h 86"/>
                <a:gd name="T30" fmla="*/ 74 w 104"/>
                <a:gd name="T31" fmla="*/ 68 h 86"/>
                <a:gd name="T32" fmla="*/ 76 w 104"/>
                <a:gd name="T33" fmla="*/ 68 h 86"/>
                <a:gd name="T34" fmla="*/ 76 w 104"/>
                <a:gd name="T35" fmla="*/ 64 h 86"/>
                <a:gd name="T36" fmla="*/ 78 w 104"/>
                <a:gd name="T37" fmla="*/ 58 h 86"/>
                <a:gd name="T38" fmla="*/ 78 w 104"/>
                <a:gd name="T39" fmla="*/ 56 h 86"/>
                <a:gd name="T40" fmla="*/ 82 w 104"/>
                <a:gd name="T41" fmla="*/ 54 h 86"/>
                <a:gd name="T42" fmla="*/ 90 w 104"/>
                <a:gd name="T43" fmla="*/ 52 h 86"/>
                <a:gd name="T44" fmla="*/ 94 w 104"/>
                <a:gd name="T45" fmla="*/ 52 h 86"/>
                <a:gd name="T46" fmla="*/ 98 w 104"/>
                <a:gd name="T47" fmla="*/ 50 h 86"/>
                <a:gd name="T48" fmla="*/ 98 w 104"/>
                <a:gd name="T49" fmla="*/ 48 h 86"/>
                <a:gd name="T50" fmla="*/ 96 w 104"/>
                <a:gd name="T51" fmla="*/ 44 h 86"/>
                <a:gd name="T52" fmla="*/ 92 w 104"/>
                <a:gd name="T53" fmla="*/ 40 h 86"/>
                <a:gd name="T54" fmla="*/ 90 w 104"/>
                <a:gd name="T55" fmla="*/ 38 h 86"/>
                <a:gd name="T56" fmla="*/ 92 w 104"/>
                <a:gd name="T57" fmla="*/ 32 h 86"/>
                <a:gd name="T58" fmla="*/ 96 w 104"/>
                <a:gd name="T59" fmla="*/ 24 h 86"/>
                <a:gd name="T60" fmla="*/ 98 w 104"/>
                <a:gd name="T61" fmla="*/ 20 h 86"/>
                <a:gd name="T62" fmla="*/ 100 w 104"/>
                <a:gd name="T63" fmla="*/ 18 h 86"/>
                <a:gd name="T64" fmla="*/ 102 w 104"/>
                <a:gd name="T65" fmla="*/ 20 h 86"/>
                <a:gd name="T66" fmla="*/ 104 w 104"/>
                <a:gd name="T67" fmla="*/ 16 h 86"/>
                <a:gd name="T68" fmla="*/ 104 w 104"/>
                <a:gd name="T69" fmla="*/ 12 h 86"/>
                <a:gd name="T70" fmla="*/ 100 w 104"/>
                <a:gd name="T71" fmla="*/ 8 h 86"/>
                <a:gd name="T72" fmla="*/ 96 w 104"/>
                <a:gd name="T73" fmla="*/ 6 h 86"/>
                <a:gd name="T74" fmla="*/ 86 w 104"/>
                <a:gd name="T75" fmla="*/ 2 h 86"/>
                <a:gd name="T76" fmla="*/ 78 w 104"/>
                <a:gd name="T77" fmla="*/ 0 h 86"/>
                <a:gd name="T78" fmla="*/ 72 w 104"/>
                <a:gd name="T79" fmla="*/ 0 h 86"/>
                <a:gd name="T80" fmla="*/ 66 w 104"/>
                <a:gd name="T81" fmla="*/ 2 h 86"/>
                <a:gd name="T82" fmla="*/ 58 w 104"/>
                <a:gd name="T83" fmla="*/ 8 h 86"/>
                <a:gd name="T84" fmla="*/ 48 w 104"/>
                <a:gd name="T85" fmla="*/ 14 h 86"/>
                <a:gd name="T86" fmla="*/ 44 w 104"/>
                <a:gd name="T87" fmla="*/ 18 h 86"/>
                <a:gd name="T88" fmla="*/ 38 w 104"/>
                <a:gd name="T89" fmla="*/ 18 h 86"/>
                <a:gd name="T90" fmla="*/ 22 w 104"/>
                <a:gd name="T91" fmla="*/ 18 h 86"/>
                <a:gd name="T92" fmla="*/ 16 w 104"/>
                <a:gd name="T93" fmla="*/ 26 h 86"/>
                <a:gd name="T94" fmla="*/ 12 w 104"/>
                <a:gd name="T95"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86">
                  <a:moveTo>
                    <a:pt x="12" y="36"/>
                  </a:moveTo>
                  <a:lnTo>
                    <a:pt x="12" y="36"/>
                  </a:lnTo>
                  <a:lnTo>
                    <a:pt x="12" y="38"/>
                  </a:lnTo>
                  <a:lnTo>
                    <a:pt x="12" y="40"/>
                  </a:lnTo>
                  <a:lnTo>
                    <a:pt x="10" y="40"/>
                  </a:lnTo>
                  <a:lnTo>
                    <a:pt x="10" y="42"/>
                  </a:lnTo>
                  <a:lnTo>
                    <a:pt x="8" y="46"/>
                  </a:lnTo>
                  <a:lnTo>
                    <a:pt x="6" y="50"/>
                  </a:lnTo>
                  <a:lnTo>
                    <a:pt x="4" y="54"/>
                  </a:lnTo>
                  <a:lnTo>
                    <a:pt x="2" y="56"/>
                  </a:lnTo>
                  <a:lnTo>
                    <a:pt x="0" y="58"/>
                  </a:lnTo>
                  <a:lnTo>
                    <a:pt x="2" y="60"/>
                  </a:lnTo>
                  <a:lnTo>
                    <a:pt x="10" y="62"/>
                  </a:lnTo>
                  <a:lnTo>
                    <a:pt x="14" y="64"/>
                  </a:lnTo>
                  <a:lnTo>
                    <a:pt x="18" y="66"/>
                  </a:lnTo>
                  <a:lnTo>
                    <a:pt x="20" y="66"/>
                  </a:lnTo>
                  <a:lnTo>
                    <a:pt x="24" y="68"/>
                  </a:lnTo>
                  <a:lnTo>
                    <a:pt x="26" y="70"/>
                  </a:lnTo>
                  <a:lnTo>
                    <a:pt x="28" y="72"/>
                  </a:lnTo>
                  <a:lnTo>
                    <a:pt x="32" y="74"/>
                  </a:lnTo>
                  <a:lnTo>
                    <a:pt x="36" y="78"/>
                  </a:lnTo>
                  <a:lnTo>
                    <a:pt x="42" y="84"/>
                  </a:lnTo>
                  <a:lnTo>
                    <a:pt x="44" y="86"/>
                  </a:lnTo>
                  <a:lnTo>
                    <a:pt x="42" y="84"/>
                  </a:lnTo>
                  <a:lnTo>
                    <a:pt x="42" y="80"/>
                  </a:lnTo>
                  <a:lnTo>
                    <a:pt x="42" y="78"/>
                  </a:lnTo>
                  <a:lnTo>
                    <a:pt x="42" y="76"/>
                  </a:lnTo>
                  <a:lnTo>
                    <a:pt x="42" y="74"/>
                  </a:lnTo>
                  <a:lnTo>
                    <a:pt x="42" y="72"/>
                  </a:lnTo>
                  <a:lnTo>
                    <a:pt x="42" y="72"/>
                  </a:lnTo>
                  <a:lnTo>
                    <a:pt x="42" y="72"/>
                  </a:lnTo>
                  <a:lnTo>
                    <a:pt x="42" y="70"/>
                  </a:lnTo>
                  <a:lnTo>
                    <a:pt x="44" y="70"/>
                  </a:lnTo>
                  <a:lnTo>
                    <a:pt x="44" y="70"/>
                  </a:lnTo>
                  <a:lnTo>
                    <a:pt x="46" y="68"/>
                  </a:lnTo>
                  <a:lnTo>
                    <a:pt x="48" y="68"/>
                  </a:lnTo>
                  <a:lnTo>
                    <a:pt x="50" y="66"/>
                  </a:lnTo>
                  <a:lnTo>
                    <a:pt x="54" y="66"/>
                  </a:lnTo>
                  <a:lnTo>
                    <a:pt x="58" y="66"/>
                  </a:lnTo>
                  <a:lnTo>
                    <a:pt x="58" y="66"/>
                  </a:lnTo>
                  <a:lnTo>
                    <a:pt x="60" y="66"/>
                  </a:lnTo>
                  <a:lnTo>
                    <a:pt x="62" y="66"/>
                  </a:lnTo>
                  <a:lnTo>
                    <a:pt x="66" y="68"/>
                  </a:lnTo>
                  <a:lnTo>
                    <a:pt x="68" y="68"/>
                  </a:lnTo>
                  <a:lnTo>
                    <a:pt x="72" y="68"/>
                  </a:lnTo>
                  <a:lnTo>
                    <a:pt x="72" y="68"/>
                  </a:lnTo>
                  <a:lnTo>
                    <a:pt x="74" y="68"/>
                  </a:lnTo>
                  <a:lnTo>
                    <a:pt x="74" y="68"/>
                  </a:lnTo>
                  <a:lnTo>
                    <a:pt x="76" y="68"/>
                  </a:lnTo>
                  <a:lnTo>
                    <a:pt x="76" y="68"/>
                  </a:lnTo>
                  <a:lnTo>
                    <a:pt x="76" y="68"/>
                  </a:lnTo>
                  <a:lnTo>
                    <a:pt x="76" y="66"/>
                  </a:lnTo>
                  <a:lnTo>
                    <a:pt x="76" y="66"/>
                  </a:lnTo>
                  <a:lnTo>
                    <a:pt x="76" y="64"/>
                  </a:lnTo>
                  <a:lnTo>
                    <a:pt x="78" y="62"/>
                  </a:lnTo>
                  <a:lnTo>
                    <a:pt x="78" y="60"/>
                  </a:lnTo>
                  <a:lnTo>
                    <a:pt x="78" y="58"/>
                  </a:lnTo>
                  <a:lnTo>
                    <a:pt x="78" y="58"/>
                  </a:lnTo>
                  <a:lnTo>
                    <a:pt x="78" y="56"/>
                  </a:lnTo>
                  <a:lnTo>
                    <a:pt x="78" y="56"/>
                  </a:lnTo>
                  <a:lnTo>
                    <a:pt x="80" y="56"/>
                  </a:lnTo>
                  <a:lnTo>
                    <a:pt x="80" y="54"/>
                  </a:lnTo>
                  <a:lnTo>
                    <a:pt x="82" y="54"/>
                  </a:lnTo>
                  <a:lnTo>
                    <a:pt x="84" y="54"/>
                  </a:lnTo>
                  <a:lnTo>
                    <a:pt x="86" y="54"/>
                  </a:lnTo>
                  <a:lnTo>
                    <a:pt x="90" y="52"/>
                  </a:lnTo>
                  <a:lnTo>
                    <a:pt x="92" y="52"/>
                  </a:lnTo>
                  <a:lnTo>
                    <a:pt x="94" y="52"/>
                  </a:lnTo>
                  <a:lnTo>
                    <a:pt x="94" y="52"/>
                  </a:lnTo>
                  <a:lnTo>
                    <a:pt x="96" y="50"/>
                  </a:lnTo>
                  <a:lnTo>
                    <a:pt x="98" y="50"/>
                  </a:lnTo>
                  <a:lnTo>
                    <a:pt x="98" y="50"/>
                  </a:lnTo>
                  <a:lnTo>
                    <a:pt x="98" y="48"/>
                  </a:lnTo>
                  <a:lnTo>
                    <a:pt x="98" y="48"/>
                  </a:lnTo>
                  <a:lnTo>
                    <a:pt x="98" y="48"/>
                  </a:lnTo>
                  <a:lnTo>
                    <a:pt x="98" y="46"/>
                  </a:lnTo>
                  <a:lnTo>
                    <a:pt x="98" y="46"/>
                  </a:lnTo>
                  <a:lnTo>
                    <a:pt x="96" y="44"/>
                  </a:lnTo>
                  <a:lnTo>
                    <a:pt x="94" y="44"/>
                  </a:lnTo>
                  <a:lnTo>
                    <a:pt x="94" y="42"/>
                  </a:lnTo>
                  <a:lnTo>
                    <a:pt x="92" y="40"/>
                  </a:lnTo>
                  <a:lnTo>
                    <a:pt x="92" y="40"/>
                  </a:lnTo>
                  <a:lnTo>
                    <a:pt x="92" y="38"/>
                  </a:lnTo>
                  <a:lnTo>
                    <a:pt x="90" y="38"/>
                  </a:lnTo>
                  <a:lnTo>
                    <a:pt x="90" y="36"/>
                  </a:lnTo>
                  <a:lnTo>
                    <a:pt x="92" y="36"/>
                  </a:lnTo>
                  <a:lnTo>
                    <a:pt x="92" y="32"/>
                  </a:lnTo>
                  <a:lnTo>
                    <a:pt x="92" y="30"/>
                  </a:lnTo>
                  <a:lnTo>
                    <a:pt x="94" y="26"/>
                  </a:lnTo>
                  <a:lnTo>
                    <a:pt x="96" y="24"/>
                  </a:lnTo>
                  <a:lnTo>
                    <a:pt x="96" y="22"/>
                  </a:lnTo>
                  <a:lnTo>
                    <a:pt x="96" y="22"/>
                  </a:lnTo>
                  <a:lnTo>
                    <a:pt x="98" y="20"/>
                  </a:lnTo>
                  <a:lnTo>
                    <a:pt x="98" y="20"/>
                  </a:lnTo>
                  <a:lnTo>
                    <a:pt x="100" y="20"/>
                  </a:lnTo>
                  <a:lnTo>
                    <a:pt x="100" y="18"/>
                  </a:lnTo>
                  <a:lnTo>
                    <a:pt x="102" y="18"/>
                  </a:lnTo>
                  <a:lnTo>
                    <a:pt x="102" y="20"/>
                  </a:lnTo>
                  <a:lnTo>
                    <a:pt x="102" y="20"/>
                  </a:lnTo>
                  <a:lnTo>
                    <a:pt x="104" y="20"/>
                  </a:lnTo>
                  <a:lnTo>
                    <a:pt x="104" y="20"/>
                  </a:lnTo>
                  <a:lnTo>
                    <a:pt x="104" y="16"/>
                  </a:lnTo>
                  <a:lnTo>
                    <a:pt x="104" y="16"/>
                  </a:lnTo>
                  <a:lnTo>
                    <a:pt x="104" y="14"/>
                  </a:lnTo>
                  <a:lnTo>
                    <a:pt x="104" y="12"/>
                  </a:lnTo>
                  <a:lnTo>
                    <a:pt x="104" y="12"/>
                  </a:lnTo>
                  <a:lnTo>
                    <a:pt x="102" y="10"/>
                  </a:lnTo>
                  <a:lnTo>
                    <a:pt x="100" y="8"/>
                  </a:lnTo>
                  <a:lnTo>
                    <a:pt x="100" y="8"/>
                  </a:lnTo>
                  <a:lnTo>
                    <a:pt x="98" y="6"/>
                  </a:lnTo>
                  <a:lnTo>
                    <a:pt x="96" y="6"/>
                  </a:lnTo>
                  <a:lnTo>
                    <a:pt x="94" y="4"/>
                  </a:lnTo>
                  <a:lnTo>
                    <a:pt x="90" y="2"/>
                  </a:lnTo>
                  <a:lnTo>
                    <a:pt x="86" y="2"/>
                  </a:lnTo>
                  <a:lnTo>
                    <a:pt x="82" y="0"/>
                  </a:lnTo>
                  <a:lnTo>
                    <a:pt x="80" y="0"/>
                  </a:lnTo>
                  <a:lnTo>
                    <a:pt x="78" y="0"/>
                  </a:lnTo>
                  <a:lnTo>
                    <a:pt x="76" y="0"/>
                  </a:lnTo>
                  <a:lnTo>
                    <a:pt x="74" y="0"/>
                  </a:lnTo>
                  <a:lnTo>
                    <a:pt x="72" y="0"/>
                  </a:lnTo>
                  <a:lnTo>
                    <a:pt x="70" y="0"/>
                  </a:lnTo>
                  <a:lnTo>
                    <a:pt x="68" y="2"/>
                  </a:lnTo>
                  <a:lnTo>
                    <a:pt x="66" y="2"/>
                  </a:lnTo>
                  <a:lnTo>
                    <a:pt x="64" y="4"/>
                  </a:lnTo>
                  <a:lnTo>
                    <a:pt x="62" y="4"/>
                  </a:lnTo>
                  <a:lnTo>
                    <a:pt x="58" y="8"/>
                  </a:lnTo>
                  <a:lnTo>
                    <a:pt x="54" y="10"/>
                  </a:lnTo>
                  <a:lnTo>
                    <a:pt x="50" y="14"/>
                  </a:lnTo>
                  <a:lnTo>
                    <a:pt x="48" y="14"/>
                  </a:lnTo>
                  <a:lnTo>
                    <a:pt x="48" y="16"/>
                  </a:lnTo>
                  <a:lnTo>
                    <a:pt x="46" y="16"/>
                  </a:lnTo>
                  <a:lnTo>
                    <a:pt x="44" y="18"/>
                  </a:lnTo>
                  <a:lnTo>
                    <a:pt x="42" y="18"/>
                  </a:lnTo>
                  <a:lnTo>
                    <a:pt x="42" y="18"/>
                  </a:lnTo>
                  <a:lnTo>
                    <a:pt x="38" y="18"/>
                  </a:lnTo>
                  <a:lnTo>
                    <a:pt x="34" y="18"/>
                  </a:lnTo>
                  <a:lnTo>
                    <a:pt x="30" y="18"/>
                  </a:lnTo>
                  <a:lnTo>
                    <a:pt x="22" y="18"/>
                  </a:lnTo>
                  <a:lnTo>
                    <a:pt x="20" y="18"/>
                  </a:lnTo>
                  <a:lnTo>
                    <a:pt x="18" y="20"/>
                  </a:lnTo>
                  <a:lnTo>
                    <a:pt x="16" y="26"/>
                  </a:lnTo>
                  <a:lnTo>
                    <a:pt x="14" y="28"/>
                  </a:lnTo>
                  <a:lnTo>
                    <a:pt x="12" y="32"/>
                  </a:lnTo>
                  <a:lnTo>
                    <a:pt x="12" y="34"/>
                  </a:lnTo>
                  <a:lnTo>
                    <a:pt x="12" y="36"/>
                  </a:lnTo>
                  <a:lnTo>
                    <a:pt x="12" y="3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9" name="Freeform 307">
              <a:extLst>
                <a:ext uri="{FF2B5EF4-FFF2-40B4-BE49-F238E27FC236}">
                  <a16:creationId xmlns:a16="http://schemas.microsoft.com/office/drawing/2014/main" id="{A1E6BD32-2E89-43E5-8835-0A3F2C9D29FD}"/>
                </a:ext>
              </a:extLst>
            </p:cNvPr>
            <p:cNvSpPr>
              <a:spLocks/>
            </p:cNvSpPr>
            <p:nvPr/>
          </p:nvSpPr>
          <p:spPr bwMode="auto">
            <a:xfrm>
              <a:off x="4729944" y="2844853"/>
              <a:ext cx="180136" cy="148958"/>
            </a:xfrm>
            <a:custGeom>
              <a:avLst/>
              <a:gdLst>
                <a:gd name="T0" fmla="*/ 12 w 104"/>
                <a:gd name="T1" fmla="*/ 38 h 86"/>
                <a:gd name="T2" fmla="*/ 10 w 104"/>
                <a:gd name="T3" fmla="*/ 42 h 86"/>
                <a:gd name="T4" fmla="*/ 4 w 104"/>
                <a:gd name="T5" fmla="*/ 54 h 86"/>
                <a:gd name="T6" fmla="*/ 2 w 104"/>
                <a:gd name="T7" fmla="*/ 60 h 86"/>
                <a:gd name="T8" fmla="*/ 18 w 104"/>
                <a:gd name="T9" fmla="*/ 66 h 86"/>
                <a:gd name="T10" fmla="*/ 26 w 104"/>
                <a:gd name="T11" fmla="*/ 70 h 86"/>
                <a:gd name="T12" fmla="*/ 36 w 104"/>
                <a:gd name="T13" fmla="*/ 78 h 86"/>
                <a:gd name="T14" fmla="*/ 42 w 104"/>
                <a:gd name="T15" fmla="*/ 84 h 86"/>
                <a:gd name="T16" fmla="*/ 42 w 104"/>
                <a:gd name="T17" fmla="*/ 76 h 86"/>
                <a:gd name="T18" fmla="*/ 42 w 104"/>
                <a:gd name="T19" fmla="*/ 72 h 86"/>
                <a:gd name="T20" fmla="*/ 44 w 104"/>
                <a:gd name="T21" fmla="*/ 70 h 86"/>
                <a:gd name="T22" fmla="*/ 48 w 104"/>
                <a:gd name="T23" fmla="*/ 68 h 86"/>
                <a:gd name="T24" fmla="*/ 58 w 104"/>
                <a:gd name="T25" fmla="*/ 66 h 86"/>
                <a:gd name="T26" fmla="*/ 62 w 104"/>
                <a:gd name="T27" fmla="*/ 66 h 86"/>
                <a:gd name="T28" fmla="*/ 72 w 104"/>
                <a:gd name="T29" fmla="*/ 68 h 86"/>
                <a:gd name="T30" fmla="*/ 74 w 104"/>
                <a:gd name="T31" fmla="*/ 68 h 86"/>
                <a:gd name="T32" fmla="*/ 76 w 104"/>
                <a:gd name="T33" fmla="*/ 68 h 86"/>
                <a:gd name="T34" fmla="*/ 76 w 104"/>
                <a:gd name="T35" fmla="*/ 64 h 86"/>
                <a:gd name="T36" fmla="*/ 78 w 104"/>
                <a:gd name="T37" fmla="*/ 58 h 86"/>
                <a:gd name="T38" fmla="*/ 78 w 104"/>
                <a:gd name="T39" fmla="*/ 56 h 86"/>
                <a:gd name="T40" fmla="*/ 82 w 104"/>
                <a:gd name="T41" fmla="*/ 54 h 86"/>
                <a:gd name="T42" fmla="*/ 90 w 104"/>
                <a:gd name="T43" fmla="*/ 52 h 86"/>
                <a:gd name="T44" fmla="*/ 94 w 104"/>
                <a:gd name="T45" fmla="*/ 52 h 86"/>
                <a:gd name="T46" fmla="*/ 98 w 104"/>
                <a:gd name="T47" fmla="*/ 50 h 86"/>
                <a:gd name="T48" fmla="*/ 98 w 104"/>
                <a:gd name="T49" fmla="*/ 48 h 86"/>
                <a:gd name="T50" fmla="*/ 96 w 104"/>
                <a:gd name="T51" fmla="*/ 44 h 86"/>
                <a:gd name="T52" fmla="*/ 92 w 104"/>
                <a:gd name="T53" fmla="*/ 40 h 86"/>
                <a:gd name="T54" fmla="*/ 90 w 104"/>
                <a:gd name="T55" fmla="*/ 38 h 86"/>
                <a:gd name="T56" fmla="*/ 92 w 104"/>
                <a:gd name="T57" fmla="*/ 32 h 86"/>
                <a:gd name="T58" fmla="*/ 96 w 104"/>
                <a:gd name="T59" fmla="*/ 24 h 86"/>
                <a:gd name="T60" fmla="*/ 98 w 104"/>
                <a:gd name="T61" fmla="*/ 20 h 86"/>
                <a:gd name="T62" fmla="*/ 100 w 104"/>
                <a:gd name="T63" fmla="*/ 18 h 86"/>
                <a:gd name="T64" fmla="*/ 102 w 104"/>
                <a:gd name="T65" fmla="*/ 20 h 86"/>
                <a:gd name="T66" fmla="*/ 104 w 104"/>
                <a:gd name="T67" fmla="*/ 16 h 86"/>
                <a:gd name="T68" fmla="*/ 104 w 104"/>
                <a:gd name="T69" fmla="*/ 12 h 86"/>
                <a:gd name="T70" fmla="*/ 100 w 104"/>
                <a:gd name="T71" fmla="*/ 8 h 86"/>
                <a:gd name="T72" fmla="*/ 96 w 104"/>
                <a:gd name="T73" fmla="*/ 6 h 86"/>
                <a:gd name="T74" fmla="*/ 86 w 104"/>
                <a:gd name="T75" fmla="*/ 2 h 86"/>
                <a:gd name="T76" fmla="*/ 78 w 104"/>
                <a:gd name="T77" fmla="*/ 0 h 86"/>
                <a:gd name="T78" fmla="*/ 72 w 104"/>
                <a:gd name="T79" fmla="*/ 0 h 86"/>
                <a:gd name="T80" fmla="*/ 66 w 104"/>
                <a:gd name="T81" fmla="*/ 2 h 86"/>
                <a:gd name="T82" fmla="*/ 58 w 104"/>
                <a:gd name="T83" fmla="*/ 8 h 86"/>
                <a:gd name="T84" fmla="*/ 48 w 104"/>
                <a:gd name="T85" fmla="*/ 14 h 86"/>
                <a:gd name="T86" fmla="*/ 44 w 104"/>
                <a:gd name="T87" fmla="*/ 18 h 86"/>
                <a:gd name="T88" fmla="*/ 38 w 104"/>
                <a:gd name="T89" fmla="*/ 18 h 86"/>
                <a:gd name="T90" fmla="*/ 22 w 104"/>
                <a:gd name="T91" fmla="*/ 18 h 86"/>
                <a:gd name="T92" fmla="*/ 16 w 104"/>
                <a:gd name="T93" fmla="*/ 26 h 86"/>
                <a:gd name="T94" fmla="*/ 12 w 104"/>
                <a:gd name="T95"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86">
                  <a:moveTo>
                    <a:pt x="12" y="36"/>
                  </a:moveTo>
                  <a:lnTo>
                    <a:pt x="12" y="36"/>
                  </a:lnTo>
                  <a:lnTo>
                    <a:pt x="12" y="38"/>
                  </a:lnTo>
                  <a:lnTo>
                    <a:pt x="12" y="40"/>
                  </a:lnTo>
                  <a:lnTo>
                    <a:pt x="10" y="40"/>
                  </a:lnTo>
                  <a:lnTo>
                    <a:pt x="10" y="42"/>
                  </a:lnTo>
                  <a:lnTo>
                    <a:pt x="8" y="46"/>
                  </a:lnTo>
                  <a:lnTo>
                    <a:pt x="6" y="50"/>
                  </a:lnTo>
                  <a:lnTo>
                    <a:pt x="4" y="54"/>
                  </a:lnTo>
                  <a:lnTo>
                    <a:pt x="2" y="56"/>
                  </a:lnTo>
                  <a:lnTo>
                    <a:pt x="0" y="58"/>
                  </a:lnTo>
                  <a:lnTo>
                    <a:pt x="2" y="60"/>
                  </a:lnTo>
                  <a:lnTo>
                    <a:pt x="10" y="62"/>
                  </a:lnTo>
                  <a:lnTo>
                    <a:pt x="14" y="64"/>
                  </a:lnTo>
                  <a:lnTo>
                    <a:pt x="18" y="66"/>
                  </a:lnTo>
                  <a:lnTo>
                    <a:pt x="20" y="66"/>
                  </a:lnTo>
                  <a:lnTo>
                    <a:pt x="24" y="68"/>
                  </a:lnTo>
                  <a:lnTo>
                    <a:pt x="26" y="70"/>
                  </a:lnTo>
                  <a:lnTo>
                    <a:pt x="28" y="72"/>
                  </a:lnTo>
                  <a:lnTo>
                    <a:pt x="32" y="74"/>
                  </a:lnTo>
                  <a:lnTo>
                    <a:pt x="36" y="78"/>
                  </a:lnTo>
                  <a:lnTo>
                    <a:pt x="42" y="84"/>
                  </a:lnTo>
                  <a:lnTo>
                    <a:pt x="44" y="86"/>
                  </a:lnTo>
                  <a:lnTo>
                    <a:pt x="42" y="84"/>
                  </a:lnTo>
                  <a:lnTo>
                    <a:pt x="42" y="80"/>
                  </a:lnTo>
                  <a:lnTo>
                    <a:pt x="42" y="78"/>
                  </a:lnTo>
                  <a:lnTo>
                    <a:pt x="42" y="76"/>
                  </a:lnTo>
                  <a:lnTo>
                    <a:pt x="42" y="74"/>
                  </a:lnTo>
                  <a:lnTo>
                    <a:pt x="42" y="72"/>
                  </a:lnTo>
                  <a:lnTo>
                    <a:pt x="42" y="72"/>
                  </a:lnTo>
                  <a:lnTo>
                    <a:pt x="42" y="72"/>
                  </a:lnTo>
                  <a:lnTo>
                    <a:pt x="42" y="70"/>
                  </a:lnTo>
                  <a:lnTo>
                    <a:pt x="44" y="70"/>
                  </a:lnTo>
                  <a:lnTo>
                    <a:pt x="44" y="70"/>
                  </a:lnTo>
                  <a:lnTo>
                    <a:pt x="46" y="68"/>
                  </a:lnTo>
                  <a:lnTo>
                    <a:pt x="48" y="68"/>
                  </a:lnTo>
                  <a:lnTo>
                    <a:pt x="50" y="66"/>
                  </a:lnTo>
                  <a:lnTo>
                    <a:pt x="54" y="66"/>
                  </a:lnTo>
                  <a:lnTo>
                    <a:pt x="58" y="66"/>
                  </a:lnTo>
                  <a:lnTo>
                    <a:pt x="58" y="66"/>
                  </a:lnTo>
                  <a:lnTo>
                    <a:pt x="60" y="66"/>
                  </a:lnTo>
                  <a:lnTo>
                    <a:pt x="62" y="66"/>
                  </a:lnTo>
                  <a:lnTo>
                    <a:pt x="66" y="68"/>
                  </a:lnTo>
                  <a:lnTo>
                    <a:pt x="68" y="68"/>
                  </a:lnTo>
                  <a:lnTo>
                    <a:pt x="72" y="68"/>
                  </a:lnTo>
                  <a:lnTo>
                    <a:pt x="72" y="68"/>
                  </a:lnTo>
                  <a:lnTo>
                    <a:pt x="74" y="68"/>
                  </a:lnTo>
                  <a:lnTo>
                    <a:pt x="74" y="68"/>
                  </a:lnTo>
                  <a:lnTo>
                    <a:pt x="76" y="68"/>
                  </a:lnTo>
                  <a:lnTo>
                    <a:pt x="76" y="68"/>
                  </a:lnTo>
                  <a:lnTo>
                    <a:pt x="76" y="68"/>
                  </a:lnTo>
                  <a:lnTo>
                    <a:pt x="76" y="66"/>
                  </a:lnTo>
                  <a:lnTo>
                    <a:pt x="76" y="66"/>
                  </a:lnTo>
                  <a:lnTo>
                    <a:pt x="76" y="64"/>
                  </a:lnTo>
                  <a:lnTo>
                    <a:pt x="78" y="62"/>
                  </a:lnTo>
                  <a:lnTo>
                    <a:pt x="78" y="60"/>
                  </a:lnTo>
                  <a:lnTo>
                    <a:pt x="78" y="58"/>
                  </a:lnTo>
                  <a:lnTo>
                    <a:pt x="78" y="58"/>
                  </a:lnTo>
                  <a:lnTo>
                    <a:pt x="78" y="56"/>
                  </a:lnTo>
                  <a:lnTo>
                    <a:pt x="78" y="56"/>
                  </a:lnTo>
                  <a:lnTo>
                    <a:pt x="80" y="56"/>
                  </a:lnTo>
                  <a:lnTo>
                    <a:pt x="80" y="54"/>
                  </a:lnTo>
                  <a:lnTo>
                    <a:pt x="82" y="54"/>
                  </a:lnTo>
                  <a:lnTo>
                    <a:pt x="84" y="54"/>
                  </a:lnTo>
                  <a:lnTo>
                    <a:pt x="86" y="54"/>
                  </a:lnTo>
                  <a:lnTo>
                    <a:pt x="90" y="52"/>
                  </a:lnTo>
                  <a:lnTo>
                    <a:pt x="92" y="52"/>
                  </a:lnTo>
                  <a:lnTo>
                    <a:pt x="94" y="52"/>
                  </a:lnTo>
                  <a:lnTo>
                    <a:pt x="94" y="52"/>
                  </a:lnTo>
                  <a:lnTo>
                    <a:pt x="96" y="50"/>
                  </a:lnTo>
                  <a:lnTo>
                    <a:pt x="98" y="50"/>
                  </a:lnTo>
                  <a:lnTo>
                    <a:pt x="98" y="50"/>
                  </a:lnTo>
                  <a:lnTo>
                    <a:pt x="98" y="48"/>
                  </a:lnTo>
                  <a:lnTo>
                    <a:pt x="98" y="48"/>
                  </a:lnTo>
                  <a:lnTo>
                    <a:pt x="98" y="48"/>
                  </a:lnTo>
                  <a:lnTo>
                    <a:pt x="98" y="46"/>
                  </a:lnTo>
                  <a:lnTo>
                    <a:pt x="98" y="46"/>
                  </a:lnTo>
                  <a:lnTo>
                    <a:pt x="96" y="44"/>
                  </a:lnTo>
                  <a:lnTo>
                    <a:pt x="94" y="44"/>
                  </a:lnTo>
                  <a:lnTo>
                    <a:pt x="94" y="42"/>
                  </a:lnTo>
                  <a:lnTo>
                    <a:pt x="92" y="40"/>
                  </a:lnTo>
                  <a:lnTo>
                    <a:pt x="92" y="40"/>
                  </a:lnTo>
                  <a:lnTo>
                    <a:pt x="92" y="38"/>
                  </a:lnTo>
                  <a:lnTo>
                    <a:pt x="90" y="38"/>
                  </a:lnTo>
                  <a:lnTo>
                    <a:pt x="90" y="36"/>
                  </a:lnTo>
                  <a:lnTo>
                    <a:pt x="92" y="36"/>
                  </a:lnTo>
                  <a:lnTo>
                    <a:pt x="92" y="32"/>
                  </a:lnTo>
                  <a:lnTo>
                    <a:pt x="92" y="30"/>
                  </a:lnTo>
                  <a:lnTo>
                    <a:pt x="94" y="26"/>
                  </a:lnTo>
                  <a:lnTo>
                    <a:pt x="96" y="24"/>
                  </a:lnTo>
                  <a:lnTo>
                    <a:pt x="96" y="22"/>
                  </a:lnTo>
                  <a:lnTo>
                    <a:pt x="96" y="22"/>
                  </a:lnTo>
                  <a:lnTo>
                    <a:pt x="98" y="20"/>
                  </a:lnTo>
                  <a:lnTo>
                    <a:pt x="98" y="20"/>
                  </a:lnTo>
                  <a:lnTo>
                    <a:pt x="100" y="20"/>
                  </a:lnTo>
                  <a:lnTo>
                    <a:pt x="100" y="18"/>
                  </a:lnTo>
                  <a:lnTo>
                    <a:pt x="102" y="18"/>
                  </a:lnTo>
                  <a:lnTo>
                    <a:pt x="102" y="20"/>
                  </a:lnTo>
                  <a:lnTo>
                    <a:pt x="102" y="20"/>
                  </a:lnTo>
                  <a:lnTo>
                    <a:pt x="104" y="20"/>
                  </a:lnTo>
                  <a:lnTo>
                    <a:pt x="104" y="20"/>
                  </a:lnTo>
                  <a:lnTo>
                    <a:pt x="104" y="16"/>
                  </a:lnTo>
                  <a:lnTo>
                    <a:pt x="104" y="16"/>
                  </a:lnTo>
                  <a:lnTo>
                    <a:pt x="104" y="14"/>
                  </a:lnTo>
                  <a:lnTo>
                    <a:pt x="104" y="12"/>
                  </a:lnTo>
                  <a:lnTo>
                    <a:pt x="104" y="12"/>
                  </a:lnTo>
                  <a:lnTo>
                    <a:pt x="102" y="10"/>
                  </a:lnTo>
                  <a:lnTo>
                    <a:pt x="100" y="8"/>
                  </a:lnTo>
                  <a:lnTo>
                    <a:pt x="100" y="8"/>
                  </a:lnTo>
                  <a:lnTo>
                    <a:pt x="98" y="6"/>
                  </a:lnTo>
                  <a:lnTo>
                    <a:pt x="96" y="6"/>
                  </a:lnTo>
                  <a:lnTo>
                    <a:pt x="94" y="4"/>
                  </a:lnTo>
                  <a:lnTo>
                    <a:pt x="90" y="2"/>
                  </a:lnTo>
                  <a:lnTo>
                    <a:pt x="86" y="2"/>
                  </a:lnTo>
                  <a:lnTo>
                    <a:pt x="82" y="0"/>
                  </a:lnTo>
                  <a:lnTo>
                    <a:pt x="80" y="0"/>
                  </a:lnTo>
                  <a:lnTo>
                    <a:pt x="78" y="0"/>
                  </a:lnTo>
                  <a:lnTo>
                    <a:pt x="76" y="0"/>
                  </a:lnTo>
                  <a:lnTo>
                    <a:pt x="74" y="0"/>
                  </a:lnTo>
                  <a:lnTo>
                    <a:pt x="72" y="0"/>
                  </a:lnTo>
                  <a:lnTo>
                    <a:pt x="70" y="0"/>
                  </a:lnTo>
                  <a:lnTo>
                    <a:pt x="68" y="2"/>
                  </a:lnTo>
                  <a:lnTo>
                    <a:pt x="66" y="2"/>
                  </a:lnTo>
                  <a:lnTo>
                    <a:pt x="64" y="4"/>
                  </a:lnTo>
                  <a:lnTo>
                    <a:pt x="62" y="4"/>
                  </a:lnTo>
                  <a:lnTo>
                    <a:pt x="58" y="8"/>
                  </a:lnTo>
                  <a:lnTo>
                    <a:pt x="54" y="10"/>
                  </a:lnTo>
                  <a:lnTo>
                    <a:pt x="50" y="14"/>
                  </a:lnTo>
                  <a:lnTo>
                    <a:pt x="48" y="14"/>
                  </a:lnTo>
                  <a:lnTo>
                    <a:pt x="48" y="16"/>
                  </a:lnTo>
                  <a:lnTo>
                    <a:pt x="46" y="16"/>
                  </a:lnTo>
                  <a:lnTo>
                    <a:pt x="44" y="18"/>
                  </a:lnTo>
                  <a:lnTo>
                    <a:pt x="42" y="18"/>
                  </a:lnTo>
                  <a:lnTo>
                    <a:pt x="42" y="18"/>
                  </a:lnTo>
                  <a:lnTo>
                    <a:pt x="38" y="18"/>
                  </a:lnTo>
                  <a:lnTo>
                    <a:pt x="34" y="18"/>
                  </a:lnTo>
                  <a:lnTo>
                    <a:pt x="30" y="18"/>
                  </a:lnTo>
                  <a:lnTo>
                    <a:pt x="22" y="18"/>
                  </a:lnTo>
                  <a:lnTo>
                    <a:pt x="20" y="18"/>
                  </a:lnTo>
                  <a:lnTo>
                    <a:pt x="18" y="20"/>
                  </a:lnTo>
                  <a:lnTo>
                    <a:pt x="16" y="26"/>
                  </a:lnTo>
                  <a:lnTo>
                    <a:pt x="14" y="28"/>
                  </a:lnTo>
                  <a:lnTo>
                    <a:pt x="12" y="32"/>
                  </a:lnTo>
                  <a:lnTo>
                    <a:pt x="12" y="34"/>
                  </a:lnTo>
                  <a:lnTo>
                    <a:pt x="12" y="36"/>
                  </a:lnTo>
                  <a:lnTo>
                    <a:pt x="12" y="3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0" name="Freeform 308">
              <a:extLst>
                <a:ext uri="{FF2B5EF4-FFF2-40B4-BE49-F238E27FC236}">
                  <a16:creationId xmlns:a16="http://schemas.microsoft.com/office/drawing/2014/main" id="{CF269F8C-733A-45EB-8EA5-F0425CC5B5F7}"/>
                </a:ext>
              </a:extLst>
            </p:cNvPr>
            <p:cNvSpPr>
              <a:spLocks/>
            </p:cNvSpPr>
            <p:nvPr/>
          </p:nvSpPr>
          <p:spPr bwMode="auto">
            <a:xfrm>
              <a:off x="4729944" y="2844853"/>
              <a:ext cx="180136" cy="148958"/>
            </a:xfrm>
            <a:custGeom>
              <a:avLst/>
              <a:gdLst>
                <a:gd name="T0" fmla="*/ 12 w 104"/>
                <a:gd name="T1" fmla="*/ 38 h 86"/>
                <a:gd name="T2" fmla="*/ 10 w 104"/>
                <a:gd name="T3" fmla="*/ 42 h 86"/>
                <a:gd name="T4" fmla="*/ 4 w 104"/>
                <a:gd name="T5" fmla="*/ 54 h 86"/>
                <a:gd name="T6" fmla="*/ 2 w 104"/>
                <a:gd name="T7" fmla="*/ 60 h 86"/>
                <a:gd name="T8" fmla="*/ 18 w 104"/>
                <a:gd name="T9" fmla="*/ 66 h 86"/>
                <a:gd name="T10" fmla="*/ 26 w 104"/>
                <a:gd name="T11" fmla="*/ 70 h 86"/>
                <a:gd name="T12" fmla="*/ 36 w 104"/>
                <a:gd name="T13" fmla="*/ 78 h 86"/>
                <a:gd name="T14" fmla="*/ 42 w 104"/>
                <a:gd name="T15" fmla="*/ 84 h 86"/>
                <a:gd name="T16" fmla="*/ 42 w 104"/>
                <a:gd name="T17" fmla="*/ 76 h 86"/>
                <a:gd name="T18" fmla="*/ 42 w 104"/>
                <a:gd name="T19" fmla="*/ 72 h 86"/>
                <a:gd name="T20" fmla="*/ 44 w 104"/>
                <a:gd name="T21" fmla="*/ 70 h 86"/>
                <a:gd name="T22" fmla="*/ 48 w 104"/>
                <a:gd name="T23" fmla="*/ 68 h 86"/>
                <a:gd name="T24" fmla="*/ 58 w 104"/>
                <a:gd name="T25" fmla="*/ 66 h 86"/>
                <a:gd name="T26" fmla="*/ 62 w 104"/>
                <a:gd name="T27" fmla="*/ 66 h 86"/>
                <a:gd name="T28" fmla="*/ 72 w 104"/>
                <a:gd name="T29" fmla="*/ 68 h 86"/>
                <a:gd name="T30" fmla="*/ 74 w 104"/>
                <a:gd name="T31" fmla="*/ 68 h 86"/>
                <a:gd name="T32" fmla="*/ 76 w 104"/>
                <a:gd name="T33" fmla="*/ 68 h 86"/>
                <a:gd name="T34" fmla="*/ 76 w 104"/>
                <a:gd name="T35" fmla="*/ 64 h 86"/>
                <a:gd name="T36" fmla="*/ 78 w 104"/>
                <a:gd name="T37" fmla="*/ 58 h 86"/>
                <a:gd name="T38" fmla="*/ 78 w 104"/>
                <a:gd name="T39" fmla="*/ 56 h 86"/>
                <a:gd name="T40" fmla="*/ 82 w 104"/>
                <a:gd name="T41" fmla="*/ 54 h 86"/>
                <a:gd name="T42" fmla="*/ 90 w 104"/>
                <a:gd name="T43" fmla="*/ 52 h 86"/>
                <a:gd name="T44" fmla="*/ 94 w 104"/>
                <a:gd name="T45" fmla="*/ 52 h 86"/>
                <a:gd name="T46" fmla="*/ 98 w 104"/>
                <a:gd name="T47" fmla="*/ 50 h 86"/>
                <a:gd name="T48" fmla="*/ 98 w 104"/>
                <a:gd name="T49" fmla="*/ 48 h 86"/>
                <a:gd name="T50" fmla="*/ 96 w 104"/>
                <a:gd name="T51" fmla="*/ 44 h 86"/>
                <a:gd name="T52" fmla="*/ 92 w 104"/>
                <a:gd name="T53" fmla="*/ 40 h 86"/>
                <a:gd name="T54" fmla="*/ 90 w 104"/>
                <a:gd name="T55" fmla="*/ 38 h 86"/>
                <a:gd name="T56" fmla="*/ 92 w 104"/>
                <a:gd name="T57" fmla="*/ 32 h 86"/>
                <a:gd name="T58" fmla="*/ 96 w 104"/>
                <a:gd name="T59" fmla="*/ 24 h 86"/>
                <a:gd name="T60" fmla="*/ 98 w 104"/>
                <a:gd name="T61" fmla="*/ 20 h 86"/>
                <a:gd name="T62" fmla="*/ 100 w 104"/>
                <a:gd name="T63" fmla="*/ 18 h 86"/>
                <a:gd name="T64" fmla="*/ 102 w 104"/>
                <a:gd name="T65" fmla="*/ 20 h 86"/>
                <a:gd name="T66" fmla="*/ 104 w 104"/>
                <a:gd name="T67" fmla="*/ 16 h 86"/>
                <a:gd name="T68" fmla="*/ 104 w 104"/>
                <a:gd name="T69" fmla="*/ 12 h 86"/>
                <a:gd name="T70" fmla="*/ 100 w 104"/>
                <a:gd name="T71" fmla="*/ 8 h 86"/>
                <a:gd name="T72" fmla="*/ 96 w 104"/>
                <a:gd name="T73" fmla="*/ 6 h 86"/>
                <a:gd name="T74" fmla="*/ 86 w 104"/>
                <a:gd name="T75" fmla="*/ 2 h 86"/>
                <a:gd name="T76" fmla="*/ 78 w 104"/>
                <a:gd name="T77" fmla="*/ 0 h 86"/>
                <a:gd name="T78" fmla="*/ 72 w 104"/>
                <a:gd name="T79" fmla="*/ 0 h 86"/>
                <a:gd name="T80" fmla="*/ 66 w 104"/>
                <a:gd name="T81" fmla="*/ 2 h 86"/>
                <a:gd name="T82" fmla="*/ 58 w 104"/>
                <a:gd name="T83" fmla="*/ 8 h 86"/>
                <a:gd name="T84" fmla="*/ 48 w 104"/>
                <a:gd name="T85" fmla="*/ 14 h 86"/>
                <a:gd name="T86" fmla="*/ 44 w 104"/>
                <a:gd name="T87" fmla="*/ 18 h 86"/>
                <a:gd name="T88" fmla="*/ 38 w 104"/>
                <a:gd name="T89" fmla="*/ 18 h 86"/>
                <a:gd name="T90" fmla="*/ 22 w 104"/>
                <a:gd name="T91" fmla="*/ 18 h 86"/>
                <a:gd name="T92" fmla="*/ 16 w 104"/>
                <a:gd name="T93" fmla="*/ 26 h 86"/>
                <a:gd name="T94" fmla="*/ 12 w 104"/>
                <a:gd name="T95"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86">
                  <a:moveTo>
                    <a:pt x="12" y="36"/>
                  </a:moveTo>
                  <a:lnTo>
                    <a:pt x="12" y="36"/>
                  </a:lnTo>
                  <a:lnTo>
                    <a:pt x="12" y="38"/>
                  </a:lnTo>
                  <a:lnTo>
                    <a:pt x="12" y="40"/>
                  </a:lnTo>
                  <a:lnTo>
                    <a:pt x="10" y="40"/>
                  </a:lnTo>
                  <a:lnTo>
                    <a:pt x="10" y="42"/>
                  </a:lnTo>
                  <a:lnTo>
                    <a:pt x="8" y="46"/>
                  </a:lnTo>
                  <a:lnTo>
                    <a:pt x="6" y="50"/>
                  </a:lnTo>
                  <a:lnTo>
                    <a:pt x="4" y="54"/>
                  </a:lnTo>
                  <a:lnTo>
                    <a:pt x="2" y="56"/>
                  </a:lnTo>
                  <a:lnTo>
                    <a:pt x="0" y="58"/>
                  </a:lnTo>
                  <a:lnTo>
                    <a:pt x="2" y="60"/>
                  </a:lnTo>
                  <a:lnTo>
                    <a:pt x="10" y="62"/>
                  </a:lnTo>
                  <a:lnTo>
                    <a:pt x="14" y="64"/>
                  </a:lnTo>
                  <a:lnTo>
                    <a:pt x="18" y="66"/>
                  </a:lnTo>
                  <a:lnTo>
                    <a:pt x="20" y="66"/>
                  </a:lnTo>
                  <a:lnTo>
                    <a:pt x="24" y="68"/>
                  </a:lnTo>
                  <a:lnTo>
                    <a:pt x="26" y="70"/>
                  </a:lnTo>
                  <a:lnTo>
                    <a:pt x="28" y="72"/>
                  </a:lnTo>
                  <a:lnTo>
                    <a:pt x="32" y="74"/>
                  </a:lnTo>
                  <a:lnTo>
                    <a:pt x="36" y="78"/>
                  </a:lnTo>
                  <a:lnTo>
                    <a:pt x="42" y="84"/>
                  </a:lnTo>
                  <a:lnTo>
                    <a:pt x="44" y="86"/>
                  </a:lnTo>
                  <a:lnTo>
                    <a:pt x="42" y="84"/>
                  </a:lnTo>
                  <a:lnTo>
                    <a:pt x="42" y="80"/>
                  </a:lnTo>
                  <a:lnTo>
                    <a:pt x="42" y="78"/>
                  </a:lnTo>
                  <a:lnTo>
                    <a:pt x="42" y="76"/>
                  </a:lnTo>
                  <a:lnTo>
                    <a:pt x="42" y="74"/>
                  </a:lnTo>
                  <a:lnTo>
                    <a:pt x="42" y="72"/>
                  </a:lnTo>
                  <a:lnTo>
                    <a:pt x="42" y="72"/>
                  </a:lnTo>
                  <a:lnTo>
                    <a:pt x="42" y="72"/>
                  </a:lnTo>
                  <a:lnTo>
                    <a:pt x="42" y="70"/>
                  </a:lnTo>
                  <a:lnTo>
                    <a:pt x="44" y="70"/>
                  </a:lnTo>
                  <a:lnTo>
                    <a:pt x="44" y="70"/>
                  </a:lnTo>
                  <a:lnTo>
                    <a:pt x="46" y="68"/>
                  </a:lnTo>
                  <a:lnTo>
                    <a:pt x="48" y="68"/>
                  </a:lnTo>
                  <a:lnTo>
                    <a:pt x="50" y="66"/>
                  </a:lnTo>
                  <a:lnTo>
                    <a:pt x="54" y="66"/>
                  </a:lnTo>
                  <a:lnTo>
                    <a:pt x="58" y="66"/>
                  </a:lnTo>
                  <a:lnTo>
                    <a:pt x="58" y="66"/>
                  </a:lnTo>
                  <a:lnTo>
                    <a:pt x="60" y="66"/>
                  </a:lnTo>
                  <a:lnTo>
                    <a:pt x="62" y="66"/>
                  </a:lnTo>
                  <a:lnTo>
                    <a:pt x="66" y="68"/>
                  </a:lnTo>
                  <a:lnTo>
                    <a:pt x="68" y="68"/>
                  </a:lnTo>
                  <a:lnTo>
                    <a:pt x="72" y="68"/>
                  </a:lnTo>
                  <a:lnTo>
                    <a:pt x="72" y="68"/>
                  </a:lnTo>
                  <a:lnTo>
                    <a:pt x="74" y="68"/>
                  </a:lnTo>
                  <a:lnTo>
                    <a:pt x="74" y="68"/>
                  </a:lnTo>
                  <a:lnTo>
                    <a:pt x="76" y="68"/>
                  </a:lnTo>
                  <a:lnTo>
                    <a:pt x="76" y="68"/>
                  </a:lnTo>
                  <a:lnTo>
                    <a:pt x="76" y="68"/>
                  </a:lnTo>
                  <a:lnTo>
                    <a:pt x="76" y="66"/>
                  </a:lnTo>
                  <a:lnTo>
                    <a:pt x="76" y="66"/>
                  </a:lnTo>
                  <a:lnTo>
                    <a:pt x="76" y="64"/>
                  </a:lnTo>
                  <a:lnTo>
                    <a:pt x="78" y="62"/>
                  </a:lnTo>
                  <a:lnTo>
                    <a:pt x="78" y="60"/>
                  </a:lnTo>
                  <a:lnTo>
                    <a:pt x="78" y="58"/>
                  </a:lnTo>
                  <a:lnTo>
                    <a:pt x="78" y="58"/>
                  </a:lnTo>
                  <a:lnTo>
                    <a:pt x="78" y="56"/>
                  </a:lnTo>
                  <a:lnTo>
                    <a:pt x="78" y="56"/>
                  </a:lnTo>
                  <a:lnTo>
                    <a:pt x="80" y="56"/>
                  </a:lnTo>
                  <a:lnTo>
                    <a:pt x="80" y="54"/>
                  </a:lnTo>
                  <a:lnTo>
                    <a:pt x="82" y="54"/>
                  </a:lnTo>
                  <a:lnTo>
                    <a:pt x="84" y="54"/>
                  </a:lnTo>
                  <a:lnTo>
                    <a:pt x="86" y="54"/>
                  </a:lnTo>
                  <a:lnTo>
                    <a:pt x="90" y="52"/>
                  </a:lnTo>
                  <a:lnTo>
                    <a:pt x="92" y="52"/>
                  </a:lnTo>
                  <a:lnTo>
                    <a:pt x="94" y="52"/>
                  </a:lnTo>
                  <a:lnTo>
                    <a:pt x="94" y="52"/>
                  </a:lnTo>
                  <a:lnTo>
                    <a:pt x="96" y="50"/>
                  </a:lnTo>
                  <a:lnTo>
                    <a:pt x="98" y="50"/>
                  </a:lnTo>
                  <a:lnTo>
                    <a:pt x="98" y="50"/>
                  </a:lnTo>
                  <a:lnTo>
                    <a:pt x="98" y="48"/>
                  </a:lnTo>
                  <a:lnTo>
                    <a:pt x="98" y="48"/>
                  </a:lnTo>
                  <a:lnTo>
                    <a:pt x="98" y="48"/>
                  </a:lnTo>
                  <a:lnTo>
                    <a:pt x="98" y="46"/>
                  </a:lnTo>
                  <a:lnTo>
                    <a:pt x="98" y="46"/>
                  </a:lnTo>
                  <a:lnTo>
                    <a:pt x="96" y="44"/>
                  </a:lnTo>
                  <a:lnTo>
                    <a:pt x="94" y="44"/>
                  </a:lnTo>
                  <a:lnTo>
                    <a:pt x="94" y="42"/>
                  </a:lnTo>
                  <a:lnTo>
                    <a:pt x="92" y="40"/>
                  </a:lnTo>
                  <a:lnTo>
                    <a:pt x="92" y="40"/>
                  </a:lnTo>
                  <a:lnTo>
                    <a:pt x="92" y="38"/>
                  </a:lnTo>
                  <a:lnTo>
                    <a:pt x="90" y="38"/>
                  </a:lnTo>
                  <a:lnTo>
                    <a:pt x="90" y="36"/>
                  </a:lnTo>
                  <a:lnTo>
                    <a:pt x="92" y="36"/>
                  </a:lnTo>
                  <a:lnTo>
                    <a:pt x="92" y="32"/>
                  </a:lnTo>
                  <a:lnTo>
                    <a:pt x="92" y="30"/>
                  </a:lnTo>
                  <a:lnTo>
                    <a:pt x="94" y="26"/>
                  </a:lnTo>
                  <a:lnTo>
                    <a:pt x="96" y="24"/>
                  </a:lnTo>
                  <a:lnTo>
                    <a:pt x="96" y="22"/>
                  </a:lnTo>
                  <a:lnTo>
                    <a:pt x="96" y="22"/>
                  </a:lnTo>
                  <a:lnTo>
                    <a:pt x="98" y="20"/>
                  </a:lnTo>
                  <a:lnTo>
                    <a:pt x="98" y="20"/>
                  </a:lnTo>
                  <a:lnTo>
                    <a:pt x="100" y="20"/>
                  </a:lnTo>
                  <a:lnTo>
                    <a:pt x="100" y="18"/>
                  </a:lnTo>
                  <a:lnTo>
                    <a:pt x="102" y="18"/>
                  </a:lnTo>
                  <a:lnTo>
                    <a:pt x="102" y="20"/>
                  </a:lnTo>
                  <a:lnTo>
                    <a:pt x="102" y="20"/>
                  </a:lnTo>
                  <a:lnTo>
                    <a:pt x="104" y="20"/>
                  </a:lnTo>
                  <a:lnTo>
                    <a:pt x="104" y="20"/>
                  </a:lnTo>
                  <a:lnTo>
                    <a:pt x="104" y="16"/>
                  </a:lnTo>
                  <a:lnTo>
                    <a:pt x="104" y="16"/>
                  </a:lnTo>
                  <a:lnTo>
                    <a:pt x="104" y="14"/>
                  </a:lnTo>
                  <a:lnTo>
                    <a:pt x="104" y="12"/>
                  </a:lnTo>
                  <a:lnTo>
                    <a:pt x="104" y="12"/>
                  </a:lnTo>
                  <a:lnTo>
                    <a:pt x="102" y="10"/>
                  </a:lnTo>
                  <a:lnTo>
                    <a:pt x="100" y="8"/>
                  </a:lnTo>
                  <a:lnTo>
                    <a:pt x="100" y="8"/>
                  </a:lnTo>
                  <a:lnTo>
                    <a:pt x="98" y="6"/>
                  </a:lnTo>
                  <a:lnTo>
                    <a:pt x="96" y="6"/>
                  </a:lnTo>
                  <a:lnTo>
                    <a:pt x="94" y="4"/>
                  </a:lnTo>
                  <a:lnTo>
                    <a:pt x="90" y="2"/>
                  </a:lnTo>
                  <a:lnTo>
                    <a:pt x="86" y="2"/>
                  </a:lnTo>
                  <a:lnTo>
                    <a:pt x="82" y="0"/>
                  </a:lnTo>
                  <a:lnTo>
                    <a:pt x="80" y="0"/>
                  </a:lnTo>
                  <a:lnTo>
                    <a:pt x="78" y="0"/>
                  </a:lnTo>
                  <a:lnTo>
                    <a:pt x="76" y="0"/>
                  </a:lnTo>
                  <a:lnTo>
                    <a:pt x="74" y="0"/>
                  </a:lnTo>
                  <a:lnTo>
                    <a:pt x="72" y="0"/>
                  </a:lnTo>
                  <a:lnTo>
                    <a:pt x="70" y="0"/>
                  </a:lnTo>
                  <a:lnTo>
                    <a:pt x="68" y="2"/>
                  </a:lnTo>
                  <a:lnTo>
                    <a:pt x="66" y="2"/>
                  </a:lnTo>
                  <a:lnTo>
                    <a:pt x="64" y="4"/>
                  </a:lnTo>
                  <a:lnTo>
                    <a:pt x="62" y="4"/>
                  </a:lnTo>
                  <a:lnTo>
                    <a:pt x="58" y="8"/>
                  </a:lnTo>
                  <a:lnTo>
                    <a:pt x="54" y="10"/>
                  </a:lnTo>
                  <a:lnTo>
                    <a:pt x="50" y="14"/>
                  </a:lnTo>
                  <a:lnTo>
                    <a:pt x="48" y="14"/>
                  </a:lnTo>
                  <a:lnTo>
                    <a:pt x="48" y="16"/>
                  </a:lnTo>
                  <a:lnTo>
                    <a:pt x="46" y="16"/>
                  </a:lnTo>
                  <a:lnTo>
                    <a:pt x="44" y="18"/>
                  </a:lnTo>
                  <a:lnTo>
                    <a:pt x="42" y="18"/>
                  </a:lnTo>
                  <a:lnTo>
                    <a:pt x="42" y="18"/>
                  </a:lnTo>
                  <a:lnTo>
                    <a:pt x="38" y="18"/>
                  </a:lnTo>
                  <a:lnTo>
                    <a:pt x="34" y="18"/>
                  </a:lnTo>
                  <a:lnTo>
                    <a:pt x="30" y="18"/>
                  </a:lnTo>
                  <a:lnTo>
                    <a:pt x="22" y="18"/>
                  </a:lnTo>
                  <a:lnTo>
                    <a:pt x="20" y="18"/>
                  </a:lnTo>
                  <a:lnTo>
                    <a:pt x="18" y="20"/>
                  </a:lnTo>
                  <a:lnTo>
                    <a:pt x="16" y="26"/>
                  </a:lnTo>
                  <a:lnTo>
                    <a:pt x="14" y="28"/>
                  </a:lnTo>
                  <a:lnTo>
                    <a:pt x="12" y="32"/>
                  </a:lnTo>
                  <a:lnTo>
                    <a:pt x="12" y="34"/>
                  </a:lnTo>
                  <a:lnTo>
                    <a:pt x="12" y="36"/>
                  </a:lnTo>
                  <a:lnTo>
                    <a:pt x="12" y="3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1" name="Freeform 309">
              <a:extLst>
                <a:ext uri="{FF2B5EF4-FFF2-40B4-BE49-F238E27FC236}">
                  <a16:creationId xmlns:a16="http://schemas.microsoft.com/office/drawing/2014/main" id="{59BBC796-F680-4325-9C34-3AEF35622E6C}"/>
                </a:ext>
              </a:extLst>
            </p:cNvPr>
            <p:cNvSpPr>
              <a:spLocks/>
            </p:cNvSpPr>
            <p:nvPr/>
          </p:nvSpPr>
          <p:spPr bwMode="auto">
            <a:xfrm>
              <a:off x="4729944" y="2844853"/>
              <a:ext cx="180136" cy="148958"/>
            </a:xfrm>
            <a:custGeom>
              <a:avLst/>
              <a:gdLst>
                <a:gd name="T0" fmla="*/ 12 w 104"/>
                <a:gd name="T1" fmla="*/ 38 h 86"/>
                <a:gd name="T2" fmla="*/ 10 w 104"/>
                <a:gd name="T3" fmla="*/ 42 h 86"/>
                <a:gd name="T4" fmla="*/ 4 w 104"/>
                <a:gd name="T5" fmla="*/ 54 h 86"/>
                <a:gd name="T6" fmla="*/ 2 w 104"/>
                <a:gd name="T7" fmla="*/ 60 h 86"/>
                <a:gd name="T8" fmla="*/ 18 w 104"/>
                <a:gd name="T9" fmla="*/ 66 h 86"/>
                <a:gd name="T10" fmla="*/ 26 w 104"/>
                <a:gd name="T11" fmla="*/ 70 h 86"/>
                <a:gd name="T12" fmla="*/ 36 w 104"/>
                <a:gd name="T13" fmla="*/ 78 h 86"/>
                <a:gd name="T14" fmla="*/ 42 w 104"/>
                <a:gd name="T15" fmla="*/ 84 h 86"/>
                <a:gd name="T16" fmla="*/ 42 w 104"/>
                <a:gd name="T17" fmla="*/ 76 h 86"/>
                <a:gd name="T18" fmla="*/ 42 w 104"/>
                <a:gd name="T19" fmla="*/ 72 h 86"/>
                <a:gd name="T20" fmla="*/ 44 w 104"/>
                <a:gd name="T21" fmla="*/ 70 h 86"/>
                <a:gd name="T22" fmla="*/ 48 w 104"/>
                <a:gd name="T23" fmla="*/ 68 h 86"/>
                <a:gd name="T24" fmla="*/ 58 w 104"/>
                <a:gd name="T25" fmla="*/ 66 h 86"/>
                <a:gd name="T26" fmla="*/ 62 w 104"/>
                <a:gd name="T27" fmla="*/ 66 h 86"/>
                <a:gd name="T28" fmla="*/ 72 w 104"/>
                <a:gd name="T29" fmla="*/ 68 h 86"/>
                <a:gd name="T30" fmla="*/ 74 w 104"/>
                <a:gd name="T31" fmla="*/ 68 h 86"/>
                <a:gd name="T32" fmla="*/ 76 w 104"/>
                <a:gd name="T33" fmla="*/ 68 h 86"/>
                <a:gd name="T34" fmla="*/ 76 w 104"/>
                <a:gd name="T35" fmla="*/ 64 h 86"/>
                <a:gd name="T36" fmla="*/ 78 w 104"/>
                <a:gd name="T37" fmla="*/ 58 h 86"/>
                <a:gd name="T38" fmla="*/ 78 w 104"/>
                <a:gd name="T39" fmla="*/ 56 h 86"/>
                <a:gd name="T40" fmla="*/ 82 w 104"/>
                <a:gd name="T41" fmla="*/ 54 h 86"/>
                <a:gd name="T42" fmla="*/ 90 w 104"/>
                <a:gd name="T43" fmla="*/ 52 h 86"/>
                <a:gd name="T44" fmla="*/ 94 w 104"/>
                <a:gd name="T45" fmla="*/ 52 h 86"/>
                <a:gd name="T46" fmla="*/ 98 w 104"/>
                <a:gd name="T47" fmla="*/ 50 h 86"/>
                <a:gd name="T48" fmla="*/ 98 w 104"/>
                <a:gd name="T49" fmla="*/ 48 h 86"/>
                <a:gd name="T50" fmla="*/ 96 w 104"/>
                <a:gd name="T51" fmla="*/ 44 h 86"/>
                <a:gd name="T52" fmla="*/ 92 w 104"/>
                <a:gd name="T53" fmla="*/ 40 h 86"/>
                <a:gd name="T54" fmla="*/ 90 w 104"/>
                <a:gd name="T55" fmla="*/ 38 h 86"/>
                <a:gd name="T56" fmla="*/ 92 w 104"/>
                <a:gd name="T57" fmla="*/ 32 h 86"/>
                <a:gd name="T58" fmla="*/ 96 w 104"/>
                <a:gd name="T59" fmla="*/ 24 h 86"/>
                <a:gd name="T60" fmla="*/ 98 w 104"/>
                <a:gd name="T61" fmla="*/ 20 h 86"/>
                <a:gd name="T62" fmla="*/ 100 w 104"/>
                <a:gd name="T63" fmla="*/ 18 h 86"/>
                <a:gd name="T64" fmla="*/ 102 w 104"/>
                <a:gd name="T65" fmla="*/ 20 h 86"/>
                <a:gd name="T66" fmla="*/ 104 w 104"/>
                <a:gd name="T67" fmla="*/ 16 h 86"/>
                <a:gd name="T68" fmla="*/ 104 w 104"/>
                <a:gd name="T69" fmla="*/ 12 h 86"/>
                <a:gd name="T70" fmla="*/ 100 w 104"/>
                <a:gd name="T71" fmla="*/ 8 h 86"/>
                <a:gd name="T72" fmla="*/ 96 w 104"/>
                <a:gd name="T73" fmla="*/ 6 h 86"/>
                <a:gd name="T74" fmla="*/ 86 w 104"/>
                <a:gd name="T75" fmla="*/ 2 h 86"/>
                <a:gd name="T76" fmla="*/ 78 w 104"/>
                <a:gd name="T77" fmla="*/ 0 h 86"/>
                <a:gd name="T78" fmla="*/ 72 w 104"/>
                <a:gd name="T79" fmla="*/ 0 h 86"/>
                <a:gd name="T80" fmla="*/ 66 w 104"/>
                <a:gd name="T81" fmla="*/ 2 h 86"/>
                <a:gd name="T82" fmla="*/ 58 w 104"/>
                <a:gd name="T83" fmla="*/ 8 h 86"/>
                <a:gd name="T84" fmla="*/ 48 w 104"/>
                <a:gd name="T85" fmla="*/ 14 h 86"/>
                <a:gd name="T86" fmla="*/ 44 w 104"/>
                <a:gd name="T87" fmla="*/ 18 h 86"/>
                <a:gd name="T88" fmla="*/ 38 w 104"/>
                <a:gd name="T89" fmla="*/ 18 h 86"/>
                <a:gd name="T90" fmla="*/ 22 w 104"/>
                <a:gd name="T91" fmla="*/ 18 h 86"/>
                <a:gd name="T92" fmla="*/ 16 w 104"/>
                <a:gd name="T93" fmla="*/ 26 h 86"/>
                <a:gd name="T94" fmla="*/ 12 w 104"/>
                <a:gd name="T95"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86">
                  <a:moveTo>
                    <a:pt x="12" y="36"/>
                  </a:moveTo>
                  <a:lnTo>
                    <a:pt x="12" y="36"/>
                  </a:lnTo>
                  <a:lnTo>
                    <a:pt x="12" y="38"/>
                  </a:lnTo>
                  <a:lnTo>
                    <a:pt x="12" y="40"/>
                  </a:lnTo>
                  <a:lnTo>
                    <a:pt x="10" y="40"/>
                  </a:lnTo>
                  <a:lnTo>
                    <a:pt x="10" y="42"/>
                  </a:lnTo>
                  <a:lnTo>
                    <a:pt x="8" y="46"/>
                  </a:lnTo>
                  <a:lnTo>
                    <a:pt x="6" y="50"/>
                  </a:lnTo>
                  <a:lnTo>
                    <a:pt x="4" y="54"/>
                  </a:lnTo>
                  <a:lnTo>
                    <a:pt x="2" y="56"/>
                  </a:lnTo>
                  <a:lnTo>
                    <a:pt x="0" y="58"/>
                  </a:lnTo>
                  <a:lnTo>
                    <a:pt x="2" y="60"/>
                  </a:lnTo>
                  <a:lnTo>
                    <a:pt x="10" y="62"/>
                  </a:lnTo>
                  <a:lnTo>
                    <a:pt x="14" y="64"/>
                  </a:lnTo>
                  <a:lnTo>
                    <a:pt x="18" y="66"/>
                  </a:lnTo>
                  <a:lnTo>
                    <a:pt x="20" y="66"/>
                  </a:lnTo>
                  <a:lnTo>
                    <a:pt x="24" y="68"/>
                  </a:lnTo>
                  <a:lnTo>
                    <a:pt x="26" y="70"/>
                  </a:lnTo>
                  <a:lnTo>
                    <a:pt x="28" y="72"/>
                  </a:lnTo>
                  <a:lnTo>
                    <a:pt x="32" y="74"/>
                  </a:lnTo>
                  <a:lnTo>
                    <a:pt x="36" y="78"/>
                  </a:lnTo>
                  <a:lnTo>
                    <a:pt x="42" y="84"/>
                  </a:lnTo>
                  <a:lnTo>
                    <a:pt x="44" y="86"/>
                  </a:lnTo>
                  <a:lnTo>
                    <a:pt x="42" y="84"/>
                  </a:lnTo>
                  <a:lnTo>
                    <a:pt x="42" y="80"/>
                  </a:lnTo>
                  <a:lnTo>
                    <a:pt x="42" y="78"/>
                  </a:lnTo>
                  <a:lnTo>
                    <a:pt x="42" y="76"/>
                  </a:lnTo>
                  <a:lnTo>
                    <a:pt x="42" y="74"/>
                  </a:lnTo>
                  <a:lnTo>
                    <a:pt x="42" y="72"/>
                  </a:lnTo>
                  <a:lnTo>
                    <a:pt x="42" y="72"/>
                  </a:lnTo>
                  <a:lnTo>
                    <a:pt x="42" y="72"/>
                  </a:lnTo>
                  <a:lnTo>
                    <a:pt x="42" y="70"/>
                  </a:lnTo>
                  <a:lnTo>
                    <a:pt x="44" y="70"/>
                  </a:lnTo>
                  <a:lnTo>
                    <a:pt x="44" y="70"/>
                  </a:lnTo>
                  <a:lnTo>
                    <a:pt x="46" y="68"/>
                  </a:lnTo>
                  <a:lnTo>
                    <a:pt x="48" y="68"/>
                  </a:lnTo>
                  <a:lnTo>
                    <a:pt x="50" y="66"/>
                  </a:lnTo>
                  <a:lnTo>
                    <a:pt x="54" y="66"/>
                  </a:lnTo>
                  <a:lnTo>
                    <a:pt x="58" y="66"/>
                  </a:lnTo>
                  <a:lnTo>
                    <a:pt x="58" y="66"/>
                  </a:lnTo>
                  <a:lnTo>
                    <a:pt x="60" y="66"/>
                  </a:lnTo>
                  <a:lnTo>
                    <a:pt x="62" y="66"/>
                  </a:lnTo>
                  <a:lnTo>
                    <a:pt x="66" y="68"/>
                  </a:lnTo>
                  <a:lnTo>
                    <a:pt x="68" y="68"/>
                  </a:lnTo>
                  <a:lnTo>
                    <a:pt x="72" y="68"/>
                  </a:lnTo>
                  <a:lnTo>
                    <a:pt x="72" y="68"/>
                  </a:lnTo>
                  <a:lnTo>
                    <a:pt x="74" y="68"/>
                  </a:lnTo>
                  <a:lnTo>
                    <a:pt x="74" y="68"/>
                  </a:lnTo>
                  <a:lnTo>
                    <a:pt x="76" y="68"/>
                  </a:lnTo>
                  <a:lnTo>
                    <a:pt x="76" y="68"/>
                  </a:lnTo>
                  <a:lnTo>
                    <a:pt x="76" y="68"/>
                  </a:lnTo>
                  <a:lnTo>
                    <a:pt x="76" y="66"/>
                  </a:lnTo>
                  <a:lnTo>
                    <a:pt x="76" y="66"/>
                  </a:lnTo>
                  <a:lnTo>
                    <a:pt x="76" y="64"/>
                  </a:lnTo>
                  <a:lnTo>
                    <a:pt x="78" y="62"/>
                  </a:lnTo>
                  <a:lnTo>
                    <a:pt x="78" y="60"/>
                  </a:lnTo>
                  <a:lnTo>
                    <a:pt x="78" y="58"/>
                  </a:lnTo>
                  <a:lnTo>
                    <a:pt x="78" y="58"/>
                  </a:lnTo>
                  <a:lnTo>
                    <a:pt x="78" y="56"/>
                  </a:lnTo>
                  <a:lnTo>
                    <a:pt x="78" y="56"/>
                  </a:lnTo>
                  <a:lnTo>
                    <a:pt x="80" y="56"/>
                  </a:lnTo>
                  <a:lnTo>
                    <a:pt x="80" y="54"/>
                  </a:lnTo>
                  <a:lnTo>
                    <a:pt x="82" y="54"/>
                  </a:lnTo>
                  <a:lnTo>
                    <a:pt x="84" y="54"/>
                  </a:lnTo>
                  <a:lnTo>
                    <a:pt x="86" y="54"/>
                  </a:lnTo>
                  <a:lnTo>
                    <a:pt x="90" y="52"/>
                  </a:lnTo>
                  <a:lnTo>
                    <a:pt x="92" y="52"/>
                  </a:lnTo>
                  <a:lnTo>
                    <a:pt x="94" y="52"/>
                  </a:lnTo>
                  <a:lnTo>
                    <a:pt x="94" y="52"/>
                  </a:lnTo>
                  <a:lnTo>
                    <a:pt x="96" y="50"/>
                  </a:lnTo>
                  <a:lnTo>
                    <a:pt x="98" y="50"/>
                  </a:lnTo>
                  <a:lnTo>
                    <a:pt x="98" y="50"/>
                  </a:lnTo>
                  <a:lnTo>
                    <a:pt x="98" y="48"/>
                  </a:lnTo>
                  <a:lnTo>
                    <a:pt x="98" y="48"/>
                  </a:lnTo>
                  <a:lnTo>
                    <a:pt x="98" y="48"/>
                  </a:lnTo>
                  <a:lnTo>
                    <a:pt x="98" y="46"/>
                  </a:lnTo>
                  <a:lnTo>
                    <a:pt x="98" y="46"/>
                  </a:lnTo>
                  <a:lnTo>
                    <a:pt x="96" y="44"/>
                  </a:lnTo>
                  <a:lnTo>
                    <a:pt x="94" y="44"/>
                  </a:lnTo>
                  <a:lnTo>
                    <a:pt x="94" y="42"/>
                  </a:lnTo>
                  <a:lnTo>
                    <a:pt x="92" y="40"/>
                  </a:lnTo>
                  <a:lnTo>
                    <a:pt x="92" y="40"/>
                  </a:lnTo>
                  <a:lnTo>
                    <a:pt x="92" y="38"/>
                  </a:lnTo>
                  <a:lnTo>
                    <a:pt x="90" y="38"/>
                  </a:lnTo>
                  <a:lnTo>
                    <a:pt x="90" y="36"/>
                  </a:lnTo>
                  <a:lnTo>
                    <a:pt x="92" y="36"/>
                  </a:lnTo>
                  <a:lnTo>
                    <a:pt x="92" y="32"/>
                  </a:lnTo>
                  <a:lnTo>
                    <a:pt x="92" y="30"/>
                  </a:lnTo>
                  <a:lnTo>
                    <a:pt x="94" y="26"/>
                  </a:lnTo>
                  <a:lnTo>
                    <a:pt x="96" y="24"/>
                  </a:lnTo>
                  <a:lnTo>
                    <a:pt x="96" y="22"/>
                  </a:lnTo>
                  <a:lnTo>
                    <a:pt x="96" y="22"/>
                  </a:lnTo>
                  <a:lnTo>
                    <a:pt x="98" y="20"/>
                  </a:lnTo>
                  <a:lnTo>
                    <a:pt x="98" y="20"/>
                  </a:lnTo>
                  <a:lnTo>
                    <a:pt x="100" y="20"/>
                  </a:lnTo>
                  <a:lnTo>
                    <a:pt x="100" y="18"/>
                  </a:lnTo>
                  <a:lnTo>
                    <a:pt x="102" y="18"/>
                  </a:lnTo>
                  <a:lnTo>
                    <a:pt x="102" y="20"/>
                  </a:lnTo>
                  <a:lnTo>
                    <a:pt x="102" y="20"/>
                  </a:lnTo>
                  <a:lnTo>
                    <a:pt x="104" y="20"/>
                  </a:lnTo>
                  <a:lnTo>
                    <a:pt x="104" y="20"/>
                  </a:lnTo>
                  <a:lnTo>
                    <a:pt x="104" y="16"/>
                  </a:lnTo>
                  <a:lnTo>
                    <a:pt x="104" y="16"/>
                  </a:lnTo>
                  <a:lnTo>
                    <a:pt x="104" y="14"/>
                  </a:lnTo>
                  <a:lnTo>
                    <a:pt x="104" y="12"/>
                  </a:lnTo>
                  <a:lnTo>
                    <a:pt x="104" y="12"/>
                  </a:lnTo>
                  <a:lnTo>
                    <a:pt x="102" y="10"/>
                  </a:lnTo>
                  <a:lnTo>
                    <a:pt x="100" y="8"/>
                  </a:lnTo>
                  <a:lnTo>
                    <a:pt x="100" y="8"/>
                  </a:lnTo>
                  <a:lnTo>
                    <a:pt x="98" y="6"/>
                  </a:lnTo>
                  <a:lnTo>
                    <a:pt x="96" y="6"/>
                  </a:lnTo>
                  <a:lnTo>
                    <a:pt x="94" y="4"/>
                  </a:lnTo>
                  <a:lnTo>
                    <a:pt x="90" y="2"/>
                  </a:lnTo>
                  <a:lnTo>
                    <a:pt x="86" y="2"/>
                  </a:lnTo>
                  <a:lnTo>
                    <a:pt x="82" y="0"/>
                  </a:lnTo>
                  <a:lnTo>
                    <a:pt x="80" y="0"/>
                  </a:lnTo>
                  <a:lnTo>
                    <a:pt x="78" y="0"/>
                  </a:lnTo>
                  <a:lnTo>
                    <a:pt x="76" y="0"/>
                  </a:lnTo>
                  <a:lnTo>
                    <a:pt x="74" y="0"/>
                  </a:lnTo>
                  <a:lnTo>
                    <a:pt x="72" y="0"/>
                  </a:lnTo>
                  <a:lnTo>
                    <a:pt x="70" y="0"/>
                  </a:lnTo>
                  <a:lnTo>
                    <a:pt x="68" y="2"/>
                  </a:lnTo>
                  <a:lnTo>
                    <a:pt x="66" y="2"/>
                  </a:lnTo>
                  <a:lnTo>
                    <a:pt x="64" y="4"/>
                  </a:lnTo>
                  <a:lnTo>
                    <a:pt x="62" y="4"/>
                  </a:lnTo>
                  <a:lnTo>
                    <a:pt x="58" y="8"/>
                  </a:lnTo>
                  <a:lnTo>
                    <a:pt x="54" y="10"/>
                  </a:lnTo>
                  <a:lnTo>
                    <a:pt x="50" y="14"/>
                  </a:lnTo>
                  <a:lnTo>
                    <a:pt x="48" y="14"/>
                  </a:lnTo>
                  <a:lnTo>
                    <a:pt x="48" y="16"/>
                  </a:lnTo>
                  <a:lnTo>
                    <a:pt x="46" y="16"/>
                  </a:lnTo>
                  <a:lnTo>
                    <a:pt x="44" y="18"/>
                  </a:lnTo>
                  <a:lnTo>
                    <a:pt x="42" y="18"/>
                  </a:lnTo>
                  <a:lnTo>
                    <a:pt x="42" y="18"/>
                  </a:lnTo>
                  <a:lnTo>
                    <a:pt x="38" y="18"/>
                  </a:lnTo>
                  <a:lnTo>
                    <a:pt x="34" y="18"/>
                  </a:lnTo>
                  <a:lnTo>
                    <a:pt x="30" y="18"/>
                  </a:lnTo>
                  <a:lnTo>
                    <a:pt x="22" y="18"/>
                  </a:lnTo>
                  <a:lnTo>
                    <a:pt x="20" y="18"/>
                  </a:lnTo>
                  <a:lnTo>
                    <a:pt x="18" y="20"/>
                  </a:lnTo>
                  <a:lnTo>
                    <a:pt x="16" y="26"/>
                  </a:lnTo>
                  <a:lnTo>
                    <a:pt x="14" y="28"/>
                  </a:lnTo>
                  <a:lnTo>
                    <a:pt x="12" y="32"/>
                  </a:lnTo>
                  <a:lnTo>
                    <a:pt x="12" y="34"/>
                  </a:lnTo>
                  <a:lnTo>
                    <a:pt x="12" y="36"/>
                  </a:lnTo>
                  <a:lnTo>
                    <a:pt x="12" y="36"/>
                  </a:lnTo>
                </a:path>
              </a:pathLst>
            </a:custGeom>
            <a:grp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2" name="Freeform 310">
              <a:extLst>
                <a:ext uri="{FF2B5EF4-FFF2-40B4-BE49-F238E27FC236}">
                  <a16:creationId xmlns:a16="http://schemas.microsoft.com/office/drawing/2014/main" id="{3F639F6E-43FE-4184-A111-8DC7C5FB275E}"/>
                </a:ext>
              </a:extLst>
            </p:cNvPr>
            <p:cNvSpPr>
              <a:spLocks/>
            </p:cNvSpPr>
            <p:nvPr/>
          </p:nvSpPr>
          <p:spPr bwMode="auto">
            <a:xfrm>
              <a:off x="4729944" y="2844853"/>
              <a:ext cx="180136" cy="148958"/>
            </a:xfrm>
            <a:custGeom>
              <a:avLst/>
              <a:gdLst>
                <a:gd name="T0" fmla="*/ 12 w 104"/>
                <a:gd name="T1" fmla="*/ 38 h 86"/>
                <a:gd name="T2" fmla="*/ 10 w 104"/>
                <a:gd name="T3" fmla="*/ 42 h 86"/>
                <a:gd name="T4" fmla="*/ 4 w 104"/>
                <a:gd name="T5" fmla="*/ 54 h 86"/>
                <a:gd name="T6" fmla="*/ 2 w 104"/>
                <a:gd name="T7" fmla="*/ 60 h 86"/>
                <a:gd name="T8" fmla="*/ 18 w 104"/>
                <a:gd name="T9" fmla="*/ 66 h 86"/>
                <a:gd name="T10" fmla="*/ 26 w 104"/>
                <a:gd name="T11" fmla="*/ 70 h 86"/>
                <a:gd name="T12" fmla="*/ 36 w 104"/>
                <a:gd name="T13" fmla="*/ 78 h 86"/>
                <a:gd name="T14" fmla="*/ 42 w 104"/>
                <a:gd name="T15" fmla="*/ 84 h 86"/>
                <a:gd name="T16" fmla="*/ 42 w 104"/>
                <a:gd name="T17" fmla="*/ 76 h 86"/>
                <a:gd name="T18" fmla="*/ 42 w 104"/>
                <a:gd name="T19" fmla="*/ 72 h 86"/>
                <a:gd name="T20" fmla="*/ 44 w 104"/>
                <a:gd name="T21" fmla="*/ 70 h 86"/>
                <a:gd name="T22" fmla="*/ 48 w 104"/>
                <a:gd name="T23" fmla="*/ 68 h 86"/>
                <a:gd name="T24" fmla="*/ 58 w 104"/>
                <a:gd name="T25" fmla="*/ 66 h 86"/>
                <a:gd name="T26" fmla="*/ 62 w 104"/>
                <a:gd name="T27" fmla="*/ 66 h 86"/>
                <a:gd name="T28" fmla="*/ 72 w 104"/>
                <a:gd name="T29" fmla="*/ 68 h 86"/>
                <a:gd name="T30" fmla="*/ 74 w 104"/>
                <a:gd name="T31" fmla="*/ 68 h 86"/>
                <a:gd name="T32" fmla="*/ 76 w 104"/>
                <a:gd name="T33" fmla="*/ 68 h 86"/>
                <a:gd name="T34" fmla="*/ 76 w 104"/>
                <a:gd name="T35" fmla="*/ 64 h 86"/>
                <a:gd name="T36" fmla="*/ 78 w 104"/>
                <a:gd name="T37" fmla="*/ 58 h 86"/>
                <a:gd name="T38" fmla="*/ 78 w 104"/>
                <a:gd name="T39" fmla="*/ 56 h 86"/>
                <a:gd name="T40" fmla="*/ 82 w 104"/>
                <a:gd name="T41" fmla="*/ 54 h 86"/>
                <a:gd name="T42" fmla="*/ 90 w 104"/>
                <a:gd name="T43" fmla="*/ 52 h 86"/>
                <a:gd name="T44" fmla="*/ 94 w 104"/>
                <a:gd name="T45" fmla="*/ 52 h 86"/>
                <a:gd name="T46" fmla="*/ 98 w 104"/>
                <a:gd name="T47" fmla="*/ 50 h 86"/>
                <a:gd name="T48" fmla="*/ 98 w 104"/>
                <a:gd name="T49" fmla="*/ 48 h 86"/>
                <a:gd name="T50" fmla="*/ 96 w 104"/>
                <a:gd name="T51" fmla="*/ 44 h 86"/>
                <a:gd name="T52" fmla="*/ 92 w 104"/>
                <a:gd name="T53" fmla="*/ 40 h 86"/>
                <a:gd name="T54" fmla="*/ 90 w 104"/>
                <a:gd name="T55" fmla="*/ 38 h 86"/>
                <a:gd name="T56" fmla="*/ 92 w 104"/>
                <a:gd name="T57" fmla="*/ 32 h 86"/>
                <a:gd name="T58" fmla="*/ 96 w 104"/>
                <a:gd name="T59" fmla="*/ 24 h 86"/>
                <a:gd name="T60" fmla="*/ 98 w 104"/>
                <a:gd name="T61" fmla="*/ 20 h 86"/>
                <a:gd name="T62" fmla="*/ 100 w 104"/>
                <a:gd name="T63" fmla="*/ 18 h 86"/>
                <a:gd name="T64" fmla="*/ 102 w 104"/>
                <a:gd name="T65" fmla="*/ 20 h 86"/>
                <a:gd name="T66" fmla="*/ 104 w 104"/>
                <a:gd name="T67" fmla="*/ 16 h 86"/>
                <a:gd name="T68" fmla="*/ 104 w 104"/>
                <a:gd name="T69" fmla="*/ 12 h 86"/>
                <a:gd name="T70" fmla="*/ 100 w 104"/>
                <a:gd name="T71" fmla="*/ 8 h 86"/>
                <a:gd name="T72" fmla="*/ 96 w 104"/>
                <a:gd name="T73" fmla="*/ 6 h 86"/>
                <a:gd name="T74" fmla="*/ 86 w 104"/>
                <a:gd name="T75" fmla="*/ 2 h 86"/>
                <a:gd name="T76" fmla="*/ 78 w 104"/>
                <a:gd name="T77" fmla="*/ 0 h 86"/>
                <a:gd name="T78" fmla="*/ 72 w 104"/>
                <a:gd name="T79" fmla="*/ 0 h 86"/>
                <a:gd name="T80" fmla="*/ 66 w 104"/>
                <a:gd name="T81" fmla="*/ 2 h 86"/>
                <a:gd name="T82" fmla="*/ 58 w 104"/>
                <a:gd name="T83" fmla="*/ 8 h 86"/>
                <a:gd name="T84" fmla="*/ 48 w 104"/>
                <a:gd name="T85" fmla="*/ 14 h 86"/>
                <a:gd name="T86" fmla="*/ 44 w 104"/>
                <a:gd name="T87" fmla="*/ 18 h 86"/>
                <a:gd name="T88" fmla="*/ 38 w 104"/>
                <a:gd name="T89" fmla="*/ 18 h 86"/>
                <a:gd name="T90" fmla="*/ 22 w 104"/>
                <a:gd name="T91" fmla="*/ 18 h 86"/>
                <a:gd name="T92" fmla="*/ 16 w 104"/>
                <a:gd name="T93" fmla="*/ 26 h 86"/>
                <a:gd name="T94" fmla="*/ 12 w 104"/>
                <a:gd name="T95"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86">
                  <a:moveTo>
                    <a:pt x="12" y="36"/>
                  </a:moveTo>
                  <a:lnTo>
                    <a:pt x="12" y="36"/>
                  </a:lnTo>
                  <a:lnTo>
                    <a:pt x="12" y="38"/>
                  </a:lnTo>
                  <a:lnTo>
                    <a:pt x="12" y="40"/>
                  </a:lnTo>
                  <a:lnTo>
                    <a:pt x="10" y="40"/>
                  </a:lnTo>
                  <a:lnTo>
                    <a:pt x="10" y="42"/>
                  </a:lnTo>
                  <a:lnTo>
                    <a:pt x="8" y="46"/>
                  </a:lnTo>
                  <a:lnTo>
                    <a:pt x="6" y="50"/>
                  </a:lnTo>
                  <a:lnTo>
                    <a:pt x="4" y="54"/>
                  </a:lnTo>
                  <a:lnTo>
                    <a:pt x="2" y="56"/>
                  </a:lnTo>
                  <a:lnTo>
                    <a:pt x="0" y="58"/>
                  </a:lnTo>
                  <a:lnTo>
                    <a:pt x="2" y="60"/>
                  </a:lnTo>
                  <a:lnTo>
                    <a:pt x="10" y="62"/>
                  </a:lnTo>
                  <a:lnTo>
                    <a:pt x="14" y="64"/>
                  </a:lnTo>
                  <a:lnTo>
                    <a:pt x="18" y="66"/>
                  </a:lnTo>
                  <a:lnTo>
                    <a:pt x="20" y="66"/>
                  </a:lnTo>
                  <a:lnTo>
                    <a:pt x="24" y="68"/>
                  </a:lnTo>
                  <a:lnTo>
                    <a:pt x="26" y="70"/>
                  </a:lnTo>
                  <a:lnTo>
                    <a:pt x="28" y="72"/>
                  </a:lnTo>
                  <a:lnTo>
                    <a:pt x="32" y="74"/>
                  </a:lnTo>
                  <a:lnTo>
                    <a:pt x="36" y="78"/>
                  </a:lnTo>
                  <a:lnTo>
                    <a:pt x="42" y="84"/>
                  </a:lnTo>
                  <a:lnTo>
                    <a:pt x="44" y="86"/>
                  </a:lnTo>
                  <a:lnTo>
                    <a:pt x="42" y="84"/>
                  </a:lnTo>
                  <a:lnTo>
                    <a:pt x="42" y="80"/>
                  </a:lnTo>
                  <a:lnTo>
                    <a:pt x="42" y="78"/>
                  </a:lnTo>
                  <a:lnTo>
                    <a:pt x="42" y="76"/>
                  </a:lnTo>
                  <a:lnTo>
                    <a:pt x="42" y="74"/>
                  </a:lnTo>
                  <a:lnTo>
                    <a:pt x="42" y="72"/>
                  </a:lnTo>
                  <a:lnTo>
                    <a:pt x="42" y="72"/>
                  </a:lnTo>
                  <a:lnTo>
                    <a:pt x="42" y="72"/>
                  </a:lnTo>
                  <a:lnTo>
                    <a:pt x="42" y="70"/>
                  </a:lnTo>
                  <a:lnTo>
                    <a:pt x="44" y="70"/>
                  </a:lnTo>
                  <a:lnTo>
                    <a:pt x="44" y="70"/>
                  </a:lnTo>
                  <a:lnTo>
                    <a:pt x="46" y="68"/>
                  </a:lnTo>
                  <a:lnTo>
                    <a:pt x="48" y="68"/>
                  </a:lnTo>
                  <a:lnTo>
                    <a:pt x="50" y="66"/>
                  </a:lnTo>
                  <a:lnTo>
                    <a:pt x="54" y="66"/>
                  </a:lnTo>
                  <a:lnTo>
                    <a:pt x="58" y="66"/>
                  </a:lnTo>
                  <a:lnTo>
                    <a:pt x="58" y="66"/>
                  </a:lnTo>
                  <a:lnTo>
                    <a:pt x="60" y="66"/>
                  </a:lnTo>
                  <a:lnTo>
                    <a:pt x="62" y="66"/>
                  </a:lnTo>
                  <a:lnTo>
                    <a:pt x="66" y="68"/>
                  </a:lnTo>
                  <a:lnTo>
                    <a:pt x="68" y="68"/>
                  </a:lnTo>
                  <a:lnTo>
                    <a:pt x="72" y="68"/>
                  </a:lnTo>
                  <a:lnTo>
                    <a:pt x="72" y="68"/>
                  </a:lnTo>
                  <a:lnTo>
                    <a:pt x="74" y="68"/>
                  </a:lnTo>
                  <a:lnTo>
                    <a:pt x="74" y="68"/>
                  </a:lnTo>
                  <a:lnTo>
                    <a:pt x="76" y="68"/>
                  </a:lnTo>
                  <a:lnTo>
                    <a:pt x="76" y="68"/>
                  </a:lnTo>
                  <a:lnTo>
                    <a:pt x="76" y="68"/>
                  </a:lnTo>
                  <a:lnTo>
                    <a:pt x="76" y="66"/>
                  </a:lnTo>
                  <a:lnTo>
                    <a:pt x="76" y="66"/>
                  </a:lnTo>
                  <a:lnTo>
                    <a:pt x="76" y="64"/>
                  </a:lnTo>
                  <a:lnTo>
                    <a:pt x="78" y="62"/>
                  </a:lnTo>
                  <a:lnTo>
                    <a:pt x="78" y="60"/>
                  </a:lnTo>
                  <a:lnTo>
                    <a:pt x="78" y="58"/>
                  </a:lnTo>
                  <a:lnTo>
                    <a:pt x="78" y="58"/>
                  </a:lnTo>
                  <a:lnTo>
                    <a:pt x="78" y="56"/>
                  </a:lnTo>
                  <a:lnTo>
                    <a:pt x="78" y="56"/>
                  </a:lnTo>
                  <a:lnTo>
                    <a:pt x="80" y="56"/>
                  </a:lnTo>
                  <a:lnTo>
                    <a:pt x="80" y="54"/>
                  </a:lnTo>
                  <a:lnTo>
                    <a:pt x="82" y="54"/>
                  </a:lnTo>
                  <a:lnTo>
                    <a:pt x="84" y="54"/>
                  </a:lnTo>
                  <a:lnTo>
                    <a:pt x="86" y="54"/>
                  </a:lnTo>
                  <a:lnTo>
                    <a:pt x="90" y="52"/>
                  </a:lnTo>
                  <a:lnTo>
                    <a:pt x="92" y="52"/>
                  </a:lnTo>
                  <a:lnTo>
                    <a:pt x="94" y="52"/>
                  </a:lnTo>
                  <a:lnTo>
                    <a:pt x="94" y="52"/>
                  </a:lnTo>
                  <a:lnTo>
                    <a:pt x="96" y="50"/>
                  </a:lnTo>
                  <a:lnTo>
                    <a:pt x="98" y="50"/>
                  </a:lnTo>
                  <a:lnTo>
                    <a:pt x="98" y="50"/>
                  </a:lnTo>
                  <a:lnTo>
                    <a:pt x="98" y="48"/>
                  </a:lnTo>
                  <a:lnTo>
                    <a:pt x="98" y="48"/>
                  </a:lnTo>
                  <a:lnTo>
                    <a:pt x="98" y="48"/>
                  </a:lnTo>
                  <a:lnTo>
                    <a:pt x="98" y="46"/>
                  </a:lnTo>
                  <a:lnTo>
                    <a:pt x="98" y="46"/>
                  </a:lnTo>
                  <a:lnTo>
                    <a:pt x="96" y="44"/>
                  </a:lnTo>
                  <a:lnTo>
                    <a:pt x="94" y="44"/>
                  </a:lnTo>
                  <a:lnTo>
                    <a:pt x="94" y="42"/>
                  </a:lnTo>
                  <a:lnTo>
                    <a:pt x="92" y="40"/>
                  </a:lnTo>
                  <a:lnTo>
                    <a:pt x="92" y="40"/>
                  </a:lnTo>
                  <a:lnTo>
                    <a:pt x="92" y="38"/>
                  </a:lnTo>
                  <a:lnTo>
                    <a:pt x="90" y="38"/>
                  </a:lnTo>
                  <a:lnTo>
                    <a:pt x="90" y="36"/>
                  </a:lnTo>
                  <a:lnTo>
                    <a:pt x="92" y="36"/>
                  </a:lnTo>
                  <a:lnTo>
                    <a:pt x="92" y="32"/>
                  </a:lnTo>
                  <a:lnTo>
                    <a:pt x="92" y="30"/>
                  </a:lnTo>
                  <a:lnTo>
                    <a:pt x="94" y="26"/>
                  </a:lnTo>
                  <a:lnTo>
                    <a:pt x="96" y="24"/>
                  </a:lnTo>
                  <a:lnTo>
                    <a:pt x="96" y="22"/>
                  </a:lnTo>
                  <a:lnTo>
                    <a:pt x="96" y="22"/>
                  </a:lnTo>
                  <a:lnTo>
                    <a:pt x="98" y="20"/>
                  </a:lnTo>
                  <a:lnTo>
                    <a:pt x="98" y="20"/>
                  </a:lnTo>
                  <a:lnTo>
                    <a:pt x="100" y="20"/>
                  </a:lnTo>
                  <a:lnTo>
                    <a:pt x="100" y="18"/>
                  </a:lnTo>
                  <a:lnTo>
                    <a:pt x="102" y="18"/>
                  </a:lnTo>
                  <a:lnTo>
                    <a:pt x="102" y="20"/>
                  </a:lnTo>
                  <a:lnTo>
                    <a:pt x="102" y="20"/>
                  </a:lnTo>
                  <a:lnTo>
                    <a:pt x="104" y="20"/>
                  </a:lnTo>
                  <a:lnTo>
                    <a:pt x="104" y="20"/>
                  </a:lnTo>
                  <a:lnTo>
                    <a:pt x="104" y="16"/>
                  </a:lnTo>
                  <a:lnTo>
                    <a:pt x="104" y="16"/>
                  </a:lnTo>
                  <a:lnTo>
                    <a:pt x="104" y="14"/>
                  </a:lnTo>
                  <a:lnTo>
                    <a:pt x="104" y="12"/>
                  </a:lnTo>
                  <a:lnTo>
                    <a:pt x="104" y="12"/>
                  </a:lnTo>
                  <a:lnTo>
                    <a:pt x="102" y="10"/>
                  </a:lnTo>
                  <a:lnTo>
                    <a:pt x="100" y="8"/>
                  </a:lnTo>
                  <a:lnTo>
                    <a:pt x="100" y="8"/>
                  </a:lnTo>
                  <a:lnTo>
                    <a:pt x="98" y="6"/>
                  </a:lnTo>
                  <a:lnTo>
                    <a:pt x="96" y="6"/>
                  </a:lnTo>
                  <a:lnTo>
                    <a:pt x="94" y="4"/>
                  </a:lnTo>
                  <a:lnTo>
                    <a:pt x="90" y="2"/>
                  </a:lnTo>
                  <a:lnTo>
                    <a:pt x="86" y="2"/>
                  </a:lnTo>
                  <a:lnTo>
                    <a:pt x="82" y="0"/>
                  </a:lnTo>
                  <a:lnTo>
                    <a:pt x="80" y="0"/>
                  </a:lnTo>
                  <a:lnTo>
                    <a:pt x="78" y="0"/>
                  </a:lnTo>
                  <a:lnTo>
                    <a:pt x="76" y="0"/>
                  </a:lnTo>
                  <a:lnTo>
                    <a:pt x="74" y="0"/>
                  </a:lnTo>
                  <a:lnTo>
                    <a:pt x="72" y="0"/>
                  </a:lnTo>
                  <a:lnTo>
                    <a:pt x="70" y="0"/>
                  </a:lnTo>
                  <a:lnTo>
                    <a:pt x="68" y="2"/>
                  </a:lnTo>
                  <a:lnTo>
                    <a:pt x="66" y="2"/>
                  </a:lnTo>
                  <a:lnTo>
                    <a:pt x="64" y="4"/>
                  </a:lnTo>
                  <a:lnTo>
                    <a:pt x="62" y="4"/>
                  </a:lnTo>
                  <a:lnTo>
                    <a:pt x="58" y="8"/>
                  </a:lnTo>
                  <a:lnTo>
                    <a:pt x="54" y="10"/>
                  </a:lnTo>
                  <a:lnTo>
                    <a:pt x="50" y="14"/>
                  </a:lnTo>
                  <a:lnTo>
                    <a:pt x="48" y="14"/>
                  </a:lnTo>
                  <a:lnTo>
                    <a:pt x="48" y="16"/>
                  </a:lnTo>
                  <a:lnTo>
                    <a:pt x="46" y="16"/>
                  </a:lnTo>
                  <a:lnTo>
                    <a:pt x="44" y="18"/>
                  </a:lnTo>
                  <a:lnTo>
                    <a:pt x="42" y="18"/>
                  </a:lnTo>
                  <a:lnTo>
                    <a:pt x="42" y="18"/>
                  </a:lnTo>
                  <a:lnTo>
                    <a:pt x="38" y="18"/>
                  </a:lnTo>
                  <a:lnTo>
                    <a:pt x="34" y="18"/>
                  </a:lnTo>
                  <a:lnTo>
                    <a:pt x="30" y="18"/>
                  </a:lnTo>
                  <a:lnTo>
                    <a:pt x="22" y="18"/>
                  </a:lnTo>
                  <a:lnTo>
                    <a:pt x="20" y="18"/>
                  </a:lnTo>
                  <a:lnTo>
                    <a:pt x="18" y="20"/>
                  </a:lnTo>
                  <a:lnTo>
                    <a:pt x="16" y="26"/>
                  </a:lnTo>
                  <a:lnTo>
                    <a:pt x="14" y="28"/>
                  </a:lnTo>
                  <a:lnTo>
                    <a:pt x="12" y="32"/>
                  </a:lnTo>
                  <a:lnTo>
                    <a:pt x="12" y="34"/>
                  </a:lnTo>
                  <a:lnTo>
                    <a:pt x="12" y="36"/>
                  </a:lnTo>
                  <a:lnTo>
                    <a:pt x="12" y="36"/>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3" name="Freeform 311">
              <a:extLst>
                <a:ext uri="{FF2B5EF4-FFF2-40B4-BE49-F238E27FC236}">
                  <a16:creationId xmlns:a16="http://schemas.microsoft.com/office/drawing/2014/main" id="{BD8C42D9-627A-435B-A59B-1BFDE96E65EC}"/>
                </a:ext>
              </a:extLst>
            </p:cNvPr>
            <p:cNvSpPr>
              <a:spLocks/>
            </p:cNvSpPr>
            <p:nvPr/>
          </p:nvSpPr>
          <p:spPr bwMode="auto">
            <a:xfrm>
              <a:off x="4799227" y="2844853"/>
              <a:ext cx="245955" cy="214777"/>
            </a:xfrm>
            <a:custGeom>
              <a:avLst/>
              <a:gdLst>
                <a:gd name="T0" fmla="*/ 26 w 142"/>
                <a:gd name="T1" fmla="*/ 124 h 124"/>
                <a:gd name="T2" fmla="*/ 64 w 142"/>
                <a:gd name="T3" fmla="*/ 122 h 124"/>
                <a:gd name="T4" fmla="*/ 94 w 142"/>
                <a:gd name="T5" fmla="*/ 118 h 124"/>
                <a:gd name="T6" fmla="*/ 108 w 142"/>
                <a:gd name="T7" fmla="*/ 116 h 124"/>
                <a:gd name="T8" fmla="*/ 116 w 142"/>
                <a:gd name="T9" fmla="*/ 112 h 124"/>
                <a:gd name="T10" fmla="*/ 122 w 142"/>
                <a:gd name="T11" fmla="*/ 102 h 124"/>
                <a:gd name="T12" fmla="*/ 128 w 142"/>
                <a:gd name="T13" fmla="*/ 86 h 124"/>
                <a:gd name="T14" fmla="*/ 134 w 142"/>
                <a:gd name="T15" fmla="*/ 74 h 124"/>
                <a:gd name="T16" fmla="*/ 138 w 142"/>
                <a:gd name="T17" fmla="*/ 70 h 124"/>
                <a:gd name="T18" fmla="*/ 140 w 142"/>
                <a:gd name="T19" fmla="*/ 64 h 124"/>
                <a:gd name="T20" fmla="*/ 142 w 142"/>
                <a:gd name="T21" fmla="*/ 50 h 124"/>
                <a:gd name="T22" fmla="*/ 142 w 142"/>
                <a:gd name="T23" fmla="*/ 34 h 124"/>
                <a:gd name="T24" fmla="*/ 138 w 142"/>
                <a:gd name="T25" fmla="*/ 22 h 124"/>
                <a:gd name="T26" fmla="*/ 134 w 142"/>
                <a:gd name="T27" fmla="*/ 14 h 124"/>
                <a:gd name="T28" fmla="*/ 124 w 142"/>
                <a:gd name="T29" fmla="*/ 10 h 124"/>
                <a:gd name="T30" fmla="*/ 102 w 142"/>
                <a:gd name="T31" fmla="*/ 2 h 124"/>
                <a:gd name="T32" fmla="*/ 90 w 142"/>
                <a:gd name="T33" fmla="*/ 6 h 124"/>
                <a:gd name="T34" fmla="*/ 86 w 142"/>
                <a:gd name="T35" fmla="*/ 8 h 124"/>
                <a:gd name="T36" fmla="*/ 80 w 142"/>
                <a:gd name="T37" fmla="*/ 6 h 124"/>
                <a:gd name="T38" fmla="*/ 72 w 142"/>
                <a:gd name="T39" fmla="*/ 2 h 124"/>
                <a:gd name="T40" fmla="*/ 70 w 142"/>
                <a:gd name="T41" fmla="*/ 4 h 124"/>
                <a:gd name="T42" fmla="*/ 68 w 142"/>
                <a:gd name="T43" fmla="*/ 8 h 124"/>
                <a:gd name="T44" fmla="*/ 64 w 142"/>
                <a:gd name="T45" fmla="*/ 20 h 124"/>
                <a:gd name="T46" fmla="*/ 62 w 142"/>
                <a:gd name="T47" fmla="*/ 20 h 124"/>
                <a:gd name="T48" fmla="*/ 58 w 142"/>
                <a:gd name="T49" fmla="*/ 22 h 124"/>
                <a:gd name="T50" fmla="*/ 54 w 142"/>
                <a:gd name="T51" fmla="*/ 28 h 124"/>
                <a:gd name="T52" fmla="*/ 52 w 142"/>
                <a:gd name="T53" fmla="*/ 38 h 124"/>
                <a:gd name="T54" fmla="*/ 52 w 142"/>
                <a:gd name="T55" fmla="*/ 42 h 124"/>
                <a:gd name="T56" fmla="*/ 58 w 142"/>
                <a:gd name="T57" fmla="*/ 48 h 124"/>
                <a:gd name="T58" fmla="*/ 58 w 142"/>
                <a:gd name="T59" fmla="*/ 50 h 124"/>
                <a:gd name="T60" fmla="*/ 56 w 142"/>
                <a:gd name="T61" fmla="*/ 52 h 124"/>
                <a:gd name="T62" fmla="*/ 46 w 142"/>
                <a:gd name="T63" fmla="*/ 54 h 124"/>
                <a:gd name="T64" fmla="*/ 40 w 142"/>
                <a:gd name="T65" fmla="*/ 56 h 124"/>
                <a:gd name="T66" fmla="*/ 38 w 142"/>
                <a:gd name="T67" fmla="*/ 60 h 124"/>
                <a:gd name="T68" fmla="*/ 36 w 142"/>
                <a:gd name="T69" fmla="*/ 66 h 124"/>
                <a:gd name="T70" fmla="*/ 36 w 142"/>
                <a:gd name="T71" fmla="*/ 68 h 124"/>
                <a:gd name="T72" fmla="*/ 32 w 142"/>
                <a:gd name="T73" fmla="*/ 70 h 124"/>
                <a:gd name="T74" fmla="*/ 20 w 142"/>
                <a:gd name="T75" fmla="*/ 66 h 124"/>
                <a:gd name="T76" fmla="*/ 10 w 142"/>
                <a:gd name="T77" fmla="*/ 68 h 124"/>
                <a:gd name="T78" fmla="*/ 4 w 142"/>
                <a:gd name="T79" fmla="*/ 70 h 124"/>
                <a:gd name="T80" fmla="*/ 2 w 142"/>
                <a:gd name="T81" fmla="*/ 74 h 124"/>
                <a:gd name="T82" fmla="*/ 2 w 142"/>
                <a:gd name="T83" fmla="*/ 80 h 124"/>
                <a:gd name="T84" fmla="*/ 2 w 142"/>
                <a:gd name="T85" fmla="*/ 92 h 124"/>
                <a:gd name="T86" fmla="*/ 2 w 142"/>
                <a:gd name="T87" fmla="*/ 102 h 124"/>
                <a:gd name="T88" fmla="*/ 4 w 142"/>
                <a:gd name="T89" fmla="*/ 106 h 124"/>
                <a:gd name="T90" fmla="*/ 6 w 142"/>
                <a:gd name="T91" fmla="*/ 106 h 124"/>
                <a:gd name="T92" fmla="*/ 12 w 142"/>
                <a:gd name="T93" fmla="*/ 106 h 124"/>
                <a:gd name="T94" fmla="*/ 14 w 142"/>
                <a:gd name="T95" fmla="*/ 108 h 124"/>
                <a:gd name="T96" fmla="*/ 14 w 142"/>
                <a:gd name="T97" fmla="*/ 1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 h="124">
                  <a:moveTo>
                    <a:pt x="12" y="124"/>
                  </a:moveTo>
                  <a:lnTo>
                    <a:pt x="12" y="124"/>
                  </a:lnTo>
                  <a:lnTo>
                    <a:pt x="16" y="124"/>
                  </a:lnTo>
                  <a:lnTo>
                    <a:pt x="26" y="124"/>
                  </a:lnTo>
                  <a:lnTo>
                    <a:pt x="40" y="124"/>
                  </a:lnTo>
                  <a:lnTo>
                    <a:pt x="48" y="122"/>
                  </a:lnTo>
                  <a:lnTo>
                    <a:pt x="56" y="122"/>
                  </a:lnTo>
                  <a:lnTo>
                    <a:pt x="64" y="122"/>
                  </a:lnTo>
                  <a:lnTo>
                    <a:pt x="74" y="122"/>
                  </a:lnTo>
                  <a:lnTo>
                    <a:pt x="82" y="120"/>
                  </a:lnTo>
                  <a:lnTo>
                    <a:pt x="90" y="120"/>
                  </a:lnTo>
                  <a:lnTo>
                    <a:pt x="94" y="118"/>
                  </a:lnTo>
                  <a:lnTo>
                    <a:pt x="98" y="118"/>
                  </a:lnTo>
                  <a:lnTo>
                    <a:pt x="102" y="116"/>
                  </a:lnTo>
                  <a:lnTo>
                    <a:pt x="106" y="116"/>
                  </a:lnTo>
                  <a:lnTo>
                    <a:pt x="108" y="116"/>
                  </a:lnTo>
                  <a:lnTo>
                    <a:pt x="112" y="114"/>
                  </a:lnTo>
                  <a:lnTo>
                    <a:pt x="114" y="112"/>
                  </a:lnTo>
                  <a:lnTo>
                    <a:pt x="116" y="112"/>
                  </a:lnTo>
                  <a:lnTo>
                    <a:pt x="116" y="112"/>
                  </a:lnTo>
                  <a:lnTo>
                    <a:pt x="118" y="110"/>
                  </a:lnTo>
                  <a:lnTo>
                    <a:pt x="120" y="108"/>
                  </a:lnTo>
                  <a:lnTo>
                    <a:pt x="122" y="106"/>
                  </a:lnTo>
                  <a:lnTo>
                    <a:pt x="122" y="102"/>
                  </a:lnTo>
                  <a:lnTo>
                    <a:pt x="126" y="98"/>
                  </a:lnTo>
                  <a:lnTo>
                    <a:pt x="126" y="96"/>
                  </a:lnTo>
                  <a:lnTo>
                    <a:pt x="128" y="92"/>
                  </a:lnTo>
                  <a:lnTo>
                    <a:pt x="128" y="86"/>
                  </a:lnTo>
                  <a:lnTo>
                    <a:pt x="130" y="84"/>
                  </a:lnTo>
                  <a:lnTo>
                    <a:pt x="130" y="80"/>
                  </a:lnTo>
                  <a:lnTo>
                    <a:pt x="132" y="76"/>
                  </a:lnTo>
                  <a:lnTo>
                    <a:pt x="134" y="74"/>
                  </a:lnTo>
                  <a:lnTo>
                    <a:pt x="134" y="74"/>
                  </a:lnTo>
                  <a:lnTo>
                    <a:pt x="134" y="74"/>
                  </a:lnTo>
                  <a:lnTo>
                    <a:pt x="136" y="72"/>
                  </a:lnTo>
                  <a:lnTo>
                    <a:pt x="138" y="70"/>
                  </a:lnTo>
                  <a:lnTo>
                    <a:pt x="138" y="70"/>
                  </a:lnTo>
                  <a:lnTo>
                    <a:pt x="140" y="68"/>
                  </a:lnTo>
                  <a:lnTo>
                    <a:pt x="140" y="66"/>
                  </a:lnTo>
                  <a:lnTo>
                    <a:pt x="140" y="64"/>
                  </a:lnTo>
                  <a:lnTo>
                    <a:pt x="142" y="60"/>
                  </a:lnTo>
                  <a:lnTo>
                    <a:pt x="142" y="56"/>
                  </a:lnTo>
                  <a:lnTo>
                    <a:pt x="142" y="54"/>
                  </a:lnTo>
                  <a:lnTo>
                    <a:pt x="142" y="50"/>
                  </a:lnTo>
                  <a:lnTo>
                    <a:pt x="142" y="46"/>
                  </a:lnTo>
                  <a:lnTo>
                    <a:pt x="142" y="42"/>
                  </a:lnTo>
                  <a:lnTo>
                    <a:pt x="142" y="38"/>
                  </a:lnTo>
                  <a:lnTo>
                    <a:pt x="142" y="34"/>
                  </a:lnTo>
                  <a:lnTo>
                    <a:pt x="142" y="30"/>
                  </a:lnTo>
                  <a:lnTo>
                    <a:pt x="140" y="28"/>
                  </a:lnTo>
                  <a:lnTo>
                    <a:pt x="140" y="24"/>
                  </a:lnTo>
                  <a:lnTo>
                    <a:pt x="138" y="22"/>
                  </a:lnTo>
                  <a:lnTo>
                    <a:pt x="138" y="18"/>
                  </a:lnTo>
                  <a:lnTo>
                    <a:pt x="136" y="16"/>
                  </a:lnTo>
                  <a:lnTo>
                    <a:pt x="136" y="16"/>
                  </a:lnTo>
                  <a:lnTo>
                    <a:pt x="134" y="14"/>
                  </a:lnTo>
                  <a:lnTo>
                    <a:pt x="132" y="14"/>
                  </a:lnTo>
                  <a:lnTo>
                    <a:pt x="130" y="12"/>
                  </a:lnTo>
                  <a:lnTo>
                    <a:pt x="128" y="10"/>
                  </a:lnTo>
                  <a:lnTo>
                    <a:pt x="124" y="10"/>
                  </a:lnTo>
                  <a:lnTo>
                    <a:pt x="120" y="8"/>
                  </a:lnTo>
                  <a:lnTo>
                    <a:pt x="114" y="6"/>
                  </a:lnTo>
                  <a:lnTo>
                    <a:pt x="108" y="4"/>
                  </a:lnTo>
                  <a:lnTo>
                    <a:pt x="102" y="2"/>
                  </a:lnTo>
                  <a:lnTo>
                    <a:pt x="96" y="0"/>
                  </a:lnTo>
                  <a:lnTo>
                    <a:pt x="94" y="2"/>
                  </a:lnTo>
                  <a:lnTo>
                    <a:pt x="92" y="4"/>
                  </a:lnTo>
                  <a:lnTo>
                    <a:pt x="90" y="6"/>
                  </a:lnTo>
                  <a:lnTo>
                    <a:pt x="88" y="6"/>
                  </a:lnTo>
                  <a:lnTo>
                    <a:pt x="86" y="8"/>
                  </a:lnTo>
                  <a:lnTo>
                    <a:pt x="86" y="8"/>
                  </a:lnTo>
                  <a:lnTo>
                    <a:pt x="86" y="8"/>
                  </a:lnTo>
                  <a:lnTo>
                    <a:pt x="84" y="8"/>
                  </a:lnTo>
                  <a:lnTo>
                    <a:pt x="84" y="8"/>
                  </a:lnTo>
                  <a:lnTo>
                    <a:pt x="82" y="8"/>
                  </a:lnTo>
                  <a:lnTo>
                    <a:pt x="80" y="6"/>
                  </a:lnTo>
                  <a:lnTo>
                    <a:pt x="78" y="4"/>
                  </a:lnTo>
                  <a:lnTo>
                    <a:pt x="76" y="4"/>
                  </a:lnTo>
                  <a:lnTo>
                    <a:pt x="74" y="2"/>
                  </a:lnTo>
                  <a:lnTo>
                    <a:pt x="72" y="2"/>
                  </a:lnTo>
                  <a:lnTo>
                    <a:pt x="72" y="2"/>
                  </a:lnTo>
                  <a:lnTo>
                    <a:pt x="72" y="2"/>
                  </a:lnTo>
                  <a:lnTo>
                    <a:pt x="70" y="2"/>
                  </a:lnTo>
                  <a:lnTo>
                    <a:pt x="70" y="4"/>
                  </a:lnTo>
                  <a:lnTo>
                    <a:pt x="70" y="4"/>
                  </a:lnTo>
                  <a:lnTo>
                    <a:pt x="68" y="6"/>
                  </a:lnTo>
                  <a:lnTo>
                    <a:pt x="68" y="6"/>
                  </a:lnTo>
                  <a:lnTo>
                    <a:pt x="68" y="8"/>
                  </a:lnTo>
                  <a:lnTo>
                    <a:pt x="66" y="10"/>
                  </a:lnTo>
                  <a:lnTo>
                    <a:pt x="66" y="14"/>
                  </a:lnTo>
                  <a:lnTo>
                    <a:pt x="66" y="16"/>
                  </a:lnTo>
                  <a:lnTo>
                    <a:pt x="64" y="20"/>
                  </a:lnTo>
                  <a:lnTo>
                    <a:pt x="64" y="22"/>
                  </a:lnTo>
                  <a:lnTo>
                    <a:pt x="64" y="20"/>
                  </a:lnTo>
                  <a:lnTo>
                    <a:pt x="62" y="20"/>
                  </a:lnTo>
                  <a:lnTo>
                    <a:pt x="62" y="20"/>
                  </a:lnTo>
                  <a:lnTo>
                    <a:pt x="60" y="20"/>
                  </a:lnTo>
                  <a:lnTo>
                    <a:pt x="60" y="20"/>
                  </a:lnTo>
                  <a:lnTo>
                    <a:pt x="58" y="20"/>
                  </a:lnTo>
                  <a:lnTo>
                    <a:pt x="58" y="22"/>
                  </a:lnTo>
                  <a:lnTo>
                    <a:pt x="58" y="22"/>
                  </a:lnTo>
                  <a:lnTo>
                    <a:pt x="56" y="24"/>
                  </a:lnTo>
                  <a:lnTo>
                    <a:pt x="56" y="26"/>
                  </a:lnTo>
                  <a:lnTo>
                    <a:pt x="54" y="28"/>
                  </a:lnTo>
                  <a:lnTo>
                    <a:pt x="52" y="30"/>
                  </a:lnTo>
                  <a:lnTo>
                    <a:pt x="52" y="34"/>
                  </a:lnTo>
                  <a:lnTo>
                    <a:pt x="52" y="36"/>
                  </a:lnTo>
                  <a:lnTo>
                    <a:pt x="52" y="38"/>
                  </a:lnTo>
                  <a:lnTo>
                    <a:pt x="52" y="40"/>
                  </a:lnTo>
                  <a:lnTo>
                    <a:pt x="52" y="40"/>
                  </a:lnTo>
                  <a:lnTo>
                    <a:pt x="52" y="40"/>
                  </a:lnTo>
                  <a:lnTo>
                    <a:pt x="52" y="42"/>
                  </a:lnTo>
                  <a:lnTo>
                    <a:pt x="54" y="42"/>
                  </a:lnTo>
                  <a:lnTo>
                    <a:pt x="56" y="44"/>
                  </a:lnTo>
                  <a:lnTo>
                    <a:pt x="56" y="46"/>
                  </a:lnTo>
                  <a:lnTo>
                    <a:pt x="58" y="48"/>
                  </a:lnTo>
                  <a:lnTo>
                    <a:pt x="58" y="48"/>
                  </a:lnTo>
                  <a:lnTo>
                    <a:pt x="58" y="48"/>
                  </a:lnTo>
                  <a:lnTo>
                    <a:pt x="58" y="50"/>
                  </a:lnTo>
                  <a:lnTo>
                    <a:pt x="58" y="50"/>
                  </a:lnTo>
                  <a:lnTo>
                    <a:pt x="58" y="50"/>
                  </a:lnTo>
                  <a:lnTo>
                    <a:pt x="58" y="52"/>
                  </a:lnTo>
                  <a:lnTo>
                    <a:pt x="56" y="52"/>
                  </a:lnTo>
                  <a:lnTo>
                    <a:pt x="56" y="52"/>
                  </a:lnTo>
                  <a:lnTo>
                    <a:pt x="54" y="52"/>
                  </a:lnTo>
                  <a:lnTo>
                    <a:pt x="52" y="54"/>
                  </a:lnTo>
                  <a:lnTo>
                    <a:pt x="50" y="54"/>
                  </a:lnTo>
                  <a:lnTo>
                    <a:pt x="46" y="54"/>
                  </a:lnTo>
                  <a:lnTo>
                    <a:pt x="44" y="56"/>
                  </a:lnTo>
                  <a:lnTo>
                    <a:pt x="42" y="56"/>
                  </a:lnTo>
                  <a:lnTo>
                    <a:pt x="40" y="56"/>
                  </a:lnTo>
                  <a:lnTo>
                    <a:pt x="40" y="56"/>
                  </a:lnTo>
                  <a:lnTo>
                    <a:pt x="38" y="58"/>
                  </a:lnTo>
                  <a:lnTo>
                    <a:pt x="38" y="58"/>
                  </a:lnTo>
                  <a:lnTo>
                    <a:pt x="38" y="58"/>
                  </a:lnTo>
                  <a:lnTo>
                    <a:pt x="38" y="60"/>
                  </a:lnTo>
                  <a:lnTo>
                    <a:pt x="38" y="62"/>
                  </a:lnTo>
                  <a:lnTo>
                    <a:pt x="38" y="64"/>
                  </a:lnTo>
                  <a:lnTo>
                    <a:pt x="38" y="66"/>
                  </a:lnTo>
                  <a:lnTo>
                    <a:pt x="36" y="66"/>
                  </a:lnTo>
                  <a:lnTo>
                    <a:pt x="36" y="68"/>
                  </a:lnTo>
                  <a:lnTo>
                    <a:pt x="36" y="68"/>
                  </a:lnTo>
                  <a:lnTo>
                    <a:pt x="36" y="68"/>
                  </a:lnTo>
                  <a:lnTo>
                    <a:pt x="36" y="68"/>
                  </a:lnTo>
                  <a:lnTo>
                    <a:pt x="34" y="70"/>
                  </a:lnTo>
                  <a:lnTo>
                    <a:pt x="34" y="70"/>
                  </a:lnTo>
                  <a:lnTo>
                    <a:pt x="32" y="70"/>
                  </a:lnTo>
                  <a:lnTo>
                    <a:pt x="32" y="70"/>
                  </a:lnTo>
                  <a:lnTo>
                    <a:pt x="28" y="70"/>
                  </a:lnTo>
                  <a:lnTo>
                    <a:pt x="26" y="68"/>
                  </a:lnTo>
                  <a:lnTo>
                    <a:pt x="22" y="68"/>
                  </a:lnTo>
                  <a:lnTo>
                    <a:pt x="20" y="66"/>
                  </a:lnTo>
                  <a:lnTo>
                    <a:pt x="18" y="66"/>
                  </a:lnTo>
                  <a:lnTo>
                    <a:pt x="18" y="66"/>
                  </a:lnTo>
                  <a:lnTo>
                    <a:pt x="14" y="68"/>
                  </a:lnTo>
                  <a:lnTo>
                    <a:pt x="10" y="68"/>
                  </a:lnTo>
                  <a:lnTo>
                    <a:pt x="8" y="68"/>
                  </a:lnTo>
                  <a:lnTo>
                    <a:pt x="6" y="70"/>
                  </a:lnTo>
                  <a:lnTo>
                    <a:pt x="4" y="70"/>
                  </a:lnTo>
                  <a:lnTo>
                    <a:pt x="4" y="70"/>
                  </a:lnTo>
                  <a:lnTo>
                    <a:pt x="2" y="72"/>
                  </a:lnTo>
                  <a:lnTo>
                    <a:pt x="2" y="72"/>
                  </a:lnTo>
                  <a:lnTo>
                    <a:pt x="2" y="72"/>
                  </a:lnTo>
                  <a:lnTo>
                    <a:pt x="2" y="74"/>
                  </a:lnTo>
                  <a:lnTo>
                    <a:pt x="0" y="74"/>
                  </a:lnTo>
                  <a:lnTo>
                    <a:pt x="0" y="76"/>
                  </a:lnTo>
                  <a:lnTo>
                    <a:pt x="2" y="78"/>
                  </a:lnTo>
                  <a:lnTo>
                    <a:pt x="2" y="80"/>
                  </a:lnTo>
                  <a:lnTo>
                    <a:pt x="2" y="84"/>
                  </a:lnTo>
                  <a:lnTo>
                    <a:pt x="4" y="86"/>
                  </a:lnTo>
                  <a:lnTo>
                    <a:pt x="2" y="88"/>
                  </a:lnTo>
                  <a:lnTo>
                    <a:pt x="2" y="92"/>
                  </a:lnTo>
                  <a:lnTo>
                    <a:pt x="2" y="94"/>
                  </a:lnTo>
                  <a:lnTo>
                    <a:pt x="2" y="98"/>
                  </a:lnTo>
                  <a:lnTo>
                    <a:pt x="2" y="100"/>
                  </a:lnTo>
                  <a:lnTo>
                    <a:pt x="2" y="102"/>
                  </a:lnTo>
                  <a:lnTo>
                    <a:pt x="2" y="104"/>
                  </a:lnTo>
                  <a:lnTo>
                    <a:pt x="2" y="104"/>
                  </a:lnTo>
                  <a:lnTo>
                    <a:pt x="2" y="106"/>
                  </a:lnTo>
                  <a:lnTo>
                    <a:pt x="4" y="106"/>
                  </a:lnTo>
                  <a:lnTo>
                    <a:pt x="4" y="106"/>
                  </a:lnTo>
                  <a:lnTo>
                    <a:pt x="4" y="106"/>
                  </a:lnTo>
                  <a:lnTo>
                    <a:pt x="6" y="106"/>
                  </a:lnTo>
                  <a:lnTo>
                    <a:pt x="6" y="106"/>
                  </a:lnTo>
                  <a:lnTo>
                    <a:pt x="8" y="106"/>
                  </a:lnTo>
                  <a:lnTo>
                    <a:pt x="10" y="106"/>
                  </a:lnTo>
                  <a:lnTo>
                    <a:pt x="10" y="106"/>
                  </a:lnTo>
                  <a:lnTo>
                    <a:pt x="12" y="106"/>
                  </a:lnTo>
                  <a:lnTo>
                    <a:pt x="12" y="106"/>
                  </a:lnTo>
                  <a:lnTo>
                    <a:pt x="12" y="106"/>
                  </a:lnTo>
                  <a:lnTo>
                    <a:pt x="12" y="108"/>
                  </a:lnTo>
                  <a:lnTo>
                    <a:pt x="14" y="108"/>
                  </a:lnTo>
                  <a:lnTo>
                    <a:pt x="14" y="110"/>
                  </a:lnTo>
                  <a:lnTo>
                    <a:pt x="14" y="110"/>
                  </a:lnTo>
                  <a:lnTo>
                    <a:pt x="14" y="112"/>
                  </a:lnTo>
                  <a:lnTo>
                    <a:pt x="14" y="116"/>
                  </a:lnTo>
                  <a:lnTo>
                    <a:pt x="14" y="118"/>
                  </a:lnTo>
                  <a:lnTo>
                    <a:pt x="14" y="120"/>
                  </a:lnTo>
                  <a:lnTo>
                    <a:pt x="12" y="12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4" name="Freeform 312">
              <a:extLst>
                <a:ext uri="{FF2B5EF4-FFF2-40B4-BE49-F238E27FC236}">
                  <a16:creationId xmlns:a16="http://schemas.microsoft.com/office/drawing/2014/main" id="{FCF21867-3383-45B7-AEE1-92ED4B1A776B}"/>
                </a:ext>
              </a:extLst>
            </p:cNvPr>
            <p:cNvSpPr>
              <a:spLocks/>
            </p:cNvSpPr>
            <p:nvPr/>
          </p:nvSpPr>
          <p:spPr bwMode="auto">
            <a:xfrm>
              <a:off x="4799227" y="2844853"/>
              <a:ext cx="245955" cy="214777"/>
            </a:xfrm>
            <a:custGeom>
              <a:avLst/>
              <a:gdLst>
                <a:gd name="T0" fmla="*/ 26 w 142"/>
                <a:gd name="T1" fmla="*/ 124 h 124"/>
                <a:gd name="T2" fmla="*/ 64 w 142"/>
                <a:gd name="T3" fmla="*/ 122 h 124"/>
                <a:gd name="T4" fmla="*/ 94 w 142"/>
                <a:gd name="T5" fmla="*/ 118 h 124"/>
                <a:gd name="T6" fmla="*/ 108 w 142"/>
                <a:gd name="T7" fmla="*/ 116 h 124"/>
                <a:gd name="T8" fmla="*/ 116 w 142"/>
                <a:gd name="T9" fmla="*/ 112 h 124"/>
                <a:gd name="T10" fmla="*/ 122 w 142"/>
                <a:gd name="T11" fmla="*/ 102 h 124"/>
                <a:gd name="T12" fmla="*/ 128 w 142"/>
                <a:gd name="T13" fmla="*/ 86 h 124"/>
                <a:gd name="T14" fmla="*/ 134 w 142"/>
                <a:gd name="T15" fmla="*/ 74 h 124"/>
                <a:gd name="T16" fmla="*/ 138 w 142"/>
                <a:gd name="T17" fmla="*/ 70 h 124"/>
                <a:gd name="T18" fmla="*/ 140 w 142"/>
                <a:gd name="T19" fmla="*/ 64 h 124"/>
                <a:gd name="T20" fmla="*/ 142 w 142"/>
                <a:gd name="T21" fmla="*/ 50 h 124"/>
                <a:gd name="T22" fmla="*/ 142 w 142"/>
                <a:gd name="T23" fmla="*/ 34 h 124"/>
                <a:gd name="T24" fmla="*/ 138 w 142"/>
                <a:gd name="T25" fmla="*/ 22 h 124"/>
                <a:gd name="T26" fmla="*/ 134 w 142"/>
                <a:gd name="T27" fmla="*/ 14 h 124"/>
                <a:gd name="T28" fmla="*/ 124 w 142"/>
                <a:gd name="T29" fmla="*/ 10 h 124"/>
                <a:gd name="T30" fmla="*/ 102 w 142"/>
                <a:gd name="T31" fmla="*/ 2 h 124"/>
                <a:gd name="T32" fmla="*/ 90 w 142"/>
                <a:gd name="T33" fmla="*/ 6 h 124"/>
                <a:gd name="T34" fmla="*/ 86 w 142"/>
                <a:gd name="T35" fmla="*/ 8 h 124"/>
                <a:gd name="T36" fmla="*/ 80 w 142"/>
                <a:gd name="T37" fmla="*/ 6 h 124"/>
                <a:gd name="T38" fmla="*/ 72 w 142"/>
                <a:gd name="T39" fmla="*/ 2 h 124"/>
                <a:gd name="T40" fmla="*/ 70 w 142"/>
                <a:gd name="T41" fmla="*/ 4 h 124"/>
                <a:gd name="T42" fmla="*/ 68 w 142"/>
                <a:gd name="T43" fmla="*/ 8 h 124"/>
                <a:gd name="T44" fmla="*/ 64 w 142"/>
                <a:gd name="T45" fmla="*/ 20 h 124"/>
                <a:gd name="T46" fmla="*/ 62 w 142"/>
                <a:gd name="T47" fmla="*/ 20 h 124"/>
                <a:gd name="T48" fmla="*/ 58 w 142"/>
                <a:gd name="T49" fmla="*/ 22 h 124"/>
                <a:gd name="T50" fmla="*/ 54 w 142"/>
                <a:gd name="T51" fmla="*/ 28 h 124"/>
                <a:gd name="T52" fmla="*/ 52 w 142"/>
                <a:gd name="T53" fmla="*/ 38 h 124"/>
                <a:gd name="T54" fmla="*/ 52 w 142"/>
                <a:gd name="T55" fmla="*/ 42 h 124"/>
                <a:gd name="T56" fmla="*/ 58 w 142"/>
                <a:gd name="T57" fmla="*/ 48 h 124"/>
                <a:gd name="T58" fmla="*/ 58 w 142"/>
                <a:gd name="T59" fmla="*/ 50 h 124"/>
                <a:gd name="T60" fmla="*/ 56 w 142"/>
                <a:gd name="T61" fmla="*/ 52 h 124"/>
                <a:gd name="T62" fmla="*/ 46 w 142"/>
                <a:gd name="T63" fmla="*/ 54 h 124"/>
                <a:gd name="T64" fmla="*/ 40 w 142"/>
                <a:gd name="T65" fmla="*/ 56 h 124"/>
                <a:gd name="T66" fmla="*/ 38 w 142"/>
                <a:gd name="T67" fmla="*/ 60 h 124"/>
                <a:gd name="T68" fmla="*/ 36 w 142"/>
                <a:gd name="T69" fmla="*/ 66 h 124"/>
                <a:gd name="T70" fmla="*/ 36 w 142"/>
                <a:gd name="T71" fmla="*/ 68 h 124"/>
                <a:gd name="T72" fmla="*/ 32 w 142"/>
                <a:gd name="T73" fmla="*/ 70 h 124"/>
                <a:gd name="T74" fmla="*/ 20 w 142"/>
                <a:gd name="T75" fmla="*/ 66 h 124"/>
                <a:gd name="T76" fmla="*/ 10 w 142"/>
                <a:gd name="T77" fmla="*/ 68 h 124"/>
                <a:gd name="T78" fmla="*/ 4 w 142"/>
                <a:gd name="T79" fmla="*/ 70 h 124"/>
                <a:gd name="T80" fmla="*/ 2 w 142"/>
                <a:gd name="T81" fmla="*/ 74 h 124"/>
                <a:gd name="T82" fmla="*/ 2 w 142"/>
                <a:gd name="T83" fmla="*/ 80 h 124"/>
                <a:gd name="T84" fmla="*/ 2 w 142"/>
                <a:gd name="T85" fmla="*/ 92 h 124"/>
                <a:gd name="T86" fmla="*/ 2 w 142"/>
                <a:gd name="T87" fmla="*/ 102 h 124"/>
                <a:gd name="T88" fmla="*/ 4 w 142"/>
                <a:gd name="T89" fmla="*/ 106 h 124"/>
                <a:gd name="T90" fmla="*/ 6 w 142"/>
                <a:gd name="T91" fmla="*/ 106 h 124"/>
                <a:gd name="T92" fmla="*/ 12 w 142"/>
                <a:gd name="T93" fmla="*/ 106 h 124"/>
                <a:gd name="T94" fmla="*/ 14 w 142"/>
                <a:gd name="T95" fmla="*/ 108 h 124"/>
                <a:gd name="T96" fmla="*/ 14 w 142"/>
                <a:gd name="T97" fmla="*/ 1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 h="124">
                  <a:moveTo>
                    <a:pt x="12" y="124"/>
                  </a:moveTo>
                  <a:lnTo>
                    <a:pt x="12" y="124"/>
                  </a:lnTo>
                  <a:lnTo>
                    <a:pt x="16" y="124"/>
                  </a:lnTo>
                  <a:lnTo>
                    <a:pt x="26" y="124"/>
                  </a:lnTo>
                  <a:lnTo>
                    <a:pt x="40" y="124"/>
                  </a:lnTo>
                  <a:lnTo>
                    <a:pt x="48" y="122"/>
                  </a:lnTo>
                  <a:lnTo>
                    <a:pt x="56" y="122"/>
                  </a:lnTo>
                  <a:lnTo>
                    <a:pt x="64" y="122"/>
                  </a:lnTo>
                  <a:lnTo>
                    <a:pt x="74" y="122"/>
                  </a:lnTo>
                  <a:lnTo>
                    <a:pt x="82" y="120"/>
                  </a:lnTo>
                  <a:lnTo>
                    <a:pt x="90" y="120"/>
                  </a:lnTo>
                  <a:lnTo>
                    <a:pt x="94" y="118"/>
                  </a:lnTo>
                  <a:lnTo>
                    <a:pt x="98" y="118"/>
                  </a:lnTo>
                  <a:lnTo>
                    <a:pt x="102" y="116"/>
                  </a:lnTo>
                  <a:lnTo>
                    <a:pt x="106" y="116"/>
                  </a:lnTo>
                  <a:lnTo>
                    <a:pt x="108" y="116"/>
                  </a:lnTo>
                  <a:lnTo>
                    <a:pt x="112" y="114"/>
                  </a:lnTo>
                  <a:lnTo>
                    <a:pt x="114" y="112"/>
                  </a:lnTo>
                  <a:lnTo>
                    <a:pt x="116" y="112"/>
                  </a:lnTo>
                  <a:lnTo>
                    <a:pt x="116" y="112"/>
                  </a:lnTo>
                  <a:lnTo>
                    <a:pt x="118" y="110"/>
                  </a:lnTo>
                  <a:lnTo>
                    <a:pt x="120" y="108"/>
                  </a:lnTo>
                  <a:lnTo>
                    <a:pt x="122" y="106"/>
                  </a:lnTo>
                  <a:lnTo>
                    <a:pt x="122" y="102"/>
                  </a:lnTo>
                  <a:lnTo>
                    <a:pt x="126" y="98"/>
                  </a:lnTo>
                  <a:lnTo>
                    <a:pt x="126" y="96"/>
                  </a:lnTo>
                  <a:lnTo>
                    <a:pt x="128" y="92"/>
                  </a:lnTo>
                  <a:lnTo>
                    <a:pt x="128" y="86"/>
                  </a:lnTo>
                  <a:lnTo>
                    <a:pt x="130" y="84"/>
                  </a:lnTo>
                  <a:lnTo>
                    <a:pt x="130" y="80"/>
                  </a:lnTo>
                  <a:lnTo>
                    <a:pt x="132" y="76"/>
                  </a:lnTo>
                  <a:lnTo>
                    <a:pt x="134" y="74"/>
                  </a:lnTo>
                  <a:lnTo>
                    <a:pt x="134" y="74"/>
                  </a:lnTo>
                  <a:lnTo>
                    <a:pt x="134" y="74"/>
                  </a:lnTo>
                  <a:lnTo>
                    <a:pt x="136" y="72"/>
                  </a:lnTo>
                  <a:lnTo>
                    <a:pt x="138" y="70"/>
                  </a:lnTo>
                  <a:lnTo>
                    <a:pt x="138" y="70"/>
                  </a:lnTo>
                  <a:lnTo>
                    <a:pt x="140" y="68"/>
                  </a:lnTo>
                  <a:lnTo>
                    <a:pt x="140" y="66"/>
                  </a:lnTo>
                  <a:lnTo>
                    <a:pt x="140" y="64"/>
                  </a:lnTo>
                  <a:lnTo>
                    <a:pt x="142" y="60"/>
                  </a:lnTo>
                  <a:lnTo>
                    <a:pt x="142" y="56"/>
                  </a:lnTo>
                  <a:lnTo>
                    <a:pt x="142" y="54"/>
                  </a:lnTo>
                  <a:lnTo>
                    <a:pt x="142" y="50"/>
                  </a:lnTo>
                  <a:lnTo>
                    <a:pt x="142" y="46"/>
                  </a:lnTo>
                  <a:lnTo>
                    <a:pt x="142" y="42"/>
                  </a:lnTo>
                  <a:lnTo>
                    <a:pt x="142" y="38"/>
                  </a:lnTo>
                  <a:lnTo>
                    <a:pt x="142" y="34"/>
                  </a:lnTo>
                  <a:lnTo>
                    <a:pt x="142" y="30"/>
                  </a:lnTo>
                  <a:lnTo>
                    <a:pt x="140" y="28"/>
                  </a:lnTo>
                  <a:lnTo>
                    <a:pt x="140" y="24"/>
                  </a:lnTo>
                  <a:lnTo>
                    <a:pt x="138" y="22"/>
                  </a:lnTo>
                  <a:lnTo>
                    <a:pt x="138" y="18"/>
                  </a:lnTo>
                  <a:lnTo>
                    <a:pt x="136" y="16"/>
                  </a:lnTo>
                  <a:lnTo>
                    <a:pt x="136" y="16"/>
                  </a:lnTo>
                  <a:lnTo>
                    <a:pt x="134" y="14"/>
                  </a:lnTo>
                  <a:lnTo>
                    <a:pt x="132" y="14"/>
                  </a:lnTo>
                  <a:lnTo>
                    <a:pt x="130" y="12"/>
                  </a:lnTo>
                  <a:lnTo>
                    <a:pt x="128" y="10"/>
                  </a:lnTo>
                  <a:lnTo>
                    <a:pt x="124" y="10"/>
                  </a:lnTo>
                  <a:lnTo>
                    <a:pt x="120" y="8"/>
                  </a:lnTo>
                  <a:lnTo>
                    <a:pt x="114" y="6"/>
                  </a:lnTo>
                  <a:lnTo>
                    <a:pt x="108" y="4"/>
                  </a:lnTo>
                  <a:lnTo>
                    <a:pt x="102" y="2"/>
                  </a:lnTo>
                  <a:lnTo>
                    <a:pt x="96" y="0"/>
                  </a:lnTo>
                  <a:lnTo>
                    <a:pt x="94" y="2"/>
                  </a:lnTo>
                  <a:lnTo>
                    <a:pt x="92" y="4"/>
                  </a:lnTo>
                  <a:lnTo>
                    <a:pt x="90" y="6"/>
                  </a:lnTo>
                  <a:lnTo>
                    <a:pt x="88" y="6"/>
                  </a:lnTo>
                  <a:lnTo>
                    <a:pt x="86" y="8"/>
                  </a:lnTo>
                  <a:lnTo>
                    <a:pt x="86" y="8"/>
                  </a:lnTo>
                  <a:lnTo>
                    <a:pt x="86" y="8"/>
                  </a:lnTo>
                  <a:lnTo>
                    <a:pt x="84" y="8"/>
                  </a:lnTo>
                  <a:lnTo>
                    <a:pt x="84" y="8"/>
                  </a:lnTo>
                  <a:lnTo>
                    <a:pt x="82" y="8"/>
                  </a:lnTo>
                  <a:lnTo>
                    <a:pt x="80" y="6"/>
                  </a:lnTo>
                  <a:lnTo>
                    <a:pt x="78" y="4"/>
                  </a:lnTo>
                  <a:lnTo>
                    <a:pt x="76" y="4"/>
                  </a:lnTo>
                  <a:lnTo>
                    <a:pt x="74" y="2"/>
                  </a:lnTo>
                  <a:lnTo>
                    <a:pt x="72" y="2"/>
                  </a:lnTo>
                  <a:lnTo>
                    <a:pt x="72" y="2"/>
                  </a:lnTo>
                  <a:lnTo>
                    <a:pt x="72" y="2"/>
                  </a:lnTo>
                  <a:lnTo>
                    <a:pt x="70" y="2"/>
                  </a:lnTo>
                  <a:lnTo>
                    <a:pt x="70" y="4"/>
                  </a:lnTo>
                  <a:lnTo>
                    <a:pt x="70" y="4"/>
                  </a:lnTo>
                  <a:lnTo>
                    <a:pt x="68" y="6"/>
                  </a:lnTo>
                  <a:lnTo>
                    <a:pt x="68" y="6"/>
                  </a:lnTo>
                  <a:lnTo>
                    <a:pt x="68" y="8"/>
                  </a:lnTo>
                  <a:lnTo>
                    <a:pt x="66" y="10"/>
                  </a:lnTo>
                  <a:lnTo>
                    <a:pt x="66" y="14"/>
                  </a:lnTo>
                  <a:lnTo>
                    <a:pt x="66" y="16"/>
                  </a:lnTo>
                  <a:lnTo>
                    <a:pt x="64" y="20"/>
                  </a:lnTo>
                  <a:lnTo>
                    <a:pt x="64" y="22"/>
                  </a:lnTo>
                  <a:lnTo>
                    <a:pt x="64" y="20"/>
                  </a:lnTo>
                  <a:lnTo>
                    <a:pt x="62" y="20"/>
                  </a:lnTo>
                  <a:lnTo>
                    <a:pt x="62" y="20"/>
                  </a:lnTo>
                  <a:lnTo>
                    <a:pt x="60" y="20"/>
                  </a:lnTo>
                  <a:lnTo>
                    <a:pt x="60" y="20"/>
                  </a:lnTo>
                  <a:lnTo>
                    <a:pt x="58" y="20"/>
                  </a:lnTo>
                  <a:lnTo>
                    <a:pt x="58" y="22"/>
                  </a:lnTo>
                  <a:lnTo>
                    <a:pt x="58" y="22"/>
                  </a:lnTo>
                  <a:lnTo>
                    <a:pt x="56" y="24"/>
                  </a:lnTo>
                  <a:lnTo>
                    <a:pt x="56" y="26"/>
                  </a:lnTo>
                  <a:lnTo>
                    <a:pt x="54" y="28"/>
                  </a:lnTo>
                  <a:lnTo>
                    <a:pt x="52" y="30"/>
                  </a:lnTo>
                  <a:lnTo>
                    <a:pt x="52" y="34"/>
                  </a:lnTo>
                  <a:lnTo>
                    <a:pt x="52" y="36"/>
                  </a:lnTo>
                  <a:lnTo>
                    <a:pt x="52" y="38"/>
                  </a:lnTo>
                  <a:lnTo>
                    <a:pt x="52" y="40"/>
                  </a:lnTo>
                  <a:lnTo>
                    <a:pt x="52" y="40"/>
                  </a:lnTo>
                  <a:lnTo>
                    <a:pt x="52" y="40"/>
                  </a:lnTo>
                  <a:lnTo>
                    <a:pt x="52" y="42"/>
                  </a:lnTo>
                  <a:lnTo>
                    <a:pt x="54" y="42"/>
                  </a:lnTo>
                  <a:lnTo>
                    <a:pt x="56" y="44"/>
                  </a:lnTo>
                  <a:lnTo>
                    <a:pt x="56" y="46"/>
                  </a:lnTo>
                  <a:lnTo>
                    <a:pt x="58" y="48"/>
                  </a:lnTo>
                  <a:lnTo>
                    <a:pt x="58" y="48"/>
                  </a:lnTo>
                  <a:lnTo>
                    <a:pt x="58" y="48"/>
                  </a:lnTo>
                  <a:lnTo>
                    <a:pt x="58" y="50"/>
                  </a:lnTo>
                  <a:lnTo>
                    <a:pt x="58" y="50"/>
                  </a:lnTo>
                  <a:lnTo>
                    <a:pt x="58" y="50"/>
                  </a:lnTo>
                  <a:lnTo>
                    <a:pt x="58" y="52"/>
                  </a:lnTo>
                  <a:lnTo>
                    <a:pt x="56" y="52"/>
                  </a:lnTo>
                  <a:lnTo>
                    <a:pt x="56" y="52"/>
                  </a:lnTo>
                  <a:lnTo>
                    <a:pt x="54" y="52"/>
                  </a:lnTo>
                  <a:lnTo>
                    <a:pt x="52" y="54"/>
                  </a:lnTo>
                  <a:lnTo>
                    <a:pt x="50" y="54"/>
                  </a:lnTo>
                  <a:lnTo>
                    <a:pt x="46" y="54"/>
                  </a:lnTo>
                  <a:lnTo>
                    <a:pt x="44" y="56"/>
                  </a:lnTo>
                  <a:lnTo>
                    <a:pt x="42" y="56"/>
                  </a:lnTo>
                  <a:lnTo>
                    <a:pt x="40" y="56"/>
                  </a:lnTo>
                  <a:lnTo>
                    <a:pt x="40" y="56"/>
                  </a:lnTo>
                  <a:lnTo>
                    <a:pt x="38" y="58"/>
                  </a:lnTo>
                  <a:lnTo>
                    <a:pt x="38" y="58"/>
                  </a:lnTo>
                  <a:lnTo>
                    <a:pt x="38" y="58"/>
                  </a:lnTo>
                  <a:lnTo>
                    <a:pt x="38" y="60"/>
                  </a:lnTo>
                  <a:lnTo>
                    <a:pt x="38" y="62"/>
                  </a:lnTo>
                  <a:lnTo>
                    <a:pt x="38" y="64"/>
                  </a:lnTo>
                  <a:lnTo>
                    <a:pt x="38" y="66"/>
                  </a:lnTo>
                  <a:lnTo>
                    <a:pt x="36" y="66"/>
                  </a:lnTo>
                  <a:lnTo>
                    <a:pt x="36" y="68"/>
                  </a:lnTo>
                  <a:lnTo>
                    <a:pt x="36" y="68"/>
                  </a:lnTo>
                  <a:lnTo>
                    <a:pt x="36" y="68"/>
                  </a:lnTo>
                  <a:lnTo>
                    <a:pt x="36" y="68"/>
                  </a:lnTo>
                  <a:lnTo>
                    <a:pt x="34" y="70"/>
                  </a:lnTo>
                  <a:lnTo>
                    <a:pt x="34" y="70"/>
                  </a:lnTo>
                  <a:lnTo>
                    <a:pt x="32" y="70"/>
                  </a:lnTo>
                  <a:lnTo>
                    <a:pt x="32" y="70"/>
                  </a:lnTo>
                  <a:lnTo>
                    <a:pt x="28" y="70"/>
                  </a:lnTo>
                  <a:lnTo>
                    <a:pt x="26" y="68"/>
                  </a:lnTo>
                  <a:lnTo>
                    <a:pt x="22" y="68"/>
                  </a:lnTo>
                  <a:lnTo>
                    <a:pt x="20" y="66"/>
                  </a:lnTo>
                  <a:lnTo>
                    <a:pt x="18" y="66"/>
                  </a:lnTo>
                  <a:lnTo>
                    <a:pt x="18" y="66"/>
                  </a:lnTo>
                  <a:lnTo>
                    <a:pt x="14" y="68"/>
                  </a:lnTo>
                  <a:lnTo>
                    <a:pt x="10" y="68"/>
                  </a:lnTo>
                  <a:lnTo>
                    <a:pt x="8" y="68"/>
                  </a:lnTo>
                  <a:lnTo>
                    <a:pt x="6" y="70"/>
                  </a:lnTo>
                  <a:lnTo>
                    <a:pt x="4" y="70"/>
                  </a:lnTo>
                  <a:lnTo>
                    <a:pt x="4" y="70"/>
                  </a:lnTo>
                  <a:lnTo>
                    <a:pt x="2" y="72"/>
                  </a:lnTo>
                  <a:lnTo>
                    <a:pt x="2" y="72"/>
                  </a:lnTo>
                  <a:lnTo>
                    <a:pt x="2" y="72"/>
                  </a:lnTo>
                  <a:lnTo>
                    <a:pt x="2" y="74"/>
                  </a:lnTo>
                  <a:lnTo>
                    <a:pt x="0" y="74"/>
                  </a:lnTo>
                  <a:lnTo>
                    <a:pt x="0" y="76"/>
                  </a:lnTo>
                  <a:lnTo>
                    <a:pt x="2" y="78"/>
                  </a:lnTo>
                  <a:lnTo>
                    <a:pt x="2" y="80"/>
                  </a:lnTo>
                  <a:lnTo>
                    <a:pt x="2" y="84"/>
                  </a:lnTo>
                  <a:lnTo>
                    <a:pt x="4" y="86"/>
                  </a:lnTo>
                  <a:lnTo>
                    <a:pt x="2" y="88"/>
                  </a:lnTo>
                  <a:lnTo>
                    <a:pt x="2" y="92"/>
                  </a:lnTo>
                  <a:lnTo>
                    <a:pt x="2" y="94"/>
                  </a:lnTo>
                  <a:lnTo>
                    <a:pt x="2" y="98"/>
                  </a:lnTo>
                  <a:lnTo>
                    <a:pt x="2" y="100"/>
                  </a:lnTo>
                  <a:lnTo>
                    <a:pt x="2" y="102"/>
                  </a:lnTo>
                  <a:lnTo>
                    <a:pt x="2" y="104"/>
                  </a:lnTo>
                  <a:lnTo>
                    <a:pt x="2" y="104"/>
                  </a:lnTo>
                  <a:lnTo>
                    <a:pt x="2" y="106"/>
                  </a:lnTo>
                  <a:lnTo>
                    <a:pt x="4" y="106"/>
                  </a:lnTo>
                  <a:lnTo>
                    <a:pt x="4" y="106"/>
                  </a:lnTo>
                  <a:lnTo>
                    <a:pt x="4" y="106"/>
                  </a:lnTo>
                  <a:lnTo>
                    <a:pt x="6" y="106"/>
                  </a:lnTo>
                  <a:lnTo>
                    <a:pt x="6" y="106"/>
                  </a:lnTo>
                  <a:lnTo>
                    <a:pt x="8" y="106"/>
                  </a:lnTo>
                  <a:lnTo>
                    <a:pt x="10" y="106"/>
                  </a:lnTo>
                  <a:lnTo>
                    <a:pt x="10" y="106"/>
                  </a:lnTo>
                  <a:lnTo>
                    <a:pt x="12" y="106"/>
                  </a:lnTo>
                  <a:lnTo>
                    <a:pt x="12" y="106"/>
                  </a:lnTo>
                  <a:lnTo>
                    <a:pt x="12" y="106"/>
                  </a:lnTo>
                  <a:lnTo>
                    <a:pt x="12" y="108"/>
                  </a:lnTo>
                  <a:lnTo>
                    <a:pt x="14" y="108"/>
                  </a:lnTo>
                  <a:lnTo>
                    <a:pt x="14" y="110"/>
                  </a:lnTo>
                  <a:lnTo>
                    <a:pt x="14" y="110"/>
                  </a:lnTo>
                  <a:lnTo>
                    <a:pt x="14" y="112"/>
                  </a:lnTo>
                  <a:lnTo>
                    <a:pt x="14" y="116"/>
                  </a:lnTo>
                  <a:lnTo>
                    <a:pt x="14" y="118"/>
                  </a:lnTo>
                  <a:lnTo>
                    <a:pt x="14" y="120"/>
                  </a:lnTo>
                  <a:lnTo>
                    <a:pt x="12" y="12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5" name="Freeform 313">
              <a:extLst>
                <a:ext uri="{FF2B5EF4-FFF2-40B4-BE49-F238E27FC236}">
                  <a16:creationId xmlns:a16="http://schemas.microsoft.com/office/drawing/2014/main" id="{3B726CFB-23F7-4173-AEEE-F4FFA62083AE}"/>
                </a:ext>
              </a:extLst>
            </p:cNvPr>
            <p:cNvSpPr>
              <a:spLocks/>
            </p:cNvSpPr>
            <p:nvPr/>
          </p:nvSpPr>
          <p:spPr bwMode="auto">
            <a:xfrm>
              <a:off x="4400849" y="3094272"/>
              <a:ext cx="34642" cy="31177"/>
            </a:xfrm>
            <a:custGeom>
              <a:avLst/>
              <a:gdLst>
                <a:gd name="T0" fmla="*/ 20 w 20"/>
                <a:gd name="T1" fmla="*/ 18 h 18"/>
                <a:gd name="T2" fmla="*/ 0 w 20"/>
                <a:gd name="T3" fmla="*/ 18 h 18"/>
                <a:gd name="T4" fmla="*/ 0 w 20"/>
                <a:gd name="T5" fmla="*/ 16 h 18"/>
                <a:gd name="T6" fmla="*/ 0 w 20"/>
                <a:gd name="T7" fmla="*/ 12 h 18"/>
                <a:gd name="T8" fmla="*/ 2 w 20"/>
                <a:gd name="T9" fmla="*/ 12 h 18"/>
                <a:gd name="T10" fmla="*/ 2 w 20"/>
                <a:gd name="T11" fmla="*/ 10 h 18"/>
                <a:gd name="T12" fmla="*/ 2 w 20"/>
                <a:gd name="T13" fmla="*/ 10 h 18"/>
                <a:gd name="T14" fmla="*/ 4 w 20"/>
                <a:gd name="T15" fmla="*/ 8 h 18"/>
                <a:gd name="T16" fmla="*/ 6 w 20"/>
                <a:gd name="T17" fmla="*/ 4 h 18"/>
                <a:gd name="T18" fmla="*/ 10 w 20"/>
                <a:gd name="T19" fmla="*/ 0 h 18"/>
                <a:gd name="T20" fmla="*/ 10 w 20"/>
                <a:gd name="T21" fmla="*/ 2 h 18"/>
                <a:gd name="T22" fmla="*/ 10 w 20"/>
                <a:gd name="T23" fmla="*/ 4 h 18"/>
                <a:gd name="T24" fmla="*/ 10 w 20"/>
                <a:gd name="T25" fmla="*/ 6 h 18"/>
                <a:gd name="T26" fmla="*/ 8 w 20"/>
                <a:gd name="T27" fmla="*/ 8 h 18"/>
                <a:gd name="T28" fmla="*/ 8 w 20"/>
                <a:gd name="T29" fmla="*/ 10 h 18"/>
                <a:gd name="T30" fmla="*/ 8 w 20"/>
                <a:gd name="T31" fmla="*/ 10 h 18"/>
                <a:gd name="T32" fmla="*/ 10 w 20"/>
                <a:gd name="T33" fmla="*/ 10 h 18"/>
                <a:gd name="T34" fmla="*/ 10 w 20"/>
                <a:gd name="T35" fmla="*/ 12 h 18"/>
                <a:gd name="T36" fmla="*/ 10 w 20"/>
                <a:gd name="T37" fmla="*/ 12 h 18"/>
                <a:gd name="T38" fmla="*/ 12 w 20"/>
                <a:gd name="T39" fmla="*/ 12 h 18"/>
                <a:gd name="T40" fmla="*/ 12 w 20"/>
                <a:gd name="T41" fmla="*/ 14 h 18"/>
                <a:gd name="T42" fmla="*/ 14 w 20"/>
                <a:gd name="T43" fmla="*/ 14 h 18"/>
                <a:gd name="T44" fmla="*/ 18 w 20"/>
                <a:gd name="T45" fmla="*/ 16 h 18"/>
                <a:gd name="T46" fmla="*/ 20 w 20"/>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18">
                  <a:moveTo>
                    <a:pt x="20" y="18"/>
                  </a:moveTo>
                  <a:lnTo>
                    <a:pt x="0" y="18"/>
                  </a:lnTo>
                  <a:lnTo>
                    <a:pt x="0" y="16"/>
                  </a:lnTo>
                  <a:lnTo>
                    <a:pt x="0" y="12"/>
                  </a:lnTo>
                  <a:lnTo>
                    <a:pt x="2" y="12"/>
                  </a:lnTo>
                  <a:lnTo>
                    <a:pt x="2" y="10"/>
                  </a:lnTo>
                  <a:lnTo>
                    <a:pt x="2" y="10"/>
                  </a:lnTo>
                  <a:lnTo>
                    <a:pt x="4" y="8"/>
                  </a:lnTo>
                  <a:lnTo>
                    <a:pt x="6" y="4"/>
                  </a:lnTo>
                  <a:lnTo>
                    <a:pt x="10" y="0"/>
                  </a:lnTo>
                  <a:lnTo>
                    <a:pt x="10" y="2"/>
                  </a:lnTo>
                  <a:lnTo>
                    <a:pt x="10" y="4"/>
                  </a:lnTo>
                  <a:lnTo>
                    <a:pt x="10" y="6"/>
                  </a:lnTo>
                  <a:lnTo>
                    <a:pt x="8" y="8"/>
                  </a:lnTo>
                  <a:lnTo>
                    <a:pt x="8" y="10"/>
                  </a:lnTo>
                  <a:lnTo>
                    <a:pt x="8" y="10"/>
                  </a:lnTo>
                  <a:lnTo>
                    <a:pt x="10" y="10"/>
                  </a:lnTo>
                  <a:lnTo>
                    <a:pt x="10" y="12"/>
                  </a:lnTo>
                  <a:lnTo>
                    <a:pt x="10" y="12"/>
                  </a:lnTo>
                  <a:lnTo>
                    <a:pt x="12" y="12"/>
                  </a:lnTo>
                  <a:lnTo>
                    <a:pt x="12" y="14"/>
                  </a:lnTo>
                  <a:lnTo>
                    <a:pt x="14" y="14"/>
                  </a:lnTo>
                  <a:lnTo>
                    <a:pt x="18" y="16"/>
                  </a:lnTo>
                  <a:lnTo>
                    <a:pt x="20" y="1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6" name="Freeform 314">
              <a:extLst>
                <a:ext uri="{FF2B5EF4-FFF2-40B4-BE49-F238E27FC236}">
                  <a16:creationId xmlns:a16="http://schemas.microsoft.com/office/drawing/2014/main" id="{AD173B15-3275-455E-ABD9-7364A33F95A5}"/>
                </a:ext>
              </a:extLst>
            </p:cNvPr>
            <p:cNvSpPr>
              <a:spLocks/>
            </p:cNvSpPr>
            <p:nvPr/>
          </p:nvSpPr>
          <p:spPr bwMode="auto">
            <a:xfrm>
              <a:off x="4400849" y="3094272"/>
              <a:ext cx="34642" cy="31177"/>
            </a:xfrm>
            <a:custGeom>
              <a:avLst/>
              <a:gdLst>
                <a:gd name="T0" fmla="*/ 20 w 20"/>
                <a:gd name="T1" fmla="*/ 18 h 18"/>
                <a:gd name="T2" fmla="*/ 0 w 20"/>
                <a:gd name="T3" fmla="*/ 18 h 18"/>
                <a:gd name="T4" fmla="*/ 0 w 20"/>
                <a:gd name="T5" fmla="*/ 16 h 18"/>
                <a:gd name="T6" fmla="*/ 0 w 20"/>
                <a:gd name="T7" fmla="*/ 12 h 18"/>
                <a:gd name="T8" fmla="*/ 2 w 20"/>
                <a:gd name="T9" fmla="*/ 12 h 18"/>
                <a:gd name="T10" fmla="*/ 2 w 20"/>
                <a:gd name="T11" fmla="*/ 10 h 18"/>
                <a:gd name="T12" fmla="*/ 2 w 20"/>
                <a:gd name="T13" fmla="*/ 10 h 18"/>
                <a:gd name="T14" fmla="*/ 4 w 20"/>
                <a:gd name="T15" fmla="*/ 8 h 18"/>
                <a:gd name="T16" fmla="*/ 6 w 20"/>
                <a:gd name="T17" fmla="*/ 4 h 18"/>
                <a:gd name="T18" fmla="*/ 10 w 20"/>
                <a:gd name="T19" fmla="*/ 0 h 18"/>
                <a:gd name="T20" fmla="*/ 10 w 20"/>
                <a:gd name="T21" fmla="*/ 2 h 18"/>
                <a:gd name="T22" fmla="*/ 10 w 20"/>
                <a:gd name="T23" fmla="*/ 4 h 18"/>
                <a:gd name="T24" fmla="*/ 10 w 20"/>
                <a:gd name="T25" fmla="*/ 6 h 18"/>
                <a:gd name="T26" fmla="*/ 8 w 20"/>
                <a:gd name="T27" fmla="*/ 8 h 18"/>
                <a:gd name="T28" fmla="*/ 8 w 20"/>
                <a:gd name="T29" fmla="*/ 10 h 18"/>
                <a:gd name="T30" fmla="*/ 8 w 20"/>
                <a:gd name="T31" fmla="*/ 10 h 18"/>
                <a:gd name="T32" fmla="*/ 10 w 20"/>
                <a:gd name="T33" fmla="*/ 10 h 18"/>
                <a:gd name="T34" fmla="*/ 10 w 20"/>
                <a:gd name="T35" fmla="*/ 12 h 18"/>
                <a:gd name="T36" fmla="*/ 10 w 20"/>
                <a:gd name="T37" fmla="*/ 12 h 18"/>
                <a:gd name="T38" fmla="*/ 12 w 20"/>
                <a:gd name="T39" fmla="*/ 12 h 18"/>
                <a:gd name="T40" fmla="*/ 12 w 20"/>
                <a:gd name="T41" fmla="*/ 14 h 18"/>
                <a:gd name="T42" fmla="*/ 14 w 20"/>
                <a:gd name="T43" fmla="*/ 14 h 18"/>
                <a:gd name="T44" fmla="*/ 18 w 20"/>
                <a:gd name="T45" fmla="*/ 16 h 18"/>
                <a:gd name="T46" fmla="*/ 20 w 20"/>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18">
                  <a:moveTo>
                    <a:pt x="20" y="18"/>
                  </a:moveTo>
                  <a:lnTo>
                    <a:pt x="0" y="18"/>
                  </a:lnTo>
                  <a:lnTo>
                    <a:pt x="0" y="16"/>
                  </a:lnTo>
                  <a:lnTo>
                    <a:pt x="0" y="12"/>
                  </a:lnTo>
                  <a:lnTo>
                    <a:pt x="2" y="12"/>
                  </a:lnTo>
                  <a:lnTo>
                    <a:pt x="2" y="10"/>
                  </a:lnTo>
                  <a:lnTo>
                    <a:pt x="2" y="10"/>
                  </a:lnTo>
                  <a:lnTo>
                    <a:pt x="4" y="8"/>
                  </a:lnTo>
                  <a:lnTo>
                    <a:pt x="6" y="4"/>
                  </a:lnTo>
                  <a:lnTo>
                    <a:pt x="10" y="0"/>
                  </a:lnTo>
                  <a:lnTo>
                    <a:pt x="10" y="2"/>
                  </a:lnTo>
                  <a:lnTo>
                    <a:pt x="10" y="4"/>
                  </a:lnTo>
                  <a:lnTo>
                    <a:pt x="10" y="6"/>
                  </a:lnTo>
                  <a:lnTo>
                    <a:pt x="8" y="8"/>
                  </a:lnTo>
                  <a:lnTo>
                    <a:pt x="8" y="10"/>
                  </a:lnTo>
                  <a:lnTo>
                    <a:pt x="8" y="10"/>
                  </a:lnTo>
                  <a:lnTo>
                    <a:pt x="10" y="10"/>
                  </a:lnTo>
                  <a:lnTo>
                    <a:pt x="10" y="12"/>
                  </a:lnTo>
                  <a:lnTo>
                    <a:pt x="10" y="12"/>
                  </a:lnTo>
                  <a:lnTo>
                    <a:pt x="12" y="12"/>
                  </a:lnTo>
                  <a:lnTo>
                    <a:pt x="12" y="14"/>
                  </a:lnTo>
                  <a:lnTo>
                    <a:pt x="14" y="14"/>
                  </a:lnTo>
                  <a:lnTo>
                    <a:pt x="18" y="16"/>
                  </a:lnTo>
                  <a:lnTo>
                    <a:pt x="20" y="1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7" name="Freeform 315">
              <a:extLst>
                <a:ext uri="{FF2B5EF4-FFF2-40B4-BE49-F238E27FC236}">
                  <a16:creationId xmlns:a16="http://schemas.microsoft.com/office/drawing/2014/main" id="{C4D10E1E-A785-4AD1-9AB5-FEF446009C5D}"/>
                </a:ext>
              </a:extLst>
            </p:cNvPr>
            <p:cNvSpPr>
              <a:spLocks/>
            </p:cNvSpPr>
            <p:nvPr/>
          </p:nvSpPr>
          <p:spPr bwMode="auto">
            <a:xfrm>
              <a:off x="4542880" y="3070023"/>
              <a:ext cx="180136" cy="100460"/>
            </a:xfrm>
            <a:custGeom>
              <a:avLst/>
              <a:gdLst>
                <a:gd name="T0" fmla="*/ 0 w 104"/>
                <a:gd name="T1" fmla="*/ 16 h 58"/>
                <a:gd name="T2" fmla="*/ 0 w 104"/>
                <a:gd name="T3" fmla="*/ 14 h 58"/>
                <a:gd name="T4" fmla="*/ 2 w 104"/>
                <a:gd name="T5" fmla="*/ 12 h 58"/>
                <a:gd name="T6" fmla="*/ 4 w 104"/>
                <a:gd name="T7" fmla="*/ 10 h 58"/>
                <a:gd name="T8" fmla="*/ 10 w 104"/>
                <a:gd name="T9" fmla="*/ 8 h 58"/>
                <a:gd name="T10" fmla="*/ 16 w 104"/>
                <a:gd name="T11" fmla="*/ 4 h 58"/>
                <a:gd name="T12" fmla="*/ 24 w 104"/>
                <a:gd name="T13" fmla="*/ 4 h 58"/>
                <a:gd name="T14" fmla="*/ 34 w 104"/>
                <a:gd name="T15" fmla="*/ 0 h 58"/>
                <a:gd name="T16" fmla="*/ 44 w 104"/>
                <a:gd name="T17" fmla="*/ 4 h 58"/>
                <a:gd name="T18" fmla="*/ 52 w 104"/>
                <a:gd name="T19" fmla="*/ 8 h 58"/>
                <a:gd name="T20" fmla="*/ 56 w 104"/>
                <a:gd name="T21" fmla="*/ 10 h 58"/>
                <a:gd name="T22" fmla="*/ 70 w 104"/>
                <a:gd name="T23" fmla="*/ 14 h 58"/>
                <a:gd name="T24" fmla="*/ 84 w 104"/>
                <a:gd name="T25" fmla="*/ 20 h 58"/>
                <a:gd name="T26" fmla="*/ 92 w 104"/>
                <a:gd name="T27" fmla="*/ 22 h 58"/>
                <a:gd name="T28" fmla="*/ 104 w 104"/>
                <a:gd name="T29" fmla="*/ 30 h 58"/>
                <a:gd name="T30" fmla="*/ 92 w 104"/>
                <a:gd name="T31" fmla="*/ 36 h 58"/>
                <a:gd name="T32" fmla="*/ 82 w 104"/>
                <a:gd name="T33" fmla="*/ 42 h 58"/>
                <a:gd name="T34" fmla="*/ 76 w 104"/>
                <a:gd name="T35" fmla="*/ 48 h 58"/>
                <a:gd name="T36" fmla="*/ 74 w 104"/>
                <a:gd name="T37" fmla="*/ 50 h 58"/>
                <a:gd name="T38" fmla="*/ 66 w 104"/>
                <a:gd name="T39" fmla="*/ 58 h 58"/>
                <a:gd name="T40" fmla="*/ 62 w 104"/>
                <a:gd name="T41" fmla="*/ 56 h 58"/>
                <a:gd name="T42" fmla="*/ 60 w 104"/>
                <a:gd name="T43" fmla="*/ 54 h 58"/>
                <a:gd name="T44" fmla="*/ 58 w 104"/>
                <a:gd name="T45" fmla="*/ 54 h 58"/>
                <a:gd name="T46" fmla="*/ 58 w 104"/>
                <a:gd name="T47" fmla="*/ 52 h 58"/>
                <a:gd name="T48" fmla="*/ 58 w 104"/>
                <a:gd name="T49" fmla="*/ 50 h 58"/>
                <a:gd name="T50" fmla="*/ 58 w 104"/>
                <a:gd name="T51" fmla="*/ 48 h 58"/>
                <a:gd name="T52" fmla="*/ 58 w 104"/>
                <a:gd name="T53" fmla="*/ 46 h 58"/>
                <a:gd name="T54" fmla="*/ 58 w 104"/>
                <a:gd name="T55" fmla="*/ 44 h 58"/>
                <a:gd name="T56" fmla="*/ 58 w 104"/>
                <a:gd name="T57" fmla="*/ 42 h 58"/>
                <a:gd name="T58" fmla="*/ 56 w 104"/>
                <a:gd name="T59" fmla="*/ 42 h 58"/>
                <a:gd name="T60" fmla="*/ 52 w 104"/>
                <a:gd name="T61" fmla="*/ 42 h 58"/>
                <a:gd name="T62" fmla="*/ 50 w 104"/>
                <a:gd name="T63" fmla="*/ 42 h 58"/>
                <a:gd name="T64" fmla="*/ 46 w 104"/>
                <a:gd name="T65" fmla="*/ 42 h 58"/>
                <a:gd name="T66" fmla="*/ 46 w 104"/>
                <a:gd name="T67" fmla="*/ 42 h 58"/>
                <a:gd name="T68" fmla="*/ 44 w 104"/>
                <a:gd name="T69" fmla="*/ 44 h 58"/>
                <a:gd name="T70" fmla="*/ 44 w 104"/>
                <a:gd name="T71" fmla="*/ 48 h 58"/>
                <a:gd name="T72" fmla="*/ 44 w 104"/>
                <a:gd name="T73" fmla="*/ 50 h 58"/>
                <a:gd name="T74" fmla="*/ 42 w 104"/>
                <a:gd name="T75" fmla="*/ 50 h 58"/>
                <a:gd name="T76" fmla="*/ 40 w 104"/>
                <a:gd name="T77" fmla="*/ 52 h 58"/>
                <a:gd name="T78" fmla="*/ 36 w 104"/>
                <a:gd name="T79" fmla="*/ 52 h 58"/>
                <a:gd name="T80" fmla="*/ 34 w 104"/>
                <a:gd name="T81" fmla="*/ 52 h 58"/>
                <a:gd name="T82" fmla="*/ 32 w 104"/>
                <a:gd name="T83" fmla="*/ 52 h 58"/>
                <a:gd name="T84" fmla="*/ 30 w 104"/>
                <a:gd name="T85" fmla="*/ 50 h 58"/>
                <a:gd name="T86" fmla="*/ 26 w 104"/>
                <a:gd name="T87" fmla="*/ 46 h 58"/>
                <a:gd name="T88" fmla="*/ 22 w 104"/>
                <a:gd name="T89" fmla="*/ 42 h 58"/>
                <a:gd name="T90" fmla="*/ 14 w 104"/>
                <a:gd name="T91" fmla="*/ 36 h 58"/>
                <a:gd name="T92" fmla="*/ 8 w 104"/>
                <a:gd name="T93" fmla="*/ 30 h 58"/>
                <a:gd name="T94" fmla="*/ 4 w 104"/>
                <a:gd name="T95" fmla="*/ 26 h 58"/>
                <a:gd name="T96" fmla="*/ 0 w 104"/>
                <a:gd name="T97" fmla="*/ 22 h 58"/>
                <a:gd name="T98" fmla="*/ 0 w 104"/>
                <a:gd name="T99" fmla="*/ 18 h 58"/>
                <a:gd name="T100" fmla="*/ 0 w 104"/>
                <a:gd name="T101" fmla="*/ 1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 h="58">
                  <a:moveTo>
                    <a:pt x="0" y="16"/>
                  </a:moveTo>
                  <a:lnTo>
                    <a:pt x="0" y="16"/>
                  </a:lnTo>
                  <a:lnTo>
                    <a:pt x="0" y="14"/>
                  </a:lnTo>
                  <a:lnTo>
                    <a:pt x="0" y="14"/>
                  </a:lnTo>
                  <a:lnTo>
                    <a:pt x="0" y="12"/>
                  </a:lnTo>
                  <a:lnTo>
                    <a:pt x="2" y="12"/>
                  </a:lnTo>
                  <a:lnTo>
                    <a:pt x="2" y="12"/>
                  </a:lnTo>
                  <a:lnTo>
                    <a:pt x="4" y="10"/>
                  </a:lnTo>
                  <a:lnTo>
                    <a:pt x="6" y="8"/>
                  </a:lnTo>
                  <a:lnTo>
                    <a:pt x="10" y="8"/>
                  </a:lnTo>
                  <a:lnTo>
                    <a:pt x="14" y="6"/>
                  </a:lnTo>
                  <a:lnTo>
                    <a:pt x="16" y="4"/>
                  </a:lnTo>
                  <a:lnTo>
                    <a:pt x="20" y="4"/>
                  </a:lnTo>
                  <a:lnTo>
                    <a:pt x="24" y="4"/>
                  </a:lnTo>
                  <a:lnTo>
                    <a:pt x="28" y="2"/>
                  </a:lnTo>
                  <a:lnTo>
                    <a:pt x="34" y="0"/>
                  </a:lnTo>
                  <a:lnTo>
                    <a:pt x="40" y="0"/>
                  </a:lnTo>
                  <a:lnTo>
                    <a:pt x="44" y="4"/>
                  </a:lnTo>
                  <a:lnTo>
                    <a:pt x="50" y="6"/>
                  </a:lnTo>
                  <a:lnTo>
                    <a:pt x="52" y="8"/>
                  </a:lnTo>
                  <a:lnTo>
                    <a:pt x="54" y="8"/>
                  </a:lnTo>
                  <a:lnTo>
                    <a:pt x="56" y="10"/>
                  </a:lnTo>
                  <a:lnTo>
                    <a:pt x="60" y="12"/>
                  </a:lnTo>
                  <a:lnTo>
                    <a:pt x="70" y="14"/>
                  </a:lnTo>
                  <a:lnTo>
                    <a:pt x="80" y="18"/>
                  </a:lnTo>
                  <a:lnTo>
                    <a:pt x="84" y="20"/>
                  </a:lnTo>
                  <a:lnTo>
                    <a:pt x="88" y="20"/>
                  </a:lnTo>
                  <a:lnTo>
                    <a:pt x="92" y="22"/>
                  </a:lnTo>
                  <a:lnTo>
                    <a:pt x="96" y="26"/>
                  </a:lnTo>
                  <a:lnTo>
                    <a:pt x="104" y="30"/>
                  </a:lnTo>
                  <a:lnTo>
                    <a:pt x="100" y="32"/>
                  </a:lnTo>
                  <a:lnTo>
                    <a:pt x="92" y="36"/>
                  </a:lnTo>
                  <a:lnTo>
                    <a:pt x="88" y="40"/>
                  </a:lnTo>
                  <a:lnTo>
                    <a:pt x="82" y="42"/>
                  </a:lnTo>
                  <a:lnTo>
                    <a:pt x="78" y="46"/>
                  </a:lnTo>
                  <a:lnTo>
                    <a:pt x="76" y="48"/>
                  </a:lnTo>
                  <a:lnTo>
                    <a:pt x="74" y="48"/>
                  </a:lnTo>
                  <a:lnTo>
                    <a:pt x="74" y="50"/>
                  </a:lnTo>
                  <a:lnTo>
                    <a:pt x="70" y="54"/>
                  </a:lnTo>
                  <a:lnTo>
                    <a:pt x="66" y="58"/>
                  </a:lnTo>
                  <a:lnTo>
                    <a:pt x="66" y="58"/>
                  </a:lnTo>
                  <a:lnTo>
                    <a:pt x="62" y="56"/>
                  </a:lnTo>
                  <a:lnTo>
                    <a:pt x="60" y="56"/>
                  </a:lnTo>
                  <a:lnTo>
                    <a:pt x="60" y="54"/>
                  </a:lnTo>
                  <a:lnTo>
                    <a:pt x="58" y="54"/>
                  </a:lnTo>
                  <a:lnTo>
                    <a:pt x="58" y="54"/>
                  </a:lnTo>
                  <a:lnTo>
                    <a:pt x="58" y="52"/>
                  </a:lnTo>
                  <a:lnTo>
                    <a:pt x="58" y="52"/>
                  </a:lnTo>
                  <a:lnTo>
                    <a:pt x="58" y="52"/>
                  </a:lnTo>
                  <a:lnTo>
                    <a:pt x="58" y="50"/>
                  </a:lnTo>
                  <a:lnTo>
                    <a:pt x="58" y="50"/>
                  </a:lnTo>
                  <a:lnTo>
                    <a:pt x="58" y="48"/>
                  </a:lnTo>
                  <a:lnTo>
                    <a:pt x="58" y="46"/>
                  </a:lnTo>
                  <a:lnTo>
                    <a:pt x="58" y="46"/>
                  </a:lnTo>
                  <a:lnTo>
                    <a:pt x="60" y="44"/>
                  </a:lnTo>
                  <a:lnTo>
                    <a:pt x="58" y="44"/>
                  </a:lnTo>
                  <a:lnTo>
                    <a:pt x="58" y="44"/>
                  </a:lnTo>
                  <a:lnTo>
                    <a:pt x="58" y="42"/>
                  </a:lnTo>
                  <a:lnTo>
                    <a:pt x="58" y="42"/>
                  </a:lnTo>
                  <a:lnTo>
                    <a:pt x="56" y="42"/>
                  </a:lnTo>
                  <a:lnTo>
                    <a:pt x="54" y="42"/>
                  </a:lnTo>
                  <a:lnTo>
                    <a:pt x="52" y="42"/>
                  </a:lnTo>
                  <a:lnTo>
                    <a:pt x="50" y="42"/>
                  </a:lnTo>
                  <a:lnTo>
                    <a:pt x="50" y="42"/>
                  </a:lnTo>
                  <a:lnTo>
                    <a:pt x="48" y="42"/>
                  </a:lnTo>
                  <a:lnTo>
                    <a:pt x="46" y="42"/>
                  </a:lnTo>
                  <a:lnTo>
                    <a:pt x="46" y="42"/>
                  </a:lnTo>
                  <a:lnTo>
                    <a:pt x="46" y="42"/>
                  </a:lnTo>
                  <a:lnTo>
                    <a:pt x="46" y="44"/>
                  </a:lnTo>
                  <a:lnTo>
                    <a:pt x="44" y="44"/>
                  </a:lnTo>
                  <a:lnTo>
                    <a:pt x="44" y="46"/>
                  </a:lnTo>
                  <a:lnTo>
                    <a:pt x="44" y="48"/>
                  </a:lnTo>
                  <a:lnTo>
                    <a:pt x="44" y="50"/>
                  </a:lnTo>
                  <a:lnTo>
                    <a:pt x="44" y="50"/>
                  </a:lnTo>
                  <a:lnTo>
                    <a:pt x="44" y="50"/>
                  </a:lnTo>
                  <a:lnTo>
                    <a:pt x="42" y="50"/>
                  </a:lnTo>
                  <a:lnTo>
                    <a:pt x="40" y="52"/>
                  </a:lnTo>
                  <a:lnTo>
                    <a:pt x="40" y="52"/>
                  </a:lnTo>
                  <a:lnTo>
                    <a:pt x="38" y="52"/>
                  </a:lnTo>
                  <a:lnTo>
                    <a:pt x="36" y="52"/>
                  </a:lnTo>
                  <a:lnTo>
                    <a:pt x="36" y="52"/>
                  </a:lnTo>
                  <a:lnTo>
                    <a:pt x="34" y="52"/>
                  </a:lnTo>
                  <a:lnTo>
                    <a:pt x="34" y="52"/>
                  </a:lnTo>
                  <a:lnTo>
                    <a:pt x="32" y="52"/>
                  </a:lnTo>
                  <a:lnTo>
                    <a:pt x="32" y="50"/>
                  </a:lnTo>
                  <a:lnTo>
                    <a:pt x="30" y="50"/>
                  </a:lnTo>
                  <a:lnTo>
                    <a:pt x="28" y="48"/>
                  </a:lnTo>
                  <a:lnTo>
                    <a:pt x="26" y="46"/>
                  </a:lnTo>
                  <a:lnTo>
                    <a:pt x="22" y="42"/>
                  </a:lnTo>
                  <a:lnTo>
                    <a:pt x="22" y="42"/>
                  </a:lnTo>
                  <a:lnTo>
                    <a:pt x="18" y="38"/>
                  </a:lnTo>
                  <a:lnTo>
                    <a:pt x="14" y="36"/>
                  </a:lnTo>
                  <a:lnTo>
                    <a:pt x="10" y="32"/>
                  </a:lnTo>
                  <a:lnTo>
                    <a:pt x="8" y="30"/>
                  </a:lnTo>
                  <a:lnTo>
                    <a:pt x="6" y="28"/>
                  </a:lnTo>
                  <a:lnTo>
                    <a:pt x="4" y="26"/>
                  </a:lnTo>
                  <a:lnTo>
                    <a:pt x="2" y="24"/>
                  </a:lnTo>
                  <a:lnTo>
                    <a:pt x="0" y="22"/>
                  </a:lnTo>
                  <a:lnTo>
                    <a:pt x="0" y="20"/>
                  </a:lnTo>
                  <a:lnTo>
                    <a:pt x="0" y="18"/>
                  </a:lnTo>
                  <a:lnTo>
                    <a:pt x="0" y="18"/>
                  </a:lnTo>
                  <a:lnTo>
                    <a:pt x="0" y="16"/>
                  </a:lnTo>
                  <a:lnTo>
                    <a:pt x="0" y="1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8" name="Freeform 316">
              <a:extLst>
                <a:ext uri="{FF2B5EF4-FFF2-40B4-BE49-F238E27FC236}">
                  <a16:creationId xmlns:a16="http://schemas.microsoft.com/office/drawing/2014/main" id="{949C495E-E638-4C9D-8371-3C3ED6F39104}"/>
                </a:ext>
              </a:extLst>
            </p:cNvPr>
            <p:cNvSpPr>
              <a:spLocks/>
            </p:cNvSpPr>
            <p:nvPr/>
          </p:nvSpPr>
          <p:spPr bwMode="auto">
            <a:xfrm>
              <a:off x="4542880" y="3070023"/>
              <a:ext cx="180136" cy="100460"/>
            </a:xfrm>
            <a:custGeom>
              <a:avLst/>
              <a:gdLst>
                <a:gd name="T0" fmla="*/ 0 w 104"/>
                <a:gd name="T1" fmla="*/ 16 h 58"/>
                <a:gd name="T2" fmla="*/ 0 w 104"/>
                <a:gd name="T3" fmla="*/ 14 h 58"/>
                <a:gd name="T4" fmla="*/ 2 w 104"/>
                <a:gd name="T5" fmla="*/ 12 h 58"/>
                <a:gd name="T6" fmla="*/ 4 w 104"/>
                <a:gd name="T7" fmla="*/ 10 h 58"/>
                <a:gd name="T8" fmla="*/ 10 w 104"/>
                <a:gd name="T9" fmla="*/ 8 h 58"/>
                <a:gd name="T10" fmla="*/ 16 w 104"/>
                <a:gd name="T11" fmla="*/ 4 h 58"/>
                <a:gd name="T12" fmla="*/ 24 w 104"/>
                <a:gd name="T13" fmla="*/ 4 h 58"/>
                <a:gd name="T14" fmla="*/ 34 w 104"/>
                <a:gd name="T15" fmla="*/ 0 h 58"/>
                <a:gd name="T16" fmla="*/ 44 w 104"/>
                <a:gd name="T17" fmla="*/ 4 h 58"/>
                <a:gd name="T18" fmla="*/ 52 w 104"/>
                <a:gd name="T19" fmla="*/ 8 h 58"/>
                <a:gd name="T20" fmla="*/ 56 w 104"/>
                <a:gd name="T21" fmla="*/ 10 h 58"/>
                <a:gd name="T22" fmla="*/ 70 w 104"/>
                <a:gd name="T23" fmla="*/ 14 h 58"/>
                <a:gd name="T24" fmla="*/ 84 w 104"/>
                <a:gd name="T25" fmla="*/ 20 h 58"/>
                <a:gd name="T26" fmla="*/ 92 w 104"/>
                <a:gd name="T27" fmla="*/ 22 h 58"/>
                <a:gd name="T28" fmla="*/ 104 w 104"/>
                <a:gd name="T29" fmla="*/ 30 h 58"/>
                <a:gd name="T30" fmla="*/ 92 w 104"/>
                <a:gd name="T31" fmla="*/ 36 h 58"/>
                <a:gd name="T32" fmla="*/ 82 w 104"/>
                <a:gd name="T33" fmla="*/ 42 h 58"/>
                <a:gd name="T34" fmla="*/ 76 w 104"/>
                <a:gd name="T35" fmla="*/ 48 h 58"/>
                <a:gd name="T36" fmla="*/ 74 w 104"/>
                <a:gd name="T37" fmla="*/ 50 h 58"/>
                <a:gd name="T38" fmla="*/ 66 w 104"/>
                <a:gd name="T39" fmla="*/ 58 h 58"/>
                <a:gd name="T40" fmla="*/ 62 w 104"/>
                <a:gd name="T41" fmla="*/ 56 h 58"/>
                <a:gd name="T42" fmla="*/ 60 w 104"/>
                <a:gd name="T43" fmla="*/ 54 h 58"/>
                <a:gd name="T44" fmla="*/ 58 w 104"/>
                <a:gd name="T45" fmla="*/ 54 h 58"/>
                <a:gd name="T46" fmla="*/ 58 w 104"/>
                <a:gd name="T47" fmla="*/ 52 h 58"/>
                <a:gd name="T48" fmla="*/ 58 w 104"/>
                <a:gd name="T49" fmla="*/ 50 h 58"/>
                <a:gd name="T50" fmla="*/ 58 w 104"/>
                <a:gd name="T51" fmla="*/ 48 h 58"/>
                <a:gd name="T52" fmla="*/ 58 w 104"/>
                <a:gd name="T53" fmla="*/ 46 h 58"/>
                <a:gd name="T54" fmla="*/ 58 w 104"/>
                <a:gd name="T55" fmla="*/ 44 h 58"/>
                <a:gd name="T56" fmla="*/ 58 w 104"/>
                <a:gd name="T57" fmla="*/ 42 h 58"/>
                <a:gd name="T58" fmla="*/ 56 w 104"/>
                <a:gd name="T59" fmla="*/ 42 h 58"/>
                <a:gd name="T60" fmla="*/ 52 w 104"/>
                <a:gd name="T61" fmla="*/ 42 h 58"/>
                <a:gd name="T62" fmla="*/ 50 w 104"/>
                <a:gd name="T63" fmla="*/ 42 h 58"/>
                <a:gd name="T64" fmla="*/ 46 w 104"/>
                <a:gd name="T65" fmla="*/ 42 h 58"/>
                <a:gd name="T66" fmla="*/ 46 w 104"/>
                <a:gd name="T67" fmla="*/ 42 h 58"/>
                <a:gd name="T68" fmla="*/ 44 w 104"/>
                <a:gd name="T69" fmla="*/ 44 h 58"/>
                <a:gd name="T70" fmla="*/ 44 w 104"/>
                <a:gd name="T71" fmla="*/ 48 h 58"/>
                <a:gd name="T72" fmla="*/ 44 w 104"/>
                <a:gd name="T73" fmla="*/ 50 h 58"/>
                <a:gd name="T74" fmla="*/ 42 w 104"/>
                <a:gd name="T75" fmla="*/ 50 h 58"/>
                <a:gd name="T76" fmla="*/ 40 w 104"/>
                <a:gd name="T77" fmla="*/ 52 h 58"/>
                <a:gd name="T78" fmla="*/ 36 w 104"/>
                <a:gd name="T79" fmla="*/ 52 h 58"/>
                <a:gd name="T80" fmla="*/ 34 w 104"/>
                <a:gd name="T81" fmla="*/ 52 h 58"/>
                <a:gd name="T82" fmla="*/ 32 w 104"/>
                <a:gd name="T83" fmla="*/ 52 h 58"/>
                <a:gd name="T84" fmla="*/ 30 w 104"/>
                <a:gd name="T85" fmla="*/ 50 h 58"/>
                <a:gd name="T86" fmla="*/ 26 w 104"/>
                <a:gd name="T87" fmla="*/ 46 h 58"/>
                <a:gd name="T88" fmla="*/ 22 w 104"/>
                <a:gd name="T89" fmla="*/ 42 h 58"/>
                <a:gd name="T90" fmla="*/ 14 w 104"/>
                <a:gd name="T91" fmla="*/ 36 h 58"/>
                <a:gd name="T92" fmla="*/ 8 w 104"/>
                <a:gd name="T93" fmla="*/ 30 h 58"/>
                <a:gd name="T94" fmla="*/ 4 w 104"/>
                <a:gd name="T95" fmla="*/ 26 h 58"/>
                <a:gd name="T96" fmla="*/ 0 w 104"/>
                <a:gd name="T97" fmla="*/ 22 h 58"/>
                <a:gd name="T98" fmla="*/ 0 w 104"/>
                <a:gd name="T99" fmla="*/ 18 h 58"/>
                <a:gd name="T100" fmla="*/ 0 w 104"/>
                <a:gd name="T101" fmla="*/ 1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 h="58">
                  <a:moveTo>
                    <a:pt x="0" y="16"/>
                  </a:moveTo>
                  <a:lnTo>
                    <a:pt x="0" y="16"/>
                  </a:lnTo>
                  <a:lnTo>
                    <a:pt x="0" y="14"/>
                  </a:lnTo>
                  <a:lnTo>
                    <a:pt x="0" y="14"/>
                  </a:lnTo>
                  <a:lnTo>
                    <a:pt x="0" y="12"/>
                  </a:lnTo>
                  <a:lnTo>
                    <a:pt x="2" y="12"/>
                  </a:lnTo>
                  <a:lnTo>
                    <a:pt x="2" y="12"/>
                  </a:lnTo>
                  <a:lnTo>
                    <a:pt x="4" y="10"/>
                  </a:lnTo>
                  <a:lnTo>
                    <a:pt x="6" y="8"/>
                  </a:lnTo>
                  <a:lnTo>
                    <a:pt x="10" y="8"/>
                  </a:lnTo>
                  <a:lnTo>
                    <a:pt x="14" y="6"/>
                  </a:lnTo>
                  <a:lnTo>
                    <a:pt x="16" y="4"/>
                  </a:lnTo>
                  <a:lnTo>
                    <a:pt x="20" y="4"/>
                  </a:lnTo>
                  <a:lnTo>
                    <a:pt x="24" y="4"/>
                  </a:lnTo>
                  <a:lnTo>
                    <a:pt x="28" y="2"/>
                  </a:lnTo>
                  <a:lnTo>
                    <a:pt x="34" y="0"/>
                  </a:lnTo>
                  <a:lnTo>
                    <a:pt x="40" y="0"/>
                  </a:lnTo>
                  <a:lnTo>
                    <a:pt x="44" y="4"/>
                  </a:lnTo>
                  <a:lnTo>
                    <a:pt x="50" y="6"/>
                  </a:lnTo>
                  <a:lnTo>
                    <a:pt x="52" y="8"/>
                  </a:lnTo>
                  <a:lnTo>
                    <a:pt x="54" y="8"/>
                  </a:lnTo>
                  <a:lnTo>
                    <a:pt x="56" y="10"/>
                  </a:lnTo>
                  <a:lnTo>
                    <a:pt x="60" y="12"/>
                  </a:lnTo>
                  <a:lnTo>
                    <a:pt x="70" y="14"/>
                  </a:lnTo>
                  <a:lnTo>
                    <a:pt x="80" y="18"/>
                  </a:lnTo>
                  <a:lnTo>
                    <a:pt x="84" y="20"/>
                  </a:lnTo>
                  <a:lnTo>
                    <a:pt x="88" y="20"/>
                  </a:lnTo>
                  <a:lnTo>
                    <a:pt x="92" y="22"/>
                  </a:lnTo>
                  <a:lnTo>
                    <a:pt x="96" y="26"/>
                  </a:lnTo>
                  <a:lnTo>
                    <a:pt x="104" y="30"/>
                  </a:lnTo>
                  <a:lnTo>
                    <a:pt x="100" y="32"/>
                  </a:lnTo>
                  <a:lnTo>
                    <a:pt x="92" y="36"/>
                  </a:lnTo>
                  <a:lnTo>
                    <a:pt x="88" y="40"/>
                  </a:lnTo>
                  <a:lnTo>
                    <a:pt x="82" y="42"/>
                  </a:lnTo>
                  <a:lnTo>
                    <a:pt x="78" y="46"/>
                  </a:lnTo>
                  <a:lnTo>
                    <a:pt x="76" y="48"/>
                  </a:lnTo>
                  <a:lnTo>
                    <a:pt x="74" y="48"/>
                  </a:lnTo>
                  <a:lnTo>
                    <a:pt x="74" y="50"/>
                  </a:lnTo>
                  <a:lnTo>
                    <a:pt x="70" y="54"/>
                  </a:lnTo>
                  <a:lnTo>
                    <a:pt x="66" y="58"/>
                  </a:lnTo>
                  <a:lnTo>
                    <a:pt x="66" y="58"/>
                  </a:lnTo>
                  <a:lnTo>
                    <a:pt x="62" y="56"/>
                  </a:lnTo>
                  <a:lnTo>
                    <a:pt x="60" y="56"/>
                  </a:lnTo>
                  <a:lnTo>
                    <a:pt x="60" y="54"/>
                  </a:lnTo>
                  <a:lnTo>
                    <a:pt x="58" y="54"/>
                  </a:lnTo>
                  <a:lnTo>
                    <a:pt x="58" y="54"/>
                  </a:lnTo>
                  <a:lnTo>
                    <a:pt x="58" y="52"/>
                  </a:lnTo>
                  <a:lnTo>
                    <a:pt x="58" y="52"/>
                  </a:lnTo>
                  <a:lnTo>
                    <a:pt x="58" y="52"/>
                  </a:lnTo>
                  <a:lnTo>
                    <a:pt x="58" y="50"/>
                  </a:lnTo>
                  <a:lnTo>
                    <a:pt x="58" y="50"/>
                  </a:lnTo>
                  <a:lnTo>
                    <a:pt x="58" y="48"/>
                  </a:lnTo>
                  <a:lnTo>
                    <a:pt x="58" y="46"/>
                  </a:lnTo>
                  <a:lnTo>
                    <a:pt x="58" y="46"/>
                  </a:lnTo>
                  <a:lnTo>
                    <a:pt x="60" y="44"/>
                  </a:lnTo>
                  <a:lnTo>
                    <a:pt x="58" y="44"/>
                  </a:lnTo>
                  <a:lnTo>
                    <a:pt x="58" y="44"/>
                  </a:lnTo>
                  <a:lnTo>
                    <a:pt x="58" y="42"/>
                  </a:lnTo>
                  <a:lnTo>
                    <a:pt x="58" y="42"/>
                  </a:lnTo>
                  <a:lnTo>
                    <a:pt x="56" y="42"/>
                  </a:lnTo>
                  <a:lnTo>
                    <a:pt x="54" y="42"/>
                  </a:lnTo>
                  <a:lnTo>
                    <a:pt x="52" y="42"/>
                  </a:lnTo>
                  <a:lnTo>
                    <a:pt x="50" y="42"/>
                  </a:lnTo>
                  <a:lnTo>
                    <a:pt x="50" y="42"/>
                  </a:lnTo>
                  <a:lnTo>
                    <a:pt x="48" y="42"/>
                  </a:lnTo>
                  <a:lnTo>
                    <a:pt x="46" y="42"/>
                  </a:lnTo>
                  <a:lnTo>
                    <a:pt x="46" y="42"/>
                  </a:lnTo>
                  <a:lnTo>
                    <a:pt x="46" y="42"/>
                  </a:lnTo>
                  <a:lnTo>
                    <a:pt x="46" y="44"/>
                  </a:lnTo>
                  <a:lnTo>
                    <a:pt x="44" y="44"/>
                  </a:lnTo>
                  <a:lnTo>
                    <a:pt x="44" y="46"/>
                  </a:lnTo>
                  <a:lnTo>
                    <a:pt x="44" y="48"/>
                  </a:lnTo>
                  <a:lnTo>
                    <a:pt x="44" y="50"/>
                  </a:lnTo>
                  <a:lnTo>
                    <a:pt x="44" y="50"/>
                  </a:lnTo>
                  <a:lnTo>
                    <a:pt x="44" y="50"/>
                  </a:lnTo>
                  <a:lnTo>
                    <a:pt x="42" y="50"/>
                  </a:lnTo>
                  <a:lnTo>
                    <a:pt x="40" y="52"/>
                  </a:lnTo>
                  <a:lnTo>
                    <a:pt x="40" y="52"/>
                  </a:lnTo>
                  <a:lnTo>
                    <a:pt x="38" y="52"/>
                  </a:lnTo>
                  <a:lnTo>
                    <a:pt x="36" y="52"/>
                  </a:lnTo>
                  <a:lnTo>
                    <a:pt x="36" y="52"/>
                  </a:lnTo>
                  <a:lnTo>
                    <a:pt x="34" y="52"/>
                  </a:lnTo>
                  <a:lnTo>
                    <a:pt x="34" y="52"/>
                  </a:lnTo>
                  <a:lnTo>
                    <a:pt x="32" y="52"/>
                  </a:lnTo>
                  <a:lnTo>
                    <a:pt x="32" y="50"/>
                  </a:lnTo>
                  <a:lnTo>
                    <a:pt x="30" y="50"/>
                  </a:lnTo>
                  <a:lnTo>
                    <a:pt x="28" y="48"/>
                  </a:lnTo>
                  <a:lnTo>
                    <a:pt x="26" y="46"/>
                  </a:lnTo>
                  <a:lnTo>
                    <a:pt x="22" y="42"/>
                  </a:lnTo>
                  <a:lnTo>
                    <a:pt x="22" y="42"/>
                  </a:lnTo>
                  <a:lnTo>
                    <a:pt x="18" y="38"/>
                  </a:lnTo>
                  <a:lnTo>
                    <a:pt x="14" y="36"/>
                  </a:lnTo>
                  <a:lnTo>
                    <a:pt x="10" y="32"/>
                  </a:lnTo>
                  <a:lnTo>
                    <a:pt x="8" y="30"/>
                  </a:lnTo>
                  <a:lnTo>
                    <a:pt x="6" y="28"/>
                  </a:lnTo>
                  <a:lnTo>
                    <a:pt x="4" y="26"/>
                  </a:lnTo>
                  <a:lnTo>
                    <a:pt x="2" y="24"/>
                  </a:lnTo>
                  <a:lnTo>
                    <a:pt x="0" y="22"/>
                  </a:lnTo>
                  <a:lnTo>
                    <a:pt x="0" y="20"/>
                  </a:lnTo>
                  <a:lnTo>
                    <a:pt x="0" y="18"/>
                  </a:lnTo>
                  <a:lnTo>
                    <a:pt x="0" y="18"/>
                  </a:lnTo>
                  <a:lnTo>
                    <a:pt x="0" y="16"/>
                  </a:lnTo>
                  <a:lnTo>
                    <a:pt x="0" y="1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9" name="Freeform 317">
              <a:extLst>
                <a:ext uri="{FF2B5EF4-FFF2-40B4-BE49-F238E27FC236}">
                  <a16:creationId xmlns:a16="http://schemas.microsoft.com/office/drawing/2014/main" id="{AAF331D2-88DE-4506-A004-721E8C6BBB8D}"/>
                </a:ext>
              </a:extLst>
            </p:cNvPr>
            <p:cNvSpPr>
              <a:spLocks/>
            </p:cNvSpPr>
            <p:nvPr/>
          </p:nvSpPr>
          <p:spPr bwMode="auto">
            <a:xfrm>
              <a:off x="4657196" y="3115057"/>
              <a:ext cx="148958" cy="72747"/>
            </a:xfrm>
            <a:custGeom>
              <a:avLst/>
              <a:gdLst>
                <a:gd name="T0" fmla="*/ 38 w 86"/>
                <a:gd name="T1" fmla="*/ 4 h 42"/>
                <a:gd name="T2" fmla="*/ 86 w 86"/>
                <a:gd name="T3" fmla="*/ 0 h 42"/>
                <a:gd name="T4" fmla="*/ 80 w 86"/>
                <a:gd name="T5" fmla="*/ 42 h 42"/>
                <a:gd name="T6" fmla="*/ 76 w 86"/>
                <a:gd name="T7" fmla="*/ 38 h 42"/>
                <a:gd name="T8" fmla="*/ 72 w 86"/>
                <a:gd name="T9" fmla="*/ 36 h 42"/>
                <a:gd name="T10" fmla="*/ 70 w 86"/>
                <a:gd name="T11" fmla="*/ 34 h 42"/>
                <a:gd name="T12" fmla="*/ 70 w 86"/>
                <a:gd name="T13" fmla="*/ 32 h 42"/>
                <a:gd name="T14" fmla="*/ 68 w 86"/>
                <a:gd name="T15" fmla="*/ 32 h 42"/>
                <a:gd name="T16" fmla="*/ 66 w 86"/>
                <a:gd name="T17" fmla="*/ 32 h 42"/>
                <a:gd name="T18" fmla="*/ 64 w 86"/>
                <a:gd name="T19" fmla="*/ 30 h 42"/>
                <a:gd name="T20" fmla="*/ 62 w 86"/>
                <a:gd name="T21" fmla="*/ 30 h 42"/>
                <a:gd name="T22" fmla="*/ 60 w 86"/>
                <a:gd name="T23" fmla="*/ 30 h 42"/>
                <a:gd name="T24" fmla="*/ 58 w 86"/>
                <a:gd name="T25" fmla="*/ 30 h 42"/>
                <a:gd name="T26" fmla="*/ 56 w 86"/>
                <a:gd name="T27" fmla="*/ 32 h 42"/>
                <a:gd name="T28" fmla="*/ 52 w 86"/>
                <a:gd name="T29" fmla="*/ 32 h 42"/>
                <a:gd name="T30" fmla="*/ 50 w 86"/>
                <a:gd name="T31" fmla="*/ 32 h 42"/>
                <a:gd name="T32" fmla="*/ 42 w 86"/>
                <a:gd name="T33" fmla="*/ 34 h 42"/>
                <a:gd name="T34" fmla="*/ 40 w 86"/>
                <a:gd name="T35" fmla="*/ 36 h 42"/>
                <a:gd name="T36" fmla="*/ 38 w 86"/>
                <a:gd name="T37" fmla="*/ 36 h 42"/>
                <a:gd name="T38" fmla="*/ 34 w 86"/>
                <a:gd name="T39" fmla="*/ 36 h 42"/>
                <a:gd name="T40" fmla="*/ 30 w 86"/>
                <a:gd name="T41" fmla="*/ 36 h 42"/>
                <a:gd name="T42" fmla="*/ 24 w 86"/>
                <a:gd name="T43" fmla="*/ 36 h 42"/>
                <a:gd name="T44" fmla="*/ 20 w 86"/>
                <a:gd name="T45" fmla="*/ 36 h 42"/>
                <a:gd name="T46" fmla="*/ 16 w 86"/>
                <a:gd name="T47" fmla="*/ 34 h 42"/>
                <a:gd name="T48" fmla="*/ 8 w 86"/>
                <a:gd name="T49" fmla="*/ 34 h 42"/>
                <a:gd name="T50" fmla="*/ 0 w 86"/>
                <a:gd name="T51" fmla="*/ 32 h 42"/>
                <a:gd name="T52" fmla="*/ 4 w 86"/>
                <a:gd name="T53" fmla="*/ 28 h 42"/>
                <a:gd name="T54" fmla="*/ 8 w 86"/>
                <a:gd name="T55" fmla="*/ 24 h 42"/>
                <a:gd name="T56" fmla="*/ 10 w 86"/>
                <a:gd name="T57" fmla="*/ 24 h 42"/>
                <a:gd name="T58" fmla="*/ 10 w 86"/>
                <a:gd name="T59" fmla="*/ 22 h 42"/>
                <a:gd name="T60" fmla="*/ 14 w 86"/>
                <a:gd name="T61" fmla="*/ 20 h 42"/>
                <a:gd name="T62" fmla="*/ 18 w 86"/>
                <a:gd name="T63" fmla="*/ 16 h 42"/>
                <a:gd name="T64" fmla="*/ 22 w 86"/>
                <a:gd name="T65" fmla="*/ 14 h 42"/>
                <a:gd name="T66" fmla="*/ 26 w 86"/>
                <a:gd name="T67" fmla="*/ 10 h 42"/>
                <a:gd name="T68" fmla="*/ 34 w 86"/>
                <a:gd name="T69" fmla="*/ 6 h 42"/>
                <a:gd name="T70" fmla="*/ 38 w 86"/>
                <a:gd name="T71"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 h="42">
                  <a:moveTo>
                    <a:pt x="38" y="4"/>
                  </a:moveTo>
                  <a:lnTo>
                    <a:pt x="86" y="0"/>
                  </a:lnTo>
                  <a:lnTo>
                    <a:pt x="80" y="42"/>
                  </a:lnTo>
                  <a:lnTo>
                    <a:pt x="76" y="38"/>
                  </a:lnTo>
                  <a:lnTo>
                    <a:pt x="72" y="36"/>
                  </a:lnTo>
                  <a:lnTo>
                    <a:pt x="70" y="34"/>
                  </a:lnTo>
                  <a:lnTo>
                    <a:pt x="70" y="32"/>
                  </a:lnTo>
                  <a:lnTo>
                    <a:pt x="68" y="32"/>
                  </a:lnTo>
                  <a:lnTo>
                    <a:pt x="66" y="32"/>
                  </a:lnTo>
                  <a:lnTo>
                    <a:pt x="64" y="30"/>
                  </a:lnTo>
                  <a:lnTo>
                    <a:pt x="62" y="30"/>
                  </a:lnTo>
                  <a:lnTo>
                    <a:pt x="60" y="30"/>
                  </a:lnTo>
                  <a:lnTo>
                    <a:pt x="58" y="30"/>
                  </a:lnTo>
                  <a:lnTo>
                    <a:pt x="56" y="32"/>
                  </a:lnTo>
                  <a:lnTo>
                    <a:pt x="52" y="32"/>
                  </a:lnTo>
                  <a:lnTo>
                    <a:pt x="50" y="32"/>
                  </a:lnTo>
                  <a:lnTo>
                    <a:pt x="42" y="34"/>
                  </a:lnTo>
                  <a:lnTo>
                    <a:pt x="40" y="36"/>
                  </a:lnTo>
                  <a:lnTo>
                    <a:pt x="38" y="36"/>
                  </a:lnTo>
                  <a:lnTo>
                    <a:pt x="34" y="36"/>
                  </a:lnTo>
                  <a:lnTo>
                    <a:pt x="30" y="36"/>
                  </a:lnTo>
                  <a:lnTo>
                    <a:pt x="24" y="36"/>
                  </a:lnTo>
                  <a:lnTo>
                    <a:pt x="20" y="36"/>
                  </a:lnTo>
                  <a:lnTo>
                    <a:pt x="16" y="34"/>
                  </a:lnTo>
                  <a:lnTo>
                    <a:pt x="8" y="34"/>
                  </a:lnTo>
                  <a:lnTo>
                    <a:pt x="0" y="32"/>
                  </a:lnTo>
                  <a:lnTo>
                    <a:pt x="4" y="28"/>
                  </a:lnTo>
                  <a:lnTo>
                    <a:pt x="8" y="24"/>
                  </a:lnTo>
                  <a:lnTo>
                    <a:pt x="10" y="24"/>
                  </a:lnTo>
                  <a:lnTo>
                    <a:pt x="10" y="22"/>
                  </a:lnTo>
                  <a:lnTo>
                    <a:pt x="14" y="20"/>
                  </a:lnTo>
                  <a:lnTo>
                    <a:pt x="18" y="16"/>
                  </a:lnTo>
                  <a:lnTo>
                    <a:pt x="22" y="14"/>
                  </a:lnTo>
                  <a:lnTo>
                    <a:pt x="26" y="10"/>
                  </a:lnTo>
                  <a:lnTo>
                    <a:pt x="34" y="6"/>
                  </a:lnTo>
                  <a:lnTo>
                    <a:pt x="38" y="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0" name="Freeform 318">
              <a:extLst>
                <a:ext uri="{FF2B5EF4-FFF2-40B4-BE49-F238E27FC236}">
                  <a16:creationId xmlns:a16="http://schemas.microsoft.com/office/drawing/2014/main" id="{84DBDD5F-EA3C-49EC-A8C0-977D4179907C}"/>
                </a:ext>
              </a:extLst>
            </p:cNvPr>
            <p:cNvSpPr>
              <a:spLocks/>
            </p:cNvSpPr>
            <p:nvPr/>
          </p:nvSpPr>
          <p:spPr bwMode="auto">
            <a:xfrm>
              <a:off x="4657196" y="3115057"/>
              <a:ext cx="148958" cy="72747"/>
            </a:xfrm>
            <a:custGeom>
              <a:avLst/>
              <a:gdLst>
                <a:gd name="T0" fmla="*/ 38 w 86"/>
                <a:gd name="T1" fmla="*/ 4 h 42"/>
                <a:gd name="T2" fmla="*/ 86 w 86"/>
                <a:gd name="T3" fmla="*/ 0 h 42"/>
                <a:gd name="T4" fmla="*/ 80 w 86"/>
                <a:gd name="T5" fmla="*/ 42 h 42"/>
                <a:gd name="T6" fmla="*/ 76 w 86"/>
                <a:gd name="T7" fmla="*/ 38 h 42"/>
                <a:gd name="T8" fmla="*/ 72 w 86"/>
                <a:gd name="T9" fmla="*/ 36 h 42"/>
                <a:gd name="T10" fmla="*/ 70 w 86"/>
                <a:gd name="T11" fmla="*/ 34 h 42"/>
                <a:gd name="T12" fmla="*/ 70 w 86"/>
                <a:gd name="T13" fmla="*/ 32 h 42"/>
                <a:gd name="T14" fmla="*/ 68 w 86"/>
                <a:gd name="T15" fmla="*/ 32 h 42"/>
                <a:gd name="T16" fmla="*/ 66 w 86"/>
                <a:gd name="T17" fmla="*/ 32 h 42"/>
                <a:gd name="T18" fmla="*/ 64 w 86"/>
                <a:gd name="T19" fmla="*/ 30 h 42"/>
                <a:gd name="T20" fmla="*/ 62 w 86"/>
                <a:gd name="T21" fmla="*/ 30 h 42"/>
                <a:gd name="T22" fmla="*/ 60 w 86"/>
                <a:gd name="T23" fmla="*/ 30 h 42"/>
                <a:gd name="T24" fmla="*/ 58 w 86"/>
                <a:gd name="T25" fmla="*/ 30 h 42"/>
                <a:gd name="T26" fmla="*/ 56 w 86"/>
                <a:gd name="T27" fmla="*/ 32 h 42"/>
                <a:gd name="T28" fmla="*/ 52 w 86"/>
                <a:gd name="T29" fmla="*/ 32 h 42"/>
                <a:gd name="T30" fmla="*/ 50 w 86"/>
                <a:gd name="T31" fmla="*/ 32 h 42"/>
                <a:gd name="T32" fmla="*/ 42 w 86"/>
                <a:gd name="T33" fmla="*/ 34 h 42"/>
                <a:gd name="T34" fmla="*/ 40 w 86"/>
                <a:gd name="T35" fmla="*/ 36 h 42"/>
                <a:gd name="T36" fmla="*/ 38 w 86"/>
                <a:gd name="T37" fmla="*/ 36 h 42"/>
                <a:gd name="T38" fmla="*/ 34 w 86"/>
                <a:gd name="T39" fmla="*/ 36 h 42"/>
                <a:gd name="T40" fmla="*/ 30 w 86"/>
                <a:gd name="T41" fmla="*/ 36 h 42"/>
                <a:gd name="T42" fmla="*/ 24 w 86"/>
                <a:gd name="T43" fmla="*/ 36 h 42"/>
                <a:gd name="T44" fmla="*/ 20 w 86"/>
                <a:gd name="T45" fmla="*/ 36 h 42"/>
                <a:gd name="T46" fmla="*/ 16 w 86"/>
                <a:gd name="T47" fmla="*/ 34 h 42"/>
                <a:gd name="T48" fmla="*/ 8 w 86"/>
                <a:gd name="T49" fmla="*/ 34 h 42"/>
                <a:gd name="T50" fmla="*/ 0 w 86"/>
                <a:gd name="T51" fmla="*/ 32 h 42"/>
                <a:gd name="T52" fmla="*/ 4 w 86"/>
                <a:gd name="T53" fmla="*/ 28 h 42"/>
                <a:gd name="T54" fmla="*/ 8 w 86"/>
                <a:gd name="T55" fmla="*/ 24 h 42"/>
                <a:gd name="T56" fmla="*/ 10 w 86"/>
                <a:gd name="T57" fmla="*/ 24 h 42"/>
                <a:gd name="T58" fmla="*/ 10 w 86"/>
                <a:gd name="T59" fmla="*/ 22 h 42"/>
                <a:gd name="T60" fmla="*/ 14 w 86"/>
                <a:gd name="T61" fmla="*/ 20 h 42"/>
                <a:gd name="T62" fmla="*/ 18 w 86"/>
                <a:gd name="T63" fmla="*/ 16 h 42"/>
                <a:gd name="T64" fmla="*/ 22 w 86"/>
                <a:gd name="T65" fmla="*/ 14 h 42"/>
                <a:gd name="T66" fmla="*/ 26 w 86"/>
                <a:gd name="T67" fmla="*/ 10 h 42"/>
                <a:gd name="T68" fmla="*/ 34 w 86"/>
                <a:gd name="T69" fmla="*/ 6 h 42"/>
                <a:gd name="T70" fmla="*/ 38 w 86"/>
                <a:gd name="T71"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 h="42">
                  <a:moveTo>
                    <a:pt x="38" y="4"/>
                  </a:moveTo>
                  <a:lnTo>
                    <a:pt x="86" y="0"/>
                  </a:lnTo>
                  <a:lnTo>
                    <a:pt x="80" y="42"/>
                  </a:lnTo>
                  <a:lnTo>
                    <a:pt x="76" y="38"/>
                  </a:lnTo>
                  <a:lnTo>
                    <a:pt x="72" y="36"/>
                  </a:lnTo>
                  <a:lnTo>
                    <a:pt x="70" y="34"/>
                  </a:lnTo>
                  <a:lnTo>
                    <a:pt x="70" y="32"/>
                  </a:lnTo>
                  <a:lnTo>
                    <a:pt x="68" y="32"/>
                  </a:lnTo>
                  <a:lnTo>
                    <a:pt x="66" y="32"/>
                  </a:lnTo>
                  <a:lnTo>
                    <a:pt x="64" y="30"/>
                  </a:lnTo>
                  <a:lnTo>
                    <a:pt x="62" y="30"/>
                  </a:lnTo>
                  <a:lnTo>
                    <a:pt x="60" y="30"/>
                  </a:lnTo>
                  <a:lnTo>
                    <a:pt x="58" y="30"/>
                  </a:lnTo>
                  <a:lnTo>
                    <a:pt x="56" y="32"/>
                  </a:lnTo>
                  <a:lnTo>
                    <a:pt x="52" y="32"/>
                  </a:lnTo>
                  <a:lnTo>
                    <a:pt x="50" y="32"/>
                  </a:lnTo>
                  <a:lnTo>
                    <a:pt x="42" y="34"/>
                  </a:lnTo>
                  <a:lnTo>
                    <a:pt x="40" y="36"/>
                  </a:lnTo>
                  <a:lnTo>
                    <a:pt x="38" y="36"/>
                  </a:lnTo>
                  <a:lnTo>
                    <a:pt x="34" y="36"/>
                  </a:lnTo>
                  <a:lnTo>
                    <a:pt x="30" y="36"/>
                  </a:lnTo>
                  <a:lnTo>
                    <a:pt x="24" y="36"/>
                  </a:lnTo>
                  <a:lnTo>
                    <a:pt x="20" y="36"/>
                  </a:lnTo>
                  <a:lnTo>
                    <a:pt x="16" y="34"/>
                  </a:lnTo>
                  <a:lnTo>
                    <a:pt x="8" y="34"/>
                  </a:lnTo>
                  <a:lnTo>
                    <a:pt x="0" y="32"/>
                  </a:lnTo>
                  <a:lnTo>
                    <a:pt x="4" y="28"/>
                  </a:lnTo>
                  <a:lnTo>
                    <a:pt x="8" y="24"/>
                  </a:lnTo>
                  <a:lnTo>
                    <a:pt x="10" y="24"/>
                  </a:lnTo>
                  <a:lnTo>
                    <a:pt x="10" y="22"/>
                  </a:lnTo>
                  <a:lnTo>
                    <a:pt x="14" y="20"/>
                  </a:lnTo>
                  <a:lnTo>
                    <a:pt x="18" y="16"/>
                  </a:lnTo>
                  <a:lnTo>
                    <a:pt x="22" y="14"/>
                  </a:lnTo>
                  <a:lnTo>
                    <a:pt x="26" y="10"/>
                  </a:lnTo>
                  <a:lnTo>
                    <a:pt x="34" y="6"/>
                  </a:lnTo>
                  <a:lnTo>
                    <a:pt x="38" y="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1" name="Freeform 319">
              <a:extLst>
                <a:ext uri="{FF2B5EF4-FFF2-40B4-BE49-F238E27FC236}">
                  <a16:creationId xmlns:a16="http://schemas.microsoft.com/office/drawing/2014/main" id="{8EF63BC9-D473-41D0-AB26-BDAE60E6714E}"/>
                </a:ext>
              </a:extLst>
            </p:cNvPr>
            <p:cNvSpPr>
              <a:spLocks/>
            </p:cNvSpPr>
            <p:nvPr/>
          </p:nvSpPr>
          <p:spPr bwMode="auto">
            <a:xfrm>
              <a:off x="4203393" y="2782498"/>
              <a:ext cx="17321" cy="10392"/>
            </a:xfrm>
            <a:custGeom>
              <a:avLst/>
              <a:gdLst>
                <a:gd name="T0" fmla="*/ 0 w 10"/>
                <a:gd name="T1" fmla="*/ 2 h 6"/>
                <a:gd name="T2" fmla="*/ 0 w 10"/>
                <a:gd name="T3" fmla="*/ 2 h 6"/>
                <a:gd name="T4" fmla="*/ 0 w 10"/>
                <a:gd name="T5" fmla="*/ 2 h 6"/>
                <a:gd name="T6" fmla="*/ 0 w 10"/>
                <a:gd name="T7" fmla="*/ 2 h 6"/>
                <a:gd name="T8" fmla="*/ 0 w 10"/>
                <a:gd name="T9" fmla="*/ 4 h 6"/>
                <a:gd name="T10" fmla="*/ 0 w 10"/>
                <a:gd name="T11" fmla="*/ 4 h 6"/>
                <a:gd name="T12" fmla="*/ 0 w 10"/>
                <a:gd name="T13" fmla="*/ 6 h 6"/>
                <a:gd name="T14" fmla="*/ 0 w 10"/>
                <a:gd name="T15" fmla="*/ 6 h 6"/>
                <a:gd name="T16" fmla="*/ 2 w 10"/>
                <a:gd name="T17" fmla="*/ 6 h 6"/>
                <a:gd name="T18" fmla="*/ 2 w 10"/>
                <a:gd name="T19" fmla="*/ 6 h 6"/>
                <a:gd name="T20" fmla="*/ 2 w 10"/>
                <a:gd name="T21" fmla="*/ 6 h 6"/>
                <a:gd name="T22" fmla="*/ 2 w 10"/>
                <a:gd name="T23" fmla="*/ 6 h 6"/>
                <a:gd name="T24" fmla="*/ 4 w 10"/>
                <a:gd name="T25" fmla="*/ 6 h 6"/>
                <a:gd name="T26" fmla="*/ 6 w 10"/>
                <a:gd name="T27" fmla="*/ 6 h 6"/>
                <a:gd name="T28" fmla="*/ 6 w 10"/>
                <a:gd name="T29" fmla="*/ 6 h 6"/>
                <a:gd name="T30" fmla="*/ 8 w 10"/>
                <a:gd name="T31" fmla="*/ 4 h 6"/>
                <a:gd name="T32" fmla="*/ 8 w 10"/>
                <a:gd name="T33" fmla="*/ 4 h 6"/>
                <a:gd name="T34" fmla="*/ 10 w 10"/>
                <a:gd name="T35" fmla="*/ 2 h 6"/>
                <a:gd name="T36" fmla="*/ 10 w 10"/>
                <a:gd name="T37" fmla="*/ 2 h 6"/>
                <a:gd name="T38" fmla="*/ 10 w 10"/>
                <a:gd name="T39" fmla="*/ 2 h 6"/>
                <a:gd name="T40" fmla="*/ 10 w 10"/>
                <a:gd name="T41" fmla="*/ 2 h 6"/>
                <a:gd name="T42" fmla="*/ 8 w 10"/>
                <a:gd name="T43" fmla="*/ 0 h 6"/>
                <a:gd name="T44" fmla="*/ 8 w 10"/>
                <a:gd name="T45" fmla="*/ 0 h 6"/>
                <a:gd name="T46" fmla="*/ 6 w 10"/>
                <a:gd name="T47" fmla="*/ 0 h 6"/>
                <a:gd name="T48" fmla="*/ 4 w 10"/>
                <a:gd name="T49" fmla="*/ 0 h 6"/>
                <a:gd name="T50" fmla="*/ 4 w 10"/>
                <a:gd name="T51" fmla="*/ 0 h 6"/>
                <a:gd name="T52" fmla="*/ 2 w 10"/>
                <a:gd name="T53" fmla="*/ 0 h 6"/>
                <a:gd name="T54" fmla="*/ 2 w 10"/>
                <a:gd name="T55" fmla="*/ 2 h 6"/>
                <a:gd name="T56" fmla="*/ 0 w 10"/>
                <a:gd name="T57" fmla="*/ 2 h 6"/>
                <a:gd name="T58" fmla="*/ 0 w 10"/>
                <a:gd name="T5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6">
                  <a:moveTo>
                    <a:pt x="0" y="2"/>
                  </a:moveTo>
                  <a:lnTo>
                    <a:pt x="0" y="2"/>
                  </a:lnTo>
                  <a:lnTo>
                    <a:pt x="0" y="2"/>
                  </a:lnTo>
                  <a:lnTo>
                    <a:pt x="0" y="2"/>
                  </a:lnTo>
                  <a:lnTo>
                    <a:pt x="0" y="4"/>
                  </a:lnTo>
                  <a:lnTo>
                    <a:pt x="0" y="4"/>
                  </a:lnTo>
                  <a:lnTo>
                    <a:pt x="0" y="6"/>
                  </a:lnTo>
                  <a:lnTo>
                    <a:pt x="0" y="6"/>
                  </a:lnTo>
                  <a:lnTo>
                    <a:pt x="2" y="6"/>
                  </a:lnTo>
                  <a:lnTo>
                    <a:pt x="2" y="6"/>
                  </a:lnTo>
                  <a:lnTo>
                    <a:pt x="2" y="6"/>
                  </a:lnTo>
                  <a:lnTo>
                    <a:pt x="2" y="6"/>
                  </a:lnTo>
                  <a:lnTo>
                    <a:pt x="4" y="6"/>
                  </a:lnTo>
                  <a:lnTo>
                    <a:pt x="6" y="6"/>
                  </a:lnTo>
                  <a:lnTo>
                    <a:pt x="6" y="6"/>
                  </a:lnTo>
                  <a:lnTo>
                    <a:pt x="8" y="4"/>
                  </a:lnTo>
                  <a:lnTo>
                    <a:pt x="8" y="4"/>
                  </a:lnTo>
                  <a:lnTo>
                    <a:pt x="10" y="2"/>
                  </a:lnTo>
                  <a:lnTo>
                    <a:pt x="10" y="2"/>
                  </a:lnTo>
                  <a:lnTo>
                    <a:pt x="10" y="2"/>
                  </a:lnTo>
                  <a:lnTo>
                    <a:pt x="10" y="2"/>
                  </a:lnTo>
                  <a:lnTo>
                    <a:pt x="8" y="0"/>
                  </a:lnTo>
                  <a:lnTo>
                    <a:pt x="8" y="0"/>
                  </a:lnTo>
                  <a:lnTo>
                    <a:pt x="6" y="0"/>
                  </a:lnTo>
                  <a:lnTo>
                    <a:pt x="4" y="0"/>
                  </a:lnTo>
                  <a:lnTo>
                    <a:pt x="4" y="0"/>
                  </a:lnTo>
                  <a:lnTo>
                    <a:pt x="2" y="0"/>
                  </a:lnTo>
                  <a:lnTo>
                    <a:pt x="2" y="2"/>
                  </a:lnTo>
                  <a:lnTo>
                    <a:pt x="0" y="2"/>
                  </a:lnTo>
                  <a:lnTo>
                    <a:pt x="0"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2" name="Freeform 320">
              <a:extLst>
                <a:ext uri="{FF2B5EF4-FFF2-40B4-BE49-F238E27FC236}">
                  <a16:creationId xmlns:a16="http://schemas.microsoft.com/office/drawing/2014/main" id="{8B821A45-D30D-45AB-BC21-804CD0B4011E}"/>
                </a:ext>
              </a:extLst>
            </p:cNvPr>
            <p:cNvSpPr>
              <a:spLocks/>
            </p:cNvSpPr>
            <p:nvPr/>
          </p:nvSpPr>
          <p:spPr bwMode="auto">
            <a:xfrm>
              <a:off x="4203393" y="2782498"/>
              <a:ext cx="17321" cy="10392"/>
            </a:xfrm>
            <a:custGeom>
              <a:avLst/>
              <a:gdLst>
                <a:gd name="T0" fmla="*/ 0 w 10"/>
                <a:gd name="T1" fmla="*/ 2 h 6"/>
                <a:gd name="T2" fmla="*/ 0 w 10"/>
                <a:gd name="T3" fmla="*/ 2 h 6"/>
                <a:gd name="T4" fmla="*/ 0 w 10"/>
                <a:gd name="T5" fmla="*/ 2 h 6"/>
                <a:gd name="T6" fmla="*/ 0 w 10"/>
                <a:gd name="T7" fmla="*/ 2 h 6"/>
                <a:gd name="T8" fmla="*/ 0 w 10"/>
                <a:gd name="T9" fmla="*/ 4 h 6"/>
                <a:gd name="T10" fmla="*/ 0 w 10"/>
                <a:gd name="T11" fmla="*/ 4 h 6"/>
                <a:gd name="T12" fmla="*/ 0 w 10"/>
                <a:gd name="T13" fmla="*/ 6 h 6"/>
                <a:gd name="T14" fmla="*/ 0 w 10"/>
                <a:gd name="T15" fmla="*/ 6 h 6"/>
                <a:gd name="T16" fmla="*/ 2 w 10"/>
                <a:gd name="T17" fmla="*/ 6 h 6"/>
                <a:gd name="T18" fmla="*/ 2 w 10"/>
                <a:gd name="T19" fmla="*/ 6 h 6"/>
                <a:gd name="T20" fmla="*/ 2 w 10"/>
                <a:gd name="T21" fmla="*/ 6 h 6"/>
                <a:gd name="T22" fmla="*/ 2 w 10"/>
                <a:gd name="T23" fmla="*/ 6 h 6"/>
                <a:gd name="T24" fmla="*/ 4 w 10"/>
                <a:gd name="T25" fmla="*/ 6 h 6"/>
                <a:gd name="T26" fmla="*/ 6 w 10"/>
                <a:gd name="T27" fmla="*/ 6 h 6"/>
                <a:gd name="T28" fmla="*/ 6 w 10"/>
                <a:gd name="T29" fmla="*/ 6 h 6"/>
                <a:gd name="T30" fmla="*/ 8 w 10"/>
                <a:gd name="T31" fmla="*/ 4 h 6"/>
                <a:gd name="T32" fmla="*/ 8 w 10"/>
                <a:gd name="T33" fmla="*/ 4 h 6"/>
                <a:gd name="T34" fmla="*/ 10 w 10"/>
                <a:gd name="T35" fmla="*/ 2 h 6"/>
                <a:gd name="T36" fmla="*/ 10 w 10"/>
                <a:gd name="T37" fmla="*/ 2 h 6"/>
                <a:gd name="T38" fmla="*/ 10 w 10"/>
                <a:gd name="T39" fmla="*/ 2 h 6"/>
                <a:gd name="T40" fmla="*/ 10 w 10"/>
                <a:gd name="T41" fmla="*/ 2 h 6"/>
                <a:gd name="T42" fmla="*/ 8 w 10"/>
                <a:gd name="T43" fmla="*/ 0 h 6"/>
                <a:gd name="T44" fmla="*/ 8 w 10"/>
                <a:gd name="T45" fmla="*/ 0 h 6"/>
                <a:gd name="T46" fmla="*/ 6 w 10"/>
                <a:gd name="T47" fmla="*/ 0 h 6"/>
                <a:gd name="T48" fmla="*/ 4 w 10"/>
                <a:gd name="T49" fmla="*/ 0 h 6"/>
                <a:gd name="T50" fmla="*/ 4 w 10"/>
                <a:gd name="T51" fmla="*/ 0 h 6"/>
                <a:gd name="T52" fmla="*/ 2 w 10"/>
                <a:gd name="T53" fmla="*/ 0 h 6"/>
                <a:gd name="T54" fmla="*/ 2 w 10"/>
                <a:gd name="T55" fmla="*/ 2 h 6"/>
                <a:gd name="T56" fmla="*/ 0 w 10"/>
                <a:gd name="T57" fmla="*/ 2 h 6"/>
                <a:gd name="T58" fmla="*/ 0 w 10"/>
                <a:gd name="T5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6">
                  <a:moveTo>
                    <a:pt x="0" y="2"/>
                  </a:moveTo>
                  <a:lnTo>
                    <a:pt x="0" y="2"/>
                  </a:lnTo>
                  <a:lnTo>
                    <a:pt x="0" y="2"/>
                  </a:lnTo>
                  <a:lnTo>
                    <a:pt x="0" y="2"/>
                  </a:lnTo>
                  <a:lnTo>
                    <a:pt x="0" y="4"/>
                  </a:lnTo>
                  <a:lnTo>
                    <a:pt x="0" y="4"/>
                  </a:lnTo>
                  <a:lnTo>
                    <a:pt x="0" y="6"/>
                  </a:lnTo>
                  <a:lnTo>
                    <a:pt x="0" y="6"/>
                  </a:lnTo>
                  <a:lnTo>
                    <a:pt x="2" y="6"/>
                  </a:lnTo>
                  <a:lnTo>
                    <a:pt x="2" y="6"/>
                  </a:lnTo>
                  <a:lnTo>
                    <a:pt x="2" y="6"/>
                  </a:lnTo>
                  <a:lnTo>
                    <a:pt x="2" y="6"/>
                  </a:lnTo>
                  <a:lnTo>
                    <a:pt x="4" y="6"/>
                  </a:lnTo>
                  <a:lnTo>
                    <a:pt x="6" y="6"/>
                  </a:lnTo>
                  <a:lnTo>
                    <a:pt x="6" y="6"/>
                  </a:lnTo>
                  <a:lnTo>
                    <a:pt x="8" y="4"/>
                  </a:lnTo>
                  <a:lnTo>
                    <a:pt x="8" y="4"/>
                  </a:lnTo>
                  <a:lnTo>
                    <a:pt x="10" y="2"/>
                  </a:lnTo>
                  <a:lnTo>
                    <a:pt x="10" y="2"/>
                  </a:lnTo>
                  <a:lnTo>
                    <a:pt x="10" y="2"/>
                  </a:lnTo>
                  <a:lnTo>
                    <a:pt x="10" y="2"/>
                  </a:lnTo>
                  <a:lnTo>
                    <a:pt x="8" y="0"/>
                  </a:lnTo>
                  <a:lnTo>
                    <a:pt x="8" y="0"/>
                  </a:lnTo>
                  <a:lnTo>
                    <a:pt x="6" y="0"/>
                  </a:lnTo>
                  <a:lnTo>
                    <a:pt x="4" y="0"/>
                  </a:lnTo>
                  <a:lnTo>
                    <a:pt x="4" y="0"/>
                  </a:lnTo>
                  <a:lnTo>
                    <a:pt x="2" y="0"/>
                  </a:lnTo>
                  <a:lnTo>
                    <a:pt x="2" y="2"/>
                  </a:lnTo>
                  <a:lnTo>
                    <a:pt x="0" y="2"/>
                  </a:lnTo>
                  <a:lnTo>
                    <a:pt x="0"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3" name="Freeform 321">
              <a:extLst>
                <a:ext uri="{FF2B5EF4-FFF2-40B4-BE49-F238E27FC236}">
                  <a16:creationId xmlns:a16="http://schemas.microsoft.com/office/drawing/2014/main" id="{4EC476B3-4A85-4920-BF86-69504F39ED1D}"/>
                </a:ext>
              </a:extLst>
            </p:cNvPr>
            <p:cNvSpPr>
              <a:spLocks/>
            </p:cNvSpPr>
            <p:nvPr/>
          </p:nvSpPr>
          <p:spPr bwMode="auto">
            <a:xfrm>
              <a:off x="4085612" y="2931457"/>
              <a:ext cx="51962" cy="48498"/>
            </a:xfrm>
            <a:custGeom>
              <a:avLst/>
              <a:gdLst>
                <a:gd name="T0" fmla="*/ 20 w 30"/>
                <a:gd name="T1" fmla="*/ 26 h 28"/>
                <a:gd name="T2" fmla="*/ 20 w 30"/>
                <a:gd name="T3" fmla="*/ 26 h 28"/>
                <a:gd name="T4" fmla="*/ 18 w 30"/>
                <a:gd name="T5" fmla="*/ 26 h 28"/>
                <a:gd name="T6" fmla="*/ 16 w 30"/>
                <a:gd name="T7" fmla="*/ 26 h 28"/>
                <a:gd name="T8" fmla="*/ 12 w 30"/>
                <a:gd name="T9" fmla="*/ 28 h 28"/>
                <a:gd name="T10" fmla="*/ 10 w 30"/>
                <a:gd name="T11" fmla="*/ 28 h 28"/>
                <a:gd name="T12" fmla="*/ 6 w 30"/>
                <a:gd name="T13" fmla="*/ 28 h 28"/>
                <a:gd name="T14" fmla="*/ 6 w 30"/>
                <a:gd name="T15" fmla="*/ 28 h 28"/>
                <a:gd name="T16" fmla="*/ 4 w 30"/>
                <a:gd name="T17" fmla="*/ 28 h 28"/>
                <a:gd name="T18" fmla="*/ 4 w 30"/>
                <a:gd name="T19" fmla="*/ 26 h 28"/>
                <a:gd name="T20" fmla="*/ 4 w 30"/>
                <a:gd name="T21" fmla="*/ 26 h 28"/>
                <a:gd name="T22" fmla="*/ 2 w 30"/>
                <a:gd name="T23" fmla="*/ 26 h 28"/>
                <a:gd name="T24" fmla="*/ 2 w 30"/>
                <a:gd name="T25" fmla="*/ 24 h 28"/>
                <a:gd name="T26" fmla="*/ 2 w 30"/>
                <a:gd name="T27" fmla="*/ 24 h 28"/>
                <a:gd name="T28" fmla="*/ 2 w 30"/>
                <a:gd name="T29" fmla="*/ 22 h 28"/>
                <a:gd name="T30" fmla="*/ 0 w 30"/>
                <a:gd name="T31" fmla="*/ 20 h 28"/>
                <a:gd name="T32" fmla="*/ 0 w 30"/>
                <a:gd name="T33" fmla="*/ 18 h 28"/>
                <a:gd name="T34" fmla="*/ 0 w 30"/>
                <a:gd name="T35" fmla="*/ 16 h 28"/>
                <a:gd name="T36" fmla="*/ 2 w 30"/>
                <a:gd name="T37" fmla="*/ 14 h 28"/>
                <a:gd name="T38" fmla="*/ 2 w 30"/>
                <a:gd name="T39" fmla="*/ 10 h 28"/>
                <a:gd name="T40" fmla="*/ 4 w 30"/>
                <a:gd name="T41" fmla="*/ 8 h 28"/>
                <a:gd name="T42" fmla="*/ 4 w 30"/>
                <a:gd name="T43" fmla="*/ 6 h 28"/>
                <a:gd name="T44" fmla="*/ 6 w 30"/>
                <a:gd name="T45" fmla="*/ 6 h 28"/>
                <a:gd name="T46" fmla="*/ 8 w 30"/>
                <a:gd name="T47" fmla="*/ 4 h 28"/>
                <a:gd name="T48" fmla="*/ 8 w 30"/>
                <a:gd name="T49" fmla="*/ 2 h 28"/>
                <a:gd name="T50" fmla="*/ 10 w 30"/>
                <a:gd name="T51" fmla="*/ 2 h 28"/>
                <a:gd name="T52" fmla="*/ 12 w 30"/>
                <a:gd name="T53" fmla="*/ 0 h 28"/>
                <a:gd name="T54" fmla="*/ 12 w 30"/>
                <a:gd name="T55" fmla="*/ 0 h 28"/>
                <a:gd name="T56" fmla="*/ 14 w 30"/>
                <a:gd name="T57" fmla="*/ 0 h 28"/>
                <a:gd name="T58" fmla="*/ 14 w 30"/>
                <a:gd name="T59" fmla="*/ 0 h 28"/>
                <a:gd name="T60" fmla="*/ 16 w 30"/>
                <a:gd name="T61" fmla="*/ 0 h 28"/>
                <a:gd name="T62" fmla="*/ 18 w 30"/>
                <a:gd name="T63" fmla="*/ 2 h 28"/>
                <a:gd name="T64" fmla="*/ 20 w 30"/>
                <a:gd name="T65" fmla="*/ 2 h 28"/>
                <a:gd name="T66" fmla="*/ 22 w 30"/>
                <a:gd name="T67" fmla="*/ 2 h 28"/>
                <a:gd name="T68" fmla="*/ 22 w 30"/>
                <a:gd name="T69" fmla="*/ 4 h 28"/>
                <a:gd name="T70" fmla="*/ 24 w 30"/>
                <a:gd name="T71" fmla="*/ 6 h 28"/>
                <a:gd name="T72" fmla="*/ 26 w 30"/>
                <a:gd name="T73" fmla="*/ 8 h 28"/>
                <a:gd name="T74" fmla="*/ 28 w 30"/>
                <a:gd name="T75" fmla="*/ 10 h 28"/>
                <a:gd name="T76" fmla="*/ 28 w 30"/>
                <a:gd name="T77" fmla="*/ 12 h 28"/>
                <a:gd name="T78" fmla="*/ 30 w 30"/>
                <a:gd name="T79" fmla="*/ 14 h 28"/>
                <a:gd name="T80" fmla="*/ 30 w 30"/>
                <a:gd name="T81" fmla="*/ 16 h 28"/>
                <a:gd name="T82" fmla="*/ 30 w 30"/>
                <a:gd name="T83" fmla="*/ 18 h 28"/>
                <a:gd name="T84" fmla="*/ 30 w 30"/>
                <a:gd name="T85" fmla="*/ 18 h 28"/>
                <a:gd name="T86" fmla="*/ 30 w 30"/>
                <a:gd name="T87" fmla="*/ 20 h 28"/>
                <a:gd name="T88" fmla="*/ 30 w 30"/>
                <a:gd name="T89" fmla="*/ 20 h 28"/>
                <a:gd name="T90" fmla="*/ 30 w 30"/>
                <a:gd name="T91" fmla="*/ 20 h 28"/>
                <a:gd name="T92" fmla="*/ 28 w 30"/>
                <a:gd name="T93" fmla="*/ 22 h 28"/>
                <a:gd name="T94" fmla="*/ 26 w 30"/>
                <a:gd name="T95" fmla="*/ 22 h 28"/>
                <a:gd name="T96" fmla="*/ 24 w 30"/>
                <a:gd name="T97" fmla="*/ 24 h 28"/>
                <a:gd name="T98" fmla="*/ 20 w 30"/>
                <a:gd name="T99" fmla="*/ 26 h 28"/>
                <a:gd name="T100" fmla="*/ 20 w 30"/>
                <a:gd name="T101"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 h="28">
                  <a:moveTo>
                    <a:pt x="20" y="26"/>
                  </a:moveTo>
                  <a:lnTo>
                    <a:pt x="20" y="26"/>
                  </a:lnTo>
                  <a:lnTo>
                    <a:pt x="18" y="26"/>
                  </a:lnTo>
                  <a:lnTo>
                    <a:pt x="16" y="26"/>
                  </a:lnTo>
                  <a:lnTo>
                    <a:pt x="12" y="28"/>
                  </a:lnTo>
                  <a:lnTo>
                    <a:pt x="10" y="28"/>
                  </a:lnTo>
                  <a:lnTo>
                    <a:pt x="6" y="28"/>
                  </a:lnTo>
                  <a:lnTo>
                    <a:pt x="6" y="28"/>
                  </a:lnTo>
                  <a:lnTo>
                    <a:pt x="4" y="28"/>
                  </a:lnTo>
                  <a:lnTo>
                    <a:pt x="4" y="26"/>
                  </a:lnTo>
                  <a:lnTo>
                    <a:pt x="4" y="26"/>
                  </a:lnTo>
                  <a:lnTo>
                    <a:pt x="2" y="26"/>
                  </a:lnTo>
                  <a:lnTo>
                    <a:pt x="2" y="24"/>
                  </a:lnTo>
                  <a:lnTo>
                    <a:pt x="2" y="24"/>
                  </a:lnTo>
                  <a:lnTo>
                    <a:pt x="2" y="22"/>
                  </a:lnTo>
                  <a:lnTo>
                    <a:pt x="0" y="20"/>
                  </a:lnTo>
                  <a:lnTo>
                    <a:pt x="0" y="18"/>
                  </a:lnTo>
                  <a:lnTo>
                    <a:pt x="0" y="16"/>
                  </a:lnTo>
                  <a:lnTo>
                    <a:pt x="2" y="14"/>
                  </a:lnTo>
                  <a:lnTo>
                    <a:pt x="2" y="10"/>
                  </a:lnTo>
                  <a:lnTo>
                    <a:pt x="4" y="8"/>
                  </a:lnTo>
                  <a:lnTo>
                    <a:pt x="4" y="6"/>
                  </a:lnTo>
                  <a:lnTo>
                    <a:pt x="6" y="6"/>
                  </a:lnTo>
                  <a:lnTo>
                    <a:pt x="8" y="4"/>
                  </a:lnTo>
                  <a:lnTo>
                    <a:pt x="8" y="2"/>
                  </a:lnTo>
                  <a:lnTo>
                    <a:pt x="10" y="2"/>
                  </a:lnTo>
                  <a:lnTo>
                    <a:pt x="12" y="0"/>
                  </a:lnTo>
                  <a:lnTo>
                    <a:pt x="12" y="0"/>
                  </a:lnTo>
                  <a:lnTo>
                    <a:pt x="14" y="0"/>
                  </a:lnTo>
                  <a:lnTo>
                    <a:pt x="14" y="0"/>
                  </a:lnTo>
                  <a:lnTo>
                    <a:pt x="16" y="0"/>
                  </a:lnTo>
                  <a:lnTo>
                    <a:pt x="18" y="2"/>
                  </a:lnTo>
                  <a:lnTo>
                    <a:pt x="20" y="2"/>
                  </a:lnTo>
                  <a:lnTo>
                    <a:pt x="22" y="2"/>
                  </a:lnTo>
                  <a:lnTo>
                    <a:pt x="22" y="4"/>
                  </a:lnTo>
                  <a:lnTo>
                    <a:pt x="24" y="6"/>
                  </a:lnTo>
                  <a:lnTo>
                    <a:pt x="26" y="8"/>
                  </a:lnTo>
                  <a:lnTo>
                    <a:pt x="28" y="10"/>
                  </a:lnTo>
                  <a:lnTo>
                    <a:pt x="28" y="12"/>
                  </a:lnTo>
                  <a:lnTo>
                    <a:pt x="30" y="14"/>
                  </a:lnTo>
                  <a:lnTo>
                    <a:pt x="30" y="16"/>
                  </a:lnTo>
                  <a:lnTo>
                    <a:pt x="30" y="18"/>
                  </a:lnTo>
                  <a:lnTo>
                    <a:pt x="30" y="18"/>
                  </a:lnTo>
                  <a:lnTo>
                    <a:pt x="30" y="20"/>
                  </a:lnTo>
                  <a:lnTo>
                    <a:pt x="30" y="20"/>
                  </a:lnTo>
                  <a:lnTo>
                    <a:pt x="30" y="20"/>
                  </a:lnTo>
                  <a:lnTo>
                    <a:pt x="28" y="22"/>
                  </a:lnTo>
                  <a:lnTo>
                    <a:pt x="26" y="22"/>
                  </a:lnTo>
                  <a:lnTo>
                    <a:pt x="24" y="24"/>
                  </a:lnTo>
                  <a:lnTo>
                    <a:pt x="20" y="26"/>
                  </a:lnTo>
                  <a:lnTo>
                    <a:pt x="20" y="2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4" name="Freeform 322">
              <a:extLst>
                <a:ext uri="{FF2B5EF4-FFF2-40B4-BE49-F238E27FC236}">
                  <a16:creationId xmlns:a16="http://schemas.microsoft.com/office/drawing/2014/main" id="{C6AB92EB-271F-4351-BB99-13384A1C876D}"/>
                </a:ext>
              </a:extLst>
            </p:cNvPr>
            <p:cNvSpPr>
              <a:spLocks/>
            </p:cNvSpPr>
            <p:nvPr/>
          </p:nvSpPr>
          <p:spPr bwMode="auto">
            <a:xfrm>
              <a:off x="4085612" y="2931457"/>
              <a:ext cx="51962" cy="48498"/>
            </a:xfrm>
            <a:custGeom>
              <a:avLst/>
              <a:gdLst>
                <a:gd name="T0" fmla="*/ 20 w 30"/>
                <a:gd name="T1" fmla="*/ 26 h 28"/>
                <a:gd name="T2" fmla="*/ 20 w 30"/>
                <a:gd name="T3" fmla="*/ 26 h 28"/>
                <a:gd name="T4" fmla="*/ 18 w 30"/>
                <a:gd name="T5" fmla="*/ 26 h 28"/>
                <a:gd name="T6" fmla="*/ 16 w 30"/>
                <a:gd name="T7" fmla="*/ 26 h 28"/>
                <a:gd name="T8" fmla="*/ 12 w 30"/>
                <a:gd name="T9" fmla="*/ 28 h 28"/>
                <a:gd name="T10" fmla="*/ 10 w 30"/>
                <a:gd name="T11" fmla="*/ 28 h 28"/>
                <a:gd name="T12" fmla="*/ 6 w 30"/>
                <a:gd name="T13" fmla="*/ 28 h 28"/>
                <a:gd name="T14" fmla="*/ 6 w 30"/>
                <a:gd name="T15" fmla="*/ 28 h 28"/>
                <a:gd name="T16" fmla="*/ 4 w 30"/>
                <a:gd name="T17" fmla="*/ 28 h 28"/>
                <a:gd name="T18" fmla="*/ 4 w 30"/>
                <a:gd name="T19" fmla="*/ 26 h 28"/>
                <a:gd name="T20" fmla="*/ 4 w 30"/>
                <a:gd name="T21" fmla="*/ 26 h 28"/>
                <a:gd name="T22" fmla="*/ 2 w 30"/>
                <a:gd name="T23" fmla="*/ 26 h 28"/>
                <a:gd name="T24" fmla="*/ 2 w 30"/>
                <a:gd name="T25" fmla="*/ 24 h 28"/>
                <a:gd name="T26" fmla="*/ 2 w 30"/>
                <a:gd name="T27" fmla="*/ 24 h 28"/>
                <a:gd name="T28" fmla="*/ 2 w 30"/>
                <a:gd name="T29" fmla="*/ 22 h 28"/>
                <a:gd name="T30" fmla="*/ 0 w 30"/>
                <a:gd name="T31" fmla="*/ 20 h 28"/>
                <a:gd name="T32" fmla="*/ 0 w 30"/>
                <a:gd name="T33" fmla="*/ 18 h 28"/>
                <a:gd name="T34" fmla="*/ 0 w 30"/>
                <a:gd name="T35" fmla="*/ 16 h 28"/>
                <a:gd name="T36" fmla="*/ 2 w 30"/>
                <a:gd name="T37" fmla="*/ 14 h 28"/>
                <a:gd name="T38" fmla="*/ 2 w 30"/>
                <a:gd name="T39" fmla="*/ 10 h 28"/>
                <a:gd name="T40" fmla="*/ 4 w 30"/>
                <a:gd name="T41" fmla="*/ 8 h 28"/>
                <a:gd name="T42" fmla="*/ 4 w 30"/>
                <a:gd name="T43" fmla="*/ 6 h 28"/>
                <a:gd name="T44" fmla="*/ 6 w 30"/>
                <a:gd name="T45" fmla="*/ 6 h 28"/>
                <a:gd name="T46" fmla="*/ 8 w 30"/>
                <a:gd name="T47" fmla="*/ 4 h 28"/>
                <a:gd name="T48" fmla="*/ 8 w 30"/>
                <a:gd name="T49" fmla="*/ 2 h 28"/>
                <a:gd name="T50" fmla="*/ 10 w 30"/>
                <a:gd name="T51" fmla="*/ 2 h 28"/>
                <a:gd name="T52" fmla="*/ 12 w 30"/>
                <a:gd name="T53" fmla="*/ 0 h 28"/>
                <a:gd name="T54" fmla="*/ 12 w 30"/>
                <a:gd name="T55" fmla="*/ 0 h 28"/>
                <a:gd name="T56" fmla="*/ 14 w 30"/>
                <a:gd name="T57" fmla="*/ 0 h 28"/>
                <a:gd name="T58" fmla="*/ 14 w 30"/>
                <a:gd name="T59" fmla="*/ 0 h 28"/>
                <a:gd name="T60" fmla="*/ 16 w 30"/>
                <a:gd name="T61" fmla="*/ 0 h 28"/>
                <a:gd name="T62" fmla="*/ 18 w 30"/>
                <a:gd name="T63" fmla="*/ 2 h 28"/>
                <a:gd name="T64" fmla="*/ 20 w 30"/>
                <a:gd name="T65" fmla="*/ 2 h 28"/>
                <a:gd name="T66" fmla="*/ 22 w 30"/>
                <a:gd name="T67" fmla="*/ 2 h 28"/>
                <a:gd name="T68" fmla="*/ 22 w 30"/>
                <a:gd name="T69" fmla="*/ 4 h 28"/>
                <a:gd name="T70" fmla="*/ 24 w 30"/>
                <a:gd name="T71" fmla="*/ 6 h 28"/>
                <a:gd name="T72" fmla="*/ 26 w 30"/>
                <a:gd name="T73" fmla="*/ 8 h 28"/>
                <a:gd name="T74" fmla="*/ 28 w 30"/>
                <a:gd name="T75" fmla="*/ 10 h 28"/>
                <a:gd name="T76" fmla="*/ 28 w 30"/>
                <a:gd name="T77" fmla="*/ 12 h 28"/>
                <a:gd name="T78" fmla="*/ 30 w 30"/>
                <a:gd name="T79" fmla="*/ 14 h 28"/>
                <a:gd name="T80" fmla="*/ 30 w 30"/>
                <a:gd name="T81" fmla="*/ 16 h 28"/>
                <a:gd name="T82" fmla="*/ 30 w 30"/>
                <a:gd name="T83" fmla="*/ 18 h 28"/>
                <a:gd name="T84" fmla="*/ 30 w 30"/>
                <a:gd name="T85" fmla="*/ 18 h 28"/>
                <a:gd name="T86" fmla="*/ 30 w 30"/>
                <a:gd name="T87" fmla="*/ 20 h 28"/>
                <a:gd name="T88" fmla="*/ 30 w 30"/>
                <a:gd name="T89" fmla="*/ 20 h 28"/>
                <a:gd name="T90" fmla="*/ 30 w 30"/>
                <a:gd name="T91" fmla="*/ 20 h 28"/>
                <a:gd name="T92" fmla="*/ 28 w 30"/>
                <a:gd name="T93" fmla="*/ 22 h 28"/>
                <a:gd name="T94" fmla="*/ 26 w 30"/>
                <a:gd name="T95" fmla="*/ 22 h 28"/>
                <a:gd name="T96" fmla="*/ 24 w 30"/>
                <a:gd name="T97" fmla="*/ 24 h 28"/>
                <a:gd name="T98" fmla="*/ 20 w 30"/>
                <a:gd name="T99" fmla="*/ 26 h 28"/>
                <a:gd name="T100" fmla="*/ 20 w 30"/>
                <a:gd name="T101"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 h="28">
                  <a:moveTo>
                    <a:pt x="20" y="26"/>
                  </a:moveTo>
                  <a:lnTo>
                    <a:pt x="20" y="26"/>
                  </a:lnTo>
                  <a:lnTo>
                    <a:pt x="18" y="26"/>
                  </a:lnTo>
                  <a:lnTo>
                    <a:pt x="16" y="26"/>
                  </a:lnTo>
                  <a:lnTo>
                    <a:pt x="12" y="28"/>
                  </a:lnTo>
                  <a:lnTo>
                    <a:pt x="10" y="28"/>
                  </a:lnTo>
                  <a:lnTo>
                    <a:pt x="6" y="28"/>
                  </a:lnTo>
                  <a:lnTo>
                    <a:pt x="6" y="28"/>
                  </a:lnTo>
                  <a:lnTo>
                    <a:pt x="4" y="28"/>
                  </a:lnTo>
                  <a:lnTo>
                    <a:pt x="4" y="26"/>
                  </a:lnTo>
                  <a:lnTo>
                    <a:pt x="4" y="26"/>
                  </a:lnTo>
                  <a:lnTo>
                    <a:pt x="2" y="26"/>
                  </a:lnTo>
                  <a:lnTo>
                    <a:pt x="2" y="24"/>
                  </a:lnTo>
                  <a:lnTo>
                    <a:pt x="2" y="24"/>
                  </a:lnTo>
                  <a:lnTo>
                    <a:pt x="2" y="22"/>
                  </a:lnTo>
                  <a:lnTo>
                    <a:pt x="0" y="20"/>
                  </a:lnTo>
                  <a:lnTo>
                    <a:pt x="0" y="18"/>
                  </a:lnTo>
                  <a:lnTo>
                    <a:pt x="0" y="16"/>
                  </a:lnTo>
                  <a:lnTo>
                    <a:pt x="2" y="14"/>
                  </a:lnTo>
                  <a:lnTo>
                    <a:pt x="2" y="10"/>
                  </a:lnTo>
                  <a:lnTo>
                    <a:pt x="4" y="8"/>
                  </a:lnTo>
                  <a:lnTo>
                    <a:pt x="4" y="6"/>
                  </a:lnTo>
                  <a:lnTo>
                    <a:pt x="6" y="6"/>
                  </a:lnTo>
                  <a:lnTo>
                    <a:pt x="8" y="4"/>
                  </a:lnTo>
                  <a:lnTo>
                    <a:pt x="8" y="2"/>
                  </a:lnTo>
                  <a:lnTo>
                    <a:pt x="10" y="2"/>
                  </a:lnTo>
                  <a:lnTo>
                    <a:pt x="12" y="0"/>
                  </a:lnTo>
                  <a:lnTo>
                    <a:pt x="12" y="0"/>
                  </a:lnTo>
                  <a:lnTo>
                    <a:pt x="14" y="0"/>
                  </a:lnTo>
                  <a:lnTo>
                    <a:pt x="14" y="0"/>
                  </a:lnTo>
                  <a:lnTo>
                    <a:pt x="16" y="0"/>
                  </a:lnTo>
                  <a:lnTo>
                    <a:pt x="18" y="2"/>
                  </a:lnTo>
                  <a:lnTo>
                    <a:pt x="20" y="2"/>
                  </a:lnTo>
                  <a:lnTo>
                    <a:pt x="22" y="2"/>
                  </a:lnTo>
                  <a:lnTo>
                    <a:pt x="22" y="4"/>
                  </a:lnTo>
                  <a:lnTo>
                    <a:pt x="24" y="6"/>
                  </a:lnTo>
                  <a:lnTo>
                    <a:pt x="26" y="8"/>
                  </a:lnTo>
                  <a:lnTo>
                    <a:pt x="28" y="10"/>
                  </a:lnTo>
                  <a:lnTo>
                    <a:pt x="28" y="12"/>
                  </a:lnTo>
                  <a:lnTo>
                    <a:pt x="30" y="14"/>
                  </a:lnTo>
                  <a:lnTo>
                    <a:pt x="30" y="16"/>
                  </a:lnTo>
                  <a:lnTo>
                    <a:pt x="30" y="18"/>
                  </a:lnTo>
                  <a:lnTo>
                    <a:pt x="30" y="18"/>
                  </a:lnTo>
                  <a:lnTo>
                    <a:pt x="30" y="20"/>
                  </a:lnTo>
                  <a:lnTo>
                    <a:pt x="30" y="20"/>
                  </a:lnTo>
                  <a:lnTo>
                    <a:pt x="30" y="20"/>
                  </a:lnTo>
                  <a:lnTo>
                    <a:pt x="28" y="22"/>
                  </a:lnTo>
                  <a:lnTo>
                    <a:pt x="26" y="22"/>
                  </a:lnTo>
                  <a:lnTo>
                    <a:pt x="24" y="24"/>
                  </a:lnTo>
                  <a:lnTo>
                    <a:pt x="20" y="26"/>
                  </a:lnTo>
                  <a:lnTo>
                    <a:pt x="20" y="2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5" name="Freeform 323">
              <a:extLst>
                <a:ext uri="{FF2B5EF4-FFF2-40B4-BE49-F238E27FC236}">
                  <a16:creationId xmlns:a16="http://schemas.microsoft.com/office/drawing/2014/main" id="{4354CB20-FFD3-4FAB-B189-3099D2E56F33}"/>
                </a:ext>
              </a:extLst>
            </p:cNvPr>
            <p:cNvSpPr>
              <a:spLocks/>
            </p:cNvSpPr>
            <p:nvPr/>
          </p:nvSpPr>
          <p:spPr bwMode="auto">
            <a:xfrm>
              <a:off x="4099468" y="2813676"/>
              <a:ext cx="20785" cy="38106"/>
            </a:xfrm>
            <a:custGeom>
              <a:avLst/>
              <a:gdLst>
                <a:gd name="T0" fmla="*/ 10 w 12"/>
                <a:gd name="T1" fmla="*/ 0 h 22"/>
                <a:gd name="T2" fmla="*/ 10 w 12"/>
                <a:gd name="T3" fmla="*/ 0 h 22"/>
                <a:gd name="T4" fmla="*/ 10 w 12"/>
                <a:gd name="T5" fmla="*/ 0 h 22"/>
                <a:gd name="T6" fmla="*/ 10 w 12"/>
                <a:gd name="T7" fmla="*/ 0 h 22"/>
                <a:gd name="T8" fmla="*/ 10 w 12"/>
                <a:gd name="T9" fmla="*/ 0 h 22"/>
                <a:gd name="T10" fmla="*/ 8 w 12"/>
                <a:gd name="T11" fmla="*/ 0 h 22"/>
                <a:gd name="T12" fmla="*/ 8 w 12"/>
                <a:gd name="T13" fmla="*/ 0 h 22"/>
                <a:gd name="T14" fmla="*/ 6 w 12"/>
                <a:gd name="T15" fmla="*/ 2 h 22"/>
                <a:gd name="T16" fmla="*/ 4 w 12"/>
                <a:gd name="T17" fmla="*/ 2 h 22"/>
                <a:gd name="T18" fmla="*/ 2 w 12"/>
                <a:gd name="T19" fmla="*/ 4 h 22"/>
                <a:gd name="T20" fmla="*/ 2 w 12"/>
                <a:gd name="T21" fmla="*/ 6 h 22"/>
                <a:gd name="T22" fmla="*/ 0 w 12"/>
                <a:gd name="T23" fmla="*/ 6 h 22"/>
                <a:gd name="T24" fmla="*/ 0 w 12"/>
                <a:gd name="T25" fmla="*/ 8 h 22"/>
                <a:gd name="T26" fmla="*/ 0 w 12"/>
                <a:gd name="T27" fmla="*/ 8 h 22"/>
                <a:gd name="T28" fmla="*/ 0 w 12"/>
                <a:gd name="T29" fmla="*/ 10 h 22"/>
                <a:gd name="T30" fmla="*/ 0 w 12"/>
                <a:gd name="T31" fmla="*/ 12 h 22"/>
                <a:gd name="T32" fmla="*/ 0 w 12"/>
                <a:gd name="T33" fmla="*/ 12 h 22"/>
                <a:gd name="T34" fmla="*/ 0 w 12"/>
                <a:gd name="T35" fmla="*/ 14 h 22"/>
                <a:gd name="T36" fmla="*/ 0 w 12"/>
                <a:gd name="T37" fmla="*/ 16 h 22"/>
                <a:gd name="T38" fmla="*/ 0 w 12"/>
                <a:gd name="T39" fmla="*/ 16 h 22"/>
                <a:gd name="T40" fmla="*/ 0 w 12"/>
                <a:gd name="T41" fmla="*/ 16 h 22"/>
                <a:gd name="T42" fmla="*/ 0 w 12"/>
                <a:gd name="T43" fmla="*/ 18 h 22"/>
                <a:gd name="T44" fmla="*/ 2 w 12"/>
                <a:gd name="T45" fmla="*/ 20 h 22"/>
                <a:gd name="T46" fmla="*/ 2 w 12"/>
                <a:gd name="T47" fmla="*/ 20 h 22"/>
                <a:gd name="T48" fmla="*/ 4 w 12"/>
                <a:gd name="T49" fmla="*/ 20 h 22"/>
                <a:gd name="T50" fmla="*/ 4 w 12"/>
                <a:gd name="T51" fmla="*/ 22 h 22"/>
                <a:gd name="T52" fmla="*/ 4 w 12"/>
                <a:gd name="T53" fmla="*/ 22 h 22"/>
                <a:gd name="T54" fmla="*/ 6 w 12"/>
                <a:gd name="T55" fmla="*/ 22 h 22"/>
                <a:gd name="T56" fmla="*/ 6 w 12"/>
                <a:gd name="T57" fmla="*/ 20 h 22"/>
                <a:gd name="T58" fmla="*/ 8 w 12"/>
                <a:gd name="T59" fmla="*/ 20 h 22"/>
                <a:gd name="T60" fmla="*/ 8 w 12"/>
                <a:gd name="T61" fmla="*/ 18 h 22"/>
                <a:gd name="T62" fmla="*/ 10 w 12"/>
                <a:gd name="T63" fmla="*/ 18 h 22"/>
                <a:gd name="T64" fmla="*/ 10 w 12"/>
                <a:gd name="T65" fmla="*/ 16 h 22"/>
                <a:gd name="T66" fmla="*/ 12 w 12"/>
                <a:gd name="T67" fmla="*/ 14 h 22"/>
                <a:gd name="T68" fmla="*/ 12 w 12"/>
                <a:gd name="T69" fmla="*/ 12 h 22"/>
                <a:gd name="T70" fmla="*/ 12 w 12"/>
                <a:gd name="T71" fmla="*/ 12 h 22"/>
                <a:gd name="T72" fmla="*/ 12 w 12"/>
                <a:gd name="T73" fmla="*/ 10 h 22"/>
                <a:gd name="T74" fmla="*/ 12 w 12"/>
                <a:gd name="T75" fmla="*/ 8 h 22"/>
                <a:gd name="T76" fmla="*/ 12 w 12"/>
                <a:gd name="T77" fmla="*/ 6 h 22"/>
                <a:gd name="T78" fmla="*/ 12 w 12"/>
                <a:gd name="T79" fmla="*/ 6 h 22"/>
                <a:gd name="T80" fmla="*/ 12 w 12"/>
                <a:gd name="T81" fmla="*/ 4 h 22"/>
                <a:gd name="T82" fmla="*/ 12 w 12"/>
                <a:gd name="T83" fmla="*/ 2 h 22"/>
                <a:gd name="T84" fmla="*/ 12 w 12"/>
                <a:gd name="T85" fmla="*/ 2 h 22"/>
                <a:gd name="T86" fmla="*/ 12 w 12"/>
                <a:gd name="T87" fmla="*/ 0 h 22"/>
                <a:gd name="T88" fmla="*/ 12 w 12"/>
                <a:gd name="T89" fmla="*/ 0 h 22"/>
                <a:gd name="T90" fmla="*/ 10 w 12"/>
                <a:gd name="T9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 h="22">
                  <a:moveTo>
                    <a:pt x="10" y="0"/>
                  </a:moveTo>
                  <a:lnTo>
                    <a:pt x="10" y="0"/>
                  </a:lnTo>
                  <a:lnTo>
                    <a:pt x="10" y="0"/>
                  </a:lnTo>
                  <a:lnTo>
                    <a:pt x="10" y="0"/>
                  </a:lnTo>
                  <a:lnTo>
                    <a:pt x="10" y="0"/>
                  </a:lnTo>
                  <a:lnTo>
                    <a:pt x="8" y="0"/>
                  </a:lnTo>
                  <a:lnTo>
                    <a:pt x="8" y="0"/>
                  </a:lnTo>
                  <a:lnTo>
                    <a:pt x="6" y="2"/>
                  </a:lnTo>
                  <a:lnTo>
                    <a:pt x="4" y="2"/>
                  </a:lnTo>
                  <a:lnTo>
                    <a:pt x="2" y="4"/>
                  </a:lnTo>
                  <a:lnTo>
                    <a:pt x="2" y="6"/>
                  </a:lnTo>
                  <a:lnTo>
                    <a:pt x="0" y="6"/>
                  </a:lnTo>
                  <a:lnTo>
                    <a:pt x="0" y="8"/>
                  </a:lnTo>
                  <a:lnTo>
                    <a:pt x="0" y="8"/>
                  </a:lnTo>
                  <a:lnTo>
                    <a:pt x="0" y="10"/>
                  </a:lnTo>
                  <a:lnTo>
                    <a:pt x="0" y="12"/>
                  </a:lnTo>
                  <a:lnTo>
                    <a:pt x="0" y="12"/>
                  </a:lnTo>
                  <a:lnTo>
                    <a:pt x="0" y="14"/>
                  </a:lnTo>
                  <a:lnTo>
                    <a:pt x="0" y="16"/>
                  </a:lnTo>
                  <a:lnTo>
                    <a:pt x="0" y="16"/>
                  </a:lnTo>
                  <a:lnTo>
                    <a:pt x="0" y="16"/>
                  </a:lnTo>
                  <a:lnTo>
                    <a:pt x="0" y="18"/>
                  </a:lnTo>
                  <a:lnTo>
                    <a:pt x="2" y="20"/>
                  </a:lnTo>
                  <a:lnTo>
                    <a:pt x="2" y="20"/>
                  </a:lnTo>
                  <a:lnTo>
                    <a:pt x="4" y="20"/>
                  </a:lnTo>
                  <a:lnTo>
                    <a:pt x="4" y="22"/>
                  </a:lnTo>
                  <a:lnTo>
                    <a:pt x="4" y="22"/>
                  </a:lnTo>
                  <a:lnTo>
                    <a:pt x="6" y="22"/>
                  </a:lnTo>
                  <a:lnTo>
                    <a:pt x="6" y="20"/>
                  </a:lnTo>
                  <a:lnTo>
                    <a:pt x="8" y="20"/>
                  </a:lnTo>
                  <a:lnTo>
                    <a:pt x="8" y="18"/>
                  </a:lnTo>
                  <a:lnTo>
                    <a:pt x="10" y="18"/>
                  </a:lnTo>
                  <a:lnTo>
                    <a:pt x="10" y="16"/>
                  </a:lnTo>
                  <a:lnTo>
                    <a:pt x="12" y="14"/>
                  </a:lnTo>
                  <a:lnTo>
                    <a:pt x="12" y="12"/>
                  </a:lnTo>
                  <a:lnTo>
                    <a:pt x="12" y="12"/>
                  </a:lnTo>
                  <a:lnTo>
                    <a:pt x="12" y="10"/>
                  </a:lnTo>
                  <a:lnTo>
                    <a:pt x="12" y="8"/>
                  </a:lnTo>
                  <a:lnTo>
                    <a:pt x="12" y="6"/>
                  </a:lnTo>
                  <a:lnTo>
                    <a:pt x="12" y="6"/>
                  </a:lnTo>
                  <a:lnTo>
                    <a:pt x="12" y="4"/>
                  </a:lnTo>
                  <a:lnTo>
                    <a:pt x="12" y="2"/>
                  </a:lnTo>
                  <a:lnTo>
                    <a:pt x="12" y="2"/>
                  </a:lnTo>
                  <a:lnTo>
                    <a:pt x="12" y="0"/>
                  </a:lnTo>
                  <a:lnTo>
                    <a:pt x="12" y="0"/>
                  </a:lnTo>
                  <a:lnTo>
                    <a:pt x="10"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6" name="Freeform 324">
              <a:extLst>
                <a:ext uri="{FF2B5EF4-FFF2-40B4-BE49-F238E27FC236}">
                  <a16:creationId xmlns:a16="http://schemas.microsoft.com/office/drawing/2014/main" id="{CB88B818-1479-452A-B5C7-322B1CBC2644}"/>
                </a:ext>
              </a:extLst>
            </p:cNvPr>
            <p:cNvSpPr>
              <a:spLocks/>
            </p:cNvSpPr>
            <p:nvPr/>
          </p:nvSpPr>
          <p:spPr bwMode="auto">
            <a:xfrm>
              <a:off x="4099468" y="2813676"/>
              <a:ext cx="20785" cy="38106"/>
            </a:xfrm>
            <a:custGeom>
              <a:avLst/>
              <a:gdLst>
                <a:gd name="T0" fmla="*/ 10 w 12"/>
                <a:gd name="T1" fmla="*/ 0 h 22"/>
                <a:gd name="T2" fmla="*/ 10 w 12"/>
                <a:gd name="T3" fmla="*/ 0 h 22"/>
                <a:gd name="T4" fmla="*/ 10 w 12"/>
                <a:gd name="T5" fmla="*/ 0 h 22"/>
                <a:gd name="T6" fmla="*/ 10 w 12"/>
                <a:gd name="T7" fmla="*/ 0 h 22"/>
                <a:gd name="T8" fmla="*/ 10 w 12"/>
                <a:gd name="T9" fmla="*/ 0 h 22"/>
                <a:gd name="T10" fmla="*/ 8 w 12"/>
                <a:gd name="T11" fmla="*/ 0 h 22"/>
                <a:gd name="T12" fmla="*/ 8 w 12"/>
                <a:gd name="T13" fmla="*/ 0 h 22"/>
                <a:gd name="T14" fmla="*/ 6 w 12"/>
                <a:gd name="T15" fmla="*/ 2 h 22"/>
                <a:gd name="T16" fmla="*/ 4 w 12"/>
                <a:gd name="T17" fmla="*/ 2 h 22"/>
                <a:gd name="T18" fmla="*/ 2 w 12"/>
                <a:gd name="T19" fmla="*/ 4 h 22"/>
                <a:gd name="T20" fmla="*/ 2 w 12"/>
                <a:gd name="T21" fmla="*/ 6 h 22"/>
                <a:gd name="T22" fmla="*/ 0 w 12"/>
                <a:gd name="T23" fmla="*/ 6 h 22"/>
                <a:gd name="T24" fmla="*/ 0 w 12"/>
                <a:gd name="T25" fmla="*/ 8 h 22"/>
                <a:gd name="T26" fmla="*/ 0 w 12"/>
                <a:gd name="T27" fmla="*/ 8 h 22"/>
                <a:gd name="T28" fmla="*/ 0 w 12"/>
                <a:gd name="T29" fmla="*/ 10 h 22"/>
                <a:gd name="T30" fmla="*/ 0 w 12"/>
                <a:gd name="T31" fmla="*/ 12 h 22"/>
                <a:gd name="T32" fmla="*/ 0 w 12"/>
                <a:gd name="T33" fmla="*/ 12 h 22"/>
                <a:gd name="T34" fmla="*/ 0 w 12"/>
                <a:gd name="T35" fmla="*/ 14 h 22"/>
                <a:gd name="T36" fmla="*/ 0 w 12"/>
                <a:gd name="T37" fmla="*/ 16 h 22"/>
                <a:gd name="T38" fmla="*/ 0 w 12"/>
                <a:gd name="T39" fmla="*/ 16 h 22"/>
                <a:gd name="T40" fmla="*/ 0 w 12"/>
                <a:gd name="T41" fmla="*/ 16 h 22"/>
                <a:gd name="T42" fmla="*/ 0 w 12"/>
                <a:gd name="T43" fmla="*/ 18 h 22"/>
                <a:gd name="T44" fmla="*/ 2 w 12"/>
                <a:gd name="T45" fmla="*/ 20 h 22"/>
                <a:gd name="T46" fmla="*/ 2 w 12"/>
                <a:gd name="T47" fmla="*/ 20 h 22"/>
                <a:gd name="T48" fmla="*/ 4 w 12"/>
                <a:gd name="T49" fmla="*/ 20 h 22"/>
                <a:gd name="T50" fmla="*/ 4 w 12"/>
                <a:gd name="T51" fmla="*/ 22 h 22"/>
                <a:gd name="T52" fmla="*/ 4 w 12"/>
                <a:gd name="T53" fmla="*/ 22 h 22"/>
                <a:gd name="T54" fmla="*/ 6 w 12"/>
                <a:gd name="T55" fmla="*/ 22 h 22"/>
                <a:gd name="T56" fmla="*/ 6 w 12"/>
                <a:gd name="T57" fmla="*/ 20 h 22"/>
                <a:gd name="T58" fmla="*/ 8 w 12"/>
                <a:gd name="T59" fmla="*/ 20 h 22"/>
                <a:gd name="T60" fmla="*/ 8 w 12"/>
                <a:gd name="T61" fmla="*/ 18 h 22"/>
                <a:gd name="T62" fmla="*/ 10 w 12"/>
                <a:gd name="T63" fmla="*/ 18 h 22"/>
                <a:gd name="T64" fmla="*/ 10 w 12"/>
                <a:gd name="T65" fmla="*/ 16 h 22"/>
                <a:gd name="T66" fmla="*/ 12 w 12"/>
                <a:gd name="T67" fmla="*/ 14 h 22"/>
                <a:gd name="T68" fmla="*/ 12 w 12"/>
                <a:gd name="T69" fmla="*/ 12 h 22"/>
                <a:gd name="T70" fmla="*/ 12 w 12"/>
                <a:gd name="T71" fmla="*/ 12 h 22"/>
                <a:gd name="T72" fmla="*/ 12 w 12"/>
                <a:gd name="T73" fmla="*/ 10 h 22"/>
                <a:gd name="T74" fmla="*/ 12 w 12"/>
                <a:gd name="T75" fmla="*/ 8 h 22"/>
                <a:gd name="T76" fmla="*/ 12 w 12"/>
                <a:gd name="T77" fmla="*/ 6 h 22"/>
                <a:gd name="T78" fmla="*/ 12 w 12"/>
                <a:gd name="T79" fmla="*/ 6 h 22"/>
                <a:gd name="T80" fmla="*/ 12 w 12"/>
                <a:gd name="T81" fmla="*/ 4 h 22"/>
                <a:gd name="T82" fmla="*/ 12 w 12"/>
                <a:gd name="T83" fmla="*/ 2 h 22"/>
                <a:gd name="T84" fmla="*/ 12 w 12"/>
                <a:gd name="T85" fmla="*/ 2 h 22"/>
                <a:gd name="T86" fmla="*/ 12 w 12"/>
                <a:gd name="T87" fmla="*/ 0 h 22"/>
                <a:gd name="T88" fmla="*/ 12 w 12"/>
                <a:gd name="T89" fmla="*/ 0 h 22"/>
                <a:gd name="T90" fmla="*/ 10 w 12"/>
                <a:gd name="T9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 h="22">
                  <a:moveTo>
                    <a:pt x="10" y="0"/>
                  </a:moveTo>
                  <a:lnTo>
                    <a:pt x="10" y="0"/>
                  </a:lnTo>
                  <a:lnTo>
                    <a:pt x="10" y="0"/>
                  </a:lnTo>
                  <a:lnTo>
                    <a:pt x="10" y="0"/>
                  </a:lnTo>
                  <a:lnTo>
                    <a:pt x="10" y="0"/>
                  </a:lnTo>
                  <a:lnTo>
                    <a:pt x="8" y="0"/>
                  </a:lnTo>
                  <a:lnTo>
                    <a:pt x="8" y="0"/>
                  </a:lnTo>
                  <a:lnTo>
                    <a:pt x="6" y="2"/>
                  </a:lnTo>
                  <a:lnTo>
                    <a:pt x="4" y="2"/>
                  </a:lnTo>
                  <a:lnTo>
                    <a:pt x="2" y="4"/>
                  </a:lnTo>
                  <a:lnTo>
                    <a:pt x="2" y="6"/>
                  </a:lnTo>
                  <a:lnTo>
                    <a:pt x="0" y="6"/>
                  </a:lnTo>
                  <a:lnTo>
                    <a:pt x="0" y="8"/>
                  </a:lnTo>
                  <a:lnTo>
                    <a:pt x="0" y="8"/>
                  </a:lnTo>
                  <a:lnTo>
                    <a:pt x="0" y="10"/>
                  </a:lnTo>
                  <a:lnTo>
                    <a:pt x="0" y="12"/>
                  </a:lnTo>
                  <a:lnTo>
                    <a:pt x="0" y="12"/>
                  </a:lnTo>
                  <a:lnTo>
                    <a:pt x="0" y="14"/>
                  </a:lnTo>
                  <a:lnTo>
                    <a:pt x="0" y="16"/>
                  </a:lnTo>
                  <a:lnTo>
                    <a:pt x="0" y="16"/>
                  </a:lnTo>
                  <a:lnTo>
                    <a:pt x="0" y="16"/>
                  </a:lnTo>
                  <a:lnTo>
                    <a:pt x="0" y="18"/>
                  </a:lnTo>
                  <a:lnTo>
                    <a:pt x="2" y="20"/>
                  </a:lnTo>
                  <a:lnTo>
                    <a:pt x="2" y="20"/>
                  </a:lnTo>
                  <a:lnTo>
                    <a:pt x="4" y="20"/>
                  </a:lnTo>
                  <a:lnTo>
                    <a:pt x="4" y="22"/>
                  </a:lnTo>
                  <a:lnTo>
                    <a:pt x="4" y="22"/>
                  </a:lnTo>
                  <a:lnTo>
                    <a:pt x="6" y="22"/>
                  </a:lnTo>
                  <a:lnTo>
                    <a:pt x="6" y="20"/>
                  </a:lnTo>
                  <a:lnTo>
                    <a:pt x="8" y="20"/>
                  </a:lnTo>
                  <a:lnTo>
                    <a:pt x="8" y="18"/>
                  </a:lnTo>
                  <a:lnTo>
                    <a:pt x="10" y="18"/>
                  </a:lnTo>
                  <a:lnTo>
                    <a:pt x="10" y="16"/>
                  </a:lnTo>
                  <a:lnTo>
                    <a:pt x="12" y="14"/>
                  </a:lnTo>
                  <a:lnTo>
                    <a:pt x="12" y="12"/>
                  </a:lnTo>
                  <a:lnTo>
                    <a:pt x="12" y="12"/>
                  </a:lnTo>
                  <a:lnTo>
                    <a:pt x="12" y="10"/>
                  </a:lnTo>
                  <a:lnTo>
                    <a:pt x="12" y="8"/>
                  </a:lnTo>
                  <a:lnTo>
                    <a:pt x="12" y="6"/>
                  </a:lnTo>
                  <a:lnTo>
                    <a:pt x="12" y="6"/>
                  </a:lnTo>
                  <a:lnTo>
                    <a:pt x="12" y="4"/>
                  </a:lnTo>
                  <a:lnTo>
                    <a:pt x="12" y="2"/>
                  </a:lnTo>
                  <a:lnTo>
                    <a:pt x="12" y="2"/>
                  </a:lnTo>
                  <a:lnTo>
                    <a:pt x="12" y="0"/>
                  </a:lnTo>
                  <a:lnTo>
                    <a:pt x="12" y="0"/>
                  </a:lnTo>
                  <a:lnTo>
                    <a:pt x="10"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7" name="Freeform 325">
              <a:extLst>
                <a:ext uri="{FF2B5EF4-FFF2-40B4-BE49-F238E27FC236}">
                  <a16:creationId xmlns:a16="http://schemas.microsoft.com/office/drawing/2014/main" id="{0E32F039-E1B0-48A6-BDAF-EBC9D251C59F}"/>
                </a:ext>
              </a:extLst>
            </p:cNvPr>
            <p:cNvSpPr>
              <a:spLocks/>
            </p:cNvSpPr>
            <p:nvPr/>
          </p:nvSpPr>
          <p:spPr bwMode="auto">
            <a:xfrm>
              <a:off x="4227642" y="2723608"/>
              <a:ext cx="17321" cy="34641"/>
            </a:xfrm>
            <a:custGeom>
              <a:avLst/>
              <a:gdLst>
                <a:gd name="T0" fmla="*/ 6 w 10"/>
                <a:gd name="T1" fmla="*/ 0 h 20"/>
                <a:gd name="T2" fmla="*/ 6 w 10"/>
                <a:gd name="T3" fmla="*/ 0 h 20"/>
                <a:gd name="T4" fmla="*/ 6 w 10"/>
                <a:gd name="T5" fmla="*/ 0 h 20"/>
                <a:gd name="T6" fmla="*/ 6 w 10"/>
                <a:gd name="T7" fmla="*/ 0 h 20"/>
                <a:gd name="T8" fmla="*/ 6 w 10"/>
                <a:gd name="T9" fmla="*/ 0 h 20"/>
                <a:gd name="T10" fmla="*/ 4 w 10"/>
                <a:gd name="T11" fmla="*/ 2 h 20"/>
                <a:gd name="T12" fmla="*/ 4 w 10"/>
                <a:gd name="T13" fmla="*/ 2 h 20"/>
                <a:gd name="T14" fmla="*/ 2 w 10"/>
                <a:gd name="T15" fmla="*/ 4 h 20"/>
                <a:gd name="T16" fmla="*/ 2 w 10"/>
                <a:gd name="T17" fmla="*/ 4 h 20"/>
                <a:gd name="T18" fmla="*/ 0 w 10"/>
                <a:gd name="T19" fmla="*/ 6 h 20"/>
                <a:gd name="T20" fmla="*/ 0 w 10"/>
                <a:gd name="T21" fmla="*/ 8 h 20"/>
                <a:gd name="T22" fmla="*/ 0 w 10"/>
                <a:gd name="T23" fmla="*/ 10 h 20"/>
                <a:gd name="T24" fmla="*/ 0 w 10"/>
                <a:gd name="T25" fmla="*/ 10 h 20"/>
                <a:gd name="T26" fmla="*/ 0 w 10"/>
                <a:gd name="T27" fmla="*/ 12 h 20"/>
                <a:gd name="T28" fmla="*/ 0 w 10"/>
                <a:gd name="T29" fmla="*/ 12 h 20"/>
                <a:gd name="T30" fmla="*/ 0 w 10"/>
                <a:gd name="T31" fmla="*/ 14 h 20"/>
                <a:gd name="T32" fmla="*/ 0 w 10"/>
                <a:gd name="T33" fmla="*/ 16 h 20"/>
                <a:gd name="T34" fmla="*/ 0 w 10"/>
                <a:gd name="T35" fmla="*/ 16 h 20"/>
                <a:gd name="T36" fmla="*/ 2 w 10"/>
                <a:gd name="T37" fmla="*/ 18 h 20"/>
                <a:gd name="T38" fmla="*/ 2 w 10"/>
                <a:gd name="T39" fmla="*/ 18 h 20"/>
                <a:gd name="T40" fmla="*/ 2 w 10"/>
                <a:gd name="T41" fmla="*/ 18 h 20"/>
                <a:gd name="T42" fmla="*/ 4 w 10"/>
                <a:gd name="T43" fmla="*/ 20 h 20"/>
                <a:gd name="T44" fmla="*/ 4 w 10"/>
                <a:gd name="T45" fmla="*/ 20 h 20"/>
                <a:gd name="T46" fmla="*/ 6 w 10"/>
                <a:gd name="T47" fmla="*/ 20 h 20"/>
                <a:gd name="T48" fmla="*/ 6 w 10"/>
                <a:gd name="T49" fmla="*/ 20 h 20"/>
                <a:gd name="T50" fmla="*/ 6 w 10"/>
                <a:gd name="T51" fmla="*/ 20 h 20"/>
                <a:gd name="T52" fmla="*/ 8 w 10"/>
                <a:gd name="T53" fmla="*/ 20 h 20"/>
                <a:gd name="T54" fmla="*/ 8 w 10"/>
                <a:gd name="T55" fmla="*/ 18 h 20"/>
                <a:gd name="T56" fmla="*/ 8 w 10"/>
                <a:gd name="T57" fmla="*/ 18 h 20"/>
                <a:gd name="T58" fmla="*/ 10 w 10"/>
                <a:gd name="T59" fmla="*/ 18 h 20"/>
                <a:gd name="T60" fmla="*/ 10 w 10"/>
                <a:gd name="T61" fmla="*/ 16 h 20"/>
                <a:gd name="T62" fmla="*/ 10 w 10"/>
                <a:gd name="T63" fmla="*/ 14 h 20"/>
                <a:gd name="T64" fmla="*/ 10 w 10"/>
                <a:gd name="T65" fmla="*/ 14 h 20"/>
                <a:gd name="T66" fmla="*/ 10 w 10"/>
                <a:gd name="T67" fmla="*/ 12 h 20"/>
                <a:gd name="T68" fmla="*/ 10 w 10"/>
                <a:gd name="T69" fmla="*/ 10 h 20"/>
                <a:gd name="T70" fmla="*/ 10 w 10"/>
                <a:gd name="T71" fmla="*/ 8 h 20"/>
                <a:gd name="T72" fmla="*/ 10 w 10"/>
                <a:gd name="T73" fmla="*/ 6 h 20"/>
                <a:gd name="T74" fmla="*/ 10 w 10"/>
                <a:gd name="T75" fmla="*/ 4 h 20"/>
                <a:gd name="T76" fmla="*/ 10 w 10"/>
                <a:gd name="T77" fmla="*/ 4 h 20"/>
                <a:gd name="T78" fmla="*/ 8 w 10"/>
                <a:gd name="T79" fmla="*/ 2 h 20"/>
                <a:gd name="T80" fmla="*/ 8 w 10"/>
                <a:gd name="T81" fmla="*/ 2 h 20"/>
                <a:gd name="T82" fmla="*/ 8 w 10"/>
                <a:gd name="T83" fmla="*/ 0 h 20"/>
                <a:gd name="T84" fmla="*/ 6 w 10"/>
                <a:gd name="T8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 h="20">
                  <a:moveTo>
                    <a:pt x="6" y="0"/>
                  </a:moveTo>
                  <a:lnTo>
                    <a:pt x="6" y="0"/>
                  </a:lnTo>
                  <a:lnTo>
                    <a:pt x="6" y="0"/>
                  </a:lnTo>
                  <a:lnTo>
                    <a:pt x="6" y="0"/>
                  </a:lnTo>
                  <a:lnTo>
                    <a:pt x="6" y="0"/>
                  </a:lnTo>
                  <a:lnTo>
                    <a:pt x="4" y="2"/>
                  </a:lnTo>
                  <a:lnTo>
                    <a:pt x="4" y="2"/>
                  </a:lnTo>
                  <a:lnTo>
                    <a:pt x="2" y="4"/>
                  </a:lnTo>
                  <a:lnTo>
                    <a:pt x="2" y="4"/>
                  </a:lnTo>
                  <a:lnTo>
                    <a:pt x="0" y="6"/>
                  </a:lnTo>
                  <a:lnTo>
                    <a:pt x="0" y="8"/>
                  </a:lnTo>
                  <a:lnTo>
                    <a:pt x="0" y="10"/>
                  </a:lnTo>
                  <a:lnTo>
                    <a:pt x="0" y="10"/>
                  </a:lnTo>
                  <a:lnTo>
                    <a:pt x="0" y="12"/>
                  </a:lnTo>
                  <a:lnTo>
                    <a:pt x="0" y="12"/>
                  </a:lnTo>
                  <a:lnTo>
                    <a:pt x="0" y="14"/>
                  </a:lnTo>
                  <a:lnTo>
                    <a:pt x="0" y="16"/>
                  </a:lnTo>
                  <a:lnTo>
                    <a:pt x="0" y="16"/>
                  </a:lnTo>
                  <a:lnTo>
                    <a:pt x="2" y="18"/>
                  </a:lnTo>
                  <a:lnTo>
                    <a:pt x="2" y="18"/>
                  </a:lnTo>
                  <a:lnTo>
                    <a:pt x="2" y="18"/>
                  </a:lnTo>
                  <a:lnTo>
                    <a:pt x="4" y="20"/>
                  </a:lnTo>
                  <a:lnTo>
                    <a:pt x="4" y="20"/>
                  </a:lnTo>
                  <a:lnTo>
                    <a:pt x="6" y="20"/>
                  </a:lnTo>
                  <a:lnTo>
                    <a:pt x="6" y="20"/>
                  </a:lnTo>
                  <a:lnTo>
                    <a:pt x="6" y="20"/>
                  </a:lnTo>
                  <a:lnTo>
                    <a:pt x="8" y="20"/>
                  </a:lnTo>
                  <a:lnTo>
                    <a:pt x="8" y="18"/>
                  </a:lnTo>
                  <a:lnTo>
                    <a:pt x="8" y="18"/>
                  </a:lnTo>
                  <a:lnTo>
                    <a:pt x="10" y="18"/>
                  </a:lnTo>
                  <a:lnTo>
                    <a:pt x="10" y="16"/>
                  </a:lnTo>
                  <a:lnTo>
                    <a:pt x="10" y="14"/>
                  </a:lnTo>
                  <a:lnTo>
                    <a:pt x="10" y="14"/>
                  </a:lnTo>
                  <a:lnTo>
                    <a:pt x="10" y="12"/>
                  </a:lnTo>
                  <a:lnTo>
                    <a:pt x="10" y="10"/>
                  </a:lnTo>
                  <a:lnTo>
                    <a:pt x="10" y="8"/>
                  </a:lnTo>
                  <a:lnTo>
                    <a:pt x="10" y="6"/>
                  </a:lnTo>
                  <a:lnTo>
                    <a:pt x="10" y="4"/>
                  </a:lnTo>
                  <a:lnTo>
                    <a:pt x="10" y="4"/>
                  </a:lnTo>
                  <a:lnTo>
                    <a:pt x="8" y="2"/>
                  </a:lnTo>
                  <a:lnTo>
                    <a:pt x="8" y="2"/>
                  </a:lnTo>
                  <a:lnTo>
                    <a:pt x="8" y="0"/>
                  </a:lnTo>
                  <a:lnTo>
                    <a:pt x="6"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8" name="Freeform 326">
              <a:extLst>
                <a:ext uri="{FF2B5EF4-FFF2-40B4-BE49-F238E27FC236}">
                  <a16:creationId xmlns:a16="http://schemas.microsoft.com/office/drawing/2014/main" id="{451D04F6-B0ED-46B9-9248-E49976ADBAB6}"/>
                </a:ext>
              </a:extLst>
            </p:cNvPr>
            <p:cNvSpPr>
              <a:spLocks/>
            </p:cNvSpPr>
            <p:nvPr/>
          </p:nvSpPr>
          <p:spPr bwMode="auto">
            <a:xfrm>
              <a:off x="4227642" y="2723608"/>
              <a:ext cx="17321" cy="34641"/>
            </a:xfrm>
            <a:custGeom>
              <a:avLst/>
              <a:gdLst>
                <a:gd name="T0" fmla="*/ 6 w 10"/>
                <a:gd name="T1" fmla="*/ 0 h 20"/>
                <a:gd name="T2" fmla="*/ 6 w 10"/>
                <a:gd name="T3" fmla="*/ 0 h 20"/>
                <a:gd name="T4" fmla="*/ 6 w 10"/>
                <a:gd name="T5" fmla="*/ 0 h 20"/>
                <a:gd name="T6" fmla="*/ 6 w 10"/>
                <a:gd name="T7" fmla="*/ 0 h 20"/>
                <a:gd name="T8" fmla="*/ 6 w 10"/>
                <a:gd name="T9" fmla="*/ 0 h 20"/>
                <a:gd name="T10" fmla="*/ 4 w 10"/>
                <a:gd name="T11" fmla="*/ 2 h 20"/>
                <a:gd name="T12" fmla="*/ 4 w 10"/>
                <a:gd name="T13" fmla="*/ 2 h 20"/>
                <a:gd name="T14" fmla="*/ 2 w 10"/>
                <a:gd name="T15" fmla="*/ 4 h 20"/>
                <a:gd name="T16" fmla="*/ 2 w 10"/>
                <a:gd name="T17" fmla="*/ 4 h 20"/>
                <a:gd name="T18" fmla="*/ 0 w 10"/>
                <a:gd name="T19" fmla="*/ 6 h 20"/>
                <a:gd name="T20" fmla="*/ 0 w 10"/>
                <a:gd name="T21" fmla="*/ 8 h 20"/>
                <a:gd name="T22" fmla="*/ 0 w 10"/>
                <a:gd name="T23" fmla="*/ 10 h 20"/>
                <a:gd name="T24" fmla="*/ 0 w 10"/>
                <a:gd name="T25" fmla="*/ 10 h 20"/>
                <a:gd name="T26" fmla="*/ 0 w 10"/>
                <a:gd name="T27" fmla="*/ 12 h 20"/>
                <a:gd name="T28" fmla="*/ 0 w 10"/>
                <a:gd name="T29" fmla="*/ 12 h 20"/>
                <a:gd name="T30" fmla="*/ 0 w 10"/>
                <a:gd name="T31" fmla="*/ 14 h 20"/>
                <a:gd name="T32" fmla="*/ 0 w 10"/>
                <a:gd name="T33" fmla="*/ 16 h 20"/>
                <a:gd name="T34" fmla="*/ 0 w 10"/>
                <a:gd name="T35" fmla="*/ 16 h 20"/>
                <a:gd name="T36" fmla="*/ 2 w 10"/>
                <a:gd name="T37" fmla="*/ 18 h 20"/>
                <a:gd name="T38" fmla="*/ 2 w 10"/>
                <a:gd name="T39" fmla="*/ 18 h 20"/>
                <a:gd name="T40" fmla="*/ 2 w 10"/>
                <a:gd name="T41" fmla="*/ 18 h 20"/>
                <a:gd name="T42" fmla="*/ 4 w 10"/>
                <a:gd name="T43" fmla="*/ 20 h 20"/>
                <a:gd name="T44" fmla="*/ 4 w 10"/>
                <a:gd name="T45" fmla="*/ 20 h 20"/>
                <a:gd name="T46" fmla="*/ 6 w 10"/>
                <a:gd name="T47" fmla="*/ 20 h 20"/>
                <a:gd name="T48" fmla="*/ 6 w 10"/>
                <a:gd name="T49" fmla="*/ 20 h 20"/>
                <a:gd name="T50" fmla="*/ 6 w 10"/>
                <a:gd name="T51" fmla="*/ 20 h 20"/>
                <a:gd name="T52" fmla="*/ 8 w 10"/>
                <a:gd name="T53" fmla="*/ 20 h 20"/>
                <a:gd name="T54" fmla="*/ 8 w 10"/>
                <a:gd name="T55" fmla="*/ 18 h 20"/>
                <a:gd name="T56" fmla="*/ 8 w 10"/>
                <a:gd name="T57" fmla="*/ 18 h 20"/>
                <a:gd name="T58" fmla="*/ 10 w 10"/>
                <a:gd name="T59" fmla="*/ 18 h 20"/>
                <a:gd name="T60" fmla="*/ 10 w 10"/>
                <a:gd name="T61" fmla="*/ 16 h 20"/>
                <a:gd name="T62" fmla="*/ 10 w 10"/>
                <a:gd name="T63" fmla="*/ 14 h 20"/>
                <a:gd name="T64" fmla="*/ 10 w 10"/>
                <a:gd name="T65" fmla="*/ 14 h 20"/>
                <a:gd name="T66" fmla="*/ 10 w 10"/>
                <a:gd name="T67" fmla="*/ 12 h 20"/>
                <a:gd name="T68" fmla="*/ 10 w 10"/>
                <a:gd name="T69" fmla="*/ 10 h 20"/>
                <a:gd name="T70" fmla="*/ 10 w 10"/>
                <a:gd name="T71" fmla="*/ 8 h 20"/>
                <a:gd name="T72" fmla="*/ 10 w 10"/>
                <a:gd name="T73" fmla="*/ 6 h 20"/>
                <a:gd name="T74" fmla="*/ 10 w 10"/>
                <a:gd name="T75" fmla="*/ 4 h 20"/>
                <a:gd name="T76" fmla="*/ 10 w 10"/>
                <a:gd name="T77" fmla="*/ 4 h 20"/>
                <a:gd name="T78" fmla="*/ 8 w 10"/>
                <a:gd name="T79" fmla="*/ 2 h 20"/>
                <a:gd name="T80" fmla="*/ 8 w 10"/>
                <a:gd name="T81" fmla="*/ 2 h 20"/>
                <a:gd name="T82" fmla="*/ 8 w 10"/>
                <a:gd name="T83" fmla="*/ 0 h 20"/>
                <a:gd name="T84" fmla="*/ 6 w 10"/>
                <a:gd name="T8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 h="20">
                  <a:moveTo>
                    <a:pt x="6" y="0"/>
                  </a:moveTo>
                  <a:lnTo>
                    <a:pt x="6" y="0"/>
                  </a:lnTo>
                  <a:lnTo>
                    <a:pt x="6" y="0"/>
                  </a:lnTo>
                  <a:lnTo>
                    <a:pt x="6" y="0"/>
                  </a:lnTo>
                  <a:lnTo>
                    <a:pt x="6" y="0"/>
                  </a:lnTo>
                  <a:lnTo>
                    <a:pt x="4" y="2"/>
                  </a:lnTo>
                  <a:lnTo>
                    <a:pt x="4" y="2"/>
                  </a:lnTo>
                  <a:lnTo>
                    <a:pt x="2" y="4"/>
                  </a:lnTo>
                  <a:lnTo>
                    <a:pt x="2" y="4"/>
                  </a:lnTo>
                  <a:lnTo>
                    <a:pt x="0" y="6"/>
                  </a:lnTo>
                  <a:lnTo>
                    <a:pt x="0" y="8"/>
                  </a:lnTo>
                  <a:lnTo>
                    <a:pt x="0" y="10"/>
                  </a:lnTo>
                  <a:lnTo>
                    <a:pt x="0" y="10"/>
                  </a:lnTo>
                  <a:lnTo>
                    <a:pt x="0" y="12"/>
                  </a:lnTo>
                  <a:lnTo>
                    <a:pt x="0" y="12"/>
                  </a:lnTo>
                  <a:lnTo>
                    <a:pt x="0" y="14"/>
                  </a:lnTo>
                  <a:lnTo>
                    <a:pt x="0" y="16"/>
                  </a:lnTo>
                  <a:lnTo>
                    <a:pt x="0" y="16"/>
                  </a:lnTo>
                  <a:lnTo>
                    <a:pt x="2" y="18"/>
                  </a:lnTo>
                  <a:lnTo>
                    <a:pt x="2" y="18"/>
                  </a:lnTo>
                  <a:lnTo>
                    <a:pt x="2" y="18"/>
                  </a:lnTo>
                  <a:lnTo>
                    <a:pt x="4" y="20"/>
                  </a:lnTo>
                  <a:lnTo>
                    <a:pt x="4" y="20"/>
                  </a:lnTo>
                  <a:lnTo>
                    <a:pt x="6" y="20"/>
                  </a:lnTo>
                  <a:lnTo>
                    <a:pt x="6" y="20"/>
                  </a:lnTo>
                  <a:lnTo>
                    <a:pt x="6" y="20"/>
                  </a:lnTo>
                  <a:lnTo>
                    <a:pt x="8" y="20"/>
                  </a:lnTo>
                  <a:lnTo>
                    <a:pt x="8" y="18"/>
                  </a:lnTo>
                  <a:lnTo>
                    <a:pt x="8" y="18"/>
                  </a:lnTo>
                  <a:lnTo>
                    <a:pt x="10" y="18"/>
                  </a:lnTo>
                  <a:lnTo>
                    <a:pt x="10" y="16"/>
                  </a:lnTo>
                  <a:lnTo>
                    <a:pt x="10" y="14"/>
                  </a:lnTo>
                  <a:lnTo>
                    <a:pt x="10" y="14"/>
                  </a:lnTo>
                  <a:lnTo>
                    <a:pt x="10" y="12"/>
                  </a:lnTo>
                  <a:lnTo>
                    <a:pt x="10" y="10"/>
                  </a:lnTo>
                  <a:lnTo>
                    <a:pt x="10" y="8"/>
                  </a:lnTo>
                  <a:lnTo>
                    <a:pt x="10" y="6"/>
                  </a:lnTo>
                  <a:lnTo>
                    <a:pt x="10" y="4"/>
                  </a:lnTo>
                  <a:lnTo>
                    <a:pt x="10" y="4"/>
                  </a:lnTo>
                  <a:lnTo>
                    <a:pt x="8" y="2"/>
                  </a:lnTo>
                  <a:lnTo>
                    <a:pt x="8" y="2"/>
                  </a:lnTo>
                  <a:lnTo>
                    <a:pt x="8" y="0"/>
                  </a:lnTo>
                  <a:lnTo>
                    <a:pt x="6"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9" name="Freeform 327">
              <a:extLst>
                <a:ext uri="{FF2B5EF4-FFF2-40B4-BE49-F238E27FC236}">
                  <a16:creationId xmlns:a16="http://schemas.microsoft.com/office/drawing/2014/main" id="{157A337D-2A4E-45DD-9FB0-B10227368BF5}"/>
                </a:ext>
              </a:extLst>
            </p:cNvPr>
            <p:cNvSpPr>
              <a:spLocks/>
            </p:cNvSpPr>
            <p:nvPr/>
          </p:nvSpPr>
          <p:spPr bwMode="auto">
            <a:xfrm>
              <a:off x="4123717" y="2803283"/>
              <a:ext cx="187064" cy="318702"/>
            </a:xfrm>
            <a:custGeom>
              <a:avLst/>
              <a:gdLst>
                <a:gd name="T0" fmla="*/ 12 w 108"/>
                <a:gd name="T1" fmla="*/ 12 h 184"/>
                <a:gd name="T2" fmla="*/ 2 w 108"/>
                <a:gd name="T3" fmla="*/ 24 h 184"/>
                <a:gd name="T4" fmla="*/ 2 w 108"/>
                <a:gd name="T5" fmla="*/ 28 h 184"/>
                <a:gd name="T6" fmla="*/ 8 w 108"/>
                <a:gd name="T7" fmla="*/ 32 h 184"/>
                <a:gd name="T8" fmla="*/ 10 w 108"/>
                <a:gd name="T9" fmla="*/ 46 h 184"/>
                <a:gd name="T10" fmla="*/ 6 w 108"/>
                <a:gd name="T11" fmla="*/ 50 h 184"/>
                <a:gd name="T12" fmla="*/ 2 w 108"/>
                <a:gd name="T13" fmla="*/ 56 h 184"/>
                <a:gd name="T14" fmla="*/ 6 w 108"/>
                <a:gd name="T15" fmla="*/ 62 h 184"/>
                <a:gd name="T16" fmla="*/ 14 w 108"/>
                <a:gd name="T17" fmla="*/ 64 h 184"/>
                <a:gd name="T18" fmla="*/ 16 w 108"/>
                <a:gd name="T19" fmla="*/ 72 h 184"/>
                <a:gd name="T20" fmla="*/ 12 w 108"/>
                <a:gd name="T21" fmla="*/ 78 h 184"/>
                <a:gd name="T22" fmla="*/ 24 w 108"/>
                <a:gd name="T23" fmla="*/ 82 h 184"/>
                <a:gd name="T24" fmla="*/ 38 w 108"/>
                <a:gd name="T25" fmla="*/ 84 h 184"/>
                <a:gd name="T26" fmla="*/ 44 w 108"/>
                <a:gd name="T27" fmla="*/ 92 h 184"/>
                <a:gd name="T28" fmla="*/ 50 w 108"/>
                <a:gd name="T29" fmla="*/ 96 h 184"/>
                <a:gd name="T30" fmla="*/ 44 w 108"/>
                <a:gd name="T31" fmla="*/ 104 h 184"/>
                <a:gd name="T32" fmla="*/ 34 w 108"/>
                <a:gd name="T33" fmla="*/ 110 h 184"/>
                <a:gd name="T34" fmla="*/ 24 w 108"/>
                <a:gd name="T35" fmla="*/ 110 h 184"/>
                <a:gd name="T36" fmla="*/ 22 w 108"/>
                <a:gd name="T37" fmla="*/ 118 h 184"/>
                <a:gd name="T38" fmla="*/ 26 w 108"/>
                <a:gd name="T39" fmla="*/ 128 h 184"/>
                <a:gd name="T40" fmla="*/ 24 w 108"/>
                <a:gd name="T41" fmla="*/ 138 h 184"/>
                <a:gd name="T42" fmla="*/ 16 w 108"/>
                <a:gd name="T43" fmla="*/ 142 h 184"/>
                <a:gd name="T44" fmla="*/ 18 w 108"/>
                <a:gd name="T45" fmla="*/ 144 h 184"/>
                <a:gd name="T46" fmla="*/ 34 w 108"/>
                <a:gd name="T47" fmla="*/ 146 h 184"/>
                <a:gd name="T48" fmla="*/ 40 w 108"/>
                <a:gd name="T49" fmla="*/ 148 h 184"/>
                <a:gd name="T50" fmla="*/ 34 w 108"/>
                <a:gd name="T51" fmla="*/ 152 h 184"/>
                <a:gd name="T52" fmla="*/ 24 w 108"/>
                <a:gd name="T53" fmla="*/ 158 h 184"/>
                <a:gd name="T54" fmla="*/ 12 w 108"/>
                <a:gd name="T55" fmla="*/ 172 h 184"/>
                <a:gd name="T56" fmla="*/ 10 w 108"/>
                <a:gd name="T57" fmla="*/ 182 h 184"/>
                <a:gd name="T58" fmla="*/ 18 w 108"/>
                <a:gd name="T59" fmla="*/ 182 h 184"/>
                <a:gd name="T60" fmla="*/ 36 w 108"/>
                <a:gd name="T61" fmla="*/ 172 h 184"/>
                <a:gd name="T62" fmla="*/ 48 w 108"/>
                <a:gd name="T63" fmla="*/ 166 h 184"/>
                <a:gd name="T64" fmla="*/ 62 w 108"/>
                <a:gd name="T65" fmla="*/ 172 h 184"/>
                <a:gd name="T66" fmla="*/ 72 w 108"/>
                <a:gd name="T67" fmla="*/ 166 h 184"/>
                <a:gd name="T68" fmla="*/ 92 w 108"/>
                <a:gd name="T69" fmla="*/ 160 h 184"/>
                <a:gd name="T70" fmla="*/ 100 w 108"/>
                <a:gd name="T71" fmla="*/ 156 h 184"/>
                <a:gd name="T72" fmla="*/ 92 w 108"/>
                <a:gd name="T73" fmla="*/ 152 h 184"/>
                <a:gd name="T74" fmla="*/ 88 w 108"/>
                <a:gd name="T75" fmla="*/ 146 h 184"/>
                <a:gd name="T76" fmla="*/ 96 w 108"/>
                <a:gd name="T77" fmla="*/ 142 h 184"/>
                <a:gd name="T78" fmla="*/ 104 w 108"/>
                <a:gd name="T79" fmla="*/ 144 h 184"/>
                <a:gd name="T80" fmla="*/ 108 w 108"/>
                <a:gd name="T81" fmla="*/ 134 h 184"/>
                <a:gd name="T82" fmla="*/ 106 w 108"/>
                <a:gd name="T83" fmla="*/ 122 h 184"/>
                <a:gd name="T84" fmla="*/ 94 w 108"/>
                <a:gd name="T85" fmla="*/ 118 h 184"/>
                <a:gd name="T86" fmla="*/ 86 w 108"/>
                <a:gd name="T87" fmla="*/ 114 h 184"/>
                <a:gd name="T88" fmla="*/ 84 w 108"/>
                <a:gd name="T89" fmla="*/ 98 h 184"/>
                <a:gd name="T90" fmla="*/ 82 w 108"/>
                <a:gd name="T91" fmla="*/ 90 h 184"/>
                <a:gd name="T92" fmla="*/ 74 w 108"/>
                <a:gd name="T93" fmla="*/ 88 h 184"/>
                <a:gd name="T94" fmla="*/ 74 w 108"/>
                <a:gd name="T95" fmla="*/ 80 h 184"/>
                <a:gd name="T96" fmla="*/ 74 w 108"/>
                <a:gd name="T97" fmla="*/ 74 h 184"/>
                <a:gd name="T98" fmla="*/ 66 w 108"/>
                <a:gd name="T99" fmla="*/ 72 h 184"/>
                <a:gd name="T100" fmla="*/ 66 w 108"/>
                <a:gd name="T101" fmla="*/ 66 h 184"/>
                <a:gd name="T102" fmla="*/ 68 w 108"/>
                <a:gd name="T103" fmla="*/ 54 h 184"/>
                <a:gd name="T104" fmla="*/ 58 w 108"/>
                <a:gd name="T105" fmla="*/ 48 h 184"/>
                <a:gd name="T106" fmla="*/ 44 w 108"/>
                <a:gd name="T107" fmla="*/ 38 h 184"/>
                <a:gd name="T108" fmla="*/ 46 w 108"/>
                <a:gd name="T109" fmla="*/ 36 h 184"/>
                <a:gd name="T110" fmla="*/ 56 w 108"/>
                <a:gd name="T111" fmla="*/ 34 h 184"/>
                <a:gd name="T112" fmla="*/ 58 w 108"/>
                <a:gd name="T113" fmla="*/ 22 h 184"/>
                <a:gd name="T114" fmla="*/ 54 w 108"/>
                <a:gd name="T115" fmla="*/ 16 h 184"/>
                <a:gd name="T116" fmla="*/ 40 w 108"/>
                <a:gd name="T117" fmla="*/ 20 h 184"/>
                <a:gd name="T118" fmla="*/ 34 w 108"/>
                <a:gd name="T119" fmla="*/ 16 h 184"/>
                <a:gd name="T120" fmla="*/ 36 w 108"/>
                <a:gd name="T121" fmla="*/ 2 h 184"/>
                <a:gd name="T122" fmla="*/ 28 w 108"/>
                <a:gd name="T1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 h="184">
                  <a:moveTo>
                    <a:pt x="16" y="4"/>
                  </a:moveTo>
                  <a:lnTo>
                    <a:pt x="16" y="4"/>
                  </a:lnTo>
                  <a:lnTo>
                    <a:pt x="16" y="4"/>
                  </a:lnTo>
                  <a:lnTo>
                    <a:pt x="14" y="6"/>
                  </a:lnTo>
                  <a:lnTo>
                    <a:pt x="14" y="8"/>
                  </a:lnTo>
                  <a:lnTo>
                    <a:pt x="14" y="10"/>
                  </a:lnTo>
                  <a:lnTo>
                    <a:pt x="12" y="12"/>
                  </a:lnTo>
                  <a:lnTo>
                    <a:pt x="12" y="14"/>
                  </a:lnTo>
                  <a:lnTo>
                    <a:pt x="10" y="16"/>
                  </a:lnTo>
                  <a:lnTo>
                    <a:pt x="10" y="16"/>
                  </a:lnTo>
                  <a:lnTo>
                    <a:pt x="8" y="18"/>
                  </a:lnTo>
                  <a:lnTo>
                    <a:pt x="4" y="20"/>
                  </a:lnTo>
                  <a:lnTo>
                    <a:pt x="2" y="22"/>
                  </a:lnTo>
                  <a:lnTo>
                    <a:pt x="2" y="24"/>
                  </a:lnTo>
                  <a:lnTo>
                    <a:pt x="0" y="24"/>
                  </a:lnTo>
                  <a:lnTo>
                    <a:pt x="0" y="26"/>
                  </a:lnTo>
                  <a:lnTo>
                    <a:pt x="0" y="26"/>
                  </a:lnTo>
                  <a:lnTo>
                    <a:pt x="0" y="26"/>
                  </a:lnTo>
                  <a:lnTo>
                    <a:pt x="0" y="26"/>
                  </a:lnTo>
                  <a:lnTo>
                    <a:pt x="0" y="28"/>
                  </a:lnTo>
                  <a:lnTo>
                    <a:pt x="2" y="28"/>
                  </a:lnTo>
                  <a:lnTo>
                    <a:pt x="2" y="28"/>
                  </a:lnTo>
                  <a:lnTo>
                    <a:pt x="4" y="28"/>
                  </a:lnTo>
                  <a:lnTo>
                    <a:pt x="6" y="30"/>
                  </a:lnTo>
                  <a:lnTo>
                    <a:pt x="8" y="30"/>
                  </a:lnTo>
                  <a:lnTo>
                    <a:pt x="8" y="30"/>
                  </a:lnTo>
                  <a:lnTo>
                    <a:pt x="8" y="32"/>
                  </a:lnTo>
                  <a:lnTo>
                    <a:pt x="8" y="32"/>
                  </a:lnTo>
                  <a:lnTo>
                    <a:pt x="10" y="34"/>
                  </a:lnTo>
                  <a:lnTo>
                    <a:pt x="10" y="38"/>
                  </a:lnTo>
                  <a:lnTo>
                    <a:pt x="10" y="40"/>
                  </a:lnTo>
                  <a:lnTo>
                    <a:pt x="10" y="42"/>
                  </a:lnTo>
                  <a:lnTo>
                    <a:pt x="10" y="44"/>
                  </a:lnTo>
                  <a:lnTo>
                    <a:pt x="12" y="44"/>
                  </a:lnTo>
                  <a:lnTo>
                    <a:pt x="10" y="46"/>
                  </a:lnTo>
                  <a:lnTo>
                    <a:pt x="10" y="48"/>
                  </a:lnTo>
                  <a:lnTo>
                    <a:pt x="10" y="48"/>
                  </a:lnTo>
                  <a:lnTo>
                    <a:pt x="10" y="48"/>
                  </a:lnTo>
                  <a:lnTo>
                    <a:pt x="10" y="48"/>
                  </a:lnTo>
                  <a:lnTo>
                    <a:pt x="8" y="50"/>
                  </a:lnTo>
                  <a:lnTo>
                    <a:pt x="8" y="50"/>
                  </a:lnTo>
                  <a:lnTo>
                    <a:pt x="6" y="50"/>
                  </a:lnTo>
                  <a:lnTo>
                    <a:pt x="4" y="52"/>
                  </a:lnTo>
                  <a:lnTo>
                    <a:pt x="4" y="52"/>
                  </a:lnTo>
                  <a:lnTo>
                    <a:pt x="2" y="52"/>
                  </a:lnTo>
                  <a:lnTo>
                    <a:pt x="2" y="52"/>
                  </a:lnTo>
                  <a:lnTo>
                    <a:pt x="2" y="54"/>
                  </a:lnTo>
                  <a:lnTo>
                    <a:pt x="2" y="54"/>
                  </a:lnTo>
                  <a:lnTo>
                    <a:pt x="2" y="56"/>
                  </a:lnTo>
                  <a:lnTo>
                    <a:pt x="2" y="56"/>
                  </a:lnTo>
                  <a:lnTo>
                    <a:pt x="2" y="58"/>
                  </a:lnTo>
                  <a:lnTo>
                    <a:pt x="4" y="60"/>
                  </a:lnTo>
                  <a:lnTo>
                    <a:pt x="4" y="60"/>
                  </a:lnTo>
                  <a:lnTo>
                    <a:pt x="4" y="62"/>
                  </a:lnTo>
                  <a:lnTo>
                    <a:pt x="6" y="62"/>
                  </a:lnTo>
                  <a:lnTo>
                    <a:pt x="6" y="62"/>
                  </a:lnTo>
                  <a:lnTo>
                    <a:pt x="8" y="62"/>
                  </a:lnTo>
                  <a:lnTo>
                    <a:pt x="10" y="62"/>
                  </a:lnTo>
                  <a:lnTo>
                    <a:pt x="12" y="62"/>
                  </a:lnTo>
                  <a:lnTo>
                    <a:pt x="12" y="62"/>
                  </a:lnTo>
                  <a:lnTo>
                    <a:pt x="14" y="62"/>
                  </a:lnTo>
                  <a:lnTo>
                    <a:pt x="14" y="64"/>
                  </a:lnTo>
                  <a:lnTo>
                    <a:pt x="14" y="64"/>
                  </a:lnTo>
                  <a:lnTo>
                    <a:pt x="16" y="64"/>
                  </a:lnTo>
                  <a:lnTo>
                    <a:pt x="16" y="66"/>
                  </a:lnTo>
                  <a:lnTo>
                    <a:pt x="16" y="66"/>
                  </a:lnTo>
                  <a:lnTo>
                    <a:pt x="16" y="68"/>
                  </a:lnTo>
                  <a:lnTo>
                    <a:pt x="16" y="70"/>
                  </a:lnTo>
                  <a:lnTo>
                    <a:pt x="16" y="70"/>
                  </a:lnTo>
                  <a:lnTo>
                    <a:pt x="16" y="72"/>
                  </a:lnTo>
                  <a:lnTo>
                    <a:pt x="16" y="72"/>
                  </a:lnTo>
                  <a:lnTo>
                    <a:pt x="14" y="74"/>
                  </a:lnTo>
                  <a:lnTo>
                    <a:pt x="14" y="76"/>
                  </a:lnTo>
                  <a:lnTo>
                    <a:pt x="12" y="76"/>
                  </a:lnTo>
                  <a:lnTo>
                    <a:pt x="12" y="78"/>
                  </a:lnTo>
                  <a:lnTo>
                    <a:pt x="12" y="78"/>
                  </a:lnTo>
                  <a:lnTo>
                    <a:pt x="12" y="78"/>
                  </a:lnTo>
                  <a:lnTo>
                    <a:pt x="14" y="80"/>
                  </a:lnTo>
                  <a:lnTo>
                    <a:pt x="14" y="80"/>
                  </a:lnTo>
                  <a:lnTo>
                    <a:pt x="16" y="80"/>
                  </a:lnTo>
                  <a:lnTo>
                    <a:pt x="18" y="82"/>
                  </a:lnTo>
                  <a:lnTo>
                    <a:pt x="18" y="82"/>
                  </a:lnTo>
                  <a:lnTo>
                    <a:pt x="20" y="82"/>
                  </a:lnTo>
                  <a:lnTo>
                    <a:pt x="24" y="82"/>
                  </a:lnTo>
                  <a:lnTo>
                    <a:pt x="28" y="82"/>
                  </a:lnTo>
                  <a:lnTo>
                    <a:pt x="32" y="82"/>
                  </a:lnTo>
                  <a:lnTo>
                    <a:pt x="34" y="82"/>
                  </a:lnTo>
                  <a:lnTo>
                    <a:pt x="34" y="82"/>
                  </a:lnTo>
                  <a:lnTo>
                    <a:pt x="36" y="82"/>
                  </a:lnTo>
                  <a:lnTo>
                    <a:pt x="36" y="84"/>
                  </a:lnTo>
                  <a:lnTo>
                    <a:pt x="38" y="84"/>
                  </a:lnTo>
                  <a:lnTo>
                    <a:pt x="38" y="86"/>
                  </a:lnTo>
                  <a:lnTo>
                    <a:pt x="40" y="88"/>
                  </a:lnTo>
                  <a:lnTo>
                    <a:pt x="40" y="90"/>
                  </a:lnTo>
                  <a:lnTo>
                    <a:pt x="42" y="92"/>
                  </a:lnTo>
                  <a:lnTo>
                    <a:pt x="42" y="92"/>
                  </a:lnTo>
                  <a:lnTo>
                    <a:pt x="42" y="92"/>
                  </a:lnTo>
                  <a:lnTo>
                    <a:pt x="44" y="92"/>
                  </a:lnTo>
                  <a:lnTo>
                    <a:pt x="46" y="94"/>
                  </a:lnTo>
                  <a:lnTo>
                    <a:pt x="48" y="94"/>
                  </a:lnTo>
                  <a:lnTo>
                    <a:pt x="48" y="94"/>
                  </a:lnTo>
                  <a:lnTo>
                    <a:pt x="50" y="94"/>
                  </a:lnTo>
                  <a:lnTo>
                    <a:pt x="50" y="94"/>
                  </a:lnTo>
                  <a:lnTo>
                    <a:pt x="50" y="94"/>
                  </a:lnTo>
                  <a:lnTo>
                    <a:pt x="50" y="96"/>
                  </a:lnTo>
                  <a:lnTo>
                    <a:pt x="50" y="96"/>
                  </a:lnTo>
                  <a:lnTo>
                    <a:pt x="50" y="98"/>
                  </a:lnTo>
                  <a:lnTo>
                    <a:pt x="50" y="98"/>
                  </a:lnTo>
                  <a:lnTo>
                    <a:pt x="48" y="100"/>
                  </a:lnTo>
                  <a:lnTo>
                    <a:pt x="48" y="102"/>
                  </a:lnTo>
                  <a:lnTo>
                    <a:pt x="46" y="104"/>
                  </a:lnTo>
                  <a:lnTo>
                    <a:pt x="44" y="104"/>
                  </a:lnTo>
                  <a:lnTo>
                    <a:pt x="44" y="106"/>
                  </a:lnTo>
                  <a:lnTo>
                    <a:pt x="42" y="106"/>
                  </a:lnTo>
                  <a:lnTo>
                    <a:pt x="40" y="108"/>
                  </a:lnTo>
                  <a:lnTo>
                    <a:pt x="38" y="108"/>
                  </a:lnTo>
                  <a:lnTo>
                    <a:pt x="36" y="110"/>
                  </a:lnTo>
                  <a:lnTo>
                    <a:pt x="34" y="110"/>
                  </a:lnTo>
                  <a:lnTo>
                    <a:pt x="34" y="110"/>
                  </a:lnTo>
                  <a:lnTo>
                    <a:pt x="32" y="110"/>
                  </a:lnTo>
                  <a:lnTo>
                    <a:pt x="30" y="110"/>
                  </a:lnTo>
                  <a:lnTo>
                    <a:pt x="28" y="110"/>
                  </a:lnTo>
                  <a:lnTo>
                    <a:pt x="26" y="110"/>
                  </a:lnTo>
                  <a:lnTo>
                    <a:pt x="26" y="110"/>
                  </a:lnTo>
                  <a:lnTo>
                    <a:pt x="24" y="110"/>
                  </a:lnTo>
                  <a:lnTo>
                    <a:pt x="24" y="110"/>
                  </a:lnTo>
                  <a:lnTo>
                    <a:pt x="24" y="110"/>
                  </a:lnTo>
                  <a:lnTo>
                    <a:pt x="24" y="110"/>
                  </a:lnTo>
                  <a:lnTo>
                    <a:pt x="24" y="112"/>
                  </a:lnTo>
                  <a:lnTo>
                    <a:pt x="22" y="114"/>
                  </a:lnTo>
                  <a:lnTo>
                    <a:pt x="22" y="116"/>
                  </a:lnTo>
                  <a:lnTo>
                    <a:pt x="22" y="116"/>
                  </a:lnTo>
                  <a:lnTo>
                    <a:pt x="22" y="118"/>
                  </a:lnTo>
                  <a:lnTo>
                    <a:pt x="24" y="122"/>
                  </a:lnTo>
                  <a:lnTo>
                    <a:pt x="24" y="122"/>
                  </a:lnTo>
                  <a:lnTo>
                    <a:pt x="24" y="122"/>
                  </a:lnTo>
                  <a:lnTo>
                    <a:pt x="24" y="124"/>
                  </a:lnTo>
                  <a:lnTo>
                    <a:pt x="26" y="126"/>
                  </a:lnTo>
                  <a:lnTo>
                    <a:pt x="26" y="126"/>
                  </a:lnTo>
                  <a:lnTo>
                    <a:pt x="26" y="128"/>
                  </a:lnTo>
                  <a:lnTo>
                    <a:pt x="28" y="128"/>
                  </a:lnTo>
                  <a:lnTo>
                    <a:pt x="26" y="130"/>
                  </a:lnTo>
                  <a:lnTo>
                    <a:pt x="26" y="132"/>
                  </a:lnTo>
                  <a:lnTo>
                    <a:pt x="26" y="132"/>
                  </a:lnTo>
                  <a:lnTo>
                    <a:pt x="26" y="136"/>
                  </a:lnTo>
                  <a:lnTo>
                    <a:pt x="24" y="136"/>
                  </a:lnTo>
                  <a:lnTo>
                    <a:pt x="24" y="138"/>
                  </a:lnTo>
                  <a:lnTo>
                    <a:pt x="24" y="138"/>
                  </a:lnTo>
                  <a:lnTo>
                    <a:pt x="22" y="138"/>
                  </a:lnTo>
                  <a:lnTo>
                    <a:pt x="20" y="140"/>
                  </a:lnTo>
                  <a:lnTo>
                    <a:pt x="18" y="140"/>
                  </a:lnTo>
                  <a:lnTo>
                    <a:pt x="18" y="142"/>
                  </a:lnTo>
                  <a:lnTo>
                    <a:pt x="18" y="142"/>
                  </a:lnTo>
                  <a:lnTo>
                    <a:pt x="16" y="142"/>
                  </a:lnTo>
                  <a:lnTo>
                    <a:pt x="16" y="142"/>
                  </a:lnTo>
                  <a:lnTo>
                    <a:pt x="16" y="142"/>
                  </a:lnTo>
                  <a:lnTo>
                    <a:pt x="16" y="144"/>
                  </a:lnTo>
                  <a:lnTo>
                    <a:pt x="18" y="144"/>
                  </a:lnTo>
                  <a:lnTo>
                    <a:pt x="18" y="144"/>
                  </a:lnTo>
                  <a:lnTo>
                    <a:pt x="18" y="144"/>
                  </a:lnTo>
                  <a:lnTo>
                    <a:pt x="18" y="144"/>
                  </a:lnTo>
                  <a:lnTo>
                    <a:pt x="20" y="146"/>
                  </a:lnTo>
                  <a:lnTo>
                    <a:pt x="22" y="146"/>
                  </a:lnTo>
                  <a:lnTo>
                    <a:pt x="24" y="146"/>
                  </a:lnTo>
                  <a:lnTo>
                    <a:pt x="28" y="146"/>
                  </a:lnTo>
                  <a:lnTo>
                    <a:pt x="32" y="146"/>
                  </a:lnTo>
                  <a:lnTo>
                    <a:pt x="34" y="146"/>
                  </a:lnTo>
                  <a:lnTo>
                    <a:pt x="34" y="146"/>
                  </a:lnTo>
                  <a:lnTo>
                    <a:pt x="36" y="146"/>
                  </a:lnTo>
                  <a:lnTo>
                    <a:pt x="38" y="146"/>
                  </a:lnTo>
                  <a:lnTo>
                    <a:pt x="38" y="146"/>
                  </a:lnTo>
                  <a:lnTo>
                    <a:pt x="40" y="148"/>
                  </a:lnTo>
                  <a:lnTo>
                    <a:pt x="40" y="148"/>
                  </a:lnTo>
                  <a:lnTo>
                    <a:pt x="40" y="148"/>
                  </a:lnTo>
                  <a:lnTo>
                    <a:pt x="40" y="148"/>
                  </a:lnTo>
                  <a:lnTo>
                    <a:pt x="40" y="150"/>
                  </a:lnTo>
                  <a:lnTo>
                    <a:pt x="38" y="150"/>
                  </a:lnTo>
                  <a:lnTo>
                    <a:pt x="38" y="152"/>
                  </a:lnTo>
                  <a:lnTo>
                    <a:pt x="38" y="152"/>
                  </a:lnTo>
                  <a:lnTo>
                    <a:pt x="36" y="152"/>
                  </a:lnTo>
                  <a:lnTo>
                    <a:pt x="36" y="152"/>
                  </a:lnTo>
                  <a:lnTo>
                    <a:pt x="34" y="152"/>
                  </a:lnTo>
                  <a:lnTo>
                    <a:pt x="32" y="152"/>
                  </a:lnTo>
                  <a:lnTo>
                    <a:pt x="30" y="152"/>
                  </a:lnTo>
                  <a:lnTo>
                    <a:pt x="30" y="152"/>
                  </a:lnTo>
                  <a:lnTo>
                    <a:pt x="28" y="154"/>
                  </a:lnTo>
                  <a:lnTo>
                    <a:pt x="28" y="154"/>
                  </a:lnTo>
                  <a:lnTo>
                    <a:pt x="26" y="156"/>
                  </a:lnTo>
                  <a:lnTo>
                    <a:pt x="24" y="158"/>
                  </a:lnTo>
                  <a:lnTo>
                    <a:pt x="22" y="160"/>
                  </a:lnTo>
                  <a:lnTo>
                    <a:pt x="20" y="162"/>
                  </a:lnTo>
                  <a:lnTo>
                    <a:pt x="18" y="164"/>
                  </a:lnTo>
                  <a:lnTo>
                    <a:pt x="16" y="168"/>
                  </a:lnTo>
                  <a:lnTo>
                    <a:pt x="14" y="170"/>
                  </a:lnTo>
                  <a:lnTo>
                    <a:pt x="12" y="172"/>
                  </a:lnTo>
                  <a:lnTo>
                    <a:pt x="12" y="172"/>
                  </a:lnTo>
                  <a:lnTo>
                    <a:pt x="10" y="176"/>
                  </a:lnTo>
                  <a:lnTo>
                    <a:pt x="10" y="176"/>
                  </a:lnTo>
                  <a:lnTo>
                    <a:pt x="10" y="178"/>
                  </a:lnTo>
                  <a:lnTo>
                    <a:pt x="10" y="180"/>
                  </a:lnTo>
                  <a:lnTo>
                    <a:pt x="10" y="182"/>
                  </a:lnTo>
                  <a:lnTo>
                    <a:pt x="10" y="182"/>
                  </a:lnTo>
                  <a:lnTo>
                    <a:pt x="10" y="182"/>
                  </a:lnTo>
                  <a:lnTo>
                    <a:pt x="10" y="182"/>
                  </a:lnTo>
                  <a:lnTo>
                    <a:pt x="12" y="184"/>
                  </a:lnTo>
                  <a:lnTo>
                    <a:pt x="12" y="184"/>
                  </a:lnTo>
                  <a:lnTo>
                    <a:pt x="14" y="184"/>
                  </a:lnTo>
                  <a:lnTo>
                    <a:pt x="14" y="184"/>
                  </a:lnTo>
                  <a:lnTo>
                    <a:pt x="16" y="182"/>
                  </a:lnTo>
                  <a:lnTo>
                    <a:pt x="18" y="182"/>
                  </a:lnTo>
                  <a:lnTo>
                    <a:pt x="20" y="180"/>
                  </a:lnTo>
                  <a:lnTo>
                    <a:pt x="24" y="178"/>
                  </a:lnTo>
                  <a:lnTo>
                    <a:pt x="28" y="176"/>
                  </a:lnTo>
                  <a:lnTo>
                    <a:pt x="30" y="176"/>
                  </a:lnTo>
                  <a:lnTo>
                    <a:pt x="32" y="174"/>
                  </a:lnTo>
                  <a:lnTo>
                    <a:pt x="34" y="174"/>
                  </a:lnTo>
                  <a:lnTo>
                    <a:pt x="36" y="172"/>
                  </a:lnTo>
                  <a:lnTo>
                    <a:pt x="38" y="170"/>
                  </a:lnTo>
                  <a:lnTo>
                    <a:pt x="40" y="168"/>
                  </a:lnTo>
                  <a:lnTo>
                    <a:pt x="42" y="168"/>
                  </a:lnTo>
                  <a:lnTo>
                    <a:pt x="44" y="166"/>
                  </a:lnTo>
                  <a:lnTo>
                    <a:pt x="46" y="166"/>
                  </a:lnTo>
                  <a:lnTo>
                    <a:pt x="46" y="166"/>
                  </a:lnTo>
                  <a:lnTo>
                    <a:pt x="48" y="166"/>
                  </a:lnTo>
                  <a:lnTo>
                    <a:pt x="50" y="168"/>
                  </a:lnTo>
                  <a:lnTo>
                    <a:pt x="52" y="168"/>
                  </a:lnTo>
                  <a:lnTo>
                    <a:pt x="56" y="170"/>
                  </a:lnTo>
                  <a:lnTo>
                    <a:pt x="58" y="170"/>
                  </a:lnTo>
                  <a:lnTo>
                    <a:pt x="60" y="170"/>
                  </a:lnTo>
                  <a:lnTo>
                    <a:pt x="62" y="172"/>
                  </a:lnTo>
                  <a:lnTo>
                    <a:pt x="62" y="172"/>
                  </a:lnTo>
                  <a:lnTo>
                    <a:pt x="64" y="172"/>
                  </a:lnTo>
                  <a:lnTo>
                    <a:pt x="64" y="172"/>
                  </a:lnTo>
                  <a:lnTo>
                    <a:pt x="66" y="172"/>
                  </a:lnTo>
                  <a:lnTo>
                    <a:pt x="66" y="170"/>
                  </a:lnTo>
                  <a:lnTo>
                    <a:pt x="68" y="170"/>
                  </a:lnTo>
                  <a:lnTo>
                    <a:pt x="70" y="168"/>
                  </a:lnTo>
                  <a:lnTo>
                    <a:pt x="72" y="166"/>
                  </a:lnTo>
                  <a:lnTo>
                    <a:pt x="76" y="164"/>
                  </a:lnTo>
                  <a:lnTo>
                    <a:pt x="78" y="162"/>
                  </a:lnTo>
                  <a:lnTo>
                    <a:pt x="80" y="162"/>
                  </a:lnTo>
                  <a:lnTo>
                    <a:pt x="82" y="162"/>
                  </a:lnTo>
                  <a:lnTo>
                    <a:pt x="82" y="160"/>
                  </a:lnTo>
                  <a:lnTo>
                    <a:pt x="84" y="160"/>
                  </a:lnTo>
                  <a:lnTo>
                    <a:pt x="92" y="160"/>
                  </a:lnTo>
                  <a:lnTo>
                    <a:pt x="94" y="160"/>
                  </a:lnTo>
                  <a:lnTo>
                    <a:pt x="96" y="160"/>
                  </a:lnTo>
                  <a:lnTo>
                    <a:pt x="96" y="158"/>
                  </a:lnTo>
                  <a:lnTo>
                    <a:pt x="98" y="158"/>
                  </a:lnTo>
                  <a:lnTo>
                    <a:pt x="98" y="158"/>
                  </a:lnTo>
                  <a:lnTo>
                    <a:pt x="100" y="158"/>
                  </a:lnTo>
                  <a:lnTo>
                    <a:pt x="100" y="156"/>
                  </a:lnTo>
                  <a:lnTo>
                    <a:pt x="100" y="156"/>
                  </a:lnTo>
                  <a:lnTo>
                    <a:pt x="100" y="156"/>
                  </a:lnTo>
                  <a:lnTo>
                    <a:pt x="98" y="154"/>
                  </a:lnTo>
                  <a:lnTo>
                    <a:pt x="98" y="154"/>
                  </a:lnTo>
                  <a:lnTo>
                    <a:pt x="96" y="154"/>
                  </a:lnTo>
                  <a:lnTo>
                    <a:pt x="94" y="152"/>
                  </a:lnTo>
                  <a:lnTo>
                    <a:pt x="92" y="152"/>
                  </a:lnTo>
                  <a:lnTo>
                    <a:pt x="90" y="150"/>
                  </a:lnTo>
                  <a:lnTo>
                    <a:pt x="90" y="150"/>
                  </a:lnTo>
                  <a:lnTo>
                    <a:pt x="88" y="148"/>
                  </a:lnTo>
                  <a:lnTo>
                    <a:pt x="88" y="148"/>
                  </a:lnTo>
                  <a:lnTo>
                    <a:pt x="88" y="148"/>
                  </a:lnTo>
                  <a:lnTo>
                    <a:pt x="88" y="146"/>
                  </a:lnTo>
                  <a:lnTo>
                    <a:pt x="88" y="146"/>
                  </a:lnTo>
                  <a:lnTo>
                    <a:pt x="90" y="146"/>
                  </a:lnTo>
                  <a:lnTo>
                    <a:pt x="90" y="144"/>
                  </a:lnTo>
                  <a:lnTo>
                    <a:pt x="92" y="144"/>
                  </a:lnTo>
                  <a:lnTo>
                    <a:pt x="92" y="144"/>
                  </a:lnTo>
                  <a:lnTo>
                    <a:pt x="94" y="142"/>
                  </a:lnTo>
                  <a:lnTo>
                    <a:pt x="94" y="142"/>
                  </a:lnTo>
                  <a:lnTo>
                    <a:pt x="96" y="142"/>
                  </a:lnTo>
                  <a:lnTo>
                    <a:pt x="96" y="142"/>
                  </a:lnTo>
                  <a:lnTo>
                    <a:pt x="100" y="144"/>
                  </a:lnTo>
                  <a:lnTo>
                    <a:pt x="100" y="144"/>
                  </a:lnTo>
                  <a:lnTo>
                    <a:pt x="102" y="144"/>
                  </a:lnTo>
                  <a:lnTo>
                    <a:pt x="104" y="144"/>
                  </a:lnTo>
                  <a:lnTo>
                    <a:pt x="104" y="144"/>
                  </a:lnTo>
                  <a:lnTo>
                    <a:pt x="104" y="144"/>
                  </a:lnTo>
                  <a:lnTo>
                    <a:pt x="106" y="142"/>
                  </a:lnTo>
                  <a:lnTo>
                    <a:pt x="106" y="142"/>
                  </a:lnTo>
                  <a:lnTo>
                    <a:pt x="106" y="140"/>
                  </a:lnTo>
                  <a:lnTo>
                    <a:pt x="106" y="140"/>
                  </a:lnTo>
                  <a:lnTo>
                    <a:pt x="108" y="138"/>
                  </a:lnTo>
                  <a:lnTo>
                    <a:pt x="108" y="136"/>
                  </a:lnTo>
                  <a:lnTo>
                    <a:pt x="108" y="134"/>
                  </a:lnTo>
                  <a:lnTo>
                    <a:pt x="108" y="132"/>
                  </a:lnTo>
                  <a:lnTo>
                    <a:pt x="108" y="130"/>
                  </a:lnTo>
                  <a:lnTo>
                    <a:pt x="108" y="126"/>
                  </a:lnTo>
                  <a:lnTo>
                    <a:pt x="108" y="124"/>
                  </a:lnTo>
                  <a:lnTo>
                    <a:pt x="106" y="124"/>
                  </a:lnTo>
                  <a:lnTo>
                    <a:pt x="106" y="122"/>
                  </a:lnTo>
                  <a:lnTo>
                    <a:pt x="106" y="122"/>
                  </a:lnTo>
                  <a:lnTo>
                    <a:pt x="106" y="120"/>
                  </a:lnTo>
                  <a:lnTo>
                    <a:pt x="104" y="120"/>
                  </a:lnTo>
                  <a:lnTo>
                    <a:pt x="104" y="120"/>
                  </a:lnTo>
                  <a:lnTo>
                    <a:pt x="102" y="118"/>
                  </a:lnTo>
                  <a:lnTo>
                    <a:pt x="100" y="118"/>
                  </a:lnTo>
                  <a:lnTo>
                    <a:pt x="96" y="118"/>
                  </a:lnTo>
                  <a:lnTo>
                    <a:pt x="94" y="118"/>
                  </a:lnTo>
                  <a:lnTo>
                    <a:pt x="90" y="116"/>
                  </a:lnTo>
                  <a:lnTo>
                    <a:pt x="90" y="116"/>
                  </a:lnTo>
                  <a:lnTo>
                    <a:pt x="88" y="116"/>
                  </a:lnTo>
                  <a:lnTo>
                    <a:pt x="88" y="116"/>
                  </a:lnTo>
                  <a:lnTo>
                    <a:pt x="86" y="114"/>
                  </a:lnTo>
                  <a:lnTo>
                    <a:pt x="86" y="114"/>
                  </a:lnTo>
                  <a:lnTo>
                    <a:pt x="86" y="114"/>
                  </a:lnTo>
                  <a:lnTo>
                    <a:pt x="86" y="112"/>
                  </a:lnTo>
                  <a:lnTo>
                    <a:pt x="86" y="110"/>
                  </a:lnTo>
                  <a:lnTo>
                    <a:pt x="86" y="108"/>
                  </a:lnTo>
                  <a:lnTo>
                    <a:pt x="86" y="104"/>
                  </a:lnTo>
                  <a:lnTo>
                    <a:pt x="86" y="102"/>
                  </a:lnTo>
                  <a:lnTo>
                    <a:pt x="86" y="100"/>
                  </a:lnTo>
                  <a:lnTo>
                    <a:pt x="84" y="98"/>
                  </a:lnTo>
                  <a:lnTo>
                    <a:pt x="84" y="96"/>
                  </a:lnTo>
                  <a:lnTo>
                    <a:pt x="84" y="94"/>
                  </a:lnTo>
                  <a:lnTo>
                    <a:pt x="84" y="92"/>
                  </a:lnTo>
                  <a:lnTo>
                    <a:pt x="84" y="92"/>
                  </a:lnTo>
                  <a:lnTo>
                    <a:pt x="82" y="90"/>
                  </a:lnTo>
                  <a:lnTo>
                    <a:pt x="82" y="90"/>
                  </a:lnTo>
                  <a:lnTo>
                    <a:pt x="82" y="90"/>
                  </a:lnTo>
                  <a:lnTo>
                    <a:pt x="80" y="90"/>
                  </a:lnTo>
                  <a:lnTo>
                    <a:pt x="80" y="90"/>
                  </a:lnTo>
                  <a:lnTo>
                    <a:pt x="78" y="90"/>
                  </a:lnTo>
                  <a:lnTo>
                    <a:pt x="76" y="88"/>
                  </a:lnTo>
                  <a:lnTo>
                    <a:pt x="74" y="88"/>
                  </a:lnTo>
                  <a:lnTo>
                    <a:pt x="74" y="88"/>
                  </a:lnTo>
                  <a:lnTo>
                    <a:pt x="74" y="88"/>
                  </a:lnTo>
                  <a:lnTo>
                    <a:pt x="72" y="88"/>
                  </a:lnTo>
                  <a:lnTo>
                    <a:pt x="72" y="86"/>
                  </a:lnTo>
                  <a:lnTo>
                    <a:pt x="72" y="86"/>
                  </a:lnTo>
                  <a:lnTo>
                    <a:pt x="72" y="86"/>
                  </a:lnTo>
                  <a:lnTo>
                    <a:pt x="72" y="84"/>
                  </a:lnTo>
                  <a:lnTo>
                    <a:pt x="72" y="82"/>
                  </a:lnTo>
                  <a:lnTo>
                    <a:pt x="74" y="80"/>
                  </a:lnTo>
                  <a:lnTo>
                    <a:pt x="74" y="78"/>
                  </a:lnTo>
                  <a:lnTo>
                    <a:pt x="74" y="78"/>
                  </a:lnTo>
                  <a:lnTo>
                    <a:pt x="74" y="76"/>
                  </a:lnTo>
                  <a:lnTo>
                    <a:pt x="74" y="76"/>
                  </a:lnTo>
                  <a:lnTo>
                    <a:pt x="74" y="76"/>
                  </a:lnTo>
                  <a:lnTo>
                    <a:pt x="74" y="74"/>
                  </a:lnTo>
                  <a:lnTo>
                    <a:pt x="74" y="74"/>
                  </a:lnTo>
                  <a:lnTo>
                    <a:pt x="74" y="74"/>
                  </a:lnTo>
                  <a:lnTo>
                    <a:pt x="72" y="74"/>
                  </a:lnTo>
                  <a:lnTo>
                    <a:pt x="70" y="74"/>
                  </a:lnTo>
                  <a:lnTo>
                    <a:pt x="70" y="74"/>
                  </a:lnTo>
                  <a:lnTo>
                    <a:pt x="68" y="74"/>
                  </a:lnTo>
                  <a:lnTo>
                    <a:pt x="66" y="72"/>
                  </a:lnTo>
                  <a:lnTo>
                    <a:pt x="66" y="72"/>
                  </a:lnTo>
                  <a:lnTo>
                    <a:pt x="66" y="72"/>
                  </a:lnTo>
                  <a:lnTo>
                    <a:pt x="64" y="72"/>
                  </a:lnTo>
                  <a:lnTo>
                    <a:pt x="64" y="72"/>
                  </a:lnTo>
                  <a:lnTo>
                    <a:pt x="64" y="70"/>
                  </a:lnTo>
                  <a:lnTo>
                    <a:pt x="64" y="70"/>
                  </a:lnTo>
                  <a:lnTo>
                    <a:pt x="64" y="68"/>
                  </a:lnTo>
                  <a:lnTo>
                    <a:pt x="66" y="66"/>
                  </a:lnTo>
                  <a:lnTo>
                    <a:pt x="66" y="64"/>
                  </a:lnTo>
                  <a:lnTo>
                    <a:pt x="66" y="60"/>
                  </a:lnTo>
                  <a:lnTo>
                    <a:pt x="68" y="58"/>
                  </a:lnTo>
                  <a:lnTo>
                    <a:pt x="68" y="58"/>
                  </a:lnTo>
                  <a:lnTo>
                    <a:pt x="68" y="56"/>
                  </a:lnTo>
                  <a:lnTo>
                    <a:pt x="68" y="56"/>
                  </a:lnTo>
                  <a:lnTo>
                    <a:pt x="68" y="54"/>
                  </a:lnTo>
                  <a:lnTo>
                    <a:pt x="68" y="54"/>
                  </a:lnTo>
                  <a:lnTo>
                    <a:pt x="66" y="54"/>
                  </a:lnTo>
                  <a:lnTo>
                    <a:pt x="66" y="52"/>
                  </a:lnTo>
                  <a:lnTo>
                    <a:pt x="64" y="50"/>
                  </a:lnTo>
                  <a:lnTo>
                    <a:pt x="62" y="50"/>
                  </a:lnTo>
                  <a:lnTo>
                    <a:pt x="60" y="48"/>
                  </a:lnTo>
                  <a:lnTo>
                    <a:pt x="58" y="48"/>
                  </a:lnTo>
                  <a:lnTo>
                    <a:pt x="54" y="46"/>
                  </a:lnTo>
                  <a:lnTo>
                    <a:pt x="50" y="44"/>
                  </a:lnTo>
                  <a:lnTo>
                    <a:pt x="48" y="42"/>
                  </a:lnTo>
                  <a:lnTo>
                    <a:pt x="46" y="42"/>
                  </a:lnTo>
                  <a:lnTo>
                    <a:pt x="44" y="40"/>
                  </a:lnTo>
                  <a:lnTo>
                    <a:pt x="44" y="40"/>
                  </a:lnTo>
                  <a:lnTo>
                    <a:pt x="44" y="38"/>
                  </a:lnTo>
                  <a:lnTo>
                    <a:pt x="44" y="38"/>
                  </a:lnTo>
                  <a:lnTo>
                    <a:pt x="44" y="38"/>
                  </a:lnTo>
                  <a:lnTo>
                    <a:pt x="44" y="36"/>
                  </a:lnTo>
                  <a:lnTo>
                    <a:pt x="44" y="36"/>
                  </a:lnTo>
                  <a:lnTo>
                    <a:pt x="44" y="36"/>
                  </a:lnTo>
                  <a:lnTo>
                    <a:pt x="44" y="36"/>
                  </a:lnTo>
                  <a:lnTo>
                    <a:pt x="46" y="36"/>
                  </a:lnTo>
                  <a:lnTo>
                    <a:pt x="48" y="34"/>
                  </a:lnTo>
                  <a:lnTo>
                    <a:pt x="50" y="34"/>
                  </a:lnTo>
                  <a:lnTo>
                    <a:pt x="52" y="34"/>
                  </a:lnTo>
                  <a:lnTo>
                    <a:pt x="54" y="34"/>
                  </a:lnTo>
                  <a:lnTo>
                    <a:pt x="54" y="34"/>
                  </a:lnTo>
                  <a:lnTo>
                    <a:pt x="54" y="34"/>
                  </a:lnTo>
                  <a:lnTo>
                    <a:pt x="56" y="34"/>
                  </a:lnTo>
                  <a:lnTo>
                    <a:pt x="56" y="32"/>
                  </a:lnTo>
                  <a:lnTo>
                    <a:pt x="56" y="32"/>
                  </a:lnTo>
                  <a:lnTo>
                    <a:pt x="58" y="30"/>
                  </a:lnTo>
                  <a:lnTo>
                    <a:pt x="58" y="28"/>
                  </a:lnTo>
                  <a:lnTo>
                    <a:pt x="58" y="26"/>
                  </a:lnTo>
                  <a:lnTo>
                    <a:pt x="58" y="24"/>
                  </a:lnTo>
                  <a:lnTo>
                    <a:pt x="58" y="22"/>
                  </a:lnTo>
                  <a:lnTo>
                    <a:pt x="58" y="20"/>
                  </a:lnTo>
                  <a:lnTo>
                    <a:pt x="58" y="20"/>
                  </a:lnTo>
                  <a:lnTo>
                    <a:pt x="58" y="18"/>
                  </a:lnTo>
                  <a:lnTo>
                    <a:pt x="58" y="18"/>
                  </a:lnTo>
                  <a:lnTo>
                    <a:pt x="56" y="18"/>
                  </a:lnTo>
                  <a:lnTo>
                    <a:pt x="56" y="16"/>
                  </a:lnTo>
                  <a:lnTo>
                    <a:pt x="54" y="16"/>
                  </a:lnTo>
                  <a:lnTo>
                    <a:pt x="52" y="16"/>
                  </a:lnTo>
                  <a:lnTo>
                    <a:pt x="52" y="16"/>
                  </a:lnTo>
                  <a:lnTo>
                    <a:pt x="50" y="18"/>
                  </a:lnTo>
                  <a:lnTo>
                    <a:pt x="46" y="18"/>
                  </a:lnTo>
                  <a:lnTo>
                    <a:pt x="42" y="18"/>
                  </a:lnTo>
                  <a:lnTo>
                    <a:pt x="40" y="18"/>
                  </a:lnTo>
                  <a:lnTo>
                    <a:pt x="40" y="20"/>
                  </a:lnTo>
                  <a:lnTo>
                    <a:pt x="38" y="20"/>
                  </a:lnTo>
                  <a:lnTo>
                    <a:pt x="36" y="18"/>
                  </a:lnTo>
                  <a:lnTo>
                    <a:pt x="36" y="18"/>
                  </a:lnTo>
                  <a:lnTo>
                    <a:pt x="34" y="18"/>
                  </a:lnTo>
                  <a:lnTo>
                    <a:pt x="34" y="18"/>
                  </a:lnTo>
                  <a:lnTo>
                    <a:pt x="34" y="16"/>
                  </a:lnTo>
                  <a:lnTo>
                    <a:pt x="34" y="16"/>
                  </a:lnTo>
                  <a:lnTo>
                    <a:pt x="34" y="14"/>
                  </a:lnTo>
                  <a:lnTo>
                    <a:pt x="34" y="12"/>
                  </a:lnTo>
                  <a:lnTo>
                    <a:pt x="34" y="10"/>
                  </a:lnTo>
                  <a:lnTo>
                    <a:pt x="36" y="8"/>
                  </a:lnTo>
                  <a:lnTo>
                    <a:pt x="36" y="4"/>
                  </a:lnTo>
                  <a:lnTo>
                    <a:pt x="36" y="4"/>
                  </a:lnTo>
                  <a:lnTo>
                    <a:pt x="36" y="2"/>
                  </a:lnTo>
                  <a:lnTo>
                    <a:pt x="34" y="2"/>
                  </a:lnTo>
                  <a:lnTo>
                    <a:pt x="34" y="2"/>
                  </a:lnTo>
                  <a:lnTo>
                    <a:pt x="34" y="0"/>
                  </a:lnTo>
                  <a:lnTo>
                    <a:pt x="32" y="0"/>
                  </a:lnTo>
                  <a:lnTo>
                    <a:pt x="32" y="0"/>
                  </a:lnTo>
                  <a:lnTo>
                    <a:pt x="30" y="0"/>
                  </a:lnTo>
                  <a:lnTo>
                    <a:pt x="28" y="0"/>
                  </a:lnTo>
                  <a:lnTo>
                    <a:pt x="26" y="0"/>
                  </a:lnTo>
                  <a:lnTo>
                    <a:pt x="24" y="2"/>
                  </a:lnTo>
                  <a:lnTo>
                    <a:pt x="20" y="2"/>
                  </a:lnTo>
                  <a:lnTo>
                    <a:pt x="18" y="4"/>
                  </a:lnTo>
                  <a:lnTo>
                    <a:pt x="16" y="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0" name="Freeform 328">
              <a:extLst>
                <a:ext uri="{FF2B5EF4-FFF2-40B4-BE49-F238E27FC236}">
                  <a16:creationId xmlns:a16="http://schemas.microsoft.com/office/drawing/2014/main" id="{6DF7FC63-7EFD-4104-93A2-9E6DA2DDFE0B}"/>
                </a:ext>
              </a:extLst>
            </p:cNvPr>
            <p:cNvSpPr>
              <a:spLocks/>
            </p:cNvSpPr>
            <p:nvPr/>
          </p:nvSpPr>
          <p:spPr bwMode="auto">
            <a:xfrm>
              <a:off x="4123717" y="2803283"/>
              <a:ext cx="187064" cy="318702"/>
            </a:xfrm>
            <a:custGeom>
              <a:avLst/>
              <a:gdLst>
                <a:gd name="T0" fmla="*/ 12 w 108"/>
                <a:gd name="T1" fmla="*/ 12 h 184"/>
                <a:gd name="T2" fmla="*/ 2 w 108"/>
                <a:gd name="T3" fmla="*/ 24 h 184"/>
                <a:gd name="T4" fmla="*/ 2 w 108"/>
                <a:gd name="T5" fmla="*/ 28 h 184"/>
                <a:gd name="T6" fmla="*/ 8 w 108"/>
                <a:gd name="T7" fmla="*/ 32 h 184"/>
                <a:gd name="T8" fmla="*/ 10 w 108"/>
                <a:gd name="T9" fmla="*/ 46 h 184"/>
                <a:gd name="T10" fmla="*/ 6 w 108"/>
                <a:gd name="T11" fmla="*/ 50 h 184"/>
                <a:gd name="T12" fmla="*/ 2 w 108"/>
                <a:gd name="T13" fmla="*/ 56 h 184"/>
                <a:gd name="T14" fmla="*/ 6 w 108"/>
                <a:gd name="T15" fmla="*/ 62 h 184"/>
                <a:gd name="T16" fmla="*/ 14 w 108"/>
                <a:gd name="T17" fmla="*/ 64 h 184"/>
                <a:gd name="T18" fmla="*/ 16 w 108"/>
                <a:gd name="T19" fmla="*/ 72 h 184"/>
                <a:gd name="T20" fmla="*/ 12 w 108"/>
                <a:gd name="T21" fmla="*/ 78 h 184"/>
                <a:gd name="T22" fmla="*/ 24 w 108"/>
                <a:gd name="T23" fmla="*/ 82 h 184"/>
                <a:gd name="T24" fmla="*/ 38 w 108"/>
                <a:gd name="T25" fmla="*/ 84 h 184"/>
                <a:gd name="T26" fmla="*/ 44 w 108"/>
                <a:gd name="T27" fmla="*/ 92 h 184"/>
                <a:gd name="T28" fmla="*/ 50 w 108"/>
                <a:gd name="T29" fmla="*/ 96 h 184"/>
                <a:gd name="T30" fmla="*/ 44 w 108"/>
                <a:gd name="T31" fmla="*/ 104 h 184"/>
                <a:gd name="T32" fmla="*/ 34 w 108"/>
                <a:gd name="T33" fmla="*/ 110 h 184"/>
                <a:gd name="T34" fmla="*/ 24 w 108"/>
                <a:gd name="T35" fmla="*/ 110 h 184"/>
                <a:gd name="T36" fmla="*/ 22 w 108"/>
                <a:gd name="T37" fmla="*/ 118 h 184"/>
                <a:gd name="T38" fmla="*/ 26 w 108"/>
                <a:gd name="T39" fmla="*/ 128 h 184"/>
                <a:gd name="T40" fmla="*/ 24 w 108"/>
                <a:gd name="T41" fmla="*/ 138 h 184"/>
                <a:gd name="T42" fmla="*/ 16 w 108"/>
                <a:gd name="T43" fmla="*/ 142 h 184"/>
                <a:gd name="T44" fmla="*/ 18 w 108"/>
                <a:gd name="T45" fmla="*/ 144 h 184"/>
                <a:gd name="T46" fmla="*/ 34 w 108"/>
                <a:gd name="T47" fmla="*/ 146 h 184"/>
                <a:gd name="T48" fmla="*/ 40 w 108"/>
                <a:gd name="T49" fmla="*/ 148 h 184"/>
                <a:gd name="T50" fmla="*/ 34 w 108"/>
                <a:gd name="T51" fmla="*/ 152 h 184"/>
                <a:gd name="T52" fmla="*/ 24 w 108"/>
                <a:gd name="T53" fmla="*/ 158 h 184"/>
                <a:gd name="T54" fmla="*/ 12 w 108"/>
                <a:gd name="T55" fmla="*/ 172 h 184"/>
                <a:gd name="T56" fmla="*/ 10 w 108"/>
                <a:gd name="T57" fmla="*/ 182 h 184"/>
                <a:gd name="T58" fmla="*/ 18 w 108"/>
                <a:gd name="T59" fmla="*/ 182 h 184"/>
                <a:gd name="T60" fmla="*/ 36 w 108"/>
                <a:gd name="T61" fmla="*/ 172 h 184"/>
                <a:gd name="T62" fmla="*/ 48 w 108"/>
                <a:gd name="T63" fmla="*/ 166 h 184"/>
                <a:gd name="T64" fmla="*/ 62 w 108"/>
                <a:gd name="T65" fmla="*/ 172 h 184"/>
                <a:gd name="T66" fmla="*/ 72 w 108"/>
                <a:gd name="T67" fmla="*/ 166 h 184"/>
                <a:gd name="T68" fmla="*/ 92 w 108"/>
                <a:gd name="T69" fmla="*/ 160 h 184"/>
                <a:gd name="T70" fmla="*/ 100 w 108"/>
                <a:gd name="T71" fmla="*/ 156 h 184"/>
                <a:gd name="T72" fmla="*/ 92 w 108"/>
                <a:gd name="T73" fmla="*/ 152 h 184"/>
                <a:gd name="T74" fmla="*/ 88 w 108"/>
                <a:gd name="T75" fmla="*/ 146 h 184"/>
                <a:gd name="T76" fmla="*/ 96 w 108"/>
                <a:gd name="T77" fmla="*/ 142 h 184"/>
                <a:gd name="T78" fmla="*/ 104 w 108"/>
                <a:gd name="T79" fmla="*/ 144 h 184"/>
                <a:gd name="T80" fmla="*/ 108 w 108"/>
                <a:gd name="T81" fmla="*/ 134 h 184"/>
                <a:gd name="T82" fmla="*/ 106 w 108"/>
                <a:gd name="T83" fmla="*/ 122 h 184"/>
                <a:gd name="T84" fmla="*/ 94 w 108"/>
                <a:gd name="T85" fmla="*/ 118 h 184"/>
                <a:gd name="T86" fmla="*/ 86 w 108"/>
                <a:gd name="T87" fmla="*/ 114 h 184"/>
                <a:gd name="T88" fmla="*/ 84 w 108"/>
                <a:gd name="T89" fmla="*/ 98 h 184"/>
                <a:gd name="T90" fmla="*/ 82 w 108"/>
                <a:gd name="T91" fmla="*/ 90 h 184"/>
                <a:gd name="T92" fmla="*/ 74 w 108"/>
                <a:gd name="T93" fmla="*/ 88 h 184"/>
                <a:gd name="T94" fmla="*/ 74 w 108"/>
                <a:gd name="T95" fmla="*/ 80 h 184"/>
                <a:gd name="T96" fmla="*/ 74 w 108"/>
                <a:gd name="T97" fmla="*/ 74 h 184"/>
                <a:gd name="T98" fmla="*/ 66 w 108"/>
                <a:gd name="T99" fmla="*/ 72 h 184"/>
                <a:gd name="T100" fmla="*/ 66 w 108"/>
                <a:gd name="T101" fmla="*/ 66 h 184"/>
                <a:gd name="T102" fmla="*/ 68 w 108"/>
                <a:gd name="T103" fmla="*/ 54 h 184"/>
                <a:gd name="T104" fmla="*/ 58 w 108"/>
                <a:gd name="T105" fmla="*/ 48 h 184"/>
                <a:gd name="T106" fmla="*/ 44 w 108"/>
                <a:gd name="T107" fmla="*/ 38 h 184"/>
                <a:gd name="T108" fmla="*/ 46 w 108"/>
                <a:gd name="T109" fmla="*/ 36 h 184"/>
                <a:gd name="T110" fmla="*/ 56 w 108"/>
                <a:gd name="T111" fmla="*/ 34 h 184"/>
                <a:gd name="T112" fmla="*/ 58 w 108"/>
                <a:gd name="T113" fmla="*/ 22 h 184"/>
                <a:gd name="T114" fmla="*/ 54 w 108"/>
                <a:gd name="T115" fmla="*/ 16 h 184"/>
                <a:gd name="T116" fmla="*/ 40 w 108"/>
                <a:gd name="T117" fmla="*/ 20 h 184"/>
                <a:gd name="T118" fmla="*/ 34 w 108"/>
                <a:gd name="T119" fmla="*/ 16 h 184"/>
                <a:gd name="T120" fmla="*/ 36 w 108"/>
                <a:gd name="T121" fmla="*/ 2 h 184"/>
                <a:gd name="T122" fmla="*/ 28 w 108"/>
                <a:gd name="T1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 h="184">
                  <a:moveTo>
                    <a:pt x="16" y="4"/>
                  </a:moveTo>
                  <a:lnTo>
                    <a:pt x="16" y="4"/>
                  </a:lnTo>
                  <a:lnTo>
                    <a:pt x="16" y="4"/>
                  </a:lnTo>
                  <a:lnTo>
                    <a:pt x="14" y="6"/>
                  </a:lnTo>
                  <a:lnTo>
                    <a:pt x="14" y="8"/>
                  </a:lnTo>
                  <a:lnTo>
                    <a:pt x="14" y="10"/>
                  </a:lnTo>
                  <a:lnTo>
                    <a:pt x="12" y="12"/>
                  </a:lnTo>
                  <a:lnTo>
                    <a:pt x="12" y="14"/>
                  </a:lnTo>
                  <a:lnTo>
                    <a:pt x="10" y="16"/>
                  </a:lnTo>
                  <a:lnTo>
                    <a:pt x="10" y="16"/>
                  </a:lnTo>
                  <a:lnTo>
                    <a:pt x="8" y="18"/>
                  </a:lnTo>
                  <a:lnTo>
                    <a:pt x="4" y="20"/>
                  </a:lnTo>
                  <a:lnTo>
                    <a:pt x="2" y="22"/>
                  </a:lnTo>
                  <a:lnTo>
                    <a:pt x="2" y="24"/>
                  </a:lnTo>
                  <a:lnTo>
                    <a:pt x="0" y="24"/>
                  </a:lnTo>
                  <a:lnTo>
                    <a:pt x="0" y="26"/>
                  </a:lnTo>
                  <a:lnTo>
                    <a:pt x="0" y="26"/>
                  </a:lnTo>
                  <a:lnTo>
                    <a:pt x="0" y="26"/>
                  </a:lnTo>
                  <a:lnTo>
                    <a:pt x="0" y="26"/>
                  </a:lnTo>
                  <a:lnTo>
                    <a:pt x="0" y="28"/>
                  </a:lnTo>
                  <a:lnTo>
                    <a:pt x="2" y="28"/>
                  </a:lnTo>
                  <a:lnTo>
                    <a:pt x="2" y="28"/>
                  </a:lnTo>
                  <a:lnTo>
                    <a:pt x="4" y="28"/>
                  </a:lnTo>
                  <a:lnTo>
                    <a:pt x="6" y="30"/>
                  </a:lnTo>
                  <a:lnTo>
                    <a:pt x="8" y="30"/>
                  </a:lnTo>
                  <a:lnTo>
                    <a:pt x="8" y="30"/>
                  </a:lnTo>
                  <a:lnTo>
                    <a:pt x="8" y="32"/>
                  </a:lnTo>
                  <a:lnTo>
                    <a:pt x="8" y="32"/>
                  </a:lnTo>
                  <a:lnTo>
                    <a:pt x="10" y="34"/>
                  </a:lnTo>
                  <a:lnTo>
                    <a:pt x="10" y="38"/>
                  </a:lnTo>
                  <a:lnTo>
                    <a:pt x="10" y="40"/>
                  </a:lnTo>
                  <a:lnTo>
                    <a:pt x="10" y="42"/>
                  </a:lnTo>
                  <a:lnTo>
                    <a:pt x="10" y="44"/>
                  </a:lnTo>
                  <a:lnTo>
                    <a:pt x="12" y="44"/>
                  </a:lnTo>
                  <a:lnTo>
                    <a:pt x="10" y="46"/>
                  </a:lnTo>
                  <a:lnTo>
                    <a:pt x="10" y="48"/>
                  </a:lnTo>
                  <a:lnTo>
                    <a:pt x="10" y="48"/>
                  </a:lnTo>
                  <a:lnTo>
                    <a:pt x="10" y="48"/>
                  </a:lnTo>
                  <a:lnTo>
                    <a:pt x="10" y="48"/>
                  </a:lnTo>
                  <a:lnTo>
                    <a:pt x="8" y="50"/>
                  </a:lnTo>
                  <a:lnTo>
                    <a:pt x="8" y="50"/>
                  </a:lnTo>
                  <a:lnTo>
                    <a:pt x="6" y="50"/>
                  </a:lnTo>
                  <a:lnTo>
                    <a:pt x="4" y="52"/>
                  </a:lnTo>
                  <a:lnTo>
                    <a:pt x="4" y="52"/>
                  </a:lnTo>
                  <a:lnTo>
                    <a:pt x="2" y="52"/>
                  </a:lnTo>
                  <a:lnTo>
                    <a:pt x="2" y="52"/>
                  </a:lnTo>
                  <a:lnTo>
                    <a:pt x="2" y="54"/>
                  </a:lnTo>
                  <a:lnTo>
                    <a:pt x="2" y="54"/>
                  </a:lnTo>
                  <a:lnTo>
                    <a:pt x="2" y="56"/>
                  </a:lnTo>
                  <a:lnTo>
                    <a:pt x="2" y="56"/>
                  </a:lnTo>
                  <a:lnTo>
                    <a:pt x="2" y="58"/>
                  </a:lnTo>
                  <a:lnTo>
                    <a:pt x="4" y="60"/>
                  </a:lnTo>
                  <a:lnTo>
                    <a:pt x="4" y="60"/>
                  </a:lnTo>
                  <a:lnTo>
                    <a:pt x="4" y="62"/>
                  </a:lnTo>
                  <a:lnTo>
                    <a:pt x="6" y="62"/>
                  </a:lnTo>
                  <a:lnTo>
                    <a:pt x="6" y="62"/>
                  </a:lnTo>
                  <a:lnTo>
                    <a:pt x="8" y="62"/>
                  </a:lnTo>
                  <a:lnTo>
                    <a:pt x="10" y="62"/>
                  </a:lnTo>
                  <a:lnTo>
                    <a:pt x="12" y="62"/>
                  </a:lnTo>
                  <a:lnTo>
                    <a:pt x="12" y="62"/>
                  </a:lnTo>
                  <a:lnTo>
                    <a:pt x="14" y="62"/>
                  </a:lnTo>
                  <a:lnTo>
                    <a:pt x="14" y="64"/>
                  </a:lnTo>
                  <a:lnTo>
                    <a:pt x="14" y="64"/>
                  </a:lnTo>
                  <a:lnTo>
                    <a:pt x="16" y="64"/>
                  </a:lnTo>
                  <a:lnTo>
                    <a:pt x="16" y="66"/>
                  </a:lnTo>
                  <a:lnTo>
                    <a:pt x="16" y="66"/>
                  </a:lnTo>
                  <a:lnTo>
                    <a:pt x="16" y="68"/>
                  </a:lnTo>
                  <a:lnTo>
                    <a:pt x="16" y="70"/>
                  </a:lnTo>
                  <a:lnTo>
                    <a:pt x="16" y="70"/>
                  </a:lnTo>
                  <a:lnTo>
                    <a:pt x="16" y="72"/>
                  </a:lnTo>
                  <a:lnTo>
                    <a:pt x="16" y="72"/>
                  </a:lnTo>
                  <a:lnTo>
                    <a:pt x="14" y="74"/>
                  </a:lnTo>
                  <a:lnTo>
                    <a:pt x="14" y="76"/>
                  </a:lnTo>
                  <a:lnTo>
                    <a:pt x="12" y="76"/>
                  </a:lnTo>
                  <a:lnTo>
                    <a:pt x="12" y="78"/>
                  </a:lnTo>
                  <a:lnTo>
                    <a:pt x="12" y="78"/>
                  </a:lnTo>
                  <a:lnTo>
                    <a:pt x="12" y="78"/>
                  </a:lnTo>
                  <a:lnTo>
                    <a:pt x="14" y="80"/>
                  </a:lnTo>
                  <a:lnTo>
                    <a:pt x="14" y="80"/>
                  </a:lnTo>
                  <a:lnTo>
                    <a:pt x="16" y="80"/>
                  </a:lnTo>
                  <a:lnTo>
                    <a:pt x="18" y="82"/>
                  </a:lnTo>
                  <a:lnTo>
                    <a:pt x="18" y="82"/>
                  </a:lnTo>
                  <a:lnTo>
                    <a:pt x="20" y="82"/>
                  </a:lnTo>
                  <a:lnTo>
                    <a:pt x="24" y="82"/>
                  </a:lnTo>
                  <a:lnTo>
                    <a:pt x="28" y="82"/>
                  </a:lnTo>
                  <a:lnTo>
                    <a:pt x="32" y="82"/>
                  </a:lnTo>
                  <a:lnTo>
                    <a:pt x="34" y="82"/>
                  </a:lnTo>
                  <a:lnTo>
                    <a:pt x="34" y="82"/>
                  </a:lnTo>
                  <a:lnTo>
                    <a:pt x="36" y="82"/>
                  </a:lnTo>
                  <a:lnTo>
                    <a:pt x="36" y="84"/>
                  </a:lnTo>
                  <a:lnTo>
                    <a:pt x="38" y="84"/>
                  </a:lnTo>
                  <a:lnTo>
                    <a:pt x="38" y="86"/>
                  </a:lnTo>
                  <a:lnTo>
                    <a:pt x="40" y="88"/>
                  </a:lnTo>
                  <a:lnTo>
                    <a:pt x="40" y="90"/>
                  </a:lnTo>
                  <a:lnTo>
                    <a:pt x="42" y="92"/>
                  </a:lnTo>
                  <a:lnTo>
                    <a:pt x="42" y="92"/>
                  </a:lnTo>
                  <a:lnTo>
                    <a:pt x="42" y="92"/>
                  </a:lnTo>
                  <a:lnTo>
                    <a:pt x="44" y="92"/>
                  </a:lnTo>
                  <a:lnTo>
                    <a:pt x="46" y="94"/>
                  </a:lnTo>
                  <a:lnTo>
                    <a:pt x="48" y="94"/>
                  </a:lnTo>
                  <a:lnTo>
                    <a:pt x="48" y="94"/>
                  </a:lnTo>
                  <a:lnTo>
                    <a:pt x="50" y="94"/>
                  </a:lnTo>
                  <a:lnTo>
                    <a:pt x="50" y="94"/>
                  </a:lnTo>
                  <a:lnTo>
                    <a:pt x="50" y="94"/>
                  </a:lnTo>
                  <a:lnTo>
                    <a:pt x="50" y="96"/>
                  </a:lnTo>
                  <a:lnTo>
                    <a:pt x="50" y="96"/>
                  </a:lnTo>
                  <a:lnTo>
                    <a:pt x="50" y="98"/>
                  </a:lnTo>
                  <a:lnTo>
                    <a:pt x="50" y="98"/>
                  </a:lnTo>
                  <a:lnTo>
                    <a:pt x="48" y="100"/>
                  </a:lnTo>
                  <a:lnTo>
                    <a:pt x="48" y="102"/>
                  </a:lnTo>
                  <a:lnTo>
                    <a:pt x="46" y="104"/>
                  </a:lnTo>
                  <a:lnTo>
                    <a:pt x="44" y="104"/>
                  </a:lnTo>
                  <a:lnTo>
                    <a:pt x="44" y="106"/>
                  </a:lnTo>
                  <a:lnTo>
                    <a:pt x="42" y="106"/>
                  </a:lnTo>
                  <a:lnTo>
                    <a:pt x="40" y="108"/>
                  </a:lnTo>
                  <a:lnTo>
                    <a:pt x="38" y="108"/>
                  </a:lnTo>
                  <a:lnTo>
                    <a:pt x="36" y="110"/>
                  </a:lnTo>
                  <a:lnTo>
                    <a:pt x="34" y="110"/>
                  </a:lnTo>
                  <a:lnTo>
                    <a:pt x="34" y="110"/>
                  </a:lnTo>
                  <a:lnTo>
                    <a:pt x="32" y="110"/>
                  </a:lnTo>
                  <a:lnTo>
                    <a:pt x="30" y="110"/>
                  </a:lnTo>
                  <a:lnTo>
                    <a:pt x="28" y="110"/>
                  </a:lnTo>
                  <a:lnTo>
                    <a:pt x="26" y="110"/>
                  </a:lnTo>
                  <a:lnTo>
                    <a:pt x="26" y="110"/>
                  </a:lnTo>
                  <a:lnTo>
                    <a:pt x="24" y="110"/>
                  </a:lnTo>
                  <a:lnTo>
                    <a:pt x="24" y="110"/>
                  </a:lnTo>
                  <a:lnTo>
                    <a:pt x="24" y="110"/>
                  </a:lnTo>
                  <a:lnTo>
                    <a:pt x="24" y="110"/>
                  </a:lnTo>
                  <a:lnTo>
                    <a:pt x="24" y="112"/>
                  </a:lnTo>
                  <a:lnTo>
                    <a:pt x="22" y="114"/>
                  </a:lnTo>
                  <a:lnTo>
                    <a:pt x="22" y="116"/>
                  </a:lnTo>
                  <a:lnTo>
                    <a:pt x="22" y="116"/>
                  </a:lnTo>
                  <a:lnTo>
                    <a:pt x="22" y="118"/>
                  </a:lnTo>
                  <a:lnTo>
                    <a:pt x="24" y="122"/>
                  </a:lnTo>
                  <a:lnTo>
                    <a:pt x="24" y="122"/>
                  </a:lnTo>
                  <a:lnTo>
                    <a:pt x="24" y="122"/>
                  </a:lnTo>
                  <a:lnTo>
                    <a:pt x="24" y="124"/>
                  </a:lnTo>
                  <a:lnTo>
                    <a:pt x="26" y="126"/>
                  </a:lnTo>
                  <a:lnTo>
                    <a:pt x="26" y="126"/>
                  </a:lnTo>
                  <a:lnTo>
                    <a:pt x="26" y="128"/>
                  </a:lnTo>
                  <a:lnTo>
                    <a:pt x="28" y="128"/>
                  </a:lnTo>
                  <a:lnTo>
                    <a:pt x="26" y="130"/>
                  </a:lnTo>
                  <a:lnTo>
                    <a:pt x="26" y="132"/>
                  </a:lnTo>
                  <a:lnTo>
                    <a:pt x="26" y="132"/>
                  </a:lnTo>
                  <a:lnTo>
                    <a:pt x="26" y="136"/>
                  </a:lnTo>
                  <a:lnTo>
                    <a:pt x="24" y="136"/>
                  </a:lnTo>
                  <a:lnTo>
                    <a:pt x="24" y="138"/>
                  </a:lnTo>
                  <a:lnTo>
                    <a:pt x="24" y="138"/>
                  </a:lnTo>
                  <a:lnTo>
                    <a:pt x="22" y="138"/>
                  </a:lnTo>
                  <a:lnTo>
                    <a:pt x="20" y="140"/>
                  </a:lnTo>
                  <a:lnTo>
                    <a:pt x="18" y="140"/>
                  </a:lnTo>
                  <a:lnTo>
                    <a:pt x="18" y="142"/>
                  </a:lnTo>
                  <a:lnTo>
                    <a:pt x="18" y="142"/>
                  </a:lnTo>
                  <a:lnTo>
                    <a:pt x="16" y="142"/>
                  </a:lnTo>
                  <a:lnTo>
                    <a:pt x="16" y="142"/>
                  </a:lnTo>
                  <a:lnTo>
                    <a:pt x="16" y="142"/>
                  </a:lnTo>
                  <a:lnTo>
                    <a:pt x="16" y="144"/>
                  </a:lnTo>
                  <a:lnTo>
                    <a:pt x="18" y="144"/>
                  </a:lnTo>
                  <a:lnTo>
                    <a:pt x="18" y="144"/>
                  </a:lnTo>
                  <a:lnTo>
                    <a:pt x="18" y="144"/>
                  </a:lnTo>
                  <a:lnTo>
                    <a:pt x="18" y="144"/>
                  </a:lnTo>
                  <a:lnTo>
                    <a:pt x="20" y="146"/>
                  </a:lnTo>
                  <a:lnTo>
                    <a:pt x="22" y="146"/>
                  </a:lnTo>
                  <a:lnTo>
                    <a:pt x="24" y="146"/>
                  </a:lnTo>
                  <a:lnTo>
                    <a:pt x="28" y="146"/>
                  </a:lnTo>
                  <a:lnTo>
                    <a:pt x="32" y="146"/>
                  </a:lnTo>
                  <a:lnTo>
                    <a:pt x="34" y="146"/>
                  </a:lnTo>
                  <a:lnTo>
                    <a:pt x="34" y="146"/>
                  </a:lnTo>
                  <a:lnTo>
                    <a:pt x="36" y="146"/>
                  </a:lnTo>
                  <a:lnTo>
                    <a:pt x="38" y="146"/>
                  </a:lnTo>
                  <a:lnTo>
                    <a:pt x="38" y="146"/>
                  </a:lnTo>
                  <a:lnTo>
                    <a:pt x="40" y="148"/>
                  </a:lnTo>
                  <a:lnTo>
                    <a:pt x="40" y="148"/>
                  </a:lnTo>
                  <a:lnTo>
                    <a:pt x="40" y="148"/>
                  </a:lnTo>
                  <a:lnTo>
                    <a:pt x="40" y="148"/>
                  </a:lnTo>
                  <a:lnTo>
                    <a:pt x="40" y="150"/>
                  </a:lnTo>
                  <a:lnTo>
                    <a:pt x="38" y="150"/>
                  </a:lnTo>
                  <a:lnTo>
                    <a:pt x="38" y="152"/>
                  </a:lnTo>
                  <a:lnTo>
                    <a:pt x="38" y="152"/>
                  </a:lnTo>
                  <a:lnTo>
                    <a:pt x="36" y="152"/>
                  </a:lnTo>
                  <a:lnTo>
                    <a:pt x="36" y="152"/>
                  </a:lnTo>
                  <a:lnTo>
                    <a:pt x="34" y="152"/>
                  </a:lnTo>
                  <a:lnTo>
                    <a:pt x="32" y="152"/>
                  </a:lnTo>
                  <a:lnTo>
                    <a:pt x="30" y="152"/>
                  </a:lnTo>
                  <a:lnTo>
                    <a:pt x="30" y="152"/>
                  </a:lnTo>
                  <a:lnTo>
                    <a:pt x="28" y="154"/>
                  </a:lnTo>
                  <a:lnTo>
                    <a:pt x="28" y="154"/>
                  </a:lnTo>
                  <a:lnTo>
                    <a:pt x="26" y="156"/>
                  </a:lnTo>
                  <a:lnTo>
                    <a:pt x="24" y="158"/>
                  </a:lnTo>
                  <a:lnTo>
                    <a:pt x="22" y="160"/>
                  </a:lnTo>
                  <a:lnTo>
                    <a:pt x="20" y="162"/>
                  </a:lnTo>
                  <a:lnTo>
                    <a:pt x="18" y="164"/>
                  </a:lnTo>
                  <a:lnTo>
                    <a:pt x="16" y="168"/>
                  </a:lnTo>
                  <a:lnTo>
                    <a:pt x="14" y="170"/>
                  </a:lnTo>
                  <a:lnTo>
                    <a:pt x="12" y="172"/>
                  </a:lnTo>
                  <a:lnTo>
                    <a:pt x="12" y="172"/>
                  </a:lnTo>
                  <a:lnTo>
                    <a:pt x="10" y="176"/>
                  </a:lnTo>
                  <a:lnTo>
                    <a:pt x="10" y="176"/>
                  </a:lnTo>
                  <a:lnTo>
                    <a:pt x="10" y="178"/>
                  </a:lnTo>
                  <a:lnTo>
                    <a:pt x="10" y="180"/>
                  </a:lnTo>
                  <a:lnTo>
                    <a:pt x="10" y="182"/>
                  </a:lnTo>
                  <a:lnTo>
                    <a:pt x="10" y="182"/>
                  </a:lnTo>
                  <a:lnTo>
                    <a:pt x="10" y="182"/>
                  </a:lnTo>
                  <a:lnTo>
                    <a:pt x="10" y="182"/>
                  </a:lnTo>
                  <a:lnTo>
                    <a:pt x="12" y="184"/>
                  </a:lnTo>
                  <a:lnTo>
                    <a:pt x="12" y="184"/>
                  </a:lnTo>
                  <a:lnTo>
                    <a:pt x="14" y="184"/>
                  </a:lnTo>
                  <a:lnTo>
                    <a:pt x="14" y="184"/>
                  </a:lnTo>
                  <a:lnTo>
                    <a:pt x="16" y="182"/>
                  </a:lnTo>
                  <a:lnTo>
                    <a:pt x="18" y="182"/>
                  </a:lnTo>
                  <a:lnTo>
                    <a:pt x="20" y="180"/>
                  </a:lnTo>
                  <a:lnTo>
                    <a:pt x="24" y="178"/>
                  </a:lnTo>
                  <a:lnTo>
                    <a:pt x="28" y="176"/>
                  </a:lnTo>
                  <a:lnTo>
                    <a:pt x="30" y="176"/>
                  </a:lnTo>
                  <a:lnTo>
                    <a:pt x="32" y="174"/>
                  </a:lnTo>
                  <a:lnTo>
                    <a:pt x="34" y="174"/>
                  </a:lnTo>
                  <a:lnTo>
                    <a:pt x="36" y="172"/>
                  </a:lnTo>
                  <a:lnTo>
                    <a:pt x="38" y="170"/>
                  </a:lnTo>
                  <a:lnTo>
                    <a:pt x="40" y="168"/>
                  </a:lnTo>
                  <a:lnTo>
                    <a:pt x="42" y="168"/>
                  </a:lnTo>
                  <a:lnTo>
                    <a:pt x="44" y="166"/>
                  </a:lnTo>
                  <a:lnTo>
                    <a:pt x="46" y="166"/>
                  </a:lnTo>
                  <a:lnTo>
                    <a:pt x="46" y="166"/>
                  </a:lnTo>
                  <a:lnTo>
                    <a:pt x="48" y="166"/>
                  </a:lnTo>
                  <a:lnTo>
                    <a:pt x="50" y="168"/>
                  </a:lnTo>
                  <a:lnTo>
                    <a:pt x="52" y="168"/>
                  </a:lnTo>
                  <a:lnTo>
                    <a:pt x="56" y="170"/>
                  </a:lnTo>
                  <a:lnTo>
                    <a:pt x="58" y="170"/>
                  </a:lnTo>
                  <a:lnTo>
                    <a:pt x="60" y="170"/>
                  </a:lnTo>
                  <a:lnTo>
                    <a:pt x="62" y="172"/>
                  </a:lnTo>
                  <a:lnTo>
                    <a:pt x="62" y="172"/>
                  </a:lnTo>
                  <a:lnTo>
                    <a:pt x="64" y="172"/>
                  </a:lnTo>
                  <a:lnTo>
                    <a:pt x="64" y="172"/>
                  </a:lnTo>
                  <a:lnTo>
                    <a:pt x="66" y="172"/>
                  </a:lnTo>
                  <a:lnTo>
                    <a:pt x="66" y="170"/>
                  </a:lnTo>
                  <a:lnTo>
                    <a:pt x="68" y="170"/>
                  </a:lnTo>
                  <a:lnTo>
                    <a:pt x="70" y="168"/>
                  </a:lnTo>
                  <a:lnTo>
                    <a:pt x="72" y="166"/>
                  </a:lnTo>
                  <a:lnTo>
                    <a:pt x="76" y="164"/>
                  </a:lnTo>
                  <a:lnTo>
                    <a:pt x="78" y="162"/>
                  </a:lnTo>
                  <a:lnTo>
                    <a:pt x="80" y="162"/>
                  </a:lnTo>
                  <a:lnTo>
                    <a:pt x="82" y="162"/>
                  </a:lnTo>
                  <a:lnTo>
                    <a:pt x="82" y="160"/>
                  </a:lnTo>
                  <a:lnTo>
                    <a:pt x="84" y="160"/>
                  </a:lnTo>
                  <a:lnTo>
                    <a:pt x="92" y="160"/>
                  </a:lnTo>
                  <a:lnTo>
                    <a:pt x="94" y="160"/>
                  </a:lnTo>
                  <a:lnTo>
                    <a:pt x="96" y="160"/>
                  </a:lnTo>
                  <a:lnTo>
                    <a:pt x="96" y="158"/>
                  </a:lnTo>
                  <a:lnTo>
                    <a:pt x="98" y="158"/>
                  </a:lnTo>
                  <a:lnTo>
                    <a:pt x="98" y="158"/>
                  </a:lnTo>
                  <a:lnTo>
                    <a:pt x="100" y="158"/>
                  </a:lnTo>
                  <a:lnTo>
                    <a:pt x="100" y="156"/>
                  </a:lnTo>
                  <a:lnTo>
                    <a:pt x="100" y="156"/>
                  </a:lnTo>
                  <a:lnTo>
                    <a:pt x="100" y="156"/>
                  </a:lnTo>
                  <a:lnTo>
                    <a:pt x="98" y="154"/>
                  </a:lnTo>
                  <a:lnTo>
                    <a:pt x="98" y="154"/>
                  </a:lnTo>
                  <a:lnTo>
                    <a:pt x="96" y="154"/>
                  </a:lnTo>
                  <a:lnTo>
                    <a:pt x="94" y="152"/>
                  </a:lnTo>
                  <a:lnTo>
                    <a:pt x="92" y="152"/>
                  </a:lnTo>
                  <a:lnTo>
                    <a:pt x="90" y="150"/>
                  </a:lnTo>
                  <a:lnTo>
                    <a:pt x="90" y="150"/>
                  </a:lnTo>
                  <a:lnTo>
                    <a:pt x="88" y="148"/>
                  </a:lnTo>
                  <a:lnTo>
                    <a:pt x="88" y="148"/>
                  </a:lnTo>
                  <a:lnTo>
                    <a:pt x="88" y="148"/>
                  </a:lnTo>
                  <a:lnTo>
                    <a:pt x="88" y="146"/>
                  </a:lnTo>
                  <a:lnTo>
                    <a:pt x="88" y="146"/>
                  </a:lnTo>
                  <a:lnTo>
                    <a:pt x="90" y="146"/>
                  </a:lnTo>
                  <a:lnTo>
                    <a:pt x="90" y="144"/>
                  </a:lnTo>
                  <a:lnTo>
                    <a:pt x="92" y="144"/>
                  </a:lnTo>
                  <a:lnTo>
                    <a:pt x="92" y="144"/>
                  </a:lnTo>
                  <a:lnTo>
                    <a:pt x="94" y="142"/>
                  </a:lnTo>
                  <a:lnTo>
                    <a:pt x="94" y="142"/>
                  </a:lnTo>
                  <a:lnTo>
                    <a:pt x="96" y="142"/>
                  </a:lnTo>
                  <a:lnTo>
                    <a:pt x="96" y="142"/>
                  </a:lnTo>
                  <a:lnTo>
                    <a:pt x="100" y="144"/>
                  </a:lnTo>
                  <a:lnTo>
                    <a:pt x="100" y="144"/>
                  </a:lnTo>
                  <a:lnTo>
                    <a:pt x="102" y="144"/>
                  </a:lnTo>
                  <a:lnTo>
                    <a:pt x="104" y="144"/>
                  </a:lnTo>
                  <a:lnTo>
                    <a:pt x="104" y="144"/>
                  </a:lnTo>
                  <a:lnTo>
                    <a:pt x="104" y="144"/>
                  </a:lnTo>
                  <a:lnTo>
                    <a:pt x="106" y="142"/>
                  </a:lnTo>
                  <a:lnTo>
                    <a:pt x="106" y="142"/>
                  </a:lnTo>
                  <a:lnTo>
                    <a:pt x="106" y="140"/>
                  </a:lnTo>
                  <a:lnTo>
                    <a:pt x="106" y="140"/>
                  </a:lnTo>
                  <a:lnTo>
                    <a:pt x="108" y="138"/>
                  </a:lnTo>
                  <a:lnTo>
                    <a:pt x="108" y="136"/>
                  </a:lnTo>
                  <a:lnTo>
                    <a:pt x="108" y="134"/>
                  </a:lnTo>
                  <a:lnTo>
                    <a:pt x="108" y="132"/>
                  </a:lnTo>
                  <a:lnTo>
                    <a:pt x="108" y="130"/>
                  </a:lnTo>
                  <a:lnTo>
                    <a:pt x="108" y="126"/>
                  </a:lnTo>
                  <a:lnTo>
                    <a:pt x="108" y="124"/>
                  </a:lnTo>
                  <a:lnTo>
                    <a:pt x="106" y="124"/>
                  </a:lnTo>
                  <a:lnTo>
                    <a:pt x="106" y="122"/>
                  </a:lnTo>
                  <a:lnTo>
                    <a:pt x="106" y="122"/>
                  </a:lnTo>
                  <a:lnTo>
                    <a:pt x="106" y="120"/>
                  </a:lnTo>
                  <a:lnTo>
                    <a:pt x="104" y="120"/>
                  </a:lnTo>
                  <a:lnTo>
                    <a:pt x="104" y="120"/>
                  </a:lnTo>
                  <a:lnTo>
                    <a:pt x="102" y="118"/>
                  </a:lnTo>
                  <a:lnTo>
                    <a:pt x="100" y="118"/>
                  </a:lnTo>
                  <a:lnTo>
                    <a:pt x="96" y="118"/>
                  </a:lnTo>
                  <a:lnTo>
                    <a:pt x="94" y="118"/>
                  </a:lnTo>
                  <a:lnTo>
                    <a:pt x="90" y="116"/>
                  </a:lnTo>
                  <a:lnTo>
                    <a:pt x="90" y="116"/>
                  </a:lnTo>
                  <a:lnTo>
                    <a:pt x="88" y="116"/>
                  </a:lnTo>
                  <a:lnTo>
                    <a:pt x="88" y="116"/>
                  </a:lnTo>
                  <a:lnTo>
                    <a:pt x="86" y="114"/>
                  </a:lnTo>
                  <a:lnTo>
                    <a:pt x="86" y="114"/>
                  </a:lnTo>
                  <a:lnTo>
                    <a:pt x="86" y="114"/>
                  </a:lnTo>
                  <a:lnTo>
                    <a:pt x="86" y="112"/>
                  </a:lnTo>
                  <a:lnTo>
                    <a:pt x="86" y="110"/>
                  </a:lnTo>
                  <a:lnTo>
                    <a:pt x="86" y="108"/>
                  </a:lnTo>
                  <a:lnTo>
                    <a:pt x="86" y="104"/>
                  </a:lnTo>
                  <a:lnTo>
                    <a:pt x="86" y="102"/>
                  </a:lnTo>
                  <a:lnTo>
                    <a:pt x="86" y="100"/>
                  </a:lnTo>
                  <a:lnTo>
                    <a:pt x="84" y="98"/>
                  </a:lnTo>
                  <a:lnTo>
                    <a:pt x="84" y="96"/>
                  </a:lnTo>
                  <a:lnTo>
                    <a:pt x="84" y="94"/>
                  </a:lnTo>
                  <a:lnTo>
                    <a:pt x="84" y="92"/>
                  </a:lnTo>
                  <a:lnTo>
                    <a:pt x="84" y="92"/>
                  </a:lnTo>
                  <a:lnTo>
                    <a:pt x="82" y="90"/>
                  </a:lnTo>
                  <a:lnTo>
                    <a:pt x="82" y="90"/>
                  </a:lnTo>
                  <a:lnTo>
                    <a:pt x="82" y="90"/>
                  </a:lnTo>
                  <a:lnTo>
                    <a:pt x="80" y="90"/>
                  </a:lnTo>
                  <a:lnTo>
                    <a:pt x="80" y="90"/>
                  </a:lnTo>
                  <a:lnTo>
                    <a:pt x="78" y="90"/>
                  </a:lnTo>
                  <a:lnTo>
                    <a:pt x="76" y="88"/>
                  </a:lnTo>
                  <a:lnTo>
                    <a:pt x="74" y="88"/>
                  </a:lnTo>
                  <a:lnTo>
                    <a:pt x="74" y="88"/>
                  </a:lnTo>
                  <a:lnTo>
                    <a:pt x="74" y="88"/>
                  </a:lnTo>
                  <a:lnTo>
                    <a:pt x="72" y="88"/>
                  </a:lnTo>
                  <a:lnTo>
                    <a:pt x="72" y="86"/>
                  </a:lnTo>
                  <a:lnTo>
                    <a:pt x="72" y="86"/>
                  </a:lnTo>
                  <a:lnTo>
                    <a:pt x="72" y="86"/>
                  </a:lnTo>
                  <a:lnTo>
                    <a:pt x="72" y="84"/>
                  </a:lnTo>
                  <a:lnTo>
                    <a:pt x="72" y="82"/>
                  </a:lnTo>
                  <a:lnTo>
                    <a:pt x="74" y="80"/>
                  </a:lnTo>
                  <a:lnTo>
                    <a:pt x="74" y="78"/>
                  </a:lnTo>
                  <a:lnTo>
                    <a:pt x="74" y="78"/>
                  </a:lnTo>
                  <a:lnTo>
                    <a:pt x="74" y="76"/>
                  </a:lnTo>
                  <a:lnTo>
                    <a:pt x="74" y="76"/>
                  </a:lnTo>
                  <a:lnTo>
                    <a:pt x="74" y="76"/>
                  </a:lnTo>
                  <a:lnTo>
                    <a:pt x="74" y="74"/>
                  </a:lnTo>
                  <a:lnTo>
                    <a:pt x="74" y="74"/>
                  </a:lnTo>
                  <a:lnTo>
                    <a:pt x="74" y="74"/>
                  </a:lnTo>
                  <a:lnTo>
                    <a:pt x="72" y="74"/>
                  </a:lnTo>
                  <a:lnTo>
                    <a:pt x="70" y="74"/>
                  </a:lnTo>
                  <a:lnTo>
                    <a:pt x="70" y="74"/>
                  </a:lnTo>
                  <a:lnTo>
                    <a:pt x="68" y="74"/>
                  </a:lnTo>
                  <a:lnTo>
                    <a:pt x="66" y="72"/>
                  </a:lnTo>
                  <a:lnTo>
                    <a:pt x="66" y="72"/>
                  </a:lnTo>
                  <a:lnTo>
                    <a:pt x="66" y="72"/>
                  </a:lnTo>
                  <a:lnTo>
                    <a:pt x="64" y="72"/>
                  </a:lnTo>
                  <a:lnTo>
                    <a:pt x="64" y="72"/>
                  </a:lnTo>
                  <a:lnTo>
                    <a:pt x="64" y="70"/>
                  </a:lnTo>
                  <a:lnTo>
                    <a:pt x="64" y="70"/>
                  </a:lnTo>
                  <a:lnTo>
                    <a:pt x="64" y="68"/>
                  </a:lnTo>
                  <a:lnTo>
                    <a:pt x="66" y="66"/>
                  </a:lnTo>
                  <a:lnTo>
                    <a:pt x="66" y="64"/>
                  </a:lnTo>
                  <a:lnTo>
                    <a:pt x="66" y="60"/>
                  </a:lnTo>
                  <a:lnTo>
                    <a:pt x="68" y="58"/>
                  </a:lnTo>
                  <a:lnTo>
                    <a:pt x="68" y="58"/>
                  </a:lnTo>
                  <a:lnTo>
                    <a:pt x="68" y="56"/>
                  </a:lnTo>
                  <a:lnTo>
                    <a:pt x="68" y="56"/>
                  </a:lnTo>
                  <a:lnTo>
                    <a:pt x="68" y="54"/>
                  </a:lnTo>
                  <a:lnTo>
                    <a:pt x="68" y="54"/>
                  </a:lnTo>
                  <a:lnTo>
                    <a:pt x="66" y="54"/>
                  </a:lnTo>
                  <a:lnTo>
                    <a:pt x="66" y="52"/>
                  </a:lnTo>
                  <a:lnTo>
                    <a:pt x="64" y="50"/>
                  </a:lnTo>
                  <a:lnTo>
                    <a:pt x="62" y="50"/>
                  </a:lnTo>
                  <a:lnTo>
                    <a:pt x="60" y="48"/>
                  </a:lnTo>
                  <a:lnTo>
                    <a:pt x="58" y="48"/>
                  </a:lnTo>
                  <a:lnTo>
                    <a:pt x="54" y="46"/>
                  </a:lnTo>
                  <a:lnTo>
                    <a:pt x="50" y="44"/>
                  </a:lnTo>
                  <a:lnTo>
                    <a:pt x="48" y="42"/>
                  </a:lnTo>
                  <a:lnTo>
                    <a:pt x="46" y="42"/>
                  </a:lnTo>
                  <a:lnTo>
                    <a:pt x="44" y="40"/>
                  </a:lnTo>
                  <a:lnTo>
                    <a:pt x="44" y="40"/>
                  </a:lnTo>
                  <a:lnTo>
                    <a:pt x="44" y="38"/>
                  </a:lnTo>
                  <a:lnTo>
                    <a:pt x="44" y="38"/>
                  </a:lnTo>
                  <a:lnTo>
                    <a:pt x="44" y="38"/>
                  </a:lnTo>
                  <a:lnTo>
                    <a:pt x="44" y="36"/>
                  </a:lnTo>
                  <a:lnTo>
                    <a:pt x="44" y="36"/>
                  </a:lnTo>
                  <a:lnTo>
                    <a:pt x="44" y="36"/>
                  </a:lnTo>
                  <a:lnTo>
                    <a:pt x="44" y="36"/>
                  </a:lnTo>
                  <a:lnTo>
                    <a:pt x="46" y="36"/>
                  </a:lnTo>
                  <a:lnTo>
                    <a:pt x="48" y="34"/>
                  </a:lnTo>
                  <a:lnTo>
                    <a:pt x="50" y="34"/>
                  </a:lnTo>
                  <a:lnTo>
                    <a:pt x="52" y="34"/>
                  </a:lnTo>
                  <a:lnTo>
                    <a:pt x="54" y="34"/>
                  </a:lnTo>
                  <a:lnTo>
                    <a:pt x="54" y="34"/>
                  </a:lnTo>
                  <a:lnTo>
                    <a:pt x="54" y="34"/>
                  </a:lnTo>
                  <a:lnTo>
                    <a:pt x="56" y="34"/>
                  </a:lnTo>
                  <a:lnTo>
                    <a:pt x="56" y="32"/>
                  </a:lnTo>
                  <a:lnTo>
                    <a:pt x="56" y="32"/>
                  </a:lnTo>
                  <a:lnTo>
                    <a:pt x="58" y="30"/>
                  </a:lnTo>
                  <a:lnTo>
                    <a:pt x="58" y="28"/>
                  </a:lnTo>
                  <a:lnTo>
                    <a:pt x="58" y="26"/>
                  </a:lnTo>
                  <a:lnTo>
                    <a:pt x="58" y="24"/>
                  </a:lnTo>
                  <a:lnTo>
                    <a:pt x="58" y="22"/>
                  </a:lnTo>
                  <a:lnTo>
                    <a:pt x="58" y="20"/>
                  </a:lnTo>
                  <a:lnTo>
                    <a:pt x="58" y="20"/>
                  </a:lnTo>
                  <a:lnTo>
                    <a:pt x="58" y="18"/>
                  </a:lnTo>
                  <a:lnTo>
                    <a:pt x="58" y="18"/>
                  </a:lnTo>
                  <a:lnTo>
                    <a:pt x="56" y="18"/>
                  </a:lnTo>
                  <a:lnTo>
                    <a:pt x="56" y="16"/>
                  </a:lnTo>
                  <a:lnTo>
                    <a:pt x="54" y="16"/>
                  </a:lnTo>
                  <a:lnTo>
                    <a:pt x="52" y="16"/>
                  </a:lnTo>
                  <a:lnTo>
                    <a:pt x="52" y="16"/>
                  </a:lnTo>
                  <a:lnTo>
                    <a:pt x="50" y="18"/>
                  </a:lnTo>
                  <a:lnTo>
                    <a:pt x="46" y="18"/>
                  </a:lnTo>
                  <a:lnTo>
                    <a:pt x="42" y="18"/>
                  </a:lnTo>
                  <a:lnTo>
                    <a:pt x="40" y="18"/>
                  </a:lnTo>
                  <a:lnTo>
                    <a:pt x="40" y="20"/>
                  </a:lnTo>
                  <a:lnTo>
                    <a:pt x="38" y="20"/>
                  </a:lnTo>
                  <a:lnTo>
                    <a:pt x="36" y="18"/>
                  </a:lnTo>
                  <a:lnTo>
                    <a:pt x="36" y="18"/>
                  </a:lnTo>
                  <a:lnTo>
                    <a:pt x="34" y="18"/>
                  </a:lnTo>
                  <a:lnTo>
                    <a:pt x="34" y="18"/>
                  </a:lnTo>
                  <a:lnTo>
                    <a:pt x="34" y="16"/>
                  </a:lnTo>
                  <a:lnTo>
                    <a:pt x="34" y="16"/>
                  </a:lnTo>
                  <a:lnTo>
                    <a:pt x="34" y="14"/>
                  </a:lnTo>
                  <a:lnTo>
                    <a:pt x="34" y="12"/>
                  </a:lnTo>
                  <a:lnTo>
                    <a:pt x="34" y="10"/>
                  </a:lnTo>
                  <a:lnTo>
                    <a:pt x="36" y="8"/>
                  </a:lnTo>
                  <a:lnTo>
                    <a:pt x="36" y="4"/>
                  </a:lnTo>
                  <a:lnTo>
                    <a:pt x="36" y="4"/>
                  </a:lnTo>
                  <a:lnTo>
                    <a:pt x="36" y="2"/>
                  </a:lnTo>
                  <a:lnTo>
                    <a:pt x="34" y="2"/>
                  </a:lnTo>
                  <a:lnTo>
                    <a:pt x="34" y="2"/>
                  </a:lnTo>
                  <a:lnTo>
                    <a:pt x="34" y="0"/>
                  </a:lnTo>
                  <a:lnTo>
                    <a:pt x="32" y="0"/>
                  </a:lnTo>
                  <a:lnTo>
                    <a:pt x="32" y="0"/>
                  </a:lnTo>
                  <a:lnTo>
                    <a:pt x="30" y="0"/>
                  </a:lnTo>
                  <a:lnTo>
                    <a:pt x="28" y="0"/>
                  </a:lnTo>
                  <a:lnTo>
                    <a:pt x="26" y="0"/>
                  </a:lnTo>
                  <a:lnTo>
                    <a:pt x="24" y="2"/>
                  </a:lnTo>
                  <a:lnTo>
                    <a:pt x="20" y="2"/>
                  </a:lnTo>
                  <a:lnTo>
                    <a:pt x="18" y="4"/>
                  </a:lnTo>
                  <a:lnTo>
                    <a:pt x="16" y="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1" name="Freeform 329">
              <a:extLst>
                <a:ext uri="{FF2B5EF4-FFF2-40B4-BE49-F238E27FC236}">
                  <a16:creationId xmlns:a16="http://schemas.microsoft.com/office/drawing/2014/main" id="{A3D1B365-ED71-4D5A-A1E5-DBC031896BC9}"/>
                </a:ext>
              </a:extLst>
            </p:cNvPr>
            <p:cNvSpPr>
              <a:spLocks/>
            </p:cNvSpPr>
            <p:nvPr/>
          </p:nvSpPr>
          <p:spPr bwMode="auto">
            <a:xfrm>
              <a:off x="4896223" y="3194732"/>
              <a:ext cx="83140" cy="100460"/>
            </a:xfrm>
            <a:custGeom>
              <a:avLst/>
              <a:gdLst>
                <a:gd name="T0" fmla="*/ 0 w 48"/>
                <a:gd name="T1" fmla="*/ 0 h 58"/>
                <a:gd name="T2" fmla="*/ 8 w 48"/>
                <a:gd name="T3" fmla="*/ 0 h 58"/>
                <a:gd name="T4" fmla="*/ 14 w 48"/>
                <a:gd name="T5" fmla="*/ 0 h 58"/>
                <a:gd name="T6" fmla="*/ 18 w 48"/>
                <a:gd name="T7" fmla="*/ 0 h 58"/>
                <a:gd name="T8" fmla="*/ 20 w 48"/>
                <a:gd name="T9" fmla="*/ 0 h 58"/>
                <a:gd name="T10" fmla="*/ 24 w 48"/>
                <a:gd name="T11" fmla="*/ 2 h 58"/>
                <a:gd name="T12" fmla="*/ 28 w 48"/>
                <a:gd name="T13" fmla="*/ 4 h 58"/>
                <a:gd name="T14" fmla="*/ 30 w 48"/>
                <a:gd name="T15" fmla="*/ 6 h 58"/>
                <a:gd name="T16" fmla="*/ 36 w 48"/>
                <a:gd name="T17" fmla="*/ 12 h 58"/>
                <a:gd name="T18" fmla="*/ 42 w 48"/>
                <a:gd name="T19" fmla="*/ 20 h 58"/>
                <a:gd name="T20" fmla="*/ 46 w 48"/>
                <a:gd name="T21" fmla="*/ 28 h 58"/>
                <a:gd name="T22" fmla="*/ 48 w 48"/>
                <a:gd name="T23" fmla="*/ 30 h 58"/>
                <a:gd name="T24" fmla="*/ 48 w 48"/>
                <a:gd name="T25" fmla="*/ 34 h 58"/>
                <a:gd name="T26" fmla="*/ 48 w 48"/>
                <a:gd name="T27" fmla="*/ 36 h 58"/>
                <a:gd name="T28" fmla="*/ 48 w 48"/>
                <a:gd name="T29" fmla="*/ 40 h 58"/>
                <a:gd name="T30" fmla="*/ 46 w 48"/>
                <a:gd name="T31" fmla="*/ 46 h 58"/>
                <a:gd name="T32" fmla="*/ 42 w 48"/>
                <a:gd name="T33" fmla="*/ 52 h 58"/>
                <a:gd name="T34" fmla="*/ 40 w 48"/>
                <a:gd name="T35" fmla="*/ 56 h 58"/>
                <a:gd name="T36" fmla="*/ 38 w 48"/>
                <a:gd name="T37" fmla="*/ 52 h 58"/>
                <a:gd name="T38" fmla="*/ 36 w 48"/>
                <a:gd name="T39" fmla="*/ 48 h 58"/>
                <a:gd name="T40" fmla="*/ 34 w 48"/>
                <a:gd name="T41" fmla="*/ 48 h 58"/>
                <a:gd name="T42" fmla="*/ 34 w 48"/>
                <a:gd name="T43" fmla="*/ 48 h 58"/>
                <a:gd name="T44" fmla="*/ 32 w 48"/>
                <a:gd name="T45" fmla="*/ 48 h 58"/>
                <a:gd name="T46" fmla="*/ 30 w 48"/>
                <a:gd name="T47" fmla="*/ 50 h 58"/>
                <a:gd name="T48" fmla="*/ 30 w 48"/>
                <a:gd name="T49" fmla="*/ 54 h 58"/>
                <a:gd name="T50" fmla="*/ 26 w 48"/>
                <a:gd name="T51" fmla="*/ 48 h 58"/>
                <a:gd name="T52" fmla="*/ 22 w 48"/>
                <a:gd name="T53" fmla="*/ 40 h 58"/>
                <a:gd name="T54" fmla="*/ 22 w 48"/>
                <a:gd name="T55" fmla="*/ 36 h 58"/>
                <a:gd name="T56" fmla="*/ 22 w 48"/>
                <a:gd name="T57" fmla="*/ 28 h 58"/>
                <a:gd name="T58" fmla="*/ 20 w 48"/>
                <a:gd name="T59" fmla="*/ 24 h 58"/>
                <a:gd name="T60" fmla="*/ 20 w 48"/>
                <a:gd name="T61" fmla="*/ 20 h 58"/>
                <a:gd name="T62" fmla="*/ 18 w 48"/>
                <a:gd name="T63" fmla="*/ 18 h 58"/>
                <a:gd name="T64" fmla="*/ 12 w 48"/>
                <a:gd name="T65" fmla="*/ 12 h 58"/>
                <a:gd name="T66" fmla="*/ 2 w 48"/>
                <a:gd name="T67"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58">
                  <a:moveTo>
                    <a:pt x="0" y="0"/>
                  </a:moveTo>
                  <a:lnTo>
                    <a:pt x="0" y="0"/>
                  </a:lnTo>
                  <a:lnTo>
                    <a:pt x="2" y="0"/>
                  </a:lnTo>
                  <a:lnTo>
                    <a:pt x="8" y="0"/>
                  </a:lnTo>
                  <a:lnTo>
                    <a:pt x="10" y="0"/>
                  </a:lnTo>
                  <a:lnTo>
                    <a:pt x="14" y="0"/>
                  </a:lnTo>
                  <a:lnTo>
                    <a:pt x="16" y="0"/>
                  </a:lnTo>
                  <a:lnTo>
                    <a:pt x="18" y="0"/>
                  </a:lnTo>
                  <a:lnTo>
                    <a:pt x="20" y="0"/>
                  </a:lnTo>
                  <a:lnTo>
                    <a:pt x="20" y="0"/>
                  </a:lnTo>
                  <a:lnTo>
                    <a:pt x="22" y="2"/>
                  </a:lnTo>
                  <a:lnTo>
                    <a:pt x="24" y="2"/>
                  </a:lnTo>
                  <a:lnTo>
                    <a:pt x="26" y="4"/>
                  </a:lnTo>
                  <a:lnTo>
                    <a:pt x="28" y="4"/>
                  </a:lnTo>
                  <a:lnTo>
                    <a:pt x="30" y="6"/>
                  </a:lnTo>
                  <a:lnTo>
                    <a:pt x="30" y="6"/>
                  </a:lnTo>
                  <a:lnTo>
                    <a:pt x="34" y="10"/>
                  </a:lnTo>
                  <a:lnTo>
                    <a:pt x="36" y="12"/>
                  </a:lnTo>
                  <a:lnTo>
                    <a:pt x="38" y="16"/>
                  </a:lnTo>
                  <a:lnTo>
                    <a:pt x="42" y="20"/>
                  </a:lnTo>
                  <a:lnTo>
                    <a:pt x="44" y="24"/>
                  </a:lnTo>
                  <a:lnTo>
                    <a:pt x="46" y="28"/>
                  </a:lnTo>
                  <a:lnTo>
                    <a:pt x="48" y="30"/>
                  </a:lnTo>
                  <a:lnTo>
                    <a:pt x="48" y="30"/>
                  </a:lnTo>
                  <a:lnTo>
                    <a:pt x="48" y="32"/>
                  </a:lnTo>
                  <a:lnTo>
                    <a:pt x="48" y="34"/>
                  </a:lnTo>
                  <a:lnTo>
                    <a:pt x="48" y="36"/>
                  </a:lnTo>
                  <a:lnTo>
                    <a:pt x="48" y="36"/>
                  </a:lnTo>
                  <a:lnTo>
                    <a:pt x="48" y="38"/>
                  </a:lnTo>
                  <a:lnTo>
                    <a:pt x="48" y="40"/>
                  </a:lnTo>
                  <a:lnTo>
                    <a:pt x="46" y="42"/>
                  </a:lnTo>
                  <a:lnTo>
                    <a:pt x="46" y="46"/>
                  </a:lnTo>
                  <a:lnTo>
                    <a:pt x="44" y="48"/>
                  </a:lnTo>
                  <a:lnTo>
                    <a:pt x="42" y="52"/>
                  </a:lnTo>
                  <a:lnTo>
                    <a:pt x="40" y="58"/>
                  </a:lnTo>
                  <a:lnTo>
                    <a:pt x="40" y="56"/>
                  </a:lnTo>
                  <a:lnTo>
                    <a:pt x="38" y="54"/>
                  </a:lnTo>
                  <a:lnTo>
                    <a:pt x="38" y="52"/>
                  </a:lnTo>
                  <a:lnTo>
                    <a:pt x="36" y="50"/>
                  </a:lnTo>
                  <a:lnTo>
                    <a:pt x="36" y="48"/>
                  </a:lnTo>
                  <a:lnTo>
                    <a:pt x="36" y="48"/>
                  </a:lnTo>
                  <a:lnTo>
                    <a:pt x="34" y="48"/>
                  </a:lnTo>
                  <a:lnTo>
                    <a:pt x="34" y="48"/>
                  </a:lnTo>
                  <a:lnTo>
                    <a:pt x="34" y="48"/>
                  </a:lnTo>
                  <a:lnTo>
                    <a:pt x="32" y="48"/>
                  </a:lnTo>
                  <a:lnTo>
                    <a:pt x="32" y="48"/>
                  </a:lnTo>
                  <a:lnTo>
                    <a:pt x="32" y="48"/>
                  </a:lnTo>
                  <a:lnTo>
                    <a:pt x="30" y="50"/>
                  </a:lnTo>
                  <a:lnTo>
                    <a:pt x="30" y="52"/>
                  </a:lnTo>
                  <a:lnTo>
                    <a:pt x="30" y="54"/>
                  </a:lnTo>
                  <a:lnTo>
                    <a:pt x="30" y="56"/>
                  </a:lnTo>
                  <a:lnTo>
                    <a:pt x="26" y="48"/>
                  </a:lnTo>
                  <a:lnTo>
                    <a:pt x="24" y="42"/>
                  </a:lnTo>
                  <a:lnTo>
                    <a:pt x="22" y="40"/>
                  </a:lnTo>
                  <a:lnTo>
                    <a:pt x="22" y="38"/>
                  </a:lnTo>
                  <a:lnTo>
                    <a:pt x="22" y="36"/>
                  </a:lnTo>
                  <a:lnTo>
                    <a:pt x="22" y="34"/>
                  </a:lnTo>
                  <a:lnTo>
                    <a:pt x="22" y="28"/>
                  </a:lnTo>
                  <a:lnTo>
                    <a:pt x="20" y="26"/>
                  </a:lnTo>
                  <a:lnTo>
                    <a:pt x="20" y="24"/>
                  </a:lnTo>
                  <a:lnTo>
                    <a:pt x="20" y="22"/>
                  </a:lnTo>
                  <a:lnTo>
                    <a:pt x="20" y="20"/>
                  </a:lnTo>
                  <a:lnTo>
                    <a:pt x="20" y="20"/>
                  </a:lnTo>
                  <a:lnTo>
                    <a:pt x="18" y="18"/>
                  </a:lnTo>
                  <a:lnTo>
                    <a:pt x="16" y="16"/>
                  </a:lnTo>
                  <a:lnTo>
                    <a:pt x="12" y="12"/>
                  </a:lnTo>
                  <a:lnTo>
                    <a:pt x="8" y="8"/>
                  </a:lnTo>
                  <a:lnTo>
                    <a:pt x="2" y="4"/>
                  </a:lnTo>
                  <a:lnTo>
                    <a:pt x="0"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2" name="Freeform 330">
              <a:extLst>
                <a:ext uri="{FF2B5EF4-FFF2-40B4-BE49-F238E27FC236}">
                  <a16:creationId xmlns:a16="http://schemas.microsoft.com/office/drawing/2014/main" id="{6CCEE830-7A4B-49D9-902A-7C10992C56D2}"/>
                </a:ext>
              </a:extLst>
            </p:cNvPr>
            <p:cNvSpPr>
              <a:spLocks/>
            </p:cNvSpPr>
            <p:nvPr/>
          </p:nvSpPr>
          <p:spPr bwMode="auto">
            <a:xfrm>
              <a:off x="4896223" y="3194732"/>
              <a:ext cx="83140" cy="100460"/>
            </a:xfrm>
            <a:custGeom>
              <a:avLst/>
              <a:gdLst>
                <a:gd name="T0" fmla="*/ 0 w 48"/>
                <a:gd name="T1" fmla="*/ 0 h 58"/>
                <a:gd name="T2" fmla="*/ 8 w 48"/>
                <a:gd name="T3" fmla="*/ 0 h 58"/>
                <a:gd name="T4" fmla="*/ 14 w 48"/>
                <a:gd name="T5" fmla="*/ 0 h 58"/>
                <a:gd name="T6" fmla="*/ 18 w 48"/>
                <a:gd name="T7" fmla="*/ 0 h 58"/>
                <a:gd name="T8" fmla="*/ 20 w 48"/>
                <a:gd name="T9" fmla="*/ 0 h 58"/>
                <a:gd name="T10" fmla="*/ 24 w 48"/>
                <a:gd name="T11" fmla="*/ 2 h 58"/>
                <a:gd name="T12" fmla="*/ 28 w 48"/>
                <a:gd name="T13" fmla="*/ 4 h 58"/>
                <a:gd name="T14" fmla="*/ 30 w 48"/>
                <a:gd name="T15" fmla="*/ 6 h 58"/>
                <a:gd name="T16" fmla="*/ 36 w 48"/>
                <a:gd name="T17" fmla="*/ 12 h 58"/>
                <a:gd name="T18" fmla="*/ 42 w 48"/>
                <a:gd name="T19" fmla="*/ 20 h 58"/>
                <a:gd name="T20" fmla="*/ 46 w 48"/>
                <a:gd name="T21" fmla="*/ 28 h 58"/>
                <a:gd name="T22" fmla="*/ 48 w 48"/>
                <a:gd name="T23" fmla="*/ 30 h 58"/>
                <a:gd name="T24" fmla="*/ 48 w 48"/>
                <a:gd name="T25" fmla="*/ 34 h 58"/>
                <a:gd name="T26" fmla="*/ 48 w 48"/>
                <a:gd name="T27" fmla="*/ 36 h 58"/>
                <a:gd name="T28" fmla="*/ 48 w 48"/>
                <a:gd name="T29" fmla="*/ 40 h 58"/>
                <a:gd name="T30" fmla="*/ 46 w 48"/>
                <a:gd name="T31" fmla="*/ 46 h 58"/>
                <a:gd name="T32" fmla="*/ 42 w 48"/>
                <a:gd name="T33" fmla="*/ 52 h 58"/>
                <a:gd name="T34" fmla="*/ 40 w 48"/>
                <a:gd name="T35" fmla="*/ 56 h 58"/>
                <a:gd name="T36" fmla="*/ 38 w 48"/>
                <a:gd name="T37" fmla="*/ 52 h 58"/>
                <a:gd name="T38" fmla="*/ 36 w 48"/>
                <a:gd name="T39" fmla="*/ 48 h 58"/>
                <a:gd name="T40" fmla="*/ 34 w 48"/>
                <a:gd name="T41" fmla="*/ 48 h 58"/>
                <a:gd name="T42" fmla="*/ 34 w 48"/>
                <a:gd name="T43" fmla="*/ 48 h 58"/>
                <a:gd name="T44" fmla="*/ 32 w 48"/>
                <a:gd name="T45" fmla="*/ 48 h 58"/>
                <a:gd name="T46" fmla="*/ 30 w 48"/>
                <a:gd name="T47" fmla="*/ 50 h 58"/>
                <a:gd name="T48" fmla="*/ 30 w 48"/>
                <a:gd name="T49" fmla="*/ 54 h 58"/>
                <a:gd name="T50" fmla="*/ 26 w 48"/>
                <a:gd name="T51" fmla="*/ 48 h 58"/>
                <a:gd name="T52" fmla="*/ 22 w 48"/>
                <a:gd name="T53" fmla="*/ 40 h 58"/>
                <a:gd name="T54" fmla="*/ 22 w 48"/>
                <a:gd name="T55" fmla="*/ 36 h 58"/>
                <a:gd name="T56" fmla="*/ 22 w 48"/>
                <a:gd name="T57" fmla="*/ 28 h 58"/>
                <a:gd name="T58" fmla="*/ 20 w 48"/>
                <a:gd name="T59" fmla="*/ 24 h 58"/>
                <a:gd name="T60" fmla="*/ 20 w 48"/>
                <a:gd name="T61" fmla="*/ 20 h 58"/>
                <a:gd name="T62" fmla="*/ 18 w 48"/>
                <a:gd name="T63" fmla="*/ 18 h 58"/>
                <a:gd name="T64" fmla="*/ 12 w 48"/>
                <a:gd name="T65" fmla="*/ 12 h 58"/>
                <a:gd name="T66" fmla="*/ 2 w 48"/>
                <a:gd name="T67"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58">
                  <a:moveTo>
                    <a:pt x="0" y="0"/>
                  </a:moveTo>
                  <a:lnTo>
                    <a:pt x="0" y="0"/>
                  </a:lnTo>
                  <a:lnTo>
                    <a:pt x="2" y="0"/>
                  </a:lnTo>
                  <a:lnTo>
                    <a:pt x="8" y="0"/>
                  </a:lnTo>
                  <a:lnTo>
                    <a:pt x="10" y="0"/>
                  </a:lnTo>
                  <a:lnTo>
                    <a:pt x="14" y="0"/>
                  </a:lnTo>
                  <a:lnTo>
                    <a:pt x="16" y="0"/>
                  </a:lnTo>
                  <a:lnTo>
                    <a:pt x="18" y="0"/>
                  </a:lnTo>
                  <a:lnTo>
                    <a:pt x="20" y="0"/>
                  </a:lnTo>
                  <a:lnTo>
                    <a:pt x="20" y="0"/>
                  </a:lnTo>
                  <a:lnTo>
                    <a:pt x="22" y="2"/>
                  </a:lnTo>
                  <a:lnTo>
                    <a:pt x="24" y="2"/>
                  </a:lnTo>
                  <a:lnTo>
                    <a:pt x="26" y="4"/>
                  </a:lnTo>
                  <a:lnTo>
                    <a:pt x="28" y="4"/>
                  </a:lnTo>
                  <a:lnTo>
                    <a:pt x="30" y="6"/>
                  </a:lnTo>
                  <a:lnTo>
                    <a:pt x="30" y="6"/>
                  </a:lnTo>
                  <a:lnTo>
                    <a:pt x="34" y="10"/>
                  </a:lnTo>
                  <a:lnTo>
                    <a:pt x="36" y="12"/>
                  </a:lnTo>
                  <a:lnTo>
                    <a:pt x="38" y="16"/>
                  </a:lnTo>
                  <a:lnTo>
                    <a:pt x="42" y="20"/>
                  </a:lnTo>
                  <a:lnTo>
                    <a:pt x="44" y="24"/>
                  </a:lnTo>
                  <a:lnTo>
                    <a:pt x="46" y="28"/>
                  </a:lnTo>
                  <a:lnTo>
                    <a:pt x="48" y="30"/>
                  </a:lnTo>
                  <a:lnTo>
                    <a:pt x="48" y="30"/>
                  </a:lnTo>
                  <a:lnTo>
                    <a:pt x="48" y="32"/>
                  </a:lnTo>
                  <a:lnTo>
                    <a:pt x="48" y="34"/>
                  </a:lnTo>
                  <a:lnTo>
                    <a:pt x="48" y="36"/>
                  </a:lnTo>
                  <a:lnTo>
                    <a:pt x="48" y="36"/>
                  </a:lnTo>
                  <a:lnTo>
                    <a:pt x="48" y="38"/>
                  </a:lnTo>
                  <a:lnTo>
                    <a:pt x="48" y="40"/>
                  </a:lnTo>
                  <a:lnTo>
                    <a:pt x="46" y="42"/>
                  </a:lnTo>
                  <a:lnTo>
                    <a:pt x="46" y="46"/>
                  </a:lnTo>
                  <a:lnTo>
                    <a:pt x="44" y="48"/>
                  </a:lnTo>
                  <a:lnTo>
                    <a:pt x="42" y="52"/>
                  </a:lnTo>
                  <a:lnTo>
                    <a:pt x="40" y="58"/>
                  </a:lnTo>
                  <a:lnTo>
                    <a:pt x="40" y="56"/>
                  </a:lnTo>
                  <a:lnTo>
                    <a:pt x="38" y="54"/>
                  </a:lnTo>
                  <a:lnTo>
                    <a:pt x="38" y="52"/>
                  </a:lnTo>
                  <a:lnTo>
                    <a:pt x="36" y="50"/>
                  </a:lnTo>
                  <a:lnTo>
                    <a:pt x="36" y="48"/>
                  </a:lnTo>
                  <a:lnTo>
                    <a:pt x="36" y="48"/>
                  </a:lnTo>
                  <a:lnTo>
                    <a:pt x="34" y="48"/>
                  </a:lnTo>
                  <a:lnTo>
                    <a:pt x="34" y="48"/>
                  </a:lnTo>
                  <a:lnTo>
                    <a:pt x="34" y="48"/>
                  </a:lnTo>
                  <a:lnTo>
                    <a:pt x="32" y="48"/>
                  </a:lnTo>
                  <a:lnTo>
                    <a:pt x="32" y="48"/>
                  </a:lnTo>
                  <a:lnTo>
                    <a:pt x="32" y="48"/>
                  </a:lnTo>
                  <a:lnTo>
                    <a:pt x="30" y="50"/>
                  </a:lnTo>
                  <a:lnTo>
                    <a:pt x="30" y="52"/>
                  </a:lnTo>
                  <a:lnTo>
                    <a:pt x="30" y="54"/>
                  </a:lnTo>
                  <a:lnTo>
                    <a:pt x="30" y="56"/>
                  </a:lnTo>
                  <a:lnTo>
                    <a:pt x="26" y="48"/>
                  </a:lnTo>
                  <a:lnTo>
                    <a:pt x="24" y="42"/>
                  </a:lnTo>
                  <a:lnTo>
                    <a:pt x="22" y="40"/>
                  </a:lnTo>
                  <a:lnTo>
                    <a:pt x="22" y="38"/>
                  </a:lnTo>
                  <a:lnTo>
                    <a:pt x="22" y="36"/>
                  </a:lnTo>
                  <a:lnTo>
                    <a:pt x="22" y="34"/>
                  </a:lnTo>
                  <a:lnTo>
                    <a:pt x="22" y="28"/>
                  </a:lnTo>
                  <a:lnTo>
                    <a:pt x="20" y="26"/>
                  </a:lnTo>
                  <a:lnTo>
                    <a:pt x="20" y="24"/>
                  </a:lnTo>
                  <a:lnTo>
                    <a:pt x="20" y="22"/>
                  </a:lnTo>
                  <a:lnTo>
                    <a:pt x="20" y="20"/>
                  </a:lnTo>
                  <a:lnTo>
                    <a:pt x="20" y="20"/>
                  </a:lnTo>
                  <a:lnTo>
                    <a:pt x="18" y="18"/>
                  </a:lnTo>
                  <a:lnTo>
                    <a:pt x="16" y="16"/>
                  </a:lnTo>
                  <a:lnTo>
                    <a:pt x="12" y="12"/>
                  </a:lnTo>
                  <a:lnTo>
                    <a:pt x="8" y="8"/>
                  </a:lnTo>
                  <a:lnTo>
                    <a:pt x="2" y="4"/>
                  </a:lnTo>
                  <a:lnTo>
                    <a:pt x="0"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3" name="Freeform 331">
              <a:extLst>
                <a:ext uri="{FF2B5EF4-FFF2-40B4-BE49-F238E27FC236}">
                  <a16:creationId xmlns:a16="http://schemas.microsoft.com/office/drawing/2014/main" id="{BD9B8CBA-91F3-4D01-A2F2-A7F90B45A4BB}"/>
                </a:ext>
              </a:extLst>
            </p:cNvPr>
            <p:cNvSpPr>
              <a:spLocks/>
            </p:cNvSpPr>
            <p:nvPr/>
          </p:nvSpPr>
          <p:spPr bwMode="auto">
            <a:xfrm>
              <a:off x="4875438" y="3392189"/>
              <a:ext cx="55426" cy="38106"/>
            </a:xfrm>
            <a:custGeom>
              <a:avLst/>
              <a:gdLst>
                <a:gd name="T0" fmla="*/ 6 w 32"/>
                <a:gd name="T1" fmla="*/ 20 h 22"/>
                <a:gd name="T2" fmla="*/ 6 w 32"/>
                <a:gd name="T3" fmla="*/ 20 h 22"/>
                <a:gd name="T4" fmla="*/ 8 w 32"/>
                <a:gd name="T5" fmla="*/ 20 h 22"/>
                <a:gd name="T6" fmla="*/ 10 w 32"/>
                <a:gd name="T7" fmla="*/ 22 h 22"/>
                <a:gd name="T8" fmla="*/ 12 w 32"/>
                <a:gd name="T9" fmla="*/ 22 h 22"/>
                <a:gd name="T10" fmla="*/ 14 w 32"/>
                <a:gd name="T11" fmla="*/ 22 h 22"/>
                <a:gd name="T12" fmla="*/ 14 w 32"/>
                <a:gd name="T13" fmla="*/ 22 h 22"/>
                <a:gd name="T14" fmla="*/ 16 w 32"/>
                <a:gd name="T15" fmla="*/ 22 h 22"/>
                <a:gd name="T16" fmla="*/ 18 w 32"/>
                <a:gd name="T17" fmla="*/ 22 h 22"/>
                <a:gd name="T18" fmla="*/ 20 w 32"/>
                <a:gd name="T19" fmla="*/ 20 h 22"/>
                <a:gd name="T20" fmla="*/ 22 w 32"/>
                <a:gd name="T21" fmla="*/ 20 h 22"/>
                <a:gd name="T22" fmla="*/ 24 w 32"/>
                <a:gd name="T23" fmla="*/ 18 h 22"/>
                <a:gd name="T24" fmla="*/ 24 w 32"/>
                <a:gd name="T25" fmla="*/ 18 h 22"/>
                <a:gd name="T26" fmla="*/ 26 w 32"/>
                <a:gd name="T27" fmla="*/ 16 h 22"/>
                <a:gd name="T28" fmla="*/ 28 w 32"/>
                <a:gd name="T29" fmla="*/ 14 h 22"/>
                <a:gd name="T30" fmla="*/ 30 w 32"/>
                <a:gd name="T31" fmla="*/ 14 h 22"/>
                <a:gd name="T32" fmla="*/ 30 w 32"/>
                <a:gd name="T33" fmla="*/ 12 h 22"/>
                <a:gd name="T34" fmla="*/ 30 w 32"/>
                <a:gd name="T35" fmla="*/ 12 h 22"/>
                <a:gd name="T36" fmla="*/ 30 w 32"/>
                <a:gd name="T37" fmla="*/ 10 h 22"/>
                <a:gd name="T38" fmla="*/ 32 w 32"/>
                <a:gd name="T39" fmla="*/ 10 h 22"/>
                <a:gd name="T40" fmla="*/ 30 w 32"/>
                <a:gd name="T41" fmla="*/ 10 h 22"/>
                <a:gd name="T42" fmla="*/ 30 w 32"/>
                <a:gd name="T43" fmla="*/ 8 h 22"/>
                <a:gd name="T44" fmla="*/ 30 w 32"/>
                <a:gd name="T45" fmla="*/ 8 h 22"/>
                <a:gd name="T46" fmla="*/ 28 w 32"/>
                <a:gd name="T47" fmla="*/ 6 h 22"/>
                <a:gd name="T48" fmla="*/ 26 w 32"/>
                <a:gd name="T49" fmla="*/ 6 h 22"/>
                <a:gd name="T50" fmla="*/ 26 w 32"/>
                <a:gd name="T51" fmla="*/ 4 h 22"/>
                <a:gd name="T52" fmla="*/ 22 w 32"/>
                <a:gd name="T53" fmla="*/ 4 h 22"/>
                <a:gd name="T54" fmla="*/ 20 w 32"/>
                <a:gd name="T55" fmla="*/ 2 h 22"/>
                <a:gd name="T56" fmla="*/ 16 w 32"/>
                <a:gd name="T57" fmla="*/ 0 h 22"/>
                <a:gd name="T58" fmla="*/ 14 w 32"/>
                <a:gd name="T59" fmla="*/ 0 h 22"/>
                <a:gd name="T60" fmla="*/ 0 w 32"/>
                <a:gd name="T61" fmla="*/ 2 h 22"/>
                <a:gd name="T62" fmla="*/ 0 w 32"/>
                <a:gd name="T63" fmla="*/ 14 h 22"/>
                <a:gd name="T64" fmla="*/ 2 w 32"/>
                <a:gd name="T65" fmla="*/ 16 h 22"/>
                <a:gd name="T66" fmla="*/ 4 w 32"/>
                <a:gd name="T67" fmla="*/ 18 h 22"/>
                <a:gd name="T68" fmla="*/ 6 w 32"/>
                <a:gd name="T69" fmla="*/ 20 h 22"/>
                <a:gd name="T70" fmla="*/ 6 w 32"/>
                <a:gd name="T7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 h="22">
                  <a:moveTo>
                    <a:pt x="6" y="20"/>
                  </a:moveTo>
                  <a:lnTo>
                    <a:pt x="6" y="20"/>
                  </a:lnTo>
                  <a:lnTo>
                    <a:pt x="8" y="20"/>
                  </a:lnTo>
                  <a:lnTo>
                    <a:pt x="10" y="22"/>
                  </a:lnTo>
                  <a:lnTo>
                    <a:pt x="12" y="22"/>
                  </a:lnTo>
                  <a:lnTo>
                    <a:pt x="14" y="22"/>
                  </a:lnTo>
                  <a:lnTo>
                    <a:pt x="14" y="22"/>
                  </a:lnTo>
                  <a:lnTo>
                    <a:pt x="16" y="22"/>
                  </a:lnTo>
                  <a:lnTo>
                    <a:pt x="18" y="22"/>
                  </a:lnTo>
                  <a:lnTo>
                    <a:pt x="20" y="20"/>
                  </a:lnTo>
                  <a:lnTo>
                    <a:pt x="22" y="20"/>
                  </a:lnTo>
                  <a:lnTo>
                    <a:pt x="24" y="18"/>
                  </a:lnTo>
                  <a:lnTo>
                    <a:pt x="24" y="18"/>
                  </a:lnTo>
                  <a:lnTo>
                    <a:pt x="26" y="16"/>
                  </a:lnTo>
                  <a:lnTo>
                    <a:pt x="28" y="14"/>
                  </a:lnTo>
                  <a:lnTo>
                    <a:pt x="30" y="14"/>
                  </a:lnTo>
                  <a:lnTo>
                    <a:pt x="30" y="12"/>
                  </a:lnTo>
                  <a:lnTo>
                    <a:pt x="30" y="12"/>
                  </a:lnTo>
                  <a:lnTo>
                    <a:pt x="30" y="10"/>
                  </a:lnTo>
                  <a:lnTo>
                    <a:pt x="32" y="10"/>
                  </a:lnTo>
                  <a:lnTo>
                    <a:pt x="30" y="10"/>
                  </a:lnTo>
                  <a:lnTo>
                    <a:pt x="30" y="8"/>
                  </a:lnTo>
                  <a:lnTo>
                    <a:pt x="30" y="8"/>
                  </a:lnTo>
                  <a:lnTo>
                    <a:pt x="28" y="6"/>
                  </a:lnTo>
                  <a:lnTo>
                    <a:pt x="26" y="6"/>
                  </a:lnTo>
                  <a:lnTo>
                    <a:pt x="26" y="4"/>
                  </a:lnTo>
                  <a:lnTo>
                    <a:pt x="22" y="4"/>
                  </a:lnTo>
                  <a:lnTo>
                    <a:pt x="20" y="2"/>
                  </a:lnTo>
                  <a:lnTo>
                    <a:pt x="16" y="0"/>
                  </a:lnTo>
                  <a:lnTo>
                    <a:pt x="14" y="0"/>
                  </a:lnTo>
                  <a:lnTo>
                    <a:pt x="0" y="2"/>
                  </a:lnTo>
                  <a:lnTo>
                    <a:pt x="0" y="14"/>
                  </a:lnTo>
                  <a:lnTo>
                    <a:pt x="2" y="16"/>
                  </a:lnTo>
                  <a:lnTo>
                    <a:pt x="4" y="18"/>
                  </a:lnTo>
                  <a:lnTo>
                    <a:pt x="6" y="20"/>
                  </a:lnTo>
                  <a:lnTo>
                    <a:pt x="6" y="2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4" name="Freeform 332">
              <a:extLst>
                <a:ext uri="{FF2B5EF4-FFF2-40B4-BE49-F238E27FC236}">
                  <a16:creationId xmlns:a16="http://schemas.microsoft.com/office/drawing/2014/main" id="{BA5BF63F-BB1A-407B-A3F4-7BCC987431B3}"/>
                </a:ext>
              </a:extLst>
            </p:cNvPr>
            <p:cNvSpPr>
              <a:spLocks/>
            </p:cNvSpPr>
            <p:nvPr/>
          </p:nvSpPr>
          <p:spPr bwMode="auto">
            <a:xfrm>
              <a:off x="4875438" y="3392189"/>
              <a:ext cx="55426" cy="38106"/>
            </a:xfrm>
            <a:custGeom>
              <a:avLst/>
              <a:gdLst>
                <a:gd name="T0" fmla="*/ 6 w 32"/>
                <a:gd name="T1" fmla="*/ 20 h 22"/>
                <a:gd name="T2" fmla="*/ 6 w 32"/>
                <a:gd name="T3" fmla="*/ 20 h 22"/>
                <a:gd name="T4" fmla="*/ 8 w 32"/>
                <a:gd name="T5" fmla="*/ 20 h 22"/>
                <a:gd name="T6" fmla="*/ 10 w 32"/>
                <a:gd name="T7" fmla="*/ 22 h 22"/>
                <a:gd name="T8" fmla="*/ 12 w 32"/>
                <a:gd name="T9" fmla="*/ 22 h 22"/>
                <a:gd name="T10" fmla="*/ 14 w 32"/>
                <a:gd name="T11" fmla="*/ 22 h 22"/>
                <a:gd name="T12" fmla="*/ 14 w 32"/>
                <a:gd name="T13" fmla="*/ 22 h 22"/>
                <a:gd name="T14" fmla="*/ 16 w 32"/>
                <a:gd name="T15" fmla="*/ 22 h 22"/>
                <a:gd name="T16" fmla="*/ 18 w 32"/>
                <a:gd name="T17" fmla="*/ 22 h 22"/>
                <a:gd name="T18" fmla="*/ 20 w 32"/>
                <a:gd name="T19" fmla="*/ 20 h 22"/>
                <a:gd name="T20" fmla="*/ 22 w 32"/>
                <a:gd name="T21" fmla="*/ 20 h 22"/>
                <a:gd name="T22" fmla="*/ 24 w 32"/>
                <a:gd name="T23" fmla="*/ 18 h 22"/>
                <a:gd name="T24" fmla="*/ 24 w 32"/>
                <a:gd name="T25" fmla="*/ 18 h 22"/>
                <a:gd name="T26" fmla="*/ 26 w 32"/>
                <a:gd name="T27" fmla="*/ 16 h 22"/>
                <a:gd name="T28" fmla="*/ 28 w 32"/>
                <a:gd name="T29" fmla="*/ 14 h 22"/>
                <a:gd name="T30" fmla="*/ 30 w 32"/>
                <a:gd name="T31" fmla="*/ 14 h 22"/>
                <a:gd name="T32" fmla="*/ 30 w 32"/>
                <a:gd name="T33" fmla="*/ 12 h 22"/>
                <a:gd name="T34" fmla="*/ 30 w 32"/>
                <a:gd name="T35" fmla="*/ 12 h 22"/>
                <a:gd name="T36" fmla="*/ 30 w 32"/>
                <a:gd name="T37" fmla="*/ 10 h 22"/>
                <a:gd name="T38" fmla="*/ 32 w 32"/>
                <a:gd name="T39" fmla="*/ 10 h 22"/>
                <a:gd name="T40" fmla="*/ 30 w 32"/>
                <a:gd name="T41" fmla="*/ 10 h 22"/>
                <a:gd name="T42" fmla="*/ 30 w 32"/>
                <a:gd name="T43" fmla="*/ 8 h 22"/>
                <a:gd name="T44" fmla="*/ 30 w 32"/>
                <a:gd name="T45" fmla="*/ 8 h 22"/>
                <a:gd name="T46" fmla="*/ 28 w 32"/>
                <a:gd name="T47" fmla="*/ 6 h 22"/>
                <a:gd name="T48" fmla="*/ 26 w 32"/>
                <a:gd name="T49" fmla="*/ 6 h 22"/>
                <a:gd name="T50" fmla="*/ 26 w 32"/>
                <a:gd name="T51" fmla="*/ 4 h 22"/>
                <a:gd name="T52" fmla="*/ 22 w 32"/>
                <a:gd name="T53" fmla="*/ 4 h 22"/>
                <a:gd name="T54" fmla="*/ 20 w 32"/>
                <a:gd name="T55" fmla="*/ 2 h 22"/>
                <a:gd name="T56" fmla="*/ 16 w 32"/>
                <a:gd name="T57" fmla="*/ 0 h 22"/>
                <a:gd name="T58" fmla="*/ 14 w 32"/>
                <a:gd name="T59" fmla="*/ 0 h 22"/>
                <a:gd name="T60" fmla="*/ 0 w 32"/>
                <a:gd name="T61" fmla="*/ 2 h 22"/>
                <a:gd name="T62" fmla="*/ 0 w 32"/>
                <a:gd name="T63" fmla="*/ 14 h 22"/>
                <a:gd name="T64" fmla="*/ 2 w 32"/>
                <a:gd name="T65" fmla="*/ 16 h 22"/>
                <a:gd name="T66" fmla="*/ 4 w 32"/>
                <a:gd name="T67" fmla="*/ 18 h 22"/>
                <a:gd name="T68" fmla="*/ 6 w 32"/>
                <a:gd name="T69" fmla="*/ 20 h 22"/>
                <a:gd name="T70" fmla="*/ 6 w 32"/>
                <a:gd name="T7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 h="22">
                  <a:moveTo>
                    <a:pt x="6" y="20"/>
                  </a:moveTo>
                  <a:lnTo>
                    <a:pt x="6" y="20"/>
                  </a:lnTo>
                  <a:lnTo>
                    <a:pt x="8" y="20"/>
                  </a:lnTo>
                  <a:lnTo>
                    <a:pt x="10" y="22"/>
                  </a:lnTo>
                  <a:lnTo>
                    <a:pt x="12" y="22"/>
                  </a:lnTo>
                  <a:lnTo>
                    <a:pt x="14" y="22"/>
                  </a:lnTo>
                  <a:lnTo>
                    <a:pt x="14" y="22"/>
                  </a:lnTo>
                  <a:lnTo>
                    <a:pt x="16" y="22"/>
                  </a:lnTo>
                  <a:lnTo>
                    <a:pt x="18" y="22"/>
                  </a:lnTo>
                  <a:lnTo>
                    <a:pt x="20" y="20"/>
                  </a:lnTo>
                  <a:lnTo>
                    <a:pt x="22" y="20"/>
                  </a:lnTo>
                  <a:lnTo>
                    <a:pt x="24" y="18"/>
                  </a:lnTo>
                  <a:lnTo>
                    <a:pt x="24" y="18"/>
                  </a:lnTo>
                  <a:lnTo>
                    <a:pt x="26" y="16"/>
                  </a:lnTo>
                  <a:lnTo>
                    <a:pt x="28" y="14"/>
                  </a:lnTo>
                  <a:lnTo>
                    <a:pt x="30" y="14"/>
                  </a:lnTo>
                  <a:lnTo>
                    <a:pt x="30" y="12"/>
                  </a:lnTo>
                  <a:lnTo>
                    <a:pt x="30" y="12"/>
                  </a:lnTo>
                  <a:lnTo>
                    <a:pt x="30" y="10"/>
                  </a:lnTo>
                  <a:lnTo>
                    <a:pt x="32" y="10"/>
                  </a:lnTo>
                  <a:lnTo>
                    <a:pt x="30" y="10"/>
                  </a:lnTo>
                  <a:lnTo>
                    <a:pt x="30" y="8"/>
                  </a:lnTo>
                  <a:lnTo>
                    <a:pt x="30" y="8"/>
                  </a:lnTo>
                  <a:lnTo>
                    <a:pt x="28" y="6"/>
                  </a:lnTo>
                  <a:lnTo>
                    <a:pt x="26" y="6"/>
                  </a:lnTo>
                  <a:lnTo>
                    <a:pt x="26" y="4"/>
                  </a:lnTo>
                  <a:lnTo>
                    <a:pt x="22" y="4"/>
                  </a:lnTo>
                  <a:lnTo>
                    <a:pt x="20" y="2"/>
                  </a:lnTo>
                  <a:lnTo>
                    <a:pt x="16" y="0"/>
                  </a:lnTo>
                  <a:lnTo>
                    <a:pt x="14" y="0"/>
                  </a:lnTo>
                  <a:lnTo>
                    <a:pt x="0" y="2"/>
                  </a:lnTo>
                  <a:lnTo>
                    <a:pt x="0" y="14"/>
                  </a:lnTo>
                  <a:lnTo>
                    <a:pt x="2" y="16"/>
                  </a:lnTo>
                  <a:lnTo>
                    <a:pt x="4" y="18"/>
                  </a:lnTo>
                  <a:lnTo>
                    <a:pt x="6" y="20"/>
                  </a:lnTo>
                  <a:lnTo>
                    <a:pt x="6" y="2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5" name="Freeform 333">
              <a:extLst>
                <a:ext uri="{FF2B5EF4-FFF2-40B4-BE49-F238E27FC236}">
                  <a16:creationId xmlns:a16="http://schemas.microsoft.com/office/drawing/2014/main" id="{BE3BEA8F-B0F4-471C-BC60-2FFB8DB90526}"/>
                </a:ext>
              </a:extLst>
            </p:cNvPr>
            <p:cNvSpPr>
              <a:spLocks/>
            </p:cNvSpPr>
            <p:nvPr/>
          </p:nvSpPr>
          <p:spPr bwMode="auto">
            <a:xfrm>
              <a:off x="4743800" y="3395653"/>
              <a:ext cx="131638" cy="142030"/>
            </a:xfrm>
            <a:custGeom>
              <a:avLst/>
              <a:gdLst>
                <a:gd name="T0" fmla="*/ 34 w 76"/>
                <a:gd name="T1" fmla="*/ 58 h 82"/>
                <a:gd name="T2" fmla="*/ 30 w 76"/>
                <a:gd name="T3" fmla="*/ 56 h 82"/>
                <a:gd name="T4" fmla="*/ 20 w 76"/>
                <a:gd name="T5" fmla="*/ 56 h 82"/>
                <a:gd name="T6" fmla="*/ 16 w 76"/>
                <a:gd name="T7" fmla="*/ 54 h 82"/>
                <a:gd name="T8" fmla="*/ 16 w 76"/>
                <a:gd name="T9" fmla="*/ 50 h 82"/>
                <a:gd name="T10" fmla="*/ 14 w 76"/>
                <a:gd name="T11" fmla="*/ 44 h 82"/>
                <a:gd name="T12" fmla="*/ 8 w 76"/>
                <a:gd name="T13" fmla="*/ 40 h 82"/>
                <a:gd name="T14" fmla="*/ 2 w 76"/>
                <a:gd name="T15" fmla="*/ 34 h 82"/>
                <a:gd name="T16" fmla="*/ 0 w 76"/>
                <a:gd name="T17" fmla="*/ 26 h 82"/>
                <a:gd name="T18" fmla="*/ 16 w 76"/>
                <a:gd name="T19" fmla="*/ 12 h 82"/>
                <a:gd name="T20" fmla="*/ 24 w 76"/>
                <a:gd name="T21" fmla="*/ 14 h 82"/>
                <a:gd name="T22" fmla="*/ 26 w 76"/>
                <a:gd name="T23" fmla="*/ 14 h 82"/>
                <a:gd name="T24" fmla="*/ 38 w 76"/>
                <a:gd name="T25" fmla="*/ 4 h 82"/>
                <a:gd name="T26" fmla="*/ 46 w 76"/>
                <a:gd name="T27" fmla="*/ 4 h 82"/>
                <a:gd name="T28" fmla="*/ 54 w 76"/>
                <a:gd name="T29" fmla="*/ 6 h 82"/>
                <a:gd name="T30" fmla="*/ 60 w 76"/>
                <a:gd name="T31" fmla="*/ 6 h 82"/>
                <a:gd name="T32" fmla="*/ 66 w 76"/>
                <a:gd name="T33" fmla="*/ 2 h 82"/>
                <a:gd name="T34" fmla="*/ 70 w 76"/>
                <a:gd name="T35" fmla="*/ 0 h 82"/>
                <a:gd name="T36" fmla="*/ 72 w 76"/>
                <a:gd name="T37" fmla="*/ 14 h 82"/>
                <a:gd name="T38" fmla="*/ 66 w 76"/>
                <a:gd name="T39" fmla="*/ 16 h 82"/>
                <a:gd name="T40" fmla="*/ 60 w 76"/>
                <a:gd name="T41" fmla="*/ 22 h 82"/>
                <a:gd name="T42" fmla="*/ 58 w 76"/>
                <a:gd name="T43" fmla="*/ 24 h 82"/>
                <a:gd name="T44" fmla="*/ 60 w 76"/>
                <a:gd name="T45" fmla="*/ 28 h 82"/>
                <a:gd name="T46" fmla="*/ 60 w 76"/>
                <a:gd name="T47" fmla="*/ 32 h 82"/>
                <a:gd name="T48" fmla="*/ 58 w 76"/>
                <a:gd name="T49" fmla="*/ 34 h 82"/>
                <a:gd name="T50" fmla="*/ 52 w 76"/>
                <a:gd name="T51" fmla="*/ 34 h 82"/>
                <a:gd name="T52" fmla="*/ 48 w 76"/>
                <a:gd name="T53" fmla="*/ 32 h 82"/>
                <a:gd name="T54" fmla="*/ 44 w 76"/>
                <a:gd name="T55" fmla="*/ 30 h 82"/>
                <a:gd name="T56" fmla="*/ 42 w 76"/>
                <a:gd name="T57" fmla="*/ 30 h 82"/>
                <a:gd name="T58" fmla="*/ 42 w 76"/>
                <a:gd name="T59" fmla="*/ 32 h 82"/>
                <a:gd name="T60" fmla="*/ 46 w 76"/>
                <a:gd name="T61" fmla="*/ 36 h 82"/>
                <a:gd name="T62" fmla="*/ 46 w 76"/>
                <a:gd name="T63" fmla="*/ 38 h 82"/>
                <a:gd name="T64" fmla="*/ 42 w 76"/>
                <a:gd name="T65" fmla="*/ 42 h 82"/>
                <a:gd name="T66" fmla="*/ 40 w 76"/>
                <a:gd name="T67" fmla="*/ 44 h 82"/>
                <a:gd name="T68" fmla="*/ 40 w 76"/>
                <a:gd name="T69" fmla="*/ 46 h 82"/>
                <a:gd name="T70" fmla="*/ 46 w 76"/>
                <a:gd name="T71" fmla="*/ 50 h 82"/>
                <a:gd name="T72" fmla="*/ 56 w 76"/>
                <a:gd name="T73" fmla="*/ 54 h 82"/>
                <a:gd name="T74" fmla="*/ 62 w 76"/>
                <a:gd name="T75" fmla="*/ 58 h 82"/>
                <a:gd name="T76" fmla="*/ 66 w 76"/>
                <a:gd name="T77" fmla="*/ 64 h 82"/>
                <a:gd name="T78" fmla="*/ 66 w 76"/>
                <a:gd name="T79" fmla="*/ 66 h 82"/>
                <a:gd name="T80" fmla="*/ 62 w 76"/>
                <a:gd name="T81" fmla="*/ 64 h 82"/>
                <a:gd name="T82" fmla="*/ 54 w 76"/>
                <a:gd name="T83" fmla="*/ 66 h 82"/>
                <a:gd name="T84" fmla="*/ 48 w 76"/>
                <a:gd name="T85" fmla="*/ 68 h 82"/>
                <a:gd name="T86" fmla="*/ 46 w 76"/>
                <a:gd name="T87" fmla="*/ 70 h 82"/>
                <a:gd name="T88" fmla="*/ 48 w 76"/>
                <a:gd name="T89" fmla="*/ 74 h 82"/>
                <a:gd name="T90" fmla="*/ 52 w 76"/>
                <a:gd name="T91" fmla="*/ 78 h 82"/>
                <a:gd name="T92" fmla="*/ 52 w 76"/>
                <a:gd name="T93" fmla="*/ 80 h 82"/>
                <a:gd name="T94" fmla="*/ 46 w 76"/>
                <a:gd name="T95" fmla="*/ 82 h 82"/>
                <a:gd name="T96" fmla="*/ 38 w 76"/>
                <a:gd name="T97" fmla="*/ 82 h 82"/>
                <a:gd name="T98" fmla="*/ 30 w 76"/>
                <a:gd name="T99" fmla="*/ 82 h 82"/>
                <a:gd name="T100" fmla="*/ 26 w 76"/>
                <a:gd name="T101" fmla="*/ 80 h 82"/>
                <a:gd name="T102" fmla="*/ 26 w 76"/>
                <a:gd name="T103" fmla="*/ 74 h 82"/>
                <a:gd name="T104" fmla="*/ 26 w 76"/>
                <a:gd name="T105" fmla="*/ 70 h 82"/>
                <a:gd name="T106" fmla="*/ 24 w 76"/>
                <a:gd name="T107" fmla="*/ 68 h 82"/>
                <a:gd name="T108" fmla="*/ 18 w 76"/>
                <a:gd name="T109" fmla="*/ 68 h 82"/>
                <a:gd name="T110" fmla="*/ 18 w 76"/>
                <a:gd name="T111" fmla="*/ 66 h 82"/>
                <a:gd name="T112" fmla="*/ 18 w 76"/>
                <a:gd name="T113" fmla="*/ 64 h 82"/>
                <a:gd name="T114" fmla="*/ 26 w 76"/>
                <a:gd name="T115" fmla="*/ 62 h 82"/>
                <a:gd name="T116" fmla="*/ 32 w 76"/>
                <a:gd name="T117" fmla="*/ 62 h 82"/>
                <a:gd name="T118" fmla="*/ 34 w 76"/>
                <a:gd name="T119" fmla="*/ 6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 h="82">
                  <a:moveTo>
                    <a:pt x="34" y="58"/>
                  </a:moveTo>
                  <a:lnTo>
                    <a:pt x="34" y="58"/>
                  </a:lnTo>
                  <a:lnTo>
                    <a:pt x="34" y="58"/>
                  </a:lnTo>
                  <a:lnTo>
                    <a:pt x="34" y="58"/>
                  </a:lnTo>
                  <a:lnTo>
                    <a:pt x="32" y="56"/>
                  </a:lnTo>
                  <a:lnTo>
                    <a:pt x="32" y="56"/>
                  </a:lnTo>
                  <a:lnTo>
                    <a:pt x="30" y="56"/>
                  </a:lnTo>
                  <a:lnTo>
                    <a:pt x="30" y="56"/>
                  </a:lnTo>
                  <a:lnTo>
                    <a:pt x="26" y="56"/>
                  </a:lnTo>
                  <a:lnTo>
                    <a:pt x="24" y="56"/>
                  </a:lnTo>
                  <a:lnTo>
                    <a:pt x="20" y="56"/>
                  </a:lnTo>
                  <a:lnTo>
                    <a:pt x="20" y="56"/>
                  </a:lnTo>
                  <a:lnTo>
                    <a:pt x="18" y="56"/>
                  </a:lnTo>
                  <a:lnTo>
                    <a:pt x="18" y="56"/>
                  </a:lnTo>
                  <a:lnTo>
                    <a:pt x="18" y="56"/>
                  </a:lnTo>
                  <a:lnTo>
                    <a:pt x="16" y="54"/>
                  </a:lnTo>
                  <a:lnTo>
                    <a:pt x="16" y="54"/>
                  </a:lnTo>
                  <a:lnTo>
                    <a:pt x="16" y="54"/>
                  </a:lnTo>
                  <a:lnTo>
                    <a:pt x="16" y="52"/>
                  </a:lnTo>
                  <a:lnTo>
                    <a:pt x="16" y="50"/>
                  </a:lnTo>
                  <a:lnTo>
                    <a:pt x="16" y="48"/>
                  </a:lnTo>
                  <a:lnTo>
                    <a:pt x="16" y="46"/>
                  </a:lnTo>
                  <a:lnTo>
                    <a:pt x="16" y="46"/>
                  </a:lnTo>
                  <a:lnTo>
                    <a:pt x="14" y="44"/>
                  </a:lnTo>
                  <a:lnTo>
                    <a:pt x="14" y="44"/>
                  </a:lnTo>
                  <a:lnTo>
                    <a:pt x="12" y="42"/>
                  </a:lnTo>
                  <a:lnTo>
                    <a:pt x="10" y="40"/>
                  </a:lnTo>
                  <a:lnTo>
                    <a:pt x="8" y="40"/>
                  </a:lnTo>
                  <a:lnTo>
                    <a:pt x="6" y="38"/>
                  </a:lnTo>
                  <a:lnTo>
                    <a:pt x="4" y="36"/>
                  </a:lnTo>
                  <a:lnTo>
                    <a:pt x="2" y="34"/>
                  </a:lnTo>
                  <a:lnTo>
                    <a:pt x="2" y="34"/>
                  </a:lnTo>
                  <a:lnTo>
                    <a:pt x="2" y="34"/>
                  </a:lnTo>
                  <a:lnTo>
                    <a:pt x="2" y="32"/>
                  </a:lnTo>
                  <a:lnTo>
                    <a:pt x="2" y="30"/>
                  </a:lnTo>
                  <a:lnTo>
                    <a:pt x="0" y="26"/>
                  </a:lnTo>
                  <a:lnTo>
                    <a:pt x="0" y="24"/>
                  </a:lnTo>
                  <a:lnTo>
                    <a:pt x="0" y="22"/>
                  </a:lnTo>
                  <a:lnTo>
                    <a:pt x="14" y="12"/>
                  </a:lnTo>
                  <a:lnTo>
                    <a:pt x="16" y="12"/>
                  </a:lnTo>
                  <a:lnTo>
                    <a:pt x="18" y="14"/>
                  </a:lnTo>
                  <a:lnTo>
                    <a:pt x="20" y="14"/>
                  </a:lnTo>
                  <a:lnTo>
                    <a:pt x="22" y="14"/>
                  </a:lnTo>
                  <a:lnTo>
                    <a:pt x="24" y="14"/>
                  </a:lnTo>
                  <a:lnTo>
                    <a:pt x="24" y="14"/>
                  </a:lnTo>
                  <a:lnTo>
                    <a:pt x="24" y="14"/>
                  </a:lnTo>
                  <a:lnTo>
                    <a:pt x="26" y="14"/>
                  </a:lnTo>
                  <a:lnTo>
                    <a:pt x="26" y="14"/>
                  </a:lnTo>
                  <a:lnTo>
                    <a:pt x="28" y="12"/>
                  </a:lnTo>
                  <a:lnTo>
                    <a:pt x="32" y="10"/>
                  </a:lnTo>
                  <a:lnTo>
                    <a:pt x="34" y="8"/>
                  </a:lnTo>
                  <a:lnTo>
                    <a:pt x="38" y="4"/>
                  </a:lnTo>
                  <a:lnTo>
                    <a:pt x="38" y="4"/>
                  </a:lnTo>
                  <a:lnTo>
                    <a:pt x="42" y="4"/>
                  </a:lnTo>
                  <a:lnTo>
                    <a:pt x="44" y="2"/>
                  </a:lnTo>
                  <a:lnTo>
                    <a:pt x="46" y="4"/>
                  </a:lnTo>
                  <a:lnTo>
                    <a:pt x="48" y="4"/>
                  </a:lnTo>
                  <a:lnTo>
                    <a:pt x="50" y="4"/>
                  </a:lnTo>
                  <a:lnTo>
                    <a:pt x="52" y="6"/>
                  </a:lnTo>
                  <a:lnTo>
                    <a:pt x="54" y="6"/>
                  </a:lnTo>
                  <a:lnTo>
                    <a:pt x="56" y="6"/>
                  </a:lnTo>
                  <a:lnTo>
                    <a:pt x="58" y="8"/>
                  </a:lnTo>
                  <a:lnTo>
                    <a:pt x="58" y="8"/>
                  </a:lnTo>
                  <a:lnTo>
                    <a:pt x="60" y="6"/>
                  </a:lnTo>
                  <a:lnTo>
                    <a:pt x="62" y="6"/>
                  </a:lnTo>
                  <a:lnTo>
                    <a:pt x="62" y="6"/>
                  </a:lnTo>
                  <a:lnTo>
                    <a:pt x="64" y="4"/>
                  </a:lnTo>
                  <a:lnTo>
                    <a:pt x="66" y="2"/>
                  </a:lnTo>
                  <a:lnTo>
                    <a:pt x="68" y="2"/>
                  </a:lnTo>
                  <a:lnTo>
                    <a:pt x="68" y="0"/>
                  </a:lnTo>
                  <a:lnTo>
                    <a:pt x="70" y="0"/>
                  </a:lnTo>
                  <a:lnTo>
                    <a:pt x="70" y="0"/>
                  </a:lnTo>
                  <a:lnTo>
                    <a:pt x="72" y="0"/>
                  </a:lnTo>
                  <a:lnTo>
                    <a:pt x="76" y="0"/>
                  </a:lnTo>
                  <a:lnTo>
                    <a:pt x="76" y="12"/>
                  </a:lnTo>
                  <a:lnTo>
                    <a:pt x="72" y="14"/>
                  </a:lnTo>
                  <a:lnTo>
                    <a:pt x="70" y="14"/>
                  </a:lnTo>
                  <a:lnTo>
                    <a:pt x="68" y="14"/>
                  </a:lnTo>
                  <a:lnTo>
                    <a:pt x="68" y="14"/>
                  </a:lnTo>
                  <a:lnTo>
                    <a:pt x="66" y="16"/>
                  </a:lnTo>
                  <a:lnTo>
                    <a:pt x="64" y="16"/>
                  </a:lnTo>
                  <a:lnTo>
                    <a:pt x="62" y="20"/>
                  </a:lnTo>
                  <a:lnTo>
                    <a:pt x="62" y="20"/>
                  </a:lnTo>
                  <a:lnTo>
                    <a:pt x="60" y="22"/>
                  </a:lnTo>
                  <a:lnTo>
                    <a:pt x="58" y="22"/>
                  </a:lnTo>
                  <a:lnTo>
                    <a:pt x="58" y="24"/>
                  </a:lnTo>
                  <a:lnTo>
                    <a:pt x="58" y="24"/>
                  </a:lnTo>
                  <a:lnTo>
                    <a:pt x="58" y="24"/>
                  </a:lnTo>
                  <a:lnTo>
                    <a:pt x="58" y="24"/>
                  </a:lnTo>
                  <a:lnTo>
                    <a:pt x="58" y="26"/>
                  </a:lnTo>
                  <a:lnTo>
                    <a:pt x="60" y="28"/>
                  </a:lnTo>
                  <a:lnTo>
                    <a:pt x="60" y="28"/>
                  </a:lnTo>
                  <a:lnTo>
                    <a:pt x="60" y="30"/>
                  </a:lnTo>
                  <a:lnTo>
                    <a:pt x="60" y="30"/>
                  </a:lnTo>
                  <a:lnTo>
                    <a:pt x="60" y="30"/>
                  </a:lnTo>
                  <a:lnTo>
                    <a:pt x="60" y="32"/>
                  </a:lnTo>
                  <a:lnTo>
                    <a:pt x="60" y="32"/>
                  </a:lnTo>
                  <a:lnTo>
                    <a:pt x="60" y="32"/>
                  </a:lnTo>
                  <a:lnTo>
                    <a:pt x="58" y="32"/>
                  </a:lnTo>
                  <a:lnTo>
                    <a:pt x="58" y="34"/>
                  </a:lnTo>
                  <a:lnTo>
                    <a:pt x="56" y="34"/>
                  </a:lnTo>
                  <a:lnTo>
                    <a:pt x="54" y="34"/>
                  </a:lnTo>
                  <a:lnTo>
                    <a:pt x="54" y="34"/>
                  </a:lnTo>
                  <a:lnTo>
                    <a:pt x="52" y="34"/>
                  </a:lnTo>
                  <a:lnTo>
                    <a:pt x="52" y="34"/>
                  </a:lnTo>
                  <a:lnTo>
                    <a:pt x="50" y="34"/>
                  </a:lnTo>
                  <a:lnTo>
                    <a:pt x="50" y="34"/>
                  </a:lnTo>
                  <a:lnTo>
                    <a:pt x="48" y="32"/>
                  </a:lnTo>
                  <a:lnTo>
                    <a:pt x="48" y="32"/>
                  </a:lnTo>
                  <a:lnTo>
                    <a:pt x="46" y="30"/>
                  </a:lnTo>
                  <a:lnTo>
                    <a:pt x="46" y="30"/>
                  </a:lnTo>
                  <a:lnTo>
                    <a:pt x="44" y="30"/>
                  </a:lnTo>
                  <a:lnTo>
                    <a:pt x="44" y="30"/>
                  </a:lnTo>
                  <a:lnTo>
                    <a:pt x="42" y="30"/>
                  </a:lnTo>
                  <a:lnTo>
                    <a:pt x="42" y="30"/>
                  </a:lnTo>
                  <a:lnTo>
                    <a:pt x="42" y="30"/>
                  </a:lnTo>
                  <a:lnTo>
                    <a:pt x="40" y="32"/>
                  </a:lnTo>
                  <a:lnTo>
                    <a:pt x="40" y="32"/>
                  </a:lnTo>
                  <a:lnTo>
                    <a:pt x="40" y="32"/>
                  </a:lnTo>
                  <a:lnTo>
                    <a:pt x="42" y="32"/>
                  </a:lnTo>
                  <a:lnTo>
                    <a:pt x="42" y="34"/>
                  </a:lnTo>
                  <a:lnTo>
                    <a:pt x="44" y="34"/>
                  </a:lnTo>
                  <a:lnTo>
                    <a:pt x="44" y="36"/>
                  </a:lnTo>
                  <a:lnTo>
                    <a:pt x="46" y="36"/>
                  </a:lnTo>
                  <a:lnTo>
                    <a:pt x="46" y="36"/>
                  </a:lnTo>
                  <a:lnTo>
                    <a:pt x="46" y="36"/>
                  </a:lnTo>
                  <a:lnTo>
                    <a:pt x="46" y="38"/>
                  </a:lnTo>
                  <a:lnTo>
                    <a:pt x="46" y="38"/>
                  </a:lnTo>
                  <a:lnTo>
                    <a:pt x="46" y="38"/>
                  </a:lnTo>
                  <a:lnTo>
                    <a:pt x="46" y="40"/>
                  </a:lnTo>
                  <a:lnTo>
                    <a:pt x="44" y="40"/>
                  </a:lnTo>
                  <a:lnTo>
                    <a:pt x="42" y="42"/>
                  </a:lnTo>
                  <a:lnTo>
                    <a:pt x="42" y="42"/>
                  </a:lnTo>
                  <a:lnTo>
                    <a:pt x="40" y="44"/>
                  </a:lnTo>
                  <a:lnTo>
                    <a:pt x="40" y="44"/>
                  </a:lnTo>
                  <a:lnTo>
                    <a:pt x="40" y="44"/>
                  </a:lnTo>
                  <a:lnTo>
                    <a:pt x="40" y="46"/>
                  </a:lnTo>
                  <a:lnTo>
                    <a:pt x="40" y="46"/>
                  </a:lnTo>
                  <a:lnTo>
                    <a:pt x="40" y="46"/>
                  </a:lnTo>
                  <a:lnTo>
                    <a:pt x="40" y="46"/>
                  </a:lnTo>
                  <a:lnTo>
                    <a:pt x="40" y="48"/>
                  </a:lnTo>
                  <a:lnTo>
                    <a:pt x="42" y="48"/>
                  </a:lnTo>
                  <a:lnTo>
                    <a:pt x="44" y="48"/>
                  </a:lnTo>
                  <a:lnTo>
                    <a:pt x="46" y="50"/>
                  </a:lnTo>
                  <a:lnTo>
                    <a:pt x="48" y="50"/>
                  </a:lnTo>
                  <a:lnTo>
                    <a:pt x="48" y="50"/>
                  </a:lnTo>
                  <a:lnTo>
                    <a:pt x="52" y="52"/>
                  </a:lnTo>
                  <a:lnTo>
                    <a:pt x="56" y="54"/>
                  </a:lnTo>
                  <a:lnTo>
                    <a:pt x="58" y="56"/>
                  </a:lnTo>
                  <a:lnTo>
                    <a:pt x="60" y="56"/>
                  </a:lnTo>
                  <a:lnTo>
                    <a:pt x="62" y="58"/>
                  </a:lnTo>
                  <a:lnTo>
                    <a:pt x="62" y="58"/>
                  </a:lnTo>
                  <a:lnTo>
                    <a:pt x="64" y="60"/>
                  </a:lnTo>
                  <a:lnTo>
                    <a:pt x="64" y="62"/>
                  </a:lnTo>
                  <a:lnTo>
                    <a:pt x="66" y="64"/>
                  </a:lnTo>
                  <a:lnTo>
                    <a:pt x="66" y="64"/>
                  </a:lnTo>
                  <a:lnTo>
                    <a:pt x="66" y="66"/>
                  </a:lnTo>
                  <a:lnTo>
                    <a:pt x="66" y="66"/>
                  </a:lnTo>
                  <a:lnTo>
                    <a:pt x="66" y="66"/>
                  </a:lnTo>
                  <a:lnTo>
                    <a:pt x="66" y="66"/>
                  </a:lnTo>
                  <a:lnTo>
                    <a:pt x="64" y="66"/>
                  </a:lnTo>
                  <a:lnTo>
                    <a:pt x="64" y="66"/>
                  </a:lnTo>
                  <a:lnTo>
                    <a:pt x="62" y="66"/>
                  </a:lnTo>
                  <a:lnTo>
                    <a:pt x="62" y="64"/>
                  </a:lnTo>
                  <a:lnTo>
                    <a:pt x="60" y="64"/>
                  </a:lnTo>
                  <a:lnTo>
                    <a:pt x="60" y="64"/>
                  </a:lnTo>
                  <a:lnTo>
                    <a:pt x="56" y="64"/>
                  </a:lnTo>
                  <a:lnTo>
                    <a:pt x="54" y="66"/>
                  </a:lnTo>
                  <a:lnTo>
                    <a:pt x="52" y="66"/>
                  </a:lnTo>
                  <a:lnTo>
                    <a:pt x="50" y="66"/>
                  </a:lnTo>
                  <a:lnTo>
                    <a:pt x="48" y="68"/>
                  </a:lnTo>
                  <a:lnTo>
                    <a:pt x="48" y="68"/>
                  </a:lnTo>
                  <a:lnTo>
                    <a:pt x="48" y="68"/>
                  </a:lnTo>
                  <a:lnTo>
                    <a:pt x="48" y="70"/>
                  </a:lnTo>
                  <a:lnTo>
                    <a:pt x="46" y="70"/>
                  </a:lnTo>
                  <a:lnTo>
                    <a:pt x="46" y="70"/>
                  </a:lnTo>
                  <a:lnTo>
                    <a:pt x="46" y="70"/>
                  </a:lnTo>
                  <a:lnTo>
                    <a:pt x="46" y="72"/>
                  </a:lnTo>
                  <a:lnTo>
                    <a:pt x="48" y="72"/>
                  </a:lnTo>
                  <a:lnTo>
                    <a:pt x="48" y="74"/>
                  </a:lnTo>
                  <a:lnTo>
                    <a:pt x="50" y="74"/>
                  </a:lnTo>
                  <a:lnTo>
                    <a:pt x="50" y="76"/>
                  </a:lnTo>
                  <a:lnTo>
                    <a:pt x="52" y="76"/>
                  </a:lnTo>
                  <a:lnTo>
                    <a:pt x="52" y="78"/>
                  </a:lnTo>
                  <a:lnTo>
                    <a:pt x="52" y="78"/>
                  </a:lnTo>
                  <a:lnTo>
                    <a:pt x="52" y="78"/>
                  </a:lnTo>
                  <a:lnTo>
                    <a:pt x="52" y="78"/>
                  </a:lnTo>
                  <a:lnTo>
                    <a:pt x="52" y="80"/>
                  </a:lnTo>
                  <a:lnTo>
                    <a:pt x="50" y="80"/>
                  </a:lnTo>
                  <a:lnTo>
                    <a:pt x="48" y="80"/>
                  </a:lnTo>
                  <a:lnTo>
                    <a:pt x="48" y="82"/>
                  </a:lnTo>
                  <a:lnTo>
                    <a:pt x="46" y="82"/>
                  </a:lnTo>
                  <a:lnTo>
                    <a:pt x="44" y="82"/>
                  </a:lnTo>
                  <a:lnTo>
                    <a:pt x="42" y="82"/>
                  </a:lnTo>
                  <a:lnTo>
                    <a:pt x="40" y="82"/>
                  </a:lnTo>
                  <a:lnTo>
                    <a:pt x="38" y="82"/>
                  </a:lnTo>
                  <a:lnTo>
                    <a:pt x="36" y="82"/>
                  </a:lnTo>
                  <a:lnTo>
                    <a:pt x="34" y="82"/>
                  </a:lnTo>
                  <a:lnTo>
                    <a:pt x="32" y="82"/>
                  </a:lnTo>
                  <a:lnTo>
                    <a:pt x="30" y="82"/>
                  </a:lnTo>
                  <a:lnTo>
                    <a:pt x="28" y="82"/>
                  </a:lnTo>
                  <a:lnTo>
                    <a:pt x="28" y="80"/>
                  </a:lnTo>
                  <a:lnTo>
                    <a:pt x="26" y="80"/>
                  </a:lnTo>
                  <a:lnTo>
                    <a:pt x="26" y="80"/>
                  </a:lnTo>
                  <a:lnTo>
                    <a:pt x="26" y="80"/>
                  </a:lnTo>
                  <a:lnTo>
                    <a:pt x="26" y="78"/>
                  </a:lnTo>
                  <a:lnTo>
                    <a:pt x="26" y="76"/>
                  </a:lnTo>
                  <a:lnTo>
                    <a:pt x="26" y="74"/>
                  </a:lnTo>
                  <a:lnTo>
                    <a:pt x="26" y="74"/>
                  </a:lnTo>
                  <a:lnTo>
                    <a:pt x="26" y="72"/>
                  </a:lnTo>
                  <a:lnTo>
                    <a:pt x="26" y="70"/>
                  </a:lnTo>
                  <a:lnTo>
                    <a:pt x="26" y="70"/>
                  </a:lnTo>
                  <a:lnTo>
                    <a:pt x="26" y="70"/>
                  </a:lnTo>
                  <a:lnTo>
                    <a:pt x="26" y="70"/>
                  </a:lnTo>
                  <a:lnTo>
                    <a:pt x="26" y="70"/>
                  </a:lnTo>
                  <a:lnTo>
                    <a:pt x="24" y="68"/>
                  </a:lnTo>
                  <a:lnTo>
                    <a:pt x="24" y="68"/>
                  </a:lnTo>
                  <a:lnTo>
                    <a:pt x="22" y="68"/>
                  </a:lnTo>
                  <a:lnTo>
                    <a:pt x="20" y="68"/>
                  </a:lnTo>
                  <a:lnTo>
                    <a:pt x="18" y="68"/>
                  </a:lnTo>
                  <a:lnTo>
                    <a:pt x="18" y="68"/>
                  </a:lnTo>
                  <a:lnTo>
                    <a:pt x="18" y="66"/>
                  </a:lnTo>
                  <a:lnTo>
                    <a:pt x="18" y="66"/>
                  </a:lnTo>
                  <a:lnTo>
                    <a:pt x="18" y="66"/>
                  </a:lnTo>
                  <a:lnTo>
                    <a:pt x="18" y="66"/>
                  </a:lnTo>
                  <a:lnTo>
                    <a:pt x="18" y="64"/>
                  </a:lnTo>
                  <a:lnTo>
                    <a:pt x="18" y="64"/>
                  </a:lnTo>
                  <a:lnTo>
                    <a:pt x="18" y="64"/>
                  </a:lnTo>
                  <a:lnTo>
                    <a:pt x="20" y="64"/>
                  </a:lnTo>
                  <a:lnTo>
                    <a:pt x="22" y="62"/>
                  </a:lnTo>
                  <a:lnTo>
                    <a:pt x="24" y="62"/>
                  </a:lnTo>
                  <a:lnTo>
                    <a:pt x="26" y="62"/>
                  </a:lnTo>
                  <a:lnTo>
                    <a:pt x="28" y="62"/>
                  </a:lnTo>
                  <a:lnTo>
                    <a:pt x="28" y="62"/>
                  </a:lnTo>
                  <a:lnTo>
                    <a:pt x="30" y="62"/>
                  </a:lnTo>
                  <a:lnTo>
                    <a:pt x="32" y="62"/>
                  </a:lnTo>
                  <a:lnTo>
                    <a:pt x="32" y="62"/>
                  </a:lnTo>
                  <a:lnTo>
                    <a:pt x="32" y="60"/>
                  </a:lnTo>
                  <a:lnTo>
                    <a:pt x="34" y="60"/>
                  </a:lnTo>
                  <a:lnTo>
                    <a:pt x="34" y="60"/>
                  </a:lnTo>
                  <a:lnTo>
                    <a:pt x="34" y="58"/>
                  </a:lnTo>
                  <a:lnTo>
                    <a:pt x="34" y="58"/>
                  </a:lnTo>
                  <a:lnTo>
                    <a:pt x="34" y="5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6" name="Freeform 334">
              <a:extLst>
                <a:ext uri="{FF2B5EF4-FFF2-40B4-BE49-F238E27FC236}">
                  <a16:creationId xmlns:a16="http://schemas.microsoft.com/office/drawing/2014/main" id="{41E44270-123C-48C3-8163-EED625651D7D}"/>
                </a:ext>
              </a:extLst>
            </p:cNvPr>
            <p:cNvSpPr>
              <a:spLocks/>
            </p:cNvSpPr>
            <p:nvPr/>
          </p:nvSpPr>
          <p:spPr bwMode="auto">
            <a:xfrm>
              <a:off x="4743800" y="3395653"/>
              <a:ext cx="131638" cy="142030"/>
            </a:xfrm>
            <a:custGeom>
              <a:avLst/>
              <a:gdLst>
                <a:gd name="T0" fmla="*/ 34 w 76"/>
                <a:gd name="T1" fmla="*/ 58 h 82"/>
                <a:gd name="T2" fmla="*/ 30 w 76"/>
                <a:gd name="T3" fmla="*/ 56 h 82"/>
                <a:gd name="T4" fmla="*/ 20 w 76"/>
                <a:gd name="T5" fmla="*/ 56 h 82"/>
                <a:gd name="T6" fmla="*/ 16 w 76"/>
                <a:gd name="T7" fmla="*/ 54 h 82"/>
                <a:gd name="T8" fmla="*/ 16 w 76"/>
                <a:gd name="T9" fmla="*/ 50 h 82"/>
                <a:gd name="T10" fmla="*/ 14 w 76"/>
                <a:gd name="T11" fmla="*/ 44 h 82"/>
                <a:gd name="T12" fmla="*/ 8 w 76"/>
                <a:gd name="T13" fmla="*/ 40 h 82"/>
                <a:gd name="T14" fmla="*/ 2 w 76"/>
                <a:gd name="T15" fmla="*/ 34 h 82"/>
                <a:gd name="T16" fmla="*/ 0 w 76"/>
                <a:gd name="T17" fmla="*/ 26 h 82"/>
                <a:gd name="T18" fmla="*/ 16 w 76"/>
                <a:gd name="T19" fmla="*/ 12 h 82"/>
                <a:gd name="T20" fmla="*/ 24 w 76"/>
                <a:gd name="T21" fmla="*/ 14 h 82"/>
                <a:gd name="T22" fmla="*/ 26 w 76"/>
                <a:gd name="T23" fmla="*/ 14 h 82"/>
                <a:gd name="T24" fmla="*/ 38 w 76"/>
                <a:gd name="T25" fmla="*/ 4 h 82"/>
                <a:gd name="T26" fmla="*/ 46 w 76"/>
                <a:gd name="T27" fmla="*/ 4 h 82"/>
                <a:gd name="T28" fmla="*/ 54 w 76"/>
                <a:gd name="T29" fmla="*/ 6 h 82"/>
                <a:gd name="T30" fmla="*/ 60 w 76"/>
                <a:gd name="T31" fmla="*/ 6 h 82"/>
                <a:gd name="T32" fmla="*/ 66 w 76"/>
                <a:gd name="T33" fmla="*/ 2 h 82"/>
                <a:gd name="T34" fmla="*/ 70 w 76"/>
                <a:gd name="T35" fmla="*/ 0 h 82"/>
                <a:gd name="T36" fmla="*/ 72 w 76"/>
                <a:gd name="T37" fmla="*/ 14 h 82"/>
                <a:gd name="T38" fmla="*/ 66 w 76"/>
                <a:gd name="T39" fmla="*/ 16 h 82"/>
                <a:gd name="T40" fmla="*/ 60 w 76"/>
                <a:gd name="T41" fmla="*/ 22 h 82"/>
                <a:gd name="T42" fmla="*/ 58 w 76"/>
                <a:gd name="T43" fmla="*/ 24 h 82"/>
                <a:gd name="T44" fmla="*/ 60 w 76"/>
                <a:gd name="T45" fmla="*/ 28 h 82"/>
                <a:gd name="T46" fmla="*/ 60 w 76"/>
                <a:gd name="T47" fmla="*/ 32 h 82"/>
                <a:gd name="T48" fmla="*/ 58 w 76"/>
                <a:gd name="T49" fmla="*/ 34 h 82"/>
                <a:gd name="T50" fmla="*/ 52 w 76"/>
                <a:gd name="T51" fmla="*/ 34 h 82"/>
                <a:gd name="T52" fmla="*/ 48 w 76"/>
                <a:gd name="T53" fmla="*/ 32 h 82"/>
                <a:gd name="T54" fmla="*/ 44 w 76"/>
                <a:gd name="T55" fmla="*/ 30 h 82"/>
                <a:gd name="T56" fmla="*/ 42 w 76"/>
                <a:gd name="T57" fmla="*/ 30 h 82"/>
                <a:gd name="T58" fmla="*/ 42 w 76"/>
                <a:gd name="T59" fmla="*/ 32 h 82"/>
                <a:gd name="T60" fmla="*/ 46 w 76"/>
                <a:gd name="T61" fmla="*/ 36 h 82"/>
                <a:gd name="T62" fmla="*/ 46 w 76"/>
                <a:gd name="T63" fmla="*/ 38 h 82"/>
                <a:gd name="T64" fmla="*/ 42 w 76"/>
                <a:gd name="T65" fmla="*/ 42 h 82"/>
                <a:gd name="T66" fmla="*/ 40 w 76"/>
                <a:gd name="T67" fmla="*/ 44 h 82"/>
                <a:gd name="T68" fmla="*/ 40 w 76"/>
                <a:gd name="T69" fmla="*/ 46 h 82"/>
                <a:gd name="T70" fmla="*/ 46 w 76"/>
                <a:gd name="T71" fmla="*/ 50 h 82"/>
                <a:gd name="T72" fmla="*/ 56 w 76"/>
                <a:gd name="T73" fmla="*/ 54 h 82"/>
                <a:gd name="T74" fmla="*/ 62 w 76"/>
                <a:gd name="T75" fmla="*/ 58 h 82"/>
                <a:gd name="T76" fmla="*/ 66 w 76"/>
                <a:gd name="T77" fmla="*/ 64 h 82"/>
                <a:gd name="T78" fmla="*/ 66 w 76"/>
                <a:gd name="T79" fmla="*/ 66 h 82"/>
                <a:gd name="T80" fmla="*/ 62 w 76"/>
                <a:gd name="T81" fmla="*/ 64 h 82"/>
                <a:gd name="T82" fmla="*/ 54 w 76"/>
                <a:gd name="T83" fmla="*/ 66 h 82"/>
                <a:gd name="T84" fmla="*/ 48 w 76"/>
                <a:gd name="T85" fmla="*/ 68 h 82"/>
                <a:gd name="T86" fmla="*/ 46 w 76"/>
                <a:gd name="T87" fmla="*/ 70 h 82"/>
                <a:gd name="T88" fmla="*/ 48 w 76"/>
                <a:gd name="T89" fmla="*/ 74 h 82"/>
                <a:gd name="T90" fmla="*/ 52 w 76"/>
                <a:gd name="T91" fmla="*/ 78 h 82"/>
                <a:gd name="T92" fmla="*/ 52 w 76"/>
                <a:gd name="T93" fmla="*/ 80 h 82"/>
                <a:gd name="T94" fmla="*/ 46 w 76"/>
                <a:gd name="T95" fmla="*/ 82 h 82"/>
                <a:gd name="T96" fmla="*/ 38 w 76"/>
                <a:gd name="T97" fmla="*/ 82 h 82"/>
                <a:gd name="T98" fmla="*/ 30 w 76"/>
                <a:gd name="T99" fmla="*/ 82 h 82"/>
                <a:gd name="T100" fmla="*/ 26 w 76"/>
                <a:gd name="T101" fmla="*/ 80 h 82"/>
                <a:gd name="T102" fmla="*/ 26 w 76"/>
                <a:gd name="T103" fmla="*/ 74 h 82"/>
                <a:gd name="T104" fmla="*/ 26 w 76"/>
                <a:gd name="T105" fmla="*/ 70 h 82"/>
                <a:gd name="T106" fmla="*/ 24 w 76"/>
                <a:gd name="T107" fmla="*/ 68 h 82"/>
                <a:gd name="T108" fmla="*/ 18 w 76"/>
                <a:gd name="T109" fmla="*/ 68 h 82"/>
                <a:gd name="T110" fmla="*/ 18 w 76"/>
                <a:gd name="T111" fmla="*/ 66 h 82"/>
                <a:gd name="T112" fmla="*/ 18 w 76"/>
                <a:gd name="T113" fmla="*/ 64 h 82"/>
                <a:gd name="T114" fmla="*/ 26 w 76"/>
                <a:gd name="T115" fmla="*/ 62 h 82"/>
                <a:gd name="T116" fmla="*/ 32 w 76"/>
                <a:gd name="T117" fmla="*/ 62 h 82"/>
                <a:gd name="T118" fmla="*/ 34 w 76"/>
                <a:gd name="T119" fmla="*/ 6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 h="82">
                  <a:moveTo>
                    <a:pt x="34" y="58"/>
                  </a:moveTo>
                  <a:lnTo>
                    <a:pt x="34" y="58"/>
                  </a:lnTo>
                  <a:lnTo>
                    <a:pt x="34" y="58"/>
                  </a:lnTo>
                  <a:lnTo>
                    <a:pt x="34" y="58"/>
                  </a:lnTo>
                  <a:lnTo>
                    <a:pt x="32" y="56"/>
                  </a:lnTo>
                  <a:lnTo>
                    <a:pt x="32" y="56"/>
                  </a:lnTo>
                  <a:lnTo>
                    <a:pt x="30" y="56"/>
                  </a:lnTo>
                  <a:lnTo>
                    <a:pt x="30" y="56"/>
                  </a:lnTo>
                  <a:lnTo>
                    <a:pt x="26" y="56"/>
                  </a:lnTo>
                  <a:lnTo>
                    <a:pt x="24" y="56"/>
                  </a:lnTo>
                  <a:lnTo>
                    <a:pt x="20" y="56"/>
                  </a:lnTo>
                  <a:lnTo>
                    <a:pt x="20" y="56"/>
                  </a:lnTo>
                  <a:lnTo>
                    <a:pt x="18" y="56"/>
                  </a:lnTo>
                  <a:lnTo>
                    <a:pt x="18" y="56"/>
                  </a:lnTo>
                  <a:lnTo>
                    <a:pt x="18" y="56"/>
                  </a:lnTo>
                  <a:lnTo>
                    <a:pt x="16" y="54"/>
                  </a:lnTo>
                  <a:lnTo>
                    <a:pt x="16" y="54"/>
                  </a:lnTo>
                  <a:lnTo>
                    <a:pt x="16" y="54"/>
                  </a:lnTo>
                  <a:lnTo>
                    <a:pt x="16" y="52"/>
                  </a:lnTo>
                  <a:lnTo>
                    <a:pt x="16" y="50"/>
                  </a:lnTo>
                  <a:lnTo>
                    <a:pt x="16" y="48"/>
                  </a:lnTo>
                  <a:lnTo>
                    <a:pt x="16" y="46"/>
                  </a:lnTo>
                  <a:lnTo>
                    <a:pt x="16" y="46"/>
                  </a:lnTo>
                  <a:lnTo>
                    <a:pt x="14" y="44"/>
                  </a:lnTo>
                  <a:lnTo>
                    <a:pt x="14" y="44"/>
                  </a:lnTo>
                  <a:lnTo>
                    <a:pt x="12" y="42"/>
                  </a:lnTo>
                  <a:lnTo>
                    <a:pt x="10" y="40"/>
                  </a:lnTo>
                  <a:lnTo>
                    <a:pt x="8" y="40"/>
                  </a:lnTo>
                  <a:lnTo>
                    <a:pt x="6" y="38"/>
                  </a:lnTo>
                  <a:lnTo>
                    <a:pt x="4" y="36"/>
                  </a:lnTo>
                  <a:lnTo>
                    <a:pt x="2" y="34"/>
                  </a:lnTo>
                  <a:lnTo>
                    <a:pt x="2" y="34"/>
                  </a:lnTo>
                  <a:lnTo>
                    <a:pt x="2" y="34"/>
                  </a:lnTo>
                  <a:lnTo>
                    <a:pt x="2" y="32"/>
                  </a:lnTo>
                  <a:lnTo>
                    <a:pt x="2" y="30"/>
                  </a:lnTo>
                  <a:lnTo>
                    <a:pt x="0" y="26"/>
                  </a:lnTo>
                  <a:lnTo>
                    <a:pt x="0" y="24"/>
                  </a:lnTo>
                  <a:lnTo>
                    <a:pt x="0" y="22"/>
                  </a:lnTo>
                  <a:lnTo>
                    <a:pt x="14" y="12"/>
                  </a:lnTo>
                  <a:lnTo>
                    <a:pt x="16" y="12"/>
                  </a:lnTo>
                  <a:lnTo>
                    <a:pt x="18" y="14"/>
                  </a:lnTo>
                  <a:lnTo>
                    <a:pt x="20" y="14"/>
                  </a:lnTo>
                  <a:lnTo>
                    <a:pt x="22" y="14"/>
                  </a:lnTo>
                  <a:lnTo>
                    <a:pt x="24" y="14"/>
                  </a:lnTo>
                  <a:lnTo>
                    <a:pt x="24" y="14"/>
                  </a:lnTo>
                  <a:lnTo>
                    <a:pt x="24" y="14"/>
                  </a:lnTo>
                  <a:lnTo>
                    <a:pt x="26" y="14"/>
                  </a:lnTo>
                  <a:lnTo>
                    <a:pt x="26" y="14"/>
                  </a:lnTo>
                  <a:lnTo>
                    <a:pt x="28" y="12"/>
                  </a:lnTo>
                  <a:lnTo>
                    <a:pt x="32" y="10"/>
                  </a:lnTo>
                  <a:lnTo>
                    <a:pt x="34" y="8"/>
                  </a:lnTo>
                  <a:lnTo>
                    <a:pt x="38" y="4"/>
                  </a:lnTo>
                  <a:lnTo>
                    <a:pt x="38" y="4"/>
                  </a:lnTo>
                  <a:lnTo>
                    <a:pt x="42" y="4"/>
                  </a:lnTo>
                  <a:lnTo>
                    <a:pt x="44" y="2"/>
                  </a:lnTo>
                  <a:lnTo>
                    <a:pt x="46" y="4"/>
                  </a:lnTo>
                  <a:lnTo>
                    <a:pt x="48" y="4"/>
                  </a:lnTo>
                  <a:lnTo>
                    <a:pt x="50" y="4"/>
                  </a:lnTo>
                  <a:lnTo>
                    <a:pt x="52" y="6"/>
                  </a:lnTo>
                  <a:lnTo>
                    <a:pt x="54" y="6"/>
                  </a:lnTo>
                  <a:lnTo>
                    <a:pt x="56" y="6"/>
                  </a:lnTo>
                  <a:lnTo>
                    <a:pt x="58" y="8"/>
                  </a:lnTo>
                  <a:lnTo>
                    <a:pt x="58" y="8"/>
                  </a:lnTo>
                  <a:lnTo>
                    <a:pt x="60" y="6"/>
                  </a:lnTo>
                  <a:lnTo>
                    <a:pt x="62" y="6"/>
                  </a:lnTo>
                  <a:lnTo>
                    <a:pt x="62" y="6"/>
                  </a:lnTo>
                  <a:lnTo>
                    <a:pt x="64" y="4"/>
                  </a:lnTo>
                  <a:lnTo>
                    <a:pt x="66" y="2"/>
                  </a:lnTo>
                  <a:lnTo>
                    <a:pt x="68" y="2"/>
                  </a:lnTo>
                  <a:lnTo>
                    <a:pt x="68" y="0"/>
                  </a:lnTo>
                  <a:lnTo>
                    <a:pt x="70" y="0"/>
                  </a:lnTo>
                  <a:lnTo>
                    <a:pt x="70" y="0"/>
                  </a:lnTo>
                  <a:lnTo>
                    <a:pt x="72" y="0"/>
                  </a:lnTo>
                  <a:lnTo>
                    <a:pt x="76" y="0"/>
                  </a:lnTo>
                  <a:lnTo>
                    <a:pt x="76" y="12"/>
                  </a:lnTo>
                  <a:lnTo>
                    <a:pt x="72" y="14"/>
                  </a:lnTo>
                  <a:lnTo>
                    <a:pt x="70" y="14"/>
                  </a:lnTo>
                  <a:lnTo>
                    <a:pt x="68" y="14"/>
                  </a:lnTo>
                  <a:lnTo>
                    <a:pt x="68" y="14"/>
                  </a:lnTo>
                  <a:lnTo>
                    <a:pt x="66" y="16"/>
                  </a:lnTo>
                  <a:lnTo>
                    <a:pt x="64" y="16"/>
                  </a:lnTo>
                  <a:lnTo>
                    <a:pt x="62" y="20"/>
                  </a:lnTo>
                  <a:lnTo>
                    <a:pt x="62" y="20"/>
                  </a:lnTo>
                  <a:lnTo>
                    <a:pt x="60" y="22"/>
                  </a:lnTo>
                  <a:lnTo>
                    <a:pt x="58" y="22"/>
                  </a:lnTo>
                  <a:lnTo>
                    <a:pt x="58" y="24"/>
                  </a:lnTo>
                  <a:lnTo>
                    <a:pt x="58" y="24"/>
                  </a:lnTo>
                  <a:lnTo>
                    <a:pt x="58" y="24"/>
                  </a:lnTo>
                  <a:lnTo>
                    <a:pt x="58" y="24"/>
                  </a:lnTo>
                  <a:lnTo>
                    <a:pt x="58" y="26"/>
                  </a:lnTo>
                  <a:lnTo>
                    <a:pt x="60" y="28"/>
                  </a:lnTo>
                  <a:lnTo>
                    <a:pt x="60" y="28"/>
                  </a:lnTo>
                  <a:lnTo>
                    <a:pt x="60" y="30"/>
                  </a:lnTo>
                  <a:lnTo>
                    <a:pt x="60" y="30"/>
                  </a:lnTo>
                  <a:lnTo>
                    <a:pt x="60" y="30"/>
                  </a:lnTo>
                  <a:lnTo>
                    <a:pt x="60" y="32"/>
                  </a:lnTo>
                  <a:lnTo>
                    <a:pt x="60" y="32"/>
                  </a:lnTo>
                  <a:lnTo>
                    <a:pt x="60" y="32"/>
                  </a:lnTo>
                  <a:lnTo>
                    <a:pt x="58" y="32"/>
                  </a:lnTo>
                  <a:lnTo>
                    <a:pt x="58" y="34"/>
                  </a:lnTo>
                  <a:lnTo>
                    <a:pt x="56" y="34"/>
                  </a:lnTo>
                  <a:lnTo>
                    <a:pt x="54" y="34"/>
                  </a:lnTo>
                  <a:lnTo>
                    <a:pt x="54" y="34"/>
                  </a:lnTo>
                  <a:lnTo>
                    <a:pt x="52" y="34"/>
                  </a:lnTo>
                  <a:lnTo>
                    <a:pt x="52" y="34"/>
                  </a:lnTo>
                  <a:lnTo>
                    <a:pt x="50" y="34"/>
                  </a:lnTo>
                  <a:lnTo>
                    <a:pt x="50" y="34"/>
                  </a:lnTo>
                  <a:lnTo>
                    <a:pt x="48" y="32"/>
                  </a:lnTo>
                  <a:lnTo>
                    <a:pt x="48" y="32"/>
                  </a:lnTo>
                  <a:lnTo>
                    <a:pt x="46" y="30"/>
                  </a:lnTo>
                  <a:lnTo>
                    <a:pt x="46" y="30"/>
                  </a:lnTo>
                  <a:lnTo>
                    <a:pt x="44" y="30"/>
                  </a:lnTo>
                  <a:lnTo>
                    <a:pt x="44" y="30"/>
                  </a:lnTo>
                  <a:lnTo>
                    <a:pt x="42" y="30"/>
                  </a:lnTo>
                  <a:lnTo>
                    <a:pt x="42" y="30"/>
                  </a:lnTo>
                  <a:lnTo>
                    <a:pt x="42" y="30"/>
                  </a:lnTo>
                  <a:lnTo>
                    <a:pt x="40" y="32"/>
                  </a:lnTo>
                  <a:lnTo>
                    <a:pt x="40" y="32"/>
                  </a:lnTo>
                  <a:lnTo>
                    <a:pt x="40" y="32"/>
                  </a:lnTo>
                  <a:lnTo>
                    <a:pt x="42" y="32"/>
                  </a:lnTo>
                  <a:lnTo>
                    <a:pt x="42" y="34"/>
                  </a:lnTo>
                  <a:lnTo>
                    <a:pt x="44" y="34"/>
                  </a:lnTo>
                  <a:lnTo>
                    <a:pt x="44" y="36"/>
                  </a:lnTo>
                  <a:lnTo>
                    <a:pt x="46" y="36"/>
                  </a:lnTo>
                  <a:lnTo>
                    <a:pt x="46" y="36"/>
                  </a:lnTo>
                  <a:lnTo>
                    <a:pt x="46" y="36"/>
                  </a:lnTo>
                  <a:lnTo>
                    <a:pt x="46" y="38"/>
                  </a:lnTo>
                  <a:lnTo>
                    <a:pt x="46" y="38"/>
                  </a:lnTo>
                  <a:lnTo>
                    <a:pt x="46" y="38"/>
                  </a:lnTo>
                  <a:lnTo>
                    <a:pt x="46" y="40"/>
                  </a:lnTo>
                  <a:lnTo>
                    <a:pt x="44" y="40"/>
                  </a:lnTo>
                  <a:lnTo>
                    <a:pt x="42" y="42"/>
                  </a:lnTo>
                  <a:lnTo>
                    <a:pt x="42" y="42"/>
                  </a:lnTo>
                  <a:lnTo>
                    <a:pt x="40" y="44"/>
                  </a:lnTo>
                  <a:lnTo>
                    <a:pt x="40" y="44"/>
                  </a:lnTo>
                  <a:lnTo>
                    <a:pt x="40" y="44"/>
                  </a:lnTo>
                  <a:lnTo>
                    <a:pt x="40" y="46"/>
                  </a:lnTo>
                  <a:lnTo>
                    <a:pt x="40" y="46"/>
                  </a:lnTo>
                  <a:lnTo>
                    <a:pt x="40" y="46"/>
                  </a:lnTo>
                  <a:lnTo>
                    <a:pt x="40" y="46"/>
                  </a:lnTo>
                  <a:lnTo>
                    <a:pt x="40" y="48"/>
                  </a:lnTo>
                  <a:lnTo>
                    <a:pt x="42" y="48"/>
                  </a:lnTo>
                  <a:lnTo>
                    <a:pt x="44" y="48"/>
                  </a:lnTo>
                  <a:lnTo>
                    <a:pt x="46" y="50"/>
                  </a:lnTo>
                  <a:lnTo>
                    <a:pt x="48" y="50"/>
                  </a:lnTo>
                  <a:lnTo>
                    <a:pt x="48" y="50"/>
                  </a:lnTo>
                  <a:lnTo>
                    <a:pt x="52" y="52"/>
                  </a:lnTo>
                  <a:lnTo>
                    <a:pt x="56" y="54"/>
                  </a:lnTo>
                  <a:lnTo>
                    <a:pt x="58" y="56"/>
                  </a:lnTo>
                  <a:lnTo>
                    <a:pt x="60" y="56"/>
                  </a:lnTo>
                  <a:lnTo>
                    <a:pt x="62" y="58"/>
                  </a:lnTo>
                  <a:lnTo>
                    <a:pt x="62" y="58"/>
                  </a:lnTo>
                  <a:lnTo>
                    <a:pt x="64" y="60"/>
                  </a:lnTo>
                  <a:lnTo>
                    <a:pt x="64" y="62"/>
                  </a:lnTo>
                  <a:lnTo>
                    <a:pt x="66" y="64"/>
                  </a:lnTo>
                  <a:lnTo>
                    <a:pt x="66" y="64"/>
                  </a:lnTo>
                  <a:lnTo>
                    <a:pt x="66" y="66"/>
                  </a:lnTo>
                  <a:lnTo>
                    <a:pt x="66" y="66"/>
                  </a:lnTo>
                  <a:lnTo>
                    <a:pt x="66" y="66"/>
                  </a:lnTo>
                  <a:lnTo>
                    <a:pt x="66" y="66"/>
                  </a:lnTo>
                  <a:lnTo>
                    <a:pt x="64" y="66"/>
                  </a:lnTo>
                  <a:lnTo>
                    <a:pt x="64" y="66"/>
                  </a:lnTo>
                  <a:lnTo>
                    <a:pt x="62" y="66"/>
                  </a:lnTo>
                  <a:lnTo>
                    <a:pt x="62" y="64"/>
                  </a:lnTo>
                  <a:lnTo>
                    <a:pt x="60" y="64"/>
                  </a:lnTo>
                  <a:lnTo>
                    <a:pt x="60" y="64"/>
                  </a:lnTo>
                  <a:lnTo>
                    <a:pt x="56" y="64"/>
                  </a:lnTo>
                  <a:lnTo>
                    <a:pt x="54" y="66"/>
                  </a:lnTo>
                  <a:lnTo>
                    <a:pt x="52" y="66"/>
                  </a:lnTo>
                  <a:lnTo>
                    <a:pt x="50" y="66"/>
                  </a:lnTo>
                  <a:lnTo>
                    <a:pt x="48" y="68"/>
                  </a:lnTo>
                  <a:lnTo>
                    <a:pt x="48" y="68"/>
                  </a:lnTo>
                  <a:lnTo>
                    <a:pt x="48" y="68"/>
                  </a:lnTo>
                  <a:lnTo>
                    <a:pt x="48" y="70"/>
                  </a:lnTo>
                  <a:lnTo>
                    <a:pt x="46" y="70"/>
                  </a:lnTo>
                  <a:lnTo>
                    <a:pt x="46" y="70"/>
                  </a:lnTo>
                  <a:lnTo>
                    <a:pt x="46" y="70"/>
                  </a:lnTo>
                  <a:lnTo>
                    <a:pt x="46" y="72"/>
                  </a:lnTo>
                  <a:lnTo>
                    <a:pt x="48" y="72"/>
                  </a:lnTo>
                  <a:lnTo>
                    <a:pt x="48" y="74"/>
                  </a:lnTo>
                  <a:lnTo>
                    <a:pt x="50" y="74"/>
                  </a:lnTo>
                  <a:lnTo>
                    <a:pt x="50" y="76"/>
                  </a:lnTo>
                  <a:lnTo>
                    <a:pt x="52" y="76"/>
                  </a:lnTo>
                  <a:lnTo>
                    <a:pt x="52" y="78"/>
                  </a:lnTo>
                  <a:lnTo>
                    <a:pt x="52" y="78"/>
                  </a:lnTo>
                  <a:lnTo>
                    <a:pt x="52" y="78"/>
                  </a:lnTo>
                  <a:lnTo>
                    <a:pt x="52" y="78"/>
                  </a:lnTo>
                  <a:lnTo>
                    <a:pt x="52" y="80"/>
                  </a:lnTo>
                  <a:lnTo>
                    <a:pt x="50" y="80"/>
                  </a:lnTo>
                  <a:lnTo>
                    <a:pt x="48" y="80"/>
                  </a:lnTo>
                  <a:lnTo>
                    <a:pt x="48" y="82"/>
                  </a:lnTo>
                  <a:lnTo>
                    <a:pt x="46" y="82"/>
                  </a:lnTo>
                  <a:lnTo>
                    <a:pt x="44" y="82"/>
                  </a:lnTo>
                  <a:lnTo>
                    <a:pt x="42" y="82"/>
                  </a:lnTo>
                  <a:lnTo>
                    <a:pt x="40" y="82"/>
                  </a:lnTo>
                  <a:lnTo>
                    <a:pt x="38" y="82"/>
                  </a:lnTo>
                  <a:lnTo>
                    <a:pt x="36" y="82"/>
                  </a:lnTo>
                  <a:lnTo>
                    <a:pt x="34" y="82"/>
                  </a:lnTo>
                  <a:lnTo>
                    <a:pt x="32" y="82"/>
                  </a:lnTo>
                  <a:lnTo>
                    <a:pt x="30" y="82"/>
                  </a:lnTo>
                  <a:lnTo>
                    <a:pt x="28" y="82"/>
                  </a:lnTo>
                  <a:lnTo>
                    <a:pt x="28" y="80"/>
                  </a:lnTo>
                  <a:lnTo>
                    <a:pt x="26" y="80"/>
                  </a:lnTo>
                  <a:lnTo>
                    <a:pt x="26" y="80"/>
                  </a:lnTo>
                  <a:lnTo>
                    <a:pt x="26" y="80"/>
                  </a:lnTo>
                  <a:lnTo>
                    <a:pt x="26" y="78"/>
                  </a:lnTo>
                  <a:lnTo>
                    <a:pt x="26" y="76"/>
                  </a:lnTo>
                  <a:lnTo>
                    <a:pt x="26" y="74"/>
                  </a:lnTo>
                  <a:lnTo>
                    <a:pt x="26" y="74"/>
                  </a:lnTo>
                  <a:lnTo>
                    <a:pt x="26" y="72"/>
                  </a:lnTo>
                  <a:lnTo>
                    <a:pt x="26" y="70"/>
                  </a:lnTo>
                  <a:lnTo>
                    <a:pt x="26" y="70"/>
                  </a:lnTo>
                  <a:lnTo>
                    <a:pt x="26" y="70"/>
                  </a:lnTo>
                  <a:lnTo>
                    <a:pt x="26" y="70"/>
                  </a:lnTo>
                  <a:lnTo>
                    <a:pt x="26" y="70"/>
                  </a:lnTo>
                  <a:lnTo>
                    <a:pt x="24" y="68"/>
                  </a:lnTo>
                  <a:lnTo>
                    <a:pt x="24" y="68"/>
                  </a:lnTo>
                  <a:lnTo>
                    <a:pt x="22" y="68"/>
                  </a:lnTo>
                  <a:lnTo>
                    <a:pt x="20" y="68"/>
                  </a:lnTo>
                  <a:lnTo>
                    <a:pt x="18" y="68"/>
                  </a:lnTo>
                  <a:lnTo>
                    <a:pt x="18" y="68"/>
                  </a:lnTo>
                  <a:lnTo>
                    <a:pt x="18" y="66"/>
                  </a:lnTo>
                  <a:lnTo>
                    <a:pt x="18" y="66"/>
                  </a:lnTo>
                  <a:lnTo>
                    <a:pt x="18" y="66"/>
                  </a:lnTo>
                  <a:lnTo>
                    <a:pt x="18" y="66"/>
                  </a:lnTo>
                  <a:lnTo>
                    <a:pt x="18" y="64"/>
                  </a:lnTo>
                  <a:lnTo>
                    <a:pt x="18" y="64"/>
                  </a:lnTo>
                  <a:lnTo>
                    <a:pt x="18" y="64"/>
                  </a:lnTo>
                  <a:lnTo>
                    <a:pt x="20" y="64"/>
                  </a:lnTo>
                  <a:lnTo>
                    <a:pt x="22" y="62"/>
                  </a:lnTo>
                  <a:lnTo>
                    <a:pt x="24" y="62"/>
                  </a:lnTo>
                  <a:lnTo>
                    <a:pt x="26" y="62"/>
                  </a:lnTo>
                  <a:lnTo>
                    <a:pt x="28" y="62"/>
                  </a:lnTo>
                  <a:lnTo>
                    <a:pt x="28" y="62"/>
                  </a:lnTo>
                  <a:lnTo>
                    <a:pt x="30" y="62"/>
                  </a:lnTo>
                  <a:lnTo>
                    <a:pt x="32" y="62"/>
                  </a:lnTo>
                  <a:lnTo>
                    <a:pt x="32" y="62"/>
                  </a:lnTo>
                  <a:lnTo>
                    <a:pt x="32" y="60"/>
                  </a:lnTo>
                  <a:lnTo>
                    <a:pt x="34" y="60"/>
                  </a:lnTo>
                  <a:lnTo>
                    <a:pt x="34" y="60"/>
                  </a:lnTo>
                  <a:lnTo>
                    <a:pt x="34" y="58"/>
                  </a:lnTo>
                  <a:lnTo>
                    <a:pt x="34" y="58"/>
                  </a:lnTo>
                  <a:lnTo>
                    <a:pt x="34" y="5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7" name="Freeform 335">
              <a:extLst>
                <a:ext uri="{FF2B5EF4-FFF2-40B4-BE49-F238E27FC236}">
                  <a16:creationId xmlns:a16="http://schemas.microsoft.com/office/drawing/2014/main" id="{7DCCF0F4-2329-49D6-9EAE-EC9F5D98A80A}"/>
                </a:ext>
              </a:extLst>
            </p:cNvPr>
            <p:cNvSpPr>
              <a:spLocks/>
            </p:cNvSpPr>
            <p:nvPr/>
          </p:nvSpPr>
          <p:spPr bwMode="auto">
            <a:xfrm>
              <a:off x="4840796" y="3541147"/>
              <a:ext cx="58891" cy="17321"/>
            </a:xfrm>
            <a:custGeom>
              <a:avLst/>
              <a:gdLst>
                <a:gd name="T0" fmla="*/ 14 w 34"/>
                <a:gd name="T1" fmla="*/ 10 h 10"/>
                <a:gd name="T2" fmla="*/ 14 w 34"/>
                <a:gd name="T3" fmla="*/ 10 h 10"/>
                <a:gd name="T4" fmla="*/ 14 w 34"/>
                <a:gd name="T5" fmla="*/ 10 h 10"/>
                <a:gd name="T6" fmla="*/ 12 w 34"/>
                <a:gd name="T7" fmla="*/ 10 h 10"/>
                <a:gd name="T8" fmla="*/ 10 w 34"/>
                <a:gd name="T9" fmla="*/ 10 h 10"/>
                <a:gd name="T10" fmla="*/ 6 w 34"/>
                <a:gd name="T11" fmla="*/ 8 h 10"/>
                <a:gd name="T12" fmla="*/ 4 w 34"/>
                <a:gd name="T13" fmla="*/ 8 h 10"/>
                <a:gd name="T14" fmla="*/ 2 w 34"/>
                <a:gd name="T15" fmla="*/ 8 h 10"/>
                <a:gd name="T16" fmla="*/ 2 w 34"/>
                <a:gd name="T17" fmla="*/ 8 h 10"/>
                <a:gd name="T18" fmla="*/ 0 w 34"/>
                <a:gd name="T19" fmla="*/ 8 h 10"/>
                <a:gd name="T20" fmla="*/ 0 w 34"/>
                <a:gd name="T21" fmla="*/ 6 h 10"/>
                <a:gd name="T22" fmla="*/ 0 w 34"/>
                <a:gd name="T23" fmla="*/ 6 h 10"/>
                <a:gd name="T24" fmla="*/ 0 w 34"/>
                <a:gd name="T25" fmla="*/ 6 h 10"/>
                <a:gd name="T26" fmla="*/ 0 w 34"/>
                <a:gd name="T27" fmla="*/ 6 h 10"/>
                <a:gd name="T28" fmla="*/ 0 w 34"/>
                <a:gd name="T29" fmla="*/ 4 h 10"/>
                <a:gd name="T30" fmla="*/ 0 w 34"/>
                <a:gd name="T31" fmla="*/ 4 h 10"/>
                <a:gd name="T32" fmla="*/ 0 w 34"/>
                <a:gd name="T33" fmla="*/ 4 h 10"/>
                <a:gd name="T34" fmla="*/ 2 w 34"/>
                <a:gd name="T35" fmla="*/ 4 h 10"/>
                <a:gd name="T36" fmla="*/ 2 w 34"/>
                <a:gd name="T37" fmla="*/ 4 h 10"/>
                <a:gd name="T38" fmla="*/ 6 w 34"/>
                <a:gd name="T39" fmla="*/ 4 h 10"/>
                <a:gd name="T40" fmla="*/ 12 w 34"/>
                <a:gd name="T41" fmla="*/ 4 h 10"/>
                <a:gd name="T42" fmla="*/ 14 w 34"/>
                <a:gd name="T43" fmla="*/ 4 h 10"/>
                <a:gd name="T44" fmla="*/ 16 w 34"/>
                <a:gd name="T45" fmla="*/ 2 h 10"/>
                <a:gd name="T46" fmla="*/ 20 w 34"/>
                <a:gd name="T47" fmla="*/ 2 h 10"/>
                <a:gd name="T48" fmla="*/ 26 w 34"/>
                <a:gd name="T49" fmla="*/ 0 h 10"/>
                <a:gd name="T50" fmla="*/ 28 w 34"/>
                <a:gd name="T51" fmla="*/ 0 h 10"/>
                <a:gd name="T52" fmla="*/ 28 w 34"/>
                <a:gd name="T53" fmla="*/ 0 h 10"/>
                <a:gd name="T54" fmla="*/ 30 w 34"/>
                <a:gd name="T55" fmla="*/ 0 h 10"/>
                <a:gd name="T56" fmla="*/ 30 w 34"/>
                <a:gd name="T57" fmla="*/ 0 h 10"/>
                <a:gd name="T58" fmla="*/ 30 w 34"/>
                <a:gd name="T59" fmla="*/ 2 h 10"/>
                <a:gd name="T60" fmla="*/ 32 w 34"/>
                <a:gd name="T61" fmla="*/ 2 h 10"/>
                <a:gd name="T62" fmla="*/ 32 w 34"/>
                <a:gd name="T63" fmla="*/ 4 h 10"/>
                <a:gd name="T64" fmla="*/ 32 w 34"/>
                <a:gd name="T65" fmla="*/ 4 h 10"/>
                <a:gd name="T66" fmla="*/ 34 w 34"/>
                <a:gd name="T67" fmla="*/ 6 h 10"/>
                <a:gd name="T68" fmla="*/ 34 w 34"/>
                <a:gd name="T69" fmla="*/ 6 h 10"/>
                <a:gd name="T70" fmla="*/ 34 w 34"/>
                <a:gd name="T71" fmla="*/ 8 h 10"/>
                <a:gd name="T72" fmla="*/ 34 w 34"/>
                <a:gd name="T73" fmla="*/ 8 h 10"/>
                <a:gd name="T74" fmla="*/ 32 w 34"/>
                <a:gd name="T75" fmla="*/ 8 h 10"/>
                <a:gd name="T76" fmla="*/ 32 w 34"/>
                <a:gd name="T77" fmla="*/ 8 h 10"/>
                <a:gd name="T78" fmla="*/ 30 w 34"/>
                <a:gd name="T79" fmla="*/ 8 h 10"/>
                <a:gd name="T80" fmla="*/ 28 w 34"/>
                <a:gd name="T81" fmla="*/ 10 h 10"/>
                <a:gd name="T82" fmla="*/ 24 w 34"/>
                <a:gd name="T83" fmla="*/ 10 h 10"/>
                <a:gd name="T84" fmla="*/ 22 w 34"/>
                <a:gd name="T85" fmla="*/ 10 h 10"/>
                <a:gd name="T86" fmla="*/ 18 w 34"/>
                <a:gd name="T87" fmla="*/ 10 h 10"/>
                <a:gd name="T88" fmla="*/ 14 w 34"/>
                <a:gd name="T8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0">
                  <a:moveTo>
                    <a:pt x="14" y="10"/>
                  </a:moveTo>
                  <a:lnTo>
                    <a:pt x="14" y="10"/>
                  </a:lnTo>
                  <a:lnTo>
                    <a:pt x="14" y="10"/>
                  </a:lnTo>
                  <a:lnTo>
                    <a:pt x="12" y="10"/>
                  </a:lnTo>
                  <a:lnTo>
                    <a:pt x="10" y="10"/>
                  </a:lnTo>
                  <a:lnTo>
                    <a:pt x="6" y="8"/>
                  </a:lnTo>
                  <a:lnTo>
                    <a:pt x="4" y="8"/>
                  </a:lnTo>
                  <a:lnTo>
                    <a:pt x="2" y="8"/>
                  </a:lnTo>
                  <a:lnTo>
                    <a:pt x="2" y="8"/>
                  </a:lnTo>
                  <a:lnTo>
                    <a:pt x="0" y="8"/>
                  </a:lnTo>
                  <a:lnTo>
                    <a:pt x="0" y="6"/>
                  </a:lnTo>
                  <a:lnTo>
                    <a:pt x="0" y="6"/>
                  </a:lnTo>
                  <a:lnTo>
                    <a:pt x="0" y="6"/>
                  </a:lnTo>
                  <a:lnTo>
                    <a:pt x="0" y="6"/>
                  </a:lnTo>
                  <a:lnTo>
                    <a:pt x="0" y="4"/>
                  </a:lnTo>
                  <a:lnTo>
                    <a:pt x="0" y="4"/>
                  </a:lnTo>
                  <a:lnTo>
                    <a:pt x="0" y="4"/>
                  </a:lnTo>
                  <a:lnTo>
                    <a:pt x="2" y="4"/>
                  </a:lnTo>
                  <a:lnTo>
                    <a:pt x="2" y="4"/>
                  </a:lnTo>
                  <a:lnTo>
                    <a:pt x="6" y="4"/>
                  </a:lnTo>
                  <a:lnTo>
                    <a:pt x="12" y="4"/>
                  </a:lnTo>
                  <a:lnTo>
                    <a:pt x="14" y="4"/>
                  </a:lnTo>
                  <a:lnTo>
                    <a:pt x="16" y="2"/>
                  </a:lnTo>
                  <a:lnTo>
                    <a:pt x="20" y="2"/>
                  </a:lnTo>
                  <a:lnTo>
                    <a:pt x="26" y="0"/>
                  </a:lnTo>
                  <a:lnTo>
                    <a:pt x="28" y="0"/>
                  </a:lnTo>
                  <a:lnTo>
                    <a:pt x="28" y="0"/>
                  </a:lnTo>
                  <a:lnTo>
                    <a:pt x="30" y="0"/>
                  </a:lnTo>
                  <a:lnTo>
                    <a:pt x="30" y="0"/>
                  </a:lnTo>
                  <a:lnTo>
                    <a:pt x="30" y="2"/>
                  </a:lnTo>
                  <a:lnTo>
                    <a:pt x="32" y="2"/>
                  </a:lnTo>
                  <a:lnTo>
                    <a:pt x="32" y="4"/>
                  </a:lnTo>
                  <a:lnTo>
                    <a:pt x="32" y="4"/>
                  </a:lnTo>
                  <a:lnTo>
                    <a:pt x="34" y="6"/>
                  </a:lnTo>
                  <a:lnTo>
                    <a:pt x="34" y="6"/>
                  </a:lnTo>
                  <a:lnTo>
                    <a:pt x="34" y="8"/>
                  </a:lnTo>
                  <a:lnTo>
                    <a:pt x="34" y="8"/>
                  </a:lnTo>
                  <a:lnTo>
                    <a:pt x="32" y="8"/>
                  </a:lnTo>
                  <a:lnTo>
                    <a:pt x="32" y="8"/>
                  </a:lnTo>
                  <a:lnTo>
                    <a:pt x="30" y="8"/>
                  </a:lnTo>
                  <a:lnTo>
                    <a:pt x="28" y="10"/>
                  </a:lnTo>
                  <a:lnTo>
                    <a:pt x="24" y="10"/>
                  </a:lnTo>
                  <a:lnTo>
                    <a:pt x="22" y="10"/>
                  </a:lnTo>
                  <a:lnTo>
                    <a:pt x="18" y="10"/>
                  </a:lnTo>
                  <a:lnTo>
                    <a:pt x="14" y="1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8" name="Freeform 336">
              <a:extLst>
                <a:ext uri="{FF2B5EF4-FFF2-40B4-BE49-F238E27FC236}">
                  <a16:creationId xmlns:a16="http://schemas.microsoft.com/office/drawing/2014/main" id="{D859350D-0B8C-4537-B431-6FC4AE5829BD}"/>
                </a:ext>
              </a:extLst>
            </p:cNvPr>
            <p:cNvSpPr>
              <a:spLocks/>
            </p:cNvSpPr>
            <p:nvPr/>
          </p:nvSpPr>
          <p:spPr bwMode="auto">
            <a:xfrm>
              <a:off x="4840796" y="3541147"/>
              <a:ext cx="58891" cy="17321"/>
            </a:xfrm>
            <a:custGeom>
              <a:avLst/>
              <a:gdLst>
                <a:gd name="T0" fmla="*/ 14 w 34"/>
                <a:gd name="T1" fmla="*/ 10 h 10"/>
                <a:gd name="T2" fmla="*/ 14 w 34"/>
                <a:gd name="T3" fmla="*/ 10 h 10"/>
                <a:gd name="T4" fmla="*/ 14 w 34"/>
                <a:gd name="T5" fmla="*/ 10 h 10"/>
                <a:gd name="T6" fmla="*/ 12 w 34"/>
                <a:gd name="T7" fmla="*/ 10 h 10"/>
                <a:gd name="T8" fmla="*/ 10 w 34"/>
                <a:gd name="T9" fmla="*/ 10 h 10"/>
                <a:gd name="T10" fmla="*/ 6 w 34"/>
                <a:gd name="T11" fmla="*/ 8 h 10"/>
                <a:gd name="T12" fmla="*/ 4 w 34"/>
                <a:gd name="T13" fmla="*/ 8 h 10"/>
                <a:gd name="T14" fmla="*/ 2 w 34"/>
                <a:gd name="T15" fmla="*/ 8 h 10"/>
                <a:gd name="T16" fmla="*/ 2 w 34"/>
                <a:gd name="T17" fmla="*/ 8 h 10"/>
                <a:gd name="T18" fmla="*/ 0 w 34"/>
                <a:gd name="T19" fmla="*/ 8 h 10"/>
                <a:gd name="T20" fmla="*/ 0 w 34"/>
                <a:gd name="T21" fmla="*/ 6 h 10"/>
                <a:gd name="T22" fmla="*/ 0 w 34"/>
                <a:gd name="T23" fmla="*/ 6 h 10"/>
                <a:gd name="T24" fmla="*/ 0 w 34"/>
                <a:gd name="T25" fmla="*/ 6 h 10"/>
                <a:gd name="T26" fmla="*/ 0 w 34"/>
                <a:gd name="T27" fmla="*/ 6 h 10"/>
                <a:gd name="T28" fmla="*/ 0 w 34"/>
                <a:gd name="T29" fmla="*/ 4 h 10"/>
                <a:gd name="T30" fmla="*/ 0 w 34"/>
                <a:gd name="T31" fmla="*/ 4 h 10"/>
                <a:gd name="T32" fmla="*/ 0 w 34"/>
                <a:gd name="T33" fmla="*/ 4 h 10"/>
                <a:gd name="T34" fmla="*/ 2 w 34"/>
                <a:gd name="T35" fmla="*/ 4 h 10"/>
                <a:gd name="T36" fmla="*/ 2 w 34"/>
                <a:gd name="T37" fmla="*/ 4 h 10"/>
                <a:gd name="T38" fmla="*/ 6 w 34"/>
                <a:gd name="T39" fmla="*/ 4 h 10"/>
                <a:gd name="T40" fmla="*/ 12 w 34"/>
                <a:gd name="T41" fmla="*/ 4 h 10"/>
                <a:gd name="T42" fmla="*/ 14 w 34"/>
                <a:gd name="T43" fmla="*/ 4 h 10"/>
                <a:gd name="T44" fmla="*/ 16 w 34"/>
                <a:gd name="T45" fmla="*/ 2 h 10"/>
                <a:gd name="T46" fmla="*/ 20 w 34"/>
                <a:gd name="T47" fmla="*/ 2 h 10"/>
                <a:gd name="T48" fmla="*/ 26 w 34"/>
                <a:gd name="T49" fmla="*/ 0 h 10"/>
                <a:gd name="T50" fmla="*/ 28 w 34"/>
                <a:gd name="T51" fmla="*/ 0 h 10"/>
                <a:gd name="T52" fmla="*/ 28 w 34"/>
                <a:gd name="T53" fmla="*/ 0 h 10"/>
                <a:gd name="T54" fmla="*/ 30 w 34"/>
                <a:gd name="T55" fmla="*/ 0 h 10"/>
                <a:gd name="T56" fmla="*/ 30 w 34"/>
                <a:gd name="T57" fmla="*/ 0 h 10"/>
                <a:gd name="T58" fmla="*/ 30 w 34"/>
                <a:gd name="T59" fmla="*/ 2 h 10"/>
                <a:gd name="T60" fmla="*/ 32 w 34"/>
                <a:gd name="T61" fmla="*/ 2 h 10"/>
                <a:gd name="T62" fmla="*/ 32 w 34"/>
                <a:gd name="T63" fmla="*/ 4 h 10"/>
                <a:gd name="T64" fmla="*/ 32 w 34"/>
                <a:gd name="T65" fmla="*/ 4 h 10"/>
                <a:gd name="T66" fmla="*/ 34 w 34"/>
                <a:gd name="T67" fmla="*/ 6 h 10"/>
                <a:gd name="T68" fmla="*/ 34 w 34"/>
                <a:gd name="T69" fmla="*/ 6 h 10"/>
                <a:gd name="T70" fmla="*/ 34 w 34"/>
                <a:gd name="T71" fmla="*/ 8 h 10"/>
                <a:gd name="T72" fmla="*/ 34 w 34"/>
                <a:gd name="T73" fmla="*/ 8 h 10"/>
                <a:gd name="T74" fmla="*/ 32 w 34"/>
                <a:gd name="T75" fmla="*/ 8 h 10"/>
                <a:gd name="T76" fmla="*/ 32 w 34"/>
                <a:gd name="T77" fmla="*/ 8 h 10"/>
                <a:gd name="T78" fmla="*/ 30 w 34"/>
                <a:gd name="T79" fmla="*/ 8 h 10"/>
                <a:gd name="T80" fmla="*/ 28 w 34"/>
                <a:gd name="T81" fmla="*/ 10 h 10"/>
                <a:gd name="T82" fmla="*/ 24 w 34"/>
                <a:gd name="T83" fmla="*/ 10 h 10"/>
                <a:gd name="T84" fmla="*/ 22 w 34"/>
                <a:gd name="T85" fmla="*/ 10 h 10"/>
                <a:gd name="T86" fmla="*/ 18 w 34"/>
                <a:gd name="T87" fmla="*/ 10 h 10"/>
                <a:gd name="T88" fmla="*/ 14 w 34"/>
                <a:gd name="T8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0">
                  <a:moveTo>
                    <a:pt x="14" y="10"/>
                  </a:moveTo>
                  <a:lnTo>
                    <a:pt x="14" y="10"/>
                  </a:lnTo>
                  <a:lnTo>
                    <a:pt x="14" y="10"/>
                  </a:lnTo>
                  <a:lnTo>
                    <a:pt x="12" y="10"/>
                  </a:lnTo>
                  <a:lnTo>
                    <a:pt x="10" y="10"/>
                  </a:lnTo>
                  <a:lnTo>
                    <a:pt x="6" y="8"/>
                  </a:lnTo>
                  <a:lnTo>
                    <a:pt x="4" y="8"/>
                  </a:lnTo>
                  <a:lnTo>
                    <a:pt x="2" y="8"/>
                  </a:lnTo>
                  <a:lnTo>
                    <a:pt x="2" y="8"/>
                  </a:lnTo>
                  <a:lnTo>
                    <a:pt x="0" y="8"/>
                  </a:lnTo>
                  <a:lnTo>
                    <a:pt x="0" y="6"/>
                  </a:lnTo>
                  <a:lnTo>
                    <a:pt x="0" y="6"/>
                  </a:lnTo>
                  <a:lnTo>
                    <a:pt x="0" y="6"/>
                  </a:lnTo>
                  <a:lnTo>
                    <a:pt x="0" y="6"/>
                  </a:lnTo>
                  <a:lnTo>
                    <a:pt x="0" y="4"/>
                  </a:lnTo>
                  <a:lnTo>
                    <a:pt x="0" y="4"/>
                  </a:lnTo>
                  <a:lnTo>
                    <a:pt x="0" y="4"/>
                  </a:lnTo>
                  <a:lnTo>
                    <a:pt x="2" y="4"/>
                  </a:lnTo>
                  <a:lnTo>
                    <a:pt x="2" y="4"/>
                  </a:lnTo>
                  <a:lnTo>
                    <a:pt x="6" y="4"/>
                  </a:lnTo>
                  <a:lnTo>
                    <a:pt x="12" y="4"/>
                  </a:lnTo>
                  <a:lnTo>
                    <a:pt x="14" y="4"/>
                  </a:lnTo>
                  <a:lnTo>
                    <a:pt x="16" y="2"/>
                  </a:lnTo>
                  <a:lnTo>
                    <a:pt x="20" y="2"/>
                  </a:lnTo>
                  <a:lnTo>
                    <a:pt x="26" y="0"/>
                  </a:lnTo>
                  <a:lnTo>
                    <a:pt x="28" y="0"/>
                  </a:lnTo>
                  <a:lnTo>
                    <a:pt x="28" y="0"/>
                  </a:lnTo>
                  <a:lnTo>
                    <a:pt x="30" y="0"/>
                  </a:lnTo>
                  <a:lnTo>
                    <a:pt x="30" y="0"/>
                  </a:lnTo>
                  <a:lnTo>
                    <a:pt x="30" y="2"/>
                  </a:lnTo>
                  <a:lnTo>
                    <a:pt x="32" y="2"/>
                  </a:lnTo>
                  <a:lnTo>
                    <a:pt x="32" y="4"/>
                  </a:lnTo>
                  <a:lnTo>
                    <a:pt x="32" y="4"/>
                  </a:lnTo>
                  <a:lnTo>
                    <a:pt x="34" y="6"/>
                  </a:lnTo>
                  <a:lnTo>
                    <a:pt x="34" y="6"/>
                  </a:lnTo>
                  <a:lnTo>
                    <a:pt x="34" y="8"/>
                  </a:lnTo>
                  <a:lnTo>
                    <a:pt x="34" y="8"/>
                  </a:lnTo>
                  <a:lnTo>
                    <a:pt x="32" y="8"/>
                  </a:lnTo>
                  <a:lnTo>
                    <a:pt x="32" y="8"/>
                  </a:lnTo>
                  <a:lnTo>
                    <a:pt x="30" y="8"/>
                  </a:lnTo>
                  <a:lnTo>
                    <a:pt x="28" y="10"/>
                  </a:lnTo>
                  <a:lnTo>
                    <a:pt x="24" y="10"/>
                  </a:lnTo>
                  <a:lnTo>
                    <a:pt x="22" y="10"/>
                  </a:lnTo>
                  <a:lnTo>
                    <a:pt x="18" y="10"/>
                  </a:lnTo>
                  <a:lnTo>
                    <a:pt x="14" y="1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9" name="Freeform 337">
              <a:extLst>
                <a:ext uri="{FF2B5EF4-FFF2-40B4-BE49-F238E27FC236}">
                  <a16:creationId xmlns:a16="http://schemas.microsoft.com/office/drawing/2014/main" id="{A1D4D11D-F703-44FF-AADD-1A1D65283B63}"/>
                </a:ext>
              </a:extLst>
            </p:cNvPr>
            <p:cNvSpPr>
              <a:spLocks/>
            </p:cNvSpPr>
            <p:nvPr/>
          </p:nvSpPr>
          <p:spPr bwMode="auto">
            <a:xfrm>
              <a:off x="5045181" y="3593109"/>
              <a:ext cx="48498" cy="24249"/>
            </a:xfrm>
            <a:custGeom>
              <a:avLst/>
              <a:gdLst>
                <a:gd name="T0" fmla="*/ 14 w 28"/>
                <a:gd name="T1" fmla="*/ 10 h 14"/>
                <a:gd name="T2" fmla="*/ 14 w 28"/>
                <a:gd name="T3" fmla="*/ 10 h 14"/>
                <a:gd name="T4" fmla="*/ 12 w 28"/>
                <a:gd name="T5" fmla="*/ 10 h 14"/>
                <a:gd name="T6" fmla="*/ 12 w 28"/>
                <a:gd name="T7" fmla="*/ 10 h 14"/>
                <a:gd name="T8" fmla="*/ 8 w 28"/>
                <a:gd name="T9" fmla="*/ 12 h 14"/>
                <a:gd name="T10" fmla="*/ 4 w 28"/>
                <a:gd name="T11" fmla="*/ 12 h 14"/>
                <a:gd name="T12" fmla="*/ 2 w 28"/>
                <a:gd name="T13" fmla="*/ 14 h 14"/>
                <a:gd name="T14" fmla="*/ 2 w 28"/>
                <a:gd name="T15" fmla="*/ 14 h 14"/>
                <a:gd name="T16" fmla="*/ 0 w 28"/>
                <a:gd name="T17" fmla="*/ 12 h 14"/>
                <a:gd name="T18" fmla="*/ 0 w 28"/>
                <a:gd name="T19" fmla="*/ 12 h 14"/>
                <a:gd name="T20" fmla="*/ 0 w 28"/>
                <a:gd name="T21" fmla="*/ 12 h 14"/>
                <a:gd name="T22" fmla="*/ 0 w 28"/>
                <a:gd name="T23" fmla="*/ 12 h 14"/>
                <a:gd name="T24" fmla="*/ 0 w 28"/>
                <a:gd name="T25" fmla="*/ 12 h 14"/>
                <a:gd name="T26" fmla="*/ 0 w 28"/>
                <a:gd name="T27" fmla="*/ 10 h 14"/>
                <a:gd name="T28" fmla="*/ 0 w 28"/>
                <a:gd name="T29" fmla="*/ 10 h 14"/>
                <a:gd name="T30" fmla="*/ 0 w 28"/>
                <a:gd name="T31" fmla="*/ 8 h 14"/>
                <a:gd name="T32" fmla="*/ 0 w 28"/>
                <a:gd name="T33" fmla="*/ 6 h 14"/>
                <a:gd name="T34" fmla="*/ 0 w 28"/>
                <a:gd name="T35" fmla="*/ 4 h 14"/>
                <a:gd name="T36" fmla="*/ 0 w 28"/>
                <a:gd name="T37" fmla="*/ 4 h 14"/>
                <a:gd name="T38" fmla="*/ 0 w 28"/>
                <a:gd name="T39" fmla="*/ 4 h 14"/>
                <a:gd name="T40" fmla="*/ 0 w 28"/>
                <a:gd name="T41" fmla="*/ 4 h 14"/>
                <a:gd name="T42" fmla="*/ 2 w 28"/>
                <a:gd name="T43" fmla="*/ 4 h 14"/>
                <a:gd name="T44" fmla="*/ 2 w 28"/>
                <a:gd name="T45" fmla="*/ 4 h 14"/>
                <a:gd name="T46" fmla="*/ 6 w 28"/>
                <a:gd name="T47" fmla="*/ 2 h 14"/>
                <a:gd name="T48" fmla="*/ 12 w 28"/>
                <a:gd name="T49" fmla="*/ 2 h 14"/>
                <a:gd name="T50" fmla="*/ 14 w 28"/>
                <a:gd name="T51" fmla="*/ 2 h 14"/>
                <a:gd name="T52" fmla="*/ 16 w 28"/>
                <a:gd name="T53" fmla="*/ 2 h 14"/>
                <a:gd name="T54" fmla="*/ 20 w 28"/>
                <a:gd name="T55" fmla="*/ 2 h 14"/>
                <a:gd name="T56" fmla="*/ 24 w 28"/>
                <a:gd name="T57" fmla="*/ 0 h 14"/>
                <a:gd name="T58" fmla="*/ 26 w 28"/>
                <a:gd name="T59" fmla="*/ 0 h 14"/>
                <a:gd name="T60" fmla="*/ 28 w 28"/>
                <a:gd name="T61" fmla="*/ 0 h 14"/>
                <a:gd name="T62" fmla="*/ 28 w 28"/>
                <a:gd name="T63" fmla="*/ 0 h 14"/>
                <a:gd name="T64" fmla="*/ 28 w 28"/>
                <a:gd name="T65" fmla="*/ 0 h 14"/>
                <a:gd name="T66" fmla="*/ 28 w 28"/>
                <a:gd name="T67" fmla="*/ 0 h 14"/>
                <a:gd name="T68" fmla="*/ 28 w 28"/>
                <a:gd name="T69" fmla="*/ 0 h 14"/>
                <a:gd name="T70" fmla="*/ 28 w 28"/>
                <a:gd name="T71" fmla="*/ 2 h 14"/>
                <a:gd name="T72" fmla="*/ 28 w 28"/>
                <a:gd name="T73" fmla="*/ 2 h 14"/>
                <a:gd name="T74" fmla="*/ 26 w 28"/>
                <a:gd name="T75" fmla="*/ 4 h 14"/>
                <a:gd name="T76" fmla="*/ 24 w 28"/>
                <a:gd name="T77" fmla="*/ 6 h 14"/>
                <a:gd name="T78" fmla="*/ 24 w 28"/>
                <a:gd name="T79" fmla="*/ 6 h 14"/>
                <a:gd name="T80" fmla="*/ 24 w 28"/>
                <a:gd name="T81" fmla="*/ 8 h 14"/>
                <a:gd name="T82" fmla="*/ 24 w 28"/>
                <a:gd name="T83" fmla="*/ 8 h 14"/>
                <a:gd name="T84" fmla="*/ 24 w 28"/>
                <a:gd name="T85" fmla="*/ 8 h 14"/>
                <a:gd name="T86" fmla="*/ 22 w 28"/>
                <a:gd name="T87" fmla="*/ 10 h 14"/>
                <a:gd name="T88" fmla="*/ 22 w 28"/>
                <a:gd name="T89" fmla="*/ 10 h 14"/>
                <a:gd name="T90" fmla="*/ 20 w 28"/>
                <a:gd name="T91" fmla="*/ 10 h 14"/>
                <a:gd name="T92" fmla="*/ 18 w 28"/>
                <a:gd name="T93" fmla="*/ 10 h 14"/>
                <a:gd name="T94" fmla="*/ 14 w 28"/>
                <a:gd name="T95"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 h="14">
                  <a:moveTo>
                    <a:pt x="14" y="10"/>
                  </a:moveTo>
                  <a:lnTo>
                    <a:pt x="14" y="10"/>
                  </a:lnTo>
                  <a:lnTo>
                    <a:pt x="12" y="10"/>
                  </a:lnTo>
                  <a:lnTo>
                    <a:pt x="12" y="10"/>
                  </a:lnTo>
                  <a:lnTo>
                    <a:pt x="8" y="12"/>
                  </a:lnTo>
                  <a:lnTo>
                    <a:pt x="4" y="12"/>
                  </a:lnTo>
                  <a:lnTo>
                    <a:pt x="2" y="14"/>
                  </a:lnTo>
                  <a:lnTo>
                    <a:pt x="2" y="14"/>
                  </a:lnTo>
                  <a:lnTo>
                    <a:pt x="0" y="12"/>
                  </a:lnTo>
                  <a:lnTo>
                    <a:pt x="0" y="12"/>
                  </a:lnTo>
                  <a:lnTo>
                    <a:pt x="0" y="12"/>
                  </a:lnTo>
                  <a:lnTo>
                    <a:pt x="0" y="12"/>
                  </a:lnTo>
                  <a:lnTo>
                    <a:pt x="0" y="12"/>
                  </a:lnTo>
                  <a:lnTo>
                    <a:pt x="0" y="10"/>
                  </a:lnTo>
                  <a:lnTo>
                    <a:pt x="0" y="10"/>
                  </a:lnTo>
                  <a:lnTo>
                    <a:pt x="0" y="8"/>
                  </a:lnTo>
                  <a:lnTo>
                    <a:pt x="0" y="6"/>
                  </a:lnTo>
                  <a:lnTo>
                    <a:pt x="0" y="4"/>
                  </a:lnTo>
                  <a:lnTo>
                    <a:pt x="0" y="4"/>
                  </a:lnTo>
                  <a:lnTo>
                    <a:pt x="0" y="4"/>
                  </a:lnTo>
                  <a:lnTo>
                    <a:pt x="0" y="4"/>
                  </a:lnTo>
                  <a:lnTo>
                    <a:pt x="2" y="4"/>
                  </a:lnTo>
                  <a:lnTo>
                    <a:pt x="2" y="4"/>
                  </a:lnTo>
                  <a:lnTo>
                    <a:pt x="6" y="2"/>
                  </a:lnTo>
                  <a:lnTo>
                    <a:pt x="12" y="2"/>
                  </a:lnTo>
                  <a:lnTo>
                    <a:pt x="14" y="2"/>
                  </a:lnTo>
                  <a:lnTo>
                    <a:pt x="16" y="2"/>
                  </a:lnTo>
                  <a:lnTo>
                    <a:pt x="20" y="2"/>
                  </a:lnTo>
                  <a:lnTo>
                    <a:pt x="24" y="0"/>
                  </a:lnTo>
                  <a:lnTo>
                    <a:pt x="26" y="0"/>
                  </a:lnTo>
                  <a:lnTo>
                    <a:pt x="28" y="0"/>
                  </a:lnTo>
                  <a:lnTo>
                    <a:pt x="28" y="0"/>
                  </a:lnTo>
                  <a:lnTo>
                    <a:pt x="28" y="0"/>
                  </a:lnTo>
                  <a:lnTo>
                    <a:pt x="28" y="0"/>
                  </a:lnTo>
                  <a:lnTo>
                    <a:pt x="28" y="0"/>
                  </a:lnTo>
                  <a:lnTo>
                    <a:pt x="28" y="2"/>
                  </a:lnTo>
                  <a:lnTo>
                    <a:pt x="28" y="2"/>
                  </a:lnTo>
                  <a:lnTo>
                    <a:pt x="26" y="4"/>
                  </a:lnTo>
                  <a:lnTo>
                    <a:pt x="24" y="6"/>
                  </a:lnTo>
                  <a:lnTo>
                    <a:pt x="24" y="6"/>
                  </a:lnTo>
                  <a:lnTo>
                    <a:pt x="24" y="8"/>
                  </a:lnTo>
                  <a:lnTo>
                    <a:pt x="24" y="8"/>
                  </a:lnTo>
                  <a:lnTo>
                    <a:pt x="24" y="8"/>
                  </a:lnTo>
                  <a:lnTo>
                    <a:pt x="22" y="10"/>
                  </a:lnTo>
                  <a:lnTo>
                    <a:pt x="22" y="10"/>
                  </a:lnTo>
                  <a:lnTo>
                    <a:pt x="20" y="10"/>
                  </a:lnTo>
                  <a:lnTo>
                    <a:pt x="18" y="10"/>
                  </a:lnTo>
                  <a:lnTo>
                    <a:pt x="14" y="1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0" name="Freeform 338">
              <a:extLst>
                <a:ext uri="{FF2B5EF4-FFF2-40B4-BE49-F238E27FC236}">
                  <a16:creationId xmlns:a16="http://schemas.microsoft.com/office/drawing/2014/main" id="{931AF488-D3F9-4F99-BADD-BFF53F6DFA69}"/>
                </a:ext>
              </a:extLst>
            </p:cNvPr>
            <p:cNvSpPr>
              <a:spLocks/>
            </p:cNvSpPr>
            <p:nvPr/>
          </p:nvSpPr>
          <p:spPr bwMode="auto">
            <a:xfrm>
              <a:off x="5045181" y="3593109"/>
              <a:ext cx="48498" cy="24249"/>
            </a:xfrm>
            <a:custGeom>
              <a:avLst/>
              <a:gdLst>
                <a:gd name="T0" fmla="*/ 14 w 28"/>
                <a:gd name="T1" fmla="*/ 10 h 14"/>
                <a:gd name="T2" fmla="*/ 14 w 28"/>
                <a:gd name="T3" fmla="*/ 10 h 14"/>
                <a:gd name="T4" fmla="*/ 12 w 28"/>
                <a:gd name="T5" fmla="*/ 10 h 14"/>
                <a:gd name="T6" fmla="*/ 12 w 28"/>
                <a:gd name="T7" fmla="*/ 10 h 14"/>
                <a:gd name="T8" fmla="*/ 8 w 28"/>
                <a:gd name="T9" fmla="*/ 12 h 14"/>
                <a:gd name="T10" fmla="*/ 4 w 28"/>
                <a:gd name="T11" fmla="*/ 12 h 14"/>
                <a:gd name="T12" fmla="*/ 2 w 28"/>
                <a:gd name="T13" fmla="*/ 14 h 14"/>
                <a:gd name="T14" fmla="*/ 2 w 28"/>
                <a:gd name="T15" fmla="*/ 14 h 14"/>
                <a:gd name="T16" fmla="*/ 0 w 28"/>
                <a:gd name="T17" fmla="*/ 12 h 14"/>
                <a:gd name="T18" fmla="*/ 0 w 28"/>
                <a:gd name="T19" fmla="*/ 12 h 14"/>
                <a:gd name="T20" fmla="*/ 0 w 28"/>
                <a:gd name="T21" fmla="*/ 12 h 14"/>
                <a:gd name="T22" fmla="*/ 0 w 28"/>
                <a:gd name="T23" fmla="*/ 12 h 14"/>
                <a:gd name="T24" fmla="*/ 0 w 28"/>
                <a:gd name="T25" fmla="*/ 12 h 14"/>
                <a:gd name="T26" fmla="*/ 0 w 28"/>
                <a:gd name="T27" fmla="*/ 10 h 14"/>
                <a:gd name="T28" fmla="*/ 0 w 28"/>
                <a:gd name="T29" fmla="*/ 10 h 14"/>
                <a:gd name="T30" fmla="*/ 0 w 28"/>
                <a:gd name="T31" fmla="*/ 8 h 14"/>
                <a:gd name="T32" fmla="*/ 0 w 28"/>
                <a:gd name="T33" fmla="*/ 6 h 14"/>
                <a:gd name="T34" fmla="*/ 0 w 28"/>
                <a:gd name="T35" fmla="*/ 4 h 14"/>
                <a:gd name="T36" fmla="*/ 0 w 28"/>
                <a:gd name="T37" fmla="*/ 4 h 14"/>
                <a:gd name="T38" fmla="*/ 0 w 28"/>
                <a:gd name="T39" fmla="*/ 4 h 14"/>
                <a:gd name="T40" fmla="*/ 0 w 28"/>
                <a:gd name="T41" fmla="*/ 4 h 14"/>
                <a:gd name="T42" fmla="*/ 2 w 28"/>
                <a:gd name="T43" fmla="*/ 4 h 14"/>
                <a:gd name="T44" fmla="*/ 2 w 28"/>
                <a:gd name="T45" fmla="*/ 4 h 14"/>
                <a:gd name="T46" fmla="*/ 6 w 28"/>
                <a:gd name="T47" fmla="*/ 2 h 14"/>
                <a:gd name="T48" fmla="*/ 12 w 28"/>
                <a:gd name="T49" fmla="*/ 2 h 14"/>
                <a:gd name="T50" fmla="*/ 14 w 28"/>
                <a:gd name="T51" fmla="*/ 2 h 14"/>
                <a:gd name="T52" fmla="*/ 16 w 28"/>
                <a:gd name="T53" fmla="*/ 2 h 14"/>
                <a:gd name="T54" fmla="*/ 20 w 28"/>
                <a:gd name="T55" fmla="*/ 2 h 14"/>
                <a:gd name="T56" fmla="*/ 24 w 28"/>
                <a:gd name="T57" fmla="*/ 0 h 14"/>
                <a:gd name="T58" fmla="*/ 26 w 28"/>
                <a:gd name="T59" fmla="*/ 0 h 14"/>
                <a:gd name="T60" fmla="*/ 28 w 28"/>
                <a:gd name="T61" fmla="*/ 0 h 14"/>
                <a:gd name="T62" fmla="*/ 28 w 28"/>
                <a:gd name="T63" fmla="*/ 0 h 14"/>
                <a:gd name="T64" fmla="*/ 28 w 28"/>
                <a:gd name="T65" fmla="*/ 0 h 14"/>
                <a:gd name="T66" fmla="*/ 28 w 28"/>
                <a:gd name="T67" fmla="*/ 0 h 14"/>
                <a:gd name="T68" fmla="*/ 28 w 28"/>
                <a:gd name="T69" fmla="*/ 0 h 14"/>
                <a:gd name="T70" fmla="*/ 28 w 28"/>
                <a:gd name="T71" fmla="*/ 2 h 14"/>
                <a:gd name="T72" fmla="*/ 28 w 28"/>
                <a:gd name="T73" fmla="*/ 2 h 14"/>
                <a:gd name="T74" fmla="*/ 26 w 28"/>
                <a:gd name="T75" fmla="*/ 4 h 14"/>
                <a:gd name="T76" fmla="*/ 24 w 28"/>
                <a:gd name="T77" fmla="*/ 6 h 14"/>
                <a:gd name="T78" fmla="*/ 24 w 28"/>
                <a:gd name="T79" fmla="*/ 6 h 14"/>
                <a:gd name="T80" fmla="*/ 24 w 28"/>
                <a:gd name="T81" fmla="*/ 8 h 14"/>
                <a:gd name="T82" fmla="*/ 24 w 28"/>
                <a:gd name="T83" fmla="*/ 8 h 14"/>
                <a:gd name="T84" fmla="*/ 24 w 28"/>
                <a:gd name="T85" fmla="*/ 8 h 14"/>
                <a:gd name="T86" fmla="*/ 22 w 28"/>
                <a:gd name="T87" fmla="*/ 10 h 14"/>
                <a:gd name="T88" fmla="*/ 22 w 28"/>
                <a:gd name="T89" fmla="*/ 10 h 14"/>
                <a:gd name="T90" fmla="*/ 20 w 28"/>
                <a:gd name="T91" fmla="*/ 10 h 14"/>
                <a:gd name="T92" fmla="*/ 18 w 28"/>
                <a:gd name="T93" fmla="*/ 10 h 14"/>
                <a:gd name="T94" fmla="*/ 14 w 28"/>
                <a:gd name="T95"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 h="14">
                  <a:moveTo>
                    <a:pt x="14" y="10"/>
                  </a:moveTo>
                  <a:lnTo>
                    <a:pt x="14" y="10"/>
                  </a:lnTo>
                  <a:lnTo>
                    <a:pt x="12" y="10"/>
                  </a:lnTo>
                  <a:lnTo>
                    <a:pt x="12" y="10"/>
                  </a:lnTo>
                  <a:lnTo>
                    <a:pt x="8" y="12"/>
                  </a:lnTo>
                  <a:lnTo>
                    <a:pt x="4" y="12"/>
                  </a:lnTo>
                  <a:lnTo>
                    <a:pt x="2" y="14"/>
                  </a:lnTo>
                  <a:lnTo>
                    <a:pt x="2" y="14"/>
                  </a:lnTo>
                  <a:lnTo>
                    <a:pt x="0" y="12"/>
                  </a:lnTo>
                  <a:lnTo>
                    <a:pt x="0" y="12"/>
                  </a:lnTo>
                  <a:lnTo>
                    <a:pt x="0" y="12"/>
                  </a:lnTo>
                  <a:lnTo>
                    <a:pt x="0" y="12"/>
                  </a:lnTo>
                  <a:lnTo>
                    <a:pt x="0" y="12"/>
                  </a:lnTo>
                  <a:lnTo>
                    <a:pt x="0" y="10"/>
                  </a:lnTo>
                  <a:lnTo>
                    <a:pt x="0" y="10"/>
                  </a:lnTo>
                  <a:lnTo>
                    <a:pt x="0" y="8"/>
                  </a:lnTo>
                  <a:lnTo>
                    <a:pt x="0" y="6"/>
                  </a:lnTo>
                  <a:lnTo>
                    <a:pt x="0" y="4"/>
                  </a:lnTo>
                  <a:lnTo>
                    <a:pt x="0" y="4"/>
                  </a:lnTo>
                  <a:lnTo>
                    <a:pt x="0" y="4"/>
                  </a:lnTo>
                  <a:lnTo>
                    <a:pt x="0" y="4"/>
                  </a:lnTo>
                  <a:lnTo>
                    <a:pt x="2" y="4"/>
                  </a:lnTo>
                  <a:lnTo>
                    <a:pt x="2" y="4"/>
                  </a:lnTo>
                  <a:lnTo>
                    <a:pt x="6" y="2"/>
                  </a:lnTo>
                  <a:lnTo>
                    <a:pt x="12" y="2"/>
                  </a:lnTo>
                  <a:lnTo>
                    <a:pt x="14" y="2"/>
                  </a:lnTo>
                  <a:lnTo>
                    <a:pt x="16" y="2"/>
                  </a:lnTo>
                  <a:lnTo>
                    <a:pt x="20" y="2"/>
                  </a:lnTo>
                  <a:lnTo>
                    <a:pt x="24" y="0"/>
                  </a:lnTo>
                  <a:lnTo>
                    <a:pt x="26" y="0"/>
                  </a:lnTo>
                  <a:lnTo>
                    <a:pt x="28" y="0"/>
                  </a:lnTo>
                  <a:lnTo>
                    <a:pt x="28" y="0"/>
                  </a:lnTo>
                  <a:lnTo>
                    <a:pt x="28" y="0"/>
                  </a:lnTo>
                  <a:lnTo>
                    <a:pt x="28" y="0"/>
                  </a:lnTo>
                  <a:lnTo>
                    <a:pt x="28" y="0"/>
                  </a:lnTo>
                  <a:lnTo>
                    <a:pt x="28" y="2"/>
                  </a:lnTo>
                  <a:lnTo>
                    <a:pt x="28" y="2"/>
                  </a:lnTo>
                  <a:lnTo>
                    <a:pt x="26" y="4"/>
                  </a:lnTo>
                  <a:lnTo>
                    <a:pt x="24" y="6"/>
                  </a:lnTo>
                  <a:lnTo>
                    <a:pt x="24" y="6"/>
                  </a:lnTo>
                  <a:lnTo>
                    <a:pt x="24" y="8"/>
                  </a:lnTo>
                  <a:lnTo>
                    <a:pt x="24" y="8"/>
                  </a:lnTo>
                  <a:lnTo>
                    <a:pt x="24" y="8"/>
                  </a:lnTo>
                  <a:lnTo>
                    <a:pt x="22" y="10"/>
                  </a:lnTo>
                  <a:lnTo>
                    <a:pt x="22" y="10"/>
                  </a:lnTo>
                  <a:lnTo>
                    <a:pt x="20" y="10"/>
                  </a:lnTo>
                  <a:lnTo>
                    <a:pt x="18" y="10"/>
                  </a:lnTo>
                  <a:lnTo>
                    <a:pt x="14" y="1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1" name="Freeform 339">
              <a:extLst>
                <a:ext uri="{FF2B5EF4-FFF2-40B4-BE49-F238E27FC236}">
                  <a16:creationId xmlns:a16="http://schemas.microsoft.com/office/drawing/2014/main" id="{7FF0234A-2CD4-4689-8A15-7FFDBC702AB4}"/>
                </a:ext>
              </a:extLst>
            </p:cNvPr>
            <p:cNvSpPr>
              <a:spLocks/>
            </p:cNvSpPr>
            <p:nvPr/>
          </p:nvSpPr>
          <p:spPr bwMode="auto">
            <a:xfrm>
              <a:off x="4577521" y="3229374"/>
              <a:ext cx="90068" cy="58891"/>
            </a:xfrm>
            <a:custGeom>
              <a:avLst/>
              <a:gdLst>
                <a:gd name="T0" fmla="*/ 52 w 52"/>
                <a:gd name="T1" fmla="*/ 8 h 34"/>
                <a:gd name="T2" fmla="*/ 52 w 52"/>
                <a:gd name="T3" fmla="*/ 8 h 34"/>
                <a:gd name="T4" fmla="*/ 50 w 52"/>
                <a:gd name="T5" fmla="*/ 10 h 34"/>
                <a:gd name="T6" fmla="*/ 48 w 52"/>
                <a:gd name="T7" fmla="*/ 12 h 34"/>
                <a:gd name="T8" fmla="*/ 46 w 52"/>
                <a:gd name="T9" fmla="*/ 16 h 34"/>
                <a:gd name="T10" fmla="*/ 44 w 52"/>
                <a:gd name="T11" fmla="*/ 16 h 34"/>
                <a:gd name="T12" fmla="*/ 44 w 52"/>
                <a:gd name="T13" fmla="*/ 18 h 34"/>
                <a:gd name="T14" fmla="*/ 42 w 52"/>
                <a:gd name="T15" fmla="*/ 18 h 34"/>
                <a:gd name="T16" fmla="*/ 42 w 52"/>
                <a:gd name="T17" fmla="*/ 18 h 34"/>
                <a:gd name="T18" fmla="*/ 38 w 52"/>
                <a:gd name="T19" fmla="*/ 20 h 34"/>
                <a:gd name="T20" fmla="*/ 34 w 52"/>
                <a:gd name="T21" fmla="*/ 22 h 34"/>
                <a:gd name="T22" fmla="*/ 32 w 52"/>
                <a:gd name="T23" fmla="*/ 22 h 34"/>
                <a:gd name="T24" fmla="*/ 30 w 52"/>
                <a:gd name="T25" fmla="*/ 24 h 34"/>
                <a:gd name="T26" fmla="*/ 30 w 52"/>
                <a:gd name="T27" fmla="*/ 24 h 34"/>
                <a:gd name="T28" fmla="*/ 28 w 52"/>
                <a:gd name="T29" fmla="*/ 24 h 34"/>
                <a:gd name="T30" fmla="*/ 26 w 52"/>
                <a:gd name="T31" fmla="*/ 28 h 34"/>
                <a:gd name="T32" fmla="*/ 24 w 52"/>
                <a:gd name="T33" fmla="*/ 30 h 34"/>
                <a:gd name="T34" fmla="*/ 24 w 52"/>
                <a:gd name="T35" fmla="*/ 32 h 34"/>
                <a:gd name="T36" fmla="*/ 20 w 52"/>
                <a:gd name="T37" fmla="*/ 34 h 34"/>
                <a:gd name="T38" fmla="*/ 20 w 52"/>
                <a:gd name="T39" fmla="*/ 32 h 34"/>
                <a:gd name="T40" fmla="*/ 20 w 52"/>
                <a:gd name="T41" fmla="*/ 28 h 34"/>
                <a:gd name="T42" fmla="*/ 18 w 52"/>
                <a:gd name="T43" fmla="*/ 26 h 34"/>
                <a:gd name="T44" fmla="*/ 18 w 52"/>
                <a:gd name="T45" fmla="*/ 24 h 34"/>
                <a:gd name="T46" fmla="*/ 18 w 52"/>
                <a:gd name="T47" fmla="*/ 22 h 34"/>
                <a:gd name="T48" fmla="*/ 18 w 52"/>
                <a:gd name="T49" fmla="*/ 22 h 34"/>
                <a:gd name="T50" fmla="*/ 18 w 52"/>
                <a:gd name="T51" fmla="*/ 20 h 34"/>
                <a:gd name="T52" fmla="*/ 16 w 52"/>
                <a:gd name="T53" fmla="*/ 20 h 34"/>
                <a:gd name="T54" fmla="*/ 16 w 52"/>
                <a:gd name="T55" fmla="*/ 20 h 34"/>
                <a:gd name="T56" fmla="*/ 14 w 52"/>
                <a:gd name="T57" fmla="*/ 18 h 34"/>
                <a:gd name="T58" fmla="*/ 12 w 52"/>
                <a:gd name="T59" fmla="*/ 18 h 34"/>
                <a:gd name="T60" fmla="*/ 12 w 52"/>
                <a:gd name="T61" fmla="*/ 18 h 34"/>
                <a:gd name="T62" fmla="*/ 4 w 52"/>
                <a:gd name="T63" fmla="*/ 12 h 34"/>
                <a:gd name="T64" fmla="*/ 0 w 52"/>
                <a:gd name="T65" fmla="*/ 0 h 34"/>
                <a:gd name="T66" fmla="*/ 2 w 52"/>
                <a:gd name="T67" fmla="*/ 0 h 34"/>
                <a:gd name="T68" fmla="*/ 10 w 52"/>
                <a:gd name="T69" fmla="*/ 2 h 34"/>
                <a:gd name="T70" fmla="*/ 14 w 52"/>
                <a:gd name="T71" fmla="*/ 4 h 34"/>
                <a:gd name="T72" fmla="*/ 16 w 52"/>
                <a:gd name="T73" fmla="*/ 4 h 34"/>
                <a:gd name="T74" fmla="*/ 20 w 52"/>
                <a:gd name="T75" fmla="*/ 6 h 34"/>
                <a:gd name="T76" fmla="*/ 22 w 52"/>
                <a:gd name="T77" fmla="*/ 6 h 34"/>
                <a:gd name="T78" fmla="*/ 24 w 52"/>
                <a:gd name="T79" fmla="*/ 6 h 34"/>
                <a:gd name="T80" fmla="*/ 24 w 52"/>
                <a:gd name="T81" fmla="*/ 4 h 34"/>
                <a:gd name="T82" fmla="*/ 26 w 52"/>
                <a:gd name="T83" fmla="*/ 4 h 34"/>
                <a:gd name="T84" fmla="*/ 30 w 52"/>
                <a:gd name="T85" fmla="*/ 4 h 34"/>
                <a:gd name="T86" fmla="*/ 32 w 52"/>
                <a:gd name="T87" fmla="*/ 2 h 34"/>
                <a:gd name="T88" fmla="*/ 36 w 52"/>
                <a:gd name="T89" fmla="*/ 0 h 34"/>
                <a:gd name="T90" fmla="*/ 36 w 52"/>
                <a:gd name="T91" fmla="*/ 0 h 34"/>
                <a:gd name="T92" fmla="*/ 40 w 52"/>
                <a:gd name="T93" fmla="*/ 0 h 34"/>
                <a:gd name="T94" fmla="*/ 42 w 52"/>
                <a:gd name="T95" fmla="*/ 0 h 34"/>
                <a:gd name="T96" fmla="*/ 42 w 52"/>
                <a:gd name="T97" fmla="*/ 2 h 34"/>
                <a:gd name="T98" fmla="*/ 44 w 52"/>
                <a:gd name="T99" fmla="*/ 2 h 34"/>
                <a:gd name="T100" fmla="*/ 46 w 52"/>
                <a:gd name="T101" fmla="*/ 2 h 34"/>
                <a:gd name="T102" fmla="*/ 48 w 52"/>
                <a:gd name="T103" fmla="*/ 4 h 34"/>
                <a:gd name="T104" fmla="*/ 52 w 52"/>
                <a:gd name="T105" fmla="*/ 6 h 34"/>
                <a:gd name="T106" fmla="*/ 52 w 52"/>
                <a:gd name="T107" fmla="*/ 6 h 34"/>
                <a:gd name="T108" fmla="*/ 52 w 52"/>
                <a:gd name="T109"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 h="34">
                  <a:moveTo>
                    <a:pt x="52" y="8"/>
                  </a:moveTo>
                  <a:lnTo>
                    <a:pt x="52" y="8"/>
                  </a:lnTo>
                  <a:lnTo>
                    <a:pt x="50" y="10"/>
                  </a:lnTo>
                  <a:lnTo>
                    <a:pt x="48" y="12"/>
                  </a:lnTo>
                  <a:lnTo>
                    <a:pt x="46" y="16"/>
                  </a:lnTo>
                  <a:lnTo>
                    <a:pt x="44" y="16"/>
                  </a:lnTo>
                  <a:lnTo>
                    <a:pt x="44" y="18"/>
                  </a:lnTo>
                  <a:lnTo>
                    <a:pt x="42" y="18"/>
                  </a:lnTo>
                  <a:lnTo>
                    <a:pt x="42" y="18"/>
                  </a:lnTo>
                  <a:lnTo>
                    <a:pt x="38" y="20"/>
                  </a:lnTo>
                  <a:lnTo>
                    <a:pt x="34" y="22"/>
                  </a:lnTo>
                  <a:lnTo>
                    <a:pt x="32" y="22"/>
                  </a:lnTo>
                  <a:lnTo>
                    <a:pt x="30" y="24"/>
                  </a:lnTo>
                  <a:lnTo>
                    <a:pt x="30" y="24"/>
                  </a:lnTo>
                  <a:lnTo>
                    <a:pt x="28" y="24"/>
                  </a:lnTo>
                  <a:lnTo>
                    <a:pt x="26" y="28"/>
                  </a:lnTo>
                  <a:lnTo>
                    <a:pt x="24" y="30"/>
                  </a:lnTo>
                  <a:lnTo>
                    <a:pt x="24" y="32"/>
                  </a:lnTo>
                  <a:lnTo>
                    <a:pt x="20" y="34"/>
                  </a:lnTo>
                  <a:lnTo>
                    <a:pt x="20" y="32"/>
                  </a:lnTo>
                  <a:lnTo>
                    <a:pt x="20" y="28"/>
                  </a:lnTo>
                  <a:lnTo>
                    <a:pt x="18" y="26"/>
                  </a:lnTo>
                  <a:lnTo>
                    <a:pt x="18" y="24"/>
                  </a:lnTo>
                  <a:lnTo>
                    <a:pt x="18" y="22"/>
                  </a:lnTo>
                  <a:lnTo>
                    <a:pt x="18" y="22"/>
                  </a:lnTo>
                  <a:lnTo>
                    <a:pt x="18" y="20"/>
                  </a:lnTo>
                  <a:lnTo>
                    <a:pt x="16" y="20"/>
                  </a:lnTo>
                  <a:lnTo>
                    <a:pt x="16" y="20"/>
                  </a:lnTo>
                  <a:lnTo>
                    <a:pt x="14" y="18"/>
                  </a:lnTo>
                  <a:lnTo>
                    <a:pt x="12" y="18"/>
                  </a:lnTo>
                  <a:lnTo>
                    <a:pt x="12" y="18"/>
                  </a:lnTo>
                  <a:lnTo>
                    <a:pt x="4" y="12"/>
                  </a:lnTo>
                  <a:lnTo>
                    <a:pt x="0" y="0"/>
                  </a:lnTo>
                  <a:lnTo>
                    <a:pt x="2" y="0"/>
                  </a:lnTo>
                  <a:lnTo>
                    <a:pt x="10" y="2"/>
                  </a:lnTo>
                  <a:lnTo>
                    <a:pt x="14" y="4"/>
                  </a:lnTo>
                  <a:lnTo>
                    <a:pt x="16" y="4"/>
                  </a:lnTo>
                  <a:lnTo>
                    <a:pt x="20" y="6"/>
                  </a:lnTo>
                  <a:lnTo>
                    <a:pt x="22" y="6"/>
                  </a:lnTo>
                  <a:lnTo>
                    <a:pt x="24" y="6"/>
                  </a:lnTo>
                  <a:lnTo>
                    <a:pt x="24" y="4"/>
                  </a:lnTo>
                  <a:lnTo>
                    <a:pt x="26" y="4"/>
                  </a:lnTo>
                  <a:lnTo>
                    <a:pt x="30" y="4"/>
                  </a:lnTo>
                  <a:lnTo>
                    <a:pt x="32" y="2"/>
                  </a:lnTo>
                  <a:lnTo>
                    <a:pt x="36" y="0"/>
                  </a:lnTo>
                  <a:lnTo>
                    <a:pt x="36" y="0"/>
                  </a:lnTo>
                  <a:lnTo>
                    <a:pt x="40" y="0"/>
                  </a:lnTo>
                  <a:lnTo>
                    <a:pt x="42" y="0"/>
                  </a:lnTo>
                  <a:lnTo>
                    <a:pt x="42" y="2"/>
                  </a:lnTo>
                  <a:lnTo>
                    <a:pt x="44" y="2"/>
                  </a:lnTo>
                  <a:lnTo>
                    <a:pt x="46" y="2"/>
                  </a:lnTo>
                  <a:lnTo>
                    <a:pt x="48" y="4"/>
                  </a:lnTo>
                  <a:lnTo>
                    <a:pt x="52" y="6"/>
                  </a:lnTo>
                  <a:lnTo>
                    <a:pt x="52" y="6"/>
                  </a:lnTo>
                  <a:lnTo>
                    <a:pt x="52" y="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2" name="Freeform 340">
              <a:extLst>
                <a:ext uri="{FF2B5EF4-FFF2-40B4-BE49-F238E27FC236}">
                  <a16:creationId xmlns:a16="http://schemas.microsoft.com/office/drawing/2014/main" id="{EE797428-6B58-40A3-8A26-DA591803D262}"/>
                </a:ext>
              </a:extLst>
            </p:cNvPr>
            <p:cNvSpPr>
              <a:spLocks/>
            </p:cNvSpPr>
            <p:nvPr/>
          </p:nvSpPr>
          <p:spPr bwMode="auto">
            <a:xfrm>
              <a:off x="4577521" y="3229374"/>
              <a:ext cx="90068" cy="58891"/>
            </a:xfrm>
            <a:custGeom>
              <a:avLst/>
              <a:gdLst>
                <a:gd name="T0" fmla="*/ 52 w 52"/>
                <a:gd name="T1" fmla="*/ 8 h 34"/>
                <a:gd name="T2" fmla="*/ 52 w 52"/>
                <a:gd name="T3" fmla="*/ 8 h 34"/>
                <a:gd name="T4" fmla="*/ 50 w 52"/>
                <a:gd name="T5" fmla="*/ 10 h 34"/>
                <a:gd name="T6" fmla="*/ 48 w 52"/>
                <a:gd name="T7" fmla="*/ 12 h 34"/>
                <a:gd name="T8" fmla="*/ 46 w 52"/>
                <a:gd name="T9" fmla="*/ 16 h 34"/>
                <a:gd name="T10" fmla="*/ 44 w 52"/>
                <a:gd name="T11" fmla="*/ 16 h 34"/>
                <a:gd name="T12" fmla="*/ 44 w 52"/>
                <a:gd name="T13" fmla="*/ 18 h 34"/>
                <a:gd name="T14" fmla="*/ 42 w 52"/>
                <a:gd name="T15" fmla="*/ 18 h 34"/>
                <a:gd name="T16" fmla="*/ 42 w 52"/>
                <a:gd name="T17" fmla="*/ 18 h 34"/>
                <a:gd name="T18" fmla="*/ 38 w 52"/>
                <a:gd name="T19" fmla="*/ 20 h 34"/>
                <a:gd name="T20" fmla="*/ 34 w 52"/>
                <a:gd name="T21" fmla="*/ 22 h 34"/>
                <a:gd name="T22" fmla="*/ 32 w 52"/>
                <a:gd name="T23" fmla="*/ 22 h 34"/>
                <a:gd name="T24" fmla="*/ 30 w 52"/>
                <a:gd name="T25" fmla="*/ 24 h 34"/>
                <a:gd name="T26" fmla="*/ 30 w 52"/>
                <a:gd name="T27" fmla="*/ 24 h 34"/>
                <a:gd name="T28" fmla="*/ 28 w 52"/>
                <a:gd name="T29" fmla="*/ 24 h 34"/>
                <a:gd name="T30" fmla="*/ 26 w 52"/>
                <a:gd name="T31" fmla="*/ 28 h 34"/>
                <a:gd name="T32" fmla="*/ 24 w 52"/>
                <a:gd name="T33" fmla="*/ 30 h 34"/>
                <a:gd name="T34" fmla="*/ 24 w 52"/>
                <a:gd name="T35" fmla="*/ 32 h 34"/>
                <a:gd name="T36" fmla="*/ 20 w 52"/>
                <a:gd name="T37" fmla="*/ 34 h 34"/>
                <a:gd name="T38" fmla="*/ 20 w 52"/>
                <a:gd name="T39" fmla="*/ 32 h 34"/>
                <a:gd name="T40" fmla="*/ 20 w 52"/>
                <a:gd name="T41" fmla="*/ 28 h 34"/>
                <a:gd name="T42" fmla="*/ 18 w 52"/>
                <a:gd name="T43" fmla="*/ 26 h 34"/>
                <a:gd name="T44" fmla="*/ 18 w 52"/>
                <a:gd name="T45" fmla="*/ 24 h 34"/>
                <a:gd name="T46" fmla="*/ 18 w 52"/>
                <a:gd name="T47" fmla="*/ 22 h 34"/>
                <a:gd name="T48" fmla="*/ 18 w 52"/>
                <a:gd name="T49" fmla="*/ 22 h 34"/>
                <a:gd name="T50" fmla="*/ 18 w 52"/>
                <a:gd name="T51" fmla="*/ 20 h 34"/>
                <a:gd name="T52" fmla="*/ 16 w 52"/>
                <a:gd name="T53" fmla="*/ 20 h 34"/>
                <a:gd name="T54" fmla="*/ 16 w 52"/>
                <a:gd name="T55" fmla="*/ 20 h 34"/>
                <a:gd name="T56" fmla="*/ 14 w 52"/>
                <a:gd name="T57" fmla="*/ 18 h 34"/>
                <a:gd name="T58" fmla="*/ 12 w 52"/>
                <a:gd name="T59" fmla="*/ 18 h 34"/>
                <a:gd name="T60" fmla="*/ 12 w 52"/>
                <a:gd name="T61" fmla="*/ 18 h 34"/>
                <a:gd name="T62" fmla="*/ 4 w 52"/>
                <a:gd name="T63" fmla="*/ 12 h 34"/>
                <a:gd name="T64" fmla="*/ 0 w 52"/>
                <a:gd name="T65" fmla="*/ 0 h 34"/>
                <a:gd name="T66" fmla="*/ 2 w 52"/>
                <a:gd name="T67" fmla="*/ 0 h 34"/>
                <a:gd name="T68" fmla="*/ 10 w 52"/>
                <a:gd name="T69" fmla="*/ 2 h 34"/>
                <a:gd name="T70" fmla="*/ 14 w 52"/>
                <a:gd name="T71" fmla="*/ 4 h 34"/>
                <a:gd name="T72" fmla="*/ 16 w 52"/>
                <a:gd name="T73" fmla="*/ 4 h 34"/>
                <a:gd name="T74" fmla="*/ 20 w 52"/>
                <a:gd name="T75" fmla="*/ 6 h 34"/>
                <a:gd name="T76" fmla="*/ 22 w 52"/>
                <a:gd name="T77" fmla="*/ 6 h 34"/>
                <a:gd name="T78" fmla="*/ 24 w 52"/>
                <a:gd name="T79" fmla="*/ 6 h 34"/>
                <a:gd name="T80" fmla="*/ 24 w 52"/>
                <a:gd name="T81" fmla="*/ 4 h 34"/>
                <a:gd name="T82" fmla="*/ 26 w 52"/>
                <a:gd name="T83" fmla="*/ 4 h 34"/>
                <a:gd name="T84" fmla="*/ 30 w 52"/>
                <a:gd name="T85" fmla="*/ 4 h 34"/>
                <a:gd name="T86" fmla="*/ 32 w 52"/>
                <a:gd name="T87" fmla="*/ 2 h 34"/>
                <a:gd name="T88" fmla="*/ 36 w 52"/>
                <a:gd name="T89" fmla="*/ 0 h 34"/>
                <a:gd name="T90" fmla="*/ 36 w 52"/>
                <a:gd name="T91" fmla="*/ 0 h 34"/>
                <a:gd name="T92" fmla="*/ 40 w 52"/>
                <a:gd name="T93" fmla="*/ 0 h 34"/>
                <a:gd name="T94" fmla="*/ 42 w 52"/>
                <a:gd name="T95" fmla="*/ 0 h 34"/>
                <a:gd name="T96" fmla="*/ 42 w 52"/>
                <a:gd name="T97" fmla="*/ 2 h 34"/>
                <a:gd name="T98" fmla="*/ 44 w 52"/>
                <a:gd name="T99" fmla="*/ 2 h 34"/>
                <a:gd name="T100" fmla="*/ 46 w 52"/>
                <a:gd name="T101" fmla="*/ 2 h 34"/>
                <a:gd name="T102" fmla="*/ 48 w 52"/>
                <a:gd name="T103" fmla="*/ 4 h 34"/>
                <a:gd name="T104" fmla="*/ 52 w 52"/>
                <a:gd name="T105" fmla="*/ 6 h 34"/>
                <a:gd name="T106" fmla="*/ 52 w 52"/>
                <a:gd name="T107" fmla="*/ 6 h 34"/>
                <a:gd name="T108" fmla="*/ 52 w 52"/>
                <a:gd name="T109"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 h="34">
                  <a:moveTo>
                    <a:pt x="52" y="8"/>
                  </a:moveTo>
                  <a:lnTo>
                    <a:pt x="52" y="8"/>
                  </a:lnTo>
                  <a:lnTo>
                    <a:pt x="50" y="10"/>
                  </a:lnTo>
                  <a:lnTo>
                    <a:pt x="48" y="12"/>
                  </a:lnTo>
                  <a:lnTo>
                    <a:pt x="46" y="16"/>
                  </a:lnTo>
                  <a:lnTo>
                    <a:pt x="44" y="16"/>
                  </a:lnTo>
                  <a:lnTo>
                    <a:pt x="44" y="18"/>
                  </a:lnTo>
                  <a:lnTo>
                    <a:pt x="42" y="18"/>
                  </a:lnTo>
                  <a:lnTo>
                    <a:pt x="42" y="18"/>
                  </a:lnTo>
                  <a:lnTo>
                    <a:pt x="38" y="20"/>
                  </a:lnTo>
                  <a:lnTo>
                    <a:pt x="34" y="22"/>
                  </a:lnTo>
                  <a:lnTo>
                    <a:pt x="32" y="22"/>
                  </a:lnTo>
                  <a:lnTo>
                    <a:pt x="30" y="24"/>
                  </a:lnTo>
                  <a:lnTo>
                    <a:pt x="30" y="24"/>
                  </a:lnTo>
                  <a:lnTo>
                    <a:pt x="28" y="24"/>
                  </a:lnTo>
                  <a:lnTo>
                    <a:pt x="26" y="28"/>
                  </a:lnTo>
                  <a:lnTo>
                    <a:pt x="24" y="30"/>
                  </a:lnTo>
                  <a:lnTo>
                    <a:pt x="24" y="32"/>
                  </a:lnTo>
                  <a:lnTo>
                    <a:pt x="20" y="34"/>
                  </a:lnTo>
                  <a:lnTo>
                    <a:pt x="20" y="32"/>
                  </a:lnTo>
                  <a:lnTo>
                    <a:pt x="20" y="28"/>
                  </a:lnTo>
                  <a:lnTo>
                    <a:pt x="18" y="26"/>
                  </a:lnTo>
                  <a:lnTo>
                    <a:pt x="18" y="24"/>
                  </a:lnTo>
                  <a:lnTo>
                    <a:pt x="18" y="22"/>
                  </a:lnTo>
                  <a:lnTo>
                    <a:pt x="18" y="22"/>
                  </a:lnTo>
                  <a:lnTo>
                    <a:pt x="18" y="20"/>
                  </a:lnTo>
                  <a:lnTo>
                    <a:pt x="16" y="20"/>
                  </a:lnTo>
                  <a:lnTo>
                    <a:pt x="16" y="20"/>
                  </a:lnTo>
                  <a:lnTo>
                    <a:pt x="14" y="18"/>
                  </a:lnTo>
                  <a:lnTo>
                    <a:pt x="12" y="18"/>
                  </a:lnTo>
                  <a:lnTo>
                    <a:pt x="12" y="18"/>
                  </a:lnTo>
                  <a:lnTo>
                    <a:pt x="4" y="12"/>
                  </a:lnTo>
                  <a:lnTo>
                    <a:pt x="0" y="0"/>
                  </a:lnTo>
                  <a:lnTo>
                    <a:pt x="2" y="0"/>
                  </a:lnTo>
                  <a:lnTo>
                    <a:pt x="10" y="2"/>
                  </a:lnTo>
                  <a:lnTo>
                    <a:pt x="14" y="4"/>
                  </a:lnTo>
                  <a:lnTo>
                    <a:pt x="16" y="4"/>
                  </a:lnTo>
                  <a:lnTo>
                    <a:pt x="20" y="6"/>
                  </a:lnTo>
                  <a:lnTo>
                    <a:pt x="22" y="6"/>
                  </a:lnTo>
                  <a:lnTo>
                    <a:pt x="24" y="6"/>
                  </a:lnTo>
                  <a:lnTo>
                    <a:pt x="24" y="4"/>
                  </a:lnTo>
                  <a:lnTo>
                    <a:pt x="26" y="4"/>
                  </a:lnTo>
                  <a:lnTo>
                    <a:pt x="30" y="4"/>
                  </a:lnTo>
                  <a:lnTo>
                    <a:pt x="32" y="2"/>
                  </a:lnTo>
                  <a:lnTo>
                    <a:pt x="36" y="0"/>
                  </a:lnTo>
                  <a:lnTo>
                    <a:pt x="36" y="0"/>
                  </a:lnTo>
                  <a:lnTo>
                    <a:pt x="40" y="0"/>
                  </a:lnTo>
                  <a:lnTo>
                    <a:pt x="42" y="0"/>
                  </a:lnTo>
                  <a:lnTo>
                    <a:pt x="42" y="2"/>
                  </a:lnTo>
                  <a:lnTo>
                    <a:pt x="44" y="2"/>
                  </a:lnTo>
                  <a:lnTo>
                    <a:pt x="46" y="2"/>
                  </a:lnTo>
                  <a:lnTo>
                    <a:pt x="48" y="4"/>
                  </a:lnTo>
                  <a:lnTo>
                    <a:pt x="52" y="6"/>
                  </a:lnTo>
                  <a:lnTo>
                    <a:pt x="52" y="6"/>
                  </a:lnTo>
                  <a:lnTo>
                    <a:pt x="52" y="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3" name="Freeform 341">
              <a:extLst>
                <a:ext uri="{FF2B5EF4-FFF2-40B4-BE49-F238E27FC236}">
                  <a16:creationId xmlns:a16="http://schemas.microsoft.com/office/drawing/2014/main" id="{58DC770D-7DDC-4EB9-89B3-3145728AD6FA}"/>
                </a:ext>
              </a:extLst>
            </p:cNvPr>
            <p:cNvSpPr>
              <a:spLocks/>
            </p:cNvSpPr>
            <p:nvPr/>
          </p:nvSpPr>
          <p:spPr bwMode="auto">
            <a:xfrm>
              <a:off x="4612163" y="3239766"/>
              <a:ext cx="96996" cy="135102"/>
            </a:xfrm>
            <a:custGeom>
              <a:avLst/>
              <a:gdLst>
                <a:gd name="T0" fmla="*/ 56 w 56"/>
                <a:gd name="T1" fmla="*/ 18 h 78"/>
                <a:gd name="T2" fmla="*/ 46 w 56"/>
                <a:gd name="T3" fmla="*/ 20 h 78"/>
                <a:gd name="T4" fmla="*/ 40 w 56"/>
                <a:gd name="T5" fmla="*/ 20 h 78"/>
                <a:gd name="T6" fmla="*/ 34 w 56"/>
                <a:gd name="T7" fmla="*/ 22 h 78"/>
                <a:gd name="T8" fmla="*/ 28 w 56"/>
                <a:gd name="T9" fmla="*/ 24 h 78"/>
                <a:gd name="T10" fmla="*/ 24 w 56"/>
                <a:gd name="T11" fmla="*/ 26 h 78"/>
                <a:gd name="T12" fmla="*/ 22 w 56"/>
                <a:gd name="T13" fmla="*/ 30 h 78"/>
                <a:gd name="T14" fmla="*/ 20 w 56"/>
                <a:gd name="T15" fmla="*/ 30 h 78"/>
                <a:gd name="T16" fmla="*/ 20 w 56"/>
                <a:gd name="T17" fmla="*/ 32 h 78"/>
                <a:gd name="T18" fmla="*/ 22 w 56"/>
                <a:gd name="T19" fmla="*/ 36 h 78"/>
                <a:gd name="T20" fmla="*/ 24 w 56"/>
                <a:gd name="T21" fmla="*/ 40 h 78"/>
                <a:gd name="T22" fmla="*/ 26 w 56"/>
                <a:gd name="T23" fmla="*/ 46 h 78"/>
                <a:gd name="T24" fmla="*/ 30 w 56"/>
                <a:gd name="T25" fmla="*/ 50 h 78"/>
                <a:gd name="T26" fmla="*/ 32 w 56"/>
                <a:gd name="T27" fmla="*/ 52 h 78"/>
                <a:gd name="T28" fmla="*/ 38 w 56"/>
                <a:gd name="T29" fmla="*/ 56 h 78"/>
                <a:gd name="T30" fmla="*/ 42 w 56"/>
                <a:gd name="T31" fmla="*/ 56 h 78"/>
                <a:gd name="T32" fmla="*/ 44 w 56"/>
                <a:gd name="T33" fmla="*/ 58 h 78"/>
                <a:gd name="T34" fmla="*/ 46 w 56"/>
                <a:gd name="T35" fmla="*/ 62 h 78"/>
                <a:gd name="T36" fmla="*/ 48 w 56"/>
                <a:gd name="T37" fmla="*/ 66 h 78"/>
                <a:gd name="T38" fmla="*/ 50 w 56"/>
                <a:gd name="T39" fmla="*/ 72 h 78"/>
                <a:gd name="T40" fmla="*/ 52 w 56"/>
                <a:gd name="T41" fmla="*/ 74 h 78"/>
                <a:gd name="T42" fmla="*/ 52 w 56"/>
                <a:gd name="T43" fmla="*/ 76 h 78"/>
                <a:gd name="T44" fmla="*/ 50 w 56"/>
                <a:gd name="T45" fmla="*/ 78 h 78"/>
                <a:gd name="T46" fmla="*/ 48 w 56"/>
                <a:gd name="T47" fmla="*/ 76 h 78"/>
                <a:gd name="T48" fmla="*/ 46 w 56"/>
                <a:gd name="T49" fmla="*/ 74 h 78"/>
                <a:gd name="T50" fmla="*/ 44 w 56"/>
                <a:gd name="T51" fmla="*/ 68 h 78"/>
                <a:gd name="T52" fmla="*/ 40 w 56"/>
                <a:gd name="T53" fmla="*/ 64 h 78"/>
                <a:gd name="T54" fmla="*/ 38 w 56"/>
                <a:gd name="T55" fmla="*/ 62 h 78"/>
                <a:gd name="T56" fmla="*/ 34 w 56"/>
                <a:gd name="T57" fmla="*/ 60 h 78"/>
                <a:gd name="T58" fmla="*/ 28 w 56"/>
                <a:gd name="T59" fmla="*/ 56 h 78"/>
                <a:gd name="T60" fmla="*/ 26 w 56"/>
                <a:gd name="T61" fmla="*/ 56 h 78"/>
                <a:gd name="T62" fmla="*/ 18 w 56"/>
                <a:gd name="T63" fmla="*/ 52 h 78"/>
                <a:gd name="T64" fmla="*/ 16 w 56"/>
                <a:gd name="T65" fmla="*/ 52 h 78"/>
                <a:gd name="T66" fmla="*/ 14 w 56"/>
                <a:gd name="T67" fmla="*/ 50 h 78"/>
                <a:gd name="T68" fmla="*/ 14 w 56"/>
                <a:gd name="T69" fmla="*/ 50 h 78"/>
                <a:gd name="T70" fmla="*/ 12 w 56"/>
                <a:gd name="T71" fmla="*/ 48 h 78"/>
                <a:gd name="T72" fmla="*/ 14 w 56"/>
                <a:gd name="T73" fmla="*/ 44 h 78"/>
                <a:gd name="T74" fmla="*/ 14 w 56"/>
                <a:gd name="T75" fmla="*/ 42 h 78"/>
                <a:gd name="T76" fmla="*/ 14 w 56"/>
                <a:gd name="T77" fmla="*/ 40 h 78"/>
                <a:gd name="T78" fmla="*/ 12 w 56"/>
                <a:gd name="T79" fmla="*/ 40 h 78"/>
                <a:gd name="T80" fmla="*/ 10 w 56"/>
                <a:gd name="T81" fmla="*/ 38 h 78"/>
                <a:gd name="T82" fmla="*/ 8 w 56"/>
                <a:gd name="T83" fmla="*/ 36 h 78"/>
                <a:gd name="T84" fmla="*/ 4 w 56"/>
                <a:gd name="T85" fmla="*/ 34 h 78"/>
                <a:gd name="T86" fmla="*/ 2 w 56"/>
                <a:gd name="T87" fmla="*/ 32 h 78"/>
                <a:gd name="T88" fmla="*/ 0 w 56"/>
                <a:gd name="T89" fmla="*/ 32 h 78"/>
                <a:gd name="T90" fmla="*/ 0 w 56"/>
                <a:gd name="T91" fmla="*/ 30 h 78"/>
                <a:gd name="T92" fmla="*/ 2 w 56"/>
                <a:gd name="T93" fmla="*/ 26 h 78"/>
                <a:gd name="T94" fmla="*/ 6 w 56"/>
                <a:gd name="T95" fmla="*/ 22 h 78"/>
                <a:gd name="T96" fmla="*/ 10 w 56"/>
                <a:gd name="T97" fmla="*/ 18 h 78"/>
                <a:gd name="T98" fmla="*/ 12 w 56"/>
                <a:gd name="T99" fmla="*/ 16 h 78"/>
                <a:gd name="T100" fmla="*/ 18 w 56"/>
                <a:gd name="T101" fmla="*/ 14 h 78"/>
                <a:gd name="T102" fmla="*/ 22 w 56"/>
                <a:gd name="T103" fmla="*/ 12 h 78"/>
                <a:gd name="T104" fmla="*/ 24 w 56"/>
                <a:gd name="T105" fmla="*/ 10 h 78"/>
                <a:gd name="T106" fmla="*/ 28 w 56"/>
                <a:gd name="T107" fmla="*/ 8 h 78"/>
                <a:gd name="T108" fmla="*/ 32 w 56"/>
                <a:gd name="T109" fmla="*/ 2 h 78"/>
                <a:gd name="T110" fmla="*/ 32 w 56"/>
                <a:gd name="T111" fmla="*/ 0 h 78"/>
                <a:gd name="T112" fmla="*/ 38 w 56"/>
                <a:gd name="T113" fmla="*/ 2 h 78"/>
                <a:gd name="T114" fmla="*/ 40 w 56"/>
                <a:gd name="T115" fmla="*/ 4 h 78"/>
                <a:gd name="T116" fmla="*/ 48 w 56"/>
                <a:gd name="T117" fmla="*/ 6 h 78"/>
                <a:gd name="T118" fmla="*/ 56 w 56"/>
                <a:gd name="T119" fmla="*/ 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 h="78">
                  <a:moveTo>
                    <a:pt x="56" y="8"/>
                  </a:moveTo>
                  <a:lnTo>
                    <a:pt x="56" y="18"/>
                  </a:lnTo>
                  <a:lnTo>
                    <a:pt x="54" y="18"/>
                  </a:lnTo>
                  <a:lnTo>
                    <a:pt x="46" y="20"/>
                  </a:lnTo>
                  <a:lnTo>
                    <a:pt x="44" y="20"/>
                  </a:lnTo>
                  <a:lnTo>
                    <a:pt x="40" y="20"/>
                  </a:lnTo>
                  <a:lnTo>
                    <a:pt x="36" y="22"/>
                  </a:lnTo>
                  <a:lnTo>
                    <a:pt x="34" y="22"/>
                  </a:lnTo>
                  <a:lnTo>
                    <a:pt x="30" y="24"/>
                  </a:lnTo>
                  <a:lnTo>
                    <a:pt x="28" y="24"/>
                  </a:lnTo>
                  <a:lnTo>
                    <a:pt x="26" y="26"/>
                  </a:lnTo>
                  <a:lnTo>
                    <a:pt x="24" y="26"/>
                  </a:lnTo>
                  <a:lnTo>
                    <a:pt x="22" y="28"/>
                  </a:lnTo>
                  <a:lnTo>
                    <a:pt x="22" y="30"/>
                  </a:lnTo>
                  <a:lnTo>
                    <a:pt x="20" y="30"/>
                  </a:lnTo>
                  <a:lnTo>
                    <a:pt x="20" y="30"/>
                  </a:lnTo>
                  <a:lnTo>
                    <a:pt x="20" y="32"/>
                  </a:lnTo>
                  <a:lnTo>
                    <a:pt x="20" y="32"/>
                  </a:lnTo>
                  <a:lnTo>
                    <a:pt x="20" y="34"/>
                  </a:lnTo>
                  <a:lnTo>
                    <a:pt x="22" y="36"/>
                  </a:lnTo>
                  <a:lnTo>
                    <a:pt x="22" y="38"/>
                  </a:lnTo>
                  <a:lnTo>
                    <a:pt x="24" y="40"/>
                  </a:lnTo>
                  <a:lnTo>
                    <a:pt x="24" y="44"/>
                  </a:lnTo>
                  <a:lnTo>
                    <a:pt x="26" y="46"/>
                  </a:lnTo>
                  <a:lnTo>
                    <a:pt x="28" y="50"/>
                  </a:lnTo>
                  <a:lnTo>
                    <a:pt x="30" y="50"/>
                  </a:lnTo>
                  <a:lnTo>
                    <a:pt x="30" y="52"/>
                  </a:lnTo>
                  <a:lnTo>
                    <a:pt x="32" y="52"/>
                  </a:lnTo>
                  <a:lnTo>
                    <a:pt x="34" y="54"/>
                  </a:lnTo>
                  <a:lnTo>
                    <a:pt x="38" y="56"/>
                  </a:lnTo>
                  <a:lnTo>
                    <a:pt x="40" y="56"/>
                  </a:lnTo>
                  <a:lnTo>
                    <a:pt x="42" y="56"/>
                  </a:lnTo>
                  <a:lnTo>
                    <a:pt x="42" y="58"/>
                  </a:lnTo>
                  <a:lnTo>
                    <a:pt x="44" y="58"/>
                  </a:lnTo>
                  <a:lnTo>
                    <a:pt x="46" y="60"/>
                  </a:lnTo>
                  <a:lnTo>
                    <a:pt x="46" y="62"/>
                  </a:lnTo>
                  <a:lnTo>
                    <a:pt x="48" y="64"/>
                  </a:lnTo>
                  <a:lnTo>
                    <a:pt x="48" y="66"/>
                  </a:lnTo>
                  <a:lnTo>
                    <a:pt x="50" y="68"/>
                  </a:lnTo>
                  <a:lnTo>
                    <a:pt x="50" y="72"/>
                  </a:lnTo>
                  <a:lnTo>
                    <a:pt x="52" y="74"/>
                  </a:lnTo>
                  <a:lnTo>
                    <a:pt x="52" y="74"/>
                  </a:lnTo>
                  <a:lnTo>
                    <a:pt x="52" y="76"/>
                  </a:lnTo>
                  <a:lnTo>
                    <a:pt x="52" y="76"/>
                  </a:lnTo>
                  <a:lnTo>
                    <a:pt x="52" y="76"/>
                  </a:lnTo>
                  <a:lnTo>
                    <a:pt x="50" y="78"/>
                  </a:lnTo>
                  <a:lnTo>
                    <a:pt x="50" y="76"/>
                  </a:lnTo>
                  <a:lnTo>
                    <a:pt x="48" y="76"/>
                  </a:lnTo>
                  <a:lnTo>
                    <a:pt x="48" y="76"/>
                  </a:lnTo>
                  <a:lnTo>
                    <a:pt x="46" y="74"/>
                  </a:lnTo>
                  <a:lnTo>
                    <a:pt x="46" y="72"/>
                  </a:lnTo>
                  <a:lnTo>
                    <a:pt x="44" y="68"/>
                  </a:lnTo>
                  <a:lnTo>
                    <a:pt x="42" y="66"/>
                  </a:lnTo>
                  <a:lnTo>
                    <a:pt x="40" y="64"/>
                  </a:lnTo>
                  <a:lnTo>
                    <a:pt x="38" y="62"/>
                  </a:lnTo>
                  <a:lnTo>
                    <a:pt x="38" y="62"/>
                  </a:lnTo>
                  <a:lnTo>
                    <a:pt x="36" y="60"/>
                  </a:lnTo>
                  <a:lnTo>
                    <a:pt x="34" y="60"/>
                  </a:lnTo>
                  <a:lnTo>
                    <a:pt x="32" y="58"/>
                  </a:lnTo>
                  <a:lnTo>
                    <a:pt x="28" y="56"/>
                  </a:lnTo>
                  <a:lnTo>
                    <a:pt x="28" y="56"/>
                  </a:lnTo>
                  <a:lnTo>
                    <a:pt x="26" y="56"/>
                  </a:lnTo>
                  <a:lnTo>
                    <a:pt x="20" y="54"/>
                  </a:lnTo>
                  <a:lnTo>
                    <a:pt x="18" y="52"/>
                  </a:lnTo>
                  <a:lnTo>
                    <a:pt x="16" y="52"/>
                  </a:lnTo>
                  <a:lnTo>
                    <a:pt x="16" y="52"/>
                  </a:lnTo>
                  <a:lnTo>
                    <a:pt x="14" y="52"/>
                  </a:lnTo>
                  <a:lnTo>
                    <a:pt x="14" y="50"/>
                  </a:lnTo>
                  <a:lnTo>
                    <a:pt x="14" y="50"/>
                  </a:lnTo>
                  <a:lnTo>
                    <a:pt x="14" y="50"/>
                  </a:lnTo>
                  <a:lnTo>
                    <a:pt x="14" y="50"/>
                  </a:lnTo>
                  <a:lnTo>
                    <a:pt x="12" y="48"/>
                  </a:lnTo>
                  <a:lnTo>
                    <a:pt x="14" y="46"/>
                  </a:lnTo>
                  <a:lnTo>
                    <a:pt x="14" y="44"/>
                  </a:lnTo>
                  <a:lnTo>
                    <a:pt x="14" y="44"/>
                  </a:lnTo>
                  <a:lnTo>
                    <a:pt x="14" y="42"/>
                  </a:lnTo>
                  <a:lnTo>
                    <a:pt x="14" y="40"/>
                  </a:lnTo>
                  <a:lnTo>
                    <a:pt x="14" y="40"/>
                  </a:lnTo>
                  <a:lnTo>
                    <a:pt x="14" y="40"/>
                  </a:lnTo>
                  <a:lnTo>
                    <a:pt x="12" y="40"/>
                  </a:lnTo>
                  <a:lnTo>
                    <a:pt x="12" y="38"/>
                  </a:lnTo>
                  <a:lnTo>
                    <a:pt x="10" y="38"/>
                  </a:lnTo>
                  <a:lnTo>
                    <a:pt x="10" y="36"/>
                  </a:lnTo>
                  <a:lnTo>
                    <a:pt x="8" y="36"/>
                  </a:lnTo>
                  <a:lnTo>
                    <a:pt x="6" y="36"/>
                  </a:lnTo>
                  <a:lnTo>
                    <a:pt x="4" y="34"/>
                  </a:lnTo>
                  <a:lnTo>
                    <a:pt x="2" y="34"/>
                  </a:lnTo>
                  <a:lnTo>
                    <a:pt x="2" y="32"/>
                  </a:lnTo>
                  <a:lnTo>
                    <a:pt x="0" y="32"/>
                  </a:lnTo>
                  <a:lnTo>
                    <a:pt x="0" y="32"/>
                  </a:lnTo>
                  <a:lnTo>
                    <a:pt x="0" y="32"/>
                  </a:lnTo>
                  <a:lnTo>
                    <a:pt x="0" y="30"/>
                  </a:lnTo>
                  <a:lnTo>
                    <a:pt x="0" y="28"/>
                  </a:lnTo>
                  <a:lnTo>
                    <a:pt x="2" y="26"/>
                  </a:lnTo>
                  <a:lnTo>
                    <a:pt x="4" y="24"/>
                  </a:lnTo>
                  <a:lnTo>
                    <a:pt x="6" y="22"/>
                  </a:lnTo>
                  <a:lnTo>
                    <a:pt x="8" y="18"/>
                  </a:lnTo>
                  <a:lnTo>
                    <a:pt x="10" y="18"/>
                  </a:lnTo>
                  <a:lnTo>
                    <a:pt x="10" y="18"/>
                  </a:lnTo>
                  <a:lnTo>
                    <a:pt x="12" y="16"/>
                  </a:lnTo>
                  <a:lnTo>
                    <a:pt x="14" y="16"/>
                  </a:lnTo>
                  <a:lnTo>
                    <a:pt x="18" y="14"/>
                  </a:lnTo>
                  <a:lnTo>
                    <a:pt x="22" y="12"/>
                  </a:lnTo>
                  <a:lnTo>
                    <a:pt x="22" y="12"/>
                  </a:lnTo>
                  <a:lnTo>
                    <a:pt x="24" y="12"/>
                  </a:lnTo>
                  <a:lnTo>
                    <a:pt x="24" y="10"/>
                  </a:lnTo>
                  <a:lnTo>
                    <a:pt x="26" y="10"/>
                  </a:lnTo>
                  <a:lnTo>
                    <a:pt x="28" y="8"/>
                  </a:lnTo>
                  <a:lnTo>
                    <a:pt x="30" y="4"/>
                  </a:lnTo>
                  <a:lnTo>
                    <a:pt x="32" y="2"/>
                  </a:lnTo>
                  <a:lnTo>
                    <a:pt x="32" y="2"/>
                  </a:lnTo>
                  <a:lnTo>
                    <a:pt x="32" y="0"/>
                  </a:lnTo>
                  <a:lnTo>
                    <a:pt x="34" y="2"/>
                  </a:lnTo>
                  <a:lnTo>
                    <a:pt x="38" y="2"/>
                  </a:lnTo>
                  <a:lnTo>
                    <a:pt x="38" y="4"/>
                  </a:lnTo>
                  <a:lnTo>
                    <a:pt x="40" y="4"/>
                  </a:lnTo>
                  <a:lnTo>
                    <a:pt x="44" y="4"/>
                  </a:lnTo>
                  <a:lnTo>
                    <a:pt x="48" y="6"/>
                  </a:lnTo>
                  <a:lnTo>
                    <a:pt x="56" y="8"/>
                  </a:lnTo>
                  <a:lnTo>
                    <a:pt x="56" y="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4" name="Freeform 342">
              <a:extLst>
                <a:ext uri="{FF2B5EF4-FFF2-40B4-BE49-F238E27FC236}">
                  <a16:creationId xmlns:a16="http://schemas.microsoft.com/office/drawing/2014/main" id="{478B9EFE-50DB-4DF8-8DAA-5BF08136B1DA}"/>
                </a:ext>
              </a:extLst>
            </p:cNvPr>
            <p:cNvSpPr>
              <a:spLocks/>
            </p:cNvSpPr>
            <p:nvPr/>
          </p:nvSpPr>
          <p:spPr bwMode="auto">
            <a:xfrm>
              <a:off x="4612163" y="3239766"/>
              <a:ext cx="96996" cy="135102"/>
            </a:xfrm>
            <a:custGeom>
              <a:avLst/>
              <a:gdLst>
                <a:gd name="T0" fmla="*/ 56 w 56"/>
                <a:gd name="T1" fmla="*/ 18 h 78"/>
                <a:gd name="T2" fmla="*/ 46 w 56"/>
                <a:gd name="T3" fmla="*/ 20 h 78"/>
                <a:gd name="T4" fmla="*/ 40 w 56"/>
                <a:gd name="T5" fmla="*/ 20 h 78"/>
                <a:gd name="T6" fmla="*/ 34 w 56"/>
                <a:gd name="T7" fmla="*/ 22 h 78"/>
                <a:gd name="T8" fmla="*/ 28 w 56"/>
                <a:gd name="T9" fmla="*/ 24 h 78"/>
                <a:gd name="T10" fmla="*/ 24 w 56"/>
                <a:gd name="T11" fmla="*/ 26 h 78"/>
                <a:gd name="T12" fmla="*/ 22 w 56"/>
                <a:gd name="T13" fmla="*/ 30 h 78"/>
                <a:gd name="T14" fmla="*/ 20 w 56"/>
                <a:gd name="T15" fmla="*/ 30 h 78"/>
                <a:gd name="T16" fmla="*/ 20 w 56"/>
                <a:gd name="T17" fmla="*/ 32 h 78"/>
                <a:gd name="T18" fmla="*/ 22 w 56"/>
                <a:gd name="T19" fmla="*/ 36 h 78"/>
                <a:gd name="T20" fmla="*/ 24 w 56"/>
                <a:gd name="T21" fmla="*/ 40 h 78"/>
                <a:gd name="T22" fmla="*/ 26 w 56"/>
                <a:gd name="T23" fmla="*/ 46 h 78"/>
                <a:gd name="T24" fmla="*/ 30 w 56"/>
                <a:gd name="T25" fmla="*/ 50 h 78"/>
                <a:gd name="T26" fmla="*/ 32 w 56"/>
                <a:gd name="T27" fmla="*/ 52 h 78"/>
                <a:gd name="T28" fmla="*/ 38 w 56"/>
                <a:gd name="T29" fmla="*/ 56 h 78"/>
                <a:gd name="T30" fmla="*/ 42 w 56"/>
                <a:gd name="T31" fmla="*/ 56 h 78"/>
                <a:gd name="T32" fmla="*/ 44 w 56"/>
                <a:gd name="T33" fmla="*/ 58 h 78"/>
                <a:gd name="T34" fmla="*/ 46 w 56"/>
                <a:gd name="T35" fmla="*/ 62 h 78"/>
                <a:gd name="T36" fmla="*/ 48 w 56"/>
                <a:gd name="T37" fmla="*/ 66 h 78"/>
                <a:gd name="T38" fmla="*/ 50 w 56"/>
                <a:gd name="T39" fmla="*/ 72 h 78"/>
                <a:gd name="T40" fmla="*/ 52 w 56"/>
                <a:gd name="T41" fmla="*/ 74 h 78"/>
                <a:gd name="T42" fmla="*/ 52 w 56"/>
                <a:gd name="T43" fmla="*/ 76 h 78"/>
                <a:gd name="T44" fmla="*/ 50 w 56"/>
                <a:gd name="T45" fmla="*/ 78 h 78"/>
                <a:gd name="T46" fmla="*/ 48 w 56"/>
                <a:gd name="T47" fmla="*/ 76 h 78"/>
                <a:gd name="T48" fmla="*/ 46 w 56"/>
                <a:gd name="T49" fmla="*/ 74 h 78"/>
                <a:gd name="T50" fmla="*/ 44 w 56"/>
                <a:gd name="T51" fmla="*/ 68 h 78"/>
                <a:gd name="T52" fmla="*/ 40 w 56"/>
                <a:gd name="T53" fmla="*/ 64 h 78"/>
                <a:gd name="T54" fmla="*/ 38 w 56"/>
                <a:gd name="T55" fmla="*/ 62 h 78"/>
                <a:gd name="T56" fmla="*/ 34 w 56"/>
                <a:gd name="T57" fmla="*/ 60 h 78"/>
                <a:gd name="T58" fmla="*/ 28 w 56"/>
                <a:gd name="T59" fmla="*/ 56 h 78"/>
                <a:gd name="T60" fmla="*/ 26 w 56"/>
                <a:gd name="T61" fmla="*/ 56 h 78"/>
                <a:gd name="T62" fmla="*/ 18 w 56"/>
                <a:gd name="T63" fmla="*/ 52 h 78"/>
                <a:gd name="T64" fmla="*/ 16 w 56"/>
                <a:gd name="T65" fmla="*/ 52 h 78"/>
                <a:gd name="T66" fmla="*/ 14 w 56"/>
                <a:gd name="T67" fmla="*/ 50 h 78"/>
                <a:gd name="T68" fmla="*/ 14 w 56"/>
                <a:gd name="T69" fmla="*/ 50 h 78"/>
                <a:gd name="T70" fmla="*/ 12 w 56"/>
                <a:gd name="T71" fmla="*/ 48 h 78"/>
                <a:gd name="T72" fmla="*/ 14 w 56"/>
                <a:gd name="T73" fmla="*/ 44 h 78"/>
                <a:gd name="T74" fmla="*/ 14 w 56"/>
                <a:gd name="T75" fmla="*/ 42 h 78"/>
                <a:gd name="T76" fmla="*/ 14 w 56"/>
                <a:gd name="T77" fmla="*/ 40 h 78"/>
                <a:gd name="T78" fmla="*/ 12 w 56"/>
                <a:gd name="T79" fmla="*/ 40 h 78"/>
                <a:gd name="T80" fmla="*/ 10 w 56"/>
                <a:gd name="T81" fmla="*/ 38 h 78"/>
                <a:gd name="T82" fmla="*/ 8 w 56"/>
                <a:gd name="T83" fmla="*/ 36 h 78"/>
                <a:gd name="T84" fmla="*/ 4 w 56"/>
                <a:gd name="T85" fmla="*/ 34 h 78"/>
                <a:gd name="T86" fmla="*/ 2 w 56"/>
                <a:gd name="T87" fmla="*/ 32 h 78"/>
                <a:gd name="T88" fmla="*/ 0 w 56"/>
                <a:gd name="T89" fmla="*/ 32 h 78"/>
                <a:gd name="T90" fmla="*/ 0 w 56"/>
                <a:gd name="T91" fmla="*/ 30 h 78"/>
                <a:gd name="T92" fmla="*/ 2 w 56"/>
                <a:gd name="T93" fmla="*/ 26 h 78"/>
                <a:gd name="T94" fmla="*/ 6 w 56"/>
                <a:gd name="T95" fmla="*/ 22 h 78"/>
                <a:gd name="T96" fmla="*/ 10 w 56"/>
                <a:gd name="T97" fmla="*/ 18 h 78"/>
                <a:gd name="T98" fmla="*/ 12 w 56"/>
                <a:gd name="T99" fmla="*/ 16 h 78"/>
                <a:gd name="T100" fmla="*/ 18 w 56"/>
                <a:gd name="T101" fmla="*/ 14 h 78"/>
                <a:gd name="T102" fmla="*/ 22 w 56"/>
                <a:gd name="T103" fmla="*/ 12 h 78"/>
                <a:gd name="T104" fmla="*/ 24 w 56"/>
                <a:gd name="T105" fmla="*/ 10 h 78"/>
                <a:gd name="T106" fmla="*/ 28 w 56"/>
                <a:gd name="T107" fmla="*/ 8 h 78"/>
                <a:gd name="T108" fmla="*/ 32 w 56"/>
                <a:gd name="T109" fmla="*/ 2 h 78"/>
                <a:gd name="T110" fmla="*/ 32 w 56"/>
                <a:gd name="T111" fmla="*/ 0 h 78"/>
                <a:gd name="T112" fmla="*/ 38 w 56"/>
                <a:gd name="T113" fmla="*/ 2 h 78"/>
                <a:gd name="T114" fmla="*/ 40 w 56"/>
                <a:gd name="T115" fmla="*/ 4 h 78"/>
                <a:gd name="T116" fmla="*/ 48 w 56"/>
                <a:gd name="T117" fmla="*/ 6 h 78"/>
                <a:gd name="T118" fmla="*/ 56 w 56"/>
                <a:gd name="T119" fmla="*/ 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 h="78">
                  <a:moveTo>
                    <a:pt x="56" y="8"/>
                  </a:moveTo>
                  <a:lnTo>
                    <a:pt x="56" y="18"/>
                  </a:lnTo>
                  <a:lnTo>
                    <a:pt x="54" y="18"/>
                  </a:lnTo>
                  <a:lnTo>
                    <a:pt x="46" y="20"/>
                  </a:lnTo>
                  <a:lnTo>
                    <a:pt x="44" y="20"/>
                  </a:lnTo>
                  <a:lnTo>
                    <a:pt x="40" y="20"/>
                  </a:lnTo>
                  <a:lnTo>
                    <a:pt x="36" y="22"/>
                  </a:lnTo>
                  <a:lnTo>
                    <a:pt x="34" y="22"/>
                  </a:lnTo>
                  <a:lnTo>
                    <a:pt x="30" y="24"/>
                  </a:lnTo>
                  <a:lnTo>
                    <a:pt x="28" y="24"/>
                  </a:lnTo>
                  <a:lnTo>
                    <a:pt x="26" y="26"/>
                  </a:lnTo>
                  <a:lnTo>
                    <a:pt x="24" y="26"/>
                  </a:lnTo>
                  <a:lnTo>
                    <a:pt x="22" y="28"/>
                  </a:lnTo>
                  <a:lnTo>
                    <a:pt x="22" y="30"/>
                  </a:lnTo>
                  <a:lnTo>
                    <a:pt x="20" y="30"/>
                  </a:lnTo>
                  <a:lnTo>
                    <a:pt x="20" y="30"/>
                  </a:lnTo>
                  <a:lnTo>
                    <a:pt x="20" y="32"/>
                  </a:lnTo>
                  <a:lnTo>
                    <a:pt x="20" y="32"/>
                  </a:lnTo>
                  <a:lnTo>
                    <a:pt x="20" y="34"/>
                  </a:lnTo>
                  <a:lnTo>
                    <a:pt x="22" y="36"/>
                  </a:lnTo>
                  <a:lnTo>
                    <a:pt x="22" y="38"/>
                  </a:lnTo>
                  <a:lnTo>
                    <a:pt x="24" y="40"/>
                  </a:lnTo>
                  <a:lnTo>
                    <a:pt x="24" y="44"/>
                  </a:lnTo>
                  <a:lnTo>
                    <a:pt x="26" y="46"/>
                  </a:lnTo>
                  <a:lnTo>
                    <a:pt x="28" y="50"/>
                  </a:lnTo>
                  <a:lnTo>
                    <a:pt x="30" y="50"/>
                  </a:lnTo>
                  <a:lnTo>
                    <a:pt x="30" y="52"/>
                  </a:lnTo>
                  <a:lnTo>
                    <a:pt x="32" y="52"/>
                  </a:lnTo>
                  <a:lnTo>
                    <a:pt x="34" y="54"/>
                  </a:lnTo>
                  <a:lnTo>
                    <a:pt x="38" y="56"/>
                  </a:lnTo>
                  <a:lnTo>
                    <a:pt x="40" y="56"/>
                  </a:lnTo>
                  <a:lnTo>
                    <a:pt x="42" y="56"/>
                  </a:lnTo>
                  <a:lnTo>
                    <a:pt x="42" y="58"/>
                  </a:lnTo>
                  <a:lnTo>
                    <a:pt x="44" y="58"/>
                  </a:lnTo>
                  <a:lnTo>
                    <a:pt x="46" y="60"/>
                  </a:lnTo>
                  <a:lnTo>
                    <a:pt x="46" y="62"/>
                  </a:lnTo>
                  <a:lnTo>
                    <a:pt x="48" y="64"/>
                  </a:lnTo>
                  <a:lnTo>
                    <a:pt x="48" y="66"/>
                  </a:lnTo>
                  <a:lnTo>
                    <a:pt x="50" y="68"/>
                  </a:lnTo>
                  <a:lnTo>
                    <a:pt x="50" y="72"/>
                  </a:lnTo>
                  <a:lnTo>
                    <a:pt x="52" y="74"/>
                  </a:lnTo>
                  <a:lnTo>
                    <a:pt x="52" y="74"/>
                  </a:lnTo>
                  <a:lnTo>
                    <a:pt x="52" y="76"/>
                  </a:lnTo>
                  <a:lnTo>
                    <a:pt x="52" y="76"/>
                  </a:lnTo>
                  <a:lnTo>
                    <a:pt x="52" y="76"/>
                  </a:lnTo>
                  <a:lnTo>
                    <a:pt x="50" y="78"/>
                  </a:lnTo>
                  <a:lnTo>
                    <a:pt x="50" y="76"/>
                  </a:lnTo>
                  <a:lnTo>
                    <a:pt x="48" y="76"/>
                  </a:lnTo>
                  <a:lnTo>
                    <a:pt x="48" y="76"/>
                  </a:lnTo>
                  <a:lnTo>
                    <a:pt x="46" y="74"/>
                  </a:lnTo>
                  <a:lnTo>
                    <a:pt x="46" y="72"/>
                  </a:lnTo>
                  <a:lnTo>
                    <a:pt x="44" y="68"/>
                  </a:lnTo>
                  <a:lnTo>
                    <a:pt x="42" y="66"/>
                  </a:lnTo>
                  <a:lnTo>
                    <a:pt x="40" y="64"/>
                  </a:lnTo>
                  <a:lnTo>
                    <a:pt x="38" y="62"/>
                  </a:lnTo>
                  <a:lnTo>
                    <a:pt x="38" y="62"/>
                  </a:lnTo>
                  <a:lnTo>
                    <a:pt x="36" y="60"/>
                  </a:lnTo>
                  <a:lnTo>
                    <a:pt x="34" y="60"/>
                  </a:lnTo>
                  <a:lnTo>
                    <a:pt x="32" y="58"/>
                  </a:lnTo>
                  <a:lnTo>
                    <a:pt x="28" y="56"/>
                  </a:lnTo>
                  <a:lnTo>
                    <a:pt x="28" y="56"/>
                  </a:lnTo>
                  <a:lnTo>
                    <a:pt x="26" y="56"/>
                  </a:lnTo>
                  <a:lnTo>
                    <a:pt x="20" y="54"/>
                  </a:lnTo>
                  <a:lnTo>
                    <a:pt x="18" y="52"/>
                  </a:lnTo>
                  <a:lnTo>
                    <a:pt x="16" y="52"/>
                  </a:lnTo>
                  <a:lnTo>
                    <a:pt x="16" y="52"/>
                  </a:lnTo>
                  <a:lnTo>
                    <a:pt x="14" y="52"/>
                  </a:lnTo>
                  <a:lnTo>
                    <a:pt x="14" y="50"/>
                  </a:lnTo>
                  <a:lnTo>
                    <a:pt x="14" y="50"/>
                  </a:lnTo>
                  <a:lnTo>
                    <a:pt x="14" y="50"/>
                  </a:lnTo>
                  <a:lnTo>
                    <a:pt x="14" y="50"/>
                  </a:lnTo>
                  <a:lnTo>
                    <a:pt x="12" y="48"/>
                  </a:lnTo>
                  <a:lnTo>
                    <a:pt x="14" y="46"/>
                  </a:lnTo>
                  <a:lnTo>
                    <a:pt x="14" y="44"/>
                  </a:lnTo>
                  <a:lnTo>
                    <a:pt x="14" y="44"/>
                  </a:lnTo>
                  <a:lnTo>
                    <a:pt x="14" y="42"/>
                  </a:lnTo>
                  <a:lnTo>
                    <a:pt x="14" y="40"/>
                  </a:lnTo>
                  <a:lnTo>
                    <a:pt x="14" y="40"/>
                  </a:lnTo>
                  <a:lnTo>
                    <a:pt x="14" y="40"/>
                  </a:lnTo>
                  <a:lnTo>
                    <a:pt x="12" y="40"/>
                  </a:lnTo>
                  <a:lnTo>
                    <a:pt x="12" y="38"/>
                  </a:lnTo>
                  <a:lnTo>
                    <a:pt x="10" y="38"/>
                  </a:lnTo>
                  <a:lnTo>
                    <a:pt x="10" y="36"/>
                  </a:lnTo>
                  <a:lnTo>
                    <a:pt x="8" y="36"/>
                  </a:lnTo>
                  <a:lnTo>
                    <a:pt x="6" y="36"/>
                  </a:lnTo>
                  <a:lnTo>
                    <a:pt x="4" y="34"/>
                  </a:lnTo>
                  <a:lnTo>
                    <a:pt x="2" y="34"/>
                  </a:lnTo>
                  <a:lnTo>
                    <a:pt x="2" y="32"/>
                  </a:lnTo>
                  <a:lnTo>
                    <a:pt x="0" y="32"/>
                  </a:lnTo>
                  <a:lnTo>
                    <a:pt x="0" y="32"/>
                  </a:lnTo>
                  <a:lnTo>
                    <a:pt x="0" y="32"/>
                  </a:lnTo>
                  <a:lnTo>
                    <a:pt x="0" y="30"/>
                  </a:lnTo>
                  <a:lnTo>
                    <a:pt x="0" y="28"/>
                  </a:lnTo>
                  <a:lnTo>
                    <a:pt x="2" y="26"/>
                  </a:lnTo>
                  <a:lnTo>
                    <a:pt x="4" y="24"/>
                  </a:lnTo>
                  <a:lnTo>
                    <a:pt x="6" y="22"/>
                  </a:lnTo>
                  <a:lnTo>
                    <a:pt x="8" y="18"/>
                  </a:lnTo>
                  <a:lnTo>
                    <a:pt x="10" y="18"/>
                  </a:lnTo>
                  <a:lnTo>
                    <a:pt x="10" y="18"/>
                  </a:lnTo>
                  <a:lnTo>
                    <a:pt x="12" y="16"/>
                  </a:lnTo>
                  <a:lnTo>
                    <a:pt x="14" y="16"/>
                  </a:lnTo>
                  <a:lnTo>
                    <a:pt x="18" y="14"/>
                  </a:lnTo>
                  <a:lnTo>
                    <a:pt x="22" y="12"/>
                  </a:lnTo>
                  <a:lnTo>
                    <a:pt x="22" y="12"/>
                  </a:lnTo>
                  <a:lnTo>
                    <a:pt x="24" y="12"/>
                  </a:lnTo>
                  <a:lnTo>
                    <a:pt x="24" y="10"/>
                  </a:lnTo>
                  <a:lnTo>
                    <a:pt x="26" y="10"/>
                  </a:lnTo>
                  <a:lnTo>
                    <a:pt x="28" y="8"/>
                  </a:lnTo>
                  <a:lnTo>
                    <a:pt x="30" y="4"/>
                  </a:lnTo>
                  <a:lnTo>
                    <a:pt x="32" y="2"/>
                  </a:lnTo>
                  <a:lnTo>
                    <a:pt x="32" y="2"/>
                  </a:lnTo>
                  <a:lnTo>
                    <a:pt x="32" y="0"/>
                  </a:lnTo>
                  <a:lnTo>
                    <a:pt x="34" y="2"/>
                  </a:lnTo>
                  <a:lnTo>
                    <a:pt x="38" y="2"/>
                  </a:lnTo>
                  <a:lnTo>
                    <a:pt x="38" y="4"/>
                  </a:lnTo>
                  <a:lnTo>
                    <a:pt x="40" y="4"/>
                  </a:lnTo>
                  <a:lnTo>
                    <a:pt x="44" y="4"/>
                  </a:lnTo>
                  <a:lnTo>
                    <a:pt x="48" y="6"/>
                  </a:lnTo>
                  <a:lnTo>
                    <a:pt x="56" y="8"/>
                  </a:lnTo>
                  <a:lnTo>
                    <a:pt x="56" y="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5" name="Freeform 343">
              <a:extLst>
                <a:ext uri="{FF2B5EF4-FFF2-40B4-BE49-F238E27FC236}">
                  <a16:creationId xmlns:a16="http://schemas.microsoft.com/office/drawing/2014/main" id="{483589C5-A666-481F-9976-6E397A6C6851}"/>
                </a:ext>
              </a:extLst>
            </p:cNvPr>
            <p:cNvSpPr>
              <a:spLocks/>
            </p:cNvSpPr>
            <p:nvPr/>
          </p:nvSpPr>
          <p:spPr bwMode="auto">
            <a:xfrm>
              <a:off x="4764585" y="3381796"/>
              <a:ext cx="45034" cy="38106"/>
            </a:xfrm>
            <a:custGeom>
              <a:avLst/>
              <a:gdLst>
                <a:gd name="T0" fmla="*/ 26 w 26"/>
                <a:gd name="T1" fmla="*/ 0 h 22"/>
                <a:gd name="T2" fmla="*/ 26 w 26"/>
                <a:gd name="T3" fmla="*/ 10 h 22"/>
                <a:gd name="T4" fmla="*/ 24 w 26"/>
                <a:gd name="T5" fmla="*/ 12 h 22"/>
                <a:gd name="T6" fmla="*/ 22 w 26"/>
                <a:gd name="T7" fmla="*/ 16 h 22"/>
                <a:gd name="T8" fmla="*/ 18 w 26"/>
                <a:gd name="T9" fmla="*/ 18 h 22"/>
                <a:gd name="T10" fmla="*/ 16 w 26"/>
                <a:gd name="T11" fmla="*/ 20 h 22"/>
                <a:gd name="T12" fmla="*/ 14 w 26"/>
                <a:gd name="T13" fmla="*/ 22 h 22"/>
                <a:gd name="T14" fmla="*/ 14 w 26"/>
                <a:gd name="T15" fmla="*/ 22 h 22"/>
                <a:gd name="T16" fmla="*/ 12 w 26"/>
                <a:gd name="T17" fmla="*/ 22 h 22"/>
                <a:gd name="T18" fmla="*/ 12 w 26"/>
                <a:gd name="T19" fmla="*/ 22 h 22"/>
                <a:gd name="T20" fmla="*/ 12 w 26"/>
                <a:gd name="T21" fmla="*/ 22 h 22"/>
                <a:gd name="T22" fmla="*/ 10 w 26"/>
                <a:gd name="T23" fmla="*/ 22 h 22"/>
                <a:gd name="T24" fmla="*/ 8 w 26"/>
                <a:gd name="T25" fmla="*/ 22 h 22"/>
                <a:gd name="T26" fmla="*/ 6 w 26"/>
                <a:gd name="T27" fmla="*/ 20 h 22"/>
                <a:gd name="T28" fmla="*/ 2 w 26"/>
                <a:gd name="T29" fmla="*/ 20 h 22"/>
                <a:gd name="T30" fmla="*/ 2 w 26"/>
                <a:gd name="T31" fmla="*/ 18 h 22"/>
                <a:gd name="T32" fmla="*/ 0 w 26"/>
                <a:gd name="T33" fmla="*/ 8 h 22"/>
                <a:gd name="T34" fmla="*/ 12 w 26"/>
                <a:gd name="T35" fmla="*/ 6 h 22"/>
                <a:gd name="T36" fmla="*/ 16 w 26"/>
                <a:gd name="T37" fmla="*/ 2 h 22"/>
                <a:gd name="T38" fmla="*/ 18 w 26"/>
                <a:gd name="T39" fmla="*/ 2 h 22"/>
                <a:gd name="T40" fmla="*/ 20 w 26"/>
                <a:gd name="T41" fmla="*/ 0 h 22"/>
                <a:gd name="T42" fmla="*/ 20 w 26"/>
                <a:gd name="T43" fmla="*/ 0 h 22"/>
                <a:gd name="T44" fmla="*/ 22 w 26"/>
                <a:gd name="T45" fmla="*/ 0 h 22"/>
                <a:gd name="T46" fmla="*/ 24 w 26"/>
                <a:gd name="T47" fmla="*/ 0 h 22"/>
                <a:gd name="T48" fmla="*/ 24 w 26"/>
                <a:gd name="T49" fmla="*/ 0 h 22"/>
                <a:gd name="T50" fmla="*/ 26 w 26"/>
                <a:gd name="T5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22">
                  <a:moveTo>
                    <a:pt x="26" y="0"/>
                  </a:moveTo>
                  <a:lnTo>
                    <a:pt x="26" y="10"/>
                  </a:lnTo>
                  <a:lnTo>
                    <a:pt x="24" y="12"/>
                  </a:lnTo>
                  <a:lnTo>
                    <a:pt x="22" y="16"/>
                  </a:lnTo>
                  <a:lnTo>
                    <a:pt x="18" y="18"/>
                  </a:lnTo>
                  <a:lnTo>
                    <a:pt x="16" y="20"/>
                  </a:lnTo>
                  <a:lnTo>
                    <a:pt x="14" y="22"/>
                  </a:lnTo>
                  <a:lnTo>
                    <a:pt x="14" y="22"/>
                  </a:lnTo>
                  <a:lnTo>
                    <a:pt x="12" y="22"/>
                  </a:lnTo>
                  <a:lnTo>
                    <a:pt x="12" y="22"/>
                  </a:lnTo>
                  <a:lnTo>
                    <a:pt x="12" y="22"/>
                  </a:lnTo>
                  <a:lnTo>
                    <a:pt x="10" y="22"/>
                  </a:lnTo>
                  <a:lnTo>
                    <a:pt x="8" y="22"/>
                  </a:lnTo>
                  <a:lnTo>
                    <a:pt x="6" y="20"/>
                  </a:lnTo>
                  <a:lnTo>
                    <a:pt x="2" y="20"/>
                  </a:lnTo>
                  <a:lnTo>
                    <a:pt x="2" y="18"/>
                  </a:lnTo>
                  <a:lnTo>
                    <a:pt x="0" y="8"/>
                  </a:lnTo>
                  <a:lnTo>
                    <a:pt x="12" y="6"/>
                  </a:lnTo>
                  <a:lnTo>
                    <a:pt x="16" y="2"/>
                  </a:lnTo>
                  <a:lnTo>
                    <a:pt x="18" y="2"/>
                  </a:lnTo>
                  <a:lnTo>
                    <a:pt x="20" y="0"/>
                  </a:lnTo>
                  <a:lnTo>
                    <a:pt x="20" y="0"/>
                  </a:lnTo>
                  <a:lnTo>
                    <a:pt x="22" y="0"/>
                  </a:lnTo>
                  <a:lnTo>
                    <a:pt x="24" y="0"/>
                  </a:lnTo>
                  <a:lnTo>
                    <a:pt x="24" y="0"/>
                  </a:lnTo>
                  <a:lnTo>
                    <a:pt x="26"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6" name="Freeform 344">
              <a:extLst>
                <a:ext uri="{FF2B5EF4-FFF2-40B4-BE49-F238E27FC236}">
                  <a16:creationId xmlns:a16="http://schemas.microsoft.com/office/drawing/2014/main" id="{6D3FB2FA-7E50-44D6-8BB3-BCD960262825}"/>
                </a:ext>
              </a:extLst>
            </p:cNvPr>
            <p:cNvSpPr>
              <a:spLocks/>
            </p:cNvSpPr>
            <p:nvPr/>
          </p:nvSpPr>
          <p:spPr bwMode="auto">
            <a:xfrm>
              <a:off x="4764585" y="3381796"/>
              <a:ext cx="45034" cy="38106"/>
            </a:xfrm>
            <a:custGeom>
              <a:avLst/>
              <a:gdLst>
                <a:gd name="T0" fmla="*/ 26 w 26"/>
                <a:gd name="T1" fmla="*/ 0 h 22"/>
                <a:gd name="T2" fmla="*/ 26 w 26"/>
                <a:gd name="T3" fmla="*/ 10 h 22"/>
                <a:gd name="T4" fmla="*/ 24 w 26"/>
                <a:gd name="T5" fmla="*/ 12 h 22"/>
                <a:gd name="T6" fmla="*/ 22 w 26"/>
                <a:gd name="T7" fmla="*/ 16 h 22"/>
                <a:gd name="T8" fmla="*/ 18 w 26"/>
                <a:gd name="T9" fmla="*/ 18 h 22"/>
                <a:gd name="T10" fmla="*/ 16 w 26"/>
                <a:gd name="T11" fmla="*/ 20 h 22"/>
                <a:gd name="T12" fmla="*/ 14 w 26"/>
                <a:gd name="T13" fmla="*/ 22 h 22"/>
                <a:gd name="T14" fmla="*/ 14 w 26"/>
                <a:gd name="T15" fmla="*/ 22 h 22"/>
                <a:gd name="T16" fmla="*/ 12 w 26"/>
                <a:gd name="T17" fmla="*/ 22 h 22"/>
                <a:gd name="T18" fmla="*/ 12 w 26"/>
                <a:gd name="T19" fmla="*/ 22 h 22"/>
                <a:gd name="T20" fmla="*/ 12 w 26"/>
                <a:gd name="T21" fmla="*/ 22 h 22"/>
                <a:gd name="T22" fmla="*/ 10 w 26"/>
                <a:gd name="T23" fmla="*/ 22 h 22"/>
                <a:gd name="T24" fmla="*/ 8 w 26"/>
                <a:gd name="T25" fmla="*/ 22 h 22"/>
                <a:gd name="T26" fmla="*/ 6 w 26"/>
                <a:gd name="T27" fmla="*/ 20 h 22"/>
                <a:gd name="T28" fmla="*/ 2 w 26"/>
                <a:gd name="T29" fmla="*/ 20 h 22"/>
                <a:gd name="T30" fmla="*/ 2 w 26"/>
                <a:gd name="T31" fmla="*/ 18 h 22"/>
                <a:gd name="T32" fmla="*/ 0 w 26"/>
                <a:gd name="T33" fmla="*/ 8 h 22"/>
                <a:gd name="T34" fmla="*/ 12 w 26"/>
                <a:gd name="T35" fmla="*/ 6 h 22"/>
                <a:gd name="T36" fmla="*/ 16 w 26"/>
                <a:gd name="T37" fmla="*/ 2 h 22"/>
                <a:gd name="T38" fmla="*/ 18 w 26"/>
                <a:gd name="T39" fmla="*/ 2 h 22"/>
                <a:gd name="T40" fmla="*/ 20 w 26"/>
                <a:gd name="T41" fmla="*/ 0 h 22"/>
                <a:gd name="T42" fmla="*/ 20 w 26"/>
                <a:gd name="T43" fmla="*/ 0 h 22"/>
                <a:gd name="T44" fmla="*/ 22 w 26"/>
                <a:gd name="T45" fmla="*/ 0 h 22"/>
                <a:gd name="T46" fmla="*/ 24 w 26"/>
                <a:gd name="T47" fmla="*/ 0 h 22"/>
                <a:gd name="T48" fmla="*/ 24 w 26"/>
                <a:gd name="T49" fmla="*/ 0 h 22"/>
                <a:gd name="T50" fmla="*/ 26 w 26"/>
                <a:gd name="T5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22">
                  <a:moveTo>
                    <a:pt x="26" y="0"/>
                  </a:moveTo>
                  <a:lnTo>
                    <a:pt x="26" y="10"/>
                  </a:lnTo>
                  <a:lnTo>
                    <a:pt x="24" y="12"/>
                  </a:lnTo>
                  <a:lnTo>
                    <a:pt x="22" y="16"/>
                  </a:lnTo>
                  <a:lnTo>
                    <a:pt x="18" y="18"/>
                  </a:lnTo>
                  <a:lnTo>
                    <a:pt x="16" y="20"/>
                  </a:lnTo>
                  <a:lnTo>
                    <a:pt x="14" y="22"/>
                  </a:lnTo>
                  <a:lnTo>
                    <a:pt x="14" y="22"/>
                  </a:lnTo>
                  <a:lnTo>
                    <a:pt x="12" y="22"/>
                  </a:lnTo>
                  <a:lnTo>
                    <a:pt x="12" y="22"/>
                  </a:lnTo>
                  <a:lnTo>
                    <a:pt x="12" y="22"/>
                  </a:lnTo>
                  <a:lnTo>
                    <a:pt x="10" y="22"/>
                  </a:lnTo>
                  <a:lnTo>
                    <a:pt x="8" y="22"/>
                  </a:lnTo>
                  <a:lnTo>
                    <a:pt x="6" y="20"/>
                  </a:lnTo>
                  <a:lnTo>
                    <a:pt x="2" y="20"/>
                  </a:lnTo>
                  <a:lnTo>
                    <a:pt x="2" y="18"/>
                  </a:lnTo>
                  <a:lnTo>
                    <a:pt x="0" y="8"/>
                  </a:lnTo>
                  <a:lnTo>
                    <a:pt x="12" y="6"/>
                  </a:lnTo>
                  <a:lnTo>
                    <a:pt x="16" y="2"/>
                  </a:lnTo>
                  <a:lnTo>
                    <a:pt x="18" y="2"/>
                  </a:lnTo>
                  <a:lnTo>
                    <a:pt x="20" y="0"/>
                  </a:lnTo>
                  <a:lnTo>
                    <a:pt x="20" y="0"/>
                  </a:lnTo>
                  <a:lnTo>
                    <a:pt x="22" y="0"/>
                  </a:lnTo>
                  <a:lnTo>
                    <a:pt x="24" y="0"/>
                  </a:lnTo>
                  <a:lnTo>
                    <a:pt x="24" y="0"/>
                  </a:lnTo>
                  <a:lnTo>
                    <a:pt x="26"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7" name="Freeform 345">
              <a:extLst>
                <a:ext uri="{FF2B5EF4-FFF2-40B4-BE49-F238E27FC236}">
                  <a16:creationId xmlns:a16="http://schemas.microsoft.com/office/drawing/2014/main" id="{03D3841E-F279-47BA-83DB-418CFF148029}"/>
                </a:ext>
              </a:extLst>
            </p:cNvPr>
            <p:cNvSpPr>
              <a:spLocks/>
            </p:cNvSpPr>
            <p:nvPr/>
          </p:nvSpPr>
          <p:spPr bwMode="auto">
            <a:xfrm>
              <a:off x="4750729" y="3361011"/>
              <a:ext cx="34642" cy="34641"/>
            </a:xfrm>
            <a:custGeom>
              <a:avLst/>
              <a:gdLst>
                <a:gd name="T0" fmla="*/ 0 w 20"/>
                <a:gd name="T1" fmla="*/ 2 h 20"/>
                <a:gd name="T2" fmla="*/ 4 w 20"/>
                <a:gd name="T3" fmla="*/ 0 h 20"/>
                <a:gd name="T4" fmla="*/ 6 w 20"/>
                <a:gd name="T5" fmla="*/ 0 h 20"/>
                <a:gd name="T6" fmla="*/ 8 w 20"/>
                <a:gd name="T7" fmla="*/ 2 h 20"/>
                <a:gd name="T8" fmla="*/ 10 w 20"/>
                <a:gd name="T9" fmla="*/ 4 h 20"/>
                <a:gd name="T10" fmla="*/ 12 w 20"/>
                <a:gd name="T11" fmla="*/ 4 h 20"/>
                <a:gd name="T12" fmla="*/ 14 w 20"/>
                <a:gd name="T13" fmla="*/ 6 h 20"/>
                <a:gd name="T14" fmla="*/ 16 w 20"/>
                <a:gd name="T15" fmla="*/ 6 h 20"/>
                <a:gd name="T16" fmla="*/ 16 w 20"/>
                <a:gd name="T17" fmla="*/ 6 h 20"/>
                <a:gd name="T18" fmla="*/ 16 w 20"/>
                <a:gd name="T19" fmla="*/ 8 h 20"/>
                <a:gd name="T20" fmla="*/ 18 w 20"/>
                <a:gd name="T21" fmla="*/ 10 h 20"/>
                <a:gd name="T22" fmla="*/ 18 w 20"/>
                <a:gd name="T23" fmla="*/ 14 h 20"/>
                <a:gd name="T24" fmla="*/ 20 w 20"/>
                <a:gd name="T25" fmla="*/ 14 h 20"/>
                <a:gd name="T26" fmla="*/ 20 w 20"/>
                <a:gd name="T27" fmla="*/ 16 h 20"/>
                <a:gd name="T28" fmla="*/ 20 w 20"/>
                <a:gd name="T29" fmla="*/ 16 h 20"/>
                <a:gd name="T30" fmla="*/ 20 w 20"/>
                <a:gd name="T31" fmla="*/ 18 h 20"/>
                <a:gd name="T32" fmla="*/ 8 w 20"/>
                <a:gd name="T33" fmla="*/ 20 h 20"/>
                <a:gd name="T34" fmla="*/ 8 w 20"/>
                <a:gd name="T35" fmla="*/ 18 h 20"/>
                <a:gd name="T36" fmla="*/ 8 w 20"/>
                <a:gd name="T37" fmla="*/ 18 h 20"/>
                <a:gd name="T38" fmla="*/ 6 w 20"/>
                <a:gd name="T39" fmla="*/ 16 h 20"/>
                <a:gd name="T40" fmla="*/ 6 w 20"/>
                <a:gd name="T41" fmla="*/ 14 h 20"/>
                <a:gd name="T42" fmla="*/ 6 w 20"/>
                <a:gd name="T43" fmla="*/ 12 h 20"/>
                <a:gd name="T44" fmla="*/ 2 w 20"/>
                <a:gd name="T45" fmla="*/ 8 h 20"/>
                <a:gd name="T46" fmla="*/ 0 w 20"/>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20">
                  <a:moveTo>
                    <a:pt x="0" y="2"/>
                  </a:moveTo>
                  <a:lnTo>
                    <a:pt x="4" y="0"/>
                  </a:lnTo>
                  <a:lnTo>
                    <a:pt x="6" y="0"/>
                  </a:lnTo>
                  <a:lnTo>
                    <a:pt x="8" y="2"/>
                  </a:lnTo>
                  <a:lnTo>
                    <a:pt x="10" y="4"/>
                  </a:lnTo>
                  <a:lnTo>
                    <a:pt x="12" y="4"/>
                  </a:lnTo>
                  <a:lnTo>
                    <a:pt x="14" y="6"/>
                  </a:lnTo>
                  <a:lnTo>
                    <a:pt x="16" y="6"/>
                  </a:lnTo>
                  <a:lnTo>
                    <a:pt x="16" y="6"/>
                  </a:lnTo>
                  <a:lnTo>
                    <a:pt x="16" y="8"/>
                  </a:lnTo>
                  <a:lnTo>
                    <a:pt x="18" y="10"/>
                  </a:lnTo>
                  <a:lnTo>
                    <a:pt x="18" y="14"/>
                  </a:lnTo>
                  <a:lnTo>
                    <a:pt x="20" y="14"/>
                  </a:lnTo>
                  <a:lnTo>
                    <a:pt x="20" y="16"/>
                  </a:lnTo>
                  <a:lnTo>
                    <a:pt x="20" y="16"/>
                  </a:lnTo>
                  <a:lnTo>
                    <a:pt x="20" y="18"/>
                  </a:lnTo>
                  <a:lnTo>
                    <a:pt x="8" y="20"/>
                  </a:lnTo>
                  <a:lnTo>
                    <a:pt x="8" y="18"/>
                  </a:lnTo>
                  <a:lnTo>
                    <a:pt x="8" y="18"/>
                  </a:lnTo>
                  <a:lnTo>
                    <a:pt x="6" y="16"/>
                  </a:lnTo>
                  <a:lnTo>
                    <a:pt x="6" y="14"/>
                  </a:lnTo>
                  <a:lnTo>
                    <a:pt x="6" y="12"/>
                  </a:lnTo>
                  <a:lnTo>
                    <a:pt x="2" y="8"/>
                  </a:lnTo>
                  <a:lnTo>
                    <a:pt x="0"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8" name="Freeform 346">
              <a:extLst>
                <a:ext uri="{FF2B5EF4-FFF2-40B4-BE49-F238E27FC236}">
                  <a16:creationId xmlns:a16="http://schemas.microsoft.com/office/drawing/2014/main" id="{4E205732-9B4A-44E9-8E4B-12555618E6EB}"/>
                </a:ext>
              </a:extLst>
            </p:cNvPr>
            <p:cNvSpPr>
              <a:spLocks/>
            </p:cNvSpPr>
            <p:nvPr/>
          </p:nvSpPr>
          <p:spPr bwMode="auto">
            <a:xfrm>
              <a:off x="4750729" y="3361011"/>
              <a:ext cx="34642" cy="34641"/>
            </a:xfrm>
            <a:custGeom>
              <a:avLst/>
              <a:gdLst>
                <a:gd name="T0" fmla="*/ 0 w 20"/>
                <a:gd name="T1" fmla="*/ 2 h 20"/>
                <a:gd name="T2" fmla="*/ 4 w 20"/>
                <a:gd name="T3" fmla="*/ 0 h 20"/>
                <a:gd name="T4" fmla="*/ 6 w 20"/>
                <a:gd name="T5" fmla="*/ 0 h 20"/>
                <a:gd name="T6" fmla="*/ 8 w 20"/>
                <a:gd name="T7" fmla="*/ 2 h 20"/>
                <a:gd name="T8" fmla="*/ 10 w 20"/>
                <a:gd name="T9" fmla="*/ 4 h 20"/>
                <a:gd name="T10" fmla="*/ 12 w 20"/>
                <a:gd name="T11" fmla="*/ 4 h 20"/>
                <a:gd name="T12" fmla="*/ 14 w 20"/>
                <a:gd name="T13" fmla="*/ 6 h 20"/>
                <a:gd name="T14" fmla="*/ 16 w 20"/>
                <a:gd name="T15" fmla="*/ 6 h 20"/>
                <a:gd name="T16" fmla="*/ 16 w 20"/>
                <a:gd name="T17" fmla="*/ 6 h 20"/>
                <a:gd name="T18" fmla="*/ 16 w 20"/>
                <a:gd name="T19" fmla="*/ 8 h 20"/>
                <a:gd name="T20" fmla="*/ 18 w 20"/>
                <a:gd name="T21" fmla="*/ 10 h 20"/>
                <a:gd name="T22" fmla="*/ 18 w 20"/>
                <a:gd name="T23" fmla="*/ 14 h 20"/>
                <a:gd name="T24" fmla="*/ 20 w 20"/>
                <a:gd name="T25" fmla="*/ 14 h 20"/>
                <a:gd name="T26" fmla="*/ 20 w 20"/>
                <a:gd name="T27" fmla="*/ 16 h 20"/>
                <a:gd name="T28" fmla="*/ 20 w 20"/>
                <a:gd name="T29" fmla="*/ 16 h 20"/>
                <a:gd name="T30" fmla="*/ 20 w 20"/>
                <a:gd name="T31" fmla="*/ 18 h 20"/>
                <a:gd name="T32" fmla="*/ 8 w 20"/>
                <a:gd name="T33" fmla="*/ 20 h 20"/>
                <a:gd name="T34" fmla="*/ 8 w 20"/>
                <a:gd name="T35" fmla="*/ 18 h 20"/>
                <a:gd name="T36" fmla="*/ 8 w 20"/>
                <a:gd name="T37" fmla="*/ 18 h 20"/>
                <a:gd name="T38" fmla="*/ 6 w 20"/>
                <a:gd name="T39" fmla="*/ 16 h 20"/>
                <a:gd name="T40" fmla="*/ 6 w 20"/>
                <a:gd name="T41" fmla="*/ 14 h 20"/>
                <a:gd name="T42" fmla="*/ 6 w 20"/>
                <a:gd name="T43" fmla="*/ 12 h 20"/>
                <a:gd name="T44" fmla="*/ 2 w 20"/>
                <a:gd name="T45" fmla="*/ 8 h 20"/>
                <a:gd name="T46" fmla="*/ 0 w 20"/>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20">
                  <a:moveTo>
                    <a:pt x="0" y="2"/>
                  </a:moveTo>
                  <a:lnTo>
                    <a:pt x="4" y="0"/>
                  </a:lnTo>
                  <a:lnTo>
                    <a:pt x="6" y="0"/>
                  </a:lnTo>
                  <a:lnTo>
                    <a:pt x="8" y="2"/>
                  </a:lnTo>
                  <a:lnTo>
                    <a:pt x="10" y="4"/>
                  </a:lnTo>
                  <a:lnTo>
                    <a:pt x="12" y="4"/>
                  </a:lnTo>
                  <a:lnTo>
                    <a:pt x="14" y="6"/>
                  </a:lnTo>
                  <a:lnTo>
                    <a:pt x="16" y="6"/>
                  </a:lnTo>
                  <a:lnTo>
                    <a:pt x="16" y="6"/>
                  </a:lnTo>
                  <a:lnTo>
                    <a:pt x="16" y="8"/>
                  </a:lnTo>
                  <a:lnTo>
                    <a:pt x="18" y="10"/>
                  </a:lnTo>
                  <a:lnTo>
                    <a:pt x="18" y="14"/>
                  </a:lnTo>
                  <a:lnTo>
                    <a:pt x="20" y="14"/>
                  </a:lnTo>
                  <a:lnTo>
                    <a:pt x="20" y="16"/>
                  </a:lnTo>
                  <a:lnTo>
                    <a:pt x="20" y="16"/>
                  </a:lnTo>
                  <a:lnTo>
                    <a:pt x="20" y="18"/>
                  </a:lnTo>
                  <a:lnTo>
                    <a:pt x="8" y="20"/>
                  </a:lnTo>
                  <a:lnTo>
                    <a:pt x="8" y="18"/>
                  </a:lnTo>
                  <a:lnTo>
                    <a:pt x="8" y="18"/>
                  </a:lnTo>
                  <a:lnTo>
                    <a:pt x="6" y="16"/>
                  </a:lnTo>
                  <a:lnTo>
                    <a:pt x="6" y="14"/>
                  </a:lnTo>
                  <a:lnTo>
                    <a:pt x="6" y="12"/>
                  </a:lnTo>
                  <a:lnTo>
                    <a:pt x="2" y="8"/>
                  </a:lnTo>
                  <a:lnTo>
                    <a:pt x="0"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9" name="Freeform 347">
              <a:extLst>
                <a:ext uri="{FF2B5EF4-FFF2-40B4-BE49-F238E27FC236}">
                  <a16:creationId xmlns:a16="http://schemas.microsoft.com/office/drawing/2014/main" id="{91A121B5-C31D-4E43-BFD6-A802CF937DA5}"/>
                </a:ext>
              </a:extLst>
            </p:cNvPr>
            <p:cNvSpPr>
              <a:spLocks/>
            </p:cNvSpPr>
            <p:nvPr/>
          </p:nvSpPr>
          <p:spPr bwMode="auto">
            <a:xfrm>
              <a:off x="4709159" y="3343691"/>
              <a:ext cx="48498" cy="45034"/>
            </a:xfrm>
            <a:custGeom>
              <a:avLst/>
              <a:gdLst>
                <a:gd name="T0" fmla="*/ 0 w 28"/>
                <a:gd name="T1" fmla="*/ 20 h 26"/>
                <a:gd name="T2" fmla="*/ 0 w 28"/>
                <a:gd name="T3" fmla="*/ 20 h 26"/>
                <a:gd name="T4" fmla="*/ 0 w 28"/>
                <a:gd name="T5" fmla="*/ 18 h 26"/>
                <a:gd name="T6" fmla="*/ 0 w 28"/>
                <a:gd name="T7" fmla="*/ 16 h 26"/>
                <a:gd name="T8" fmla="*/ 2 w 28"/>
                <a:gd name="T9" fmla="*/ 16 h 26"/>
                <a:gd name="T10" fmla="*/ 2 w 28"/>
                <a:gd name="T11" fmla="*/ 14 h 26"/>
                <a:gd name="T12" fmla="*/ 4 w 28"/>
                <a:gd name="T13" fmla="*/ 10 h 26"/>
                <a:gd name="T14" fmla="*/ 6 w 28"/>
                <a:gd name="T15" fmla="*/ 6 h 26"/>
                <a:gd name="T16" fmla="*/ 6 w 28"/>
                <a:gd name="T17" fmla="*/ 4 h 26"/>
                <a:gd name="T18" fmla="*/ 8 w 28"/>
                <a:gd name="T19" fmla="*/ 4 h 26"/>
                <a:gd name="T20" fmla="*/ 10 w 28"/>
                <a:gd name="T21" fmla="*/ 2 h 26"/>
                <a:gd name="T22" fmla="*/ 10 w 28"/>
                <a:gd name="T23" fmla="*/ 2 h 26"/>
                <a:gd name="T24" fmla="*/ 10 w 28"/>
                <a:gd name="T25" fmla="*/ 2 h 26"/>
                <a:gd name="T26" fmla="*/ 12 w 28"/>
                <a:gd name="T27" fmla="*/ 0 h 26"/>
                <a:gd name="T28" fmla="*/ 12 w 28"/>
                <a:gd name="T29" fmla="*/ 2 h 26"/>
                <a:gd name="T30" fmla="*/ 14 w 28"/>
                <a:gd name="T31" fmla="*/ 2 h 26"/>
                <a:gd name="T32" fmla="*/ 14 w 28"/>
                <a:gd name="T33" fmla="*/ 2 h 26"/>
                <a:gd name="T34" fmla="*/ 16 w 28"/>
                <a:gd name="T35" fmla="*/ 2 h 26"/>
                <a:gd name="T36" fmla="*/ 18 w 28"/>
                <a:gd name="T37" fmla="*/ 2 h 26"/>
                <a:gd name="T38" fmla="*/ 22 w 28"/>
                <a:gd name="T39" fmla="*/ 4 h 26"/>
                <a:gd name="T40" fmla="*/ 24 w 28"/>
                <a:gd name="T41" fmla="*/ 4 h 26"/>
                <a:gd name="T42" fmla="*/ 24 w 28"/>
                <a:gd name="T43" fmla="*/ 4 h 26"/>
                <a:gd name="T44" fmla="*/ 24 w 28"/>
                <a:gd name="T45" fmla="*/ 4 h 26"/>
                <a:gd name="T46" fmla="*/ 26 w 28"/>
                <a:gd name="T47" fmla="*/ 6 h 26"/>
                <a:gd name="T48" fmla="*/ 26 w 28"/>
                <a:gd name="T49" fmla="*/ 8 h 26"/>
                <a:gd name="T50" fmla="*/ 28 w 28"/>
                <a:gd name="T51" fmla="*/ 10 h 26"/>
                <a:gd name="T52" fmla="*/ 22 w 28"/>
                <a:gd name="T53" fmla="*/ 12 h 26"/>
                <a:gd name="T54" fmla="*/ 22 w 28"/>
                <a:gd name="T55" fmla="*/ 12 h 26"/>
                <a:gd name="T56" fmla="*/ 18 w 28"/>
                <a:gd name="T57" fmla="*/ 12 h 26"/>
                <a:gd name="T58" fmla="*/ 18 w 28"/>
                <a:gd name="T59" fmla="*/ 12 h 26"/>
                <a:gd name="T60" fmla="*/ 16 w 28"/>
                <a:gd name="T61" fmla="*/ 14 h 26"/>
                <a:gd name="T62" fmla="*/ 14 w 28"/>
                <a:gd name="T63" fmla="*/ 14 h 26"/>
                <a:gd name="T64" fmla="*/ 14 w 28"/>
                <a:gd name="T65" fmla="*/ 14 h 26"/>
                <a:gd name="T66" fmla="*/ 14 w 28"/>
                <a:gd name="T67" fmla="*/ 16 h 26"/>
                <a:gd name="T68" fmla="*/ 14 w 28"/>
                <a:gd name="T69" fmla="*/ 16 h 26"/>
                <a:gd name="T70" fmla="*/ 14 w 28"/>
                <a:gd name="T71" fmla="*/ 16 h 26"/>
                <a:gd name="T72" fmla="*/ 14 w 28"/>
                <a:gd name="T73" fmla="*/ 18 h 26"/>
                <a:gd name="T74" fmla="*/ 14 w 28"/>
                <a:gd name="T75" fmla="*/ 20 h 26"/>
                <a:gd name="T76" fmla="*/ 14 w 28"/>
                <a:gd name="T77" fmla="*/ 22 h 26"/>
                <a:gd name="T78" fmla="*/ 16 w 28"/>
                <a:gd name="T79" fmla="*/ 26 h 26"/>
                <a:gd name="T80" fmla="*/ 16 w 28"/>
                <a:gd name="T81" fmla="*/ 26 h 26"/>
                <a:gd name="T82" fmla="*/ 10 w 28"/>
                <a:gd name="T83" fmla="*/ 26 h 26"/>
                <a:gd name="T84" fmla="*/ 6 w 28"/>
                <a:gd name="T85" fmla="*/ 24 h 26"/>
                <a:gd name="T86" fmla="*/ 4 w 28"/>
                <a:gd name="T87" fmla="*/ 24 h 26"/>
                <a:gd name="T88" fmla="*/ 2 w 28"/>
                <a:gd name="T89" fmla="*/ 22 h 26"/>
                <a:gd name="T90" fmla="*/ 2 w 28"/>
                <a:gd name="T91" fmla="*/ 22 h 26"/>
                <a:gd name="T92" fmla="*/ 0 w 28"/>
                <a:gd name="T93" fmla="*/ 22 h 26"/>
                <a:gd name="T94" fmla="*/ 0 w 28"/>
                <a:gd name="T95" fmla="*/ 20 h 26"/>
                <a:gd name="T96" fmla="*/ 0 w 28"/>
                <a:gd name="T97"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 h="26">
                  <a:moveTo>
                    <a:pt x="0" y="20"/>
                  </a:moveTo>
                  <a:lnTo>
                    <a:pt x="0" y="20"/>
                  </a:lnTo>
                  <a:lnTo>
                    <a:pt x="0" y="18"/>
                  </a:lnTo>
                  <a:lnTo>
                    <a:pt x="0" y="16"/>
                  </a:lnTo>
                  <a:lnTo>
                    <a:pt x="2" y="16"/>
                  </a:lnTo>
                  <a:lnTo>
                    <a:pt x="2" y="14"/>
                  </a:lnTo>
                  <a:lnTo>
                    <a:pt x="4" y="10"/>
                  </a:lnTo>
                  <a:lnTo>
                    <a:pt x="6" y="6"/>
                  </a:lnTo>
                  <a:lnTo>
                    <a:pt x="6" y="4"/>
                  </a:lnTo>
                  <a:lnTo>
                    <a:pt x="8" y="4"/>
                  </a:lnTo>
                  <a:lnTo>
                    <a:pt x="10" y="2"/>
                  </a:lnTo>
                  <a:lnTo>
                    <a:pt x="10" y="2"/>
                  </a:lnTo>
                  <a:lnTo>
                    <a:pt x="10" y="2"/>
                  </a:lnTo>
                  <a:lnTo>
                    <a:pt x="12" y="0"/>
                  </a:lnTo>
                  <a:lnTo>
                    <a:pt x="12" y="2"/>
                  </a:lnTo>
                  <a:lnTo>
                    <a:pt x="14" y="2"/>
                  </a:lnTo>
                  <a:lnTo>
                    <a:pt x="14" y="2"/>
                  </a:lnTo>
                  <a:lnTo>
                    <a:pt x="16" y="2"/>
                  </a:lnTo>
                  <a:lnTo>
                    <a:pt x="18" y="2"/>
                  </a:lnTo>
                  <a:lnTo>
                    <a:pt x="22" y="4"/>
                  </a:lnTo>
                  <a:lnTo>
                    <a:pt x="24" y="4"/>
                  </a:lnTo>
                  <a:lnTo>
                    <a:pt x="24" y="4"/>
                  </a:lnTo>
                  <a:lnTo>
                    <a:pt x="24" y="4"/>
                  </a:lnTo>
                  <a:lnTo>
                    <a:pt x="26" y="6"/>
                  </a:lnTo>
                  <a:lnTo>
                    <a:pt x="26" y="8"/>
                  </a:lnTo>
                  <a:lnTo>
                    <a:pt x="28" y="10"/>
                  </a:lnTo>
                  <a:lnTo>
                    <a:pt x="22" y="12"/>
                  </a:lnTo>
                  <a:lnTo>
                    <a:pt x="22" y="12"/>
                  </a:lnTo>
                  <a:lnTo>
                    <a:pt x="18" y="12"/>
                  </a:lnTo>
                  <a:lnTo>
                    <a:pt x="18" y="12"/>
                  </a:lnTo>
                  <a:lnTo>
                    <a:pt x="16" y="14"/>
                  </a:lnTo>
                  <a:lnTo>
                    <a:pt x="14" y="14"/>
                  </a:lnTo>
                  <a:lnTo>
                    <a:pt x="14" y="14"/>
                  </a:lnTo>
                  <a:lnTo>
                    <a:pt x="14" y="16"/>
                  </a:lnTo>
                  <a:lnTo>
                    <a:pt x="14" y="16"/>
                  </a:lnTo>
                  <a:lnTo>
                    <a:pt x="14" y="16"/>
                  </a:lnTo>
                  <a:lnTo>
                    <a:pt x="14" y="18"/>
                  </a:lnTo>
                  <a:lnTo>
                    <a:pt x="14" y="20"/>
                  </a:lnTo>
                  <a:lnTo>
                    <a:pt x="14" y="22"/>
                  </a:lnTo>
                  <a:lnTo>
                    <a:pt x="16" y="26"/>
                  </a:lnTo>
                  <a:lnTo>
                    <a:pt x="16" y="26"/>
                  </a:lnTo>
                  <a:lnTo>
                    <a:pt x="10" y="26"/>
                  </a:lnTo>
                  <a:lnTo>
                    <a:pt x="6" y="24"/>
                  </a:lnTo>
                  <a:lnTo>
                    <a:pt x="4" y="24"/>
                  </a:lnTo>
                  <a:lnTo>
                    <a:pt x="2" y="22"/>
                  </a:lnTo>
                  <a:lnTo>
                    <a:pt x="2" y="22"/>
                  </a:lnTo>
                  <a:lnTo>
                    <a:pt x="0" y="22"/>
                  </a:lnTo>
                  <a:lnTo>
                    <a:pt x="0" y="20"/>
                  </a:lnTo>
                  <a:lnTo>
                    <a:pt x="0" y="2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0" name="Freeform 348">
              <a:extLst>
                <a:ext uri="{FF2B5EF4-FFF2-40B4-BE49-F238E27FC236}">
                  <a16:creationId xmlns:a16="http://schemas.microsoft.com/office/drawing/2014/main" id="{3AF7F1DF-7EE0-48BB-AA29-48D89704AC70}"/>
                </a:ext>
              </a:extLst>
            </p:cNvPr>
            <p:cNvSpPr>
              <a:spLocks/>
            </p:cNvSpPr>
            <p:nvPr/>
          </p:nvSpPr>
          <p:spPr bwMode="auto">
            <a:xfrm>
              <a:off x="4709159" y="3343691"/>
              <a:ext cx="48498" cy="45034"/>
            </a:xfrm>
            <a:custGeom>
              <a:avLst/>
              <a:gdLst>
                <a:gd name="T0" fmla="*/ 0 w 28"/>
                <a:gd name="T1" fmla="*/ 20 h 26"/>
                <a:gd name="T2" fmla="*/ 0 w 28"/>
                <a:gd name="T3" fmla="*/ 20 h 26"/>
                <a:gd name="T4" fmla="*/ 0 w 28"/>
                <a:gd name="T5" fmla="*/ 18 h 26"/>
                <a:gd name="T6" fmla="*/ 0 w 28"/>
                <a:gd name="T7" fmla="*/ 16 h 26"/>
                <a:gd name="T8" fmla="*/ 2 w 28"/>
                <a:gd name="T9" fmla="*/ 16 h 26"/>
                <a:gd name="T10" fmla="*/ 2 w 28"/>
                <a:gd name="T11" fmla="*/ 14 h 26"/>
                <a:gd name="T12" fmla="*/ 4 w 28"/>
                <a:gd name="T13" fmla="*/ 10 h 26"/>
                <a:gd name="T14" fmla="*/ 6 w 28"/>
                <a:gd name="T15" fmla="*/ 6 h 26"/>
                <a:gd name="T16" fmla="*/ 6 w 28"/>
                <a:gd name="T17" fmla="*/ 4 h 26"/>
                <a:gd name="T18" fmla="*/ 8 w 28"/>
                <a:gd name="T19" fmla="*/ 4 h 26"/>
                <a:gd name="T20" fmla="*/ 10 w 28"/>
                <a:gd name="T21" fmla="*/ 2 h 26"/>
                <a:gd name="T22" fmla="*/ 10 w 28"/>
                <a:gd name="T23" fmla="*/ 2 h 26"/>
                <a:gd name="T24" fmla="*/ 10 w 28"/>
                <a:gd name="T25" fmla="*/ 2 h 26"/>
                <a:gd name="T26" fmla="*/ 12 w 28"/>
                <a:gd name="T27" fmla="*/ 0 h 26"/>
                <a:gd name="T28" fmla="*/ 12 w 28"/>
                <a:gd name="T29" fmla="*/ 2 h 26"/>
                <a:gd name="T30" fmla="*/ 14 w 28"/>
                <a:gd name="T31" fmla="*/ 2 h 26"/>
                <a:gd name="T32" fmla="*/ 14 w 28"/>
                <a:gd name="T33" fmla="*/ 2 h 26"/>
                <a:gd name="T34" fmla="*/ 16 w 28"/>
                <a:gd name="T35" fmla="*/ 2 h 26"/>
                <a:gd name="T36" fmla="*/ 18 w 28"/>
                <a:gd name="T37" fmla="*/ 2 h 26"/>
                <a:gd name="T38" fmla="*/ 22 w 28"/>
                <a:gd name="T39" fmla="*/ 4 h 26"/>
                <a:gd name="T40" fmla="*/ 24 w 28"/>
                <a:gd name="T41" fmla="*/ 4 h 26"/>
                <a:gd name="T42" fmla="*/ 24 w 28"/>
                <a:gd name="T43" fmla="*/ 4 h 26"/>
                <a:gd name="T44" fmla="*/ 24 w 28"/>
                <a:gd name="T45" fmla="*/ 4 h 26"/>
                <a:gd name="T46" fmla="*/ 26 w 28"/>
                <a:gd name="T47" fmla="*/ 6 h 26"/>
                <a:gd name="T48" fmla="*/ 26 w 28"/>
                <a:gd name="T49" fmla="*/ 8 h 26"/>
                <a:gd name="T50" fmla="*/ 28 w 28"/>
                <a:gd name="T51" fmla="*/ 10 h 26"/>
                <a:gd name="T52" fmla="*/ 22 w 28"/>
                <a:gd name="T53" fmla="*/ 12 h 26"/>
                <a:gd name="T54" fmla="*/ 22 w 28"/>
                <a:gd name="T55" fmla="*/ 12 h 26"/>
                <a:gd name="T56" fmla="*/ 18 w 28"/>
                <a:gd name="T57" fmla="*/ 12 h 26"/>
                <a:gd name="T58" fmla="*/ 18 w 28"/>
                <a:gd name="T59" fmla="*/ 12 h 26"/>
                <a:gd name="T60" fmla="*/ 16 w 28"/>
                <a:gd name="T61" fmla="*/ 14 h 26"/>
                <a:gd name="T62" fmla="*/ 14 w 28"/>
                <a:gd name="T63" fmla="*/ 14 h 26"/>
                <a:gd name="T64" fmla="*/ 14 w 28"/>
                <a:gd name="T65" fmla="*/ 14 h 26"/>
                <a:gd name="T66" fmla="*/ 14 w 28"/>
                <a:gd name="T67" fmla="*/ 16 h 26"/>
                <a:gd name="T68" fmla="*/ 14 w 28"/>
                <a:gd name="T69" fmla="*/ 16 h 26"/>
                <a:gd name="T70" fmla="*/ 14 w 28"/>
                <a:gd name="T71" fmla="*/ 16 h 26"/>
                <a:gd name="T72" fmla="*/ 14 w 28"/>
                <a:gd name="T73" fmla="*/ 18 h 26"/>
                <a:gd name="T74" fmla="*/ 14 w 28"/>
                <a:gd name="T75" fmla="*/ 20 h 26"/>
                <a:gd name="T76" fmla="*/ 14 w 28"/>
                <a:gd name="T77" fmla="*/ 22 h 26"/>
                <a:gd name="T78" fmla="*/ 16 w 28"/>
                <a:gd name="T79" fmla="*/ 26 h 26"/>
                <a:gd name="T80" fmla="*/ 16 w 28"/>
                <a:gd name="T81" fmla="*/ 26 h 26"/>
                <a:gd name="T82" fmla="*/ 10 w 28"/>
                <a:gd name="T83" fmla="*/ 26 h 26"/>
                <a:gd name="T84" fmla="*/ 6 w 28"/>
                <a:gd name="T85" fmla="*/ 24 h 26"/>
                <a:gd name="T86" fmla="*/ 4 w 28"/>
                <a:gd name="T87" fmla="*/ 24 h 26"/>
                <a:gd name="T88" fmla="*/ 2 w 28"/>
                <a:gd name="T89" fmla="*/ 22 h 26"/>
                <a:gd name="T90" fmla="*/ 2 w 28"/>
                <a:gd name="T91" fmla="*/ 22 h 26"/>
                <a:gd name="T92" fmla="*/ 0 w 28"/>
                <a:gd name="T93" fmla="*/ 22 h 26"/>
                <a:gd name="T94" fmla="*/ 0 w 28"/>
                <a:gd name="T95" fmla="*/ 20 h 26"/>
                <a:gd name="T96" fmla="*/ 0 w 28"/>
                <a:gd name="T97"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 h="26">
                  <a:moveTo>
                    <a:pt x="0" y="20"/>
                  </a:moveTo>
                  <a:lnTo>
                    <a:pt x="0" y="20"/>
                  </a:lnTo>
                  <a:lnTo>
                    <a:pt x="0" y="18"/>
                  </a:lnTo>
                  <a:lnTo>
                    <a:pt x="0" y="16"/>
                  </a:lnTo>
                  <a:lnTo>
                    <a:pt x="2" y="16"/>
                  </a:lnTo>
                  <a:lnTo>
                    <a:pt x="2" y="14"/>
                  </a:lnTo>
                  <a:lnTo>
                    <a:pt x="4" y="10"/>
                  </a:lnTo>
                  <a:lnTo>
                    <a:pt x="6" y="6"/>
                  </a:lnTo>
                  <a:lnTo>
                    <a:pt x="6" y="4"/>
                  </a:lnTo>
                  <a:lnTo>
                    <a:pt x="8" y="4"/>
                  </a:lnTo>
                  <a:lnTo>
                    <a:pt x="10" y="2"/>
                  </a:lnTo>
                  <a:lnTo>
                    <a:pt x="10" y="2"/>
                  </a:lnTo>
                  <a:lnTo>
                    <a:pt x="10" y="2"/>
                  </a:lnTo>
                  <a:lnTo>
                    <a:pt x="12" y="0"/>
                  </a:lnTo>
                  <a:lnTo>
                    <a:pt x="12" y="2"/>
                  </a:lnTo>
                  <a:lnTo>
                    <a:pt x="14" y="2"/>
                  </a:lnTo>
                  <a:lnTo>
                    <a:pt x="14" y="2"/>
                  </a:lnTo>
                  <a:lnTo>
                    <a:pt x="16" y="2"/>
                  </a:lnTo>
                  <a:lnTo>
                    <a:pt x="18" y="2"/>
                  </a:lnTo>
                  <a:lnTo>
                    <a:pt x="22" y="4"/>
                  </a:lnTo>
                  <a:lnTo>
                    <a:pt x="24" y="4"/>
                  </a:lnTo>
                  <a:lnTo>
                    <a:pt x="24" y="4"/>
                  </a:lnTo>
                  <a:lnTo>
                    <a:pt x="24" y="4"/>
                  </a:lnTo>
                  <a:lnTo>
                    <a:pt x="26" y="6"/>
                  </a:lnTo>
                  <a:lnTo>
                    <a:pt x="26" y="8"/>
                  </a:lnTo>
                  <a:lnTo>
                    <a:pt x="28" y="10"/>
                  </a:lnTo>
                  <a:lnTo>
                    <a:pt x="22" y="12"/>
                  </a:lnTo>
                  <a:lnTo>
                    <a:pt x="22" y="12"/>
                  </a:lnTo>
                  <a:lnTo>
                    <a:pt x="18" y="12"/>
                  </a:lnTo>
                  <a:lnTo>
                    <a:pt x="18" y="12"/>
                  </a:lnTo>
                  <a:lnTo>
                    <a:pt x="16" y="14"/>
                  </a:lnTo>
                  <a:lnTo>
                    <a:pt x="14" y="14"/>
                  </a:lnTo>
                  <a:lnTo>
                    <a:pt x="14" y="14"/>
                  </a:lnTo>
                  <a:lnTo>
                    <a:pt x="14" y="16"/>
                  </a:lnTo>
                  <a:lnTo>
                    <a:pt x="14" y="16"/>
                  </a:lnTo>
                  <a:lnTo>
                    <a:pt x="14" y="16"/>
                  </a:lnTo>
                  <a:lnTo>
                    <a:pt x="14" y="18"/>
                  </a:lnTo>
                  <a:lnTo>
                    <a:pt x="14" y="20"/>
                  </a:lnTo>
                  <a:lnTo>
                    <a:pt x="14" y="22"/>
                  </a:lnTo>
                  <a:lnTo>
                    <a:pt x="16" y="26"/>
                  </a:lnTo>
                  <a:lnTo>
                    <a:pt x="16" y="26"/>
                  </a:lnTo>
                  <a:lnTo>
                    <a:pt x="10" y="26"/>
                  </a:lnTo>
                  <a:lnTo>
                    <a:pt x="6" y="24"/>
                  </a:lnTo>
                  <a:lnTo>
                    <a:pt x="4" y="24"/>
                  </a:lnTo>
                  <a:lnTo>
                    <a:pt x="2" y="22"/>
                  </a:lnTo>
                  <a:lnTo>
                    <a:pt x="2" y="22"/>
                  </a:lnTo>
                  <a:lnTo>
                    <a:pt x="0" y="22"/>
                  </a:lnTo>
                  <a:lnTo>
                    <a:pt x="0" y="20"/>
                  </a:lnTo>
                  <a:lnTo>
                    <a:pt x="0" y="2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1" name="Freeform 349">
              <a:extLst>
                <a:ext uri="{FF2B5EF4-FFF2-40B4-BE49-F238E27FC236}">
                  <a16:creationId xmlns:a16="http://schemas.microsoft.com/office/drawing/2014/main" id="{1850CFF3-ADFA-4F6C-BFE1-6B47DEABA955}"/>
                </a:ext>
              </a:extLst>
            </p:cNvPr>
            <p:cNvSpPr>
              <a:spLocks/>
            </p:cNvSpPr>
            <p:nvPr/>
          </p:nvSpPr>
          <p:spPr bwMode="auto">
            <a:xfrm>
              <a:off x="4646804" y="3274408"/>
              <a:ext cx="93532" cy="107389"/>
            </a:xfrm>
            <a:custGeom>
              <a:avLst/>
              <a:gdLst>
                <a:gd name="T0" fmla="*/ 46 w 54"/>
                <a:gd name="T1" fmla="*/ 12 h 62"/>
                <a:gd name="T2" fmla="*/ 50 w 54"/>
                <a:gd name="T3" fmla="*/ 20 h 62"/>
                <a:gd name="T4" fmla="*/ 52 w 54"/>
                <a:gd name="T5" fmla="*/ 26 h 62"/>
                <a:gd name="T6" fmla="*/ 54 w 54"/>
                <a:gd name="T7" fmla="*/ 30 h 62"/>
                <a:gd name="T8" fmla="*/ 54 w 54"/>
                <a:gd name="T9" fmla="*/ 34 h 62"/>
                <a:gd name="T10" fmla="*/ 54 w 54"/>
                <a:gd name="T11" fmla="*/ 38 h 62"/>
                <a:gd name="T12" fmla="*/ 52 w 54"/>
                <a:gd name="T13" fmla="*/ 44 h 62"/>
                <a:gd name="T14" fmla="*/ 48 w 54"/>
                <a:gd name="T15" fmla="*/ 42 h 62"/>
                <a:gd name="T16" fmla="*/ 48 w 54"/>
                <a:gd name="T17" fmla="*/ 42 h 62"/>
                <a:gd name="T18" fmla="*/ 46 w 54"/>
                <a:gd name="T19" fmla="*/ 42 h 62"/>
                <a:gd name="T20" fmla="*/ 44 w 54"/>
                <a:gd name="T21" fmla="*/ 46 h 62"/>
                <a:gd name="T22" fmla="*/ 40 w 54"/>
                <a:gd name="T23" fmla="*/ 52 h 62"/>
                <a:gd name="T24" fmla="*/ 38 w 54"/>
                <a:gd name="T25" fmla="*/ 56 h 62"/>
                <a:gd name="T26" fmla="*/ 36 w 54"/>
                <a:gd name="T27" fmla="*/ 60 h 62"/>
                <a:gd name="T28" fmla="*/ 36 w 54"/>
                <a:gd name="T29" fmla="*/ 62 h 62"/>
                <a:gd name="T30" fmla="*/ 32 w 54"/>
                <a:gd name="T31" fmla="*/ 58 h 62"/>
                <a:gd name="T32" fmla="*/ 32 w 54"/>
                <a:gd name="T33" fmla="*/ 56 h 62"/>
                <a:gd name="T34" fmla="*/ 32 w 54"/>
                <a:gd name="T35" fmla="*/ 54 h 62"/>
                <a:gd name="T36" fmla="*/ 30 w 54"/>
                <a:gd name="T37" fmla="*/ 50 h 62"/>
                <a:gd name="T38" fmla="*/ 28 w 54"/>
                <a:gd name="T39" fmla="*/ 46 h 62"/>
                <a:gd name="T40" fmla="*/ 24 w 54"/>
                <a:gd name="T41" fmla="*/ 42 h 62"/>
                <a:gd name="T42" fmla="*/ 22 w 54"/>
                <a:gd name="T43" fmla="*/ 38 h 62"/>
                <a:gd name="T44" fmla="*/ 20 w 54"/>
                <a:gd name="T45" fmla="*/ 36 h 62"/>
                <a:gd name="T46" fmla="*/ 14 w 54"/>
                <a:gd name="T47" fmla="*/ 34 h 62"/>
                <a:gd name="T48" fmla="*/ 10 w 54"/>
                <a:gd name="T49" fmla="*/ 32 h 62"/>
                <a:gd name="T50" fmla="*/ 8 w 54"/>
                <a:gd name="T51" fmla="*/ 30 h 62"/>
                <a:gd name="T52" fmla="*/ 4 w 54"/>
                <a:gd name="T53" fmla="*/ 24 h 62"/>
                <a:gd name="T54" fmla="*/ 2 w 54"/>
                <a:gd name="T55" fmla="*/ 18 h 62"/>
                <a:gd name="T56" fmla="*/ 0 w 54"/>
                <a:gd name="T57" fmla="*/ 14 h 62"/>
                <a:gd name="T58" fmla="*/ 0 w 54"/>
                <a:gd name="T59" fmla="*/ 12 h 62"/>
                <a:gd name="T60" fmla="*/ 0 w 54"/>
                <a:gd name="T61" fmla="*/ 10 h 62"/>
                <a:gd name="T62" fmla="*/ 2 w 54"/>
                <a:gd name="T63" fmla="*/ 8 h 62"/>
                <a:gd name="T64" fmla="*/ 6 w 54"/>
                <a:gd name="T65" fmla="*/ 6 h 62"/>
                <a:gd name="T66" fmla="*/ 10 w 54"/>
                <a:gd name="T67" fmla="*/ 4 h 62"/>
                <a:gd name="T68" fmla="*/ 16 w 54"/>
                <a:gd name="T69" fmla="*/ 2 h 62"/>
                <a:gd name="T70" fmla="*/ 24 w 54"/>
                <a:gd name="T71" fmla="*/ 0 h 62"/>
                <a:gd name="T72" fmla="*/ 34 w 54"/>
                <a:gd name="T73" fmla="*/ 0 h 62"/>
                <a:gd name="T74" fmla="*/ 40 w 54"/>
                <a:gd name="T75" fmla="*/ 4 h 62"/>
                <a:gd name="T76" fmla="*/ 46 w 54"/>
                <a:gd name="T77"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62">
                  <a:moveTo>
                    <a:pt x="46" y="12"/>
                  </a:moveTo>
                  <a:lnTo>
                    <a:pt x="46" y="12"/>
                  </a:lnTo>
                  <a:lnTo>
                    <a:pt x="48" y="16"/>
                  </a:lnTo>
                  <a:lnTo>
                    <a:pt x="50" y="20"/>
                  </a:lnTo>
                  <a:lnTo>
                    <a:pt x="50" y="22"/>
                  </a:lnTo>
                  <a:lnTo>
                    <a:pt x="52" y="26"/>
                  </a:lnTo>
                  <a:lnTo>
                    <a:pt x="52" y="28"/>
                  </a:lnTo>
                  <a:lnTo>
                    <a:pt x="54" y="30"/>
                  </a:lnTo>
                  <a:lnTo>
                    <a:pt x="54" y="34"/>
                  </a:lnTo>
                  <a:lnTo>
                    <a:pt x="54" y="34"/>
                  </a:lnTo>
                  <a:lnTo>
                    <a:pt x="54" y="36"/>
                  </a:lnTo>
                  <a:lnTo>
                    <a:pt x="54" y="38"/>
                  </a:lnTo>
                  <a:lnTo>
                    <a:pt x="52" y="40"/>
                  </a:lnTo>
                  <a:lnTo>
                    <a:pt x="52" y="44"/>
                  </a:lnTo>
                  <a:lnTo>
                    <a:pt x="50" y="42"/>
                  </a:lnTo>
                  <a:lnTo>
                    <a:pt x="48" y="42"/>
                  </a:lnTo>
                  <a:lnTo>
                    <a:pt x="48" y="42"/>
                  </a:lnTo>
                  <a:lnTo>
                    <a:pt x="48" y="42"/>
                  </a:lnTo>
                  <a:lnTo>
                    <a:pt x="46" y="42"/>
                  </a:lnTo>
                  <a:lnTo>
                    <a:pt x="46" y="42"/>
                  </a:lnTo>
                  <a:lnTo>
                    <a:pt x="44" y="44"/>
                  </a:lnTo>
                  <a:lnTo>
                    <a:pt x="44" y="46"/>
                  </a:lnTo>
                  <a:lnTo>
                    <a:pt x="42" y="48"/>
                  </a:lnTo>
                  <a:lnTo>
                    <a:pt x="40" y="52"/>
                  </a:lnTo>
                  <a:lnTo>
                    <a:pt x="38" y="54"/>
                  </a:lnTo>
                  <a:lnTo>
                    <a:pt x="38" y="56"/>
                  </a:lnTo>
                  <a:lnTo>
                    <a:pt x="36" y="58"/>
                  </a:lnTo>
                  <a:lnTo>
                    <a:pt x="36" y="60"/>
                  </a:lnTo>
                  <a:lnTo>
                    <a:pt x="36" y="60"/>
                  </a:lnTo>
                  <a:lnTo>
                    <a:pt x="36" y="62"/>
                  </a:lnTo>
                  <a:lnTo>
                    <a:pt x="30" y="58"/>
                  </a:lnTo>
                  <a:lnTo>
                    <a:pt x="32" y="58"/>
                  </a:lnTo>
                  <a:lnTo>
                    <a:pt x="32" y="56"/>
                  </a:lnTo>
                  <a:lnTo>
                    <a:pt x="32" y="56"/>
                  </a:lnTo>
                  <a:lnTo>
                    <a:pt x="32" y="56"/>
                  </a:lnTo>
                  <a:lnTo>
                    <a:pt x="32" y="54"/>
                  </a:lnTo>
                  <a:lnTo>
                    <a:pt x="30" y="52"/>
                  </a:lnTo>
                  <a:lnTo>
                    <a:pt x="30" y="50"/>
                  </a:lnTo>
                  <a:lnTo>
                    <a:pt x="28" y="48"/>
                  </a:lnTo>
                  <a:lnTo>
                    <a:pt x="28" y="46"/>
                  </a:lnTo>
                  <a:lnTo>
                    <a:pt x="26" y="44"/>
                  </a:lnTo>
                  <a:lnTo>
                    <a:pt x="24" y="42"/>
                  </a:lnTo>
                  <a:lnTo>
                    <a:pt x="24" y="40"/>
                  </a:lnTo>
                  <a:lnTo>
                    <a:pt x="22" y="38"/>
                  </a:lnTo>
                  <a:lnTo>
                    <a:pt x="20" y="38"/>
                  </a:lnTo>
                  <a:lnTo>
                    <a:pt x="20" y="36"/>
                  </a:lnTo>
                  <a:lnTo>
                    <a:pt x="18" y="36"/>
                  </a:lnTo>
                  <a:lnTo>
                    <a:pt x="14" y="34"/>
                  </a:lnTo>
                  <a:lnTo>
                    <a:pt x="12" y="34"/>
                  </a:lnTo>
                  <a:lnTo>
                    <a:pt x="10" y="32"/>
                  </a:lnTo>
                  <a:lnTo>
                    <a:pt x="10" y="32"/>
                  </a:lnTo>
                  <a:lnTo>
                    <a:pt x="8" y="30"/>
                  </a:lnTo>
                  <a:lnTo>
                    <a:pt x="6" y="28"/>
                  </a:lnTo>
                  <a:lnTo>
                    <a:pt x="4" y="24"/>
                  </a:lnTo>
                  <a:lnTo>
                    <a:pt x="4" y="22"/>
                  </a:lnTo>
                  <a:lnTo>
                    <a:pt x="2" y="18"/>
                  </a:lnTo>
                  <a:lnTo>
                    <a:pt x="2" y="16"/>
                  </a:lnTo>
                  <a:lnTo>
                    <a:pt x="0" y="14"/>
                  </a:lnTo>
                  <a:lnTo>
                    <a:pt x="0" y="14"/>
                  </a:lnTo>
                  <a:lnTo>
                    <a:pt x="0" y="12"/>
                  </a:lnTo>
                  <a:lnTo>
                    <a:pt x="0" y="12"/>
                  </a:lnTo>
                  <a:lnTo>
                    <a:pt x="0" y="10"/>
                  </a:lnTo>
                  <a:lnTo>
                    <a:pt x="2" y="10"/>
                  </a:lnTo>
                  <a:lnTo>
                    <a:pt x="2" y="8"/>
                  </a:lnTo>
                  <a:lnTo>
                    <a:pt x="4" y="6"/>
                  </a:lnTo>
                  <a:lnTo>
                    <a:pt x="6" y="6"/>
                  </a:lnTo>
                  <a:lnTo>
                    <a:pt x="8" y="4"/>
                  </a:lnTo>
                  <a:lnTo>
                    <a:pt x="10" y="4"/>
                  </a:lnTo>
                  <a:lnTo>
                    <a:pt x="14" y="2"/>
                  </a:lnTo>
                  <a:lnTo>
                    <a:pt x="16" y="2"/>
                  </a:lnTo>
                  <a:lnTo>
                    <a:pt x="20" y="0"/>
                  </a:lnTo>
                  <a:lnTo>
                    <a:pt x="24" y="0"/>
                  </a:lnTo>
                  <a:lnTo>
                    <a:pt x="26" y="0"/>
                  </a:lnTo>
                  <a:lnTo>
                    <a:pt x="34" y="0"/>
                  </a:lnTo>
                  <a:lnTo>
                    <a:pt x="36" y="0"/>
                  </a:lnTo>
                  <a:lnTo>
                    <a:pt x="40" y="4"/>
                  </a:lnTo>
                  <a:lnTo>
                    <a:pt x="44" y="8"/>
                  </a:lnTo>
                  <a:lnTo>
                    <a:pt x="46" y="10"/>
                  </a:lnTo>
                  <a:lnTo>
                    <a:pt x="46" y="1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2" name="Freeform 350">
              <a:extLst>
                <a:ext uri="{FF2B5EF4-FFF2-40B4-BE49-F238E27FC236}">
                  <a16:creationId xmlns:a16="http://schemas.microsoft.com/office/drawing/2014/main" id="{35FB2C66-DD14-4CDD-B40B-F2E41E7756EE}"/>
                </a:ext>
              </a:extLst>
            </p:cNvPr>
            <p:cNvSpPr>
              <a:spLocks/>
            </p:cNvSpPr>
            <p:nvPr/>
          </p:nvSpPr>
          <p:spPr bwMode="auto">
            <a:xfrm>
              <a:off x="4646804" y="3274408"/>
              <a:ext cx="93532" cy="107389"/>
            </a:xfrm>
            <a:custGeom>
              <a:avLst/>
              <a:gdLst>
                <a:gd name="T0" fmla="*/ 46 w 54"/>
                <a:gd name="T1" fmla="*/ 12 h 62"/>
                <a:gd name="T2" fmla="*/ 50 w 54"/>
                <a:gd name="T3" fmla="*/ 20 h 62"/>
                <a:gd name="T4" fmla="*/ 52 w 54"/>
                <a:gd name="T5" fmla="*/ 26 h 62"/>
                <a:gd name="T6" fmla="*/ 54 w 54"/>
                <a:gd name="T7" fmla="*/ 30 h 62"/>
                <a:gd name="T8" fmla="*/ 54 w 54"/>
                <a:gd name="T9" fmla="*/ 34 h 62"/>
                <a:gd name="T10" fmla="*/ 54 w 54"/>
                <a:gd name="T11" fmla="*/ 38 h 62"/>
                <a:gd name="T12" fmla="*/ 52 w 54"/>
                <a:gd name="T13" fmla="*/ 44 h 62"/>
                <a:gd name="T14" fmla="*/ 48 w 54"/>
                <a:gd name="T15" fmla="*/ 42 h 62"/>
                <a:gd name="T16" fmla="*/ 48 w 54"/>
                <a:gd name="T17" fmla="*/ 42 h 62"/>
                <a:gd name="T18" fmla="*/ 46 w 54"/>
                <a:gd name="T19" fmla="*/ 42 h 62"/>
                <a:gd name="T20" fmla="*/ 44 w 54"/>
                <a:gd name="T21" fmla="*/ 46 h 62"/>
                <a:gd name="T22" fmla="*/ 40 w 54"/>
                <a:gd name="T23" fmla="*/ 52 h 62"/>
                <a:gd name="T24" fmla="*/ 38 w 54"/>
                <a:gd name="T25" fmla="*/ 56 h 62"/>
                <a:gd name="T26" fmla="*/ 36 w 54"/>
                <a:gd name="T27" fmla="*/ 60 h 62"/>
                <a:gd name="T28" fmla="*/ 36 w 54"/>
                <a:gd name="T29" fmla="*/ 62 h 62"/>
                <a:gd name="T30" fmla="*/ 32 w 54"/>
                <a:gd name="T31" fmla="*/ 58 h 62"/>
                <a:gd name="T32" fmla="*/ 32 w 54"/>
                <a:gd name="T33" fmla="*/ 56 h 62"/>
                <a:gd name="T34" fmla="*/ 32 w 54"/>
                <a:gd name="T35" fmla="*/ 54 h 62"/>
                <a:gd name="T36" fmla="*/ 30 w 54"/>
                <a:gd name="T37" fmla="*/ 50 h 62"/>
                <a:gd name="T38" fmla="*/ 28 w 54"/>
                <a:gd name="T39" fmla="*/ 46 h 62"/>
                <a:gd name="T40" fmla="*/ 24 w 54"/>
                <a:gd name="T41" fmla="*/ 42 h 62"/>
                <a:gd name="T42" fmla="*/ 22 w 54"/>
                <a:gd name="T43" fmla="*/ 38 h 62"/>
                <a:gd name="T44" fmla="*/ 20 w 54"/>
                <a:gd name="T45" fmla="*/ 36 h 62"/>
                <a:gd name="T46" fmla="*/ 14 w 54"/>
                <a:gd name="T47" fmla="*/ 34 h 62"/>
                <a:gd name="T48" fmla="*/ 10 w 54"/>
                <a:gd name="T49" fmla="*/ 32 h 62"/>
                <a:gd name="T50" fmla="*/ 8 w 54"/>
                <a:gd name="T51" fmla="*/ 30 h 62"/>
                <a:gd name="T52" fmla="*/ 4 w 54"/>
                <a:gd name="T53" fmla="*/ 24 h 62"/>
                <a:gd name="T54" fmla="*/ 2 w 54"/>
                <a:gd name="T55" fmla="*/ 18 h 62"/>
                <a:gd name="T56" fmla="*/ 0 w 54"/>
                <a:gd name="T57" fmla="*/ 14 h 62"/>
                <a:gd name="T58" fmla="*/ 0 w 54"/>
                <a:gd name="T59" fmla="*/ 12 h 62"/>
                <a:gd name="T60" fmla="*/ 0 w 54"/>
                <a:gd name="T61" fmla="*/ 10 h 62"/>
                <a:gd name="T62" fmla="*/ 2 w 54"/>
                <a:gd name="T63" fmla="*/ 8 h 62"/>
                <a:gd name="T64" fmla="*/ 6 w 54"/>
                <a:gd name="T65" fmla="*/ 6 h 62"/>
                <a:gd name="T66" fmla="*/ 10 w 54"/>
                <a:gd name="T67" fmla="*/ 4 h 62"/>
                <a:gd name="T68" fmla="*/ 16 w 54"/>
                <a:gd name="T69" fmla="*/ 2 h 62"/>
                <a:gd name="T70" fmla="*/ 24 w 54"/>
                <a:gd name="T71" fmla="*/ 0 h 62"/>
                <a:gd name="T72" fmla="*/ 34 w 54"/>
                <a:gd name="T73" fmla="*/ 0 h 62"/>
                <a:gd name="T74" fmla="*/ 40 w 54"/>
                <a:gd name="T75" fmla="*/ 4 h 62"/>
                <a:gd name="T76" fmla="*/ 46 w 54"/>
                <a:gd name="T77"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62">
                  <a:moveTo>
                    <a:pt x="46" y="12"/>
                  </a:moveTo>
                  <a:lnTo>
                    <a:pt x="46" y="12"/>
                  </a:lnTo>
                  <a:lnTo>
                    <a:pt x="48" y="16"/>
                  </a:lnTo>
                  <a:lnTo>
                    <a:pt x="50" y="20"/>
                  </a:lnTo>
                  <a:lnTo>
                    <a:pt x="50" y="22"/>
                  </a:lnTo>
                  <a:lnTo>
                    <a:pt x="52" y="26"/>
                  </a:lnTo>
                  <a:lnTo>
                    <a:pt x="52" y="28"/>
                  </a:lnTo>
                  <a:lnTo>
                    <a:pt x="54" y="30"/>
                  </a:lnTo>
                  <a:lnTo>
                    <a:pt x="54" y="34"/>
                  </a:lnTo>
                  <a:lnTo>
                    <a:pt x="54" y="34"/>
                  </a:lnTo>
                  <a:lnTo>
                    <a:pt x="54" y="36"/>
                  </a:lnTo>
                  <a:lnTo>
                    <a:pt x="54" y="38"/>
                  </a:lnTo>
                  <a:lnTo>
                    <a:pt x="52" y="40"/>
                  </a:lnTo>
                  <a:lnTo>
                    <a:pt x="52" y="44"/>
                  </a:lnTo>
                  <a:lnTo>
                    <a:pt x="50" y="42"/>
                  </a:lnTo>
                  <a:lnTo>
                    <a:pt x="48" y="42"/>
                  </a:lnTo>
                  <a:lnTo>
                    <a:pt x="48" y="42"/>
                  </a:lnTo>
                  <a:lnTo>
                    <a:pt x="48" y="42"/>
                  </a:lnTo>
                  <a:lnTo>
                    <a:pt x="46" y="42"/>
                  </a:lnTo>
                  <a:lnTo>
                    <a:pt x="46" y="42"/>
                  </a:lnTo>
                  <a:lnTo>
                    <a:pt x="44" y="44"/>
                  </a:lnTo>
                  <a:lnTo>
                    <a:pt x="44" y="46"/>
                  </a:lnTo>
                  <a:lnTo>
                    <a:pt x="42" y="48"/>
                  </a:lnTo>
                  <a:lnTo>
                    <a:pt x="40" y="52"/>
                  </a:lnTo>
                  <a:lnTo>
                    <a:pt x="38" y="54"/>
                  </a:lnTo>
                  <a:lnTo>
                    <a:pt x="38" y="56"/>
                  </a:lnTo>
                  <a:lnTo>
                    <a:pt x="36" y="58"/>
                  </a:lnTo>
                  <a:lnTo>
                    <a:pt x="36" y="60"/>
                  </a:lnTo>
                  <a:lnTo>
                    <a:pt x="36" y="60"/>
                  </a:lnTo>
                  <a:lnTo>
                    <a:pt x="36" y="62"/>
                  </a:lnTo>
                  <a:lnTo>
                    <a:pt x="30" y="58"/>
                  </a:lnTo>
                  <a:lnTo>
                    <a:pt x="32" y="58"/>
                  </a:lnTo>
                  <a:lnTo>
                    <a:pt x="32" y="56"/>
                  </a:lnTo>
                  <a:lnTo>
                    <a:pt x="32" y="56"/>
                  </a:lnTo>
                  <a:lnTo>
                    <a:pt x="32" y="56"/>
                  </a:lnTo>
                  <a:lnTo>
                    <a:pt x="32" y="54"/>
                  </a:lnTo>
                  <a:lnTo>
                    <a:pt x="30" y="52"/>
                  </a:lnTo>
                  <a:lnTo>
                    <a:pt x="30" y="50"/>
                  </a:lnTo>
                  <a:lnTo>
                    <a:pt x="28" y="48"/>
                  </a:lnTo>
                  <a:lnTo>
                    <a:pt x="28" y="46"/>
                  </a:lnTo>
                  <a:lnTo>
                    <a:pt x="26" y="44"/>
                  </a:lnTo>
                  <a:lnTo>
                    <a:pt x="24" y="42"/>
                  </a:lnTo>
                  <a:lnTo>
                    <a:pt x="24" y="40"/>
                  </a:lnTo>
                  <a:lnTo>
                    <a:pt x="22" y="38"/>
                  </a:lnTo>
                  <a:lnTo>
                    <a:pt x="20" y="38"/>
                  </a:lnTo>
                  <a:lnTo>
                    <a:pt x="20" y="36"/>
                  </a:lnTo>
                  <a:lnTo>
                    <a:pt x="18" y="36"/>
                  </a:lnTo>
                  <a:lnTo>
                    <a:pt x="14" y="34"/>
                  </a:lnTo>
                  <a:lnTo>
                    <a:pt x="12" y="34"/>
                  </a:lnTo>
                  <a:lnTo>
                    <a:pt x="10" y="32"/>
                  </a:lnTo>
                  <a:lnTo>
                    <a:pt x="10" y="32"/>
                  </a:lnTo>
                  <a:lnTo>
                    <a:pt x="8" y="30"/>
                  </a:lnTo>
                  <a:lnTo>
                    <a:pt x="6" y="28"/>
                  </a:lnTo>
                  <a:lnTo>
                    <a:pt x="4" y="24"/>
                  </a:lnTo>
                  <a:lnTo>
                    <a:pt x="4" y="22"/>
                  </a:lnTo>
                  <a:lnTo>
                    <a:pt x="2" y="18"/>
                  </a:lnTo>
                  <a:lnTo>
                    <a:pt x="2" y="16"/>
                  </a:lnTo>
                  <a:lnTo>
                    <a:pt x="0" y="14"/>
                  </a:lnTo>
                  <a:lnTo>
                    <a:pt x="0" y="14"/>
                  </a:lnTo>
                  <a:lnTo>
                    <a:pt x="0" y="12"/>
                  </a:lnTo>
                  <a:lnTo>
                    <a:pt x="0" y="12"/>
                  </a:lnTo>
                  <a:lnTo>
                    <a:pt x="0" y="10"/>
                  </a:lnTo>
                  <a:lnTo>
                    <a:pt x="2" y="10"/>
                  </a:lnTo>
                  <a:lnTo>
                    <a:pt x="2" y="8"/>
                  </a:lnTo>
                  <a:lnTo>
                    <a:pt x="4" y="6"/>
                  </a:lnTo>
                  <a:lnTo>
                    <a:pt x="6" y="6"/>
                  </a:lnTo>
                  <a:lnTo>
                    <a:pt x="8" y="4"/>
                  </a:lnTo>
                  <a:lnTo>
                    <a:pt x="10" y="4"/>
                  </a:lnTo>
                  <a:lnTo>
                    <a:pt x="14" y="2"/>
                  </a:lnTo>
                  <a:lnTo>
                    <a:pt x="16" y="2"/>
                  </a:lnTo>
                  <a:lnTo>
                    <a:pt x="20" y="0"/>
                  </a:lnTo>
                  <a:lnTo>
                    <a:pt x="24" y="0"/>
                  </a:lnTo>
                  <a:lnTo>
                    <a:pt x="26" y="0"/>
                  </a:lnTo>
                  <a:lnTo>
                    <a:pt x="34" y="0"/>
                  </a:lnTo>
                  <a:lnTo>
                    <a:pt x="36" y="0"/>
                  </a:lnTo>
                  <a:lnTo>
                    <a:pt x="40" y="4"/>
                  </a:lnTo>
                  <a:lnTo>
                    <a:pt x="44" y="8"/>
                  </a:lnTo>
                  <a:lnTo>
                    <a:pt x="46" y="10"/>
                  </a:lnTo>
                  <a:lnTo>
                    <a:pt x="46" y="1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3" name="Freeform 351">
              <a:extLst>
                <a:ext uri="{FF2B5EF4-FFF2-40B4-BE49-F238E27FC236}">
                  <a16:creationId xmlns:a16="http://schemas.microsoft.com/office/drawing/2014/main" id="{1D065BC6-EB56-4F1C-B3F1-40470E73F62E}"/>
                </a:ext>
              </a:extLst>
            </p:cNvPr>
            <p:cNvSpPr>
              <a:spLocks/>
            </p:cNvSpPr>
            <p:nvPr/>
          </p:nvSpPr>
          <p:spPr bwMode="auto">
            <a:xfrm>
              <a:off x="4719551" y="3267479"/>
              <a:ext cx="93532" cy="124709"/>
            </a:xfrm>
            <a:custGeom>
              <a:avLst/>
              <a:gdLst>
                <a:gd name="T0" fmla="*/ 20 w 54"/>
                <a:gd name="T1" fmla="*/ 2 h 72"/>
                <a:gd name="T2" fmla="*/ 18 w 54"/>
                <a:gd name="T3" fmla="*/ 2 h 72"/>
                <a:gd name="T4" fmla="*/ 14 w 54"/>
                <a:gd name="T5" fmla="*/ 2 h 72"/>
                <a:gd name="T6" fmla="*/ 12 w 54"/>
                <a:gd name="T7" fmla="*/ 4 h 72"/>
                <a:gd name="T8" fmla="*/ 10 w 54"/>
                <a:gd name="T9" fmla="*/ 4 h 72"/>
                <a:gd name="T10" fmla="*/ 4 w 54"/>
                <a:gd name="T11" fmla="*/ 8 h 72"/>
                <a:gd name="T12" fmla="*/ 2 w 54"/>
                <a:gd name="T13" fmla="*/ 8 h 72"/>
                <a:gd name="T14" fmla="*/ 2 w 54"/>
                <a:gd name="T15" fmla="*/ 12 h 72"/>
                <a:gd name="T16" fmla="*/ 4 w 54"/>
                <a:gd name="T17" fmla="*/ 16 h 72"/>
                <a:gd name="T18" fmla="*/ 8 w 54"/>
                <a:gd name="T19" fmla="*/ 24 h 72"/>
                <a:gd name="T20" fmla="*/ 10 w 54"/>
                <a:gd name="T21" fmla="*/ 30 h 72"/>
                <a:gd name="T22" fmla="*/ 12 w 54"/>
                <a:gd name="T23" fmla="*/ 34 h 72"/>
                <a:gd name="T24" fmla="*/ 12 w 54"/>
                <a:gd name="T25" fmla="*/ 38 h 72"/>
                <a:gd name="T26" fmla="*/ 12 w 54"/>
                <a:gd name="T27" fmla="*/ 40 h 72"/>
                <a:gd name="T28" fmla="*/ 10 w 54"/>
                <a:gd name="T29" fmla="*/ 46 h 72"/>
                <a:gd name="T30" fmla="*/ 14 w 54"/>
                <a:gd name="T31" fmla="*/ 48 h 72"/>
                <a:gd name="T32" fmla="*/ 18 w 54"/>
                <a:gd name="T33" fmla="*/ 48 h 72"/>
                <a:gd name="T34" fmla="*/ 20 w 54"/>
                <a:gd name="T35" fmla="*/ 50 h 72"/>
                <a:gd name="T36" fmla="*/ 22 w 54"/>
                <a:gd name="T37" fmla="*/ 52 h 72"/>
                <a:gd name="T38" fmla="*/ 24 w 54"/>
                <a:gd name="T39" fmla="*/ 54 h 72"/>
                <a:gd name="T40" fmla="*/ 30 w 54"/>
                <a:gd name="T41" fmla="*/ 56 h 72"/>
                <a:gd name="T42" fmla="*/ 32 w 54"/>
                <a:gd name="T43" fmla="*/ 60 h 72"/>
                <a:gd name="T44" fmla="*/ 34 w 54"/>
                <a:gd name="T45" fmla="*/ 60 h 72"/>
                <a:gd name="T46" fmla="*/ 36 w 54"/>
                <a:gd name="T47" fmla="*/ 64 h 72"/>
                <a:gd name="T48" fmla="*/ 38 w 54"/>
                <a:gd name="T49" fmla="*/ 68 h 72"/>
                <a:gd name="T50" fmla="*/ 38 w 54"/>
                <a:gd name="T51" fmla="*/ 70 h 72"/>
                <a:gd name="T52" fmla="*/ 42 w 54"/>
                <a:gd name="T53" fmla="*/ 70 h 72"/>
                <a:gd name="T54" fmla="*/ 46 w 54"/>
                <a:gd name="T55" fmla="*/ 68 h 72"/>
                <a:gd name="T56" fmla="*/ 48 w 54"/>
                <a:gd name="T57" fmla="*/ 66 h 72"/>
                <a:gd name="T58" fmla="*/ 52 w 54"/>
                <a:gd name="T59" fmla="*/ 66 h 72"/>
                <a:gd name="T60" fmla="*/ 52 w 54"/>
                <a:gd name="T61" fmla="*/ 58 h 72"/>
                <a:gd name="T62" fmla="*/ 52 w 54"/>
                <a:gd name="T63" fmla="*/ 54 h 72"/>
                <a:gd name="T64" fmla="*/ 50 w 54"/>
                <a:gd name="T65" fmla="*/ 52 h 72"/>
                <a:gd name="T66" fmla="*/ 46 w 54"/>
                <a:gd name="T67" fmla="*/ 44 h 72"/>
                <a:gd name="T68" fmla="*/ 44 w 54"/>
                <a:gd name="T69" fmla="*/ 40 h 72"/>
                <a:gd name="T70" fmla="*/ 42 w 54"/>
                <a:gd name="T71" fmla="*/ 36 h 72"/>
                <a:gd name="T72" fmla="*/ 42 w 54"/>
                <a:gd name="T73" fmla="*/ 34 h 72"/>
                <a:gd name="T74" fmla="*/ 42 w 54"/>
                <a:gd name="T75" fmla="*/ 32 h 72"/>
                <a:gd name="T76" fmla="*/ 44 w 54"/>
                <a:gd name="T77" fmla="*/ 30 h 72"/>
                <a:gd name="T78" fmla="*/ 48 w 54"/>
                <a:gd name="T79" fmla="*/ 26 h 72"/>
                <a:gd name="T80" fmla="*/ 54 w 54"/>
                <a:gd name="T81" fmla="*/ 22 h 72"/>
                <a:gd name="T82" fmla="*/ 52 w 54"/>
                <a:gd name="T83" fmla="*/ 18 h 72"/>
                <a:gd name="T84" fmla="*/ 46 w 54"/>
                <a:gd name="T85" fmla="*/ 14 h 72"/>
                <a:gd name="T86" fmla="*/ 40 w 54"/>
                <a:gd name="T87" fmla="*/ 10 h 72"/>
                <a:gd name="T88" fmla="*/ 22 w 54"/>
                <a:gd name="T89" fmla="*/ 0 h 72"/>
                <a:gd name="T90" fmla="*/ 20 w 54"/>
                <a:gd name="T91"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4" h="72">
                  <a:moveTo>
                    <a:pt x="20" y="2"/>
                  </a:moveTo>
                  <a:lnTo>
                    <a:pt x="20" y="2"/>
                  </a:lnTo>
                  <a:lnTo>
                    <a:pt x="20" y="2"/>
                  </a:lnTo>
                  <a:lnTo>
                    <a:pt x="18" y="2"/>
                  </a:lnTo>
                  <a:lnTo>
                    <a:pt x="16" y="2"/>
                  </a:lnTo>
                  <a:lnTo>
                    <a:pt x="14" y="2"/>
                  </a:lnTo>
                  <a:lnTo>
                    <a:pt x="12" y="2"/>
                  </a:lnTo>
                  <a:lnTo>
                    <a:pt x="12" y="4"/>
                  </a:lnTo>
                  <a:lnTo>
                    <a:pt x="10" y="4"/>
                  </a:lnTo>
                  <a:lnTo>
                    <a:pt x="10" y="4"/>
                  </a:lnTo>
                  <a:lnTo>
                    <a:pt x="6" y="6"/>
                  </a:lnTo>
                  <a:lnTo>
                    <a:pt x="4" y="8"/>
                  </a:lnTo>
                  <a:lnTo>
                    <a:pt x="2" y="8"/>
                  </a:lnTo>
                  <a:lnTo>
                    <a:pt x="2" y="8"/>
                  </a:lnTo>
                  <a:lnTo>
                    <a:pt x="0" y="10"/>
                  </a:lnTo>
                  <a:lnTo>
                    <a:pt x="2" y="12"/>
                  </a:lnTo>
                  <a:lnTo>
                    <a:pt x="4" y="14"/>
                  </a:lnTo>
                  <a:lnTo>
                    <a:pt x="4" y="16"/>
                  </a:lnTo>
                  <a:lnTo>
                    <a:pt x="6" y="20"/>
                  </a:lnTo>
                  <a:lnTo>
                    <a:pt x="8" y="24"/>
                  </a:lnTo>
                  <a:lnTo>
                    <a:pt x="10" y="26"/>
                  </a:lnTo>
                  <a:lnTo>
                    <a:pt x="10" y="30"/>
                  </a:lnTo>
                  <a:lnTo>
                    <a:pt x="12" y="32"/>
                  </a:lnTo>
                  <a:lnTo>
                    <a:pt x="12" y="34"/>
                  </a:lnTo>
                  <a:lnTo>
                    <a:pt x="12" y="38"/>
                  </a:lnTo>
                  <a:lnTo>
                    <a:pt x="12" y="38"/>
                  </a:lnTo>
                  <a:lnTo>
                    <a:pt x="12" y="38"/>
                  </a:lnTo>
                  <a:lnTo>
                    <a:pt x="12" y="40"/>
                  </a:lnTo>
                  <a:lnTo>
                    <a:pt x="10" y="44"/>
                  </a:lnTo>
                  <a:lnTo>
                    <a:pt x="10" y="46"/>
                  </a:lnTo>
                  <a:lnTo>
                    <a:pt x="10" y="48"/>
                  </a:lnTo>
                  <a:lnTo>
                    <a:pt x="14" y="48"/>
                  </a:lnTo>
                  <a:lnTo>
                    <a:pt x="16" y="48"/>
                  </a:lnTo>
                  <a:lnTo>
                    <a:pt x="18" y="48"/>
                  </a:lnTo>
                  <a:lnTo>
                    <a:pt x="20" y="50"/>
                  </a:lnTo>
                  <a:lnTo>
                    <a:pt x="20" y="50"/>
                  </a:lnTo>
                  <a:lnTo>
                    <a:pt x="20" y="50"/>
                  </a:lnTo>
                  <a:lnTo>
                    <a:pt x="22" y="52"/>
                  </a:lnTo>
                  <a:lnTo>
                    <a:pt x="22" y="54"/>
                  </a:lnTo>
                  <a:lnTo>
                    <a:pt x="24" y="54"/>
                  </a:lnTo>
                  <a:lnTo>
                    <a:pt x="28" y="56"/>
                  </a:lnTo>
                  <a:lnTo>
                    <a:pt x="30" y="56"/>
                  </a:lnTo>
                  <a:lnTo>
                    <a:pt x="30" y="58"/>
                  </a:lnTo>
                  <a:lnTo>
                    <a:pt x="32" y="60"/>
                  </a:lnTo>
                  <a:lnTo>
                    <a:pt x="34" y="60"/>
                  </a:lnTo>
                  <a:lnTo>
                    <a:pt x="34" y="60"/>
                  </a:lnTo>
                  <a:lnTo>
                    <a:pt x="34" y="62"/>
                  </a:lnTo>
                  <a:lnTo>
                    <a:pt x="36" y="64"/>
                  </a:lnTo>
                  <a:lnTo>
                    <a:pt x="36" y="68"/>
                  </a:lnTo>
                  <a:lnTo>
                    <a:pt x="38" y="68"/>
                  </a:lnTo>
                  <a:lnTo>
                    <a:pt x="38" y="70"/>
                  </a:lnTo>
                  <a:lnTo>
                    <a:pt x="38" y="70"/>
                  </a:lnTo>
                  <a:lnTo>
                    <a:pt x="40" y="72"/>
                  </a:lnTo>
                  <a:lnTo>
                    <a:pt x="42" y="70"/>
                  </a:lnTo>
                  <a:lnTo>
                    <a:pt x="44" y="68"/>
                  </a:lnTo>
                  <a:lnTo>
                    <a:pt x="46" y="68"/>
                  </a:lnTo>
                  <a:lnTo>
                    <a:pt x="48" y="66"/>
                  </a:lnTo>
                  <a:lnTo>
                    <a:pt x="48" y="66"/>
                  </a:lnTo>
                  <a:lnTo>
                    <a:pt x="50" y="66"/>
                  </a:lnTo>
                  <a:lnTo>
                    <a:pt x="52" y="66"/>
                  </a:lnTo>
                  <a:lnTo>
                    <a:pt x="52" y="62"/>
                  </a:lnTo>
                  <a:lnTo>
                    <a:pt x="52" y="58"/>
                  </a:lnTo>
                  <a:lnTo>
                    <a:pt x="52" y="56"/>
                  </a:lnTo>
                  <a:lnTo>
                    <a:pt x="52" y="54"/>
                  </a:lnTo>
                  <a:lnTo>
                    <a:pt x="50" y="54"/>
                  </a:lnTo>
                  <a:lnTo>
                    <a:pt x="50" y="52"/>
                  </a:lnTo>
                  <a:lnTo>
                    <a:pt x="48" y="48"/>
                  </a:lnTo>
                  <a:lnTo>
                    <a:pt x="46" y="44"/>
                  </a:lnTo>
                  <a:lnTo>
                    <a:pt x="44" y="42"/>
                  </a:lnTo>
                  <a:lnTo>
                    <a:pt x="44" y="40"/>
                  </a:lnTo>
                  <a:lnTo>
                    <a:pt x="42" y="38"/>
                  </a:lnTo>
                  <a:lnTo>
                    <a:pt x="42" y="36"/>
                  </a:lnTo>
                  <a:lnTo>
                    <a:pt x="42" y="36"/>
                  </a:lnTo>
                  <a:lnTo>
                    <a:pt x="42" y="34"/>
                  </a:lnTo>
                  <a:lnTo>
                    <a:pt x="42" y="32"/>
                  </a:lnTo>
                  <a:lnTo>
                    <a:pt x="42" y="32"/>
                  </a:lnTo>
                  <a:lnTo>
                    <a:pt x="42" y="32"/>
                  </a:lnTo>
                  <a:lnTo>
                    <a:pt x="44" y="30"/>
                  </a:lnTo>
                  <a:lnTo>
                    <a:pt x="44" y="28"/>
                  </a:lnTo>
                  <a:lnTo>
                    <a:pt x="48" y="26"/>
                  </a:lnTo>
                  <a:lnTo>
                    <a:pt x="50" y="26"/>
                  </a:lnTo>
                  <a:lnTo>
                    <a:pt x="54" y="22"/>
                  </a:lnTo>
                  <a:lnTo>
                    <a:pt x="54" y="22"/>
                  </a:lnTo>
                  <a:lnTo>
                    <a:pt x="52" y="18"/>
                  </a:lnTo>
                  <a:lnTo>
                    <a:pt x="48" y="16"/>
                  </a:lnTo>
                  <a:lnTo>
                    <a:pt x="46" y="14"/>
                  </a:lnTo>
                  <a:lnTo>
                    <a:pt x="44" y="12"/>
                  </a:lnTo>
                  <a:lnTo>
                    <a:pt x="40" y="10"/>
                  </a:lnTo>
                  <a:lnTo>
                    <a:pt x="32" y="8"/>
                  </a:lnTo>
                  <a:lnTo>
                    <a:pt x="22" y="0"/>
                  </a:lnTo>
                  <a:lnTo>
                    <a:pt x="22" y="2"/>
                  </a:lnTo>
                  <a:lnTo>
                    <a:pt x="20" y="2"/>
                  </a:lnTo>
                  <a:lnTo>
                    <a:pt x="20"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4" name="Freeform 352">
              <a:extLst>
                <a:ext uri="{FF2B5EF4-FFF2-40B4-BE49-F238E27FC236}">
                  <a16:creationId xmlns:a16="http://schemas.microsoft.com/office/drawing/2014/main" id="{91CD64B5-2B58-4BF5-A3A8-EFA720C37E1B}"/>
                </a:ext>
              </a:extLst>
            </p:cNvPr>
            <p:cNvSpPr>
              <a:spLocks/>
            </p:cNvSpPr>
            <p:nvPr/>
          </p:nvSpPr>
          <p:spPr bwMode="auto">
            <a:xfrm>
              <a:off x="4719551" y="3267479"/>
              <a:ext cx="93532" cy="124709"/>
            </a:xfrm>
            <a:custGeom>
              <a:avLst/>
              <a:gdLst>
                <a:gd name="T0" fmla="*/ 20 w 54"/>
                <a:gd name="T1" fmla="*/ 2 h 72"/>
                <a:gd name="T2" fmla="*/ 18 w 54"/>
                <a:gd name="T3" fmla="*/ 2 h 72"/>
                <a:gd name="T4" fmla="*/ 14 w 54"/>
                <a:gd name="T5" fmla="*/ 2 h 72"/>
                <a:gd name="T6" fmla="*/ 12 w 54"/>
                <a:gd name="T7" fmla="*/ 4 h 72"/>
                <a:gd name="T8" fmla="*/ 10 w 54"/>
                <a:gd name="T9" fmla="*/ 4 h 72"/>
                <a:gd name="T10" fmla="*/ 4 w 54"/>
                <a:gd name="T11" fmla="*/ 8 h 72"/>
                <a:gd name="T12" fmla="*/ 2 w 54"/>
                <a:gd name="T13" fmla="*/ 8 h 72"/>
                <a:gd name="T14" fmla="*/ 2 w 54"/>
                <a:gd name="T15" fmla="*/ 12 h 72"/>
                <a:gd name="T16" fmla="*/ 4 w 54"/>
                <a:gd name="T17" fmla="*/ 16 h 72"/>
                <a:gd name="T18" fmla="*/ 8 w 54"/>
                <a:gd name="T19" fmla="*/ 24 h 72"/>
                <a:gd name="T20" fmla="*/ 10 w 54"/>
                <a:gd name="T21" fmla="*/ 30 h 72"/>
                <a:gd name="T22" fmla="*/ 12 w 54"/>
                <a:gd name="T23" fmla="*/ 34 h 72"/>
                <a:gd name="T24" fmla="*/ 12 w 54"/>
                <a:gd name="T25" fmla="*/ 38 h 72"/>
                <a:gd name="T26" fmla="*/ 12 w 54"/>
                <a:gd name="T27" fmla="*/ 40 h 72"/>
                <a:gd name="T28" fmla="*/ 10 w 54"/>
                <a:gd name="T29" fmla="*/ 46 h 72"/>
                <a:gd name="T30" fmla="*/ 14 w 54"/>
                <a:gd name="T31" fmla="*/ 48 h 72"/>
                <a:gd name="T32" fmla="*/ 18 w 54"/>
                <a:gd name="T33" fmla="*/ 48 h 72"/>
                <a:gd name="T34" fmla="*/ 20 w 54"/>
                <a:gd name="T35" fmla="*/ 50 h 72"/>
                <a:gd name="T36" fmla="*/ 22 w 54"/>
                <a:gd name="T37" fmla="*/ 52 h 72"/>
                <a:gd name="T38" fmla="*/ 24 w 54"/>
                <a:gd name="T39" fmla="*/ 54 h 72"/>
                <a:gd name="T40" fmla="*/ 30 w 54"/>
                <a:gd name="T41" fmla="*/ 56 h 72"/>
                <a:gd name="T42" fmla="*/ 32 w 54"/>
                <a:gd name="T43" fmla="*/ 60 h 72"/>
                <a:gd name="T44" fmla="*/ 34 w 54"/>
                <a:gd name="T45" fmla="*/ 60 h 72"/>
                <a:gd name="T46" fmla="*/ 36 w 54"/>
                <a:gd name="T47" fmla="*/ 64 h 72"/>
                <a:gd name="T48" fmla="*/ 38 w 54"/>
                <a:gd name="T49" fmla="*/ 68 h 72"/>
                <a:gd name="T50" fmla="*/ 38 w 54"/>
                <a:gd name="T51" fmla="*/ 70 h 72"/>
                <a:gd name="T52" fmla="*/ 42 w 54"/>
                <a:gd name="T53" fmla="*/ 70 h 72"/>
                <a:gd name="T54" fmla="*/ 46 w 54"/>
                <a:gd name="T55" fmla="*/ 68 h 72"/>
                <a:gd name="T56" fmla="*/ 48 w 54"/>
                <a:gd name="T57" fmla="*/ 66 h 72"/>
                <a:gd name="T58" fmla="*/ 52 w 54"/>
                <a:gd name="T59" fmla="*/ 66 h 72"/>
                <a:gd name="T60" fmla="*/ 52 w 54"/>
                <a:gd name="T61" fmla="*/ 58 h 72"/>
                <a:gd name="T62" fmla="*/ 52 w 54"/>
                <a:gd name="T63" fmla="*/ 54 h 72"/>
                <a:gd name="T64" fmla="*/ 50 w 54"/>
                <a:gd name="T65" fmla="*/ 52 h 72"/>
                <a:gd name="T66" fmla="*/ 46 w 54"/>
                <a:gd name="T67" fmla="*/ 44 h 72"/>
                <a:gd name="T68" fmla="*/ 44 w 54"/>
                <a:gd name="T69" fmla="*/ 40 h 72"/>
                <a:gd name="T70" fmla="*/ 42 w 54"/>
                <a:gd name="T71" fmla="*/ 36 h 72"/>
                <a:gd name="T72" fmla="*/ 42 w 54"/>
                <a:gd name="T73" fmla="*/ 34 h 72"/>
                <a:gd name="T74" fmla="*/ 42 w 54"/>
                <a:gd name="T75" fmla="*/ 32 h 72"/>
                <a:gd name="T76" fmla="*/ 44 w 54"/>
                <a:gd name="T77" fmla="*/ 30 h 72"/>
                <a:gd name="T78" fmla="*/ 48 w 54"/>
                <a:gd name="T79" fmla="*/ 26 h 72"/>
                <a:gd name="T80" fmla="*/ 54 w 54"/>
                <a:gd name="T81" fmla="*/ 22 h 72"/>
                <a:gd name="T82" fmla="*/ 52 w 54"/>
                <a:gd name="T83" fmla="*/ 18 h 72"/>
                <a:gd name="T84" fmla="*/ 46 w 54"/>
                <a:gd name="T85" fmla="*/ 14 h 72"/>
                <a:gd name="T86" fmla="*/ 40 w 54"/>
                <a:gd name="T87" fmla="*/ 10 h 72"/>
                <a:gd name="T88" fmla="*/ 22 w 54"/>
                <a:gd name="T89" fmla="*/ 0 h 72"/>
                <a:gd name="T90" fmla="*/ 20 w 54"/>
                <a:gd name="T91"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4" h="72">
                  <a:moveTo>
                    <a:pt x="20" y="2"/>
                  </a:moveTo>
                  <a:lnTo>
                    <a:pt x="20" y="2"/>
                  </a:lnTo>
                  <a:lnTo>
                    <a:pt x="20" y="2"/>
                  </a:lnTo>
                  <a:lnTo>
                    <a:pt x="18" y="2"/>
                  </a:lnTo>
                  <a:lnTo>
                    <a:pt x="16" y="2"/>
                  </a:lnTo>
                  <a:lnTo>
                    <a:pt x="14" y="2"/>
                  </a:lnTo>
                  <a:lnTo>
                    <a:pt x="12" y="2"/>
                  </a:lnTo>
                  <a:lnTo>
                    <a:pt x="12" y="4"/>
                  </a:lnTo>
                  <a:lnTo>
                    <a:pt x="10" y="4"/>
                  </a:lnTo>
                  <a:lnTo>
                    <a:pt x="10" y="4"/>
                  </a:lnTo>
                  <a:lnTo>
                    <a:pt x="6" y="6"/>
                  </a:lnTo>
                  <a:lnTo>
                    <a:pt x="4" y="8"/>
                  </a:lnTo>
                  <a:lnTo>
                    <a:pt x="2" y="8"/>
                  </a:lnTo>
                  <a:lnTo>
                    <a:pt x="2" y="8"/>
                  </a:lnTo>
                  <a:lnTo>
                    <a:pt x="0" y="10"/>
                  </a:lnTo>
                  <a:lnTo>
                    <a:pt x="2" y="12"/>
                  </a:lnTo>
                  <a:lnTo>
                    <a:pt x="4" y="14"/>
                  </a:lnTo>
                  <a:lnTo>
                    <a:pt x="4" y="16"/>
                  </a:lnTo>
                  <a:lnTo>
                    <a:pt x="6" y="20"/>
                  </a:lnTo>
                  <a:lnTo>
                    <a:pt x="8" y="24"/>
                  </a:lnTo>
                  <a:lnTo>
                    <a:pt x="10" y="26"/>
                  </a:lnTo>
                  <a:lnTo>
                    <a:pt x="10" y="30"/>
                  </a:lnTo>
                  <a:lnTo>
                    <a:pt x="12" y="32"/>
                  </a:lnTo>
                  <a:lnTo>
                    <a:pt x="12" y="34"/>
                  </a:lnTo>
                  <a:lnTo>
                    <a:pt x="12" y="38"/>
                  </a:lnTo>
                  <a:lnTo>
                    <a:pt x="12" y="38"/>
                  </a:lnTo>
                  <a:lnTo>
                    <a:pt x="12" y="38"/>
                  </a:lnTo>
                  <a:lnTo>
                    <a:pt x="12" y="40"/>
                  </a:lnTo>
                  <a:lnTo>
                    <a:pt x="10" y="44"/>
                  </a:lnTo>
                  <a:lnTo>
                    <a:pt x="10" y="46"/>
                  </a:lnTo>
                  <a:lnTo>
                    <a:pt x="10" y="48"/>
                  </a:lnTo>
                  <a:lnTo>
                    <a:pt x="14" y="48"/>
                  </a:lnTo>
                  <a:lnTo>
                    <a:pt x="16" y="48"/>
                  </a:lnTo>
                  <a:lnTo>
                    <a:pt x="18" y="48"/>
                  </a:lnTo>
                  <a:lnTo>
                    <a:pt x="20" y="50"/>
                  </a:lnTo>
                  <a:lnTo>
                    <a:pt x="20" y="50"/>
                  </a:lnTo>
                  <a:lnTo>
                    <a:pt x="20" y="50"/>
                  </a:lnTo>
                  <a:lnTo>
                    <a:pt x="22" y="52"/>
                  </a:lnTo>
                  <a:lnTo>
                    <a:pt x="22" y="54"/>
                  </a:lnTo>
                  <a:lnTo>
                    <a:pt x="24" y="54"/>
                  </a:lnTo>
                  <a:lnTo>
                    <a:pt x="28" y="56"/>
                  </a:lnTo>
                  <a:lnTo>
                    <a:pt x="30" y="56"/>
                  </a:lnTo>
                  <a:lnTo>
                    <a:pt x="30" y="58"/>
                  </a:lnTo>
                  <a:lnTo>
                    <a:pt x="32" y="60"/>
                  </a:lnTo>
                  <a:lnTo>
                    <a:pt x="34" y="60"/>
                  </a:lnTo>
                  <a:lnTo>
                    <a:pt x="34" y="60"/>
                  </a:lnTo>
                  <a:lnTo>
                    <a:pt x="34" y="62"/>
                  </a:lnTo>
                  <a:lnTo>
                    <a:pt x="36" y="64"/>
                  </a:lnTo>
                  <a:lnTo>
                    <a:pt x="36" y="68"/>
                  </a:lnTo>
                  <a:lnTo>
                    <a:pt x="38" y="68"/>
                  </a:lnTo>
                  <a:lnTo>
                    <a:pt x="38" y="70"/>
                  </a:lnTo>
                  <a:lnTo>
                    <a:pt x="38" y="70"/>
                  </a:lnTo>
                  <a:lnTo>
                    <a:pt x="40" y="72"/>
                  </a:lnTo>
                  <a:lnTo>
                    <a:pt x="42" y="70"/>
                  </a:lnTo>
                  <a:lnTo>
                    <a:pt x="44" y="68"/>
                  </a:lnTo>
                  <a:lnTo>
                    <a:pt x="46" y="68"/>
                  </a:lnTo>
                  <a:lnTo>
                    <a:pt x="48" y="66"/>
                  </a:lnTo>
                  <a:lnTo>
                    <a:pt x="48" y="66"/>
                  </a:lnTo>
                  <a:lnTo>
                    <a:pt x="50" y="66"/>
                  </a:lnTo>
                  <a:lnTo>
                    <a:pt x="52" y="66"/>
                  </a:lnTo>
                  <a:lnTo>
                    <a:pt x="52" y="62"/>
                  </a:lnTo>
                  <a:lnTo>
                    <a:pt x="52" y="58"/>
                  </a:lnTo>
                  <a:lnTo>
                    <a:pt x="52" y="56"/>
                  </a:lnTo>
                  <a:lnTo>
                    <a:pt x="52" y="54"/>
                  </a:lnTo>
                  <a:lnTo>
                    <a:pt x="50" y="54"/>
                  </a:lnTo>
                  <a:lnTo>
                    <a:pt x="50" y="52"/>
                  </a:lnTo>
                  <a:lnTo>
                    <a:pt x="48" y="48"/>
                  </a:lnTo>
                  <a:lnTo>
                    <a:pt x="46" y="44"/>
                  </a:lnTo>
                  <a:lnTo>
                    <a:pt x="44" y="42"/>
                  </a:lnTo>
                  <a:lnTo>
                    <a:pt x="44" y="40"/>
                  </a:lnTo>
                  <a:lnTo>
                    <a:pt x="42" y="38"/>
                  </a:lnTo>
                  <a:lnTo>
                    <a:pt x="42" y="36"/>
                  </a:lnTo>
                  <a:lnTo>
                    <a:pt x="42" y="36"/>
                  </a:lnTo>
                  <a:lnTo>
                    <a:pt x="42" y="34"/>
                  </a:lnTo>
                  <a:lnTo>
                    <a:pt x="42" y="32"/>
                  </a:lnTo>
                  <a:lnTo>
                    <a:pt x="42" y="32"/>
                  </a:lnTo>
                  <a:lnTo>
                    <a:pt x="42" y="32"/>
                  </a:lnTo>
                  <a:lnTo>
                    <a:pt x="44" y="30"/>
                  </a:lnTo>
                  <a:lnTo>
                    <a:pt x="44" y="28"/>
                  </a:lnTo>
                  <a:lnTo>
                    <a:pt x="48" y="26"/>
                  </a:lnTo>
                  <a:lnTo>
                    <a:pt x="50" y="26"/>
                  </a:lnTo>
                  <a:lnTo>
                    <a:pt x="54" y="22"/>
                  </a:lnTo>
                  <a:lnTo>
                    <a:pt x="54" y="22"/>
                  </a:lnTo>
                  <a:lnTo>
                    <a:pt x="52" y="18"/>
                  </a:lnTo>
                  <a:lnTo>
                    <a:pt x="48" y="16"/>
                  </a:lnTo>
                  <a:lnTo>
                    <a:pt x="46" y="14"/>
                  </a:lnTo>
                  <a:lnTo>
                    <a:pt x="44" y="12"/>
                  </a:lnTo>
                  <a:lnTo>
                    <a:pt x="40" y="10"/>
                  </a:lnTo>
                  <a:lnTo>
                    <a:pt x="32" y="8"/>
                  </a:lnTo>
                  <a:lnTo>
                    <a:pt x="22" y="0"/>
                  </a:lnTo>
                  <a:lnTo>
                    <a:pt x="22" y="2"/>
                  </a:lnTo>
                  <a:lnTo>
                    <a:pt x="20" y="2"/>
                  </a:lnTo>
                  <a:lnTo>
                    <a:pt x="20"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5" name="Freeform 353">
              <a:extLst>
                <a:ext uri="{FF2B5EF4-FFF2-40B4-BE49-F238E27FC236}">
                  <a16:creationId xmlns:a16="http://schemas.microsoft.com/office/drawing/2014/main" id="{1706BAC0-03F7-4F0E-BE53-A5A778FF2F3A}"/>
                </a:ext>
              </a:extLst>
            </p:cNvPr>
            <p:cNvSpPr>
              <a:spLocks/>
            </p:cNvSpPr>
            <p:nvPr/>
          </p:nvSpPr>
          <p:spPr bwMode="auto">
            <a:xfrm>
              <a:off x="4709159" y="3239766"/>
              <a:ext cx="48498" cy="45034"/>
            </a:xfrm>
            <a:custGeom>
              <a:avLst/>
              <a:gdLst>
                <a:gd name="T0" fmla="*/ 26 w 28"/>
                <a:gd name="T1" fmla="*/ 20 h 26"/>
                <a:gd name="T2" fmla="*/ 26 w 28"/>
                <a:gd name="T3" fmla="*/ 20 h 26"/>
                <a:gd name="T4" fmla="*/ 26 w 28"/>
                <a:gd name="T5" fmla="*/ 20 h 26"/>
                <a:gd name="T6" fmla="*/ 24 w 28"/>
                <a:gd name="T7" fmla="*/ 20 h 26"/>
                <a:gd name="T8" fmla="*/ 22 w 28"/>
                <a:gd name="T9" fmla="*/ 20 h 26"/>
                <a:gd name="T10" fmla="*/ 20 w 28"/>
                <a:gd name="T11" fmla="*/ 20 h 26"/>
                <a:gd name="T12" fmla="*/ 18 w 28"/>
                <a:gd name="T13" fmla="*/ 20 h 26"/>
                <a:gd name="T14" fmla="*/ 18 w 28"/>
                <a:gd name="T15" fmla="*/ 20 h 26"/>
                <a:gd name="T16" fmla="*/ 16 w 28"/>
                <a:gd name="T17" fmla="*/ 20 h 26"/>
                <a:gd name="T18" fmla="*/ 16 w 28"/>
                <a:gd name="T19" fmla="*/ 22 h 26"/>
                <a:gd name="T20" fmla="*/ 12 w 28"/>
                <a:gd name="T21" fmla="*/ 22 h 26"/>
                <a:gd name="T22" fmla="*/ 10 w 28"/>
                <a:gd name="T23" fmla="*/ 24 h 26"/>
                <a:gd name="T24" fmla="*/ 8 w 28"/>
                <a:gd name="T25" fmla="*/ 26 h 26"/>
                <a:gd name="T26" fmla="*/ 6 w 28"/>
                <a:gd name="T27" fmla="*/ 26 h 26"/>
                <a:gd name="T28" fmla="*/ 6 w 28"/>
                <a:gd name="T29" fmla="*/ 26 h 26"/>
                <a:gd name="T30" fmla="*/ 0 w 28"/>
                <a:gd name="T31" fmla="*/ 20 h 26"/>
                <a:gd name="T32" fmla="*/ 0 w 28"/>
                <a:gd name="T33" fmla="*/ 8 h 26"/>
                <a:gd name="T34" fmla="*/ 0 w 28"/>
                <a:gd name="T35" fmla="*/ 8 h 26"/>
                <a:gd name="T36" fmla="*/ 0 w 28"/>
                <a:gd name="T37" fmla="*/ 6 h 26"/>
                <a:gd name="T38" fmla="*/ 2 w 28"/>
                <a:gd name="T39" fmla="*/ 4 h 26"/>
                <a:gd name="T40" fmla="*/ 4 w 28"/>
                <a:gd name="T41" fmla="*/ 4 h 26"/>
                <a:gd name="T42" fmla="*/ 6 w 28"/>
                <a:gd name="T43" fmla="*/ 2 h 26"/>
                <a:gd name="T44" fmla="*/ 6 w 28"/>
                <a:gd name="T45" fmla="*/ 2 h 26"/>
                <a:gd name="T46" fmla="*/ 8 w 28"/>
                <a:gd name="T47" fmla="*/ 0 h 26"/>
                <a:gd name="T48" fmla="*/ 10 w 28"/>
                <a:gd name="T49" fmla="*/ 0 h 26"/>
                <a:gd name="T50" fmla="*/ 10 w 28"/>
                <a:gd name="T51" fmla="*/ 0 h 26"/>
                <a:gd name="T52" fmla="*/ 12 w 28"/>
                <a:gd name="T53" fmla="*/ 0 h 26"/>
                <a:gd name="T54" fmla="*/ 14 w 28"/>
                <a:gd name="T55" fmla="*/ 0 h 26"/>
                <a:gd name="T56" fmla="*/ 18 w 28"/>
                <a:gd name="T57" fmla="*/ 2 h 26"/>
                <a:gd name="T58" fmla="*/ 20 w 28"/>
                <a:gd name="T59" fmla="*/ 2 h 26"/>
                <a:gd name="T60" fmla="*/ 20 w 28"/>
                <a:gd name="T61" fmla="*/ 4 h 26"/>
                <a:gd name="T62" fmla="*/ 20 w 28"/>
                <a:gd name="T63" fmla="*/ 8 h 26"/>
                <a:gd name="T64" fmla="*/ 22 w 28"/>
                <a:gd name="T65" fmla="*/ 10 h 26"/>
                <a:gd name="T66" fmla="*/ 22 w 28"/>
                <a:gd name="T67" fmla="*/ 12 h 26"/>
                <a:gd name="T68" fmla="*/ 22 w 28"/>
                <a:gd name="T69" fmla="*/ 14 h 26"/>
                <a:gd name="T70" fmla="*/ 24 w 28"/>
                <a:gd name="T71" fmla="*/ 14 h 26"/>
                <a:gd name="T72" fmla="*/ 24 w 28"/>
                <a:gd name="T73" fmla="*/ 16 h 26"/>
                <a:gd name="T74" fmla="*/ 24 w 28"/>
                <a:gd name="T75" fmla="*/ 16 h 26"/>
                <a:gd name="T76" fmla="*/ 24 w 28"/>
                <a:gd name="T77" fmla="*/ 16 h 26"/>
                <a:gd name="T78" fmla="*/ 26 w 28"/>
                <a:gd name="T79" fmla="*/ 16 h 26"/>
                <a:gd name="T80" fmla="*/ 28 w 28"/>
                <a:gd name="T81" fmla="*/ 18 h 26"/>
                <a:gd name="T82" fmla="*/ 28 w 28"/>
                <a:gd name="T83" fmla="*/ 18 h 26"/>
                <a:gd name="T84" fmla="*/ 26 w 28"/>
                <a:gd name="T85" fmla="*/ 18 h 26"/>
                <a:gd name="T86" fmla="*/ 26 w 28"/>
                <a:gd name="T87"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 h="26">
                  <a:moveTo>
                    <a:pt x="26" y="20"/>
                  </a:moveTo>
                  <a:lnTo>
                    <a:pt x="26" y="20"/>
                  </a:lnTo>
                  <a:lnTo>
                    <a:pt x="26" y="20"/>
                  </a:lnTo>
                  <a:lnTo>
                    <a:pt x="24" y="20"/>
                  </a:lnTo>
                  <a:lnTo>
                    <a:pt x="22" y="20"/>
                  </a:lnTo>
                  <a:lnTo>
                    <a:pt x="20" y="20"/>
                  </a:lnTo>
                  <a:lnTo>
                    <a:pt x="18" y="20"/>
                  </a:lnTo>
                  <a:lnTo>
                    <a:pt x="18" y="20"/>
                  </a:lnTo>
                  <a:lnTo>
                    <a:pt x="16" y="20"/>
                  </a:lnTo>
                  <a:lnTo>
                    <a:pt x="16" y="22"/>
                  </a:lnTo>
                  <a:lnTo>
                    <a:pt x="12" y="22"/>
                  </a:lnTo>
                  <a:lnTo>
                    <a:pt x="10" y="24"/>
                  </a:lnTo>
                  <a:lnTo>
                    <a:pt x="8" y="26"/>
                  </a:lnTo>
                  <a:lnTo>
                    <a:pt x="6" y="26"/>
                  </a:lnTo>
                  <a:lnTo>
                    <a:pt x="6" y="26"/>
                  </a:lnTo>
                  <a:lnTo>
                    <a:pt x="0" y="20"/>
                  </a:lnTo>
                  <a:lnTo>
                    <a:pt x="0" y="8"/>
                  </a:lnTo>
                  <a:lnTo>
                    <a:pt x="0" y="8"/>
                  </a:lnTo>
                  <a:lnTo>
                    <a:pt x="0" y="6"/>
                  </a:lnTo>
                  <a:lnTo>
                    <a:pt x="2" y="4"/>
                  </a:lnTo>
                  <a:lnTo>
                    <a:pt x="4" y="4"/>
                  </a:lnTo>
                  <a:lnTo>
                    <a:pt x="6" y="2"/>
                  </a:lnTo>
                  <a:lnTo>
                    <a:pt x="6" y="2"/>
                  </a:lnTo>
                  <a:lnTo>
                    <a:pt x="8" y="0"/>
                  </a:lnTo>
                  <a:lnTo>
                    <a:pt x="10" y="0"/>
                  </a:lnTo>
                  <a:lnTo>
                    <a:pt x="10" y="0"/>
                  </a:lnTo>
                  <a:lnTo>
                    <a:pt x="12" y="0"/>
                  </a:lnTo>
                  <a:lnTo>
                    <a:pt x="14" y="0"/>
                  </a:lnTo>
                  <a:lnTo>
                    <a:pt x="18" y="2"/>
                  </a:lnTo>
                  <a:lnTo>
                    <a:pt x="20" y="2"/>
                  </a:lnTo>
                  <a:lnTo>
                    <a:pt x="20" y="4"/>
                  </a:lnTo>
                  <a:lnTo>
                    <a:pt x="20" y="8"/>
                  </a:lnTo>
                  <a:lnTo>
                    <a:pt x="22" y="10"/>
                  </a:lnTo>
                  <a:lnTo>
                    <a:pt x="22" y="12"/>
                  </a:lnTo>
                  <a:lnTo>
                    <a:pt x="22" y="14"/>
                  </a:lnTo>
                  <a:lnTo>
                    <a:pt x="24" y="14"/>
                  </a:lnTo>
                  <a:lnTo>
                    <a:pt x="24" y="16"/>
                  </a:lnTo>
                  <a:lnTo>
                    <a:pt x="24" y="16"/>
                  </a:lnTo>
                  <a:lnTo>
                    <a:pt x="24" y="16"/>
                  </a:lnTo>
                  <a:lnTo>
                    <a:pt x="26" y="16"/>
                  </a:lnTo>
                  <a:lnTo>
                    <a:pt x="28" y="18"/>
                  </a:lnTo>
                  <a:lnTo>
                    <a:pt x="28" y="18"/>
                  </a:lnTo>
                  <a:lnTo>
                    <a:pt x="26" y="18"/>
                  </a:lnTo>
                  <a:lnTo>
                    <a:pt x="26" y="2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6" name="Freeform 354">
              <a:extLst>
                <a:ext uri="{FF2B5EF4-FFF2-40B4-BE49-F238E27FC236}">
                  <a16:creationId xmlns:a16="http://schemas.microsoft.com/office/drawing/2014/main" id="{0D4D9C5C-076E-4705-ACA0-B1626D4BCF78}"/>
                </a:ext>
              </a:extLst>
            </p:cNvPr>
            <p:cNvSpPr>
              <a:spLocks/>
            </p:cNvSpPr>
            <p:nvPr/>
          </p:nvSpPr>
          <p:spPr bwMode="auto">
            <a:xfrm>
              <a:off x="4709159" y="3239766"/>
              <a:ext cx="48498" cy="45034"/>
            </a:xfrm>
            <a:custGeom>
              <a:avLst/>
              <a:gdLst>
                <a:gd name="T0" fmla="*/ 26 w 28"/>
                <a:gd name="T1" fmla="*/ 20 h 26"/>
                <a:gd name="T2" fmla="*/ 26 w 28"/>
                <a:gd name="T3" fmla="*/ 20 h 26"/>
                <a:gd name="T4" fmla="*/ 26 w 28"/>
                <a:gd name="T5" fmla="*/ 20 h 26"/>
                <a:gd name="T6" fmla="*/ 24 w 28"/>
                <a:gd name="T7" fmla="*/ 20 h 26"/>
                <a:gd name="T8" fmla="*/ 22 w 28"/>
                <a:gd name="T9" fmla="*/ 20 h 26"/>
                <a:gd name="T10" fmla="*/ 20 w 28"/>
                <a:gd name="T11" fmla="*/ 20 h 26"/>
                <a:gd name="T12" fmla="*/ 18 w 28"/>
                <a:gd name="T13" fmla="*/ 20 h 26"/>
                <a:gd name="T14" fmla="*/ 18 w 28"/>
                <a:gd name="T15" fmla="*/ 20 h 26"/>
                <a:gd name="T16" fmla="*/ 16 w 28"/>
                <a:gd name="T17" fmla="*/ 20 h 26"/>
                <a:gd name="T18" fmla="*/ 16 w 28"/>
                <a:gd name="T19" fmla="*/ 22 h 26"/>
                <a:gd name="T20" fmla="*/ 12 w 28"/>
                <a:gd name="T21" fmla="*/ 22 h 26"/>
                <a:gd name="T22" fmla="*/ 10 w 28"/>
                <a:gd name="T23" fmla="*/ 24 h 26"/>
                <a:gd name="T24" fmla="*/ 8 w 28"/>
                <a:gd name="T25" fmla="*/ 26 h 26"/>
                <a:gd name="T26" fmla="*/ 6 w 28"/>
                <a:gd name="T27" fmla="*/ 26 h 26"/>
                <a:gd name="T28" fmla="*/ 6 w 28"/>
                <a:gd name="T29" fmla="*/ 26 h 26"/>
                <a:gd name="T30" fmla="*/ 0 w 28"/>
                <a:gd name="T31" fmla="*/ 20 h 26"/>
                <a:gd name="T32" fmla="*/ 0 w 28"/>
                <a:gd name="T33" fmla="*/ 8 h 26"/>
                <a:gd name="T34" fmla="*/ 0 w 28"/>
                <a:gd name="T35" fmla="*/ 8 h 26"/>
                <a:gd name="T36" fmla="*/ 0 w 28"/>
                <a:gd name="T37" fmla="*/ 6 h 26"/>
                <a:gd name="T38" fmla="*/ 2 w 28"/>
                <a:gd name="T39" fmla="*/ 4 h 26"/>
                <a:gd name="T40" fmla="*/ 4 w 28"/>
                <a:gd name="T41" fmla="*/ 4 h 26"/>
                <a:gd name="T42" fmla="*/ 6 w 28"/>
                <a:gd name="T43" fmla="*/ 2 h 26"/>
                <a:gd name="T44" fmla="*/ 6 w 28"/>
                <a:gd name="T45" fmla="*/ 2 h 26"/>
                <a:gd name="T46" fmla="*/ 8 w 28"/>
                <a:gd name="T47" fmla="*/ 0 h 26"/>
                <a:gd name="T48" fmla="*/ 10 w 28"/>
                <a:gd name="T49" fmla="*/ 0 h 26"/>
                <a:gd name="T50" fmla="*/ 10 w 28"/>
                <a:gd name="T51" fmla="*/ 0 h 26"/>
                <a:gd name="T52" fmla="*/ 12 w 28"/>
                <a:gd name="T53" fmla="*/ 0 h 26"/>
                <a:gd name="T54" fmla="*/ 14 w 28"/>
                <a:gd name="T55" fmla="*/ 0 h 26"/>
                <a:gd name="T56" fmla="*/ 18 w 28"/>
                <a:gd name="T57" fmla="*/ 2 h 26"/>
                <a:gd name="T58" fmla="*/ 20 w 28"/>
                <a:gd name="T59" fmla="*/ 2 h 26"/>
                <a:gd name="T60" fmla="*/ 20 w 28"/>
                <a:gd name="T61" fmla="*/ 4 h 26"/>
                <a:gd name="T62" fmla="*/ 20 w 28"/>
                <a:gd name="T63" fmla="*/ 8 h 26"/>
                <a:gd name="T64" fmla="*/ 22 w 28"/>
                <a:gd name="T65" fmla="*/ 10 h 26"/>
                <a:gd name="T66" fmla="*/ 22 w 28"/>
                <a:gd name="T67" fmla="*/ 12 h 26"/>
                <a:gd name="T68" fmla="*/ 22 w 28"/>
                <a:gd name="T69" fmla="*/ 14 h 26"/>
                <a:gd name="T70" fmla="*/ 24 w 28"/>
                <a:gd name="T71" fmla="*/ 14 h 26"/>
                <a:gd name="T72" fmla="*/ 24 w 28"/>
                <a:gd name="T73" fmla="*/ 16 h 26"/>
                <a:gd name="T74" fmla="*/ 24 w 28"/>
                <a:gd name="T75" fmla="*/ 16 h 26"/>
                <a:gd name="T76" fmla="*/ 24 w 28"/>
                <a:gd name="T77" fmla="*/ 16 h 26"/>
                <a:gd name="T78" fmla="*/ 26 w 28"/>
                <a:gd name="T79" fmla="*/ 16 h 26"/>
                <a:gd name="T80" fmla="*/ 28 w 28"/>
                <a:gd name="T81" fmla="*/ 18 h 26"/>
                <a:gd name="T82" fmla="*/ 28 w 28"/>
                <a:gd name="T83" fmla="*/ 18 h 26"/>
                <a:gd name="T84" fmla="*/ 26 w 28"/>
                <a:gd name="T85" fmla="*/ 18 h 26"/>
                <a:gd name="T86" fmla="*/ 26 w 28"/>
                <a:gd name="T87"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 h="26">
                  <a:moveTo>
                    <a:pt x="26" y="20"/>
                  </a:moveTo>
                  <a:lnTo>
                    <a:pt x="26" y="20"/>
                  </a:lnTo>
                  <a:lnTo>
                    <a:pt x="26" y="20"/>
                  </a:lnTo>
                  <a:lnTo>
                    <a:pt x="24" y="20"/>
                  </a:lnTo>
                  <a:lnTo>
                    <a:pt x="22" y="20"/>
                  </a:lnTo>
                  <a:lnTo>
                    <a:pt x="20" y="20"/>
                  </a:lnTo>
                  <a:lnTo>
                    <a:pt x="18" y="20"/>
                  </a:lnTo>
                  <a:lnTo>
                    <a:pt x="18" y="20"/>
                  </a:lnTo>
                  <a:lnTo>
                    <a:pt x="16" y="20"/>
                  </a:lnTo>
                  <a:lnTo>
                    <a:pt x="16" y="22"/>
                  </a:lnTo>
                  <a:lnTo>
                    <a:pt x="12" y="22"/>
                  </a:lnTo>
                  <a:lnTo>
                    <a:pt x="10" y="24"/>
                  </a:lnTo>
                  <a:lnTo>
                    <a:pt x="8" y="26"/>
                  </a:lnTo>
                  <a:lnTo>
                    <a:pt x="6" y="26"/>
                  </a:lnTo>
                  <a:lnTo>
                    <a:pt x="6" y="26"/>
                  </a:lnTo>
                  <a:lnTo>
                    <a:pt x="0" y="20"/>
                  </a:lnTo>
                  <a:lnTo>
                    <a:pt x="0" y="8"/>
                  </a:lnTo>
                  <a:lnTo>
                    <a:pt x="0" y="8"/>
                  </a:lnTo>
                  <a:lnTo>
                    <a:pt x="0" y="6"/>
                  </a:lnTo>
                  <a:lnTo>
                    <a:pt x="2" y="4"/>
                  </a:lnTo>
                  <a:lnTo>
                    <a:pt x="4" y="4"/>
                  </a:lnTo>
                  <a:lnTo>
                    <a:pt x="6" y="2"/>
                  </a:lnTo>
                  <a:lnTo>
                    <a:pt x="6" y="2"/>
                  </a:lnTo>
                  <a:lnTo>
                    <a:pt x="8" y="0"/>
                  </a:lnTo>
                  <a:lnTo>
                    <a:pt x="10" y="0"/>
                  </a:lnTo>
                  <a:lnTo>
                    <a:pt x="10" y="0"/>
                  </a:lnTo>
                  <a:lnTo>
                    <a:pt x="12" y="0"/>
                  </a:lnTo>
                  <a:lnTo>
                    <a:pt x="14" y="0"/>
                  </a:lnTo>
                  <a:lnTo>
                    <a:pt x="18" y="2"/>
                  </a:lnTo>
                  <a:lnTo>
                    <a:pt x="20" y="2"/>
                  </a:lnTo>
                  <a:lnTo>
                    <a:pt x="20" y="4"/>
                  </a:lnTo>
                  <a:lnTo>
                    <a:pt x="20" y="8"/>
                  </a:lnTo>
                  <a:lnTo>
                    <a:pt x="22" y="10"/>
                  </a:lnTo>
                  <a:lnTo>
                    <a:pt x="22" y="12"/>
                  </a:lnTo>
                  <a:lnTo>
                    <a:pt x="22" y="14"/>
                  </a:lnTo>
                  <a:lnTo>
                    <a:pt x="24" y="14"/>
                  </a:lnTo>
                  <a:lnTo>
                    <a:pt x="24" y="16"/>
                  </a:lnTo>
                  <a:lnTo>
                    <a:pt x="24" y="16"/>
                  </a:lnTo>
                  <a:lnTo>
                    <a:pt x="24" y="16"/>
                  </a:lnTo>
                  <a:lnTo>
                    <a:pt x="26" y="16"/>
                  </a:lnTo>
                  <a:lnTo>
                    <a:pt x="28" y="18"/>
                  </a:lnTo>
                  <a:lnTo>
                    <a:pt x="28" y="18"/>
                  </a:lnTo>
                  <a:lnTo>
                    <a:pt x="26" y="18"/>
                  </a:lnTo>
                  <a:lnTo>
                    <a:pt x="26" y="2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7" name="Freeform 355">
              <a:extLst>
                <a:ext uri="{FF2B5EF4-FFF2-40B4-BE49-F238E27FC236}">
                  <a16:creationId xmlns:a16="http://schemas.microsoft.com/office/drawing/2014/main" id="{048FEACB-DE5B-43C6-8E33-383356E69EF1}"/>
                </a:ext>
              </a:extLst>
            </p:cNvPr>
            <p:cNvSpPr>
              <a:spLocks/>
            </p:cNvSpPr>
            <p:nvPr/>
          </p:nvSpPr>
          <p:spPr bwMode="auto">
            <a:xfrm>
              <a:off x="4729944" y="2931457"/>
              <a:ext cx="27713" cy="27713"/>
            </a:xfrm>
            <a:custGeom>
              <a:avLst/>
              <a:gdLst>
                <a:gd name="T0" fmla="*/ 0 w 16"/>
                <a:gd name="T1" fmla="*/ 10 h 16"/>
                <a:gd name="T2" fmla="*/ 16 w 16"/>
                <a:gd name="T3" fmla="*/ 16 h 16"/>
                <a:gd name="T4" fmla="*/ 16 w 16"/>
                <a:gd name="T5" fmla="*/ 12 h 16"/>
                <a:gd name="T6" fmla="*/ 16 w 16"/>
                <a:gd name="T7" fmla="*/ 10 h 16"/>
                <a:gd name="T8" fmla="*/ 16 w 16"/>
                <a:gd name="T9" fmla="*/ 10 h 16"/>
                <a:gd name="T10" fmla="*/ 16 w 16"/>
                <a:gd name="T11" fmla="*/ 8 h 16"/>
                <a:gd name="T12" fmla="*/ 14 w 16"/>
                <a:gd name="T13" fmla="*/ 8 h 16"/>
                <a:gd name="T14" fmla="*/ 14 w 16"/>
                <a:gd name="T15" fmla="*/ 6 h 16"/>
                <a:gd name="T16" fmla="*/ 12 w 16"/>
                <a:gd name="T17" fmla="*/ 4 h 16"/>
                <a:gd name="T18" fmla="*/ 10 w 16"/>
                <a:gd name="T19" fmla="*/ 4 h 16"/>
                <a:gd name="T20" fmla="*/ 8 w 16"/>
                <a:gd name="T21" fmla="*/ 2 h 16"/>
                <a:gd name="T22" fmla="*/ 6 w 16"/>
                <a:gd name="T23" fmla="*/ 0 h 16"/>
                <a:gd name="T24" fmla="*/ 0 w 16"/>
                <a:gd name="T2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0" y="10"/>
                  </a:moveTo>
                  <a:lnTo>
                    <a:pt x="16" y="16"/>
                  </a:lnTo>
                  <a:lnTo>
                    <a:pt x="16" y="12"/>
                  </a:lnTo>
                  <a:lnTo>
                    <a:pt x="16" y="10"/>
                  </a:lnTo>
                  <a:lnTo>
                    <a:pt x="16" y="10"/>
                  </a:lnTo>
                  <a:lnTo>
                    <a:pt x="16" y="8"/>
                  </a:lnTo>
                  <a:lnTo>
                    <a:pt x="14" y="8"/>
                  </a:lnTo>
                  <a:lnTo>
                    <a:pt x="14" y="6"/>
                  </a:lnTo>
                  <a:lnTo>
                    <a:pt x="12" y="4"/>
                  </a:lnTo>
                  <a:lnTo>
                    <a:pt x="10" y="4"/>
                  </a:lnTo>
                  <a:lnTo>
                    <a:pt x="8" y="2"/>
                  </a:lnTo>
                  <a:lnTo>
                    <a:pt x="6" y="0"/>
                  </a:lnTo>
                  <a:lnTo>
                    <a:pt x="0" y="1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8" name="Freeform 356">
              <a:extLst>
                <a:ext uri="{FF2B5EF4-FFF2-40B4-BE49-F238E27FC236}">
                  <a16:creationId xmlns:a16="http://schemas.microsoft.com/office/drawing/2014/main" id="{B49DE8B8-9531-47EA-9B5E-77142C6C2858}"/>
                </a:ext>
              </a:extLst>
            </p:cNvPr>
            <p:cNvSpPr>
              <a:spLocks/>
            </p:cNvSpPr>
            <p:nvPr/>
          </p:nvSpPr>
          <p:spPr bwMode="auto">
            <a:xfrm>
              <a:off x="4729944" y="2931457"/>
              <a:ext cx="27713" cy="27713"/>
            </a:xfrm>
            <a:custGeom>
              <a:avLst/>
              <a:gdLst>
                <a:gd name="T0" fmla="*/ 0 w 16"/>
                <a:gd name="T1" fmla="*/ 10 h 16"/>
                <a:gd name="T2" fmla="*/ 16 w 16"/>
                <a:gd name="T3" fmla="*/ 16 h 16"/>
                <a:gd name="T4" fmla="*/ 16 w 16"/>
                <a:gd name="T5" fmla="*/ 12 h 16"/>
                <a:gd name="T6" fmla="*/ 16 w 16"/>
                <a:gd name="T7" fmla="*/ 10 h 16"/>
                <a:gd name="T8" fmla="*/ 16 w 16"/>
                <a:gd name="T9" fmla="*/ 10 h 16"/>
                <a:gd name="T10" fmla="*/ 16 w 16"/>
                <a:gd name="T11" fmla="*/ 8 h 16"/>
                <a:gd name="T12" fmla="*/ 14 w 16"/>
                <a:gd name="T13" fmla="*/ 8 h 16"/>
                <a:gd name="T14" fmla="*/ 14 w 16"/>
                <a:gd name="T15" fmla="*/ 6 h 16"/>
                <a:gd name="T16" fmla="*/ 12 w 16"/>
                <a:gd name="T17" fmla="*/ 4 h 16"/>
                <a:gd name="T18" fmla="*/ 10 w 16"/>
                <a:gd name="T19" fmla="*/ 4 h 16"/>
                <a:gd name="T20" fmla="*/ 8 w 16"/>
                <a:gd name="T21" fmla="*/ 2 h 16"/>
                <a:gd name="T22" fmla="*/ 6 w 16"/>
                <a:gd name="T23" fmla="*/ 0 h 16"/>
                <a:gd name="T24" fmla="*/ 0 w 16"/>
                <a:gd name="T2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0" y="10"/>
                  </a:moveTo>
                  <a:lnTo>
                    <a:pt x="16" y="16"/>
                  </a:lnTo>
                  <a:lnTo>
                    <a:pt x="16" y="12"/>
                  </a:lnTo>
                  <a:lnTo>
                    <a:pt x="16" y="10"/>
                  </a:lnTo>
                  <a:lnTo>
                    <a:pt x="16" y="10"/>
                  </a:lnTo>
                  <a:lnTo>
                    <a:pt x="16" y="8"/>
                  </a:lnTo>
                  <a:lnTo>
                    <a:pt x="14" y="8"/>
                  </a:lnTo>
                  <a:lnTo>
                    <a:pt x="14" y="6"/>
                  </a:lnTo>
                  <a:lnTo>
                    <a:pt x="12" y="4"/>
                  </a:lnTo>
                  <a:lnTo>
                    <a:pt x="10" y="4"/>
                  </a:lnTo>
                  <a:lnTo>
                    <a:pt x="8" y="2"/>
                  </a:lnTo>
                  <a:lnTo>
                    <a:pt x="6" y="0"/>
                  </a:lnTo>
                  <a:lnTo>
                    <a:pt x="0" y="1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9" name="Freeform 357">
              <a:extLst>
                <a:ext uri="{FF2B5EF4-FFF2-40B4-BE49-F238E27FC236}">
                  <a16:creationId xmlns:a16="http://schemas.microsoft.com/office/drawing/2014/main" id="{AFF99720-8674-4C17-A651-7CCDD9C23786}"/>
                </a:ext>
              </a:extLst>
            </p:cNvPr>
            <p:cNvSpPr>
              <a:spLocks/>
            </p:cNvSpPr>
            <p:nvPr/>
          </p:nvSpPr>
          <p:spPr bwMode="auto">
            <a:xfrm>
              <a:off x="4795762" y="3000740"/>
              <a:ext cx="401841" cy="308309"/>
            </a:xfrm>
            <a:custGeom>
              <a:avLst/>
              <a:gdLst>
                <a:gd name="T0" fmla="*/ 228 w 232"/>
                <a:gd name="T1" fmla="*/ 66 h 178"/>
                <a:gd name="T2" fmla="*/ 210 w 232"/>
                <a:gd name="T3" fmla="*/ 50 h 178"/>
                <a:gd name="T4" fmla="*/ 180 w 232"/>
                <a:gd name="T5" fmla="*/ 30 h 178"/>
                <a:gd name="T6" fmla="*/ 172 w 232"/>
                <a:gd name="T7" fmla="*/ 22 h 178"/>
                <a:gd name="T8" fmla="*/ 168 w 232"/>
                <a:gd name="T9" fmla="*/ 6 h 178"/>
                <a:gd name="T10" fmla="*/ 162 w 232"/>
                <a:gd name="T11" fmla="*/ 2 h 178"/>
                <a:gd name="T12" fmla="*/ 144 w 232"/>
                <a:gd name="T13" fmla="*/ 2 h 178"/>
                <a:gd name="T14" fmla="*/ 122 w 232"/>
                <a:gd name="T15" fmla="*/ 16 h 178"/>
                <a:gd name="T16" fmla="*/ 112 w 232"/>
                <a:gd name="T17" fmla="*/ 24 h 178"/>
                <a:gd name="T18" fmla="*/ 92 w 232"/>
                <a:gd name="T19" fmla="*/ 30 h 178"/>
                <a:gd name="T20" fmla="*/ 42 w 232"/>
                <a:gd name="T21" fmla="*/ 32 h 178"/>
                <a:gd name="T22" fmla="*/ 16 w 232"/>
                <a:gd name="T23" fmla="*/ 44 h 178"/>
                <a:gd name="T24" fmla="*/ 16 w 232"/>
                <a:gd name="T25" fmla="*/ 58 h 178"/>
                <a:gd name="T26" fmla="*/ 6 w 232"/>
                <a:gd name="T27" fmla="*/ 66 h 178"/>
                <a:gd name="T28" fmla="*/ 16 w 232"/>
                <a:gd name="T29" fmla="*/ 108 h 178"/>
                <a:gd name="T30" fmla="*/ 24 w 232"/>
                <a:gd name="T31" fmla="*/ 110 h 178"/>
                <a:gd name="T32" fmla="*/ 36 w 232"/>
                <a:gd name="T33" fmla="*/ 116 h 178"/>
                <a:gd name="T34" fmla="*/ 52 w 232"/>
                <a:gd name="T35" fmla="*/ 116 h 178"/>
                <a:gd name="T36" fmla="*/ 68 w 232"/>
                <a:gd name="T37" fmla="*/ 110 h 178"/>
                <a:gd name="T38" fmla="*/ 82 w 232"/>
                <a:gd name="T39" fmla="*/ 112 h 178"/>
                <a:gd name="T40" fmla="*/ 92 w 232"/>
                <a:gd name="T41" fmla="*/ 120 h 178"/>
                <a:gd name="T42" fmla="*/ 104 w 232"/>
                <a:gd name="T43" fmla="*/ 140 h 178"/>
                <a:gd name="T44" fmla="*/ 106 w 232"/>
                <a:gd name="T45" fmla="*/ 150 h 178"/>
                <a:gd name="T46" fmla="*/ 98 w 232"/>
                <a:gd name="T47" fmla="*/ 170 h 178"/>
                <a:gd name="T48" fmla="*/ 110 w 232"/>
                <a:gd name="T49" fmla="*/ 158 h 178"/>
                <a:gd name="T50" fmla="*/ 114 w 232"/>
                <a:gd name="T51" fmla="*/ 142 h 178"/>
                <a:gd name="T52" fmla="*/ 116 w 232"/>
                <a:gd name="T53" fmla="*/ 126 h 178"/>
                <a:gd name="T54" fmla="*/ 126 w 232"/>
                <a:gd name="T55" fmla="*/ 122 h 178"/>
                <a:gd name="T56" fmla="*/ 134 w 232"/>
                <a:gd name="T57" fmla="*/ 124 h 178"/>
                <a:gd name="T58" fmla="*/ 136 w 232"/>
                <a:gd name="T59" fmla="*/ 136 h 178"/>
                <a:gd name="T60" fmla="*/ 140 w 232"/>
                <a:gd name="T61" fmla="*/ 142 h 178"/>
                <a:gd name="T62" fmla="*/ 150 w 232"/>
                <a:gd name="T63" fmla="*/ 144 h 178"/>
                <a:gd name="T64" fmla="*/ 150 w 232"/>
                <a:gd name="T65" fmla="*/ 156 h 178"/>
                <a:gd name="T66" fmla="*/ 144 w 232"/>
                <a:gd name="T67" fmla="*/ 162 h 178"/>
                <a:gd name="T68" fmla="*/ 136 w 232"/>
                <a:gd name="T69" fmla="*/ 166 h 178"/>
                <a:gd name="T70" fmla="*/ 130 w 232"/>
                <a:gd name="T71" fmla="*/ 174 h 178"/>
                <a:gd name="T72" fmla="*/ 138 w 232"/>
                <a:gd name="T73" fmla="*/ 178 h 178"/>
                <a:gd name="T74" fmla="*/ 154 w 232"/>
                <a:gd name="T75" fmla="*/ 176 h 178"/>
                <a:gd name="T76" fmla="*/ 166 w 232"/>
                <a:gd name="T77" fmla="*/ 176 h 178"/>
                <a:gd name="T78" fmla="*/ 186 w 232"/>
                <a:gd name="T79" fmla="*/ 166 h 178"/>
                <a:gd name="T80" fmla="*/ 192 w 232"/>
                <a:gd name="T81" fmla="*/ 164 h 178"/>
                <a:gd name="T82" fmla="*/ 188 w 232"/>
                <a:gd name="T83" fmla="*/ 158 h 178"/>
                <a:gd name="T84" fmla="*/ 178 w 232"/>
                <a:gd name="T85" fmla="*/ 158 h 178"/>
                <a:gd name="T86" fmla="*/ 166 w 232"/>
                <a:gd name="T87" fmla="*/ 152 h 178"/>
                <a:gd name="T88" fmla="*/ 164 w 232"/>
                <a:gd name="T89" fmla="*/ 146 h 178"/>
                <a:gd name="T90" fmla="*/ 176 w 232"/>
                <a:gd name="T91" fmla="*/ 138 h 178"/>
                <a:gd name="T92" fmla="*/ 180 w 232"/>
                <a:gd name="T93" fmla="*/ 132 h 178"/>
                <a:gd name="T94" fmla="*/ 184 w 232"/>
                <a:gd name="T95" fmla="*/ 128 h 178"/>
                <a:gd name="T96" fmla="*/ 194 w 232"/>
                <a:gd name="T97" fmla="*/ 128 h 178"/>
                <a:gd name="T98" fmla="*/ 218 w 232"/>
                <a:gd name="T99" fmla="*/ 120 h 178"/>
                <a:gd name="T100" fmla="*/ 222 w 232"/>
                <a:gd name="T101" fmla="*/ 114 h 178"/>
                <a:gd name="T102" fmla="*/ 228 w 232"/>
                <a:gd name="T103" fmla="*/ 94 h 178"/>
                <a:gd name="T104" fmla="*/ 232 w 232"/>
                <a:gd name="T105" fmla="*/ 7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2" h="178">
                  <a:moveTo>
                    <a:pt x="232" y="72"/>
                  </a:moveTo>
                  <a:lnTo>
                    <a:pt x="232" y="72"/>
                  </a:lnTo>
                  <a:lnTo>
                    <a:pt x="230" y="70"/>
                  </a:lnTo>
                  <a:lnTo>
                    <a:pt x="230" y="68"/>
                  </a:lnTo>
                  <a:lnTo>
                    <a:pt x="228" y="68"/>
                  </a:lnTo>
                  <a:lnTo>
                    <a:pt x="228" y="66"/>
                  </a:lnTo>
                  <a:lnTo>
                    <a:pt x="226" y="64"/>
                  </a:lnTo>
                  <a:lnTo>
                    <a:pt x="224" y="62"/>
                  </a:lnTo>
                  <a:lnTo>
                    <a:pt x="222" y="60"/>
                  </a:lnTo>
                  <a:lnTo>
                    <a:pt x="218" y="56"/>
                  </a:lnTo>
                  <a:lnTo>
                    <a:pt x="214" y="54"/>
                  </a:lnTo>
                  <a:lnTo>
                    <a:pt x="210" y="50"/>
                  </a:lnTo>
                  <a:lnTo>
                    <a:pt x="204" y="48"/>
                  </a:lnTo>
                  <a:lnTo>
                    <a:pt x="196" y="42"/>
                  </a:lnTo>
                  <a:lnTo>
                    <a:pt x="190" y="38"/>
                  </a:lnTo>
                  <a:lnTo>
                    <a:pt x="186" y="36"/>
                  </a:lnTo>
                  <a:lnTo>
                    <a:pt x="182" y="32"/>
                  </a:lnTo>
                  <a:lnTo>
                    <a:pt x="180" y="30"/>
                  </a:lnTo>
                  <a:lnTo>
                    <a:pt x="178" y="28"/>
                  </a:lnTo>
                  <a:lnTo>
                    <a:pt x="176" y="28"/>
                  </a:lnTo>
                  <a:lnTo>
                    <a:pt x="176" y="26"/>
                  </a:lnTo>
                  <a:lnTo>
                    <a:pt x="174" y="24"/>
                  </a:lnTo>
                  <a:lnTo>
                    <a:pt x="174" y="24"/>
                  </a:lnTo>
                  <a:lnTo>
                    <a:pt x="172" y="22"/>
                  </a:lnTo>
                  <a:lnTo>
                    <a:pt x="172" y="20"/>
                  </a:lnTo>
                  <a:lnTo>
                    <a:pt x="172" y="16"/>
                  </a:lnTo>
                  <a:lnTo>
                    <a:pt x="170" y="12"/>
                  </a:lnTo>
                  <a:lnTo>
                    <a:pt x="170" y="10"/>
                  </a:lnTo>
                  <a:lnTo>
                    <a:pt x="168" y="6"/>
                  </a:lnTo>
                  <a:lnTo>
                    <a:pt x="168" y="6"/>
                  </a:lnTo>
                  <a:lnTo>
                    <a:pt x="168" y="4"/>
                  </a:lnTo>
                  <a:lnTo>
                    <a:pt x="166" y="4"/>
                  </a:lnTo>
                  <a:lnTo>
                    <a:pt x="166" y="2"/>
                  </a:lnTo>
                  <a:lnTo>
                    <a:pt x="164" y="2"/>
                  </a:lnTo>
                  <a:lnTo>
                    <a:pt x="164" y="2"/>
                  </a:lnTo>
                  <a:lnTo>
                    <a:pt x="162" y="2"/>
                  </a:lnTo>
                  <a:lnTo>
                    <a:pt x="160" y="2"/>
                  </a:lnTo>
                  <a:lnTo>
                    <a:pt x="156" y="0"/>
                  </a:lnTo>
                  <a:lnTo>
                    <a:pt x="154" y="2"/>
                  </a:lnTo>
                  <a:lnTo>
                    <a:pt x="150" y="2"/>
                  </a:lnTo>
                  <a:lnTo>
                    <a:pt x="146" y="2"/>
                  </a:lnTo>
                  <a:lnTo>
                    <a:pt x="144" y="2"/>
                  </a:lnTo>
                  <a:lnTo>
                    <a:pt x="138" y="2"/>
                  </a:lnTo>
                  <a:lnTo>
                    <a:pt x="132" y="4"/>
                  </a:lnTo>
                  <a:lnTo>
                    <a:pt x="128" y="6"/>
                  </a:lnTo>
                  <a:lnTo>
                    <a:pt x="126" y="8"/>
                  </a:lnTo>
                  <a:lnTo>
                    <a:pt x="124" y="12"/>
                  </a:lnTo>
                  <a:lnTo>
                    <a:pt x="122" y="16"/>
                  </a:lnTo>
                  <a:lnTo>
                    <a:pt x="120" y="18"/>
                  </a:lnTo>
                  <a:lnTo>
                    <a:pt x="120" y="20"/>
                  </a:lnTo>
                  <a:lnTo>
                    <a:pt x="118" y="20"/>
                  </a:lnTo>
                  <a:lnTo>
                    <a:pt x="118" y="22"/>
                  </a:lnTo>
                  <a:lnTo>
                    <a:pt x="116" y="22"/>
                  </a:lnTo>
                  <a:lnTo>
                    <a:pt x="112" y="24"/>
                  </a:lnTo>
                  <a:lnTo>
                    <a:pt x="110" y="24"/>
                  </a:lnTo>
                  <a:lnTo>
                    <a:pt x="106" y="26"/>
                  </a:lnTo>
                  <a:lnTo>
                    <a:pt x="104" y="26"/>
                  </a:lnTo>
                  <a:lnTo>
                    <a:pt x="100" y="28"/>
                  </a:lnTo>
                  <a:lnTo>
                    <a:pt x="96" y="28"/>
                  </a:lnTo>
                  <a:lnTo>
                    <a:pt x="92" y="30"/>
                  </a:lnTo>
                  <a:lnTo>
                    <a:pt x="84" y="30"/>
                  </a:lnTo>
                  <a:lnTo>
                    <a:pt x="76" y="32"/>
                  </a:lnTo>
                  <a:lnTo>
                    <a:pt x="66" y="32"/>
                  </a:lnTo>
                  <a:lnTo>
                    <a:pt x="58" y="32"/>
                  </a:lnTo>
                  <a:lnTo>
                    <a:pt x="50" y="32"/>
                  </a:lnTo>
                  <a:lnTo>
                    <a:pt x="42" y="32"/>
                  </a:lnTo>
                  <a:lnTo>
                    <a:pt x="28" y="32"/>
                  </a:lnTo>
                  <a:lnTo>
                    <a:pt x="18" y="32"/>
                  </a:lnTo>
                  <a:lnTo>
                    <a:pt x="16" y="32"/>
                  </a:lnTo>
                  <a:lnTo>
                    <a:pt x="16" y="36"/>
                  </a:lnTo>
                  <a:lnTo>
                    <a:pt x="16" y="40"/>
                  </a:lnTo>
                  <a:lnTo>
                    <a:pt x="16" y="44"/>
                  </a:lnTo>
                  <a:lnTo>
                    <a:pt x="16" y="48"/>
                  </a:lnTo>
                  <a:lnTo>
                    <a:pt x="16" y="52"/>
                  </a:lnTo>
                  <a:lnTo>
                    <a:pt x="16" y="54"/>
                  </a:lnTo>
                  <a:lnTo>
                    <a:pt x="16" y="56"/>
                  </a:lnTo>
                  <a:lnTo>
                    <a:pt x="16" y="58"/>
                  </a:lnTo>
                  <a:lnTo>
                    <a:pt x="16" y="58"/>
                  </a:lnTo>
                  <a:lnTo>
                    <a:pt x="16" y="60"/>
                  </a:lnTo>
                  <a:lnTo>
                    <a:pt x="16" y="60"/>
                  </a:lnTo>
                  <a:lnTo>
                    <a:pt x="14" y="62"/>
                  </a:lnTo>
                  <a:lnTo>
                    <a:pt x="12" y="62"/>
                  </a:lnTo>
                  <a:lnTo>
                    <a:pt x="10" y="64"/>
                  </a:lnTo>
                  <a:lnTo>
                    <a:pt x="6" y="66"/>
                  </a:lnTo>
                  <a:lnTo>
                    <a:pt x="6" y="68"/>
                  </a:lnTo>
                  <a:lnTo>
                    <a:pt x="0" y="108"/>
                  </a:lnTo>
                  <a:lnTo>
                    <a:pt x="2" y="108"/>
                  </a:lnTo>
                  <a:lnTo>
                    <a:pt x="8" y="108"/>
                  </a:lnTo>
                  <a:lnTo>
                    <a:pt x="12" y="108"/>
                  </a:lnTo>
                  <a:lnTo>
                    <a:pt x="16" y="108"/>
                  </a:lnTo>
                  <a:lnTo>
                    <a:pt x="18" y="108"/>
                  </a:lnTo>
                  <a:lnTo>
                    <a:pt x="20" y="108"/>
                  </a:lnTo>
                  <a:lnTo>
                    <a:pt x="22" y="108"/>
                  </a:lnTo>
                  <a:lnTo>
                    <a:pt x="22" y="108"/>
                  </a:lnTo>
                  <a:lnTo>
                    <a:pt x="22" y="110"/>
                  </a:lnTo>
                  <a:lnTo>
                    <a:pt x="24" y="110"/>
                  </a:lnTo>
                  <a:lnTo>
                    <a:pt x="26" y="112"/>
                  </a:lnTo>
                  <a:lnTo>
                    <a:pt x="28" y="114"/>
                  </a:lnTo>
                  <a:lnTo>
                    <a:pt x="28" y="114"/>
                  </a:lnTo>
                  <a:lnTo>
                    <a:pt x="30" y="114"/>
                  </a:lnTo>
                  <a:lnTo>
                    <a:pt x="34" y="116"/>
                  </a:lnTo>
                  <a:lnTo>
                    <a:pt x="36" y="116"/>
                  </a:lnTo>
                  <a:lnTo>
                    <a:pt x="40" y="116"/>
                  </a:lnTo>
                  <a:lnTo>
                    <a:pt x="42" y="116"/>
                  </a:lnTo>
                  <a:lnTo>
                    <a:pt x="46" y="116"/>
                  </a:lnTo>
                  <a:lnTo>
                    <a:pt x="48" y="116"/>
                  </a:lnTo>
                  <a:lnTo>
                    <a:pt x="50" y="116"/>
                  </a:lnTo>
                  <a:lnTo>
                    <a:pt x="52" y="116"/>
                  </a:lnTo>
                  <a:lnTo>
                    <a:pt x="52" y="116"/>
                  </a:lnTo>
                  <a:lnTo>
                    <a:pt x="56" y="114"/>
                  </a:lnTo>
                  <a:lnTo>
                    <a:pt x="58" y="112"/>
                  </a:lnTo>
                  <a:lnTo>
                    <a:pt x="60" y="112"/>
                  </a:lnTo>
                  <a:lnTo>
                    <a:pt x="66" y="112"/>
                  </a:lnTo>
                  <a:lnTo>
                    <a:pt x="68" y="110"/>
                  </a:lnTo>
                  <a:lnTo>
                    <a:pt x="72" y="110"/>
                  </a:lnTo>
                  <a:lnTo>
                    <a:pt x="74" y="110"/>
                  </a:lnTo>
                  <a:lnTo>
                    <a:pt x="76" y="110"/>
                  </a:lnTo>
                  <a:lnTo>
                    <a:pt x="78" y="112"/>
                  </a:lnTo>
                  <a:lnTo>
                    <a:pt x="80" y="112"/>
                  </a:lnTo>
                  <a:lnTo>
                    <a:pt x="82" y="112"/>
                  </a:lnTo>
                  <a:lnTo>
                    <a:pt x="82" y="114"/>
                  </a:lnTo>
                  <a:lnTo>
                    <a:pt x="84" y="114"/>
                  </a:lnTo>
                  <a:lnTo>
                    <a:pt x="86" y="116"/>
                  </a:lnTo>
                  <a:lnTo>
                    <a:pt x="88" y="116"/>
                  </a:lnTo>
                  <a:lnTo>
                    <a:pt x="90" y="118"/>
                  </a:lnTo>
                  <a:lnTo>
                    <a:pt x="92" y="120"/>
                  </a:lnTo>
                  <a:lnTo>
                    <a:pt x="94" y="124"/>
                  </a:lnTo>
                  <a:lnTo>
                    <a:pt x="96" y="126"/>
                  </a:lnTo>
                  <a:lnTo>
                    <a:pt x="100" y="130"/>
                  </a:lnTo>
                  <a:lnTo>
                    <a:pt x="102" y="134"/>
                  </a:lnTo>
                  <a:lnTo>
                    <a:pt x="104" y="138"/>
                  </a:lnTo>
                  <a:lnTo>
                    <a:pt x="104" y="140"/>
                  </a:lnTo>
                  <a:lnTo>
                    <a:pt x="106" y="142"/>
                  </a:lnTo>
                  <a:lnTo>
                    <a:pt x="106" y="144"/>
                  </a:lnTo>
                  <a:lnTo>
                    <a:pt x="106" y="146"/>
                  </a:lnTo>
                  <a:lnTo>
                    <a:pt x="106" y="146"/>
                  </a:lnTo>
                  <a:lnTo>
                    <a:pt x="106" y="148"/>
                  </a:lnTo>
                  <a:lnTo>
                    <a:pt x="106" y="150"/>
                  </a:lnTo>
                  <a:lnTo>
                    <a:pt x="106" y="152"/>
                  </a:lnTo>
                  <a:lnTo>
                    <a:pt x="104" y="154"/>
                  </a:lnTo>
                  <a:lnTo>
                    <a:pt x="104" y="156"/>
                  </a:lnTo>
                  <a:lnTo>
                    <a:pt x="102" y="160"/>
                  </a:lnTo>
                  <a:lnTo>
                    <a:pt x="100" y="164"/>
                  </a:lnTo>
                  <a:lnTo>
                    <a:pt x="98" y="170"/>
                  </a:lnTo>
                  <a:lnTo>
                    <a:pt x="100" y="168"/>
                  </a:lnTo>
                  <a:lnTo>
                    <a:pt x="104" y="164"/>
                  </a:lnTo>
                  <a:lnTo>
                    <a:pt x="106" y="162"/>
                  </a:lnTo>
                  <a:lnTo>
                    <a:pt x="108" y="160"/>
                  </a:lnTo>
                  <a:lnTo>
                    <a:pt x="110" y="160"/>
                  </a:lnTo>
                  <a:lnTo>
                    <a:pt x="110" y="158"/>
                  </a:lnTo>
                  <a:lnTo>
                    <a:pt x="110" y="156"/>
                  </a:lnTo>
                  <a:lnTo>
                    <a:pt x="112" y="154"/>
                  </a:lnTo>
                  <a:lnTo>
                    <a:pt x="112" y="152"/>
                  </a:lnTo>
                  <a:lnTo>
                    <a:pt x="112" y="150"/>
                  </a:lnTo>
                  <a:lnTo>
                    <a:pt x="114" y="146"/>
                  </a:lnTo>
                  <a:lnTo>
                    <a:pt x="114" y="142"/>
                  </a:lnTo>
                  <a:lnTo>
                    <a:pt x="114" y="136"/>
                  </a:lnTo>
                  <a:lnTo>
                    <a:pt x="114" y="134"/>
                  </a:lnTo>
                  <a:lnTo>
                    <a:pt x="114" y="132"/>
                  </a:lnTo>
                  <a:lnTo>
                    <a:pt x="116" y="130"/>
                  </a:lnTo>
                  <a:lnTo>
                    <a:pt x="116" y="128"/>
                  </a:lnTo>
                  <a:lnTo>
                    <a:pt x="116" y="126"/>
                  </a:lnTo>
                  <a:lnTo>
                    <a:pt x="118" y="126"/>
                  </a:lnTo>
                  <a:lnTo>
                    <a:pt x="118" y="124"/>
                  </a:lnTo>
                  <a:lnTo>
                    <a:pt x="120" y="124"/>
                  </a:lnTo>
                  <a:lnTo>
                    <a:pt x="120" y="124"/>
                  </a:lnTo>
                  <a:lnTo>
                    <a:pt x="124" y="122"/>
                  </a:lnTo>
                  <a:lnTo>
                    <a:pt x="126" y="122"/>
                  </a:lnTo>
                  <a:lnTo>
                    <a:pt x="128" y="122"/>
                  </a:lnTo>
                  <a:lnTo>
                    <a:pt x="130" y="122"/>
                  </a:lnTo>
                  <a:lnTo>
                    <a:pt x="132" y="122"/>
                  </a:lnTo>
                  <a:lnTo>
                    <a:pt x="132" y="122"/>
                  </a:lnTo>
                  <a:lnTo>
                    <a:pt x="132" y="122"/>
                  </a:lnTo>
                  <a:lnTo>
                    <a:pt x="134" y="124"/>
                  </a:lnTo>
                  <a:lnTo>
                    <a:pt x="134" y="124"/>
                  </a:lnTo>
                  <a:lnTo>
                    <a:pt x="134" y="126"/>
                  </a:lnTo>
                  <a:lnTo>
                    <a:pt x="134" y="126"/>
                  </a:lnTo>
                  <a:lnTo>
                    <a:pt x="136" y="130"/>
                  </a:lnTo>
                  <a:lnTo>
                    <a:pt x="136" y="132"/>
                  </a:lnTo>
                  <a:lnTo>
                    <a:pt x="136" y="136"/>
                  </a:lnTo>
                  <a:lnTo>
                    <a:pt x="136" y="138"/>
                  </a:lnTo>
                  <a:lnTo>
                    <a:pt x="136" y="138"/>
                  </a:lnTo>
                  <a:lnTo>
                    <a:pt x="136" y="140"/>
                  </a:lnTo>
                  <a:lnTo>
                    <a:pt x="138" y="140"/>
                  </a:lnTo>
                  <a:lnTo>
                    <a:pt x="138" y="142"/>
                  </a:lnTo>
                  <a:lnTo>
                    <a:pt x="140" y="142"/>
                  </a:lnTo>
                  <a:lnTo>
                    <a:pt x="140" y="142"/>
                  </a:lnTo>
                  <a:lnTo>
                    <a:pt x="142" y="144"/>
                  </a:lnTo>
                  <a:lnTo>
                    <a:pt x="144" y="144"/>
                  </a:lnTo>
                  <a:lnTo>
                    <a:pt x="146" y="144"/>
                  </a:lnTo>
                  <a:lnTo>
                    <a:pt x="146" y="144"/>
                  </a:lnTo>
                  <a:lnTo>
                    <a:pt x="150" y="144"/>
                  </a:lnTo>
                  <a:lnTo>
                    <a:pt x="150" y="148"/>
                  </a:lnTo>
                  <a:lnTo>
                    <a:pt x="150" y="150"/>
                  </a:lnTo>
                  <a:lnTo>
                    <a:pt x="150" y="152"/>
                  </a:lnTo>
                  <a:lnTo>
                    <a:pt x="150" y="154"/>
                  </a:lnTo>
                  <a:lnTo>
                    <a:pt x="150" y="154"/>
                  </a:lnTo>
                  <a:lnTo>
                    <a:pt x="150" y="156"/>
                  </a:lnTo>
                  <a:lnTo>
                    <a:pt x="148" y="158"/>
                  </a:lnTo>
                  <a:lnTo>
                    <a:pt x="146" y="160"/>
                  </a:lnTo>
                  <a:lnTo>
                    <a:pt x="146" y="162"/>
                  </a:lnTo>
                  <a:lnTo>
                    <a:pt x="146" y="162"/>
                  </a:lnTo>
                  <a:lnTo>
                    <a:pt x="144" y="162"/>
                  </a:lnTo>
                  <a:lnTo>
                    <a:pt x="144" y="162"/>
                  </a:lnTo>
                  <a:lnTo>
                    <a:pt x="140" y="164"/>
                  </a:lnTo>
                  <a:lnTo>
                    <a:pt x="138" y="164"/>
                  </a:lnTo>
                  <a:lnTo>
                    <a:pt x="136" y="164"/>
                  </a:lnTo>
                  <a:lnTo>
                    <a:pt x="136" y="164"/>
                  </a:lnTo>
                  <a:lnTo>
                    <a:pt x="136" y="164"/>
                  </a:lnTo>
                  <a:lnTo>
                    <a:pt x="136" y="166"/>
                  </a:lnTo>
                  <a:lnTo>
                    <a:pt x="134" y="166"/>
                  </a:lnTo>
                  <a:lnTo>
                    <a:pt x="132" y="170"/>
                  </a:lnTo>
                  <a:lnTo>
                    <a:pt x="132" y="172"/>
                  </a:lnTo>
                  <a:lnTo>
                    <a:pt x="130" y="174"/>
                  </a:lnTo>
                  <a:lnTo>
                    <a:pt x="130" y="174"/>
                  </a:lnTo>
                  <a:lnTo>
                    <a:pt x="130" y="174"/>
                  </a:lnTo>
                  <a:lnTo>
                    <a:pt x="132" y="176"/>
                  </a:lnTo>
                  <a:lnTo>
                    <a:pt x="132" y="176"/>
                  </a:lnTo>
                  <a:lnTo>
                    <a:pt x="134" y="176"/>
                  </a:lnTo>
                  <a:lnTo>
                    <a:pt x="134" y="176"/>
                  </a:lnTo>
                  <a:lnTo>
                    <a:pt x="136" y="176"/>
                  </a:lnTo>
                  <a:lnTo>
                    <a:pt x="138" y="178"/>
                  </a:lnTo>
                  <a:lnTo>
                    <a:pt x="140" y="178"/>
                  </a:lnTo>
                  <a:lnTo>
                    <a:pt x="142" y="178"/>
                  </a:lnTo>
                  <a:lnTo>
                    <a:pt x="144" y="176"/>
                  </a:lnTo>
                  <a:lnTo>
                    <a:pt x="148" y="176"/>
                  </a:lnTo>
                  <a:lnTo>
                    <a:pt x="150" y="176"/>
                  </a:lnTo>
                  <a:lnTo>
                    <a:pt x="154" y="176"/>
                  </a:lnTo>
                  <a:lnTo>
                    <a:pt x="158" y="176"/>
                  </a:lnTo>
                  <a:lnTo>
                    <a:pt x="160" y="176"/>
                  </a:lnTo>
                  <a:lnTo>
                    <a:pt x="162" y="176"/>
                  </a:lnTo>
                  <a:lnTo>
                    <a:pt x="164" y="176"/>
                  </a:lnTo>
                  <a:lnTo>
                    <a:pt x="164" y="176"/>
                  </a:lnTo>
                  <a:lnTo>
                    <a:pt x="166" y="176"/>
                  </a:lnTo>
                  <a:lnTo>
                    <a:pt x="168" y="174"/>
                  </a:lnTo>
                  <a:lnTo>
                    <a:pt x="172" y="172"/>
                  </a:lnTo>
                  <a:lnTo>
                    <a:pt x="174" y="172"/>
                  </a:lnTo>
                  <a:lnTo>
                    <a:pt x="178" y="170"/>
                  </a:lnTo>
                  <a:lnTo>
                    <a:pt x="184" y="166"/>
                  </a:lnTo>
                  <a:lnTo>
                    <a:pt x="186" y="166"/>
                  </a:lnTo>
                  <a:lnTo>
                    <a:pt x="188" y="166"/>
                  </a:lnTo>
                  <a:lnTo>
                    <a:pt x="190" y="166"/>
                  </a:lnTo>
                  <a:lnTo>
                    <a:pt x="190" y="164"/>
                  </a:lnTo>
                  <a:lnTo>
                    <a:pt x="192" y="164"/>
                  </a:lnTo>
                  <a:lnTo>
                    <a:pt x="192" y="164"/>
                  </a:lnTo>
                  <a:lnTo>
                    <a:pt x="192" y="164"/>
                  </a:lnTo>
                  <a:lnTo>
                    <a:pt x="192" y="162"/>
                  </a:lnTo>
                  <a:lnTo>
                    <a:pt x="190" y="162"/>
                  </a:lnTo>
                  <a:lnTo>
                    <a:pt x="190" y="160"/>
                  </a:lnTo>
                  <a:lnTo>
                    <a:pt x="190" y="160"/>
                  </a:lnTo>
                  <a:lnTo>
                    <a:pt x="188" y="160"/>
                  </a:lnTo>
                  <a:lnTo>
                    <a:pt x="188" y="158"/>
                  </a:lnTo>
                  <a:lnTo>
                    <a:pt x="186" y="158"/>
                  </a:lnTo>
                  <a:lnTo>
                    <a:pt x="186" y="158"/>
                  </a:lnTo>
                  <a:lnTo>
                    <a:pt x="184" y="158"/>
                  </a:lnTo>
                  <a:lnTo>
                    <a:pt x="182" y="158"/>
                  </a:lnTo>
                  <a:lnTo>
                    <a:pt x="178" y="158"/>
                  </a:lnTo>
                  <a:lnTo>
                    <a:pt x="178" y="158"/>
                  </a:lnTo>
                  <a:lnTo>
                    <a:pt x="176" y="158"/>
                  </a:lnTo>
                  <a:lnTo>
                    <a:pt x="174" y="158"/>
                  </a:lnTo>
                  <a:lnTo>
                    <a:pt x="172" y="156"/>
                  </a:lnTo>
                  <a:lnTo>
                    <a:pt x="168" y="154"/>
                  </a:lnTo>
                  <a:lnTo>
                    <a:pt x="166" y="154"/>
                  </a:lnTo>
                  <a:lnTo>
                    <a:pt x="166" y="152"/>
                  </a:lnTo>
                  <a:lnTo>
                    <a:pt x="164" y="152"/>
                  </a:lnTo>
                  <a:lnTo>
                    <a:pt x="164" y="150"/>
                  </a:lnTo>
                  <a:lnTo>
                    <a:pt x="164" y="150"/>
                  </a:lnTo>
                  <a:lnTo>
                    <a:pt x="162" y="148"/>
                  </a:lnTo>
                  <a:lnTo>
                    <a:pt x="162" y="148"/>
                  </a:lnTo>
                  <a:lnTo>
                    <a:pt x="164" y="146"/>
                  </a:lnTo>
                  <a:lnTo>
                    <a:pt x="164" y="144"/>
                  </a:lnTo>
                  <a:lnTo>
                    <a:pt x="164" y="144"/>
                  </a:lnTo>
                  <a:lnTo>
                    <a:pt x="168" y="142"/>
                  </a:lnTo>
                  <a:lnTo>
                    <a:pt x="170" y="142"/>
                  </a:lnTo>
                  <a:lnTo>
                    <a:pt x="174" y="140"/>
                  </a:lnTo>
                  <a:lnTo>
                    <a:pt x="176" y="138"/>
                  </a:lnTo>
                  <a:lnTo>
                    <a:pt x="176" y="138"/>
                  </a:lnTo>
                  <a:lnTo>
                    <a:pt x="176" y="138"/>
                  </a:lnTo>
                  <a:lnTo>
                    <a:pt x="178" y="136"/>
                  </a:lnTo>
                  <a:lnTo>
                    <a:pt x="178" y="136"/>
                  </a:lnTo>
                  <a:lnTo>
                    <a:pt x="180" y="134"/>
                  </a:lnTo>
                  <a:lnTo>
                    <a:pt x="180" y="132"/>
                  </a:lnTo>
                  <a:lnTo>
                    <a:pt x="182" y="130"/>
                  </a:lnTo>
                  <a:lnTo>
                    <a:pt x="182" y="128"/>
                  </a:lnTo>
                  <a:lnTo>
                    <a:pt x="182" y="128"/>
                  </a:lnTo>
                  <a:lnTo>
                    <a:pt x="184" y="128"/>
                  </a:lnTo>
                  <a:lnTo>
                    <a:pt x="184" y="128"/>
                  </a:lnTo>
                  <a:lnTo>
                    <a:pt x="184" y="128"/>
                  </a:lnTo>
                  <a:lnTo>
                    <a:pt x="186" y="128"/>
                  </a:lnTo>
                  <a:lnTo>
                    <a:pt x="188" y="128"/>
                  </a:lnTo>
                  <a:lnTo>
                    <a:pt x="188" y="128"/>
                  </a:lnTo>
                  <a:lnTo>
                    <a:pt x="192" y="128"/>
                  </a:lnTo>
                  <a:lnTo>
                    <a:pt x="194" y="128"/>
                  </a:lnTo>
                  <a:lnTo>
                    <a:pt x="194" y="128"/>
                  </a:lnTo>
                  <a:lnTo>
                    <a:pt x="198" y="128"/>
                  </a:lnTo>
                  <a:lnTo>
                    <a:pt x="202" y="128"/>
                  </a:lnTo>
                  <a:lnTo>
                    <a:pt x="206" y="126"/>
                  </a:lnTo>
                  <a:lnTo>
                    <a:pt x="210" y="124"/>
                  </a:lnTo>
                  <a:lnTo>
                    <a:pt x="214" y="122"/>
                  </a:lnTo>
                  <a:lnTo>
                    <a:pt x="218" y="120"/>
                  </a:lnTo>
                  <a:lnTo>
                    <a:pt x="218" y="120"/>
                  </a:lnTo>
                  <a:lnTo>
                    <a:pt x="220" y="118"/>
                  </a:lnTo>
                  <a:lnTo>
                    <a:pt x="222" y="118"/>
                  </a:lnTo>
                  <a:lnTo>
                    <a:pt x="222" y="116"/>
                  </a:lnTo>
                  <a:lnTo>
                    <a:pt x="222" y="116"/>
                  </a:lnTo>
                  <a:lnTo>
                    <a:pt x="222" y="114"/>
                  </a:lnTo>
                  <a:lnTo>
                    <a:pt x="222" y="112"/>
                  </a:lnTo>
                  <a:lnTo>
                    <a:pt x="222" y="108"/>
                  </a:lnTo>
                  <a:lnTo>
                    <a:pt x="222" y="106"/>
                  </a:lnTo>
                  <a:lnTo>
                    <a:pt x="224" y="102"/>
                  </a:lnTo>
                  <a:lnTo>
                    <a:pt x="224" y="100"/>
                  </a:lnTo>
                  <a:lnTo>
                    <a:pt x="228" y="94"/>
                  </a:lnTo>
                  <a:lnTo>
                    <a:pt x="230" y="88"/>
                  </a:lnTo>
                  <a:lnTo>
                    <a:pt x="230" y="84"/>
                  </a:lnTo>
                  <a:lnTo>
                    <a:pt x="232" y="82"/>
                  </a:lnTo>
                  <a:lnTo>
                    <a:pt x="232" y="80"/>
                  </a:lnTo>
                  <a:lnTo>
                    <a:pt x="232" y="76"/>
                  </a:lnTo>
                  <a:lnTo>
                    <a:pt x="232" y="76"/>
                  </a:lnTo>
                  <a:lnTo>
                    <a:pt x="232" y="74"/>
                  </a:lnTo>
                  <a:lnTo>
                    <a:pt x="232" y="74"/>
                  </a:lnTo>
                  <a:lnTo>
                    <a:pt x="232" y="7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0" name="Freeform 358">
              <a:extLst>
                <a:ext uri="{FF2B5EF4-FFF2-40B4-BE49-F238E27FC236}">
                  <a16:creationId xmlns:a16="http://schemas.microsoft.com/office/drawing/2014/main" id="{7B0B6368-4579-43D9-AC76-F93B5FA2C8CD}"/>
                </a:ext>
              </a:extLst>
            </p:cNvPr>
            <p:cNvSpPr>
              <a:spLocks/>
            </p:cNvSpPr>
            <p:nvPr/>
          </p:nvSpPr>
          <p:spPr bwMode="auto">
            <a:xfrm>
              <a:off x="4795762" y="3000740"/>
              <a:ext cx="401841" cy="308309"/>
            </a:xfrm>
            <a:custGeom>
              <a:avLst/>
              <a:gdLst>
                <a:gd name="T0" fmla="*/ 228 w 232"/>
                <a:gd name="T1" fmla="*/ 66 h 178"/>
                <a:gd name="T2" fmla="*/ 210 w 232"/>
                <a:gd name="T3" fmla="*/ 50 h 178"/>
                <a:gd name="T4" fmla="*/ 180 w 232"/>
                <a:gd name="T5" fmla="*/ 30 h 178"/>
                <a:gd name="T6" fmla="*/ 172 w 232"/>
                <a:gd name="T7" fmla="*/ 22 h 178"/>
                <a:gd name="T8" fmla="*/ 168 w 232"/>
                <a:gd name="T9" fmla="*/ 6 h 178"/>
                <a:gd name="T10" fmla="*/ 162 w 232"/>
                <a:gd name="T11" fmla="*/ 2 h 178"/>
                <a:gd name="T12" fmla="*/ 144 w 232"/>
                <a:gd name="T13" fmla="*/ 2 h 178"/>
                <a:gd name="T14" fmla="*/ 122 w 232"/>
                <a:gd name="T15" fmla="*/ 16 h 178"/>
                <a:gd name="T16" fmla="*/ 112 w 232"/>
                <a:gd name="T17" fmla="*/ 24 h 178"/>
                <a:gd name="T18" fmla="*/ 92 w 232"/>
                <a:gd name="T19" fmla="*/ 30 h 178"/>
                <a:gd name="T20" fmla="*/ 42 w 232"/>
                <a:gd name="T21" fmla="*/ 32 h 178"/>
                <a:gd name="T22" fmla="*/ 16 w 232"/>
                <a:gd name="T23" fmla="*/ 44 h 178"/>
                <a:gd name="T24" fmla="*/ 16 w 232"/>
                <a:gd name="T25" fmla="*/ 58 h 178"/>
                <a:gd name="T26" fmla="*/ 6 w 232"/>
                <a:gd name="T27" fmla="*/ 66 h 178"/>
                <a:gd name="T28" fmla="*/ 16 w 232"/>
                <a:gd name="T29" fmla="*/ 108 h 178"/>
                <a:gd name="T30" fmla="*/ 24 w 232"/>
                <a:gd name="T31" fmla="*/ 110 h 178"/>
                <a:gd name="T32" fmla="*/ 36 w 232"/>
                <a:gd name="T33" fmla="*/ 116 h 178"/>
                <a:gd name="T34" fmla="*/ 52 w 232"/>
                <a:gd name="T35" fmla="*/ 116 h 178"/>
                <a:gd name="T36" fmla="*/ 68 w 232"/>
                <a:gd name="T37" fmla="*/ 110 h 178"/>
                <a:gd name="T38" fmla="*/ 82 w 232"/>
                <a:gd name="T39" fmla="*/ 112 h 178"/>
                <a:gd name="T40" fmla="*/ 92 w 232"/>
                <a:gd name="T41" fmla="*/ 120 h 178"/>
                <a:gd name="T42" fmla="*/ 104 w 232"/>
                <a:gd name="T43" fmla="*/ 140 h 178"/>
                <a:gd name="T44" fmla="*/ 106 w 232"/>
                <a:gd name="T45" fmla="*/ 150 h 178"/>
                <a:gd name="T46" fmla="*/ 98 w 232"/>
                <a:gd name="T47" fmla="*/ 170 h 178"/>
                <a:gd name="T48" fmla="*/ 110 w 232"/>
                <a:gd name="T49" fmla="*/ 158 h 178"/>
                <a:gd name="T50" fmla="*/ 114 w 232"/>
                <a:gd name="T51" fmla="*/ 142 h 178"/>
                <a:gd name="T52" fmla="*/ 116 w 232"/>
                <a:gd name="T53" fmla="*/ 126 h 178"/>
                <a:gd name="T54" fmla="*/ 126 w 232"/>
                <a:gd name="T55" fmla="*/ 122 h 178"/>
                <a:gd name="T56" fmla="*/ 134 w 232"/>
                <a:gd name="T57" fmla="*/ 124 h 178"/>
                <a:gd name="T58" fmla="*/ 136 w 232"/>
                <a:gd name="T59" fmla="*/ 136 h 178"/>
                <a:gd name="T60" fmla="*/ 140 w 232"/>
                <a:gd name="T61" fmla="*/ 142 h 178"/>
                <a:gd name="T62" fmla="*/ 150 w 232"/>
                <a:gd name="T63" fmla="*/ 144 h 178"/>
                <a:gd name="T64" fmla="*/ 150 w 232"/>
                <a:gd name="T65" fmla="*/ 156 h 178"/>
                <a:gd name="T66" fmla="*/ 144 w 232"/>
                <a:gd name="T67" fmla="*/ 162 h 178"/>
                <a:gd name="T68" fmla="*/ 136 w 232"/>
                <a:gd name="T69" fmla="*/ 166 h 178"/>
                <a:gd name="T70" fmla="*/ 130 w 232"/>
                <a:gd name="T71" fmla="*/ 174 h 178"/>
                <a:gd name="T72" fmla="*/ 138 w 232"/>
                <a:gd name="T73" fmla="*/ 178 h 178"/>
                <a:gd name="T74" fmla="*/ 154 w 232"/>
                <a:gd name="T75" fmla="*/ 176 h 178"/>
                <a:gd name="T76" fmla="*/ 166 w 232"/>
                <a:gd name="T77" fmla="*/ 176 h 178"/>
                <a:gd name="T78" fmla="*/ 186 w 232"/>
                <a:gd name="T79" fmla="*/ 166 h 178"/>
                <a:gd name="T80" fmla="*/ 192 w 232"/>
                <a:gd name="T81" fmla="*/ 164 h 178"/>
                <a:gd name="T82" fmla="*/ 188 w 232"/>
                <a:gd name="T83" fmla="*/ 158 h 178"/>
                <a:gd name="T84" fmla="*/ 178 w 232"/>
                <a:gd name="T85" fmla="*/ 158 h 178"/>
                <a:gd name="T86" fmla="*/ 166 w 232"/>
                <a:gd name="T87" fmla="*/ 152 h 178"/>
                <a:gd name="T88" fmla="*/ 164 w 232"/>
                <a:gd name="T89" fmla="*/ 146 h 178"/>
                <a:gd name="T90" fmla="*/ 176 w 232"/>
                <a:gd name="T91" fmla="*/ 138 h 178"/>
                <a:gd name="T92" fmla="*/ 180 w 232"/>
                <a:gd name="T93" fmla="*/ 132 h 178"/>
                <a:gd name="T94" fmla="*/ 184 w 232"/>
                <a:gd name="T95" fmla="*/ 128 h 178"/>
                <a:gd name="T96" fmla="*/ 194 w 232"/>
                <a:gd name="T97" fmla="*/ 128 h 178"/>
                <a:gd name="T98" fmla="*/ 218 w 232"/>
                <a:gd name="T99" fmla="*/ 120 h 178"/>
                <a:gd name="T100" fmla="*/ 222 w 232"/>
                <a:gd name="T101" fmla="*/ 114 h 178"/>
                <a:gd name="T102" fmla="*/ 228 w 232"/>
                <a:gd name="T103" fmla="*/ 94 h 178"/>
                <a:gd name="T104" fmla="*/ 232 w 232"/>
                <a:gd name="T105" fmla="*/ 7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2" h="178">
                  <a:moveTo>
                    <a:pt x="232" y="72"/>
                  </a:moveTo>
                  <a:lnTo>
                    <a:pt x="232" y="72"/>
                  </a:lnTo>
                  <a:lnTo>
                    <a:pt x="230" y="70"/>
                  </a:lnTo>
                  <a:lnTo>
                    <a:pt x="230" y="68"/>
                  </a:lnTo>
                  <a:lnTo>
                    <a:pt x="228" y="68"/>
                  </a:lnTo>
                  <a:lnTo>
                    <a:pt x="228" y="66"/>
                  </a:lnTo>
                  <a:lnTo>
                    <a:pt x="226" y="64"/>
                  </a:lnTo>
                  <a:lnTo>
                    <a:pt x="224" y="62"/>
                  </a:lnTo>
                  <a:lnTo>
                    <a:pt x="222" y="60"/>
                  </a:lnTo>
                  <a:lnTo>
                    <a:pt x="218" y="56"/>
                  </a:lnTo>
                  <a:lnTo>
                    <a:pt x="214" y="54"/>
                  </a:lnTo>
                  <a:lnTo>
                    <a:pt x="210" y="50"/>
                  </a:lnTo>
                  <a:lnTo>
                    <a:pt x="204" y="48"/>
                  </a:lnTo>
                  <a:lnTo>
                    <a:pt x="196" y="42"/>
                  </a:lnTo>
                  <a:lnTo>
                    <a:pt x="190" y="38"/>
                  </a:lnTo>
                  <a:lnTo>
                    <a:pt x="186" y="36"/>
                  </a:lnTo>
                  <a:lnTo>
                    <a:pt x="182" y="32"/>
                  </a:lnTo>
                  <a:lnTo>
                    <a:pt x="180" y="30"/>
                  </a:lnTo>
                  <a:lnTo>
                    <a:pt x="178" y="28"/>
                  </a:lnTo>
                  <a:lnTo>
                    <a:pt x="176" y="28"/>
                  </a:lnTo>
                  <a:lnTo>
                    <a:pt x="176" y="26"/>
                  </a:lnTo>
                  <a:lnTo>
                    <a:pt x="174" y="24"/>
                  </a:lnTo>
                  <a:lnTo>
                    <a:pt x="174" y="24"/>
                  </a:lnTo>
                  <a:lnTo>
                    <a:pt x="172" y="22"/>
                  </a:lnTo>
                  <a:lnTo>
                    <a:pt x="172" y="20"/>
                  </a:lnTo>
                  <a:lnTo>
                    <a:pt x="172" y="16"/>
                  </a:lnTo>
                  <a:lnTo>
                    <a:pt x="170" y="12"/>
                  </a:lnTo>
                  <a:lnTo>
                    <a:pt x="170" y="10"/>
                  </a:lnTo>
                  <a:lnTo>
                    <a:pt x="168" y="6"/>
                  </a:lnTo>
                  <a:lnTo>
                    <a:pt x="168" y="6"/>
                  </a:lnTo>
                  <a:lnTo>
                    <a:pt x="168" y="4"/>
                  </a:lnTo>
                  <a:lnTo>
                    <a:pt x="166" y="4"/>
                  </a:lnTo>
                  <a:lnTo>
                    <a:pt x="166" y="2"/>
                  </a:lnTo>
                  <a:lnTo>
                    <a:pt x="164" y="2"/>
                  </a:lnTo>
                  <a:lnTo>
                    <a:pt x="164" y="2"/>
                  </a:lnTo>
                  <a:lnTo>
                    <a:pt x="162" y="2"/>
                  </a:lnTo>
                  <a:lnTo>
                    <a:pt x="160" y="2"/>
                  </a:lnTo>
                  <a:lnTo>
                    <a:pt x="156" y="0"/>
                  </a:lnTo>
                  <a:lnTo>
                    <a:pt x="154" y="2"/>
                  </a:lnTo>
                  <a:lnTo>
                    <a:pt x="150" y="2"/>
                  </a:lnTo>
                  <a:lnTo>
                    <a:pt x="146" y="2"/>
                  </a:lnTo>
                  <a:lnTo>
                    <a:pt x="144" y="2"/>
                  </a:lnTo>
                  <a:lnTo>
                    <a:pt x="138" y="2"/>
                  </a:lnTo>
                  <a:lnTo>
                    <a:pt x="132" y="4"/>
                  </a:lnTo>
                  <a:lnTo>
                    <a:pt x="128" y="6"/>
                  </a:lnTo>
                  <a:lnTo>
                    <a:pt x="126" y="8"/>
                  </a:lnTo>
                  <a:lnTo>
                    <a:pt x="124" y="12"/>
                  </a:lnTo>
                  <a:lnTo>
                    <a:pt x="122" y="16"/>
                  </a:lnTo>
                  <a:lnTo>
                    <a:pt x="120" y="18"/>
                  </a:lnTo>
                  <a:lnTo>
                    <a:pt x="120" y="20"/>
                  </a:lnTo>
                  <a:lnTo>
                    <a:pt x="118" y="20"/>
                  </a:lnTo>
                  <a:lnTo>
                    <a:pt x="118" y="22"/>
                  </a:lnTo>
                  <a:lnTo>
                    <a:pt x="116" y="22"/>
                  </a:lnTo>
                  <a:lnTo>
                    <a:pt x="112" y="24"/>
                  </a:lnTo>
                  <a:lnTo>
                    <a:pt x="110" y="24"/>
                  </a:lnTo>
                  <a:lnTo>
                    <a:pt x="106" y="26"/>
                  </a:lnTo>
                  <a:lnTo>
                    <a:pt x="104" y="26"/>
                  </a:lnTo>
                  <a:lnTo>
                    <a:pt x="100" y="28"/>
                  </a:lnTo>
                  <a:lnTo>
                    <a:pt x="96" y="28"/>
                  </a:lnTo>
                  <a:lnTo>
                    <a:pt x="92" y="30"/>
                  </a:lnTo>
                  <a:lnTo>
                    <a:pt x="84" y="30"/>
                  </a:lnTo>
                  <a:lnTo>
                    <a:pt x="76" y="32"/>
                  </a:lnTo>
                  <a:lnTo>
                    <a:pt x="66" y="32"/>
                  </a:lnTo>
                  <a:lnTo>
                    <a:pt x="58" y="32"/>
                  </a:lnTo>
                  <a:lnTo>
                    <a:pt x="50" y="32"/>
                  </a:lnTo>
                  <a:lnTo>
                    <a:pt x="42" y="32"/>
                  </a:lnTo>
                  <a:lnTo>
                    <a:pt x="28" y="32"/>
                  </a:lnTo>
                  <a:lnTo>
                    <a:pt x="18" y="32"/>
                  </a:lnTo>
                  <a:lnTo>
                    <a:pt x="16" y="32"/>
                  </a:lnTo>
                  <a:lnTo>
                    <a:pt x="16" y="36"/>
                  </a:lnTo>
                  <a:lnTo>
                    <a:pt x="16" y="40"/>
                  </a:lnTo>
                  <a:lnTo>
                    <a:pt x="16" y="44"/>
                  </a:lnTo>
                  <a:lnTo>
                    <a:pt x="16" y="48"/>
                  </a:lnTo>
                  <a:lnTo>
                    <a:pt x="16" y="52"/>
                  </a:lnTo>
                  <a:lnTo>
                    <a:pt x="16" y="54"/>
                  </a:lnTo>
                  <a:lnTo>
                    <a:pt x="16" y="56"/>
                  </a:lnTo>
                  <a:lnTo>
                    <a:pt x="16" y="58"/>
                  </a:lnTo>
                  <a:lnTo>
                    <a:pt x="16" y="58"/>
                  </a:lnTo>
                  <a:lnTo>
                    <a:pt x="16" y="60"/>
                  </a:lnTo>
                  <a:lnTo>
                    <a:pt x="16" y="60"/>
                  </a:lnTo>
                  <a:lnTo>
                    <a:pt x="14" y="62"/>
                  </a:lnTo>
                  <a:lnTo>
                    <a:pt x="12" y="62"/>
                  </a:lnTo>
                  <a:lnTo>
                    <a:pt x="10" y="64"/>
                  </a:lnTo>
                  <a:lnTo>
                    <a:pt x="6" y="66"/>
                  </a:lnTo>
                  <a:lnTo>
                    <a:pt x="6" y="68"/>
                  </a:lnTo>
                  <a:lnTo>
                    <a:pt x="0" y="108"/>
                  </a:lnTo>
                  <a:lnTo>
                    <a:pt x="2" y="108"/>
                  </a:lnTo>
                  <a:lnTo>
                    <a:pt x="8" y="108"/>
                  </a:lnTo>
                  <a:lnTo>
                    <a:pt x="12" y="108"/>
                  </a:lnTo>
                  <a:lnTo>
                    <a:pt x="16" y="108"/>
                  </a:lnTo>
                  <a:lnTo>
                    <a:pt x="18" y="108"/>
                  </a:lnTo>
                  <a:lnTo>
                    <a:pt x="20" y="108"/>
                  </a:lnTo>
                  <a:lnTo>
                    <a:pt x="22" y="108"/>
                  </a:lnTo>
                  <a:lnTo>
                    <a:pt x="22" y="108"/>
                  </a:lnTo>
                  <a:lnTo>
                    <a:pt x="22" y="110"/>
                  </a:lnTo>
                  <a:lnTo>
                    <a:pt x="24" y="110"/>
                  </a:lnTo>
                  <a:lnTo>
                    <a:pt x="26" y="112"/>
                  </a:lnTo>
                  <a:lnTo>
                    <a:pt x="28" y="114"/>
                  </a:lnTo>
                  <a:lnTo>
                    <a:pt x="28" y="114"/>
                  </a:lnTo>
                  <a:lnTo>
                    <a:pt x="30" y="114"/>
                  </a:lnTo>
                  <a:lnTo>
                    <a:pt x="34" y="116"/>
                  </a:lnTo>
                  <a:lnTo>
                    <a:pt x="36" y="116"/>
                  </a:lnTo>
                  <a:lnTo>
                    <a:pt x="40" y="116"/>
                  </a:lnTo>
                  <a:lnTo>
                    <a:pt x="42" y="116"/>
                  </a:lnTo>
                  <a:lnTo>
                    <a:pt x="46" y="116"/>
                  </a:lnTo>
                  <a:lnTo>
                    <a:pt x="48" y="116"/>
                  </a:lnTo>
                  <a:lnTo>
                    <a:pt x="50" y="116"/>
                  </a:lnTo>
                  <a:lnTo>
                    <a:pt x="52" y="116"/>
                  </a:lnTo>
                  <a:lnTo>
                    <a:pt x="52" y="116"/>
                  </a:lnTo>
                  <a:lnTo>
                    <a:pt x="56" y="114"/>
                  </a:lnTo>
                  <a:lnTo>
                    <a:pt x="58" y="112"/>
                  </a:lnTo>
                  <a:lnTo>
                    <a:pt x="60" y="112"/>
                  </a:lnTo>
                  <a:lnTo>
                    <a:pt x="66" y="112"/>
                  </a:lnTo>
                  <a:lnTo>
                    <a:pt x="68" y="110"/>
                  </a:lnTo>
                  <a:lnTo>
                    <a:pt x="72" y="110"/>
                  </a:lnTo>
                  <a:lnTo>
                    <a:pt x="74" y="110"/>
                  </a:lnTo>
                  <a:lnTo>
                    <a:pt x="76" y="110"/>
                  </a:lnTo>
                  <a:lnTo>
                    <a:pt x="78" y="112"/>
                  </a:lnTo>
                  <a:lnTo>
                    <a:pt x="80" y="112"/>
                  </a:lnTo>
                  <a:lnTo>
                    <a:pt x="82" y="112"/>
                  </a:lnTo>
                  <a:lnTo>
                    <a:pt x="82" y="114"/>
                  </a:lnTo>
                  <a:lnTo>
                    <a:pt x="84" y="114"/>
                  </a:lnTo>
                  <a:lnTo>
                    <a:pt x="86" y="116"/>
                  </a:lnTo>
                  <a:lnTo>
                    <a:pt x="88" y="116"/>
                  </a:lnTo>
                  <a:lnTo>
                    <a:pt x="90" y="118"/>
                  </a:lnTo>
                  <a:lnTo>
                    <a:pt x="92" y="120"/>
                  </a:lnTo>
                  <a:lnTo>
                    <a:pt x="94" y="124"/>
                  </a:lnTo>
                  <a:lnTo>
                    <a:pt x="96" y="126"/>
                  </a:lnTo>
                  <a:lnTo>
                    <a:pt x="100" y="130"/>
                  </a:lnTo>
                  <a:lnTo>
                    <a:pt x="102" y="134"/>
                  </a:lnTo>
                  <a:lnTo>
                    <a:pt x="104" y="138"/>
                  </a:lnTo>
                  <a:lnTo>
                    <a:pt x="104" y="140"/>
                  </a:lnTo>
                  <a:lnTo>
                    <a:pt x="106" y="142"/>
                  </a:lnTo>
                  <a:lnTo>
                    <a:pt x="106" y="144"/>
                  </a:lnTo>
                  <a:lnTo>
                    <a:pt x="106" y="146"/>
                  </a:lnTo>
                  <a:lnTo>
                    <a:pt x="106" y="146"/>
                  </a:lnTo>
                  <a:lnTo>
                    <a:pt x="106" y="148"/>
                  </a:lnTo>
                  <a:lnTo>
                    <a:pt x="106" y="150"/>
                  </a:lnTo>
                  <a:lnTo>
                    <a:pt x="106" y="152"/>
                  </a:lnTo>
                  <a:lnTo>
                    <a:pt x="104" y="154"/>
                  </a:lnTo>
                  <a:lnTo>
                    <a:pt x="104" y="156"/>
                  </a:lnTo>
                  <a:lnTo>
                    <a:pt x="102" y="160"/>
                  </a:lnTo>
                  <a:lnTo>
                    <a:pt x="100" y="164"/>
                  </a:lnTo>
                  <a:lnTo>
                    <a:pt x="98" y="170"/>
                  </a:lnTo>
                  <a:lnTo>
                    <a:pt x="100" y="168"/>
                  </a:lnTo>
                  <a:lnTo>
                    <a:pt x="104" y="164"/>
                  </a:lnTo>
                  <a:lnTo>
                    <a:pt x="106" y="162"/>
                  </a:lnTo>
                  <a:lnTo>
                    <a:pt x="108" y="160"/>
                  </a:lnTo>
                  <a:lnTo>
                    <a:pt x="110" y="160"/>
                  </a:lnTo>
                  <a:lnTo>
                    <a:pt x="110" y="158"/>
                  </a:lnTo>
                  <a:lnTo>
                    <a:pt x="110" y="156"/>
                  </a:lnTo>
                  <a:lnTo>
                    <a:pt x="112" y="154"/>
                  </a:lnTo>
                  <a:lnTo>
                    <a:pt x="112" y="152"/>
                  </a:lnTo>
                  <a:lnTo>
                    <a:pt x="112" y="150"/>
                  </a:lnTo>
                  <a:lnTo>
                    <a:pt x="114" y="146"/>
                  </a:lnTo>
                  <a:lnTo>
                    <a:pt x="114" y="142"/>
                  </a:lnTo>
                  <a:lnTo>
                    <a:pt x="114" y="136"/>
                  </a:lnTo>
                  <a:lnTo>
                    <a:pt x="114" y="134"/>
                  </a:lnTo>
                  <a:lnTo>
                    <a:pt x="114" y="132"/>
                  </a:lnTo>
                  <a:lnTo>
                    <a:pt x="116" y="130"/>
                  </a:lnTo>
                  <a:lnTo>
                    <a:pt x="116" y="128"/>
                  </a:lnTo>
                  <a:lnTo>
                    <a:pt x="116" y="126"/>
                  </a:lnTo>
                  <a:lnTo>
                    <a:pt x="118" y="126"/>
                  </a:lnTo>
                  <a:lnTo>
                    <a:pt x="118" y="124"/>
                  </a:lnTo>
                  <a:lnTo>
                    <a:pt x="120" y="124"/>
                  </a:lnTo>
                  <a:lnTo>
                    <a:pt x="120" y="124"/>
                  </a:lnTo>
                  <a:lnTo>
                    <a:pt x="124" y="122"/>
                  </a:lnTo>
                  <a:lnTo>
                    <a:pt x="126" y="122"/>
                  </a:lnTo>
                  <a:lnTo>
                    <a:pt x="128" y="122"/>
                  </a:lnTo>
                  <a:lnTo>
                    <a:pt x="130" y="122"/>
                  </a:lnTo>
                  <a:lnTo>
                    <a:pt x="132" y="122"/>
                  </a:lnTo>
                  <a:lnTo>
                    <a:pt x="132" y="122"/>
                  </a:lnTo>
                  <a:lnTo>
                    <a:pt x="132" y="122"/>
                  </a:lnTo>
                  <a:lnTo>
                    <a:pt x="134" y="124"/>
                  </a:lnTo>
                  <a:lnTo>
                    <a:pt x="134" y="124"/>
                  </a:lnTo>
                  <a:lnTo>
                    <a:pt x="134" y="126"/>
                  </a:lnTo>
                  <a:lnTo>
                    <a:pt x="134" y="126"/>
                  </a:lnTo>
                  <a:lnTo>
                    <a:pt x="136" y="130"/>
                  </a:lnTo>
                  <a:lnTo>
                    <a:pt x="136" y="132"/>
                  </a:lnTo>
                  <a:lnTo>
                    <a:pt x="136" y="136"/>
                  </a:lnTo>
                  <a:lnTo>
                    <a:pt x="136" y="138"/>
                  </a:lnTo>
                  <a:lnTo>
                    <a:pt x="136" y="138"/>
                  </a:lnTo>
                  <a:lnTo>
                    <a:pt x="136" y="140"/>
                  </a:lnTo>
                  <a:lnTo>
                    <a:pt x="138" y="140"/>
                  </a:lnTo>
                  <a:lnTo>
                    <a:pt x="138" y="142"/>
                  </a:lnTo>
                  <a:lnTo>
                    <a:pt x="140" y="142"/>
                  </a:lnTo>
                  <a:lnTo>
                    <a:pt x="140" y="142"/>
                  </a:lnTo>
                  <a:lnTo>
                    <a:pt x="142" y="144"/>
                  </a:lnTo>
                  <a:lnTo>
                    <a:pt x="144" y="144"/>
                  </a:lnTo>
                  <a:lnTo>
                    <a:pt x="146" y="144"/>
                  </a:lnTo>
                  <a:lnTo>
                    <a:pt x="146" y="144"/>
                  </a:lnTo>
                  <a:lnTo>
                    <a:pt x="150" y="144"/>
                  </a:lnTo>
                  <a:lnTo>
                    <a:pt x="150" y="148"/>
                  </a:lnTo>
                  <a:lnTo>
                    <a:pt x="150" y="150"/>
                  </a:lnTo>
                  <a:lnTo>
                    <a:pt x="150" y="152"/>
                  </a:lnTo>
                  <a:lnTo>
                    <a:pt x="150" y="154"/>
                  </a:lnTo>
                  <a:lnTo>
                    <a:pt x="150" y="154"/>
                  </a:lnTo>
                  <a:lnTo>
                    <a:pt x="150" y="156"/>
                  </a:lnTo>
                  <a:lnTo>
                    <a:pt x="148" y="158"/>
                  </a:lnTo>
                  <a:lnTo>
                    <a:pt x="146" y="160"/>
                  </a:lnTo>
                  <a:lnTo>
                    <a:pt x="146" y="162"/>
                  </a:lnTo>
                  <a:lnTo>
                    <a:pt x="146" y="162"/>
                  </a:lnTo>
                  <a:lnTo>
                    <a:pt x="144" y="162"/>
                  </a:lnTo>
                  <a:lnTo>
                    <a:pt x="144" y="162"/>
                  </a:lnTo>
                  <a:lnTo>
                    <a:pt x="140" y="164"/>
                  </a:lnTo>
                  <a:lnTo>
                    <a:pt x="138" y="164"/>
                  </a:lnTo>
                  <a:lnTo>
                    <a:pt x="136" y="164"/>
                  </a:lnTo>
                  <a:lnTo>
                    <a:pt x="136" y="164"/>
                  </a:lnTo>
                  <a:lnTo>
                    <a:pt x="136" y="164"/>
                  </a:lnTo>
                  <a:lnTo>
                    <a:pt x="136" y="166"/>
                  </a:lnTo>
                  <a:lnTo>
                    <a:pt x="134" y="166"/>
                  </a:lnTo>
                  <a:lnTo>
                    <a:pt x="132" y="170"/>
                  </a:lnTo>
                  <a:lnTo>
                    <a:pt x="132" y="172"/>
                  </a:lnTo>
                  <a:lnTo>
                    <a:pt x="130" y="174"/>
                  </a:lnTo>
                  <a:lnTo>
                    <a:pt x="130" y="174"/>
                  </a:lnTo>
                  <a:lnTo>
                    <a:pt x="130" y="174"/>
                  </a:lnTo>
                  <a:lnTo>
                    <a:pt x="132" y="176"/>
                  </a:lnTo>
                  <a:lnTo>
                    <a:pt x="132" y="176"/>
                  </a:lnTo>
                  <a:lnTo>
                    <a:pt x="134" y="176"/>
                  </a:lnTo>
                  <a:lnTo>
                    <a:pt x="134" y="176"/>
                  </a:lnTo>
                  <a:lnTo>
                    <a:pt x="136" y="176"/>
                  </a:lnTo>
                  <a:lnTo>
                    <a:pt x="138" y="178"/>
                  </a:lnTo>
                  <a:lnTo>
                    <a:pt x="140" y="178"/>
                  </a:lnTo>
                  <a:lnTo>
                    <a:pt x="142" y="178"/>
                  </a:lnTo>
                  <a:lnTo>
                    <a:pt x="144" y="176"/>
                  </a:lnTo>
                  <a:lnTo>
                    <a:pt x="148" y="176"/>
                  </a:lnTo>
                  <a:lnTo>
                    <a:pt x="150" y="176"/>
                  </a:lnTo>
                  <a:lnTo>
                    <a:pt x="154" y="176"/>
                  </a:lnTo>
                  <a:lnTo>
                    <a:pt x="158" y="176"/>
                  </a:lnTo>
                  <a:lnTo>
                    <a:pt x="160" y="176"/>
                  </a:lnTo>
                  <a:lnTo>
                    <a:pt x="162" y="176"/>
                  </a:lnTo>
                  <a:lnTo>
                    <a:pt x="164" y="176"/>
                  </a:lnTo>
                  <a:lnTo>
                    <a:pt x="164" y="176"/>
                  </a:lnTo>
                  <a:lnTo>
                    <a:pt x="166" y="176"/>
                  </a:lnTo>
                  <a:lnTo>
                    <a:pt x="168" y="174"/>
                  </a:lnTo>
                  <a:lnTo>
                    <a:pt x="172" y="172"/>
                  </a:lnTo>
                  <a:lnTo>
                    <a:pt x="174" y="172"/>
                  </a:lnTo>
                  <a:lnTo>
                    <a:pt x="178" y="170"/>
                  </a:lnTo>
                  <a:lnTo>
                    <a:pt x="184" y="166"/>
                  </a:lnTo>
                  <a:lnTo>
                    <a:pt x="186" y="166"/>
                  </a:lnTo>
                  <a:lnTo>
                    <a:pt x="188" y="166"/>
                  </a:lnTo>
                  <a:lnTo>
                    <a:pt x="190" y="166"/>
                  </a:lnTo>
                  <a:lnTo>
                    <a:pt x="190" y="164"/>
                  </a:lnTo>
                  <a:lnTo>
                    <a:pt x="192" y="164"/>
                  </a:lnTo>
                  <a:lnTo>
                    <a:pt x="192" y="164"/>
                  </a:lnTo>
                  <a:lnTo>
                    <a:pt x="192" y="164"/>
                  </a:lnTo>
                  <a:lnTo>
                    <a:pt x="192" y="162"/>
                  </a:lnTo>
                  <a:lnTo>
                    <a:pt x="190" y="162"/>
                  </a:lnTo>
                  <a:lnTo>
                    <a:pt x="190" y="160"/>
                  </a:lnTo>
                  <a:lnTo>
                    <a:pt x="190" y="160"/>
                  </a:lnTo>
                  <a:lnTo>
                    <a:pt x="188" y="160"/>
                  </a:lnTo>
                  <a:lnTo>
                    <a:pt x="188" y="158"/>
                  </a:lnTo>
                  <a:lnTo>
                    <a:pt x="186" y="158"/>
                  </a:lnTo>
                  <a:lnTo>
                    <a:pt x="186" y="158"/>
                  </a:lnTo>
                  <a:lnTo>
                    <a:pt x="184" y="158"/>
                  </a:lnTo>
                  <a:lnTo>
                    <a:pt x="182" y="158"/>
                  </a:lnTo>
                  <a:lnTo>
                    <a:pt x="178" y="158"/>
                  </a:lnTo>
                  <a:lnTo>
                    <a:pt x="178" y="158"/>
                  </a:lnTo>
                  <a:lnTo>
                    <a:pt x="176" y="158"/>
                  </a:lnTo>
                  <a:lnTo>
                    <a:pt x="174" y="158"/>
                  </a:lnTo>
                  <a:lnTo>
                    <a:pt x="172" y="156"/>
                  </a:lnTo>
                  <a:lnTo>
                    <a:pt x="168" y="154"/>
                  </a:lnTo>
                  <a:lnTo>
                    <a:pt x="166" y="154"/>
                  </a:lnTo>
                  <a:lnTo>
                    <a:pt x="166" y="152"/>
                  </a:lnTo>
                  <a:lnTo>
                    <a:pt x="164" y="152"/>
                  </a:lnTo>
                  <a:lnTo>
                    <a:pt x="164" y="150"/>
                  </a:lnTo>
                  <a:lnTo>
                    <a:pt x="164" y="150"/>
                  </a:lnTo>
                  <a:lnTo>
                    <a:pt x="162" y="148"/>
                  </a:lnTo>
                  <a:lnTo>
                    <a:pt x="162" y="148"/>
                  </a:lnTo>
                  <a:lnTo>
                    <a:pt x="164" y="146"/>
                  </a:lnTo>
                  <a:lnTo>
                    <a:pt x="164" y="144"/>
                  </a:lnTo>
                  <a:lnTo>
                    <a:pt x="164" y="144"/>
                  </a:lnTo>
                  <a:lnTo>
                    <a:pt x="168" y="142"/>
                  </a:lnTo>
                  <a:lnTo>
                    <a:pt x="170" y="142"/>
                  </a:lnTo>
                  <a:lnTo>
                    <a:pt x="174" y="140"/>
                  </a:lnTo>
                  <a:lnTo>
                    <a:pt x="176" y="138"/>
                  </a:lnTo>
                  <a:lnTo>
                    <a:pt x="176" y="138"/>
                  </a:lnTo>
                  <a:lnTo>
                    <a:pt x="176" y="138"/>
                  </a:lnTo>
                  <a:lnTo>
                    <a:pt x="178" y="136"/>
                  </a:lnTo>
                  <a:lnTo>
                    <a:pt x="178" y="136"/>
                  </a:lnTo>
                  <a:lnTo>
                    <a:pt x="180" y="134"/>
                  </a:lnTo>
                  <a:lnTo>
                    <a:pt x="180" y="132"/>
                  </a:lnTo>
                  <a:lnTo>
                    <a:pt x="182" y="130"/>
                  </a:lnTo>
                  <a:lnTo>
                    <a:pt x="182" y="128"/>
                  </a:lnTo>
                  <a:lnTo>
                    <a:pt x="182" y="128"/>
                  </a:lnTo>
                  <a:lnTo>
                    <a:pt x="184" y="128"/>
                  </a:lnTo>
                  <a:lnTo>
                    <a:pt x="184" y="128"/>
                  </a:lnTo>
                  <a:lnTo>
                    <a:pt x="184" y="128"/>
                  </a:lnTo>
                  <a:lnTo>
                    <a:pt x="186" y="128"/>
                  </a:lnTo>
                  <a:lnTo>
                    <a:pt x="188" y="128"/>
                  </a:lnTo>
                  <a:lnTo>
                    <a:pt x="188" y="128"/>
                  </a:lnTo>
                  <a:lnTo>
                    <a:pt x="192" y="128"/>
                  </a:lnTo>
                  <a:lnTo>
                    <a:pt x="194" y="128"/>
                  </a:lnTo>
                  <a:lnTo>
                    <a:pt x="194" y="128"/>
                  </a:lnTo>
                  <a:lnTo>
                    <a:pt x="198" y="128"/>
                  </a:lnTo>
                  <a:lnTo>
                    <a:pt x="202" y="128"/>
                  </a:lnTo>
                  <a:lnTo>
                    <a:pt x="206" y="126"/>
                  </a:lnTo>
                  <a:lnTo>
                    <a:pt x="210" y="124"/>
                  </a:lnTo>
                  <a:lnTo>
                    <a:pt x="214" y="122"/>
                  </a:lnTo>
                  <a:lnTo>
                    <a:pt x="218" y="120"/>
                  </a:lnTo>
                  <a:lnTo>
                    <a:pt x="218" y="120"/>
                  </a:lnTo>
                  <a:lnTo>
                    <a:pt x="220" y="118"/>
                  </a:lnTo>
                  <a:lnTo>
                    <a:pt x="222" y="118"/>
                  </a:lnTo>
                  <a:lnTo>
                    <a:pt x="222" y="116"/>
                  </a:lnTo>
                  <a:lnTo>
                    <a:pt x="222" y="116"/>
                  </a:lnTo>
                  <a:lnTo>
                    <a:pt x="222" y="114"/>
                  </a:lnTo>
                  <a:lnTo>
                    <a:pt x="222" y="112"/>
                  </a:lnTo>
                  <a:lnTo>
                    <a:pt x="222" y="108"/>
                  </a:lnTo>
                  <a:lnTo>
                    <a:pt x="222" y="106"/>
                  </a:lnTo>
                  <a:lnTo>
                    <a:pt x="224" y="102"/>
                  </a:lnTo>
                  <a:lnTo>
                    <a:pt x="224" y="100"/>
                  </a:lnTo>
                  <a:lnTo>
                    <a:pt x="228" y="94"/>
                  </a:lnTo>
                  <a:lnTo>
                    <a:pt x="230" y="88"/>
                  </a:lnTo>
                  <a:lnTo>
                    <a:pt x="230" y="84"/>
                  </a:lnTo>
                  <a:lnTo>
                    <a:pt x="232" y="82"/>
                  </a:lnTo>
                  <a:lnTo>
                    <a:pt x="232" y="80"/>
                  </a:lnTo>
                  <a:lnTo>
                    <a:pt x="232" y="76"/>
                  </a:lnTo>
                  <a:lnTo>
                    <a:pt x="232" y="76"/>
                  </a:lnTo>
                  <a:lnTo>
                    <a:pt x="232" y="74"/>
                  </a:lnTo>
                  <a:lnTo>
                    <a:pt x="232" y="74"/>
                  </a:lnTo>
                  <a:lnTo>
                    <a:pt x="232" y="7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1" name="Freeform 359">
              <a:extLst>
                <a:ext uri="{FF2B5EF4-FFF2-40B4-BE49-F238E27FC236}">
                  <a16:creationId xmlns:a16="http://schemas.microsoft.com/office/drawing/2014/main" id="{F7857D3F-4870-4FB0-9530-93DD7CB9973C}"/>
                </a:ext>
              </a:extLst>
            </p:cNvPr>
            <p:cNvSpPr>
              <a:spLocks/>
            </p:cNvSpPr>
            <p:nvPr/>
          </p:nvSpPr>
          <p:spPr bwMode="auto">
            <a:xfrm>
              <a:off x="3863906" y="3818279"/>
              <a:ext cx="200921" cy="221706"/>
            </a:xfrm>
            <a:custGeom>
              <a:avLst/>
              <a:gdLst>
                <a:gd name="T0" fmla="*/ 116 w 116"/>
                <a:gd name="T1" fmla="*/ 6 h 128"/>
                <a:gd name="T2" fmla="*/ 116 w 116"/>
                <a:gd name="T3" fmla="*/ 2 h 128"/>
                <a:gd name="T4" fmla="*/ 114 w 116"/>
                <a:gd name="T5" fmla="*/ 0 h 128"/>
                <a:gd name="T6" fmla="*/ 108 w 116"/>
                <a:gd name="T7" fmla="*/ 2 h 128"/>
                <a:gd name="T8" fmla="*/ 66 w 116"/>
                <a:gd name="T9" fmla="*/ 6 h 128"/>
                <a:gd name="T10" fmla="*/ 64 w 116"/>
                <a:gd name="T11" fmla="*/ 10 h 128"/>
                <a:gd name="T12" fmla="*/ 60 w 116"/>
                <a:gd name="T13" fmla="*/ 10 h 128"/>
                <a:gd name="T14" fmla="*/ 52 w 116"/>
                <a:gd name="T15" fmla="*/ 8 h 128"/>
                <a:gd name="T16" fmla="*/ 46 w 116"/>
                <a:gd name="T17" fmla="*/ 8 h 128"/>
                <a:gd name="T18" fmla="*/ 44 w 116"/>
                <a:gd name="T19" fmla="*/ 10 h 128"/>
                <a:gd name="T20" fmla="*/ 44 w 116"/>
                <a:gd name="T21" fmla="*/ 22 h 128"/>
                <a:gd name="T22" fmla="*/ 42 w 116"/>
                <a:gd name="T23" fmla="*/ 28 h 128"/>
                <a:gd name="T24" fmla="*/ 36 w 116"/>
                <a:gd name="T25" fmla="*/ 36 h 128"/>
                <a:gd name="T26" fmla="*/ 26 w 116"/>
                <a:gd name="T27" fmla="*/ 40 h 128"/>
                <a:gd name="T28" fmla="*/ 20 w 116"/>
                <a:gd name="T29" fmla="*/ 44 h 128"/>
                <a:gd name="T30" fmla="*/ 18 w 116"/>
                <a:gd name="T31" fmla="*/ 50 h 128"/>
                <a:gd name="T32" fmla="*/ 18 w 116"/>
                <a:gd name="T33" fmla="*/ 56 h 128"/>
                <a:gd name="T34" fmla="*/ 20 w 116"/>
                <a:gd name="T35" fmla="*/ 66 h 128"/>
                <a:gd name="T36" fmla="*/ 18 w 116"/>
                <a:gd name="T37" fmla="*/ 70 h 128"/>
                <a:gd name="T38" fmla="*/ 14 w 116"/>
                <a:gd name="T39" fmla="*/ 70 h 128"/>
                <a:gd name="T40" fmla="*/ 10 w 116"/>
                <a:gd name="T41" fmla="*/ 72 h 128"/>
                <a:gd name="T42" fmla="*/ 10 w 116"/>
                <a:gd name="T43" fmla="*/ 74 h 128"/>
                <a:gd name="T44" fmla="*/ 12 w 116"/>
                <a:gd name="T45" fmla="*/ 80 h 128"/>
                <a:gd name="T46" fmla="*/ 12 w 116"/>
                <a:gd name="T47" fmla="*/ 82 h 128"/>
                <a:gd name="T48" fmla="*/ 6 w 116"/>
                <a:gd name="T49" fmla="*/ 86 h 128"/>
                <a:gd name="T50" fmla="*/ 4 w 116"/>
                <a:gd name="T51" fmla="*/ 92 h 128"/>
                <a:gd name="T52" fmla="*/ 0 w 116"/>
                <a:gd name="T53" fmla="*/ 104 h 128"/>
                <a:gd name="T54" fmla="*/ 2 w 116"/>
                <a:gd name="T55" fmla="*/ 122 h 128"/>
                <a:gd name="T56" fmla="*/ 10 w 116"/>
                <a:gd name="T57" fmla="*/ 126 h 128"/>
                <a:gd name="T58" fmla="*/ 28 w 116"/>
                <a:gd name="T59" fmla="*/ 128 h 128"/>
                <a:gd name="T60" fmla="*/ 40 w 116"/>
                <a:gd name="T61" fmla="*/ 128 h 128"/>
                <a:gd name="T62" fmla="*/ 42 w 116"/>
                <a:gd name="T63" fmla="*/ 126 h 128"/>
                <a:gd name="T64" fmla="*/ 44 w 116"/>
                <a:gd name="T65" fmla="*/ 122 h 128"/>
                <a:gd name="T66" fmla="*/ 42 w 116"/>
                <a:gd name="T67" fmla="*/ 108 h 128"/>
                <a:gd name="T68" fmla="*/ 44 w 116"/>
                <a:gd name="T69" fmla="*/ 100 h 128"/>
                <a:gd name="T70" fmla="*/ 48 w 116"/>
                <a:gd name="T71" fmla="*/ 92 h 128"/>
                <a:gd name="T72" fmla="*/ 54 w 116"/>
                <a:gd name="T73" fmla="*/ 86 h 128"/>
                <a:gd name="T74" fmla="*/ 58 w 116"/>
                <a:gd name="T75" fmla="*/ 86 h 128"/>
                <a:gd name="T76" fmla="*/ 66 w 116"/>
                <a:gd name="T77" fmla="*/ 90 h 128"/>
                <a:gd name="T78" fmla="*/ 68 w 116"/>
                <a:gd name="T79" fmla="*/ 90 h 128"/>
                <a:gd name="T80" fmla="*/ 70 w 116"/>
                <a:gd name="T81" fmla="*/ 86 h 128"/>
                <a:gd name="T82" fmla="*/ 72 w 116"/>
                <a:gd name="T83" fmla="*/ 80 h 128"/>
                <a:gd name="T84" fmla="*/ 68 w 116"/>
                <a:gd name="T85" fmla="*/ 66 h 128"/>
                <a:gd name="T86" fmla="*/ 66 w 116"/>
                <a:gd name="T87" fmla="*/ 48 h 128"/>
                <a:gd name="T88" fmla="*/ 66 w 116"/>
                <a:gd name="T89" fmla="*/ 42 h 128"/>
                <a:gd name="T90" fmla="*/ 70 w 116"/>
                <a:gd name="T91" fmla="*/ 40 h 128"/>
                <a:gd name="T92" fmla="*/ 76 w 116"/>
                <a:gd name="T93" fmla="*/ 38 h 128"/>
                <a:gd name="T94" fmla="*/ 90 w 116"/>
                <a:gd name="T95" fmla="*/ 38 h 128"/>
                <a:gd name="T96" fmla="*/ 100 w 116"/>
                <a:gd name="T97" fmla="*/ 38 h 128"/>
                <a:gd name="T98" fmla="*/ 104 w 116"/>
                <a:gd name="T99" fmla="*/ 38 h 128"/>
                <a:gd name="T100" fmla="*/ 108 w 116"/>
                <a:gd name="T101" fmla="*/ 32 h 128"/>
                <a:gd name="T102" fmla="*/ 114 w 116"/>
                <a:gd name="T103" fmla="*/ 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6" h="128">
                  <a:moveTo>
                    <a:pt x="116" y="8"/>
                  </a:moveTo>
                  <a:lnTo>
                    <a:pt x="116" y="8"/>
                  </a:lnTo>
                  <a:lnTo>
                    <a:pt x="116" y="8"/>
                  </a:lnTo>
                  <a:lnTo>
                    <a:pt x="116" y="6"/>
                  </a:lnTo>
                  <a:lnTo>
                    <a:pt x="116" y="4"/>
                  </a:lnTo>
                  <a:lnTo>
                    <a:pt x="116" y="4"/>
                  </a:lnTo>
                  <a:lnTo>
                    <a:pt x="116" y="2"/>
                  </a:lnTo>
                  <a:lnTo>
                    <a:pt x="116" y="2"/>
                  </a:lnTo>
                  <a:lnTo>
                    <a:pt x="116" y="2"/>
                  </a:lnTo>
                  <a:lnTo>
                    <a:pt x="116" y="0"/>
                  </a:lnTo>
                  <a:lnTo>
                    <a:pt x="116" y="0"/>
                  </a:lnTo>
                  <a:lnTo>
                    <a:pt x="114" y="0"/>
                  </a:lnTo>
                  <a:lnTo>
                    <a:pt x="112" y="0"/>
                  </a:lnTo>
                  <a:lnTo>
                    <a:pt x="112" y="0"/>
                  </a:lnTo>
                  <a:lnTo>
                    <a:pt x="108" y="2"/>
                  </a:lnTo>
                  <a:lnTo>
                    <a:pt x="108" y="2"/>
                  </a:lnTo>
                  <a:lnTo>
                    <a:pt x="106" y="2"/>
                  </a:lnTo>
                  <a:lnTo>
                    <a:pt x="68" y="2"/>
                  </a:lnTo>
                  <a:lnTo>
                    <a:pt x="68" y="2"/>
                  </a:lnTo>
                  <a:lnTo>
                    <a:pt x="66" y="6"/>
                  </a:lnTo>
                  <a:lnTo>
                    <a:pt x="66" y="6"/>
                  </a:lnTo>
                  <a:lnTo>
                    <a:pt x="64" y="8"/>
                  </a:lnTo>
                  <a:lnTo>
                    <a:pt x="64" y="10"/>
                  </a:lnTo>
                  <a:lnTo>
                    <a:pt x="64" y="10"/>
                  </a:lnTo>
                  <a:lnTo>
                    <a:pt x="62" y="10"/>
                  </a:lnTo>
                  <a:lnTo>
                    <a:pt x="62" y="10"/>
                  </a:lnTo>
                  <a:lnTo>
                    <a:pt x="62" y="10"/>
                  </a:lnTo>
                  <a:lnTo>
                    <a:pt x="60" y="10"/>
                  </a:lnTo>
                  <a:lnTo>
                    <a:pt x="60" y="10"/>
                  </a:lnTo>
                  <a:lnTo>
                    <a:pt x="56" y="10"/>
                  </a:lnTo>
                  <a:lnTo>
                    <a:pt x="54" y="8"/>
                  </a:lnTo>
                  <a:lnTo>
                    <a:pt x="52" y="8"/>
                  </a:lnTo>
                  <a:lnTo>
                    <a:pt x="48" y="8"/>
                  </a:lnTo>
                  <a:lnTo>
                    <a:pt x="48" y="8"/>
                  </a:lnTo>
                  <a:lnTo>
                    <a:pt x="46" y="8"/>
                  </a:lnTo>
                  <a:lnTo>
                    <a:pt x="46" y="8"/>
                  </a:lnTo>
                  <a:lnTo>
                    <a:pt x="46" y="8"/>
                  </a:lnTo>
                  <a:lnTo>
                    <a:pt x="44" y="8"/>
                  </a:lnTo>
                  <a:lnTo>
                    <a:pt x="44" y="10"/>
                  </a:lnTo>
                  <a:lnTo>
                    <a:pt x="44" y="10"/>
                  </a:lnTo>
                  <a:lnTo>
                    <a:pt x="44" y="12"/>
                  </a:lnTo>
                  <a:lnTo>
                    <a:pt x="44" y="14"/>
                  </a:lnTo>
                  <a:lnTo>
                    <a:pt x="44" y="16"/>
                  </a:lnTo>
                  <a:lnTo>
                    <a:pt x="44" y="22"/>
                  </a:lnTo>
                  <a:lnTo>
                    <a:pt x="44" y="24"/>
                  </a:lnTo>
                  <a:lnTo>
                    <a:pt x="42" y="26"/>
                  </a:lnTo>
                  <a:lnTo>
                    <a:pt x="42" y="26"/>
                  </a:lnTo>
                  <a:lnTo>
                    <a:pt x="42" y="28"/>
                  </a:lnTo>
                  <a:lnTo>
                    <a:pt x="40" y="32"/>
                  </a:lnTo>
                  <a:lnTo>
                    <a:pt x="38" y="34"/>
                  </a:lnTo>
                  <a:lnTo>
                    <a:pt x="38" y="36"/>
                  </a:lnTo>
                  <a:lnTo>
                    <a:pt x="36" y="36"/>
                  </a:lnTo>
                  <a:lnTo>
                    <a:pt x="36" y="38"/>
                  </a:lnTo>
                  <a:lnTo>
                    <a:pt x="34" y="38"/>
                  </a:lnTo>
                  <a:lnTo>
                    <a:pt x="30" y="40"/>
                  </a:lnTo>
                  <a:lnTo>
                    <a:pt x="26" y="40"/>
                  </a:lnTo>
                  <a:lnTo>
                    <a:pt x="24" y="40"/>
                  </a:lnTo>
                  <a:lnTo>
                    <a:pt x="24" y="42"/>
                  </a:lnTo>
                  <a:lnTo>
                    <a:pt x="22" y="42"/>
                  </a:lnTo>
                  <a:lnTo>
                    <a:pt x="20" y="44"/>
                  </a:lnTo>
                  <a:lnTo>
                    <a:pt x="18" y="46"/>
                  </a:lnTo>
                  <a:lnTo>
                    <a:pt x="18" y="48"/>
                  </a:lnTo>
                  <a:lnTo>
                    <a:pt x="18" y="48"/>
                  </a:lnTo>
                  <a:lnTo>
                    <a:pt x="18" y="50"/>
                  </a:lnTo>
                  <a:lnTo>
                    <a:pt x="18" y="50"/>
                  </a:lnTo>
                  <a:lnTo>
                    <a:pt x="18" y="52"/>
                  </a:lnTo>
                  <a:lnTo>
                    <a:pt x="18" y="52"/>
                  </a:lnTo>
                  <a:lnTo>
                    <a:pt x="18" y="56"/>
                  </a:lnTo>
                  <a:lnTo>
                    <a:pt x="18" y="60"/>
                  </a:lnTo>
                  <a:lnTo>
                    <a:pt x="18" y="62"/>
                  </a:lnTo>
                  <a:lnTo>
                    <a:pt x="20" y="66"/>
                  </a:lnTo>
                  <a:lnTo>
                    <a:pt x="20" y="66"/>
                  </a:lnTo>
                  <a:lnTo>
                    <a:pt x="20" y="68"/>
                  </a:lnTo>
                  <a:lnTo>
                    <a:pt x="18" y="68"/>
                  </a:lnTo>
                  <a:lnTo>
                    <a:pt x="18" y="70"/>
                  </a:lnTo>
                  <a:lnTo>
                    <a:pt x="18" y="70"/>
                  </a:lnTo>
                  <a:lnTo>
                    <a:pt x="18" y="70"/>
                  </a:lnTo>
                  <a:lnTo>
                    <a:pt x="16" y="70"/>
                  </a:lnTo>
                  <a:lnTo>
                    <a:pt x="16" y="70"/>
                  </a:lnTo>
                  <a:lnTo>
                    <a:pt x="14" y="70"/>
                  </a:lnTo>
                  <a:lnTo>
                    <a:pt x="12" y="70"/>
                  </a:lnTo>
                  <a:lnTo>
                    <a:pt x="12" y="72"/>
                  </a:lnTo>
                  <a:lnTo>
                    <a:pt x="10" y="72"/>
                  </a:lnTo>
                  <a:lnTo>
                    <a:pt x="10" y="72"/>
                  </a:lnTo>
                  <a:lnTo>
                    <a:pt x="10" y="72"/>
                  </a:lnTo>
                  <a:lnTo>
                    <a:pt x="10" y="72"/>
                  </a:lnTo>
                  <a:lnTo>
                    <a:pt x="10" y="72"/>
                  </a:lnTo>
                  <a:lnTo>
                    <a:pt x="10" y="74"/>
                  </a:lnTo>
                  <a:lnTo>
                    <a:pt x="10" y="76"/>
                  </a:lnTo>
                  <a:lnTo>
                    <a:pt x="10" y="76"/>
                  </a:lnTo>
                  <a:lnTo>
                    <a:pt x="12" y="78"/>
                  </a:lnTo>
                  <a:lnTo>
                    <a:pt x="12" y="80"/>
                  </a:lnTo>
                  <a:lnTo>
                    <a:pt x="12" y="82"/>
                  </a:lnTo>
                  <a:lnTo>
                    <a:pt x="12" y="82"/>
                  </a:lnTo>
                  <a:lnTo>
                    <a:pt x="12" y="82"/>
                  </a:lnTo>
                  <a:lnTo>
                    <a:pt x="12" y="82"/>
                  </a:lnTo>
                  <a:lnTo>
                    <a:pt x="12" y="84"/>
                  </a:lnTo>
                  <a:lnTo>
                    <a:pt x="10" y="84"/>
                  </a:lnTo>
                  <a:lnTo>
                    <a:pt x="8" y="86"/>
                  </a:lnTo>
                  <a:lnTo>
                    <a:pt x="6" y="86"/>
                  </a:lnTo>
                  <a:lnTo>
                    <a:pt x="6" y="88"/>
                  </a:lnTo>
                  <a:lnTo>
                    <a:pt x="6" y="88"/>
                  </a:lnTo>
                  <a:lnTo>
                    <a:pt x="4" y="90"/>
                  </a:lnTo>
                  <a:lnTo>
                    <a:pt x="4" y="92"/>
                  </a:lnTo>
                  <a:lnTo>
                    <a:pt x="2" y="94"/>
                  </a:lnTo>
                  <a:lnTo>
                    <a:pt x="2" y="98"/>
                  </a:lnTo>
                  <a:lnTo>
                    <a:pt x="0" y="102"/>
                  </a:lnTo>
                  <a:lnTo>
                    <a:pt x="0" y="104"/>
                  </a:lnTo>
                  <a:lnTo>
                    <a:pt x="0" y="108"/>
                  </a:lnTo>
                  <a:lnTo>
                    <a:pt x="2" y="114"/>
                  </a:lnTo>
                  <a:lnTo>
                    <a:pt x="2" y="120"/>
                  </a:lnTo>
                  <a:lnTo>
                    <a:pt x="2" y="122"/>
                  </a:lnTo>
                  <a:lnTo>
                    <a:pt x="4" y="124"/>
                  </a:lnTo>
                  <a:lnTo>
                    <a:pt x="6" y="124"/>
                  </a:lnTo>
                  <a:lnTo>
                    <a:pt x="8" y="126"/>
                  </a:lnTo>
                  <a:lnTo>
                    <a:pt x="10" y="126"/>
                  </a:lnTo>
                  <a:lnTo>
                    <a:pt x="12" y="126"/>
                  </a:lnTo>
                  <a:lnTo>
                    <a:pt x="18" y="126"/>
                  </a:lnTo>
                  <a:lnTo>
                    <a:pt x="24" y="128"/>
                  </a:lnTo>
                  <a:lnTo>
                    <a:pt x="28" y="128"/>
                  </a:lnTo>
                  <a:lnTo>
                    <a:pt x="32" y="128"/>
                  </a:lnTo>
                  <a:lnTo>
                    <a:pt x="36" y="128"/>
                  </a:lnTo>
                  <a:lnTo>
                    <a:pt x="38" y="128"/>
                  </a:lnTo>
                  <a:lnTo>
                    <a:pt x="40" y="128"/>
                  </a:lnTo>
                  <a:lnTo>
                    <a:pt x="40" y="128"/>
                  </a:lnTo>
                  <a:lnTo>
                    <a:pt x="40" y="128"/>
                  </a:lnTo>
                  <a:lnTo>
                    <a:pt x="42" y="128"/>
                  </a:lnTo>
                  <a:lnTo>
                    <a:pt x="42" y="126"/>
                  </a:lnTo>
                  <a:lnTo>
                    <a:pt x="42" y="126"/>
                  </a:lnTo>
                  <a:lnTo>
                    <a:pt x="42" y="124"/>
                  </a:lnTo>
                  <a:lnTo>
                    <a:pt x="44" y="124"/>
                  </a:lnTo>
                  <a:lnTo>
                    <a:pt x="44" y="122"/>
                  </a:lnTo>
                  <a:lnTo>
                    <a:pt x="44" y="120"/>
                  </a:lnTo>
                  <a:lnTo>
                    <a:pt x="44" y="118"/>
                  </a:lnTo>
                  <a:lnTo>
                    <a:pt x="42" y="112"/>
                  </a:lnTo>
                  <a:lnTo>
                    <a:pt x="42" y="108"/>
                  </a:lnTo>
                  <a:lnTo>
                    <a:pt x="42" y="108"/>
                  </a:lnTo>
                  <a:lnTo>
                    <a:pt x="42" y="106"/>
                  </a:lnTo>
                  <a:lnTo>
                    <a:pt x="44" y="104"/>
                  </a:lnTo>
                  <a:lnTo>
                    <a:pt x="44" y="100"/>
                  </a:lnTo>
                  <a:lnTo>
                    <a:pt x="46" y="96"/>
                  </a:lnTo>
                  <a:lnTo>
                    <a:pt x="46" y="94"/>
                  </a:lnTo>
                  <a:lnTo>
                    <a:pt x="46" y="94"/>
                  </a:lnTo>
                  <a:lnTo>
                    <a:pt x="48" y="92"/>
                  </a:lnTo>
                  <a:lnTo>
                    <a:pt x="50" y="88"/>
                  </a:lnTo>
                  <a:lnTo>
                    <a:pt x="52" y="88"/>
                  </a:lnTo>
                  <a:lnTo>
                    <a:pt x="54" y="88"/>
                  </a:lnTo>
                  <a:lnTo>
                    <a:pt x="54" y="86"/>
                  </a:lnTo>
                  <a:lnTo>
                    <a:pt x="56" y="86"/>
                  </a:lnTo>
                  <a:lnTo>
                    <a:pt x="56" y="86"/>
                  </a:lnTo>
                  <a:lnTo>
                    <a:pt x="56" y="86"/>
                  </a:lnTo>
                  <a:lnTo>
                    <a:pt x="58" y="86"/>
                  </a:lnTo>
                  <a:lnTo>
                    <a:pt x="60" y="88"/>
                  </a:lnTo>
                  <a:lnTo>
                    <a:pt x="62" y="88"/>
                  </a:lnTo>
                  <a:lnTo>
                    <a:pt x="64" y="90"/>
                  </a:lnTo>
                  <a:lnTo>
                    <a:pt x="66" y="90"/>
                  </a:lnTo>
                  <a:lnTo>
                    <a:pt x="66" y="90"/>
                  </a:lnTo>
                  <a:lnTo>
                    <a:pt x="66" y="90"/>
                  </a:lnTo>
                  <a:lnTo>
                    <a:pt x="68" y="90"/>
                  </a:lnTo>
                  <a:lnTo>
                    <a:pt x="68" y="90"/>
                  </a:lnTo>
                  <a:lnTo>
                    <a:pt x="68" y="88"/>
                  </a:lnTo>
                  <a:lnTo>
                    <a:pt x="70" y="88"/>
                  </a:lnTo>
                  <a:lnTo>
                    <a:pt x="70" y="88"/>
                  </a:lnTo>
                  <a:lnTo>
                    <a:pt x="70" y="86"/>
                  </a:lnTo>
                  <a:lnTo>
                    <a:pt x="70" y="84"/>
                  </a:lnTo>
                  <a:lnTo>
                    <a:pt x="70" y="84"/>
                  </a:lnTo>
                  <a:lnTo>
                    <a:pt x="72" y="82"/>
                  </a:lnTo>
                  <a:lnTo>
                    <a:pt x="72" y="80"/>
                  </a:lnTo>
                  <a:lnTo>
                    <a:pt x="70" y="76"/>
                  </a:lnTo>
                  <a:lnTo>
                    <a:pt x="70" y="74"/>
                  </a:lnTo>
                  <a:lnTo>
                    <a:pt x="70" y="70"/>
                  </a:lnTo>
                  <a:lnTo>
                    <a:pt x="68" y="66"/>
                  </a:lnTo>
                  <a:lnTo>
                    <a:pt x="66" y="58"/>
                  </a:lnTo>
                  <a:lnTo>
                    <a:pt x="66" y="54"/>
                  </a:lnTo>
                  <a:lnTo>
                    <a:pt x="66" y="50"/>
                  </a:lnTo>
                  <a:lnTo>
                    <a:pt x="66" y="48"/>
                  </a:lnTo>
                  <a:lnTo>
                    <a:pt x="66" y="46"/>
                  </a:lnTo>
                  <a:lnTo>
                    <a:pt x="66" y="44"/>
                  </a:lnTo>
                  <a:lnTo>
                    <a:pt x="66" y="44"/>
                  </a:lnTo>
                  <a:lnTo>
                    <a:pt x="66" y="42"/>
                  </a:lnTo>
                  <a:lnTo>
                    <a:pt x="68" y="42"/>
                  </a:lnTo>
                  <a:lnTo>
                    <a:pt x="68" y="40"/>
                  </a:lnTo>
                  <a:lnTo>
                    <a:pt x="68" y="40"/>
                  </a:lnTo>
                  <a:lnTo>
                    <a:pt x="70" y="40"/>
                  </a:lnTo>
                  <a:lnTo>
                    <a:pt x="70" y="38"/>
                  </a:lnTo>
                  <a:lnTo>
                    <a:pt x="70" y="38"/>
                  </a:lnTo>
                  <a:lnTo>
                    <a:pt x="72" y="38"/>
                  </a:lnTo>
                  <a:lnTo>
                    <a:pt x="76" y="38"/>
                  </a:lnTo>
                  <a:lnTo>
                    <a:pt x="78" y="38"/>
                  </a:lnTo>
                  <a:lnTo>
                    <a:pt x="80" y="38"/>
                  </a:lnTo>
                  <a:lnTo>
                    <a:pt x="86" y="38"/>
                  </a:lnTo>
                  <a:lnTo>
                    <a:pt x="90" y="38"/>
                  </a:lnTo>
                  <a:lnTo>
                    <a:pt x="94" y="40"/>
                  </a:lnTo>
                  <a:lnTo>
                    <a:pt x="96" y="40"/>
                  </a:lnTo>
                  <a:lnTo>
                    <a:pt x="98" y="40"/>
                  </a:lnTo>
                  <a:lnTo>
                    <a:pt x="100" y="38"/>
                  </a:lnTo>
                  <a:lnTo>
                    <a:pt x="102" y="38"/>
                  </a:lnTo>
                  <a:lnTo>
                    <a:pt x="102" y="38"/>
                  </a:lnTo>
                  <a:lnTo>
                    <a:pt x="104" y="38"/>
                  </a:lnTo>
                  <a:lnTo>
                    <a:pt x="104" y="38"/>
                  </a:lnTo>
                  <a:lnTo>
                    <a:pt x="106" y="36"/>
                  </a:lnTo>
                  <a:lnTo>
                    <a:pt x="106" y="36"/>
                  </a:lnTo>
                  <a:lnTo>
                    <a:pt x="108" y="34"/>
                  </a:lnTo>
                  <a:lnTo>
                    <a:pt x="108" y="32"/>
                  </a:lnTo>
                  <a:lnTo>
                    <a:pt x="110" y="28"/>
                  </a:lnTo>
                  <a:lnTo>
                    <a:pt x="110" y="26"/>
                  </a:lnTo>
                  <a:lnTo>
                    <a:pt x="112" y="24"/>
                  </a:lnTo>
                  <a:lnTo>
                    <a:pt x="114" y="16"/>
                  </a:lnTo>
                  <a:lnTo>
                    <a:pt x="114" y="12"/>
                  </a:lnTo>
                  <a:lnTo>
                    <a:pt x="116" y="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2" name="Freeform 360">
              <a:extLst>
                <a:ext uri="{FF2B5EF4-FFF2-40B4-BE49-F238E27FC236}">
                  <a16:creationId xmlns:a16="http://schemas.microsoft.com/office/drawing/2014/main" id="{BF33494C-5ABB-47B1-8D60-76F4520FDAE7}"/>
                </a:ext>
              </a:extLst>
            </p:cNvPr>
            <p:cNvSpPr>
              <a:spLocks/>
            </p:cNvSpPr>
            <p:nvPr/>
          </p:nvSpPr>
          <p:spPr bwMode="auto">
            <a:xfrm>
              <a:off x="3863906" y="3818279"/>
              <a:ext cx="200921" cy="221706"/>
            </a:xfrm>
            <a:custGeom>
              <a:avLst/>
              <a:gdLst>
                <a:gd name="T0" fmla="*/ 116 w 116"/>
                <a:gd name="T1" fmla="*/ 6 h 128"/>
                <a:gd name="T2" fmla="*/ 116 w 116"/>
                <a:gd name="T3" fmla="*/ 2 h 128"/>
                <a:gd name="T4" fmla="*/ 114 w 116"/>
                <a:gd name="T5" fmla="*/ 0 h 128"/>
                <a:gd name="T6" fmla="*/ 108 w 116"/>
                <a:gd name="T7" fmla="*/ 2 h 128"/>
                <a:gd name="T8" fmla="*/ 66 w 116"/>
                <a:gd name="T9" fmla="*/ 6 h 128"/>
                <a:gd name="T10" fmla="*/ 64 w 116"/>
                <a:gd name="T11" fmla="*/ 10 h 128"/>
                <a:gd name="T12" fmla="*/ 60 w 116"/>
                <a:gd name="T13" fmla="*/ 10 h 128"/>
                <a:gd name="T14" fmla="*/ 52 w 116"/>
                <a:gd name="T15" fmla="*/ 8 h 128"/>
                <a:gd name="T16" fmla="*/ 46 w 116"/>
                <a:gd name="T17" fmla="*/ 8 h 128"/>
                <a:gd name="T18" fmla="*/ 44 w 116"/>
                <a:gd name="T19" fmla="*/ 10 h 128"/>
                <a:gd name="T20" fmla="*/ 44 w 116"/>
                <a:gd name="T21" fmla="*/ 22 h 128"/>
                <a:gd name="T22" fmla="*/ 42 w 116"/>
                <a:gd name="T23" fmla="*/ 28 h 128"/>
                <a:gd name="T24" fmla="*/ 36 w 116"/>
                <a:gd name="T25" fmla="*/ 36 h 128"/>
                <a:gd name="T26" fmla="*/ 26 w 116"/>
                <a:gd name="T27" fmla="*/ 40 h 128"/>
                <a:gd name="T28" fmla="*/ 20 w 116"/>
                <a:gd name="T29" fmla="*/ 44 h 128"/>
                <a:gd name="T30" fmla="*/ 18 w 116"/>
                <a:gd name="T31" fmla="*/ 50 h 128"/>
                <a:gd name="T32" fmla="*/ 18 w 116"/>
                <a:gd name="T33" fmla="*/ 56 h 128"/>
                <a:gd name="T34" fmla="*/ 20 w 116"/>
                <a:gd name="T35" fmla="*/ 66 h 128"/>
                <a:gd name="T36" fmla="*/ 18 w 116"/>
                <a:gd name="T37" fmla="*/ 70 h 128"/>
                <a:gd name="T38" fmla="*/ 14 w 116"/>
                <a:gd name="T39" fmla="*/ 70 h 128"/>
                <a:gd name="T40" fmla="*/ 10 w 116"/>
                <a:gd name="T41" fmla="*/ 72 h 128"/>
                <a:gd name="T42" fmla="*/ 10 w 116"/>
                <a:gd name="T43" fmla="*/ 74 h 128"/>
                <a:gd name="T44" fmla="*/ 12 w 116"/>
                <a:gd name="T45" fmla="*/ 80 h 128"/>
                <a:gd name="T46" fmla="*/ 12 w 116"/>
                <a:gd name="T47" fmla="*/ 82 h 128"/>
                <a:gd name="T48" fmla="*/ 6 w 116"/>
                <a:gd name="T49" fmla="*/ 86 h 128"/>
                <a:gd name="T50" fmla="*/ 4 w 116"/>
                <a:gd name="T51" fmla="*/ 92 h 128"/>
                <a:gd name="T52" fmla="*/ 0 w 116"/>
                <a:gd name="T53" fmla="*/ 104 h 128"/>
                <a:gd name="T54" fmla="*/ 2 w 116"/>
                <a:gd name="T55" fmla="*/ 122 h 128"/>
                <a:gd name="T56" fmla="*/ 10 w 116"/>
                <a:gd name="T57" fmla="*/ 126 h 128"/>
                <a:gd name="T58" fmla="*/ 28 w 116"/>
                <a:gd name="T59" fmla="*/ 128 h 128"/>
                <a:gd name="T60" fmla="*/ 40 w 116"/>
                <a:gd name="T61" fmla="*/ 128 h 128"/>
                <a:gd name="T62" fmla="*/ 42 w 116"/>
                <a:gd name="T63" fmla="*/ 126 h 128"/>
                <a:gd name="T64" fmla="*/ 44 w 116"/>
                <a:gd name="T65" fmla="*/ 122 h 128"/>
                <a:gd name="T66" fmla="*/ 42 w 116"/>
                <a:gd name="T67" fmla="*/ 108 h 128"/>
                <a:gd name="T68" fmla="*/ 44 w 116"/>
                <a:gd name="T69" fmla="*/ 100 h 128"/>
                <a:gd name="T70" fmla="*/ 48 w 116"/>
                <a:gd name="T71" fmla="*/ 92 h 128"/>
                <a:gd name="T72" fmla="*/ 54 w 116"/>
                <a:gd name="T73" fmla="*/ 86 h 128"/>
                <a:gd name="T74" fmla="*/ 58 w 116"/>
                <a:gd name="T75" fmla="*/ 86 h 128"/>
                <a:gd name="T76" fmla="*/ 66 w 116"/>
                <a:gd name="T77" fmla="*/ 90 h 128"/>
                <a:gd name="T78" fmla="*/ 68 w 116"/>
                <a:gd name="T79" fmla="*/ 90 h 128"/>
                <a:gd name="T80" fmla="*/ 70 w 116"/>
                <a:gd name="T81" fmla="*/ 86 h 128"/>
                <a:gd name="T82" fmla="*/ 72 w 116"/>
                <a:gd name="T83" fmla="*/ 80 h 128"/>
                <a:gd name="T84" fmla="*/ 68 w 116"/>
                <a:gd name="T85" fmla="*/ 66 h 128"/>
                <a:gd name="T86" fmla="*/ 66 w 116"/>
                <a:gd name="T87" fmla="*/ 48 h 128"/>
                <a:gd name="T88" fmla="*/ 66 w 116"/>
                <a:gd name="T89" fmla="*/ 42 h 128"/>
                <a:gd name="T90" fmla="*/ 70 w 116"/>
                <a:gd name="T91" fmla="*/ 40 h 128"/>
                <a:gd name="T92" fmla="*/ 76 w 116"/>
                <a:gd name="T93" fmla="*/ 38 h 128"/>
                <a:gd name="T94" fmla="*/ 90 w 116"/>
                <a:gd name="T95" fmla="*/ 38 h 128"/>
                <a:gd name="T96" fmla="*/ 100 w 116"/>
                <a:gd name="T97" fmla="*/ 38 h 128"/>
                <a:gd name="T98" fmla="*/ 104 w 116"/>
                <a:gd name="T99" fmla="*/ 38 h 128"/>
                <a:gd name="T100" fmla="*/ 108 w 116"/>
                <a:gd name="T101" fmla="*/ 32 h 128"/>
                <a:gd name="T102" fmla="*/ 114 w 116"/>
                <a:gd name="T103" fmla="*/ 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6" h="128">
                  <a:moveTo>
                    <a:pt x="116" y="8"/>
                  </a:moveTo>
                  <a:lnTo>
                    <a:pt x="116" y="8"/>
                  </a:lnTo>
                  <a:lnTo>
                    <a:pt x="116" y="8"/>
                  </a:lnTo>
                  <a:lnTo>
                    <a:pt x="116" y="6"/>
                  </a:lnTo>
                  <a:lnTo>
                    <a:pt x="116" y="4"/>
                  </a:lnTo>
                  <a:lnTo>
                    <a:pt x="116" y="4"/>
                  </a:lnTo>
                  <a:lnTo>
                    <a:pt x="116" y="2"/>
                  </a:lnTo>
                  <a:lnTo>
                    <a:pt x="116" y="2"/>
                  </a:lnTo>
                  <a:lnTo>
                    <a:pt x="116" y="2"/>
                  </a:lnTo>
                  <a:lnTo>
                    <a:pt x="116" y="0"/>
                  </a:lnTo>
                  <a:lnTo>
                    <a:pt x="116" y="0"/>
                  </a:lnTo>
                  <a:lnTo>
                    <a:pt x="114" y="0"/>
                  </a:lnTo>
                  <a:lnTo>
                    <a:pt x="112" y="0"/>
                  </a:lnTo>
                  <a:lnTo>
                    <a:pt x="112" y="0"/>
                  </a:lnTo>
                  <a:lnTo>
                    <a:pt x="108" y="2"/>
                  </a:lnTo>
                  <a:lnTo>
                    <a:pt x="108" y="2"/>
                  </a:lnTo>
                  <a:lnTo>
                    <a:pt x="106" y="2"/>
                  </a:lnTo>
                  <a:lnTo>
                    <a:pt x="68" y="2"/>
                  </a:lnTo>
                  <a:lnTo>
                    <a:pt x="68" y="2"/>
                  </a:lnTo>
                  <a:lnTo>
                    <a:pt x="66" y="6"/>
                  </a:lnTo>
                  <a:lnTo>
                    <a:pt x="66" y="6"/>
                  </a:lnTo>
                  <a:lnTo>
                    <a:pt x="64" y="8"/>
                  </a:lnTo>
                  <a:lnTo>
                    <a:pt x="64" y="10"/>
                  </a:lnTo>
                  <a:lnTo>
                    <a:pt x="64" y="10"/>
                  </a:lnTo>
                  <a:lnTo>
                    <a:pt x="62" y="10"/>
                  </a:lnTo>
                  <a:lnTo>
                    <a:pt x="62" y="10"/>
                  </a:lnTo>
                  <a:lnTo>
                    <a:pt x="62" y="10"/>
                  </a:lnTo>
                  <a:lnTo>
                    <a:pt x="60" y="10"/>
                  </a:lnTo>
                  <a:lnTo>
                    <a:pt x="60" y="10"/>
                  </a:lnTo>
                  <a:lnTo>
                    <a:pt x="56" y="10"/>
                  </a:lnTo>
                  <a:lnTo>
                    <a:pt x="54" y="8"/>
                  </a:lnTo>
                  <a:lnTo>
                    <a:pt x="52" y="8"/>
                  </a:lnTo>
                  <a:lnTo>
                    <a:pt x="48" y="8"/>
                  </a:lnTo>
                  <a:lnTo>
                    <a:pt x="48" y="8"/>
                  </a:lnTo>
                  <a:lnTo>
                    <a:pt x="46" y="8"/>
                  </a:lnTo>
                  <a:lnTo>
                    <a:pt x="46" y="8"/>
                  </a:lnTo>
                  <a:lnTo>
                    <a:pt x="46" y="8"/>
                  </a:lnTo>
                  <a:lnTo>
                    <a:pt x="44" y="8"/>
                  </a:lnTo>
                  <a:lnTo>
                    <a:pt x="44" y="10"/>
                  </a:lnTo>
                  <a:lnTo>
                    <a:pt x="44" y="10"/>
                  </a:lnTo>
                  <a:lnTo>
                    <a:pt x="44" y="12"/>
                  </a:lnTo>
                  <a:lnTo>
                    <a:pt x="44" y="14"/>
                  </a:lnTo>
                  <a:lnTo>
                    <a:pt x="44" y="16"/>
                  </a:lnTo>
                  <a:lnTo>
                    <a:pt x="44" y="22"/>
                  </a:lnTo>
                  <a:lnTo>
                    <a:pt x="44" y="24"/>
                  </a:lnTo>
                  <a:lnTo>
                    <a:pt x="42" y="26"/>
                  </a:lnTo>
                  <a:lnTo>
                    <a:pt x="42" y="26"/>
                  </a:lnTo>
                  <a:lnTo>
                    <a:pt x="42" y="28"/>
                  </a:lnTo>
                  <a:lnTo>
                    <a:pt x="40" y="32"/>
                  </a:lnTo>
                  <a:lnTo>
                    <a:pt x="38" y="34"/>
                  </a:lnTo>
                  <a:lnTo>
                    <a:pt x="38" y="36"/>
                  </a:lnTo>
                  <a:lnTo>
                    <a:pt x="36" y="36"/>
                  </a:lnTo>
                  <a:lnTo>
                    <a:pt x="36" y="38"/>
                  </a:lnTo>
                  <a:lnTo>
                    <a:pt x="34" y="38"/>
                  </a:lnTo>
                  <a:lnTo>
                    <a:pt x="30" y="40"/>
                  </a:lnTo>
                  <a:lnTo>
                    <a:pt x="26" y="40"/>
                  </a:lnTo>
                  <a:lnTo>
                    <a:pt x="24" y="40"/>
                  </a:lnTo>
                  <a:lnTo>
                    <a:pt x="24" y="42"/>
                  </a:lnTo>
                  <a:lnTo>
                    <a:pt x="22" y="42"/>
                  </a:lnTo>
                  <a:lnTo>
                    <a:pt x="20" y="44"/>
                  </a:lnTo>
                  <a:lnTo>
                    <a:pt x="18" y="46"/>
                  </a:lnTo>
                  <a:lnTo>
                    <a:pt x="18" y="48"/>
                  </a:lnTo>
                  <a:lnTo>
                    <a:pt x="18" y="48"/>
                  </a:lnTo>
                  <a:lnTo>
                    <a:pt x="18" y="50"/>
                  </a:lnTo>
                  <a:lnTo>
                    <a:pt x="18" y="50"/>
                  </a:lnTo>
                  <a:lnTo>
                    <a:pt x="18" y="52"/>
                  </a:lnTo>
                  <a:lnTo>
                    <a:pt x="18" y="52"/>
                  </a:lnTo>
                  <a:lnTo>
                    <a:pt x="18" y="56"/>
                  </a:lnTo>
                  <a:lnTo>
                    <a:pt x="18" y="60"/>
                  </a:lnTo>
                  <a:lnTo>
                    <a:pt x="18" y="62"/>
                  </a:lnTo>
                  <a:lnTo>
                    <a:pt x="20" y="66"/>
                  </a:lnTo>
                  <a:lnTo>
                    <a:pt x="20" y="66"/>
                  </a:lnTo>
                  <a:lnTo>
                    <a:pt x="20" y="68"/>
                  </a:lnTo>
                  <a:lnTo>
                    <a:pt x="18" y="68"/>
                  </a:lnTo>
                  <a:lnTo>
                    <a:pt x="18" y="70"/>
                  </a:lnTo>
                  <a:lnTo>
                    <a:pt x="18" y="70"/>
                  </a:lnTo>
                  <a:lnTo>
                    <a:pt x="18" y="70"/>
                  </a:lnTo>
                  <a:lnTo>
                    <a:pt x="16" y="70"/>
                  </a:lnTo>
                  <a:lnTo>
                    <a:pt x="16" y="70"/>
                  </a:lnTo>
                  <a:lnTo>
                    <a:pt x="14" y="70"/>
                  </a:lnTo>
                  <a:lnTo>
                    <a:pt x="12" y="70"/>
                  </a:lnTo>
                  <a:lnTo>
                    <a:pt x="12" y="72"/>
                  </a:lnTo>
                  <a:lnTo>
                    <a:pt x="10" y="72"/>
                  </a:lnTo>
                  <a:lnTo>
                    <a:pt x="10" y="72"/>
                  </a:lnTo>
                  <a:lnTo>
                    <a:pt x="10" y="72"/>
                  </a:lnTo>
                  <a:lnTo>
                    <a:pt x="10" y="72"/>
                  </a:lnTo>
                  <a:lnTo>
                    <a:pt x="10" y="72"/>
                  </a:lnTo>
                  <a:lnTo>
                    <a:pt x="10" y="74"/>
                  </a:lnTo>
                  <a:lnTo>
                    <a:pt x="10" y="76"/>
                  </a:lnTo>
                  <a:lnTo>
                    <a:pt x="10" y="76"/>
                  </a:lnTo>
                  <a:lnTo>
                    <a:pt x="12" y="78"/>
                  </a:lnTo>
                  <a:lnTo>
                    <a:pt x="12" y="80"/>
                  </a:lnTo>
                  <a:lnTo>
                    <a:pt x="12" y="82"/>
                  </a:lnTo>
                  <a:lnTo>
                    <a:pt x="12" y="82"/>
                  </a:lnTo>
                  <a:lnTo>
                    <a:pt x="12" y="82"/>
                  </a:lnTo>
                  <a:lnTo>
                    <a:pt x="12" y="82"/>
                  </a:lnTo>
                  <a:lnTo>
                    <a:pt x="12" y="84"/>
                  </a:lnTo>
                  <a:lnTo>
                    <a:pt x="10" y="84"/>
                  </a:lnTo>
                  <a:lnTo>
                    <a:pt x="8" y="86"/>
                  </a:lnTo>
                  <a:lnTo>
                    <a:pt x="6" y="86"/>
                  </a:lnTo>
                  <a:lnTo>
                    <a:pt x="6" y="88"/>
                  </a:lnTo>
                  <a:lnTo>
                    <a:pt x="6" y="88"/>
                  </a:lnTo>
                  <a:lnTo>
                    <a:pt x="4" y="90"/>
                  </a:lnTo>
                  <a:lnTo>
                    <a:pt x="4" y="92"/>
                  </a:lnTo>
                  <a:lnTo>
                    <a:pt x="2" y="94"/>
                  </a:lnTo>
                  <a:lnTo>
                    <a:pt x="2" y="98"/>
                  </a:lnTo>
                  <a:lnTo>
                    <a:pt x="0" y="102"/>
                  </a:lnTo>
                  <a:lnTo>
                    <a:pt x="0" y="104"/>
                  </a:lnTo>
                  <a:lnTo>
                    <a:pt x="0" y="108"/>
                  </a:lnTo>
                  <a:lnTo>
                    <a:pt x="2" y="114"/>
                  </a:lnTo>
                  <a:lnTo>
                    <a:pt x="2" y="120"/>
                  </a:lnTo>
                  <a:lnTo>
                    <a:pt x="2" y="122"/>
                  </a:lnTo>
                  <a:lnTo>
                    <a:pt x="4" y="124"/>
                  </a:lnTo>
                  <a:lnTo>
                    <a:pt x="6" y="124"/>
                  </a:lnTo>
                  <a:lnTo>
                    <a:pt x="8" y="126"/>
                  </a:lnTo>
                  <a:lnTo>
                    <a:pt x="10" y="126"/>
                  </a:lnTo>
                  <a:lnTo>
                    <a:pt x="12" y="126"/>
                  </a:lnTo>
                  <a:lnTo>
                    <a:pt x="18" y="126"/>
                  </a:lnTo>
                  <a:lnTo>
                    <a:pt x="24" y="128"/>
                  </a:lnTo>
                  <a:lnTo>
                    <a:pt x="28" y="128"/>
                  </a:lnTo>
                  <a:lnTo>
                    <a:pt x="32" y="128"/>
                  </a:lnTo>
                  <a:lnTo>
                    <a:pt x="36" y="128"/>
                  </a:lnTo>
                  <a:lnTo>
                    <a:pt x="38" y="128"/>
                  </a:lnTo>
                  <a:lnTo>
                    <a:pt x="40" y="128"/>
                  </a:lnTo>
                  <a:lnTo>
                    <a:pt x="40" y="128"/>
                  </a:lnTo>
                  <a:lnTo>
                    <a:pt x="40" y="128"/>
                  </a:lnTo>
                  <a:lnTo>
                    <a:pt x="42" y="128"/>
                  </a:lnTo>
                  <a:lnTo>
                    <a:pt x="42" y="126"/>
                  </a:lnTo>
                  <a:lnTo>
                    <a:pt x="42" y="126"/>
                  </a:lnTo>
                  <a:lnTo>
                    <a:pt x="42" y="124"/>
                  </a:lnTo>
                  <a:lnTo>
                    <a:pt x="44" y="124"/>
                  </a:lnTo>
                  <a:lnTo>
                    <a:pt x="44" y="122"/>
                  </a:lnTo>
                  <a:lnTo>
                    <a:pt x="44" y="120"/>
                  </a:lnTo>
                  <a:lnTo>
                    <a:pt x="44" y="118"/>
                  </a:lnTo>
                  <a:lnTo>
                    <a:pt x="42" y="112"/>
                  </a:lnTo>
                  <a:lnTo>
                    <a:pt x="42" y="108"/>
                  </a:lnTo>
                  <a:lnTo>
                    <a:pt x="42" y="108"/>
                  </a:lnTo>
                  <a:lnTo>
                    <a:pt x="42" y="106"/>
                  </a:lnTo>
                  <a:lnTo>
                    <a:pt x="44" y="104"/>
                  </a:lnTo>
                  <a:lnTo>
                    <a:pt x="44" y="100"/>
                  </a:lnTo>
                  <a:lnTo>
                    <a:pt x="46" y="96"/>
                  </a:lnTo>
                  <a:lnTo>
                    <a:pt x="46" y="94"/>
                  </a:lnTo>
                  <a:lnTo>
                    <a:pt x="46" y="94"/>
                  </a:lnTo>
                  <a:lnTo>
                    <a:pt x="48" y="92"/>
                  </a:lnTo>
                  <a:lnTo>
                    <a:pt x="50" y="88"/>
                  </a:lnTo>
                  <a:lnTo>
                    <a:pt x="52" y="88"/>
                  </a:lnTo>
                  <a:lnTo>
                    <a:pt x="54" y="88"/>
                  </a:lnTo>
                  <a:lnTo>
                    <a:pt x="54" y="86"/>
                  </a:lnTo>
                  <a:lnTo>
                    <a:pt x="56" y="86"/>
                  </a:lnTo>
                  <a:lnTo>
                    <a:pt x="56" y="86"/>
                  </a:lnTo>
                  <a:lnTo>
                    <a:pt x="56" y="86"/>
                  </a:lnTo>
                  <a:lnTo>
                    <a:pt x="58" y="86"/>
                  </a:lnTo>
                  <a:lnTo>
                    <a:pt x="60" y="88"/>
                  </a:lnTo>
                  <a:lnTo>
                    <a:pt x="62" y="88"/>
                  </a:lnTo>
                  <a:lnTo>
                    <a:pt x="64" y="90"/>
                  </a:lnTo>
                  <a:lnTo>
                    <a:pt x="66" y="90"/>
                  </a:lnTo>
                  <a:lnTo>
                    <a:pt x="66" y="90"/>
                  </a:lnTo>
                  <a:lnTo>
                    <a:pt x="66" y="90"/>
                  </a:lnTo>
                  <a:lnTo>
                    <a:pt x="68" y="90"/>
                  </a:lnTo>
                  <a:lnTo>
                    <a:pt x="68" y="90"/>
                  </a:lnTo>
                  <a:lnTo>
                    <a:pt x="68" y="88"/>
                  </a:lnTo>
                  <a:lnTo>
                    <a:pt x="70" y="88"/>
                  </a:lnTo>
                  <a:lnTo>
                    <a:pt x="70" y="88"/>
                  </a:lnTo>
                  <a:lnTo>
                    <a:pt x="70" y="86"/>
                  </a:lnTo>
                  <a:lnTo>
                    <a:pt x="70" y="84"/>
                  </a:lnTo>
                  <a:lnTo>
                    <a:pt x="70" y="84"/>
                  </a:lnTo>
                  <a:lnTo>
                    <a:pt x="72" y="82"/>
                  </a:lnTo>
                  <a:lnTo>
                    <a:pt x="72" y="80"/>
                  </a:lnTo>
                  <a:lnTo>
                    <a:pt x="70" y="76"/>
                  </a:lnTo>
                  <a:lnTo>
                    <a:pt x="70" y="74"/>
                  </a:lnTo>
                  <a:lnTo>
                    <a:pt x="70" y="70"/>
                  </a:lnTo>
                  <a:lnTo>
                    <a:pt x="68" y="66"/>
                  </a:lnTo>
                  <a:lnTo>
                    <a:pt x="66" y="58"/>
                  </a:lnTo>
                  <a:lnTo>
                    <a:pt x="66" y="54"/>
                  </a:lnTo>
                  <a:lnTo>
                    <a:pt x="66" y="50"/>
                  </a:lnTo>
                  <a:lnTo>
                    <a:pt x="66" y="48"/>
                  </a:lnTo>
                  <a:lnTo>
                    <a:pt x="66" y="46"/>
                  </a:lnTo>
                  <a:lnTo>
                    <a:pt x="66" y="44"/>
                  </a:lnTo>
                  <a:lnTo>
                    <a:pt x="66" y="44"/>
                  </a:lnTo>
                  <a:lnTo>
                    <a:pt x="66" y="42"/>
                  </a:lnTo>
                  <a:lnTo>
                    <a:pt x="68" y="42"/>
                  </a:lnTo>
                  <a:lnTo>
                    <a:pt x="68" y="40"/>
                  </a:lnTo>
                  <a:lnTo>
                    <a:pt x="68" y="40"/>
                  </a:lnTo>
                  <a:lnTo>
                    <a:pt x="70" y="40"/>
                  </a:lnTo>
                  <a:lnTo>
                    <a:pt x="70" y="38"/>
                  </a:lnTo>
                  <a:lnTo>
                    <a:pt x="70" y="38"/>
                  </a:lnTo>
                  <a:lnTo>
                    <a:pt x="72" y="38"/>
                  </a:lnTo>
                  <a:lnTo>
                    <a:pt x="76" y="38"/>
                  </a:lnTo>
                  <a:lnTo>
                    <a:pt x="78" y="38"/>
                  </a:lnTo>
                  <a:lnTo>
                    <a:pt x="80" y="38"/>
                  </a:lnTo>
                  <a:lnTo>
                    <a:pt x="86" y="38"/>
                  </a:lnTo>
                  <a:lnTo>
                    <a:pt x="90" y="38"/>
                  </a:lnTo>
                  <a:lnTo>
                    <a:pt x="94" y="40"/>
                  </a:lnTo>
                  <a:lnTo>
                    <a:pt x="96" y="40"/>
                  </a:lnTo>
                  <a:lnTo>
                    <a:pt x="98" y="40"/>
                  </a:lnTo>
                  <a:lnTo>
                    <a:pt x="100" y="38"/>
                  </a:lnTo>
                  <a:lnTo>
                    <a:pt x="102" y="38"/>
                  </a:lnTo>
                  <a:lnTo>
                    <a:pt x="102" y="38"/>
                  </a:lnTo>
                  <a:lnTo>
                    <a:pt x="104" y="38"/>
                  </a:lnTo>
                  <a:lnTo>
                    <a:pt x="104" y="38"/>
                  </a:lnTo>
                  <a:lnTo>
                    <a:pt x="106" y="36"/>
                  </a:lnTo>
                  <a:lnTo>
                    <a:pt x="106" y="36"/>
                  </a:lnTo>
                  <a:lnTo>
                    <a:pt x="108" y="34"/>
                  </a:lnTo>
                  <a:lnTo>
                    <a:pt x="108" y="32"/>
                  </a:lnTo>
                  <a:lnTo>
                    <a:pt x="110" y="28"/>
                  </a:lnTo>
                  <a:lnTo>
                    <a:pt x="110" y="26"/>
                  </a:lnTo>
                  <a:lnTo>
                    <a:pt x="112" y="24"/>
                  </a:lnTo>
                  <a:lnTo>
                    <a:pt x="114" y="16"/>
                  </a:lnTo>
                  <a:lnTo>
                    <a:pt x="114" y="12"/>
                  </a:lnTo>
                  <a:lnTo>
                    <a:pt x="116" y="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3" name="Freeform 361">
              <a:extLst>
                <a:ext uri="{FF2B5EF4-FFF2-40B4-BE49-F238E27FC236}">
                  <a16:creationId xmlns:a16="http://schemas.microsoft.com/office/drawing/2014/main" id="{4C31789F-1C89-4583-8704-895F4031C105}"/>
                </a:ext>
              </a:extLst>
            </p:cNvPr>
            <p:cNvSpPr>
              <a:spLocks/>
            </p:cNvSpPr>
            <p:nvPr/>
          </p:nvSpPr>
          <p:spPr bwMode="auto">
            <a:xfrm>
              <a:off x="4272676" y="4292868"/>
              <a:ext cx="83140" cy="180136"/>
            </a:xfrm>
            <a:custGeom>
              <a:avLst/>
              <a:gdLst>
                <a:gd name="T0" fmla="*/ 0 w 48"/>
                <a:gd name="T1" fmla="*/ 36 h 104"/>
                <a:gd name="T2" fmla="*/ 4 w 48"/>
                <a:gd name="T3" fmla="*/ 44 h 104"/>
                <a:gd name="T4" fmla="*/ 6 w 48"/>
                <a:gd name="T5" fmla="*/ 46 h 104"/>
                <a:gd name="T6" fmla="*/ 6 w 48"/>
                <a:gd name="T7" fmla="*/ 50 h 104"/>
                <a:gd name="T8" fmla="*/ 8 w 48"/>
                <a:gd name="T9" fmla="*/ 62 h 104"/>
                <a:gd name="T10" fmla="*/ 10 w 48"/>
                <a:gd name="T11" fmla="*/ 70 h 104"/>
                <a:gd name="T12" fmla="*/ 10 w 48"/>
                <a:gd name="T13" fmla="*/ 80 h 104"/>
                <a:gd name="T14" fmla="*/ 10 w 48"/>
                <a:gd name="T15" fmla="*/ 86 h 104"/>
                <a:gd name="T16" fmla="*/ 12 w 48"/>
                <a:gd name="T17" fmla="*/ 90 h 104"/>
                <a:gd name="T18" fmla="*/ 16 w 48"/>
                <a:gd name="T19" fmla="*/ 104 h 104"/>
                <a:gd name="T20" fmla="*/ 34 w 48"/>
                <a:gd name="T21" fmla="*/ 92 h 104"/>
                <a:gd name="T22" fmla="*/ 32 w 48"/>
                <a:gd name="T23" fmla="*/ 82 h 104"/>
                <a:gd name="T24" fmla="*/ 30 w 48"/>
                <a:gd name="T25" fmla="*/ 72 h 104"/>
                <a:gd name="T26" fmla="*/ 30 w 48"/>
                <a:gd name="T27" fmla="*/ 66 h 104"/>
                <a:gd name="T28" fmla="*/ 32 w 48"/>
                <a:gd name="T29" fmla="*/ 62 h 104"/>
                <a:gd name="T30" fmla="*/ 32 w 48"/>
                <a:gd name="T31" fmla="*/ 62 h 104"/>
                <a:gd name="T32" fmla="*/ 34 w 48"/>
                <a:gd name="T33" fmla="*/ 58 h 104"/>
                <a:gd name="T34" fmla="*/ 38 w 48"/>
                <a:gd name="T35" fmla="*/ 54 h 104"/>
                <a:gd name="T36" fmla="*/ 40 w 48"/>
                <a:gd name="T37" fmla="*/ 52 h 104"/>
                <a:gd name="T38" fmla="*/ 42 w 48"/>
                <a:gd name="T39" fmla="*/ 44 h 104"/>
                <a:gd name="T40" fmla="*/ 44 w 48"/>
                <a:gd name="T41" fmla="*/ 36 h 104"/>
                <a:gd name="T42" fmla="*/ 46 w 48"/>
                <a:gd name="T43" fmla="*/ 26 h 104"/>
                <a:gd name="T44" fmla="*/ 48 w 48"/>
                <a:gd name="T45" fmla="*/ 18 h 104"/>
                <a:gd name="T46" fmla="*/ 48 w 48"/>
                <a:gd name="T47" fmla="*/ 14 h 104"/>
                <a:gd name="T48" fmla="*/ 46 w 48"/>
                <a:gd name="T49" fmla="*/ 2 h 104"/>
                <a:gd name="T50" fmla="*/ 32 w 48"/>
                <a:gd name="T51" fmla="*/ 2 h 104"/>
                <a:gd name="T52" fmla="*/ 30 w 48"/>
                <a:gd name="T53" fmla="*/ 8 h 104"/>
                <a:gd name="T54" fmla="*/ 28 w 48"/>
                <a:gd name="T55" fmla="*/ 12 h 104"/>
                <a:gd name="T56" fmla="*/ 28 w 48"/>
                <a:gd name="T57" fmla="*/ 16 h 104"/>
                <a:gd name="T58" fmla="*/ 26 w 48"/>
                <a:gd name="T59" fmla="*/ 16 h 104"/>
                <a:gd name="T60" fmla="*/ 24 w 48"/>
                <a:gd name="T61" fmla="*/ 18 h 104"/>
                <a:gd name="T62" fmla="*/ 22 w 48"/>
                <a:gd name="T63" fmla="*/ 18 h 104"/>
                <a:gd name="T64" fmla="*/ 16 w 48"/>
                <a:gd name="T65" fmla="*/ 20 h 104"/>
                <a:gd name="T66" fmla="*/ 12 w 48"/>
                <a:gd name="T67" fmla="*/ 20 h 104"/>
                <a:gd name="T68" fmla="*/ 10 w 48"/>
                <a:gd name="T69" fmla="*/ 22 h 104"/>
                <a:gd name="T70" fmla="*/ 10 w 48"/>
                <a:gd name="T71" fmla="*/ 22 h 104"/>
                <a:gd name="T72" fmla="*/ 6 w 48"/>
                <a:gd name="T73" fmla="*/ 28 h 104"/>
                <a:gd name="T74" fmla="*/ 0 w 48"/>
                <a:gd name="T75" fmla="*/ 3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104">
                  <a:moveTo>
                    <a:pt x="0" y="36"/>
                  </a:moveTo>
                  <a:lnTo>
                    <a:pt x="0" y="36"/>
                  </a:lnTo>
                  <a:lnTo>
                    <a:pt x="2" y="40"/>
                  </a:lnTo>
                  <a:lnTo>
                    <a:pt x="4" y="44"/>
                  </a:lnTo>
                  <a:lnTo>
                    <a:pt x="4" y="46"/>
                  </a:lnTo>
                  <a:lnTo>
                    <a:pt x="6" y="46"/>
                  </a:lnTo>
                  <a:lnTo>
                    <a:pt x="6" y="48"/>
                  </a:lnTo>
                  <a:lnTo>
                    <a:pt x="6" y="50"/>
                  </a:lnTo>
                  <a:lnTo>
                    <a:pt x="8" y="56"/>
                  </a:lnTo>
                  <a:lnTo>
                    <a:pt x="8" y="62"/>
                  </a:lnTo>
                  <a:lnTo>
                    <a:pt x="10" y="66"/>
                  </a:lnTo>
                  <a:lnTo>
                    <a:pt x="10" y="70"/>
                  </a:lnTo>
                  <a:lnTo>
                    <a:pt x="10" y="76"/>
                  </a:lnTo>
                  <a:lnTo>
                    <a:pt x="10" y="80"/>
                  </a:lnTo>
                  <a:lnTo>
                    <a:pt x="10" y="84"/>
                  </a:lnTo>
                  <a:lnTo>
                    <a:pt x="10" y="86"/>
                  </a:lnTo>
                  <a:lnTo>
                    <a:pt x="12" y="88"/>
                  </a:lnTo>
                  <a:lnTo>
                    <a:pt x="12" y="90"/>
                  </a:lnTo>
                  <a:lnTo>
                    <a:pt x="14" y="96"/>
                  </a:lnTo>
                  <a:lnTo>
                    <a:pt x="16" y="104"/>
                  </a:lnTo>
                  <a:lnTo>
                    <a:pt x="34" y="96"/>
                  </a:lnTo>
                  <a:lnTo>
                    <a:pt x="34" y="92"/>
                  </a:lnTo>
                  <a:lnTo>
                    <a:pt x="32" y="86"/>
                  </a:lnTo>
                  <a:lnTo>
                    <a:pt x="32" y="82"/>
                  </a:lnTo>
                  <a:lnTo>
                    <a:pt x="32" y="76"/>
                  </a:lnTo>
                  <a:lnTo>
                    <a:pt x="30" y="72"/>
                  </a:lnTo>
                  <a:lnTo>
                    <a:pt x="30" y="68"/>
                  </a:lnTo>
                  <a:lnTo>
                    <a:pt x="30" y="66"/>
                  </a:lnTo>
                  <a:lnTo>
                    <a:pt x="30" y="64"/>
                  </a:lnTo>
                  <a:lnTo>
                    <a:pt x="32" y="62"/>
                  </a:lnTo>
                  <a:lnTo>
                    <a:pt x="32" y="62"/>
                  </a:lnTo>
                  <a:lnTo>
                    <a:pt x="32" y="62"/>
                  </a:lnTo>
                  <a:lnTo>
                    <a:pt x="32" y="60"/>
                  </a:lnTo>
                  <a:lnTo>
                    <a:pt x="34" y="58"/>
                  </a:lnTo>
                  <a:lnTo>
                    <a:pt x="36" y="56"/>
                  </a:lnTo>
                  <a:lnTo>
                    <a:pt x="38" y="54"/>
                  </a:lnTo>
                  <a:lnTo>
                    <a:pt x="40" y="52"/>
                  </a:lnTo>
                  <a:lnTo>
                    <a:pt x="40" y="52"/>
                  </a:lnTo>
                  <a:lnTo>
                    <a:pt x="42" y="48"/>
                  </a:lnTo>
                  <a:lnTo>
                    <a:pt x="42" y="44"/>
                  </a:lnTo>
                  <a:lnTo>
                    <a:pt x="44" y="40"/>
                  </a:lnTo>
                  <a:lnTo>
                    <a:pt x="44" y="36"/>
                  </a:lnTo>
                  <a:lnTo>
                    <a:pt x="46" y="30"/>
                  </a:lnTo>
                  <a:lnTo>
                    <a:pt x="46" y="26"/>
                  </a:lnTo>
                  <a:lnTo>
                    <a:pt x="48" y="22"/>
                  </a:lnTo>
                  <a:lnTo>
                    <a:pt x="48" y="18"/>
                  </a:lnTo>
                  <a:lnTo>
                    <a:pt x="48" y="16"/>
                  </a:lnTo>
                  <a:lnTo>
                    <a:pt x="48" y="14"/>
                  </a:lnTo>
                  <a:lnTo>
                    <a:pt x="46" y="8"/>
                  </a:lnTo>
                  <a:lnTo>
                    <a:pt x="46" y="2"/>
                  </a:lnTo>
                  <a:lnTo>
                    <a:pt x="46" y="0"/>
                  </a:lnTo>
                  <a:lnTo>
                    <a:pt x="32" y="2"/>
                  </a:lnTo>
                  <a:lnTo>
                    <a:pt x="32" y="4"/>
                  </a:lnTo>
                  <a:lnTo>
                    <a:pt x="30" y="8"/>
                  </a:lnTo>
                  <a:lnTo>
                    <a:pt x="30" y="10"/>
                  </a:lnTo>
                  <a:lnTo>
                    <a:pt x="28" y="12"/>
                  </a:lnTo>
                  <a:lnTo>
                    <a:pt x="28" y="14"/>
                  </a:lnTo>
                  <a:lnTo>
                    <a:pt x="28" y="16"/>
                  </a:lnTo>
                  <a:lnTo>
                    <a:pt x="28" y="16"/>
                  </a:lnTo>
                  <a:lnTo>
                    <a:pt x="26" y="16"/>
                  </a:lnTo>
                  <a:lnTo>
                    <a:pt x="26" y="18"/>
                  </a:lnTo>
                  <a:lnTo>
                    <a:pt x="24" y="18"/>
                  </a:lnTo>
                  <a:lnTo>
                    <a:pt x="24" y="18"/>
                  </a:lnTo>
                  <a:lnTo>
                    <a:pt x="22" y="18"/>
                  </a:lnTo>
                  <a:lnTo>
                    <a:pt x="20" y="20"/>
                  </a:lnTo>
                  <a:lnTo>
                    <a:pt x="16" y="20"/>
                  </a:lnTo>
                  <a:lnTo>
                    <a:pt x="14" y="20"/>
                  </a:lnTo>
                  <a:lnTo>
                    <a:pt x="12" y="20"/>
                  </a:lnTo>
                  <a:lnTo>
                    <a:pt x="12" y="20"/>
                  </a:lnTo>
                  <a:lnTo>
                    <a:pt x="10" y="22"/>
                  </a:lnTo>
                  <a:lnTo>
                    <a:pt x="10" y="22"/>
                  </a:lnTo>
                  <a:lnTo>
                    <a:pt x="10" y="22"/>
                  </a:lnTo>
                  <a:lnTo>
                    <a:pt x="8" y="24"/>
                  </a:lnTo>
                  <a:lnTo>
                    <a:pt x="6" y="28"/>
                  </a:lnTo>
                  <a:lnTo>
                    <a:pt x="4" y="30"/>
                  </a:lnTo>
                  <a:lnTo>
                    <a:pt x="0" y="34"/>
                  </a:lnTo>
                  <a:lnTo>
                    <a:pt x="0" y="3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4" name="Freeform 362">
              <a:extLst>
                <a:ext uri="{FF2B5EF4-FFF2-40B4-BE49-F238E27FC236}">
                  <a16:creationId xmlns:a16="http://schemas.microsoft.com/office/drawing/2014/main" id="{1DF3C377-FCFB-4FCC-88E0-FDF24DD9703E}"/>
                </a:ext>
              </a:extLst>
            </p:cNvPr>
            <p:cNvSpPr>
              <a:spLocks/>
            </p:cNvSpPr>
            <p:nvPr/>
          </p:nvSpPr>
          <p:spPr bwMode="auto">
            <a:xfrm>
              <a:off x="4272676" y="4292868"/>
              <a:ext cx="83140" cy="180136"/>
            </a:xfrm>
            <a:custGeom>
              <a:avLst/>
              <a:gdLst>
                <a:gd name="T0" fmla="*/ 0 w 48"/>
                <a:gd name="T1" fmla="*/ 36 h 104"/>
                <a:gd name="T2" fmla="*/ 4 w 48"/>
                <a:gd name="T3" fmla="*/ 44 h 104"/>
                <a:gd name="T4" fmla="*/ 6 w 48"/>
                <a:gd name="T5" fmla="*/ 46 h 104"/>
                <a:gd name="T6" fmla="*/ 6 w 48"/>
                <a:gd name="T7" fmla="*/ 50 h 104"/>
                <a:gd name="T8" fmla="*/ 8 w 48"/>
                <a:gd name="T9" fmla="*/ 62 h 104"/>
                <a:gd name="T10" fmla="*/ 10 w 48"/>
                <a:gd name="T11" fmla="*/ 70 h 104"/>
                <a:gd name="T12" fmla="*/ 10 w 48"/>
                <a:gd name="T13" fmla="*/ 80 h 104"/>
                <a:gd name="T14" fmla="*/ 10 w 48"/>
                <a:gd name="T15" fmla="*/ 86 h 104"/>
                <a:gd name="T16" fmla="*/ 12 w 48"/>
                <a:gd name="T17" fmla="*/ 90 h 104"/>
                <a:gd name="T18" fmla="*/ 16 w 48"/>
                <a:gd name="T19" fmla="*/ 104 h 104"/>
                <a:gd name="T20" fmla="*/ 34 w 48"/>
                <a:gd name="T21" fmla="*/ 92 h 104"/>
                <a:gd name="T22" fmla="*/ 32 w 48"/>
                <a:gd name="T23" fmla="*/ 82 h 104"/>
                <a:gd name="T24" fmla="*/ 30 w 48"/>
                <a:gd name="T25" fmla="*/ 72 h 104"/>
                <a:gd name="T26" fmla="*/ 30 w 48"/>
                <a:gd name="T27" fmla="*/ 66 h 104"/>
                <a:gd name="T28" fmla="*/ 32 w 48"/>
                <a:gd name="T29" fmla="*/ 62 h 104"/>
                <a:gd name="T30" fmla="*/ 32 w 48"/>
                <a:gd name="T31" fmla="*/ 62 h 104"/>
                <a:gd name="T32" fmla="*/ 34 w 48"/>
                <a:gd name="T33" fmla="*/ 58 h 104"/>
                <a:gd name="T34" fmla="*/ 38 w 48"/>
                <a:gd name="T35" fmla="*/ 54 h 104"/>
                <a:gd name="T36" fmla="*/ 40 w 48"/>
                <a:gd name="T37" fmla="*/ 52 h 104"/>
                <a:gd name="T38" fmla="*/ 42 w 48"/>
                <a:gd name="T39" fmla="*/ 44 h 104"/>
                <a:gd name="T40" fmla="*/ 44 w 48"/>
                <a:gd name="T41" fmla="*/ 36 h 104"/>
                <a:gd name="T42" fmla="*/ 46 w 48"/>
                <a:gd name="T43" fmla="*/ 26 h 104"/>
                <a:gd name="T44" fmla="*/ 48 w 48"/>
                <a:gd name="T45" fmla="*/ 18 h 104"/>
                <a:gd name="T46" fmla="*/ 48 w 48"/>
                <a:gd name="T47" fmla="*/ 14 h 104"/>
                <a:gd name="T48" fmla="*/ 46 w 48"/>
                <a:gd name="T49" fmla="*/ 2 h 104"/>
                <a:gd name="T50" fmla="*/ 32 w 48"/>
                <a:gd name="T51" fmla="*/ 2 h 104"/>
                <a:gd name="T52" fmla="*/ 30 w 48"/>
                <a:gd name="T53" fmla="*/ 8 h 104"/>
                <a:gd name="T54" fmla="*/ 28 w 48"/>
                <a:gd name="T55" fmla="*/ 12 h 104"/>
                <a:gd name="T56" fmla="*/ 28 w 48"/>
                <a:gd name="T57" fmla="*/ 16 h 104"/>
                <a:gd name="T58" fmla="*/ 26 w 48"/>
                <a:gd name="T59" fmla="*/ 16 h 104"/>
                <a:gd name="T60" fmla="*/ 24 w 48"/>
                <a:gd name="T61" fmla="*/ 18 h 104"/>
                <a:gd name="T62" fmla="*/ 22 w 48"/>
                <a:gd name="T63" fmla="*/ 18 h 104"/>
                <a:gd name="T64" fmla="*/ 16 w 48"/>
                <a:gd name="T65" fmla="*/ 20 h 104"/>
                <a:gd name="T66" fmla="*/ 12 w 48"/>
                <a:gd name="T67" fmla="*/ 20 h 104"/>
                <a:gd name="T68" fmla="*/ 10 w 48"/>
                <a:gd name="T69" fmla="*/ 22 h 104"/>
                <a:gd name="T70" fmla="*/ 10 w 48"/>
                <a:gd name="T71" fmla="*/ 22 h 104"/>
                <a:gd name="T72" fmla="*/ 6 w 48"/>
                <a:gd name="T73" fmla="*/ 28 h 104"/>
                <a:gd name="T74" fmla="*/ 0 w 48"/>
                <a:gd name="T75" fmla="*/ 3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104">
                  <a:moveTo>
                    <a:pt x="0" y="36"/>
                  </a:moveTo>
                  <a:lnTo>
                    <a:pt x="0" y="36"/>
                  </a:lnTo>
                  <a:lnTo>
                    <a:pt x="2" y="40"/>
                  </a:lnTo>
                  <a:lnTo>
                    <a:pt x="4" y="44"/>
                  </a:lnTo>
                  <a:lnTo>
                    <a:pt x="4" y="46"/>
                  </a:lnTo>
                  <a:lnTo>
                    <a:pt x="6" y="46"/>
                  </a:lnTo>
                  <a:lnTo>
                    <a:pt x="6" y="48"/>
                  </a:lnTo>
                  <a:lnTo>
                    <a:pt x="6" y="50"/>
                  </a:lnTo>
                  <a:lnTo>
                    <a:pt x="8" y="56"/>
                  </a:lnTo>
                  <a:lnTo>
                    <a:pt x="8" y="62"/>
                  </a:lnTo>
                  <a:lnTo>
                    <a:pt x="10" y="66"/>
                  </a:lnTo>
                  <a:lnTo>
                    <a:pt x="10" y="70"/>
                  </a:lnTo>
                  <a:lnTo>
                    <a:pt x="10" y="76"/>
                  </a:lnTo>
                  <a:lnTo>
                    <a:pt x="10" y="80"/>
                  </a:lnTo>
                  <a:lnTo>
                    <a:pt x="10" y="84"/>
                  </a:lnTo>
                  <a:lnTo>
                    <a:pt x="10" y="86"/>
                  </a:lnTo>
                  <a:lnTo>
                    <a:pt x="12" y="88"/>
                  </a:lnTo>
                  <a:lnTo>
                    <a:pt x="12" y="90"/>
                  </a:lnTo>
                  <a:lnTo>
                    <a:pt x="14" y="96"/>
                  </a:lnTo>
                  <a:lnTo>
                    <a:pt x="16" y="104"/>
                  </a:lnTo>
                  <a:lnTo>
                    <a:pt x="34" y="96"/>
                  </a:lnTo>
                  <a:lnTo>
                    <a:pt x="34" y="92"/>
                  </a:lnTo>
                  <a:lnTo>
                    <a:pt x="32" y="86"/>
                  </a:lnTo>
                  <a:lnTo>
                    <a:pt x="32" y="82"/>
                  </a:lnTo>
                  <a:lnTo>
                    <a:pt x="32" y="76"/>
                  </a:lnTo>
                  <a:lnTo>
                    <a:pt x="30" y="72"/>
                  </a:lnTo>
                  <a:lnTo>
                    <a:pt x="30" y="68"/>
                  </a:lnTo>
                  <a:lnTo>
                    <a:pt x="30" y="66"/>
                  </a:lnTo>
                  <a:lnTo>
                    <a:pt x="30" y="64"/>
                  </a:lnTo>
                  <a:lnTo>
                    <a:pt x="32" y="62"/>
                  </a:lnTo>
                  <a:lnTo>
                    <a:pt x="32" y="62"/>
                  </a:lnTo>
                  <a:lnTo>
                    <a:pt x="32" y="62"/>
                  </a:lnTo>
                  <a:lnTo>
                    <a:pt x="32" y="60"/>
                  </a:lnTo>
                  <a:lnTo>
                    <a:pt x="34" y="58"/>
                  </a:lnTo>
                  <a:lnTo>
                    <a:pt x="36" y="56"/>
                  </a:lnTo>
                  <a:lnTo>
                    <a:pt x="38" y="54"/>
                  </a:lnTo>
                  <a:lnTo>
                    <a:pt x="40" y="52"/>
                  </a:lnTo>
                  <a:lnTo>
                    <a:pt x="40" y="52"/>
                  </a:lnTo>
                  <a:lnTo>
                    <a:pt x="42" y="48"/>
                  </a:lnTo>
                  <a:lnTo>
                    <a:pt x="42" y="44"/>
                  </a:lnTo>
                  <a:lnTo>
                    <a:pt x="44" y="40"/>
                  </a:lnTo>
                  <a:lnTo>
                    <a:pt x="44" y="36"/>
                  </a:lnTo>
                  <a:lnTo>
                    <a:pt x="46" y="30"/>
                  </a:lnTo>
                  <a:lnTo>
                    <a:pt x="46" y="26"/>
                  </a:lnTo>
                  <a:lnTo>
                    <a:pt x="48" y="22"/>
                  </a:lnTo>
                  <a:lnTo>
                    <a:pt x="48" y="18"/>
                  </a:lnTo>
                  <a:lnTo>
                    <a:pt x="48" y="16"/>
                  </a:lnTo>
                  <a:lnTo>
                    <a:pt x="48" y="14"/>
                  </a:lnTo>
                  <a:lnTo>
                    <a:pt x="46" y="8"/>
                  </a:lnTo>
                  <a:lnTo>
                    <a:pt x="46" y="2"/>
                  </a:lnTo>
                  <a:lnTo>
                    <a:pt x="46" y="0"/>
                  </a:lnTo>
                  <a:lnTo>
                    <a:pt x="32" y="2"/>
                  </a:lnTo>
                  <a:lnTo>
                    <a:pt x="32" y="4"/>
                  </a:lnTo>
                  <a:lnTo>
                    <a:pt x="30" y="8"/>
                  </a:lnTo>
                  <a:lnTo>
                    <a:pt x="30" y="10"/>
                  </a:lnTo>
                  <a:lnTo>
                    <a:pt x="28" y="12"/>
                  </a:lnTo>
                  <a:lnTo>
                    <a:pt x="28" y="14"/>
                  </a:lnTo>
                  <a:lnTo>
                    <a:pt x="28" y="16"/>
                  </a:lnTo>
                  <a:lnTo>
                    <a:pt x="28" y="16"/>
                  </a:lnTo>
                  <a:lnTo>
                    <a:pt x="26" y="16"/>
                  </a:lnTo>
                  <a:lnTo>
                    <a:pt x="26" y="18"/>
                  </a:lnTo>
                  <a:lnTo>
                    <a:pt x="24" y="18"/>
                  </a:lnTo>
                  <a:lnTo>
                    <a:pt x="24" y="18"/>
                  </a:lnTo>
                  <a:lnTo>
                    <a:pt x="22" y="18"/>
                  </a:lnTo>
                  <a:lnTo>
                    <a:pt x="20" y="20"/>
                  </a:lnTo>
                  <a:lnTo>
                    <a:pt x="16" y="20"/>
                  </a:lnTo>
                  <a:lnTo>
                    <a:pt x="14" y="20"/>
                  </a:lnTo>
                  <a:lnTo>
                    <a:pt x="12" y="20"/>
                  </a:lnTo>
                  <a:lnTo>
                    <a:pt x="12" y="20"/>
                  </a:lnTo>
                  <a:lnTo>
                    <a:pt x="10" y="22"/>
                  </a:lnTo>
                  <a:lnTo>
                    <a:pt x="10" y="22"/>
                  </a:lnTo>
                  <a:lnTo>
                    <a:pt x="10" y="22"/>
                  </a:lnTo>
                  <a:lnTo>
                    <a:pt x="8" y="24"/>
                  </a:lnTo>
                  <a:lnTo>
                    <a:pt x="6" y="28"/>
                  </a:lnTo>
                  <a:lnTo>
                    <a:pt x="4" y="30"/>
                  </a:lnTo>
                  <a:lnTo>
                    <a:pt x="0" y="34"/>
                  </a:lnTo>
                  <a:lnTo>
                    <a:pt x="0" y="3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5" name="Freeform 363">
              <a:extLst>
                <a:ext uri="{FF2B5EF4-FFF2-40B4-BE49-F238E27FC236}">
                  <a16:creationId xmlns:a16="http://schemas.microsoft.com/office/drawing/2014/main" id="{43BDC83C-8E81-419B-B757-B53846446A46}"/>
                </a:ext>
              </a:extLst>
            </p:cNvPr>
            <p:cNvSpPr>
              <a:spLocks/>
            </p:cNvSpPr>
            <p:nvPr/>
          </p:nvSpPr>
          <p:spPr bwMode="auto">
            <a:xfrm>
              <a:off x="4553272" y="5131192"/>
              <a:ext cx="245955" cy="370664"/>
            </a:xfrm>
            <a:custGeom>
              <a:avLst/>
              <a:gdLst>
                <a:gd name="T0" fmla="*/ 8 w 142"/>
                <a:gd name="T1" fmla="*/ 2 h 214"/>
                <a:gd name="T2" fmla="*/ 16 w 142"/>
                <a:gd name="T3" fmla="*/ 0 h 214"/>
                <a:gd name="T4" fmla="*/ 20 w 142"/>
                <a:gd name="T5" fmla="*/ 0 h 214"/>
                <a:gd name="T6" fmla="*/ 30 w 142"/>
                <a:gd name="T7" fmla="*/ 6 h 214"/>
                <a:gd name="T8" fmla="*/ 40 w 142"/>
                <a:gd name="T9" fmla="*/ 8 h 214"/>
                <a:gd name="T10" fmla="*/ 60 w 142"/>
                <a:gd name="T11" fmla="*/ 10 h 214"/>
                <a:gd name="T12" fmla="*/ 82 w 142"/>
                <a:gd name="T13" fmla="*/ 6 h 214"/>
                <a:gd name="T14" fmla="*/ 92 w 142"/>
                <a:gd name="T15" fmla="*/ 6 h 214"/>
                <a:gd name="T16" fmla="*/ 96 w 142"/>
                <a:gd name="T17" fmla="*/ 10 h 214"/>
                <a:gd name="T18" fmla="*/ 100 w 142"/>
                <a:gd name="T19" fmla="*/ 16 h 214"/>
                <a:gd name="T20" fmla="*/ 104 w 142"/>
                <a:gd name="T21" fmla="*/ 18 h 214"/>
                <a:gd name="T22" fmla="*/ 124 w 142"/>
                <a:gd name="T23" fmla="*/ 20 h 214"/>
                <a:gd name="T24" fmla="*/ 142 w 142"/>
                <a:gd name="T25" fmla="*/ 22 h 214"/>
                <a:gd name="T26" fmla="*/ 136 w 142"/>
                <a:gd name="T27" fmla="*/ 34 h 214"/>
                <a:gd name="T28" fmla="*/ 134 w 142"/>
                <a:gd name="T29" fmla="*/ 44 h 214"/>
                <a:gd name="T30" fmla="*/ 136 w 142"/>
                <a:gd name="T31" fmla="*/ 70 h 214"/>
                <a:gd name="T32" fmla="*/ 136 w 142"/>
                <a:gd name="T33" fmla="*/ 82 h 214"/>
                <a:gd name="T34" fmla="*/ 134 w 142"/>
                <a:gd name="T35" fmla="*/ 88 h 214"/>
                <a:gd name="T36" fmla="*/ 128 w 142"/>
                <a:gd name="T37" fmla="*/ 92 h 214"/>
                <a:gd name="T38" fmla="*/ 124 w 142"/>
                <a:gd name="T39" fmla="*/ 94 h 214"/>
                <a:gd name="T40" fmla="*/ 120 w 142"/>
                <a:gd name="T41" fmla="*/ 96 h 214"/>
                <a:gd name="T42" fmla="*/ 118 w 142"/>
                <a:gd name="T43" fmla="*/ 100 h 214"/>
                <a:gd name="T44" fmla="*/ 116 w 142"/>
                <a:gd name="T45" fmla="*/ 118 h 214"/>
                <a:gd name="T46" fmla="*/ 120 w 142"/>
                <a:gd name="T47" fmla="*/ 142 h 214"/>
                <a:gd name="T48" fmla="*/ 122 w 142"/>
                <a:gd name="T49" fmla="*/ 172 h 214"/>
                <a:gd name="T50" fmla="*/ 120 w 142"/>
                <a:gd name="T51" fmla="*/ 194 h 214"/>
                <a:gd name="T52" fmla="*/ 116 w 142"/>
                <a:gd name="T53" fmla="*/ 204 h 214"/>
                <a:gd name="T54" fmla="*/ 114 w 142"/>
                <a:gd name="T55" fmla="*/ 210 h 214"/>
                <a:gd name="T56" fmla="*/ 108 w 142"/>
                <a:gd name="T57" fmla="*/ 214 h 214"/>
                <a:gd name="T58" fmla="*/ 98 w 142"/>
                <a:gd name="T59" fmla="*/ 214 h 214"/>
                <a:gd name="T60" fmla="*/ 90 w 142"/>
                <a:gd name="T61" fmla="*/ 212 h 214"/>
                <a:gd name="T62" fmla="*/ 88 w 142"/>
                <a:gd name="T63" fmla="*/ 208 h 214"/>
                <a:gd name="T64" fmla="*/ 84 w 142"/>
                <a:gd name="T65" fmla="*/ 202 h 214"/>
                <a:gd name="T66" fmla="*/ 82 w 142"/>
                <a:gd name="T67" fmla="*/ 200 h 214"/>
                <a:gd name="T68" fmla="*/ 80 w 142"/>
                <a:gd name="T69" fmla="*/ 202 h 214"/>
                <a:gd name="T70" fmla="*/ 76 w 142"/>
                <a:gd name="T71" fmla="*/ 204 h 214"/>
                <a:gd name="T72" fmla="*/ 68 w 142"/>
                <a:gd name="T73" fmla="*/ 206 h 214"/>
                <a:gd name="T74" fmla="*/ 64 w 142"/>
                <a:gd name="T75" fmla="*/ 192 h 214"/>
                <a:gd name="T76" fmla="*/ 58 w 142"/>
                <a:gd name="T77" fmla="*/ 184 h 214"/>
                <a:gd name="T78" fmla="*/ 52 w 142"/>
                <a:gd name="T79" fmla="*/ 182 h 214"/>
                <a:gd name="T80" fmla="*/ 46 w 142"/>
                <a:gd name="T81" fmla="*/ 182 h 214"/>
                <a:gd name="T82" fmla="*/ 46 w 142"/>
                <a:gd name="T83" fmla="*/ 178 h 214"/>
                <a:gd name="T84" fmla="*/ 46 w 142"/>
                <a:gd name="T85" fmla="*/ 166 h 214"/>
                <a:gd name="T86" fmla="*/ 46 w 142"/>
                <a:gd name="T87" fmla="*/ 160 h 214"/>
                <a:gd name="T88" fmla="*/ 42 w 142"/>
                <a:gd name="T89" fmla="*/ 142 h 214"/>
                <a:gd name="T90" fmla="*/ 42 w 142"/>
                <a:gd name="T91" fmla="*/ 124 h 214"/>
                <a:gd name="T92" fmla="*/ 40 w 142"/>
                <a:gd name="T93" fmla="*/ 104 h 214"/>
                <a:gd name="T94" fmla="*/ 34 w 142"/>
                <a:gd name="T95" fmla="*/ 86 h 214"/>
                <a:gd name="T96" fmla="*/ 26 w 142"/>
                <a:gd name="T97" fmla="*/ 68 h 214"/>
                <a:gd name="T98" fmla="*/ 16 w 142"/>
                <a:gd name="T99" fmla="*/ 50 h 214"/>
                <a:gd name="T100" fmla="*/ 10 w 142"/>
                <a:gd name="T101" fmla="*/ 38 h 214"/>
                <a:gd name="T102" fmla="*/ 2 w 142"/>
                <a:gd name="T103" fmla="*/ 28 h 214"/>
                <a:gd name="T104" fmla="*/ 0 w 142"/>
                <a:gd name="T105" fmla="*/ 24 h 214"/>
                <a:gd name="T106" fmla="*/ 0 w 142"/>
                <a:gd name="T107" fmla="*/ 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 h="214">
                  <a:moveTo>
                    <a:pt x="2" y="6"/>
                  </a:moveTo>
                  <a:lnTo>
                    <a:pt x="2" y="6"/>
                  </a:lnTo>
                  <a:lnTo>
                    <a:pt x="4" y="4"/>
                  </a:lnTo>
                  <a:lnTo>
                    <a:pt x="8" y="2"/>
                  </a:lnTo>
                  <a:lnTo>
                    <a:pt x="10" y="2"/>
                  </a:lnTo>
                  <a:lnTo>
                    <a:pt x="12" y="0"/>
                  </a:lnTo>
                  <a:lnTo>
                    <a:pt x="14" y="0"/>
                  </a:lnTo>
                  <a:lnTo>
                    <a:pt x="16" y="0"/>
                  </a:lnTo>
                  <a:lnTo>
                    <a:pt x="16" y="0"/>
                  </a:lnTo>
                  <a:lnTo>
                    <a:pt x="16" y="0"/>
                  </a:lnTo>
                  <a:lnTo>
                    <a:pt x="18" y="0"/>
                  </a:lnTo>
                  <a:lnTo>
                    <a:pt x="20" y="0"/>
                  </a:lnTo>
                  <a:lnTo>
                    <a:pt x="22" y="2"/>
                  </a:lnTo>
                  <a:lnTo>
                    <a:pt x="24" y="2"/>
                  </a:lnTo>
                  <a:lnTo>
                    <a:pt x="28" y="6"/>
                  </a:lnTo>
                  <a:lnTo>
                    <a:pt x="30" y="6"/>
                  </a:lnTo>
                  <a:lnTo>
                    <a:pt x="32" y="6"/>
                  </a:lnTo>
                  <a:lnTo>
                    <a:pt x="34" y="8"/>
                  </a:lnTo>
                  <a:lnTo>
                    <a:pt x="38" y="8"/>
                  </a:lnTo>
                  <a:lnTo>
                    <a:pt x="40" y="8"/>
                  </a:lnTo>
                  <a:lnTo>
                    <a:pt x="44" y="8"/>
                  </a:lnTo>
                  <a:lnTo>
                    <a:pt x="52" y="8"/>
                  </a:lnTo>
                  <a:lnTo>
                    <a:pt x="58" y="10"/>
                  </a:lnTo>
                  <a:lnTo>
                    <a:pt x="60" y="10"/>
                  </a:lnTo>
                  <a:lnTo>
                    <a:pt x="62" y="10"/>
                  </a:lnTo>
                  <a:lnTo>
                    <a:pt x="66" y="8"/>
                  </a:lnTo>
                  <a:lnTo>
                    <a:pt x="76" y="8"/>
                  </a:lnTo>
                  <a:lnTo>
                    <a:pt x="82" y="6"/>
                  </a:lnTo>
                  <a:lnTo>
                    <a:pt x="84" y="6"/>
                  </a:lnTo>
                  <a:lnTo>
                    <a:pt x="86" y="6"/>
                  </a:lnTo>
                  <a:lnTo>
                    <a:pt x="88" y="6"/>
                  </a:lnTo>
                  <a:lnTo>
                    <a:pt x="92" y="6"/>
                  </a:lnTo>
                  <a:lnTo>
                    <a:pt x="94" y="8"/>
                  </a:lnTo>
                  <a:lnTo>
                    <a:pt x="94" y="8"/>
                  </a:lnTo>
                  <a:lnTo>
                    <a:pt x="96" y="8"/>
                  </a:lnTo>
                  <a:lnTo>
                    <a:pt x="96" y="10"/>
                  </a:lnTo>
                  <a:lnTo>
                    <a:pt x="96" y="10"/>
                  </a:lnTo>
                  <a:lnTo>
                    <a:pt x="98" y="12"/>
                  </a:lnTo>
                  <a:lnTo>
                    <a:pt x="98" y="14"/>
                  </a:lnTo>
                  <a:lnTo>
                    <a:pt x="100" y="16"/>
                  </a:lnTo>
                  <a:lnTo>
                    <a:pt x="100" y="16"/>
                  </a:lnTo>
                  <a:lnTo>
                    <a:pt x="102" y="16"/>
                  </a:lnTo>
                  <a:lnTo>
                    <a:pt x="102" y="18"/>
                  </a:lnTo>
                  <a:lnTo>
                    <a:pt x="104" y="18"/>
                  </a:lnTo>
                  <a:lnTo>
                    <a:pt x="106" y="18"/>
                  </a:lnTo>
                  <a:lnTo>
                    <a:pt x="110" y="18"/>
                  </a:lnTo>
                  <a:lnTo>
                    <a:pt x="116" y="20"/>
                  </a:lnTo>
                  <a:lnTo>
                    <a:pt x="124" y="20"/>
                  </a:lnTo>
                  <a:lnTo>
                    <a:pt x="128" y="20"/>
                  </a:lnTo>
                  <a:lnTo>
                    <a:pt x="130" y="20"/>
                  </a:lnTo>
                  <a:lnTo>
                    <a:pt x="138" y="22"/>
                  </a:lnTo>
                  <a:lnTo>
                    <a:pt x="142" y="22"/>
                  </a:lnTo>
                  <a:lnTo>
                    <a:pt x="142" y="24"/>
                  </a:lnTo>
                  <a:lnTo>
                    <a:pt x="140" y="28"/>
                  </a:lnTo>
                  <a:lnTo>
                    <a:pt x="138" y="32"/>
                  </a:lnTo>
                  <a:lnTo>
                    <a:pt x="136" y="34"/>
                  </a:lnTo>
                  <a:lnTo>
                    <a:pt x="136" y="36"/>
                  </a:lnTo>
                  <a:lnTo>
                    <a:pt x="134" y="38"/>
                  </a:lnTo>
                  <a:lnTo>
                    <a:pt x="134" y="40"/>
                  </a:lnTo>
                  <a:lnTo>
                    <a:pt x="134" y="44"/>
                  </a:lnTo>
                  <a:lnTo>
                    <a:pt x="134" y="48"/>
                  </a:lnTo>
                  <a:lnTo>
                    <a:pt x="136" y="54"/>
                  </a:lnTo>
                  <a:lnTo>
                    <a:pt x="136" y="62"/>
                  </a:lnTo>
                  <a:lnTo>
                    <a:pt x="136" y="70"/>
                  </a:lnTo>
                  <a:lnTo>
                    <a:pt x="138" y="72"/>
                  </a:lnTo>
                  <a:lnTo>
                    <a:pt x="138" y="76"/>
                  </a:lnTo>
                  <a:lnTo>
                    <a:pt x="136" y="80"/>
                  </a:lnTo>
                  <a:lnTo>
                    <a:pt x="136" y="82"/>
                  </a:lnTo>
                  <a:lnTo>
                    <a:pt x="136" y="86"/>
                  </a:lnTo>
                  <a:lnTo>
                    <a:pt x="136" y="86"/>
                  </a:lnTo>
                  <a:lnTo>
                    <a:pt x="134" y="88"/>
                  </a:lnTo>
                  <a:lnTo>
                    <a:pt x="134" y="88"/>
                  </a:lnTo>
                  <a:lnTo>
                    <a:pt x="134" y="88"/>
                  </a:lnTo>
                  <a:lnTo>
                    <a:pt x="132" y="90"/>
                  </a:lnTo>
                  <a:lnTo>
                    <a:pt x="132" y="90"/>
                  </a:lnTo>
                  <a:lnTo>
                    <a:pt x="128" y="92"/>
                  </a:lnTo>
                  <a:lnTo>
                    <a:pt x="128" y="92"/>
                  </a:lnTo>
                  <a:lnTo>
                    <a:pt x="126" y="92"/>
                  </a:lnTo>
                  <a:lnTo>
                    <a:pt x="126" y="94"/>
                  </a:lnTo>
                  <a:lnTo>
                    <a:pt x="124" y="94"/>
                  </a:lnTo>
                  <a:lnTo>
                    <a:pt x="122" y="94"/>
                  </a:lnTo>
                  <a:lnTo>
                    <a:pt x="120" y="94"/>
                  </a:lnTo>
                  <a:lnTo>
                    <a:pt x="120" y="96"/>
                  </a:lnTo>
                  <a:lnTo>
                    <a:pt x="120" y="96"/>
                  </a:lnTo>
                  <a:lnTo>
                    <a:pt x="118" y="96"/>
                  </a:lnTo>
                  <a:lnTo>
                    <a:pt x="118" y="98"/>
                  </a:lnTo>
                  <a:lnTo>
                    <a:pt x="118" y="100"/>
                  </a:lnTo>
                  <a:lnTo>
                    <a:pt x="118" y="100"/>
                  </a:lnTo>
                  <a:lnTo>
                    <a:pt x="116" y="104"/>
                  </a:lnTo>
                  <a:lnTo>
                    <a:pt x="116" y="108"/>
                  </a:lnTo>
                  <a:lnTo>
                    <a:pt x="116" y="112"/>
                  </a:lnTo>
                  <a:lnTo>
                    <a:pt x="116" y="118"/>
                  </a:lnTo>
                  <a:lnTo>
                    <a:pt x="116" y="122"/>
                  </a:lnTo>
                  <a:lnTo>
                    <a:pt x="118" y="126"/>
                  </a:lnTo>
                  <a:lnTo>
                    <a:pt x="118" y="134"/>
                  </a:lnTo>
                  <a:lnTo>
                    <a:pt x="120" y="142"/>
                  </a:lnTo>
                  <a:lnTo>
                    <a:pt x="120" y="148"/>
                  </a:lnTo>
                  <a:lnTo>
                    <a:pt x="120" y="154"/>
                  </a:lnTo>
                  <a:lnTo>
                    <a:pt x="122" y="162"/>
                  </a:lnTo>
                  <a:lnTo>
                    <a:pt x="122" y="172"/>
                  </a:lnTo>
                  <a:lnTo>
                    <a:pt x="120" y="180"/>
                  </a:lnTo>
                  <a:lnTo>
                    <a:pt x="120" y="186"/>
                  </a:lnTo>
                  <a:lnTo>
                    <a:pt x="120" y="190"/>
                  </a:lnTo>
                  <a:lnTo>
                    <a:pt x="120" y="194"/>
                  </a:lnTo>
                  <a:lnTo>
                    <a:pt x="118" y="198"/>
                  </a:lnTo>
                  <a:lnTo>
                    <a:pt x="118" y="202"/>
                  </a:lnTo>
                  <a:lnTo>
                    <a:pt x="118" y="204"/>
                  </a:lnTo>
                  <a:lnTo>
                    <a:pt x="116" y="204"/>
                  </a:lnTo>
                  <a:lnTo>
                    <a:pt x="116" y="206"/>
                  </a:lnTo>
                  <a:lnTo>
                    <a:pt x="116" y="206"/>
                  </a:lnTo>
                  <a:lnTo>
                    <a:pt x="114" y="208"/>
                  </a:lnTo>
                  <a:lnTo>
                    <a:pt x="114" y="210"/>
                  </a:lnTo>
                  <a:lnTo>
                    <a:pt x="112" y="210"/>
                  </a:lnTo>
                  <a:lnTo>
                    <a:pt x="110" y="212"/>
                  </a:lnTo>
                  <a:lnTo>
                    <a:pt x="110" y="212"/>
                  </a:lnTo>
                  <a:lnTo>
                    <a:pt x="108" y="214"/>
                  </a:lnTo>
                  <a:lnTo>
                    <a:pt x="106" y="214"/>
                  </a:lnTo>
                  <a:lnTo>
                    <a:pt x="104" y="214"/>
                  </a:lnTo>
                  <a:lnTo>
                    <a:pt x="102" y="214"/>
                  </a:lnTo>
                  <a:lnTo>
                    <a:pt x="98" y="214"/>
                  </a:lnTo>
                  <a:lnTo>
                    <a:pt x="96" y="214"/>
                  </a:lnTo>
                  <a:lnTo>
                    <a:pt x="94" y="212"/>
                  </a:lnTo>
                  <a:lnTo>
                    <a:pt x="90" y="212"/>
                  </a:lnTo>
                  <a:lnTo>
                    <a:pt x="90" y="212"/>
                  </a:lnTo>
                  <a:lnTo>
                    <a:pt x="88" y="212"/>
                  </a:lnTo>
                  <a:lnTo>
                    <a:pt x="88" y="210"/>
                  </a:lnTo>
                  <a:lnTo>
                    <a:pt x="88" y="210"/>
                  </a:lnTo>
                  <a:lnTo>
                    <a:pt x="88" y="208"/>
                  </a:lnTo>
                  <a:lnTo>
                    <a:pt x="86" y="206"/>
                  </a:lnTo>
                  <a:lnTo>
                    <a:pt x="86" y="204"/>
                  </a:lnTo>
                  <a:lnTo>
                    <a:pt x="84" y="202"/>
                  </a:lnTo>
                  <a:lnTo>
                    <a:pt x="84" y="202"/>
                  </a:lnTo>
                  <a:lnTo>
                    <a:pt x="84" y="200"/>
                  </a:lnTo>
                  <a:lnTo>
                    <a:pt x="84" y="200"/>
                  </a:lnTo>
                  <a:lnTo>
                    <a:pt x="82" y="200"/>
                  </a:lnTo>
                  <a:lnTo>
                    <a:pt x="82" y="200"/>
                  </a:lnTo>
                  <a:lnTo>
                    <a:pt x="82" y="200"/>
                  </a:lnTo>
                  <a:lnTo>
                    <a:pt x="82" y="200"/>
                  </a:lnTo>
                  <a:lnTo>
                    <a:pt x="80" y="202"/>
                  </a:lnTo>
                  <a:lnTo>
                    <a:pt x="80" y="202"/>
                  </a:lnTo>
                  <a:lnTo>
                    <a:pt x="80" y="204"/>
                  </a:lnTo>
                  <a:lnTo>
                    <a:pt x="78" y="204"/>
                  </a:lnTo>
                  <a:lnTo>
                    <a:pt x="78" y="204"/>
                  </a:lnTo>
                  <a:lnTo>
                    <a:pt x="76" y="204"/>
                  </a:lnTo>
                  <a:lnTo>
                    <a:pt x="74" y="204"/>
                  </a:lnTo>
                  <a:lnTo>
                    <a:pt x="72" y="204"/>
                  </a:lnTo>
                  <a:lnTo>
                    <a:pt x="70" y="206"/>
                  </a:lnTo>
                  <a:lnTo>
                    <a:pt x="68" y="206"/>
                  </a:lnTo>
                  <a:lnTo>
                    <a:pt x="66" y="200"/>
                  </a:lnTo>
                  <a:lnTo>
                    <a:pt x="66" y="196"/>
                  </a:lnTo>
                  <a:lnTo>
                    <a:pt x="64" y="194"/>
                  </a:lnTo>
                  <a:lnTo>
                    <a:pt x="64" y="192"/>
                  </a:lnTo>
                  <a:lnTo>
                    <a:pt x="62" y="190"/>
                  </a:lnTo>
                  <a:lnTo>
                    <a:pt x="60" y="188"/>
                  </a:lnTo>
                  <a:lnTo>
                    <a:pt x="58" y="184"/>
                  </a:lnTo>
                  <a:lnTo>
                    <a:pt x="58" y="184"/>
                  </a:lnTo>
                  <a:lnTo>
                    <a:pt x="56" y="184"/>
                  </a:lnTo>
                  <a:lnTo>
                    <a:pt x="56" y="182"/>
                  </a:lnTo>
                  <a:lnTo>
                    <a:pt x="54" y="182"/>
                  </a:lnTo>
                  <a:lnTo>
                    <a:pt x="52" y="182"/>
                  </a:lnTo>
                  <a:lnTo>
                    <a:pt x="50" y="182"/>
                  </a:lnTo>
                  <a:lnTo>
                    <a:pt x="48" y="182"/>
                  </a:lnTo>
                  <a:lnTo>
                    <a:pt x="48" y="182"/>
                  </a:lnTo>
                  <a:lnTo>
                    <a:pt x="46" y="182"/>
                  </a:lnTo>
                  <a:lnTo>
                    <a:pt x="46" y="182"/>
                  </a:lnTo>
                  <a:lnTo>
                    <a:pt x="46" y="180"/>
                  </a:lnTo>
                  <a:lnTo>
                    <a:pt x="46" y="180"/>
                  </a:lnTo>
                  <a:lnTo>
                    <a:pt x="46" y="178"/>
                  </a:lnTo>
                  <a:lnTo>
                    <a:pt x="46" y="178"/>
                  </a:lnTo>
                  <a:lnTo>
                    <a:pt x="46" y="174"/>
                  </a:lnTo>
                  <a:lnTo>
                    <a:pt x="46" y="172"/>
                  </a:lnTo>
                  <a:lnTo>
                    <a:pt x="46" y="166"/>
                  </a:lnTo>
                  <a:lnTo>
                    <a:pt x="46" y="164"/>
                  </a:lnTo>
                  <a:lnTo>
                    <a:pt x="46" y="162"/>
                  </a:lnTo>
                  <a:lnTo>
                    <a:pt x="46" y="162"/>
                  </a:lnTo>
                  <a:lnTo>
                    <a:pt x="46" y="160"/>
                  </a:lnTo>
                  <a:lnTo>
                    <a:pt x="46" y="156"/>
                  </a:lnTo>
                  <a:lnTo>
                    <a:pt x="44" y="150"/>
                  </a:lnTo>
                  <a:lnTo>
                    <a:pt x="44" y="144"/>
                  </a:lnTo>
                  <a:lnTo>
                    <a:pt x="42" y="142"/>
                  </a:lnTo>
                  <a:lnTo>
                    <a:pt x="42" y="140"/>
                  </a:lnTo>
                  <a:lnTo>
                    <a:pt x="42" y="136"/>
                  </a:lnTo>
                  <a:lnTo>
                    <a:pt x="42" y="132"/>
                  </a:lnTo>
                  <a:lnTo>
                    <a:pt x="42" y="124"/>
                  </a:lnTo>
                  <a:lnTo>
                    <a:pt x="42" y="114"/>
                  </a:lnTo>
                  <a:lnTo>
                    <a:pt x="42" y="108"/>
                  </a:lnTo>
                  <a:lnTo>
                    <a:pt x="40" y="106"/>
                  </a:lnTo>
                  <a:lnTo>
                    <a:pt x="40" y="104"/>
                  </a:lnTo>
                  <a:lnTo>
                    <a:pt x="40" y="100"/>
                  </a:lnTo>
                  <a:lnTo>
                    <a:pt x="38" y="96"/>
                  </a:lnTo>
                  <a:lnTo>
                    <a:pt x="36" y="90"/>
                  </a:lnTo>
                  <a:lnTo>
                    <a:pt x="34" y="86"/>
                  </a:lnTo>
                  <a:lnTo>
                    <a:pt x="34" y="84"/>
                  </a:lnTo>
                  <a:lnTo>
                    <a:pt x="30" y="78"/>
                  </a:lnTo>
                  <a:lnTo>
                    <a:pt x="28" y="74"/>
                  </a:lnTo>
                  <a:lnTo>
                    <a:pt x="26" y="68"/>
                  </a:lnTo>
                  <a:lnTo>
                    <a:pt x="24" y="64"/>
                  </a:lnTo>
                  <a:lnTo>
                    <a:pt x="22" y="58"/>
                  </a:lnTo>
                  <a:lnTo>
                    <a:pt x="18" y="54"/>
                  </a:lnTo>
                  <a:lnTo>
                    <a:pt x="16" y="50"/>
                  </a:lnTo>
                  <a:lnTo>
                    <a:pt x="14" y="46"/>
                  </a:lnTo>
                  <a:lnTo>
                    <a:pt x="14" y="42"/>
                  </a:lnTo>
                  <a:lnTo>
                    <a:pt x="12" y="40"/>
                  </a:lnTo>
                  <a:lnTo>
                    <a:pt x="10" y="38"/>
                  </a:lnTo>
                  <a:lnTo>
                    <a:pt x="10" y="36"/>
                  </a:lnTo>
                  <a:lnTo>
                    <a:pt x="6" y="34"/>
                  </a:lnTo>
                  <a:lnTo>
                    <a:pt x="4" y="30"/>
                  </a:lnTo>
                  <a:lnTo>
                    <a:pt x="2" y="28"/>
                  </a:lnTo>
                  <a:lnTo>
                    <a:pt x="2" y="28"/>
                  </a:lnTo>
                  <a:lnTo>
                    <a:pt x="0" y="26"/>
                  </a:lnTo>
                  <a:lnTo>
                    <a:pt x="0" y="26"/>
                  </a:lnTo>
                  <a:lnTo>
                    <a:pt x="0" y="24"/>
                  </a:lnTo>
                  <a:lnTo>
                    <a:pt x="0" y="22"/>
                  </a:lnTo>
                  <a:lnTo>
                    <a:pt x="0" y="20"/>
                  </a:lnTo>
                  <a:lnTo>
                    <a:pt x="0" y="16"/>
                  </a:lnTo>
                  <a:lnTo>
                    <a:pt x="0" y="14"/>
                  </a:lnTo>
                  <a:lnTo>
                    <a:pt x="2" y="8"/>
                  </a:lnTo>
                  <a:lnTo>
                    <a:pt x="2" y="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6" name="Freeform 364">
              <a:extLst>
                <a:ext uri="{FF2B5EF4-FFF2-40B4-BE49-F238E27FC236}">
                  <a16:creationId xmlns:a16="http://schemas.microsoft.com/office/drawing/2014/main" id="{831E4882-FBC4-433A-B431-B37DF3E5CF6D}"/>
                </a:ext>
              </a:extLst>
            </p:cNvPr>
            <p:cNvSpPr>
              <a:spLocks/>
            </p:cNvSpPr>
            <p:nvPr/>
          </p:nvSpPr>
          <p:spPr bwMode="auto">
            <a:xfrm>
              <a:off x="4553272" y="5131192"/>
              <a:ext cx="245955" cy="370664"/>
            </a:xfrm>
            <a:custGeom>
              <a:avLst/>
              <a:gdLst>
                <a:gd name="T0" fmla="*/ 8 w 142"/>
                <a:gd name="T1" fmla="*/ 2 h 214"/>
                <a:gd name="T2" fmla="*/ 16 w 142"/>
                <a:gd name="T3" fmla="*/ 0 h 214"/>
                <a:gd name="T4" fmla="*/ 20 w 142"/>
                <a:gd name="T5" fmla="*/ 0 h 214"/>
                <a:gd name="T6" fmla="*/ 30 w 142"/>
                <a:gd name="T7" fmla="*/ 6 h 214"/>
                <a:gd name="T8" fmla="*/ 40 w 142"/>
                <a:gd name="T9" fmla="*/ 8 h 214"/>
                <a:gd name="T10" fmla="*/ 60 w 142"/>
                <a:gd name="T11" fmla="*/ 10 h 214"/>
                <a:gd name="T12" fmla="*/ 82 w 142"/>
                <a:gd name="T13" fmla="*/ 6 h 214"/>
                <a:gd name="T14" fmla="*/ 92 w 142"/>
                <a:gd name="T15" fmla="*/ 6 h 214"/>
                <a:gd name="T16" fmla="*/ 96 w 142"/>
                <a:gd name="T17" fmla="*/ 10 h 214"/>
                <a:gd name="T18" fmla="*/ 100 w 142"/>
                <a:gd name="T19" fmla="*/ 16 h 214"/>
                <a:gd name="T20" fmla="*/ 104 w 142"/>
                <a:gd name="T21" fmla="*/ 18 h 214"/>
                <a:gd name="T22" fmla="*/ 124 w 142"/>
                <a:gd name="T23" fmla="*/ 20 h 214"/>
                <a:gd name="T24" fmla="*/ 142 w 142"/>
                <a:gd name="T25" fmla="*/ 22 h 214"/>
                <a:gd name="T26" fmla="*/ 136 w 142"/>
                <a:gd name="T27" fmla="*/ 34 h 214"/>
                <a:gd name="T28" fmla="*/ 134 w 142"/>
                <a:gd name="T29" fmla="*/ 44 h 214"/>
                <a:gd name="T30" fmla="*/ 136 w 142"/>
                <a:gd name="T31" fmla="*/ 70 h 214"/>
                <a:gd name="T32" fmla="*/ 136 w 142"/>
                <a:gd name="T33" fmla="*/ 82 h 214"/>
                <a:gd name="T34" fmla="*/ 134 w 142"/>
                <a:gd name="T35" fmla="*/ 88 h 214"/>
                <a:gd name="T36" fmla="*/ 128 w 142"/>
                <a:gd name="T37" fmla="*/ 92 h 214"/>
                <a:gd name="T38" fmla="*/ 124 w 142"/>
                <a:gd name="T39" fmla="*/ 94 h 214"/>
                <a:gd name="T40" fmla="*/ 120 w 142"/>
                <a:gd name="T41" fmla="*/ 96 h 214"/>
                <a:gd name="T42" fmla="*/ 118 w 142"/>
                <a:gd name="T43" fmla="*/ 100 h 214"/>
                <a:gd name="T44" fmla="*/ 116 w 142"/>
                <a:gd name="T45" fmla="*/ 118 h 214"/>
                <a:gd name="T46" fmla="*/ 120 w 142"/>
                <a:gd name="T47" fmla="*/ 142 h 214"/>
                <a:gd name="T48" fmla="*/ 122 w 142"/>
                <a:gd name="T49" fmla="*/ 172 h 214"/>
                <a:gd name="T50" fmla="*/ 120 w 142"/>
                <a:gd name="T51" fmla="*/ 194 h 214"/>
                <a:gd name="T52" fmla="*/ 116 w 142"/>
                <a:gd name="T53" fmla="*/ 204 h 214"/>
                <a:gd name="T54" fmla="*/ 114 w 142"/>
                <a:gd name="T55" fmla="*/ 210 h 214"/>
                <a:gd name="T56" fmla="*/ 108 w 142"/>
                <a:gd name="T57" fmla="*/ 214 h 214"/>
                <a:gd name="T58" fmla="*/ 98 w 142"/>
                <a:gd name="T59" fmla="*/ 214 h 214"/>
                <a:gd name="T60" fmla="*/ 90 w 142"/>
                <a:gd name="T61" fmla="*/ 212 h 214"/>
                <a:gd name="T62" fmla="*/ 88 w 142"/>
                <a:gd name="T63" fmla="*/ 208 h 214"/>
                <a:gd name="T64" fmla="*/ 84 w 142"/>
                <a:gd name="T65" fmla="*/ 202 h 214"/>
                <a:gd name="T66" fmla="*/ 82 w 142"/>
                <a:gd name="T67" fmla="*/ 200 h 214"/>
                <a:gd name="T68" fmla="*/ 80 w 142"/>
                <a:gd name="T69" fmla="*/ 202 h 214"/>
                <a:gd name="T70" fmla="*/ 76 w 142"/>
                <a:gd name="T71" fmla="*/ 204 h 214"/>
                <a:gd name="T72" fmla="*/ 68 w 142"/>
                <a:gd name="T73" fmla="*/ 206 h 214"/>
                <a:gd name="T74" fmla="*/ 64 w 142"/>
                <a:gd name="T75" fmla="*/ 192 h 214"/>
                <a:gd name="T76" fmla="*/ 58 w 142"/>
                <a:gd name="T77" fmla="*/ 184 h 214"/>
                <a:gd name="T78" fmla="*/ 52 w 142"/>
                <a:gd name="T79" fmla="*/ 182 h 214"/>
                <a:gd name="T80" fmla="*/ 46 w 142"/>
                <a:gd name="T81" fmla="*/ 182 h 214"/>
                <a:gd name="T82" fmla="*/ 46 w 142"/>
                <a:gd name="T83" fmla="*/ 178 h 214"/>
                <a:gd name="T84" fmla="*/ 46 w 142"/>
                <a:gd name="T85" fmla="*/ 166 h 214"/>
                <a:gd name="T86" fmla="*/ 46 w 142"/>
                <a:gd name="T87" fmla="*/ 160 h 214"/>
                <a:gd name="T88" fmla="*/ 42 w 142"/>
                <a:gd name="T89" fmla="*/ 142 h 214"/>
                <a:gd name="T90" fmla="*/ 42 w 142"/>
                <a:gd name="T91" fmla="*/ 124 h 214"/>
                <a:gd name="T92" fmla="*/ 40 w 142"/>
                <a:gd name="T93" fmla="*/ 104 h 214"/>
                <a:gd name="T94" fmla="*/ 34 w 142"/>
                <a:gd name="T95" fmla="*/ 86 h 214"/>
                <a:gd name="T96" fmla="*/ 26 w 142"/>
                <a:gd name="T97" fmla="*/ 68 h 214"/>
                <a:gd name="T98" fmla="*/ 16 w 142"/>
                <a:gd name="T99" fmla="*/ 50 h 214"/>
                <a:gd name="T100" fmla="*/ 10 w 142"/>
                <a:gd name="T101" fmla="*/ 38 h 214"/>
                <a:gd name="T102" fmla="*/ 2 w 142"/>
                <a:gd name="T103" fmla="*/ 28 h 214"/>
                <a:gd name="T104" fmla="*/ 0 w 142"/>
                <a:gd name="T105" fmla="*/ 24 h 214"/>
                <a:gd name="T106" fmla="*/ 0 w 142"/>
                <a:gd name="T107" fmla="*/ 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 h="214">
                  <a:moveTo>
                    <a:pt x="2" y="6"/>
                  </a:moveTo>
                  <a:lnTo>
                    <a:pt x="2" y="6"/>
                  </a:lnTo>
                  <a:lnTo>
                    <a:pt x="4" y="4"/>
                  </a:lnTo>
                  <a:lnTo>
                    <a:pt x="8" y="2"/>
                  </a:lnTo>
                  <a:lnTo>
                    <a:pt x="10" y="2"/>
                  </a:lnTo>
                  <a:lnTo>
                    <a:pt x="12" y="0"/>
                  </a:lnTo>
                  <a:lnTo>
                    <a:pt x="14" y="0"/>
                  </a:lnTo>
                  <a:lnTo>
                    <a:pt x="16" y="0"/>
                  </a:lnTo>
                  <a:lnTo>
                    <a:pt x="16" y="0"/>
                  </a:lnTo>
                  <a:lnTo>
                    <a:pt x="16" y="0"/>
                  </a:lnTo>
                  <a:lnTo>
                    <a:pt x="18" y="0"/>
                  </a:lnTo>
                  <a:lnTo>
                    <a:pt x="20" y="0"/>
                  </a:lnTo>
                  <a:lnTo>
                    <a:pt x="22" y="2"/>
                  </a:lnTo>
                  <a:lnTo>
                    <a:pt x="24" y="2"/>
                  </a:lnTo>
                  <a:lnTo>
                    <a:pt x="28" y="6"/>
                  </a:lnTo>
                  <a:lnTo>
                    <a:pt x="30" y="6"/>
                  </a:lnTo>
                  <a:lnTo>
                    <a:pt x="32" y="6"/>
                  </a:lnTo>
                  <a:lnTo>
                    <a:pt x="34" y="8"/>
                  </a:lnTo>
                  <a:lnTo>
                    <a:pt x="38" y="8"/>
                  </a:lnTo>
                  <a:lnTo>
                    <a:pt x="40" y="8"/>
                  </a:lnTo>
                  <a:lnTo>
                    <a:pt x="44" y="8"/>
                  </a:lnTo>
                  <a:lnTo>
                    <a:pt x="52" y="8"/>
                  </a:lnTo>
                  <a:lnTo>
                    <a:pt x="58" y="10"/>
                  </a:lnTo>
                  <a:lnTo>
                    <a:pt x="60" y="10"/>
                  </a:lnTo>
                  <a:lnTo>
                    <a:pt x="62" y="10"/>
                  </a:lnTo>
                  <a:lnTo>
                    <a:pt x="66" y="8"/>
                  </a:lnTo>
                  <a:lnTo>
                    <a:pt x="76" y="8"/>
                  </a:lnTo>
                  <a:lnTo>
                    <a:pt x="82" y="6"/>
                  </a:lnTo>
                  <a:lnTo>
                    <a:pt x="84" y="6"/>
                  </a:lnTo>
                  <a:lnTo>
                    <a:pt x="86" y="6"/>
                  </a:lnTo>
                  <a:lnTo>
                    <a:pt x="88" y="6"/>
                  </a:lnTo>
                  <a:lnTo>
                    <a:pt x="92" y="6"/>
                  </a:lnTo>
                  <a:lnTo>
                    <a:pt x="94" y="8"/>
                  </a:lnTo>
                  <a:lnTo>
                    <a:pt x="94" y="8"/>
                  </a:lnTo>
                  <a:lnTo>
                    <a:pt x="96" y="8"/>
                  </a:lnTo>
                  <a:lnTo>
                    <a:pt x="96" y="10"/>
                  </a:lnTo>
                  <a:lnTo>
                    <a:pt x="96" y="10"/>
                  </a:lnTo>
                  <a:lnTo>
                    <a:pt x="98" y="12"/>
                  </a:lnTo>
                  <a:lnTo>
                    <a:pt x="98" y="14"/>
                  </a:lnTo>
                  <a:lnTo>
                    <a:pt x="100" y="16"/>
                  </a:lnTo>
                  <a:lnTo>
                    <a:pt x="100" y="16"/>
                  </a:lnTo>
                  <a:lnTo>
                    <a:pt x="102" y="16"/>
                  </a:lnTo>
                  <a:lnTo>
                    <a:pt x="102" y="18"/>
                  </a:lnTo>
                  <a:lnTo>
                    <a:pt x="104" y="18"/>
                  </a:lnTo>
                  <a:lnTo>
                    <a:pt x="106" y="18"/>
                  </a:lnTo>
                  <a:lnTo>
                    <a:pt x="110" y="18"/>
                  </a:lnTo>
                  <a:lnTo>
                    <a:pt x="116" y="20"/>
                  </a:lnTo>
                  <a:lnTo>
                    <a:pt x="124" y="20"/>
                  </a:lnTo>
                  <a:lnTo>
                    <a:pt x="128" y="20"/>
                  </a:lnTo>
                  <a:lnTo>
                    <a:pt x="130" y="20"/>
                  </a:lnTo>
                  <a:lnTo>
                    <a:pt x="138" y="22"/>
                  </a:lnTo>
                  <a:lnTo>
                    <a:pt x="142" y="22"/>
                  </a:lnTo>
                  <a:lnTo>
                    <a:pt x="142" y="24"/>
                  </a:lnTo>
                  <a:lnTo>
                    <a:pt x="140" y="28"/>
                  </a:lnTo>
                  <a:lnTo>
                    <a:pt x="138" y="32"/>
                  </a:lnTo>
                  <a:lnTo>
                    <a:pt x="136" y="34"/>
                  </a:lnTo>
                  <a:lnTo>
                    <a:pt x="136" y="36"/>
                  </a:lnTo>
                  <a:lnTo>
                    <a:pt x="134" y="38"/>
                  </a:lnTo>
                  <a:lnTo>
                    <a:pt x="134" y="40"/>
                  </a:lnTo>
                  <a:lnTo>
                    <a:pt x="134" y="44"/>
                  </a:lnTo>
                  <a:lnTo>
                    <a:pt x="134" y="48"/>
                  </a:lnTo>
                  <a:lnTo>
                    <a:pt x="136" y="54"/>
                  </a:lnTo>
                  <a:lnTo>
                    <a:pt x="136" y="62"/>
                  </a:lnTo>
                  <a:lnTo>
                    <a:pt x="136" y="70"/>
                  </a:lnTo>
                  <a:lnTo>
                    <a:pt x="138" y="72"/>
                  </a:lnTo>
                  <a:lnTo>
                    <a:pt x="138" y="76"/>
                  </a:lnTo>
                  <a:lnTo>
                    <a:pt x="136" y="80"/>
                  </a:lnTo>
                  <a:lnTo>
                    <a:pt x="136" y="82"/>
                  </a:lnTo>
                  <a:lnTo>
                    <a:pt x="136" y="86"/>
                  </a:lnTo>
                  <a:lnTo>
                    <a:pt x="136" y="86"/>
                  </a:lnTo>
                  <a:lnTo>
                    <a:pt x="134" y="88"/>
                  </a:lnTo>
                  <a:lnTo>
                    <a:pt x="134" y="88"/>
                  </a:lnTo>
                  <a:lnTo>
                    <a:pt x="134" y="88"/>
                  </a:lnTo>
                  <a:lnTo>
                    <a:pt x="132" y="90"/>
                  </a:lnTo>
                  <a:lnTo>
                    <a:pt x="132" y="90"/>
                  </a:lnTo>
                  <a:lnTo>
                    <a:pt x="128" y="92"/>
                  </a:lnTo>
                  <a:lnTo>
                    <a:pt x="128" y="92"/>
                  </a:lnTo>
                  <a:lnTo>
                    <a:pt x="126" y="92"/>
                  </a:lnTo>
                  <a:lnTo>
                    <a:pt x="126" y="94"/>
                  </a:lnTo>
                  <a:lnTo>
                    <a:pt x="124" y="94"/>
                  </a:lnTo>
                  <a:lnTo>
                    <a:pt x="122" y="94"/>
                  </a:lnTo>
                  <a:lnTo>
                    <a:pt x="120" y="94"/>
                  </a:lnTo>
                  <a:lnTo>
                    <a:pt x="120" y="96"/>
                  </a:lnTo>
                  <a:lnTo>
                    <a:pt x="120" y="96"/>
                  </a:lnTo>
                  <a:lnTo>
                    <a:pt x="118" y="96"/>
                  </a:lnTo>
                  <a:lnTo>
                    <a:pt x="118" y="98"/>
                  </a:lnTo>
                  <a:lnTo>
                    <a:pt x="118" y="100"/>
                  </a:lnTo>
                  <a:lnTo>
                    <a:pt x="118" y="100"/>
                  </a:lnTo>
                  <a:lnTo>
                    <a:pt x="116" y="104"/>
                  </a:lnTo>
                  <a:lnTo>
                    <a:pt x="116" y="108"/>
                  </a:lnTo>
                  <a:lnTo>
                    <a:pt x="116" y="112"/>
                  </a:lnTo>
                  <a:lnTo>
                    <a:pt x="116" y="118"/>
                  </a:lnTo>
                  <a:lnTo>
                    <a:pt x="116" y="122"/>
                  </a:lnTo>
                  <a:lnTo>
                    <a:pt x="118" y="126"/>
                  </a:lnTo>
                  <a:lnTo>
                    <a:pt x="118" y="134"/>
                  </a:lnTo>
                  <a:lnTo>
                    <a:pt x="120" y="142"/>
                  </a:lnTo>
                  <a:lnTo>
                    <a:pt x="120" y="148"/>
                  </a:lnTo>
                  <a:lnTo>
                    <a:pt x="120" y="154"/>
                  </a:lnTo>
                  <a:lnTo>
                    <a:pt x="122" y="162"/>
                  </a:lnTo>
                  <a:lnTo>
                    <a:pt x="122" y="172"/>
                  </a:lnTo>
                  <a:lnTo>
                    <a:pt x="120" y="180"/>
                  </a:lnTo>
                  <a:lnTo>
                    <a:pt x="120" y="186"/>
                  </a:lnTo>
                  <a:lnTo>
                    <a:pt x="120" y="190"/>
                  </a:lnTo>
                  <a:lnTo>
                    <a:pt x="120" y="194"/>
                  </a:lnTo>
                  <a:lnTo>
                    <a:pt x="118" y="198"/>
                  </a:lnTo>
                  <a:lnTo>
                    <a:pt x="118" y="202"/>
                  </a:lnTo>
                  <a:lnTo>
                    <a:pt x="118" y="204"/>
                  </a:lnTo>
                  <a:lnTo>
                    <a:pt x="116" y="204"/>
                  </a:lnTo>
                  <a:lnTo>
                    <a:pt x="116" y="206"/>
                  </a:lnTo>
                  <a:lnTo>
                    <a:pt x="116" y="206"/>
                  </a:lnTo>
                  <a:lnTo>
                    <a:pt x="114" y="208"/>
                  </a:lnTo>
                  <a:lnTo>
                    <a:pt x="114" y="210"/>
                  </a:lnTo>
                  <a:lnTo>
                    <a:pt x="112" y="210"/>
                  </a:lnTo>
                  <a:lnTo>
                    <a:pt x="110" y="212"/>
                  </a:lnTo>
                  <a:lnTo>
                    <a:pt x="110" y="212"/>
                  </a:lnTo>
                  <a:lnTo>
                    <a:pt x="108" y="214"/>
                  </a:lnTo>
                  <a:lnTo>
                    <a:pt x="106" y="214"/>
                  </a:lnTo>
                  <a:lnTo>
                    <a:pt x="104" y="214"/>
                  </a:lnTo>
                  <a:lnTo>
                    <a:pt x="102" y="214"/>
                  </a:lnTo>
                  <a:lnTo>
                    <a:pt x="98" y="214"/>
                  </a:lnTo>
                  <a:lnTo>
                    <a:pt x="96" y="214"/>
                  </a:lnTo>
                  <a:lnTo>
                    <a:pt x="94" y="212"/>
                  </a:lnTo>
                  <a:lnTo>
                    <a:pt x="90" y="212"/>
                  </a:lnTo>
                  <a:lnTo>
                    <a:pt x="90" y="212"/>
                  </a:lnTo>
                  <a:lnTo>
                    <a:pt x="88" y="212"/>
                  </a:lnTo>
                  <a:lnTo>
                    <a:pt x="88" y="210"/>
                  </a:lnTo>
                  <a:lnTo>
                    <a:pt x="88" y="210"/>
                  </a:lnTo>
                  <a:lnTo>
                    <a:pt x="88" y="208"/>
                  </a:lnTo>
                  <a:lnTo>
                    <a:pt x="86" y="206"/>
                  </a:lnTo>
                  <a:lnTo>
                    <a:pt x="86" y="204"/>
                  </a:lnTo>
                  <a:lnTo>
                    <a:pt x="84" y="202"/>
                  </a:lnTo>
                  <a:lnTo>
                    <a:pt x="84" y="202"/>
                  </a:lnTo>
                  <a:lnTo>
                    <a:pt x="84" y="200"/>
                  </a:lnTo>
                  <a:lnTo>
                    <a:pt x="84" y="200"/>
                  </a:lnTo>
                  <a:lnTo>
                    <a:pt x="82" y="200"/>
                  </a:lnTo>
                  <a:lnTo>
                    <a:pt x="82" y="200"/>
                  </a:lnTo>
                  <a:lnTo>
                    <a:pt x="82" y="200"/>
                  </a:lnTo>
                  <a:lnTo>
                    <a:pt x="82" y="200"/>
                  </a:lnTo>
                  <a:lnTo>
                    <a:pt x="80" y="202"/>
                  </a:lnTo>
                  <a:lnTo>
                    <a:pt x="80" y="202"/>
                  </a:lnTo>
                  <a:lnTo>
                    <a:pt x="80" y="204"/>
                  </a:lnTo>
                  <a:lnTo>
                    <a:pt x="78" y="204"/>
                  </a:lnTo>
                  <a:lnTo>
                    <a:pt x="78" y="204"/>
                  </a:lnTo>
                  <a:lnTo>
                    <a:pt x="76" y="204"/>
                  </a:lnTo>
                  <a:lnTo>
                    <a:pt x="74" y="204"/>
                  </a:lnTo>
                  <a:lnTo>
                    <a:pt x="72" y="204"/>
                  </a:lnTo>
                  <a:lnTo>
                    <a:pt x="70" y="206"/>
                  </a:lnTo>
                  <a:lnTo>
                    <a:pt x="68" y="206"/>
                  </a:lnTo>
                  <a:lnTo>
                    <a:pt x="66" y="200"/>
                  </a:lnTo>
                  <a:lnTo>
                    <a:pt x="66" y="196"/>
                  </a:lnTo>
                  <a:lnTo>
                    <a:pt x="64" y="194"/>
                  </a:lnTo>
                  <a:lnTo>
                    <a:pt x="64" y="192"/>
                  </a:lnTo>
                  <a:lnTo>
                    <a:pt x="62" y="190"/>
                  </a:lnTo>
                  <a:lnTo>
                    <a:pt x="60" y="188"/>
                  </a:lnTo>
                  <a:lnTo>
                    <a:pt x="58" y="184"/>
                  </a:lnTo>
                  <a:lnTo>
                    <a:pt x="58" y="184"/>
                  </a:lnTo>
                  <a:lnTo>
                    <a:pt x="56" y="184"/>
                  </a:lnTo>
                  <a:lnTo>
                    <a:pt x="56" y="182"/>
                  </a:lnTo>
                  <a:lnTo>
                    <a:pt x="54" y="182"/>
                  </a:lnTo>
                  <a:lnTo>
                    <a:pt x="52" y="182"/>
                  </a:lnTo>
                  <a:lnTo>
                    <a:pt x="50" y="182"/>
                  </a:lnTo>
                  <a:lnTo>
                    <a:pt x="48" y="182"/>
                  </a:lnTo>
                  <a:lnTo>
                    <a:pt x="48" y="182"/>
                  </a:lnTo>
                  <a:lnTo>
                    <a:pt x="46" y="182"/>
                  </a:lnTo>
                  <a:lnTo>
                    <a:pt x="46" y="182"/>
                  </a:lnTo>
                  <a:lnTo>
                    <a:pt x="46" y="180"/>
                  </a:lnTo>
                  <a:lnTo>
                    <a:pt x="46" y="180"/>
                  </a:lnTo>
                  <a:lnTo>
                    <a:pt x="46" y="178"/>
                  </a:lnTo>
                  <a:lnTo>
                    <a:pt x="46" y="178"/>
                  </a:lnTo>
                  <a:lnTo>
                    <a:pt x="46" y="174"/>
                  </a:lnTo>
                  <a:lnTo>
                    <a:pt x="46" y="172"/>
                  </a:lnTo>
                  <a:lnTo>
                    <a:pt x="46" y="166"/>
                  </a:lnTo>
                  <a:lnTo>
                    <a:pt x="46" y="164"/>
                  </a:lnTo>
                  <a:lnTo>
                    <a:pt x="46" y="162"/>
                  </a:lnTo>
                  <a:lnTo>
                    <a:pt x="46" y="162"/>
                  </a:lnTo>
                  <a:lnTo>
                    <a:pt x="46" y="160"/>
                  </a:lnTo>
                  <a:lnTo>
                    <a:pt x="46" y="156"/>
                  </a:lnTo>
                  <a:lnTo>
                    <a:pt x="44" y="150"/>
                  </a:lnTo>
                  <a:lnTo>
                    <a:pt x="44" y="144"/>
                  </a:lnTo>
                  <a:lnTo>
                    <a:pt x="42" y="142"/>
                  </a:lnTo>
                  <a:lnTo>
                    <a:pt x="42" y="140"/>
                  </a:lnTo>
                  <a:lnTo>
                    <a:pt x="42" y="136"/>
                  </a:lnTo>
                  <a:lnTo>
                    <a:pt x="42" y="132"/>
                  </a:lnTo>
                  <a:lnTo>
                    <a:pt x="42" y="124"/>
                  </a:lnTo>
                  <a:lnTo>
                    <a:pt x="42" y="114"/>
                  </a:lnTo>
                  <a:lnTo>
                    <a:pt x="42" y="108"/>
                  </a:lnTo>
                  <a:lnTo>
                    <a:pt x="40" y="106"/>
                  </a:lnTo>
                  <a:lnTo>
                    <a:pt x="40" y="104"/>
                  </a:lnTo>
                  <a:lnTo>
                    <a:pt x="40" y="100"/>
                  </a:lnTo>
                  <a:lnTo>
                    <a:pt x="38" y="96"/>
                  </a:lnTo>
                  <a:lnTo>
                    <a:pt x="36" y="90"/>
                  </a:lnTo>
                  <a:lnTo>
                    <a:pt x="34" y="86"/>
                  </a:lnTo>
                  <a:lnTo>
                    <a:pt x="34" y="84"/>
                  </a:lnTo>
                  <a:lnTo>
                    <a:pt x="30" y="78"/>
                  </a:lnTo>
                  <a:lnTo>
                    <a:pt x="28" y="74"/>
                  </a:lnTo>
                  <a:lnTo>
                    <a:pt x="26" y="68"/>
                  </a:lnTo>
                  <a:lnTo>
                    <a:pt x="24" y="64"/>
                  </a:lnTo>
                  <a:lnTo>
                    <a:pt x="22" y="58"/>
                  </a:lnTo>
                  <a:lnTo>
                    <a:pt x="18" y="54"/>
                  </a:lnTo>
                  <a:lnTo>
                    <a:pt x="16" y="50"/>
                  </a:lnTo>
                  <a:lnTo>
                    <a:pt x="14" y="46"/>
                  </a:lnTo>
                  <a:lnTo>
                    <a:pt x="14" y="42"/>
                  </a:lnTo>
                  <a:lnTo>
                    <a:pt x="12" y="40"/>
                  </a:lnTo>
                  <a:lnTo>
                    <a:pt x="10" y="38"/>
                  </a:lnTo>
                  <a:lnTo>
                    <a:pt x="10" y="36"/>
                  </a:lnTo>
                  <a:lnTo>
                    <a:pt x="6" y="34"/>
                  </a:lnTo>
                  <a:lnTo>
                    <a:pt x="4" y="30"/>
                  </a:lnTo>
                  <a:lnTo>
                    <a:pt x="2" y="28"/>
                  </a:lnTo>
                  <a:lnTo>
                    <a:pt x="2" y="28"/>
                  </a:lnTo>
                  <a:lnTo>
                    <a:pt x="0" y="26"/>
                  </a:lnTo>
                  <a:lnTo>
                    <a:pt x="0" y="26"/>
                  </a:lnTo>
                  <a:lnTo>
                    <a:pt x="0" y="24"/>
                  </a:lnTo>
                  <a:lnTo>
                    <a:pt x="0" y="22"/>
                  </a:lnTo>
                  <a:lnTo>
                    <a:pt x="0" y="20"/>
                  </a:lnTo>
                  <a:lnTo>
                    <a:pt x="0" y="16"/>
                  </a:lnTo>
                  <a:lnTo>
                    <a:pt x="0" y="14"/>
                  </a:lnTo>
                  <a:lnTo>
                    <a:pt x="2" y="8"/>
                  </a:lnTo>
                  <a:lnTo>
                    <a:pt x="2" y="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7" name="Freeform 365">
              <a:extLst>
                <a:ext uri="{FF2B5EF4-FFF2-40B4-BE49-F238E27FC236}">
                  <a16:creationId xmlns:a16="http://schemas.microsoft.com/office/drawing/2014/main" id="{58C09A6A-C317-4DD8-B319-F73E545EDA61}"/>
                </a:ext>
              </a:extLst>
            </p:cNvPr>
            <p:cNvSpPr>
              <a:spLocks/>
            </p:cNvSpPr>
            <p:nvPr/>
          </p:nvSpPr>
          <p:spPr bwMode="auto">
            <a:xfrm>
              <a:off x="3825800" y="4168158"/>
              <a:ext cx="169743" cy="145494"/>
            </a:xfrm>
            <a:custGeom>
              <a:avLst/>
              <a:gdLst>
                <a:gd name="T0" fmla="*/ 16 w 98"/>
                <a:gd name="T1" fmla="*/ 68 h 84"/>
                <a:gd name="T2" fmla="*/ 16 w 98"/>
                <a:gd name="T3" fmla="*/ 76 h 84"/>
                <a:gd name="T4" fmla="*/ 18 w 98"/>
                <a:gd name="T5" fmla="*/ 78 h 84"/>
                <a:gd name="T6" fmla="*/ 20 w 98"/>
                <a:gd name="T7" fmla="*/ 78 h 84"/>
                <a:gd name="T8" fmla="*/ 24 w 98"/>
                <a:gd name="T9" fmla="*/ 78 h 84"/>
                <a:gd name="T10" fmla="*/ 28 w 98"/>
                <a:gd name="T11" fmla="*/ 78 h 84"/>
                <a:gd name="T12" fmla="*/ 32 w 98"/>
                <a:gd name="T13" fmla="*/ 78 h 84"/>
                <a:gd name="T14" fmla="*/ 36 w 98"/>
                <a:gd name="T15" fmla="*/ 84 h 84"/>
                <a:gd name="T16" fmla="*/ 38 w 98"/>
                <a:gd name="T17" fmla="*/ 80 h 84"/>
                <a:gd name="T18" fmla="*/ 44 w 98"/>
                <a:gd name="T19" fmla="*/ 74 h 84"/>
                <a:gd name="T20" fmla="*/ 48 w 98"/>
                <a:gd name="T21" fmla="*/ 72 h 84"/>
                <a:gd name="T22" fmla="*/ 60 w 98"/>
                <a:gd name="T23" fmla="*/ 68 h 84"/>
                <a:gd name="T24" fmla="*/ 76 w 98"/>
                <a:gd name="T25" fmla="*/ 70 h 84"/>
                <a:gd name="T26" fmla="*/ 86 w 98"/>
                <a:gd name="T27" fmla="*/ 72 h 84"/>
                <a:gd name="T28" fmla="*/ 98 w 98"/>
                <a:gd name="T29" fmla="*/ 70 h 84"/>
                <a:gd name="T30" fmla="*/ 94 w 98"/>
                <a:gd name="T31" fmla="*/ 60 h 84"/>
                <a:gd name="T32" fmla="*/ 90 w 98"/>
                <a:gd name="T33" fmla="*/ 54 h 84"/>
                <a:gd name="T34" fmla="*/ 84 w 98"/>
                <a:gd name="T35" fmla="*/ 50 h 84"/>
                <a:gd name="T36" fmla="*/ 82 w 98"/>
                <a:gd name="T37" fmla="*/ 48 h 84"/>
                <a:gd name="T38" fmla="*/ 80 w 98"/>
                <a:gd name="T39" fmla="*/ 42 h 84"/>
                <a:gd name="T40" fmla="*/ 74 w 98"/>
                <a:gd name="T41" fmla="*/ 34 h 84"/>
                <a:gd name="T42" fmla="*/ 70 w 98"/>
                <a:gd name="T43" fmla="*/ 28 h 84"/>
                <a:gd name="T44" fmla="*/ 64 w 98"/>
                <a:gd name="T45" fmla="*/ 20 h 84"/>
                <a:gd name="T46" fmla="*/ 60 w 98"/>
                <a:gd name="T47" fmla="*/ 14 h 84"/>
                <a:gd name="T48" fmla="*/ 56 w 98"/>
                <a:gd name="T49" fmla="*/ 12 h 84"/>
                <a:gd name="T50" fmla="*/ 50 w 98"/>
                <a:gd name="T51" fmla="*/ 10 h 84"/>
                <a:gd name="T52" fmla="*/ 46 w 98"/>
                <a:gd name="T53" fmla="*/ 8 h 84"/>
                <a:gd name="T54" fmla="*/ 44 w 98"/>
                <a:gd name="T55" fmla="*/ 2 h 84"/>
                <a:gd name="T56" fmla="*/ 42 w 98"/>
                <a:gd name="T57" fmla="*/ 0 h 84"/>
                <a:gd name="T58" fmla="*/ 40 w 98"/>
                <a:gd name="T59" fmla="*/ 0 h 84"/>
                <a:gd name="T60" fmla="*/ 34 w 98"/>
                <a:gd name="T61" fmla="*/ 0 h 84"/>
                <a:gd name="T62" fmla="*/ 26 w 98"/>
                <a:gd name="T63" fmla="*/ 4 h 84"/>
                <a:gd name="T64" fmla="*/ 16 w 98"/>
                <a:gd name="T65" fmla="*/ 18 h 84"/>
                <a:gd name="T66" fmla="*/ 10 w 98"/>
                <a:gd name="T67" fmla="*/ 24 h 84"/>
                <a:gd name="T68" fmla="*/ 4 w 98"/>
                <a:gd name="T69" fmla="*/ 26 h 84"/>
                <a:gd name="T70" fmla="*/ 0 w 98"/>
                <a:gd name="T71" fmla="*/ 26 h 84"/>
                <a:gd name="T72" fmla="*/ 0 w 98"/>
                <a:gd name="T73" fmla="*/ 28 h 84"/>
                <a:gd name="T74" fmla="*/ 0 w 98"/>
                <a:gd name="T75" fmla="*/ 30 h 84"/>
                <a:gd name="T76" fmla="*/ 4 w 98"/>
                <a:gd name="T77" fmla="*/ 30 h 84"/>
                <a:gd name="T78" fmla="*/ 10 w 98"/>
                <a:gd name="T79" fmla="*/ 32 h 84"/>
                <a:gd name="T80" fmla="*/ 14 w 98"/>
                <a:gd name="T81" fmla="*/ 36 h 84"/>
                <a:gd name="T82" fmla="*/ 20 w 98"/>
                <a:gd name="T83" fmla="*/ 42 h 84"/>
                <a:gd name="T84" fmla="*/ 24 w 98"/>
                <a:gd name="T85" fmla="*/ 46 h 84"/>
                <a:gd name="T86" fmla="*/ 28 w 98"/>
                <a:gd name="T87" fmla="*/ 50 h 84"/>
                <a:gd name="T88" fmla="*/ 28 w 98"/>
                <a:gd name="T89" fmla="*/ 50 h 84"/>
                <a:gd name="T90" fmla="*/ 24 w 98"/>
                <a:gd name="T91" fmla="*/ 52 h 84"/>
                <a:gd name="T92" fmla="*/ 20 w 98"/>
                <a:gd name="T93" fmla="*/ 56 h 84"/>
                <a:gd name="T94" fmla="*/ 18 w 98"/>
                <a:gd name="T95" fmla="*/ 58 h 84"/>
                <a:gd name="T96" fmla="*/ 18 w 98"/>
                <a:gd name="T97" fmla="*/ 6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 h="84">
                  <a:moveTo>
                    <a:pt x="18" y="66"/>
                  </a:moveTo>
                  <a:lnTo>
                    <a:pt x="18" y="66"/>
                  </a:lnTo>
                  <a:lnTo>
                    <a:pt x="16" y="68"/>
                  </a:lnTo>
                  <a:lnTo>
                    <a:pt x="16" y="72"/>
                  </a:lnTo>
                  <a:lnTo>
                    <a:pt x="16" y="74"/>
                  </a:lnTo>
                  <a:lnTo>
                    <a:pt x="16" y="76"/>
                  </a:lnTo>
                  <a:lnTo>
                    <a:pt x="16" y="76"/>
                  </a:lnTo>
                  <a:lnTo>
                    <a:pt x="18" y="78"/>
                  </a:lnTo>
                  <a:lnTo>
                    <a:pt x="18" y="78"/>
                  </a:lnTo>
                  <a:lnTo>
                    <a:pt x="18" y="78"/>
                  </a:lnTo>
                  <a:lnTo>
                    <a:pt x="18" y="78"/>
                  </a:lnTo>
                  <a:lnTo>
                    <a:pt x="20" y="78"/>
                  </a:lnTo>
                  <a:lnTo>
                    <a:pt x="20" y="78"/>
                  </a:lnTo>
                  <a:lnTo>
                    <a:pt x="22" y="78"/>
                  </a:lnTo>
                  <a:lnTo>
                    <a:pt x="24" y="78"/>
                  </a:lnTo>
                  <a:lnTo>
                    <a:pt x="26" y="78"/>
                  </a:lnTo>
                  <a:lnTo>
                    <a:pt x="28" y="78"/>
                  </a:lnTo>
                  <a:lnTo>
                    <a:pt x="28" y="78"/>
                  </a:lnTo>
                  <a:lnTo>
                    <a:pt x="30" y="78"/>
                  </a:lnTo>
                  <a:lnTo>
                    <a:pt x="30" y="78"/>
                  </a:lnTo>
                  <a:lnTo>
                    <a:pt x="32" y="78"/>
                  </a:lnTo>
                  <a:lnTo>
                    <a:pt x="32" y="78"/>
                  </a:lnTo>
                  <a:lnTo>
                    <a:pt x="34" y="82"/>
                  </a:lnTo>
                  <a:lnTo>
                    <a:pt x="36" y="84"/>
                  </a:lnTo>
                  <a:lnTo>
                    <a:pt x="36" y="84"/>
                  </a:lnTo>
                  <a:lnTo>
                    <a:pt x="36" y="82"/>
                  </a:lnTo>
                  <a:lnTo>
                    <a:pt x="38" y="80"/>
                  </a:lnTo>
                  <a:lnTo>
                    <a:pt x="42" y="76"/>
                  </a:lnTo>
                  <a:lnTo>
                    <a:pt x="42" y="74"/>
                  </a:lnTo>
                  <a:lnTo>
                    <a:pt x="44" y="74"/>
                  </a:lnTo>
                  <a:lnTo>
                    <a:pt x="44" y="74"/>
                  </a:lnTo>
                  <a:lnTo>
                    <a:pt x="46" y="74"/>
                  </a:lnTo>
                  <a:lnTo>
                    <a:pt x="48" y="72"/>
                  </a:lnTo>
                  <a:lnTo>
                    <a:pt x="50" y="70"/>
                  </a:lnTo>
                  <a:lnTo>
                    <a:pt x="54" y="70"/>
                  </a:lnTo>
                  <a:lnTo>
                    <a:pt x="60" y="68"/>
                  </a:lnTo>
                  <a:lnTo>
                    <a:pt x="62" y="68"/>
                  </a:lnTo>
                  <a:lnTo>
                    <a:pt x="70" y="70"/>
                  </a:lnTo>
                  <a:lnTo>
                    <a:pt x="76" y="70"/>
                  </a:lnTo>
                  <a:lnTo>
                    <a:pt x="80" y="72"/>
                  </a:lnTo>
                  <a:lnTo>
                    <a:pt x="82" y="72"/>
                  </a:lnTo>
                  <a:lnTo>
                    <a:pt x="86" y="72"/>
                  </a:lnTo>
                  <a:lnTo>
                    <a:pt x="92" y="72"/>
                  </a:lnTo>
                  <a:lnTo>
                    <a:pt x="98" y="72"/>
                  </a:lnTo>
                  <a:lnTo>
                    <a:pt x="98" y="70"/>
                  </a:lnTo>
                  <a:lnTo>
                    <a:pt x="96" y="64"/>
                  </a:lnTo>
                  <a:lnTo>
                    <a:pt x="94" y="62"/>
                  </a:lnTo>
                  <a:lnTo>
                    <a:pt x="94" y="60"/>
                  </a:lnTo>
                  <a:lnTo>
                    <a:pt x="92" y="56"/>
                  </a:lnTo>
                  <a:lnTo>
                    <a:pt x="90" y="54"/>
                  </a:lnTo>
                  <a:lnTo>
                    <a:pt x="90" y="54"/>
                  </a:lnTo>
                  <a:lnTo>
                    <a:pt x="88" y="54"/>
                  </a:lnTo>
                  <a:lnTo>
                    <a:pt x="86" y="52"/>
                  </a:lnTo>
                  <a:lnTo>
                    <a:pt x="84" y="50"/>
                  </a:lnTo>
                  <a:lnTo>
                    <a:pt x="82" y="50"/>
                  </a:lnTo>
                  <a:lnTo>
                    <a:pt x="82" y="48"/>
                  </a:lnTo>
                  <a:lnTo>
                    <a:pt x="82" y="48"/>
                  </a:lnTo>
                  <a:lnTo>
                    <a:pt x="80" y="46"/>
                  </a:lnTo>
                  <a:lnTo>
                    <a:pt x="80" y="44"/>
                  </a:lnTo>
                  <a:lnTo>
                    <a:pt x="80" y="42"/>
                  </a:lnTo>
                  <a:lnTo>
                    <a:pt x="80" y="38"/>
                  </a:lnTo>
                  <a:lnTo>
                    <a:pt x="80" y="36"/>
                  </a:lnTo>
                  <a:lnTo>
                    <a:pt x="74" y="34"/>
                  </a:lnTo>
                  <a:lnTo>
                    <a:pt x="72" y="30"/>
                  </a:lnTo>
                  <a:lnTo>
                    <a:pt x="70" y="30"/>
                  </a:lnTo>
                  <a:lnTo>
                    <a:pt x="70" y="28"/>
                  </a:lnTo>
                  <a:lnTo>
                    <a:pt x="68" y="26"/>
                  </a:lnTo>
                  <a:lnTo>
                    <a:pt x="66" y="24"/>
                  </a:lnTo>
                  <a:lnTo>
                    <a:pt x="64" y="20"/>
                  </a:lnTo>
                  <a:lnTo>
                    <a:pt x="62" y="18"/>
                  </a:lnTo>
                  <a:lnTo>
                    <a:pt x="60" y="16"/>
                  </a:lnTo>
                  <a:lnTo>
                    <a:pt x="60" y="14"/>
                  </a:lnTo>
                  <a:lnTo>
                    <a:pt x="58" y="12"/>
                  </a:lnTo>
                  <a:lnTo>
                    <a:pt x="58" y="12"/>
                  </a:lnTo>
                  <a:lnTo>
                    <a:pt x="56" y="12"/>
                  </a:lnTo>
                  <a:lnTo>
                    <a:pt x="56" y="10"/>
                  </a:lnTo>
                  <a:lnTo>
                    <a:pt x="52" y="10"/>
                  </a:lnTo>
                  <a:lnTo>
                    <a:pt x="50" y="10"/>
                  </a:lnTo>
                  <a:lnTo>
                    <a:pt x="48" y="8"/>
                  </a:lnTo>
                  <a:lnTo>
                    <a:pt x="48" y="8"/>
                  </a:lnTo>
                  <a:lnTo>
                    <a:pt x="46" y="8"/>
                  </a:lnTo>
                  <a:lnTo>
                    <a:pt x="46" y="6"/>
                  </a:lnTo>
                  <a:lnTo>
                    <a:pt x="44" y="4"/>
                  </a:lnTo>
                  <a:lnTo>
                    <a:pt x="44" y="2"/>
                  </a:lnTo>
                  <a:lnTo>
                    <a:pt x="42" y="2"/>
                  </a:lnTo>
                  <a:lnTo>
                    <a:pt x="42" y="0"/>
                  </a:lnTo>
                  <a:lnTo>
                    <a:pt x="42" y="0"/>
                  </a:lnTo>
                  <a:lnTo>
                    <a:pt x="42" y="0"/>
                  </a:lnTo>
                  <a:lnTo>
                    <a:pt x="40" y="0"/>
                  </a:lnTo>
                  <a:lnTo>
                    <a:pt x="40" y="0"/>
                  </a:lnTo>
                  <a:lnTo>
                    <a:pt x="38" y="0"/>
                  </a:lnTo>
                  <a:lnTo>
                    <a:pt x="36" y="0"/>
                  </a:lnTo>
                  <a:lnTo>
                    <a:pt x="34" y="0"/>
                  </a:lnTo>
                  <a:lnTo>
                    <a:pt x="30" y="2"/>
                  </a:lnTo>
                  <a:lnTo>
                    <a:pt x="28" y="2"/>
                  </a:lnTo>
                  <a:lnTo>
                    <a:pt x="26" y="4"/>
                  </a:lnTo>
                  <a:lnTo>
                    <a:pt x="22" y="10"/>
                  </a:lnTo>
                  <a:lnTo>
                    <a:pt x="18" y="14"/>
                  </a:lnTo>
                  <a:lnTo>
                    <a:pt x="16" y="18"/>
                  </a:lnTo>
                  <a:lnTo>
                    <a:pt x="12" y="20"/>
                  </a:lnTo>
                  <a:lnTo>
                    <a:pt x="10" y="22"/>
                  </a:lnTo>
                  <a:lnTo>
                    <a:pt x="10" y="24"/>
                  </a:lnTo>
                  <a:lnTo>
                    <a:pt x="8" y="24"/>
                  </a:lnTo>
                  <a:lnTo>
                    <a:pt x="8" y="24"/>
                  </a:lnTo>
                  <a:lnTo>
                    <a:pt x="4" y="26"/>
                  </a:lnTo>
                  <a:lnTo>
                    <a:pt x="2" y="26"/>
                  </a:lnTo>
                  <a:lnTo>
                    <a:pt x="0" y="26"/>
                  </a:lnTo>
                  <a:lnTo>
                    <a:pt x="0" y="26"/>
                  </a:lnTo>
                  <a:lnTo>
                    <a:pt x="0" y="28"/>
                  </a:lnTo>
                  <a:lnTo>
                    <a:pt x="0" y="28"/>
                  </a:lnTo>
                  <a:lnTo>
                    <a:pt x="0" y="28"/>
                  </a:lnTo>
                  <a:lnTo>
                    <a:pt x="0" y="28"/>
                  </a:lnTo>
                  <a:lnTo>
                    <a:pt x="0" y="30"/>
                  </a:lnTo>
                  <a:lnTo>
                    <a:pt x="0" y="30"/>
                  </a:lnTo>
                  <a:lnTo>
                    <a:pt x="2" y="30"/>
                  </a:lnTo>
                  <a:lnTo>
                    <a:pt x="2" y="30"/>
                  </a:lnTo>
                  <a:lnTo>
                    <a:pt x="4" y="30"/>
                  </a:lnTo>
                  <a:lnTo>
                    <a:pt x="8" y="30"/>
                  </a:lnTo>
                  <a:lnTo>
                    <a:pt x="10" y="32"/>
                  </a:lnTo>
                  <a:lnTo>
                    <a:pt x="10" y="32"/>
                  </a:lnTo>
                  <a:lnTo>
                    <a:pt x="12" y="32"/>
                  </a:lnTo>
                  <a:lnTo>
                    <a:pt x="12" y="34"/>
                  </a:lnTo>
                  <a:lnTo>
                    <a:pt x="14" y="36"/>
                  </a:lnTo>
                  <a:lnTo>
                    <a:pt x="16" y="36"/>
                  </a:lnTo>
                  <a:lnTo>
                    <a:pt x="18" y="40"/>
                  </a:lnTo>
                  <a:lnTo>
                    <a:pt x="20" y="42"/>
                  </a:lnTo>
                  <a:lnTo>
                    <a:pt x="22" y="44"/>
                  </a:lnTo>
                  <a:lnTo>
                    <a:pt x="22" y="46"/>
                  </a:lnTo>
                  <a:lnTo>
                    <a:pt x="24" y="46"/>
                  </a:lnTo>
                  <a:lnTo>
                    <a:pt x="26" y="48"/>
                  </a:lnTo>
                  <a:lnTo>
                    <a:pt x="26" y="48"/>
                  </a:lnTo>
                  <a:lnTo>
                    <a:pt x="28" y="50"/>
                  </a:lnTo>
                  <a:lnTo>
                    <a:pt x="28" y="50"/>
                  </a:lnTo>
                  <a:lnTo>
                    <a:pt x="28" y="50"/>
                  </a:lnTo>
                  <a:lnTo>
                    <a:pt x="28" y="50"/>
                  </a:lnTo>
                  <a:lnTo>
                    <a:pt x="26" y="52"/>
                  </a:lnTo>
                  <a:lnTo>
                    <a:pt x="26" y="52"/>
                  </a:lnTo>
                  <a:lnTo>
                    <a:pt x="24" y="52"/>
                  </a:lnTo>
                  <a:lnTo>
                    <a:pt x="24" y="54"/>
                  </a:lnTo>
                  <a:lnTo>
                    <a:pt x="20" y="54"/>
                  </a:lnTo>
                  <a:lnTo>
                    <a:pt x="20" y="56"/>
                  </a:lnTo>
                  <a:lnTo>
                    <a:pt x="18" y="56"/>
                  </a:lnTo>
                  <a:lnTo>
                    <a:pt x="18" y="56"/>
                  </a:lnTo>
                  <a:lnTo>
                    <a:pt x="18" y="58"/>
                  </a:lnTo>
                  <a:lnTo>
                    <a:pt x="18" y="60"/>
                  </a:lnTo>
                  <a:lnTo>
                    <a:pt x="18" y="62"/>
                  </a:lnTo>
                  <a:lnTo>
                    <a:pt x="18" y="64"/>
                  </a:lnTo>
                  <a:lnTo>
                    <a:pt x="18" y="6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8" name="Freeform 366">
              <a:extLst>
                <a:ext uri="{FF2B5EF4-FFF2-40B4-BE49-F238E27FC236}">
                  <a16:creationId xmlns:a16="http://schemas.microsoft.com/office/drawing/2014/main" id="{EDDB9BD6-4376-4CF1-A060-B82C463A4D62}"/>
                </a:ext>
              </a:extLst>
            </p:cNvPr>
            <p:cNvSpPr>
              <a:spLocks/>
            </p:cNvSpPr>
            <p:nvPr/>
          </p:nvSpPr>
          <p:spPr bwMode="auto">
            <a:xfrm>
              <a:off x="3825800" y="4168158"/>
              <a:ext cx="169743" cy="145494"/>
            </a:xfrm>
            <a:custGeom>
              <a:avLst/>
              <a:gdLst>
                <a:gd name="T0" fmla="*/ 16 w 98"/>
                <a:gd name="T1" fmla="*/ 68 h 84"/>
                <a:gd name="T2" fmla="*/ 16 w 98"/>
                <a:gd name="T3" fmla="*/ 76 h 84"/>
                <a:gd name="T4" fmla="*/ 18 w 98"/>
                <a:gd name="T5" fmla="*/ 78 h 84"/>
                <a:gd name="T6" fmla="*/ 20 w 98"/>
                <a:gd name="T7" fmla="*/ 78 h 84"/>
                <a:gd name="T8" fmla="*/ 24 w 98"/>
                <a:gd name="T9" fmla="*/ 78 h 84"/>
                <a:gd name="T10" fmla="*/ 28 w 98"/>
                <a:gd name="T11" fmla="*/ 78 h 84"/>
                <a:gd name="T12" fmla="*/ 32 w 98"/>
                <a:gd name="T13" fmla="*/ 78 h 84"/>
                <a:gd name="T14" fmla="*/ 36 w 98"/>
                <a:gd name="T15" fmla="*/ 84 h 84"/>
                <a:gd name="T16" fmla="*/ 38 w 98"/>
                <a:gd name="T17" fmla="*/ 80 h 84"/>
                <a:gd name="T18" fmla="*/ 44 w 98"/>
                <a:gd name="T19" fmla="*/ 74 h 84"/>
                <a:gd name="T20" fmla="*/ 48 w 98"/>
                <a:gd name="T21" fmla="*/ 72 h 84"/>
                <a:gd name="T22" fmla="*/ 60 w 98"/>
                <a:gd name="T23" fmla="*/ 68 h 84"/>
                <a:gd name="T24" fmla="*/ 76 w 98"/>
                <a:gd name="T25" fmla="*/ 70 h 84"/>
                <a:gd name="T26" fmla="*/ 86 w 98"/>
                <a:gd name="T27" fmla="*/ 72 h 84"/>
                <a:gd name="T28" fmla="*/ 98 w 98"/>
                <a:gd name="T29" fmla="*/ 70 h 84"/>
                <a:gd name="T30" fmla="*/ 94 w 98"/>
                <a:gd name="T31" fmla="*/ 60 h 84"/>
                <a:gd name="T32" fmla="*/ 90 w 98"/>
                <a:gd name="T33" fmla="*/ 54 h 84"/>
                <a:gd name="T34" fmla="*/ 84 w 98"/>
                <a:gd name="T35" fmla="*/ 50 h 84"/>
                <a:gd name="T36" fmla="*/ 82 w 98"/>
                <a:gd name="T37" fmla="*/ 48 h 84"/>
                <a:gd name="T38" fmla="*/ 80 w 98"/>
                <a:gd name="T39" fmla="*/ 42 h 84"/>
                <a:gd name="T40" fmla="*/ 74 w 98"/>
                <a:gd name="T41" fmla="*/ 34 h 84"/>
                <a:gd name="T42" fmla="*/ 70 w 98"/>
                <a:gd name="T43" fmla="*/ 28 h 84"/>
                <a:gd name="T44" fmla="*/ 64 w 98"/>
                <a:gd name="T45" fmla="*/ 20 h 84"/>
                <a:gd name="T46" fmla="*/ 60 w 98"/>
                <a:gd name="T47" fmla="*/ 14 h 84"/>
                <a:gd name="T48" fmla="*/ 56 w 98"/>
                <a:gd name="T49" fmla="*/ 12 h 84"/>
                <a:gd name="T50" fmla="*/ 50 w 98"/>
                <a:gd name="T51" fmla="*/ 10 h 84"/>
                <a:gd name="T52" fmla="*/ 46 w 98"/>
                <a:gd name="T53" fmla="*/ 8 h 84"/>
                <a:gd name="T54" fmla="*/ 44 w 98"/>
                <a:gd name="T55" fmla="*/ 2 h 84"/>
                <a:gd name="T56" fmla="*/ 42 w 98"/>
                <a:gd name="T57" fmla="*/ 0 h 84"/>
                <a:gd name="T58" fmla="*/ 40 w 98"/>
                <a:gd name="T59" fmla="*/ 0 h 84"/>
                <a:gd name="T60" fmla="*/ 34 w 98"/>
                <a:gd name="T61" fmla="*/ 0 h 84"/>
                <a:gd name="T62" fmla="*/ 26 w 98"/>
                <a:gd name="T63" fmla="*/ 4 h 84"/>
                <a:gd name="T64" fmla="*/ 16 w 98"/>
                <a:gd name="T65" fmla="*/ 18 h 84"/>
                <a:gd name="T66" fmla="*/ 10 w 98"/>
                <a:gd name="T67" fmla="*/ 24 h 84"/>
                <a:gd name="T68" fmla="*/ 4 w 98"/>
                <a:gd name="T69" fmla="*/ 26 h 84"/>
                <a:gd name="T70" fmla="*/ 0 w 98"/>
                <a:gd name="T71" fmla="*/ 26 h 84"/>
                <a:gd name="T72" fmla="*/ 0 w 98"/>
                <a:gd name="T73" fmla="*/ 28 h 84"/>
                <a:gd name="T74" fmla="*/ 0 w 98"/>
                <a:gd name="T75" fmla="*/ 30 h 84"/>
                <a:gd name="T76" fmla="*/ 4 w 98"/>
                <a:gd name="T77" fmla="*/ 30 h 84"/>
                <a:gd name="T78" fmla="*/ 10 w 98"/>
                <a:gd name="T79" fmla="*/ 32 h 84"/>
                <a:gd name="T80" fmla="*/ 14 w 98"/>
                <a:gd name="T81" fmla="*/ 36 h 84"/>
                <a:gd name="T82" fmla="*/ 20 w 98"/>
                <a:gd name="T83" fmla="*/ 42 h 84"/>
                <a:gd name="T84" fmla="*/ 24 w 98"/>
                <a:gd name="T85" fmla="*/ 46 h 84"/>
                <a:gd name="T86" fmla="*/ 28 w 98"/>
                <a:gd name="T87" fmla="*/ 50 h 84"/>
                <a:gd name="T88" fmla="*/ 28 w 98"/>
                <a:gd name="T89" fmla="*/ 50 h 84"/>
                <a:gd name="T90" fmla="*/ 24 w 98"/>
                <a:gd name="T91" fmla="*/ 52 h 84"/>
                <a:gd name="T92" fmla="*/ 20 w 98"/>
                <a:gd name="T93" fmla="*/ 56 h 84"/>
                <a:gd name="T94" fmla="*/ 18 w 98"/>
                <a:gd name="T95" fmla="*/ 58 h 84"/>
                <a:gd name="T96" fmla="*/ 18 w 98"/>
                <a:gd name="T97" fmla="*/ 6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 h="84">
                  <a:moveTo>
                    <a:pt x="18" y="66"/>
                  </a:moveTo>
                  <a:lnTo>
                    <a:pt x="18" y="66"/>
                  </a:lnTo>
                  <a:lnTo>
                    <a:pt x="16" y="68"/>
                  </a:lnTo>
                  <a:lnTo>
                    <a:pt x="16" y="72"/>
                  </a:lnTo>
                  <a:lnTo>
                    <a:pt x="16" y="74"/>
                  </a:lnTo>
                  <a:lnTo>
                    <a:pt x="16" y="76"/>
                  </a:lnTo>
                  <a:lnTo>
                    <a:pt x="16" y="76"/>
                  </a:lnTo>
                  <a:lnTo>
                    <a:pt x="18" y="78"/>
                  </a:lnTo>
                  <a:lnTo>
                    <a:pt x="18" y="78"/>
                  </a:lnTo>
                  <a:lnTo>
                    <a:pt x="18" y="78"/>
                  </a:lnTo>
                  <a:lnTo>
                    <a:pt x="18" y="78"/>
                  </a:lnTo>
                  <a:lnTo>
                    <a:pt x="20" y="78"/>
                  </a:lnTo>
                  <a:lnTo>
                    <a:pt x="20" y="78"/>
                  </a:lnTo>
                  <a:lnTo>
                    <a:pt x="22" y="78"/>
                  </a:lnTo>
                  <a:lnTo>
                    <a:pt x="24" y="78"/>
                  </a:lnTo>
                  <a:lnTo>
                    <a:pt x="26" y="78"/>
                  </a:lnTo>
                  <a:lnTo>
                    <a:pt x="28" y="78"/>
                  </a:lnTo>
                  <a:lnTo>
                    <a:pt x="28" y="78"/>
                  </a:lnTo>
                  <a:lnTo>
                    <a:pt x="30" y="78"/>
                  </a:lnTo>
                  <a:lnTo>
                    <a:pt x="30" y="78"/>
                  </a:lnTo>
                  <a:lnTo>
                    <a:pt x="32" y="78"/>
                  </a:lnTo>
                  <a:lnTo>
                    <a:pt x="32" y="78"/>
                  </a:lnTo>
                  <a:lnTo>
                    <a:pt x="34" y="82"/>
                  </a:lnTo>
                  <a:lnTo>
                    <a:pt x="36" y="84"/>
                  </a:lnTo>
                  <a:lnTo>
                    <a:pt x="36" y="84"/>
                  </a:lnTo>
                  <a:lnTo>
                    <a:pt x="36" y="82"/>
                  </a:lnTo>
                  <a:lnTo>
                    <a:pt x="38" y="80"/>
                  </a:lnTo>
                  <a:lnTo>
                    <a:pt x="42" y="76"/>
                  </a:lnTo>
                  <a:lnTo>
                    <a:pt x="42" y="74"/>
                  </a:lnTo>
                  <a:lnTo>
                    <a:pt x="44" y="74"/>
                  </a:lnTo>
                  <a:lnTo>
                    <a:pt x="44" y="74"/>
                  </a:lnTo>
                  <a:lnTo>
                    <a:pt x="46" y="74"/>
                  </a:lnTo>
                  <a:lnTo>
                    <a:pt x="48" y="72"/>
                  </a:lnTo>
                  <a:lnTo>
                    <a:pt x="50" y="70"/>
                  </a:lnTo>
                  <a:lnTo>
                    <a:pt x="54" y="70"/>
                  </a:lnTo>
                  <a:lnTo>
                    <a:pt x="60" y="68"/>
                  </a:lnTo>
                  <a:lnTo>
                    <a:pt x="62" y="68"/>
                  </a:lnTo>
                  <a:lnTo>
                    <a:pt x="70" y="70"/>
                  </a:lnTo>
                  <a:lnTo>
                    <a:pt x="76" y="70"/>
                  </a:lnTo>
                  <a:lnTo>
                    <a:pt x="80" y="72"/>
                  </a:lnTo>
                  <a:lnTo>
                    <a:pt x="82" y="72"/>
                  </a:lnTo>
                  <a:lnTo>
                    <a:pt x="86" y="72"/>
                  </a:lnTo>
                  <a:lnTo>
                    <a:pt x="92" y="72"/>
                  </a:lnTo>
                  <a:lnTo>
                    <a:pt x="98" y="72"/>
                  </a:lnTo>
                  <a:lnTo>
                    <a:pt x="98" y="70"/>
                  </a:lnTo>
                  <a:lnTo>
                    <a:pt x="96" y="64"/>
                  </a:lnTo>
                  <a:lnTo>
                    <a:pt x="94" y="62"/>
                  </a:lnTo>
                  <a:lnTo>
                    <a:pt x="94" y="60"/>
                  </a:lnTo>
                  <a:lnTo>
                    <a:pt x="92" y="56"/>
                  </a:lnTo>
                  <a:lnTo>
                    <a:pt x="90" y="54"/>
                  </a:lnTo>
                  <a:lnTo>
                    <a:pt x="90" y="54"/>
                  </a:lnTo>
                  <a:lnTo>
                    <a:pt x="88" y="54"/>
                  </a:lnTo>
                  <a:lnTo>
                    <a:pt x="86" y="52"/>
                  </a:lnTo>
                  <a:lnTo>
                    <a:pt x="84" y="50"/>
                  </a:lnTo>
                  <a:lnTo>
                    <a:pt x="82" y="50"/>
                  </a:lnTo>
                  <a:lnTo>
                    <a:pt x="82" y="48"/>
                  </a:lnTo>
                  <a:lnTo>
                    <a:pt x="82" y="48"/>
                  </a:lnTo>
                  <a:lnTo>
                    <a:pt x="80" y="46"/>
                  </a:lnTo>
                  <a:lnTo>
                    <a:pt x="80" y="44"/>
                  </a:lnTo>
                  <a:lnTo>
                    <a:pt x="80" y="42"/>
                  </a:lnTo>
                  <a:lnTo>
                    <a:pt x="80" y="38"/>
                  </a:lnTo>
                  <a:lnTo>
                    <a:pt x="80" y="36"/>
                  </a:lnTo>
                  <a:lnTo>
                    <a:pt x="74" y="34"/>
                  </a:lnTo>
                  <a:lnTo>
                    <a:pt x="72" y="30"/>
                  </a:lnTo>
                  <a:lnTo>
                    <a:pt x="70" y="30"/>
                  </a:lnTo>
                  <a:lnTo>
                    <a:pt x="70" y="28"/>
                  </a:lnTo>
                  <a:lnTo>
                    <a:pt x="68" y="26"/>
                  </a:lnTo>
                  <a:lnTo>
                    <a:pt x="66" y="24"/>
                  </a:lnTo>
                  <a:lnTo>
                    <a:pt x="64" y="20"/>
                  </a:lnTo>
                  <a:lnTo>
                    <a:pt x="62" y="18"/>
                  </a:lnTo>
                  <a:lnTo>
                    <a:pt x="60" y="16"/>
                  </a:lnTo>
                  <a:lnTo>
                    <a:pt x="60" y="14"/>
                  </a:lnTo>
                  <a:lnTo>
                    <a:pt x="58" y="12"/>
                  </a:lnTo>
                  <a:lnTo>
                    <a:pt x="58" y="12"/>
                  </a:lnTo>
                  <a:lnTo>
                    <a:pt x="56" y="12"/>
                  </a:lnTo>
                  <a:lnTo>
                    <a:pt x="56" y="10"/>
                  </a:lnTo>
                  <a:lnTo>
                    <a:pt x="52" y="10"/>
                  </a:lnTo>
                  <a:lnTo>
                    <a:pt x="50" y="10"/>
                  </a:lnTo>
                  <a:lnTo>
                    <a:pt x="48" y="8"/>
                  </a:lnTo>
                  <a:lnTo>
                    <a:pt x="48" y="8"/>
                  </a:lnTo>
                  <a:lnTo>
                    <a:pt x="46" y="8"/>
                  </a:lnTo>
                  <a:lnTo>
                    <a:pt x="46" y="6"/>
                  </a:lnTo>
                  <a:lnTo>
                    <a:pt x="44" y="4"/>
                  </a:lnTo>
                  <a:lnTo>
                    <a:pt x="44" y="2"/>
                  </a:lnTo>
                  <a:lnTo>
                    <a:pt x="42" y="2"/>
                  </a:lnTo>
                  <a:lnTo>
                    <a:pt x="42" y="0"/>
                  </a:lnTo>
                  <a:lnTo>
                    <a:pt x="42" y="0"/>
                  </a:lnTo>
                  <a:lnTo>
                    <a:pt x="42" y="0"/>
                  </a:lnTo>
                  <a:lnTo>
                    <a:pt x="40" y="0"/>
                  </a:lnTo>
                  <a:lnTo>
                    <a:pt x="40" y="0"/>
                  </a:lnTo>
                  <a:lnTo>
                    <a:pt x="38" y="0"/>
                  </a:lnTo>
                  <a:lnTo>
                    <a:pt x="36" y="0"/>
                  </a:lnTo>
                  <a:lnTo>
                    <a:pt x="34" y="0"/>
                  </a:lnTo>
                  <a:lnTo>
                    <a:pt x="30" y="2"/>
                  </a:lnTo>
                  <a:lnTo>
                    <a:pt x="28" y="2"/>
                  </a:lnTo>
                  <a:lnTo>
                    <a:pt x="26" y="4"/>
                  </a:lnTo>
                  <a:lnTo>
                    <a:pt x="22" y="10"/>
                  </a:lnTo>
                  <a:lnTo>
                    <a:pt x="18" y="14"/>
                  </a:lnTo>
                  <a:lnTo>
                    <a:pt x="16" y="18"/>
                  </a:lnTo>
                  <a:lnTo>
                    <a:pt x="12" y="20"/>
                  </a:lnTo>
                  <a:lnTo>
                    <a:pt x="10" y="22"/>
                  </a:lnTo>
                  <a:lnTo>
                    <a:pt x="10" y="24"/>
                  </a:lnTo>
                  <a:lnTo>
                    <a:pt x="8" y="24"/>
                  </a:lnTo>
                  <a:lnTo>
                    <a:pt x="8" y="24"/>
                  </a:lnTo>
                  <a:lnTo>
                    <a:pt x="4" y="26"/>
                  </a:lnTo>
                  <a:lnTo>
                    <a:pt x="2" y="26"/>
                  </a:lnTo>
                  <a:lnTo>
                    <a:pt x="0" y="26"/>
                  </a:lnTo>
                  <a:lnTo>
                    <a:pt x="0" y="26"/>
                  </a:lnTo>
                  <a:lnTo>
                    <a:pt x="0" y="28"/>
                  </a:lnTo>
                  <a:lnTo>
                    <a:pt x="0" y="28"/>
                  </a:lnTo>
                  <a:lnTo>
                    <a:pt x="0" y="28"/>
                  </a:lnTo>
                  <a:lnTo>
                    <a:pt x="0" y="28"/>
                  </a:lnTo>
                  <a:lnTo>
                    <a:pt x="0" y="30"/>
                  </a:lnTo>
                  <a:lnTo>
                    <a:pt x="0" y="30"/>
                  </a:lnTo>
                  <a:lnTo>
                    <a:pt x="2" y="30"/>
                  </a:lnTo>
                  <a:lnTo>
                    <a:pt x="2" y="30"/>
                  </a:lnTo>
                  <a:lnTo>
                    <a:pt x="4" y="30"/>
                  </a:lnTo>
                  <a:lnTo>
                    <a:pt x="8" y="30"/>
                  </a:lnTo>
                  <a:lnTo>
                    <a:pt x="10" y="32"/>
                  </a:lnTo>
                  <a:lnTo>
                    <a:pt x="10" y="32"/>
                  </a:lnTo>
                  <a:lnTo>
                    <a:pt x="12" y="32"/>
                  </a:lnTo>
                  <a:lnTo>
                    <a:pt x="12" y="34"/>
                  </a:lnTo>
                  <a:lnTo>
                    <a:pt x="14" y="36"/>
                  </a:lnTo>
                  <a:lnTo>
                    <a:pt x="16" y="36"/>
                  </a:lnTo>
                  <a:lnTo>
                    <a:pt x="18" y="40"/>
                  </a:lnTo>
                  <a:lnTo>
                    <a:pt x="20" y="42"/>
                  </a:lnTo>
                  <a:lnTo>
                    <a:pt x="22" y="44"/>
                  </a:lnTo>
                  <a:lnTo>
                    <a:pt x="22" y="46"/>
                  </a:lnTo>
                  <a:lnTo>
                    <a:pt x="24" y="46"/>
                  </a:lnTo>
                  <a:lnTo>
                    <a:pt x="26" y="48"/>
                  </a:lnTo>
                  <a:lnTo>
                    <a:pt x="26" y="48"/>
                  </a:lnTo>
                  <a:lnTo>
                    <a:pt x="28" y="50"/>
                  </a:lnTo>
                  <a:lnTo>
                    <a:pt x="28" y="50"/>
                  </a:lnTo>
                  <a:lnTo>
                    <a:pt x="28" y="50"/>
                  </a:lnTo>
                  <a:lnTo>
                    <a:pt x="28" y="50"/>
                  </a:lnTo>
                  <a:lnTo>
                    <a:pt x="26" y="52"/>
                  </a:lnTo>
                  <a:lnTo>
                    <a:pt x="26" y="52"/>
                  </a:lnTo>
                  <a:lnTo>
                    <a:pt x="24" y="52"/>
                  </a:lnTo>
                  <a:lnTo>
                    <a:pt x="24" y="54"/>
                  </a:lnTo>
                  <a:lnTo>
                    <a:pt x="20" y="54"/>
                  </a:lnTo>
                  <a:lnTo>
                    <a:pt x="20" y="56"/>
                  </a:lnTo>
                  <a:lnTo>
                    <a:pt x="18" y="56"/>
                  </a:lnTo>
                  <a:lnTo>
                    <a:pt x="18" y="56"/>
                  </a:lnTo>
                  <a:lnTo>
                    <a:pt x="18" y="58"/>
                  </a:lnTo>
                  <a:lnTo>
                    <a:pt x="18" y="60"/>
                  </a:lnTo>
                  <a:lnTo>
                    <a:pt x="18" y="62"/>
                  </a:lnTo>
                  <a:lnTo>
                    <a:pt x="18" y="64"/>
                  </a:lnTo>
                  <a:lnTo>
                    <a:pt x="18" y="6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9" name="Freeform 367">
              <a:extLst>
                <a:ext uri="{FF2B5EF4-FFF2-40B4-BE49-F238E27FC236}">
                  <a16:creationId xmlns:a16="http://schemas.microsoft.com/office/drawing/2014/main" id="{FC348FBD-E25F-4E4E-8198-BA67B7DDD25D}"/>
                </a:ext>
              </a:extLst>
            </p:cNvPr>
            <p:cNvSpPr>
              <a:spLocks/>
            </p:cNvSpPr>
            <p:nvPr/>
          </p:nvSpPr>
          <p:spPr bwMode="auto">
            <a:xfrm>
              <a:off x="3825800" y="4168158"/>
              <a:ext cx="169743" cy="145494"/>
            </a:xfrm>
            <a:custGeom>
              <a:avLst/>
              <a:gdLst>
                <a:gd name="T0" fmla="*/ 16 w 98"/>
                <a:gd name="T1" fmla="*/ 68 h 84"/>
                <a:gd name="T2" fmla="*/ 16 w 98"/>
                <a:gd name="T3" fmla="*/ 76 h 84"/>
                <a:gd name="T4" fmla="*/ 18 w 98"/>
                <a:gd name="T5" fmla="*/ 78 h 84"/>
                <a:gd name="T6" fmla="*/ 20 w 98"/>
                <a:gd name="T7" fmla="*/ 78 h 84"/>
                <a:gd name="T8" fmla="*/ 24 w 98"/>
                <a:gd name="T9" fmla="*/ 78 h 84"/>
                <a:gd name="T10" fmla="*/ 28 w 98"/>
                <a:gd name="T11" fmla="*/ 78 h 84"/>
                <a:gd name="T12" fmla="*/ 32 w 98"/>
                <a:gd name="T13" fmla="*/ 78 h 84"/>
                <a:gd name="T14" fmla="*/ 36 w 98"/>
                <a:gd name="T15" fmla="*/ 84 h 84"/>
                <a:gd name="T16" fmla="*/ 38 w 98"/>
                <a:gd name="T17" fmla="*/ 80 h 84"/>
                <a:gd name="T18" fmla="*/ 44 w 98"/>
                <a:gd name="T19" fmla="*/ 74 h 84"/>
                <a:gd name="T20" fmla="*/ 48 w 98"/>
                <a:gd name="T21" fmla="*/ 72 h 84"/>
                <a:gd name="T22" fmla="*/ 60 w 98"/>
                <a:gd name="T23" fmla="*/ 68 h 84"/>
                <a:gd name="T24" fmla="*/ 76 w 98"/>
                <a:gd name="T25" fmla="*/ 70 h 84"/>
                <a:gd name="T26" fmla="*/ 86 w 98"/>
                <a:gd name="T27" fmla="*/ 72 h 84"/>
                <a:gd name="T28" fmla="*/ 98 w 98"/>
                <a:gd name="T29" fmla="*/ 70 h 84"/>
                <a:gd name="T30" fmla="*/ 94 w 98"/>
                <a:gd name="T31" fmla="*/ 60 h 84"/>
                <a:gd name="T32" fmla="*/ 90 w 98"/>
                <a:gd name="T33" fmla="*/ 54 h 84"/>
                <a:gd name="T34" fmla="*/ 84 w 98"/>
                <a:gd name="T35" fmla="*/ 50 h 84"/>
                <a:gd name="T36" fmla="*/ 82 w 98"/>
                <a:gd name="T37" fmla="*/ 48 h 84"/>
                <a:gd name="T38" fmla="*/ 80 w 98"/>
                <a:gd name="T39" fmla="*/ 42 h 84"/>
                <a:gd name="T40" fmla="*/ 74 w 98"/>
                <a:gd name="T41" fmla="*/ 34 h 84"/>
                <a:gd name="T42" fmla="*/ 70 w 98"/>
                <a:gd name="T43" fmla="*/ 28 h 84"/>
                <a:gd name="T44" fmla="*/ 64 w 98"/>
                <a:gd name="T45" fmla="*/ 20 h 84"/>
                <a:gd name="T46" fmla="*/ 60 w 98"/>
                <a:gd name="T47" fmla="*/ 14 h 84"/>
                <a:gd name="T48" fmla="*/ 56 w 98"/>
                <a:gd name="T49" fmla="*/ 12 h 84"/>
                <a:gd name="T50" fmla="*/ 50 w 98"/>
                <a:gd name="T51" fmla="*/ 10 h 84"/>
                <a:gd name="T52" fmla="*/ 46 w 98"/>
                <a:gd name="T53" fmla="*/ 8 h 84"/>
                <a:gd name="T54" fmla="*/ 44 w 98"/>
                <a:gd name="T55" fmla="*/ 2 h 84"/>
                <a:gd name="T56" fmla="*/ 42 w 98"/>
                <a:gd name="T57" fmla="*/ 0 h 84"/>
                <a:gd name="T58" fmla="*/ 40 w 98"/>
                <a:gd name="T59" fmla="*/ 0 h 84"/>
                <a:gd name="T60" fmla="*/ 34 w 98"/>
                <a:gd name="T61" fmla="*/ 0 h 84"/>
                <a:gd name="T62" fmla="*/ 26 w 98"/>
                <a:gd name="T63" fmla="*/ 4 h 84"/>
                <a:gd name="T64" fmla="*/ 16 w 98"/>
                <a:gd name="T65" fmla="*/ 18 h 84"/>
                <a:gd name="T66" fmla="*/ 10 w 98"/>
                <a:gd name="T67" fmla="*/ 24 h 84"/>
                <a:gd name="T68" fmla="*/ 4 w 98"/>
                <a:gd name="T69" fmla="*/ 26 h 84"/>
                <a:gd name="T70" fmla="*/ 0 w 98"/>
                <a:gd name="T71" fmla="*/ 26 h 84"/>
                <a:gd name="T72" fmla="*/ 0 w 98"/>
                <a:gd name="T73" fmla="*/ 28 h 84"/>
                <a:gd name="T74" fmla="*/ 0 w 98"/>
                <a:gd name="T75" fmla="*/ 30 h 84"/>
                <a:gd name="T76" fmla="*/ 4 w 98"/>
                <a:gd name="T77" fmla="*/ 30 h 84"/>
                <a:gd name="T78" fmla="*/ 10 w 98"/>
                <a:gd name="T79" fmla="*/ 32 h 84"/>
                <a:gd name="T80" fmla="*/ 14 w 98"/>
                <a:gd name="T81" fmla="*/ 36 h 84"/>
                <a:gd name="T82" fmla="*/ 20 w 98"/>
                <a:gd name="T83" fmla="*/ 42 h 84"/>
                <a:gd name="T84" fmla="*/ 24 w 98"/>
                <a:gd name="T85" fmla="*/ 46 h 84"/>
                <a:gd name="T86" fmla="*/ 28 w 98"/>
                <a:gd name="T87" fmla="*/ 50 h 84"/>
                <a:gd name="T88" fmla="*/ 28 w 98"/>
                <a:gd name="T89" fmla="*/ 50 h 84"/>
                <a:gd name="T90" fmla="*/ 24 w 98"/>
                <a:gd name="T91" fmla="*/ 52 h 84"/>
                <a:gd name="T92" fmla="*/ 20 w 98"/>
                <a:gd name="T93" fmla="*/ 56 h 84"/>
                <a:gd name="T94" fmla="*/ 18 w 98"/>
                <a:gd name="T95" fmla="*/ 58 h 84"/>
                <a:gd name="T96" fmla="*/ 18 w 98"/>
                <a:gd name="T97" fmla="*/ 6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 h="84">
                  <a:moveTo>
                    <a:pt x="18" y="66"/>
                  </a:moveTo>
                  <a:lnTo>
                    <a:pt x="18" y="66"/>
                  </a:lnTo>
                  <a:lnTo>
                    <a:pt x="16" y="68"/>
                  </a:lnTo>
                  <a:lnTo>
                    <a:pt x="16" y="72"/>
                  </a:lnTo>
                  <a:lnTo>
                    <a:pt x="16" y="74"/>
                  </a:lnTo>
                  <a:lnTo>
                    <a:pt x="16" y="76"/>
                  </a:lnTo>
                  <a:lnTo>
                    <a:pt x="16" y="76"/>
                  </a:lnTo>
                  <a:lnTo>
                    <a:pt x="18" y="78"/>
                  </a:lnTo>
                  <a:lnTo>
                    <a:pt x="18" y="78"/>
                  </a:lnTo>
                  <a:lnTo>
                    <a:pt x="18" y="78"/>
                  </a:lnTo>
                  <a:lnTo>
                    <a:pt x="18" y="78"/>
                  </a:lnTo>
                  <a:lnTo>
                    <a:pt x="20" y="78"/>
                  </a:lnTo>
                  <a:lnTo>
                    <a:pt x="20" y="78"/>
                  </a:lnTo>
                  <a:lnTo>
                    <a:pt x="22" y="78"/>
                  </a:lnTo>
                  <a:lnTo>
                    <a:pt x="24" y="78"/>
                  </a:lnTo>
                  <a:lnTo>
                    <a:pt x="26" y="78"/>
                  </a:lnTo>
                  <a:lnTo>
                    <a:pt x="28" y="78"/>
                  </a:lnTo>
                  <a:lnTo>
                    <a:pt x="28" y="78"/>
                  </a:lnTo>
                  <a:lnTo>
                    <a:pt x="30" y="78"/>
                  </a:lnTo>
                  <a:lnTo>
                    <a:pt x="30" y="78"/>
                  </a:lnTo>
                  <a:lnTo>
                    <a:pt x="32" y="78"/>
                  </a:lnTo>
                  <a:lnTo>
                    <a:pt x="32" y="78"/>
                  </a:lnTo>
                  <a:lnTo>
                    <a:pt x="34" y="82"/>
                  </a:lnTo>
                  <a:lnTo>
                    <a:pt x="36" y="84"/>
                  </a:lnTo>
                  <a:lnTo>
                    <a:pt x="36" y="84"/>
                  </a:lnTo>
                  <a:lnTo>
                    <a:pt x="36" y="82"/>
                  </a:lnTo>
                  <a:lnTo>
                    <a:pt x="38" y="80"/>
                  </a:lnTo>
                  <a:lnTo>
                    <a:pt x="42" y="76"/>
                  </a:lnTo>
                  <a:lnTo>
                    <a:pt x="42" y="74"/>
                  </a:lnTo>
                  <a:lnTo>
                    <a:pt x="44" y="74"/>
                  </a:lnTo>
                  <a:lnTo>
                    <a:pt x="44" y="74"/>
                  </a:lnTo>
                  <a:lnTo>
                    <a:pt x="46" y="74"/>
                  </a:lnTo>
                  <a:lnTo>
                    <a:pt x="48" y="72"/>
                  </a:lnTo>
                  <a:lnTo>
                    <a:pt x="50" y="70"/>
                  </a:lnTo>
                  <a:lnTo>
                    <a:pt x="54" y="70"/>
                  </a:lnTo>
                  <a:lnTo>
                    <a:pt x="60" y="68"/>
                  </a:lnTo>
                  <a:lnTo>
                    <a:pt x="62" y="68"/>
                  </a:lnTo>
                  <a:lnTo>
                    <a:pt x="70" y="70"/>
                  </a:lnTo>
                  <a:lnTo>
                    <a:pt x="76" y="70"/>
                  </a:lnTo>
                  <a:lnTo>
                    <a:pt x="80" y="72"/>
                  </a:lnTo>
                  <a:lnTo>
                    <a:pt x="82" y="72"/>
                  </a:lnTo>
                  <a:lnTo>
                    <a:pt x="86" y="72"/>
                  </a:lnTo>
                  <a:lnTo>
                    <a:pt x="92" y="72"/>
                  </a:lnTo>
                  <a:lnTo>
                    <a:pt x="98" y="72"/>
                  </a:lnTo>
                  <a:lnTo>
                    <a:pt x="98" y="70"/>
                  </a:lnTo>
                  <a:lnTo>
                    <a:pt x="96" y="64"/>
                  </a:lnTo>
                  <a:lnTo>
                    <a:pt x="94" y="62"/>
                  </a:lnTo>
                  <a:lnTo>
                    <a:pt x="94" y="60"/>
                  </a:lnTo>
                  <a:lnTo>
                    <a:pt x="92" y="56"/>
                  </a:lnTo>
                  <a:lnTo>
                    <a:pt x="90" y="54"/>
                  </a:lnTo>
                  <a:lnTo>
                    <a:pt x="90" y="54"/>
                  </a:lnTo>
                  <a:lnTo>
                    <a:pt x="88" y="54"/>
                  </a:lnTo>
                  <a:lnTo>
                    <a:pt x="86" y="52"/>
                  </a:lnTo>
                  <a:lnTo>
                    <a:pt x="84" y="50"/>
                  </a:lnTo>
                  <a:lnTo>
                    <a:pt x="82" y="50"/>
                  </a:lnTo>
                  <a:lnTo>
                    <a:pt x="82" y="48"/>
                  </a:lnTo>
                  <a:lnTo>
                    <a:pt x="82" y="48"/>
                  </a:lnTo>
                  <a:lnTo>
                    <a:pt x="80" y="46"/>
                  </a:lnTo>
                  <a:lnTo>
                    <a:pt x="80" y="44"/>
                  </a:lnTo>
                  <a:lnTo>
                    <a:pt x="80" y="42"/>
                  </a:lnTo>
                  <a:lnTo>
                    <a:pt x="80" y="38"/>
                  </a:lnTo>
                  <a:lnTo>
                    <a:pt x="80" y="36"/>
                  </a:lnTo>
                  <a:lnTo>
                    <a:pt x="74" y="34"/>
                  </a:lnTo>
                  <a:lnTo>
                    <a:pt x="72" y="30"/>
                  </a:lnTo>
                  <a:lnTo>
                    <a:pt x="70" y="30"/>
                  </a:lnTo>
                  <a:lnTo>
                    <a:pt x="70" y="28"/>
                  </a:lnTo>
                  <a:lnTo>
                    <a:pt x="68" y="26"/>
                  </a:lnTo>
                  <a:lnTo>
                    <a:pt x="66" y="24"/>
                  </a:lnTo>
                  <a:lnTo>
                    <a:pt x="64" y="20"/>
                  </a:lnTo>
                  <a:lnTo>
                    <a:pt x="62" y="18"/>
                  </a:lnTo>
                  <a:lnTo>
                    <a:pt x="60" y="16"/>
                  </a:lnTo>
                  <a:lnTo>
                    <a:pt x="60" y="14"/>
                  </a:lnTo>
                  <a:lnTo>
                    <a:pt x="58" y="12"/>
                  </a:lnTo>
                  <a:lnTo>
                    <a:pt x="58" y="12"/>
                  </a:lnTo>
                  <a:lnTo>
                    <a:pt x="56" y="12"/>
                  </a:lnTo>
                  <a:lnTo>
                    <a:pt x="56" y="10"/>
                  </a:lnTo>
                  <a:lnTo>
                    <a:pt x="52" y="10"/>
                  </a:lnTo>
                  <a:lnTo>
                    <a:pt x="50" y="10"/>
                  </a:lnTo>
                  <a:lnTo>
                    <a:pt x="48" y="8"/>
                  </a:lnTo>
                  <a:lnTo>
                    <a:pt x="48" y="8"/>
                  </a:lnTo>
                  <a:lnTo>
                    <a:pt x="46" y="8"/>
                  </a:lnTo>
                  <a:lnTo>
                    <a:pt x="46" y="6"/>
                  </a:lnTo>
                  <a:lnTo>
                    <a:pt x="44" y="4"/>
                  </a:lnTo>
                  <a:lnTo>
                    <a:pt x="44" y="2"/>
                  </a:lnTo>
                  <a:lnTo>
                    <a:pt x="42" y="2"/>
                  </a:lnTo>
                  <a:lnTo>
                    <a:pt x="42" y="0"/>
                  </a:lnTo>
                  <a:lnTo>
                    <a:pt x="42" y="0"/>
                  </a:lnTo>
                  <a:lnTo>
                    <a:pt x="42" y="0"/>
                  </a:lnTo>
                  <a:lnTo>
                    <a:pt x="40" y="0"/>
                  </a:lnTo>
                  <a:lnTo>
                    <a:pt x="40" y="0"/>
                  </a:lnTo>
                  <a:lnTo>
                    <a:pt x="38" y="0"/>
                  </a:lnTo>
                  <a:lnTo>
                    <a:pt x="36" y="0"/>
                  </a:lnTo>
                  <a:lnTo>
                    <a:pt x="34" y="0"/>
                  </a:lnTo>
                  <a:lnTo>
                    <a:pt x="30" y="2"/>
                  </a:lnTo>
                  <a:lnTo>
                    <a:pt x="28" y="2"/>
                  </a:lnTo>
                  <a:lnTo>
                    <a:pt x="26" y="4"/>
                  </a:lnTo>
                  <a:lnTo>
                    <a:pt x="22" y="10"/>
                  </a:lnTo>
                  <a:lnTo>
                    <a:pt x="18" y="14"/>
                  </a:lnTo>
                  <a:lnTo>
                    <a:pt x="16" y="18"/>
                  </a:lnTo>
                  <a:lnTo>
                    <a:pt x="12" y="20"/>
                  </a:lnTo>
                  <a:lnTo>
                    <a:pt x="10" y="22"/>
                  </a:lnTo>
                  <a:lnTo>
                    <a:pt x="10" y="24"/>
                  </a:lnTo>
                  <a:lnTo>
                    <a:pt x="8" y="24"/>
                  </a:lnTo>
                  <a:lnTo>
                    <a:pt x="8" y="24"/>
                  </a:lnTo>
                  <a:lnTo>
                    <a:pt x="4" y="26"/>
                  </a:lnTo>
                  <a:lnTo>
                    <a:pt x="2" y="26"/>
                  </a:lnTo>
                  <a:lnTo>
                    <a:pt x="0" y="26"/>
                  </a:lnTo>
                  <a:lnTo>
                    <a:pt x="0" y="26"/>
                  </a:lnTo>
                  <a:lnTo>
                    <a:pt x="0" y="28"/>
                  </a:lnTo>
                  <a:lnTo>
                    <a:pt x="0" y="28"/>
                  </a:lnTo>
                  <a:lnTo>
                    <a:pt x="0" y="28"/>
                  </a:lnTo>
                  <a:lnTo>
                    <a:pt x="0" y="28"/>
                  </a:lnTo>
                  <a:lnTo>
                    <a:pt x="0" y="30"/>
                  </a:lnTo>
                  <a:lnTo>
                    <a:pt x="0" y="30"/>
                  </a:lnTo>
                  <a:lnTo>
                    <a:pt x="2" y="30"/>
                  </a:lnTo>
                  <a:lnTo>
                    <a:pt x="2" y="30"/>
                  </a:lnTo>
                  <a:lnTo>
                    <a:pt x="4" y="30"/>
                  </a:lnTo>
                  <a:lnTo>
                    <a:pt x="8" y="30"/>
                  </a:lnTo>
                  <a:lnTo>
                    <a:pt x="10" y="32"/>
                  </a:lnTo>
                  <a:lnTo>
                    <a:pt x="10" y="32"/>
                  </a:lnTo>
                  <a:lnTo>
                    <a:pt x="12" y="32"/>
                  </a:lnTo>
                  <a:lnTo>
                    <a:pt x="12" y="34"/>
                  </a:lnTo>
                  <a:lnTo>
                    <a:pt x="14" y="36"/>
                  </a:lnTo>
                  <a:lnTo>
                    <a:pt x="16" y="36"/>
                  </a:lnTo>
                  <a:lnTo>
                    <a:pt x="18" y="40"/>
                  </a:lnTo>
                  <a:lnTo>
                    <a:pt x="20" y="42"/>
                  </a:lnTo>
                  <a:lnTo>
                    <a:pt x="22" y="44"/>
                  </a:lnTo>
                  <a:lnTo>
                    <a:pt x="22" y="46"/>
                  </a:lnTo>
                  <a:lnTo>
                    <a:pt x="24" y="46"/>
                  </a:lnTo>
                  <a:lnTo>
                    <a:pt x="26" y="48"/>
                  </a:lnTo>
                  <a:lnTo>
                    <a:pt x="26" y="48"/>
                  </a:lnTo>
                  <a:lnTo>
                    <a:pt x="28" y="50"/>
                  </a:lnTo>
                  <a:lnTo>
                    <a:pt x="28" y="50"/>
                  </a:lnTo>
                  <a:lnTo>
                    <a:pt x="28" y="50"/>
                  </a:lnTo>
                  <a:lnTo>
                    <a:pt x="28" y="50"/>
                  </a:lnTo>
                  <a:lnTo>
                    <a:pt x="26" y="52"/>
                  </a:lnTo>
                  <a:lnTo>
                    <a:pt x="26" y="52"/>
                  </a:lnTo>
                  <a:lnTo>
                    <a:pt x="24" y="52"/>
                  </a:lnTo>
                  <a:lnTo>
                    <a:pt x="24" y="54"/>
                  </a:lnTo>
                  <a:lnTo>
                    <a:pt x="20" y="54"/>
                  </a:lnTo>
                  <a:lnTo>
                    <a:pt x="20" y="56"/>
                  </a:lnTo>
                  <a:lnTo>
                    <a:pt x="18" y="56"/>
                  </a:lnTo>
                  <a:lnTo>
                    <a:pt x="18" y="56"/>
                  </a:lnTo>
                  <a:lnTo>
                    <a:pt x="18" y="58"/>
                  </a:lnTo>
                  <a:lnTo>
                    <a:pt x="18" y="60"/>
                  </a:lnTo>
                  <a:lnTo>
                    <a:pt x="18" y="62"/>
                  </a:lnTo>
                  <a:lnTo>
                    <a:pt x="18" y="64"/>
                  </a:lnTo>
                  <a:lnTo>
                    <a:pt x="18" y="6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0" name="Freeform 368">
              <a:extLst>
                <a:ext uri="{FF2B5EF4-FFF2-40B4-BE49-F238E27FC236}">
                  <a16:creationId xmlns:a16="http://schemas.microsoft.com/office/drawing/2014/main" id="{DC32ADCE-C445-471A-8E46-D8B3D2543A9D}"/>
                </a:ext>
              </a:extLst>
            </p:cNvPr>
            <p:cNvSpPr>
              <a:spLocks/>
            </p:cNvSpPr>
            <p:nvPr/>
          </p:nvSpPr>
          <p:spPr bwMode="auto">
            <a:xfrm>
              <a:off x="3825800" y="4168158"/>
              <a:ext cx="169743" cy="145494"/>
            </a:xfrm>
            <a:custGeom>
              <a:avLst/>
              <a:gdLst>
                <a:gd name="T0" fmla="*/ 16 w 98"/>
                <a:gd name="T1" fmla="*/ 68 h 84"/>
                <a:gd name="T2" fmla="*/ 16 w 98"/>
                <a:gd name="T3" fmla="*/ 76 h 84"/>
                <a:gd name="T4" fmla="*/ 18 w 98"/>
                <a:gd name="T5" fmla="*/ 78 h 84"/>
                <a:gd name="T6" fmla="*/ 20 w 98"/>
                <a:gd name="T7" fmla="*/ 78 h 84"/>
                <a:gd name="T8" fmla="*/ 24 w 98"/>
                <a:gd name="T9" fmla="*/ 78 h 84"/>
                <a:gd name="T10" fmla="*/ 28 w 98"/>
                <a:gd name="T11" fmla="*/ 78 h 84"/>
                <a:gd name="T12" fmla="*/ 32 w 98"/>
                <a:gd name="T13" fmla="*/ 78 h 84"/>
                <a:gd name="T14" fmla="*/ 36 w 98"/>
                <a:gd name="T15" fmla="*/ 84 h 84"/>
                <a:gd name="T16" fmla="*/ 38 w 98"/>
                <a:gd name="T17" fmla="*/ 80 h 84"/>
                <a:gd name="T18" fmla="*/ 44 w 98"/>
                <a:gd name="T19" fmla="*/ 74 h 84"/>
                <a:gd name="T20" fmla="*/ 48 w 98"/>
                <a:gd name="T21" fmla="*/ 72 h 84"/>
                <a:gd name="T22" fmla="*/ 60 w 98"/>
                <a:gd name="T23" fmla="*/ 68 h 84"/>
                <a:gd name="T24" fmla="*/ 76 w 98"/>
                <a:gd name="T25" fmla="*/ 70 h 84"/>
                <a:gd name="T26" fmla="*/ 86 w 98"/>
                <a:gd name="T27" fmla="*/ 72 h 84"/>
                <a:gd name="T28" fmla="*/ 98 w 98"/>
                <a:gd name="T29" fmla="*/ 70 h 84"/>
                <a:gd name="T30" fmla="*/ 94 w 98"/>
                <a:gd name="T31" fmla="*/ 60 h 84"/>
                <a:gd name="T32" fmla="*/ 90 w 98"/>
                <a:gd name="T33" fmla="*/ 54 h 84"/>
                <a:gd name="T34" fmla="*/ 84 w 98"/>
                <a:gd name="T35" fmla="*/ 50 h 84"/>
                <a:gd name="T36" fmla="*/ 82 w 98"/>
                <a:gd name="T37" fmla="*/ 48 h 84"/>
                <a:gd name="T38" fmla="*/ 80 w 98"/>
                <a:gd name="T39" fmla="*/ 42 h 84"/>
                <a:gd name="T40" fmla="*/ 74 w 98"/>
                <a:gd name="T41" fmla="*/ 34 h 84"/>
                <a:gd name="T42" fmla="*/ 70 w 98"/>
                <a:gd name="T43" fmla="*/ 28 h 84"/>
                <a:gd name="T44" fmla="*/ 64 w 98"/>
                <a:gd name="T45" fmla="*/ 20 h 84"/>
                <a:gd name="T46" fmla="*/ 60 w 98"/>
                <a:gd name="T47" fmla="*/ 14 h 84"/>
                <a:gd name="T48" fmla="*/ 56 w 98"/>
                <a:gd name="T49" fmla="*/ 12 h 84"/>
                <a:gd name="T50" fmla="*/ 50 w 98"/>
                <a:gd name="T51" fmla="*/ 10 h 84"/>
                <a:gd name="T52" fmla="*/ 46 w 98"/>
                <a:gd name="T53" fmla="*/ 8 h 84"/>
                <a:gd name="T54" fmla="*/ 44 w 98"/>
                <a:gd name="T55" fmla="*/ 2 h 84"/>
                <a:gd name="T56" fmla="*/ 42 w 98"/>
                <a:gd name="T57" fmla="*/ 0 h 84"/>
                <a:gd name="T58" fmla="*/ 40 w 98"/>
                <a:gd name="T59" fmla="*/ 0 h 84"/>
                <a:gd name="T60" fmla="*/ 34 w 98"/>
                <a:gd name="T61" fmla="*/ 0 h 84"/>
                <a:gd name="T62" fmla="*/ 26 w 98"/>
                <a:gd name="T63" fmla="*/ 4 h 84"/>
                <a:gd name="T64" fmla="*/ 16 w 98"/>
                <a:gd name="T65" fmla="*/ 18 h 84"/>
                <a:gd name="T66" fmla="*/ 10 w 98"/>
                <a:gd name="T67" fmla="*/ 24 h 84"/>
                <a:gd name="T68" fmla="*/ 4 w 98"/>
                <a:gd name="T69" fmla="*/ 26 h 84"/>
                <a:gd name="T70" fmla="*/ 0 w 98"/>
                <a:gd name="T71" fmla="*/ 26 h 84"/>
                <a:gd name="T72" fmla="*/ 0 w 98"/>
                <a:gd name="T73" fmla="*/ 28 h 84"/>
                <a:gd name="T74" fmla="*/ 0 w 98"/>
                <a:gd name="T75" fmla="*/ 30 h 84"/>
                <a:gd name="T76" fmla="*/ 4 w 98"/>
                <a:gd name="T77" fmla="*/ 30 h 84"/>
                <a:gd name="T78" fmla="*/ 10 w 98"/>
                <a:gd name="T79" fmla="*/ 32 h 84"/>
                <a:gd name="T80" fmla="*/ 14 w 98"/>
                <a:gd name="T81" fmla="*/ 36 h 84"/>
                <a:gd name="T82" fmla="*/ 20 w 98"/>
                <a:gd name="T83" fmla="*/ 42 h 84"/>
                <a:gd name="T84" fmla="*/ 24 w 98"/>
                <a:gd name="T85" fmla="*/ 46 h 84"/>
                <a:gd name="T86" fmla="*/ 28 w 98"/>
                <a:gd name="T87" fmla="*/ 50 h 84"/>
                <a:gd name="T88" fmla="*/ 28 w 98"/>
                <a:gd name="T89" fmla="*/ 50 h 84"/>
                <a:gd name="T90" fmla="*/ 24 w 98"/>
                <a:gd name="T91" fmla="*/ 52 h 84"/>
                <a:gd name="T92" fmla="*/ 20 w 98"/>
                <a:gd name="T93" fmla="*/ 56 h 84"/>
                <a:gd name="T94" fmla="*/ 18 w 98"/>
                <a:gd name="T95" fmla="*/ 58 h 84"/>
                <a:gd name="T96" fmla="*/ 18 w 98"/>
                <a:gd name="T97" fmla="*/ 6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 h="84">
                  <a:moveTo>
                    <a:pt x="18" y="66"/>
                  </a:moveTo>
                  <a:lnTo>
                    <a:pt x="18" y="66"/>
                  </a:lnTo>
                  <a:lnTo>
                    <a:pt x="16" y="68"/>
                  </a:lnTo>
                  <a:lnTo>
                    <a:pt x="16" y="72"/>
                  </a:lnTo>
                  <a:lnTo>
                    <a:pt x="16" y="74"/>
                  </a:lnTo>
                  <a:lnTo>
                    <a:pt x="16" y="76"/>
                  </a:lnTo>
                  <a:lnTo>
                    <a:pt x="16" y="76"/>
                  </a:lnTo>
                  <a:lnTo>
                    <a:pt x="18" y="78"/>
                  </a:lnTo>
                  <a:lnTo>
                    <a:pt x="18" y="78"/>
                  </a:lnTo>
                  <a:lnTo>
                    <a:pt x="18" y="78"/>
                  </a:lnTo>
                  <a:lnTo>
                    <a:pt x="18" y="78"/>
                  </a:lnTo>
                  <a:lnTo>
                    <a:pt x="20" y="78"/>
                  </a:lnTo>
                  <a:lnTo>
                    <a:pt x="20" y="78"/>
                  </a:lnTo>
                  <a:lnTo>
                    <a:pt x="22" y="78"/>
                  </a:lnTo>
                  <a:lnTo>
                    <a:pt x="24" y="78"/>
                  </a:lnTo>
                  <a:lnTo>
                    <a:pt x="26" y="78"/>
                  </a:lnTo>
                  <a:lnTo>
                    <a:pt x="28" y="78"/>
                  </a:lnTo>
                  <a:lnTo>
                    <a:pt x="28" y="78"/>
                  </a:lnTo>
                  <a:lnTo>
                    <a:pt x="30" y="78"/>
                  </a:lnTo>
                  <a:lnTo>
                    <a:pt x="30" y="78"/>
                  </a:lnTo>
                  <a:lnTo>
                    <a:pt x="32" y="78"/>
                  </a:lnTo>
                  <a:lnTo>
                    <a:pt x="32" y="78"/>
                  </a:lnTo>
                  <a:lnTo>
                    <a:pt x="34" y="82"/>
                  </a:lnTo>
                  <a:lnTo>
                    <a:pt x="36" y="84"/>
                  </a:lnTo>
                  <a:lnTo>
                    <a:pt x="36" y="84"/>
                  </a:lnTo>
                  <a:lnTo>
                    <a:pt x="36" y="82"/>
                  </a:lnTo>
                  <a:lnTo>
                    <a:pt x="38" y="80"/>
                  </a:lnTo>
                  <a:lnTo>
                    <a:pt x="42" y="76"/>
                  </a:lnTo>
                  <a:lnTo>
                    <a:pt x="42" y="74"/>
                  </a:lnTo>
                  <a:lnTo>
                    <a:pt x="44" y="74"/>
                  </a:lnTo>
                  <a:lnTo>
                    <a:pt x="44" y="74"/>
                  </a:lnTo>
                  <a:lnTo>
                    <a:pt x="46" y="74"/>
                  </a:lnTo>
                  <a:lnTo>
                    <a:pt x="48" y="72"/>
                  </a:lnTo>
                  <a:lnTo>
                    <a:pt x="50" y="70"/>
                  </a:lnTo>
                  <a:lnTo>
                    <a:pt x="54" y="70"/>
                  </a:lnTo>
                  <a:lnTo>
                    <a:pt x="60" y="68"/>
                  </a:lnTo>
                  <a:lnTo>
                    <a:pt x="62" y="68"/>
                  </a:lnTo>
                  <a:lnTo>
                    <a:pt x="70" y="70"/>
                  </a:lnTo>
                  <a:lnTo>
                    <a:pt x="76" y="70"/>
                  </a:lnTo>
                  <a:lnTo>
                    <a:pt x="80" y="72"/>
                  </a:lnTo>
                  <a:lnTo>
                    <a:pt x="82" y="72"/>
                  </a:lnTo>
                  <a:lnTo>
                    <a:pt x="86" y="72"/>
                  </a:lnTo>
                  <a:lnTo>
                    <a:pt x="92" y="72"/>
                  </a:lnTo>
                  <a:lnTo>
                    <a:pt x="98" y="72"/>
                  </a:lnTo>
                  <a:lnTo>
                    <a:pt x="98" y="70"/>
                  </a:lnTo>
                  <a:lnTo>
                    <a:pt x="96" y="64"/>
                  </a:lnTo>
                  <a:lnTo>
                    <a:pt x="94" y="62"/>
                  </a:lnTo>
                  <a:lnTo>
                    <a:pt x="94" y="60"/>
                  </a:lnTo>
                  <a:lnTo>
                    <a:pt x="92" y="56"/>
                  </a:lnTo>
                  <a:lnTo>
                    <a:pt x="90" y="54"/>
                  </a:lnTo>
                  <a:lnTo>
                    <a:pt x="90" y="54"/>
                  </a:lnTo>
                  <a:lnTo>
                    <a:pt x="88" y="54"/>
                  </a:lnTo>
                  <a:lnTo>
                    <a:pt x="86" y="52"/>
                  </a:lnTo>
                  <a:lnTo>
                    <a:pt x="84" y="50"/>
                  </a:lnTo>
                  <a:lnTo>
                    <a:pt x="82" y="50"/>
                  </a:lnTo>
                  <a:lnTo>
                    <a:pt x="82" y="48"/>
                  </a:lnTo>
                  <a:lnTo>
                    <a:pt x="82" y="48"/>
                  </a:lnTo>
                  <a:lnTo>
                    <a:pt x="80" y="46"/>
                  </a:lnTo>
                  <a:lnTo>
                    <a:pt x="80" y="44"/>
                  </a:lnTo>
                  <a:lnTo>
                    <a:pt x="80" y="42"/>
                  </a:lnTo>
                  <a:lnTo>
                    <a:pt x="80" y="38"/>
                  </a:lnTo>
                  <a:lnTo>
                    <a:pt x="80" y="36"/>
                  </a:lnTo>
                  <a:lnTo>
                    <a:pt x="74" y="34"/>
                  </a:lnTo>
                  <a:lnTo>
                    <a:pt x="72" y="30"/>
                  </a:lnTo>
                  <a:lnTo>
                    <a:pt x="70" y="30"/>
                  </a:lnTo>
                  <a:lnTo>
                    <a:pt x="70" y="28"/>
                  </a:lnTo>
                  <a:lnTo>
                    <a:pt x="68" y="26"/>
                  </a:lnTo>
                  <a:lnTo>
                    <a:pt x="66" y="24"/>
                  </a:lnTo>
                  <a:lnTo>
                    <a:pt x="64" y="20"/>
                  </a:lnTo>
                  <a:lnTo>
                    <a:pt x="62" y="18"/>
                  </a:lnTo>
                  <a:lnTo>
                    <a:pt x="60" y="16"/>
                  </a:lnTo>
                  <a:lnTo>
                    <a:pt x="60" y="14"/>
                  </a:lnTo>
                  <a:lnTo>
                    <a:pt x="58" y="12"/>
                  </a:lnTo>
                  <a:lnTo>
                    <a:pt x="58" y="12"/>
                  </a:lnTo>
                  <a:lnTo>
                    <a:pt x="56" y="12"/>
                  </a:lnTo>
                  <a:lnTo>
                    <a:pt x="56" y="10"/>
                  </a:lnTo>
                  <a:lnTo>
                    <a:pt x="52" y="10"/>
                  </a:lnTo>
                  <a:lnTo>
                    <a:pt x="50" y="10"/>
                  </a:lnTo>
                  <a:lnTo>
                    <a:pt x="48" y="8"/>
                  </a:lnTo>
                  <a:lnTo>
                    <a:pt x="48" y="8"/>
                  </a:lnTo>
                  <a:lnTo>
                    <a:pt x="46" y="8"/>
                  </a:lnTo>
                  <a:lnTo>
                    <a:pt x="46" y="6"/>
                  </a:lnTo>
                  <a:lnTo>
                    <a:pt x="44" y="4"/>
                  </a:lnTo>
                  <a:lnTo>
                    <a:pt x="44" y="2"/>
                  </a:lnTo>
                  <a:lnTo>
                    <a:pt x="42" y="2"/>
                  </a:lnTo>
                  <a:lnTo>
                    <a:pt x="42" y="0"/>
                  </a:lnTo>
                  <a:lnTo>
                    <a:pt x="42" y="0"/>
                  </a:lnTo>
                  <a:lnTo>
                    <a:pt x="42" y="0"/>
                  </a:lnTo>
                  <a:lnTo>
                    <a:pt x="40" y="0"/>
                  </a:lnTo>
                  <a:lnTo>
                    <a:pt x="40" y="0"/>
                  </a:lnTo>
                  <a:lnTo>
                    <a:pt x="38" y="0"/>
                  </a:lnTo>
                  <a:lnTo>
                    <a:pt x="36" y="0"/>
                  </a:lnTo>
                  <a:lnTo>
                    <a:pt x="34" y="0"/>
                  </a:lnTo>
                  <a:lnTo>
                    <a:pt x="30" y="2"/>
                  </a:lnTo>
                  <a:lnTo>
                    <a:pt x="28" y="2"/>
                  </a:lnTo>
                  <a:lnTo>
                    <a:pt x="26" y="4"/>
                  </a:lnTo>
                  <a:lnTo>
                    <a:pt x="22" y="10"/>
                  </a:lnTo>
                  <a:lnTo>
                    <a:pt x="18" y="14"/>
                  </a:lnTo>
                  <a:lnTo>
                    <a:pt x="16" y="18"/>
                  </a:lnTo>
                  <a:lnTo>
                    <a:pt x="12" y="20"/>
                  </a:lnTo>
                  <a:lnTo>
                    <a:pt x="10" y="22"/>
                  </a:lnTo>
                  <a:lnTo>
                    <a:pt x="10" y="24"/>
                  </a:lnTo>
                  <a:lnTo>
                    <a:pt x="8" y="24"/>
                  </a:lnTo>
                  <a:lnTo>
                    <a:pt x="8" y="24"/>
                  </a:lnTo>
                  <a:lnTo>
                    <a:pt x="4" y="26"/>
                  </a:lnTo>
                  <a:lnTo>
                    <a:pt x="2" y="26"/>
                  </a:lnTo>
                  <a:lnTo>
                    <a:pt x="0" y="26"/>
                  </a:lnTo>
                  <a:lnTo>
                    <a:pt x="0" y="26"/>
                  </a:lnTo>
                  <a:lnTo>
                    <a:pt x="0" y="28"/>
                  </a:lnTo>
                  <a:lnTo>
                    <a:pt x="0" y="28"/>
                  </a:lnTo>
                  <a:lnTo>
                    <a:pt x="0" y="28"/>
                  </a:lnTo>
                  <a:lnTo>
                    <a:pt x="0" y="28"/>
                  </a:lnTo>
                  <a:lnTo>
                    <a:pt x="0" y="30"/>
                  </a:lnTo>
                  <a:lnTo>
                    <a:pt x="0" y="30"/>
                  </a:lnTo>
                  <a:lnTo>
                    <a:pt x="2" y="30"/>
                  </a:lnTo>
                  <a:lnTo>
                    <a:pt x="2" y="30"/>
                  </a:lnTo>
                  <a:lnTo>
                    <a:pt x="4" y="30"/>
                  </a:lnTo>
                  <a:lnTo>
                    <a:pt x="8" y="30"/>
                  </a:lnTo>
                  <a:lnTo>
                    <a:pt x="10" y="32"/>
                  </a:lnTo>
                  <a:lnTo>
                    <a:pt x="10" y="32"/>
                  </a:lnTo>
                  <a:lnTo>
                    <a:pt x="12" y="32"/>
                  </a:lnTo>
                  <a:lnTo>
                    <a:pt x="12" y="34"/>
                  </a:lnTo>
                  <a:lnTo>
                    <a:pt x="14" y="36"/>
                  </a:lnTo>
                  <a:lnTo>
                    <a:pt x="16" y="36"/>
                  </a:lnTo>
                  <a:lnTo>
                    <a:pt x="18" y="40"/>
                  </a:lnTo>
                  <a:lnTo>
                    <a:pt x="20" y="42"/>
                  </a:lnTo>
                  <a:lnTo>
                    <a:pt x="22" y="44"/>
                  </a:lnTo>
                  <a:lnTo>
                    <a:pt x="22" y="46"/>
                  </a:lnTo>
                  <a:lnTo>
                    <a:pt x="24" y="46"/>
                  </a:lnTo>
                  <a:lnTo>
                    <a:pt x="26" y="48"/>
                  </a:lnTo>
                  <a:lnTo>
                    <a:pt x="26" y="48"/>
                  </a:lnTo>
                  <a:lnTo>
                    <a:pt x="28" y="50"/>
                  </a:lnTo>
                  <a:lnTo>
                    <a:pt x="28" y="50"/>
                  </a:lnTo>
                  <a:lnTo>
                    <a:pt x="28" y="50"/>
                  </a:lnTo>
                  <a:lnTo>
                    <a:pt x="28" y="50"/>
                  </a:lnTo>
                  <a:lnTo>
                    <a:pt x="26" y="52"/>
                  </a:lnTo>
                  <a:lnTo>
                    <a:pt x="26" y="52"/>
                  </a:lnTo>
                  <a:lnTo>
                    <a:pt x="24" y="52"/>
                  </a:lnTo>
                  <a:lnTo>
                    <a:pt x="24" y="54"/>
                  </a:lnTo>
                  <a:lnTo>
                    <a:pt x="20" y="54"/>
                  </a:lnTo>
                  <a:lnTo>
                    <a:pt x="20" y="56"/>
                  </a:lnTo>
                  <a:lnTo>
                    <a:pt x="18" y="56"/>
                  </a:lnTo>
                  <a:lnTo>
                    <a:pt x="18" y="56"/>
                  </a:lnTo>
                  <a:lnTo>
                    <a:pt x="18" y="58"/>
                  </a:lnTo>
                  <a:lnTo>
                    <a:pt x="18" y="60"/>
                  </a:lnTo>
                  <a:lnTo>
                    <a:pt x="18" y="62"/>
                  </a:lnTo>
                  <a:lnTo>
                    <a:pt x="18" y="64"/>
                  </a:lnTo>
                  <a:lnTo>
                    <a:pt x="18" y="66"/>
                  </a:lnTo>
                </a:path>
              </a:pathLst>
            </a:custGeom>
            <a:grp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1" name="Freeform 369">
              <a:extLst>
                <a:ext uri="{FF2B5EF4-FFF2-40B4-BE49-F238E27FC236}">
                  <a16:creationId xmlns:a16="http://schemas.microsoft.com/office/drawing/2014/main" id="{5110D73D-3897-486A-9715-F727A9A29FD1}"/>
                </a:ext>
              </a:extLst>
            </p:cNvPr>
            <p:cNvSpPr>
              <a:spLocks/>
            </p:cNvSpPr>
            <p:nvPr/>
          </p:nvSpPr>
          <p:spPr bwMode="auto">
            <a:xfrm>
              <a:off x="3825800" y="4168158"/>
              <a:ext cx="169743" cy="145494"/>
            </a:xfrm>
            <a:custGeom>
              <a:avLst/>
              <a:gdLst>
                <a:gd name="T0" fmla="*/ 16 w 98"/>
                <a:gd name="T1" fmla="*/ 68 h 84"/>
                <a:gd name="T2" fmla="*/ 16 w 98"/>
                <a:gd name="T3" fmla="*/ 76 h 84"/>
                <a:gd name="T4" fmla="*/ 18 w 98"/>
                <a:gd name="T5" fmla="*/ 78 h 84"/>
                <a:gd name="T6" fmla="*/ 20 w 98"/>
                <a:gd name="T7" fmla="*/ 78 h 84"/>
                <a:gd name="T8" fmla="*/ 24 w 98"/>
                <a:gd name="T9" fmla="*/ 78 h 84"/>
                <a:gd name="T10" fmla="*/ 28 w 98"/>
                <a:gd name="T11" fmla="*/ 78 h 84"/>
                <a:gd name="T12" fmla="*/ 32 w 98"/>
                <a:gd name="T13" fmla="*/ 78 h 84"/>
                <a:gd name="T14" fmla="*/ 36 w 98"/>
                <a:gd name="T15" fmla="*/ 84 h 84"/>
                <a:gd name="T16" fmla="*/ 38 w 98"/>
                <a:gd name="T17" fmla="*/ 80 h 84"/>
                <a:gd name="T18" fmla="*/ 44 w 98"/>
                <a:gd name="T19" fmla="*/ 74 h 84"/>
                <a:gd name="T20" fmla="*/ 48 w 98"/>
                <a:gd name="T21" fmla="*/ 72 h 84"/>
                <a:gd name="T22" fmla="*/ 60 w 98"/>
                <a:gd name="T23" fmla="*/ 68 h 84"/>
                <a:gd name="T24" fmla="*/ 76 w 98"/>
                <a:gd name="T25" fmla="*/ 70 h 84"/>
                <a:gd name="T26" fmla="*/ 86 w 98"/>
                <a:gd name="T27" fmla="*/ 72 h 84"/>
                <a:gd name="T28" fmla="*/ 98 w 98"/>
                <a:gd name="T29" fmla="*/ 70 h 84"/>
                <a:gd name="T30" fmla="*/ 94 w 98"/>
                <a:gd name="T31" fmla="*/ 60 h 84"/>
                <a:gd name="T32" fmla="*/ 90 w 98"/>
                <a:gd name="T33" fmla="*/ 54 h 84"/>
                <a:gd name="T34" fmla="*/ 84 w 98"/>
                <a:gd name="T35" fmla="*/ 50 h 84"/>
                <a:gd name="T36" fmla="*/ 82 w 98"/>
                <a:gd name="T37" fmla="*/ 48 h 84"/>
                <a:gd name="T38" fmla="*/ 80 w 98"/>
                <a:gd name="T39" fmla="*/ 42 h 84"/>
                <a:gd name="T40" fmla="*/ 74 w 98"/>
                <a:gd name="T41" fmla="*/ 34 h 84"/>
                <a:gd name="T42" fmla="*/ 70 w 98"/>
                <a:gd name="T43" fmla="*/ 28 h 84"/>
                <a:gd name="T44" fmla="*/ 64 w 98"/>
                <a:gd name="T45" fmla="*/ 20 h 84"/>
                <a:gd name="T46" fmla="*/ 60 w 98"/>
                <a:gd name="T47" fmla="*/ 14 h 84"/>
                <a:gd name="T48" fmla="*/ 56 w 98"/>
                <a:gd name="T49" fmla="*/ 12 h 84"/>
                <a:gd name="T50" fmla="*/ 50 w 98"/>
                <a:gd name="T51" fmla="*/ 10 h 84"/>
                <a:gd name="T52" fmla="*/ 46 w 98"/>
                <a:gd name="T53" fmla="*/ 8 h 84"/>
                <a:gd name="T54" fmla="*/ 44 w 98"/>
                <a:gd name="T55" fmla="*/ 2 h 84"/>
                <a:gd name="T56" fmla="*/ 42 w 98"/>
                <a:gd name="T57" fmla="*/ 0 h 84"/>
                <a:gd name="T58" fmla="*/ 40 w 98"/>
                <a:gd name="T59" fmla="*/ 0 h 84"/>
                <a:gd name="T60" fmla="*/ 34 w 98"/>
                <a:gd name="T61" fmla="*/ 0 h 84"/>
                <a:gd name="T62" fmla="*/ 26 w 98"/>
                <a:gd name="T63" fmla="*/ 4 h 84"/>
                <a:gd name="T64" fmla="*/ 16 w 98"/>
                <a:gd name="T65" fmla="*/ 18 h 84"/>
                <a:gd name="T66" fmla="*/ 10 w 98"/>
                <a:gd name="T67" fmla="*/ 24 h 84"/>
                <a:gd name="T68" fmla="*/ 4 w 98"/>
                <a:gd name="T69" fmla="*/ 26 h 84"/>
                <a:gd name="T70" fmla="*/ 0 w 98"/>
                <a:gd name="T71" fmla="*/ 26 h 84"/>
                <a:gd name="T72" fmla="*/ 0 w 98"/>
                <a:gd name="T73" fmla="*/ 28 h 84"/>
                <a:gd name="T74" fmla="*/ 0 w 98"/>
                <a:gd name="T75" fmla="*/ 30 h 84"/>
                <a:gd name="T76" fmla="*/ 4 w 98"/>
                <a:gd name="T77" fmla="*/ 30 h 84"/>
                <a:gd name="T78" fmla="*/ 10 w 98"/>
                <a:gd name="T79" fmla="*/ 32 h 84"/>
                <a:gd name="T80" fmla="*/ 14 w 98"/>
                <a:gd name="T81" fmla="*/ 36 h 84"/>
                <a:gd name="T82" fmla="*/ 20 w 98"/>
                <a:gd name="T83" fmla="*/ 42 h 84"/>
                <a:gd name="T84" fmla="*/ 24 w 98"/>
                <a:gd name="T85" fmla="*/ 46 h 84"/>
                <a:gd name="T86" fmla="*/ 28 w 98"/>
                <a:gd name="T87" fmla="*/ 50 h 84"/>
                <a:gd name="T88" fmla="*/ 28 w 98"/>
                <a:gd name="T89" fmla="*/ 50 h 84"/>
                <a:gd name="T90" fmla="*/ 24 w 98"/>
                <a:gd name="T91" fmla="*/ 52 h 84"/>
                <a:gd name="T92" fmla="*/ 20 w 98"/>
                <a:gd name="T93" fmla="*/ 56 h 84"/>
                <a:gd name="T94" fmla="*/ 18 w 98"/>
                <a:gd name="T95" fmla="*/ 58 h 84"/>
                <a:gd name="T96" fmla="*/ 18 w 98"/>
                <a:gd name="T97" fmla="*/ 6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 h="84">
                  <a:moveTo>
                    <a:pt x="18" y="66"/>
                  </a:moveTo>
                  <a:lnTo>
                    <a:pt x="18" y="66"/>
                  </a:lnTo>
                  <a:lnTo>
                    <a:pt x="16" y="68"/>
                  </a:lnTo>
                  <a:lnTo>
                    <a:pt x="16" y="72"/>
                  </a:lnTo>
                  <a:lnTo>
                    <a:pt x="16" y="74"/>
                  </a:lnTo>
                  <a:lnTo>
                    <a:pt x="16" y="76"/>
                  </a:lnTo>
                  <a:lnTo>
                    <a:pt x="16" y="76"/>
                  </a:lnTo>
                  <a:lnTo>
                    <a:pt x="18" y="78"/>
                  </a:lnTo>
                  <a:lnTo>
                    <a:pt x="18" y="78"/>
                  </a:lnTo>
                  <a:lnTo>
                    <a:pt x="18" y="78"/>
                  </a:lnTo>
                  <a:lnTo>
                    <a:pt x="18" y="78"/>
                  </a:lnTo>
                  <a:lnTo>
                    <a:pt x="20" y="78"/>
                  </a:lnTo>
                  <a:lnTo>
                    <a:pt x="20" y="78"/>
                  </a:lnTo>
                  <a:lnTo>
                    <a:pt x="22" y="78"/>
                  </a:lnTo>
                  <a:lnTo>
                    <a:pt x="24" y="78"/>
                  </a:lnTo>
                  <a:lnTo>
                    <a:pt x="26" y="78"/>
                  </a:lnTo>
                  <a:lnTo>
                    <a:pt x="28" y="78"/>
                  </a:lnTo>
                  <a:lnTo>
                    <a:pt x="28" y="78"/>
                  </a:lnTo>
                  <a:lnTo>
                    <a:pt x="30" y="78"/>
                  </a:lnTo>
                  <a:lnTo>
                    <a:pt x="30" y="78"/>
                  </a:lnTo>
                  <a:lnTo>
                    <a:pt x="32" y="78"/>
                  </a:lnTo>
                  <a:lnTo>
                    <a:pt x="32" y="78"/>
                  </a:lnTo>
                  <a:lnTo>
                    <a:pt x="34" y="82"/>
                  </a:lnTo>
                  <a:lnTo>
                    <a:pt x="36" y="84"/>
                  </a:lnTo>
                  <a:lnTo>
                    <a:pt x="36" y="84"/>
                  </a:lnTo>
                  <a:lnTo>
                    <a:pt x="36" y="82"/>
                  </a:lnTo>
                  <a:lnTo>
                    <a:pt x="38" y="80"/>
                  </a:lnTo>
                  <a:lnTo>
                    <a:pt x="42" y="76"/>
                  </a:lnTo>
                  <a:lnTo>
                    <a:pt x="42" y="74"/>
                  </a:lnTo>
                  <a:lnTo>
                    <a:pt x="44" y="74"/>
                  </a:lnTo>
                  <a:lnTo>
                    <a:pt x="44" y="74"/>
                  </a:lnTo>
                  <a:lnTo>
                    <a:pt x="46" y="74"/>
                  </a:lnTo>
                  <a:lnTo>
                    <a:pt x="48" y="72"/>
                  </a:lnTo>
                  <a:lnTo>
                    <a:pt x="50" y="70"/>
                  </a:lnTo>
                  <a:lnTo>
                    <a:pt x="54" y="70"/>
                  </a:lnTo>
                  <a:lnTo>
                    <a:pt x="60" y="68"/>
                  </a:lnTo>
                  <a:lnTo>
                    <a:pt x="62" y="68"/>
                  </a:lnTo>
                  <a:lnTo>
                    <a:pt x="70" y="70"/>
                  </a:lnTo>
                  <a:lnTo>
                    <a:pt x="76" y="70"/>
                  </a:lnTo>
                  <a:lnTo>
                    <a:pt x="80" y="72"/>
                  </a:lnTo>
                  <a:lnTo>
                    <a:pt x="82" y="72"/>
                  </a:lnTo>
                  <a:lnTo>
                    <a:pt x="86" y="72"/>
                  </a:lnTo>
                  <a:lnTo>
                    <a:pt x="92" y="72"/>
                  </a:lnTo>
                  <a:lnTo>
                    <a:pt x="98" y="72"/>
                  </a:lnTo>
                  <a:lnTo>
                    <a:pt x="98" y="70"/>
                  </a:lnTo>
                  <a:lnTo>
                    <a:pt x="96" y="64"/>
                  </a:lnTo>
                  <a:lnTo>
                    <a:pt x="94" y="62"/>
                  </a:lnTo>
                  <a:lnTo>
                    <a:pt x="94" y="60"/>
                  </a:lnTo>
                  <a:lnTo>
                    <a:pt x="92" y="56"/>
                  </a:lnTo>
                  <a:lnTo>
                    <a:pt x="90" y="54"/>
                  </a:lnTo>
                  <a:lnTo>
                    <a:pt x="90" y="54"/>
                  </a:lnTo>
                  <a:lnTo>
                    <a:pt x="88" y="54"/>
                  </a:lnTo>
                  <a:lnTo>
                    <a:pt x="86" y="52"/>
                  </a:lnTo>
                  <a:lnTo>
                    <a:pt x="84" y="50"/>
                  </a:lnTo>
                  <a:lnTo>
                    <a:pt x="82" y="50"/>
                  </a:lnTo>
                  <a:lnTo>
                    <a:pt x="82" y="48"/>
                  </a:lnTo>
                  <a:lnTo>
                    <a:pt x="82" y="48"/>
                  </a:lnTo>
                  <a:lnTo>
                    <a:pt x="80" y="46"/>
                  </a:lnTo>
                  <a:lnTo>
                    <a:pt x="80" y="44"/>
                  </a:lnTo>
                  <a:lnTo>
                    <a:pt x="80" y="42"/>
                  </a:lnTo>
                  <a:lnTo>
                    <a:pt x="80" y="38"/>
                  </a:lnTo>
                  <a:lnTo>
                    <a:pt x="80" y="36"/>
                  </a:lnTo>
                  <a:lnTo>
                    <a:pt x="74" y="34"/>
                  </a:lnTo>
                  <a:lnTo>
                    <a:pt x="72" y="30"/>
                  </a:lnTo>
                  <a:lnTo>
                    <a:pt x="70" y="30"/>
                  </a:lnTo>
                  <a:lnTo>
                    <a:pt x="70" y="28"/>
                  </a:lnTo>
                  <a:lnTo>
                    <a:pt x="68" y="26"/>
                  </a:lnTo>
                  <a:lnTo>
                    <a:pt x="66" y="24"/>
                  </a:lnTo>
                  <a:lnTo>
                    <a:pt x="64" y="20"/>
                  </a:lnTo>
                  <a:lnTo>
                    <a:pt x="62" y="18"/>
                  </a:lnTo>
                  <a:lnTo>
                    <a:pt x="60" y="16"/>
                  </a:lnTo>
                  <a:lnTo>
                    <a:pt x="60" y="14"/>
                  </a:lnTo>
                  <a:lnTo>
                    <a:pt x="58" y="12"/>
                  </a:lnTo>
                  <a:lnTo>
                    <a:pt x="58" y="12"/>
                  </a:lnTo>
                  <a:lnTo>
                    <a:pt x="56" y="12"/>
                  </a:lnTo>
                  <a:lnTo>
                    <a:pt x="56" y="10"/>
                  </a:lnTo>
                  <a:lnTo>
                    <a:pt x="52" y="10"/>
                  </a:lnTo>
                  <a:lnTo>
                    <a:pt x="50" y="10"/>
                  </a:lnTo>
                  <a:lnTo>
                    <a:pt x="48" y="8"/>
                  </a:lnTo>
                  <a:lnTo>
                    <a:pt x="48" y="8"/>
                  </a:lnTo>
                  <a:lnTo>
                    <a:pt x="46" y="8"/>
                  </a:lnTo>
                  <a:lnTo>
                    <a:pt x="46" y="6"/>
                  </a:lnTo>
                  <a:lnTo>
                    <a:pt x="44" y="4"/>
                  </a:lnTo>
                  <a:lnTo>
                    <a:pt x="44" y="2"/>
                  </a:lnTo>
                  <a:lnTo>
                    <a:pt x="42" y="2"/>
                  </a:lnTo>
                  <a:lnTo>
                    <a:pt x="42" y="0"/>
                  </a:lnTo>
                  <a:lnTo>
                    <a:pt x="42" y="0"/>
                  </a:lnTo>
                  <a:lnTo>
                    <a:pt x="42" y="0"/>
                  </a:lnTo>
                  <a:lnTo>
                    <a:pt x="40" y="0"/>
                  </a:lnTo>
                  <a:lnTo>
                    <a:pt x="40" y="0"/>
                  </a:lnTo>
                  <a:lnTo>
                    <a:pt x="38" y="0"/>
                  </a:lnTo>
                  <a:lnTo>
                    <a:pt x="36" y="0"/>
                  </a:lnTo>
                  <a:lnTo>
                    <a:pt x="34" y="0"/>
                  </a:lnTo>
                  <a:lnTo>
                    <a:pt x="30" y="2"/>
                  </a:lnTo>
                  <a:lnTo>
                    <a:pt x="28" y="2"/>
                  </a:lnTo>
                  <a:lnTo>
                    <a:pt x="26" y="4"/>
                  </a:lnTo>
                  <a:lnTo>
                    <a:pt x="22" y="10"/>
                  </a:lnTo>
                  <a:lnTo>
                    <a:pt x="18" y="14"/>
                  </a:lnTo>
                  <a:lnTo>
                    <a:pt x="16" y="18"/>
                  </a:lnTo>
                  <a:lnTo>
                    <a:pt x="12" y="20"/>
                  </a:lnTo>
                  <a:lnTo>
                    <a:pt x="10" y="22"/>
                  </a:lnTo>
                  <a:lnTo>
                    <a:pt x="10" y="24"/>
                  </a:lnTo>
                  <a:lnTo>
                    <a:pt x="8" y="24"/>
                  </a:lnTo>
                  <a:lnTo>
                    <a:pt x="8" y="24"/>
                  </a:lnTo>
                  <a:lnTo>
                    <a:pt x="4" y="26"/>
                  </a:lnTo>
                  <a:lnTo>
                    <a:pt x="2" y="26"/>
                  </a:lnTo>
                  <a:lnTo>
                    <a:pt x="0" y="26"/>
                  </a:lnTo>
                  <a:lnTo>
                    <a:pt x="0" y="26"/>
                  </a:lnTo>
                  <a:lnTo>
                    <a:pt x="0" y="28"/>
                  </a:lnTo>
                  <a:lnTo>
                    <a:pt x="0" y="28"/>
                  </a:lnTo>
                  <a:lnTo>
                    <a:pt x="0" y="28"/>
                  </a:lnTo>
                  <a:lnTo>
                    <a:pt x="0" y="28"/>
                  </a:lnTo>
                  <a:lnTo>
                    <a:pt x="0" y="30"/>
                  </a:lnTo>
                  <a:lnTo>
                    <a:pt x="0" y="30"/>
                  </a:lnTo>
                  <a:lnTo>
                    <a:pt x="2" y="30"/>
                  </a:lnTo>
                  <a:lnTo>
                    <a:pt x="2" y="30"/>
                  </a:lnTo>
                  <a:lnTo>
                    <a:pt x="4" y="30"/>
                  </a:lnTo>
                  <a:lnTo>
                    <a:pt x="8" y="30"/>
                  </a:lnTo>
                  <a:lnTo>
                    <a:pt x="10" y="32"/>
                  </a:lnTo>
                  <a:lnTo>
                    <a:pt x="10" y="32"/>
                  </a:lnTo>
                  <a:lnTo>
                    <a:pt x="12" y="32"/>
                  </a:lnTo>
                  <a:lnTo>
                    <a:pt x="12" y="34"/>
                  </a:lnTo>
                  <a:lnTo>
                    <a:pt x="14" y="36"/>
                  </a:lnTo>
                  <a:lnTo>
                    <a:pt x="16" y="36"/>
                  </a:lnTo>
                  <a:lnTo>
                    <a:pt x="18" y="40"/>
                  </a:lnTo>
                  <a:lnTo>
                    <a:pt x="20" y="42"/>
                  </a:lnTo>
                  <a:lnTo>
                    <a:pt x="22" y="44"/>
                  </a:lnTo>
                  <a:lnTo>
                    <a:pt x="22" y="46"/>
                  </a:lnTo>
                  <a:lnTo>
                    <a:pt x="24" y="46"/>
                  </a:lnTo>
                  <a:lnTo>
                    <a:pt x="26" y="48"/>
                  </a:lnTo>
                  <a:lnTo>
                    <a:pt x="26" y="48"/>
                  </a:lnTo>
                  <a:lnTo>
                    <a:pt x="28" y="50"/>
                  </a:lnTo>
                  <a:lnTo>
                    <a:pt x="28" y="50"/>
                  </a:lnTo>
                  <a:lnTo>
                    <a:pt x="28" y="50"/>
                  </a:lnTo>
                  <a:lnTo>
                    <a:pt x="28" y="50"/>
                  </a:lnTo>
                  <a:lnTo>
                    <a:pt x="26" y="52"/>
                  </a:lnTo>
                  <a:lnTo>
                    <a:pt x="26" y="52"/>
                  </a:lnTo>
                  <a:lnTo>
                    <a:pt x="24" y="52"/>
                  </a:lnTo>
                  <a:lnTo>
                    <a:pt x="24" y="54"/>
                  </a:lnTo>
                  <a:lnTo>
                    <a:pt x="20" y="54"/>
                  </a:lnTo>
                  <a:lnTo>
                    <a:pt x="20" y="56"/>
                  </a:lnTo>
                  <a:lnTo>
                    <a:pt x="18" y="56"/>
                  </a:lnTo>
                  <a:lnTo>
                    <a:pt x="18" y="56"/>
                  </a:lnTo>
                  <a:lnTo>
                    <a:pt x="18" y="58"/>
                  </a:lnTo>
                  <a:lnTo>
                    <a:pt x="18" y="60"/>
                  </a:lnTo>
                  <a:lnTo>
                    <a:pt x="18" y="62"/>
                  </a:lnTo>
                  <a:lnTo>
                    <a:pt x="18" y="64"/>
                  </a:lnTo>
                  <a:lnTo>
                    <a:pt x="18" y="66"/>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2" name="Freeform 370">
              <a:extLst>
                <a:ext uri="{FF2B5EF4-FFF2-40B4-BE49-F238E27FC236}">
                  <a16:creationId xmlns:a16="http://schemas.microsoft.com/office/drawing/2014/main" id="{2E3B4F99-20DE-45F2-8BC2-42FCAD8186AD}"/>
                </a:ext>
              </a:extLst>
            </p:cNvPr>
            <p:cNvSpPr>
              <a:spLocks/>
            </p:cNvSpPr>
            <p:nvPr/>
          </p:nvSpPr>
          <p:spPr bwMode="auto">
            <a:xfrm>
              <a:off x="3964366" y="3894490"/>
              <a:ext cx="415698" cy="467660"/>
            </a:xfrm>
            <a:custGeom>
              <a:avLst/>
              <a:gdLst>
                <a:gd name="T0" fmla="*/ 4 w 240"/>
                <a:gd name="T1" fmla="*/ 186 h 270"/>
                <a:gd name="T2" fmla="*/ 12 w 240"/>
                <a:gd name="T3" fmla="*/ 176 h 270"/>
                <a:gd name="T4" fmla="*/ 16 w 240"/>
                <a:gd name="T5" fmla="*/ 176 h 270"/>
                <a:gd name="T6" fmla="*/ 26 w 240"/>
                <a:gd name="T7" fmla="*/ 182 h 270"/>
                <a:gd name="T8" fmla="*/ 44 w 240"/>
                <a:gd name="T9" fmla="*/ 184 h 270"/>
                <a:gd name="T10" fmla="*/ 78 w 240"/>
                <a:gd name="T11" fmla="*/ 184 h 270"/>
                <a:gd name="T12" fmla="*/ 92 w 240"/>
                <a:gd name="T13" fmla="*/ 184 h 270"/>
                <a:gd name="T14" fmla="*/ 96 w 240"/>
                <a:gd name="T15" fmla="*/ 182 h 270"/>
                <a:gd name="T16" fmla="*/ 98 w 240"/>
                <a:gd name="T17" fmla="*/ 174 h 270"/>
                <a:gd name="T18" fmla="*/ 94 w 240"/>
                <a:gd name="T19" fmla="*/ 164 h 270"/>
                <a:gd name="T20" fmla="*/ 90 w 240"/>
                <a:gd name="T21" fmla="*/ 162 h 270"/>
                <a:gd name="T22" fmla="*/ 84 w 240"/>
                <a:gd name="T23" fmla="*/ 162 h 270"/>
                <a:gd name="T24" fmla="*/ 78 w 240"/>
                <a:gd name="T25" fmla="*/ 148 h 270"/>
                <a:gd name="T26" fmla="*/ 78 w 240"/>
                <a:gd name="T27" fmla="*/ 130 h 270"/>
                <a:gd name="T28" fmla="*/ 84 w 240"/>
                <a:gd name="T29" fmla="*/ 82 h 270"/>
                <a:gd name="T30" fmla="*/ 86 w 240"/>
                <a:gd name="T31" fmla="*/ 60 h 270"/>
                <a:gd name="T32" fmla="*/ 84 w 240"/>
                <a:gd name="T33" fmla="*/ 48 h 270"/>
                <a:gd name="T34" fmla="*/ 78 w 240"/>
                <a:gd name="T35" fmla="*/ 38 h 270"/>
                <a:gd name="T36" fmla="*/ 76 w 240"/>
                <a:gd name="T37" fmla="*/ 24 h 270"/>
                <a:gd name="T38" fmla="*/ 78 w 240"/>
                <a:gd name="T39" fmla="*/ 18 h 270"/>
                <a:gd name="T40" fmla="*/ 82 w 240"/>
                <a:gd name="T41" fmla="*/ 16 h 270"/>
                <a:gd name="T42" fmla="*/ 88 w 240"/>
                <a:gd name="T43" fmla="*/ 16 h 270"/>
                <a:gd name="T44" fmla="*/ 88 w 240"/>
                <a:gd name="T45" fmla="*/ 6 h 270"/>
                <a:gd name="T46" fmla="*/ 102 w 240"/>
                <a:gd name="T47" fmla="*/ 10 h 270"/>
                <a:gd name="T48" fmla="*/ 138 w 240"/>
                <a:gd name="T49" fmla="*/ 40 h 270"/>
                <a:gd name="T50" fmla="*/ 186 w 240"/>
                <a:gd name="T51" fmla="*/ 80 h 270"/>
                <a:gd name="T52" fmla="*/ 206 w 240"/>
                <a:gd name="T53" fmla="*/ 92 h 270"/>
                <a:gd name="T54" fmla="*/ 216 w 240"/>
                <a:gd name="T55" fmla="*/ 98 h 270"/>
                <a:gd name="T56" fmla="*/ 218 w 240"/>
                <a:gd name="T57" fmla="*/ 102 h 270"/>
                <a:gd name="T58" fmla="*/ 218 w 240"/>
                <a:gd name="T59" fmla="*/ 118 h 270"/>
                <a:gd name="T60" fmla="*/ 222 w 240"/>
                <a:gd name="T61" fmla="*/ 122 h 270"/>
                <a:gd name="T62" fmla="*/ 228 w 240"/>
                <a:gd name="T63" fmla="*/ 122 h 270"/>
                <a:gd name="T64" fmla="*/ 238 w 240"/>
                <a:gd name="T65" fmla="*/ 140 h 270"/>
                <a:gd name="T66" fmla="*/ 238 w 240"/>
                <a:gd name="T67" fmla="*/ 160 h 270"/>
                <a:gd name="T68" fmla="*/ 236 w 240"/>
                <a:gd name="T69" fmla="*/ 166 h 270"/>
                <a:gd name="T70" fmla="*/ 232 w 240"/>
                <a:gd name="T71" fmla="*/ 168 h 270"/>
                <a:gd name="T72" fmla="*/ 226 w 240"/>
                <a:gd name="T73" fmla="*/ 168 h 270"/>
                <a:gd name="T74" fmla="*/ 226 w 240"/>
                <a:gd name="T75" fmla="*/ 172 h 270"/>
                <a:gd name="T76" fmla="*/ 226 w 240"/>
                <a:gd name="T77" fmla="*/ 176 h 270"/>
                <a:gd name="T78" fmla="*/ 224 w 240"/>
                <a:gd name="T79" fmla="*/ 180 h 270"/>
                <a:gd name="T80" fmla="*/ 208 w 240"/>
                <a:gd name="T81" fmla="*/ 180 h 270"/>
                <a:gd name="T82" fmla="*/ 190 w 240"/>
                <a:gd name="T83" fmla="*/ 182 h 270"/>
                <a:gd name="T84" fmla="*/ 176 w 240"/>
                <a:gd name="T85" fmla="*/ 190 h 270"/>
                <a:gd name="T86" fmla="*/ 158 w 240"/>
                <a:gd name="T87" fmla="*/ 188 h 270"/>
                <a:gd name="T88" fmla="*/ 152 w 240"/>
                <a:gd name="T89" fmla="*/ 190 h 270"/>
                <a:gd name="T90" fmla="*/ 146 w 240"/>
                <a:gd name="T91" fmla="*/ 198 h 270"/>
                <a:gd name="T92" fmla="*/ 138 w 240"/>
                <a:gd name="T93" fmla="*/ 206 h 270"/>
                <a:gd name="T94" fmla="*/ 126 w 240"/>
                <a:gd name="T95" fmla="*/ 210 h 270"/>
                <a:gd name="T96" fmla="*/ 118 w 240"/>
                <a:gd name="T97" fmla="*/ 214 h 270"/>
                <a:gd name="T98" fmla="*/ 112 w 240"/>
                <a:gd name="T99" fmla="*/ 228 h 270"/>
                <a:gd name="T100" fmla="*/ 102 w 240"/>
                <a:gd name="T101" fmla="*/ 242 h 270"/>
                <a:gd name="T102" fmla="*/ 96 w 240"/>
                <a:gd name="T103" fmla="*/ 256 h 270"/>
                <a:gd name="T104" fmla="*/ 64 w 240"/>
                <a:gd name="T105" fmla="*/ 266 h 270"/>
                <a:gd name="T106" fmla="*/ 62 w 240"/>
                <a:gd name="T107" fmla="*/ 250 h 270"/>
                <a:gd name="T108" fmla="*/ 56 w 240"/>
                <a:gd name="T109" fmla="*/ 242 h 270"/>
                <a:gd name="T110" fmla="*/ 48 w 240"/>
                <a:gd name="T111" fmla="*/ 238 h 270"/>
                <a:gd name="T112" fmla="*/ 34 w 240"/>
                <a:gd name="T113" fmla="*/ 234 h 270"/>
                <a:gd name="T114" fmla="*/ 14 w 240"/>
                <a:gd name="T115" fmla="*/ 220 h 270"/>
                <a:gd name="T116" fmla="*/ 8 w 240"/>
                <a:gd name="T117" fmla="*/ 212 h 270"/>
                <a:gd name="T118" fmla="*/ 2 w 240"/>
                <a:gd name="T119" fmla="*/ 206 h 270"/>
                <a:gd name="T120" fmla="*/ 0 w 240"/>
                <a:gd name="T121" fmla="*/ 19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270">
                  <a:moveTo>
                    <a:pt x="0" y="194"/>
                  </a:moveTo>
                  <a:lnTo>
                    <a:pt x="0" y="194"/>
                  </a:lnTo>
                  <a:lnTo>
                    <a:pt x="0" y="192"/>
                  </a:lnTo>
                  <a:lnTo>
                    <a:pt x="2" y="188"/>
                  </a:lnTo>
                  <a:lnTo>
                    <a:pt x="4" y="186"/>
                  </a:lnTo>
                  <a:lnTo>
                    <a:pt x="6" y="182"/>
                  </a:lnTo>
                  <a:lnTo>
                    <a:pt x="8" y="180"/>
                  </a:lnTo>
                  <a:lnTo>
                    <a:pt x="10" y="178"/>
                  </a:lnTo>
                  <a:lnTo>
                    <a:pt x="10" y="178"/>
                  </a:lnTo>
                  <a:lnTo>
                    <a:pt x="12" y="176"/>
                  </a:lnTo>
                  <a:lnTo>
                    <a:pt x="12" y="176"/>
                  </a:lnTo>
                  <a:lnTo>
                    <a:pt x="14" y="174"/>
                  </a:lnTo>
                  <a:lnTo>
                    <a:pt x="14" y="174"/>
                  </a:lnTo>
                  <a:lnTo>
                    <a:pt x="16" y="174"/>
                  </a:lnTo>
                  <a:lnTo>
                    <a:pt x="16" y="176"/>
                  </a:lnTo>
                  <a:lnTo>
                    <a:pt x="18" y="176"/>
                  </a:lnTo>
                  <a:lnTo>
                    <a:pt x="20" y="178"/>
                  </a:lnTo>
                  <a:lnTo>
                    <a:pt x="22" y="180"/>
                  </a:lnTo>
                  <a:lnTo>
                    <a:pt x="24" y="180"/>
                  </a:lnTo>
                  <a:lnTo>
                    <a:pt x="26" y="182"/>
                  </a:lnTo>
                  <a:lnTo>
                    <a:pt x="28" y="182"/>
                  </a:lnTo>
                  <a:lnTo>
                    <a:pt x="30" y="182"/>
                  </a:lnTo>
                  <a:lnTo>
                    <a:pt x="34" y="182"/>
                  </a:lnTo>
                  <a:lnTo>
                    <a:pt x="36" y="184"/>
                  </a:lnTo>
                  <a:lnTo>
                    <a:pt x="44" y="184"/>
                  </a:lnTo>
                  <a:lnTo>
                    <a:pt x="52" y="184"/>
                  </a:lnTo>
                  <a:lnTo>
                    <a:pt x="58" y="184"/>
                  </a:lnTo>
                  <a:lnTo>
                    <a:pt x="66" y="184"/>
                  </a:lnTo>
                  <a:lnTo>
                    <a:pt x="72" y="184"/>
                  </a:lnTo>
                  <a:lnTo>
                    <a:pt x="78" y="184"/>
                  </a:lnTo>
                  <a:lnTo>
                    <a:pt x="82" y="184"/>
                  </a:lnTo>
                  <a:lnTo>
                    <a:pt x="84" y="184"/>
                  </a:lnTo>
                  <a:lnTo>
                    <a:pt x="88" y="184"/>
                  </a:lnTo>
                  <a:lnTo>
                    <a:pt x="90" y="184"/>
                  </a:lnTo>
                  <a:lnTo>
                    <a:pt x="92" y="184"/>
                  </a:lnTo>
                  <a:lnTo>
                    <a:pt x="94" y="184"/>
                  </a:lnTo>
                  <a:lnTo>
                    <a:pt x="94" y="184"/>
                  </a:lnTo>
                  <a:lnTo>
                    <a:pt x="96" y="184"/>
                  </a:lnTo>
                  <a:lnTo>
                    <a:pt x="96" y="182"/>
                  </a:lnTo>
                  <a:lnTo>
                    <a:pt x="96" y="182"/>
                  </a:lnTo>
                  <a:lnTo>
                    <a:pt x="96" y="180"/>
                  </a:lnTo>
                  <a:lnTo>
                    <a:pt x="98" y="180"/>
                  </a:lnTo>
                  <a:lnTo>
                    <a:pt x="98" y="178"/>
                  </a:lnTo>
                  <a:lnTo>
                    <a:pt x="98" y="176"/>
                  </a:lnTo>
                  <a:lnTo>
                    <a:pt x="98" y="174"/>
                  </a:lnTo>
                  <a:lnTo>
                    <a:pt x="98" y="172"/>
                  </a:lnTo>
                  <a:lnTo>
                    <a:pt x="96" y="168"/>
                  </a:lnTo>
                  <a:lnTo>
                    <a:pt x="96" y="166"/>
                  </a:lnTo>
                  <a:lnTo>
                    <a:pt x="96" y="166"/>
                  </a:lnTo>
                  <a:lnTo>
                    <a:pt x="94" y="164"/>
                  </a:lnTo>
                  <a:lnTo>
                    <a:pt x="94" y="164"/>
                  </a:lnTo>
                  <a:lnTo>
                    <a:pt x="94" y="164"/>
                  </a:lnTo>
                  <a:lnTo>
                    <a:pt x="92" y="164"/>
                  </a:lnTo>
                  <a:lnTo>
                    <a:pt x="90" y="164"/>
                  </a:lnTo>
                  <a:lnTo>
                    <a:pt x="90" y="162"/>
                  </a:lnTo>
                  <a:lnTo>
                    <a:pt x="88" y="162"/>
                  </a:lnTo>
                  <a:lnTo>
                    <a:pt x="86" y="162"/>
                  </a:lnTo>
                  <a:lnTo>
                    <a:pt x="84" y="162"/>
                  </a:lnTo>
                  <a:lnTo>
                    <a:pt x="84" y="162"/>
                  </a:lnTo>
                  <a:lnTo>
                    <a:pt x="84" y="162"/>
                  </a:lnTo>
                  <a:lnTo>
                    <a:pt x="82" y="158"/>
                  </a:lnTo>
                  <a:lnTo>
                    <a:pt x="80" y="156"/>
                  </a:lnTo>
                  <a:lnTo>
                    <a:pt x="80" y="154"/>
                  </a:lnTo>
                  <a:lnTo>
                    <a:pt x="80" y="150"/>
                  </a:lnTo>
                  <a:lnTo>
                    <a:pt x="78" y="148"/>
                  </a:lnTo>
                  <a:lnTo>
                    <a:pt x="78" y="144"/>
                  </a:lnTo>
                  <a:lnTo>
                    <a:pt x="78" y="142"/>
                  </a:lnTo>
                  <a:lnTo>
                    <a:pt x="78" y="138"/>
                  </a:lnTo>
                  <a:lnTo>
                    <a:pt x="78" y="134"/>
                  </a:lnTo>
                  <a:lnTo>
                    <a:pt x="78" y="130"/>
                  </a:lnTo>
                  <a:lnTo>
                    <a:pt x="78" y="122"/>
                  </a:lnTo>
                  <a:lnTo>
                    <a:pt x="80" y="114"/>
                  </a:lnTo>
                  <a:lnTo>
                    <a:pt x="82" y="106"/>
                  </a:lnTo>
                  <a:lnTo>
                    <a:pt x="84" y="90"/>
                  </a:lnTo>
                  <a:lnTo>
                    <a:pt x="84" y="82"/>
                  </a:lnTo>
                  <a:lnTo>
                    <a:pt x="86" y="74"/>
                  </a:lnTo>
                  <a:lnTo>
                    <a:pt x="86" y="70"/>
                  </a:lnTo>
                  <a:lnTo>
                    <a:pt x="86" y="68"/>
                  </a:lnTo>
                  <a:lnTo>
                    <a:pt x="86" y="64"/>
                  </a:lnTo>
                  <a:lnTo>
                    <a:pt x="86" y="60"/>
                  </a:lnTo>
                  <a:lnTo>
                    <a:pt x="86" y="58"/>
                  </a:lnTo>
                  <a:lnTo>
                    <a:pt x="86" y="54"/>
                  </a:lnTo>
                  <a:lnTo>
                    <a:pt x="86" y="52"/>
                  </a:lnTo>
                  <a:lnTo>
                    <a:pt x="84" y="50"/>
                  </a:lnTo>
                  <a:lnTo>
                    <a:pt x="84" y="48"/>
                  </a:lnTo>
                  <a:lnTo>
                    <a:pt x="84" y="46"/>
                  </a:lnTo>
                  <a:lnTo>
                    <a:pt x="80" y="44"/>
                  </a:lnTo>
                  <a:lnTo>
                    <a:pt x="78" y="42"/>
                  </a:lnTo>
                  <a:lnTo>
                    <a:pt x="78" y="40"/>
                  </a:lnTo>
                  <a:lnTo>
                    <a:pt x="78" y="38"/>
                  </a:lnTo>
                  <a:lnTo>
                    <a:pt x="76" y="36"/>
                  </a:lnTo>
                  <a:lnTo>
                    <a:pt x="76" y="34"/>
                  </a:lnTo>
                  <a:lnTo>
                    <a:pt x="76" y="32"/>
                  </a:lnTo>
                  <a:lnTo>
                    <a:pt x="76" y="28"/>
                  </a:lnTo>
                  <a:lnTo>
                    <a:pt x="76" y="24"/>
                  </a:lnTo>
                  <a:lnTo>
                    <a:pt x="76" y="22"/>
                  </a:lnTo>
                  <a:lnTo>
                    <a:pt x="76" y="20"/>
                  </a:lnTo>
                  <a:lnTo>
                    <a:pt x="76" y="20"/>
                  </a:lnTo>
                  <a:lnTo>
                    <a:pt x="76" y="18"/>
                  </a:lnTo>
                  <a:lnTo>
                    <a:pt x="78" y="18"/>
                  </a:lnTo>
                  <a:lnTo>
                    <a:pt x="78" y="18"/>
                  </a:lnTo>
                  <a:lnTo>
                    <a:pt x="78" y="16"/>
                  </a:lnTo>
                  <a:lnTo>
                    <a:pt x="80" y="16"/>
                  </a:lnTo>
                  <a:lnTo>
                    <a:pt x="80" y="16"/>
                  </a:lnTo>
                  <a:lnTo>
                    <a:pt x="82" y="16"/>
                  </a:lnTo>
                  <a:lnTo>
                    <a:pt x="84" y="16"/>
                  </a:lnTo>
                  <a:lnTo>
                    <a:pt x="86" y="16"/>
                  </a:lnTo>
                  <a:lnTo>
                    <a:pt x="86" y="16"/>
                  </a:lnTo>
                  <a:lnTo>
                    <a:pt x="86" y="16"/>
                  </a:lnTo>
                  <a:lnTo>
                    <a:pt x="88" y="16"/>
                  </a:lnTo>
                  <a:lnTo>
                    <a:pt x="88" y="14"/>
                  </a:lnTo>
                  <a:lnTo>
                    <a:pt x="88" y="14"/>
                  </a:lnTo>
                  <a:lnTo>
                    <a:pt x="88" y="12"/>
                  </a:lnTo>
                  <a:lnTo>
                    <a:pt x="88" y="10"/>
                  </a:lnTo>
                  <a:lnTo>
                    <a:pt x="88" y="6"/>
                  </a:lnTo>
                  <a:lnTo>
                    <a:pt x="88" y="2"/>
                  </a:lnTo>
                  <a:lnTo>
                    <a:pt x="88" y="0"/>
                  </a:lnTo>
                  <a:lnTo>
                    <a:pt x="94" y="4"/>
                  </a:lnTo>
                  <a:lnTo>
                    <a:pt x="98" y="8"/>
                  </a:lnTo>
                  <a:lnTo>
                    <a:pt x="102" y="10"/>
                  </a:lnTo>
                  <a:lnTo>
                    <a:pt x="108" y="14"/>
                  </a:lnTo>
                  <a:lnTo>
                    <a:pt x="114" y="20"/>
                  </a:lnTo>
                  <a:lnTo>
                    <a:pt x="120" y="24"/>
                  </a:lnTo>
                  <a:lnTo>
                    <a:pt x="126" y="30"/>
                  </a:lnTo>
                  <a:lnTo>
                    <a:pt x="138" y="40"/>
                  </a:lnTo>
                  <a:lnTo>
                    <a:pt x="152" y="52"/>
                  </a:lnTo>
                  <a:lnTo>
                    <a:pt x="166" y="64"/>
                  </a:lnTo>
                  <a:lnTo>
                    <a:pt x="174" y="70"/>
                  </a:lnTo>
                  <a:lnTo>
                    <a:pt x="180" y="74"/>
                  </a:lnTo>
                  <a:lnTo>
                    <a:pt x="186" y="80"/>
                  </a:lnTo>
                  <a:lnTo>
                    <a:pt x="192" y="84"/>
                  </a:lnTo>
                  <a:lnTo>
                    <a:pt x="198" y="88"/>
                  </a:lnTo>
                  <a:lnTo>
                    <a:pt x="204" y="92"/>
                  </a:lnTo>
                  <a:lnTo>
                    <a:pt x="204" y="92"/>
                  </a:lnTo>
                  <a:lnTo>
                    <a:pt x="206" y="92"/>
                  </a:lnTo>
                  <a:lnTo>
                    <a:pt x="210" y="94"/>
                  </a:lnTo>
                  <a:lnTo>
                    <a:pt x="212" y="94"/>
                  </a:lnTo>
                  <a:lnTo>
                    <a:pt x="214" y="96"/>
                  </a:lnTo>
                  <a:lnTo>
                    <a:pt x="216" y="96"/>
                  </a:lnTo>
                  <a:lnTo>
                    <a:pt x="216" y="98"/>
                  </a:lnTo>
                  <a:lnTo>
                    <a:pt x="218" y="98"/>
                  </a:lnTo>
                  <a:lnTo>
                    <a:pt x="218" y="98"/>
                  </a:lnTo>
                  <a:lnTo>
                    <a:pt x="218" y="100"/>
                  </a:lnTo>
                  <a:lnTo>
                    <a:pt x="218" y="102"/>
                  </a:lnTo>
                  <a:lnTo>
                    <a:pt x="218" y="102"/>
                  </a:lnTo>
                  <a:lnTo>
                    <a:pt x="218" y="106"/>
                  </a:lnTo>
                  <a:lnTo>
                    <a:pt x="218" y="110"/>
                  </a:lnTo>
                  <a:lnTo>
                    <a:pt x="218" y="114"/>
                  </a:lnTo>
                  <a:lnTo>
                    <a:pt x="218" y="116"/>
                  </a:lnTo>
                  <a:lnTo>
                    <a:pt x="218" y="118"/>
                  </a:lnTo>
                  <a:lnTo>
                    <a:pt x="220" y="118"/>
                  </a:lnTo>
                  <a:lnTo>
                    <a:pt x="220" y="120"/>
                  </a:lnTo>
                  <a:lnTo>
                    <a:pt x="220" y="120"/>
                  </a:lnTo>
                  <a:lnTo>
                    <a:pt x="220" y="122"/>
                  </a:lnTo>
                  <a:lnTo>
                    <a:pt x="222" y="122"/>
                  </a:lnTo>
                  <a:lnTo>
                    <a:pt x="222" y="122"/>
                  </a:lnTo>
                  <a:lnTo>
                    <a:pt x="224" y="122"/>
                  </a:lnTo>
                  <a:lnTo>
                    <a:pt x="224" y="122"/>
                  </a:lnTo>
                  <a:lnTo>
                    <a:pt x="226" y="122"/>
                  </a:lnTo>
                  <a:lnTo>
                    <a:pt x="228" y="122"/>
                  </a:lnTo>
                  <a:lnTo>
                    <a:pt x="232" y="120"/>
                  </a:lnTo>
                  <a:lnTo>
                    <a:pt x="234" y="120"/>
                  </a:lnTo>
                  <a:lnTo>
                    <a:pt x="236" y="126"/>
                  </a:lnTo>
                  <a:lnTo>
                    <a:pt x="236" y="132"/>
                  </a:lnTo>
                  <a:lnTo>
                    <a:pt x="238" y="140"/>
                  </a:lnTo>
                  <a:lnTo>
                    <a:pt x="238" y="144"/>
                  </a:lnTo>
                  <a:lnTo>
                    <a:pt x="238" y="148"/>
                  </a:lnTo>
                  <a:lnTo>
                    <a:pt x="240" y="152"/>
                  </a:lnTo>
                  <a:lnTo>
                    <a:pt x="240" y="156"/>
                  </a:lnTo>
                  <a:lnTo>
                    <a:pt x="238" y="160"/>
                  </a:lnTo>
                  <a:lnTo>
                    <a:pt x="238" y="160"/>
                  </a:lnTo>
                  <a:lnTo>
                    <a:pt x="238" y="162"/>
                  </a:lnTo>
                  <a:lnTo>
                    <a:pt x="238" y="164"/>
                  </a:lnTo>
                  <a:lnTo>
                    <a:pt x="238" y="164"/>
                  </a:lnTo>
                  <a:lnTo>
                    <a:pt x="236" y="166"/>
                  </a:lnTo>
                  <a:lnTo>
                    <a:pt x="236" y="166"/>
                  </a:lnTo>
                  <a:lnTo>
                    <a:pt x="236" y="168"/>
                  </a:lnTo>
                  <a:lnTo>
                    <a:pt x="236" y="168"/>
                  </a:lnTo>
                  <a:lnTo>
                    <a:pt x="234" y="168"/>
                  </a:lnTo>
                  <a:lnTo>
                    <a:pt x="232" y="168"/>
                  </a:lnTo>
                  <a:lnTo>
                    <a:pt x="232" y="168"/>
                  </a:lnTo>
                  <a:lnTo>
                    <a:pt x="230" y="168"/>
                  </a:lnTo>
                  <a:lnTo>
                    <a:pt x="228" y="168"/>
                  </a:lnTo>
                  <a:lnTo>
                    <a:pt x="226" y="168"/>
                  </a:lnTo>
                  <a:lnTo>
                    <a:pt x="226" y="168"/>
                  </a:lnTo>
                  <a:lnTo>
                    <a:pt x="226" y="168"/>
                  </a:lnTo>
                  <a:lnTo>
                    <a:pt x="226" y="168"/>
                  </a:lnTo>
                  <a:lnTo>
                    <a:pt x="226" y="168"/>
                  </a:lnTo>
                  <a:lnTo>
                    <a:pt x="226" y="170"/>
                  </a:lnTo>
                  <a:lnTo>
                    <a:pt x="226" y="172"/>
                  </a:lnTo>
                  <a:lnTo>
                    <a:pt x="226" y="172"/>
                  </a:lnTo>
                  <a:lnTo>
                    <a:pt x="226" y="174"/>
                  </a:lnTo>
                  <a:lnTo>
                    <a:pt x="226" y="176"/>
                  </a:lnTo>
                  <a:lnTo>
                    <a:pt x="226" y="176"/>
                  </a:lnTo>
                  <a:lnTo>
                    <a:pt x="226" y="176"/>
                  </a:lnTo>
                  <a:lnTo>
                    <a:pt x="226" y="176"/>
                  </a:lnTo>
                  <a:lnTo>
                    <a:pt x="226" y="178"/>
                  </a:lnTo>
                  <a:lnTo>
                    <a:pt x="224" y="178"/>
                  </a:lnTo>
                  <a:lnTo>
                    <a:pt x="224" y="178"/>
                  </a:lnTo>
                  <a:lnTo>
                    <a:pt x="224" y="180"/>
                  </a:lnTo>
                  <a:lnTo>
                    <a:pt x="220" y="180"/>
                  </a:lnTo>
                  <a:lnTo>
                    <a:pt x="218" y="180"/>
                  </a:lnTo>
                  <a:lnTo>
                    <a:pt x="216" y="180"/>
                  </a:lnTo>
                  <a:lnTo>
                    <a:pt x="214" y="180"/>
                  </a:lnTo>
                  <a:lnTo>
                    <a:pt x="208" y="180"/>
                  </a:lnTo>
                  <a:lnTo>
                    <a:pt x="202" y="180"/>
                  </a:lnTo>
                  <a:lnTo>
                    <a:pt x="198" y="180"/>
                  </a:lnTo>
                  <a:lnTo>
                    <a:pt x="194" y="180"/>
                  </a:lnTo>
                  <a:lnTo>
                    <a:pt x="192" y="182"/>
                  </a:lnTo>
                  <a:lnTo>
                    <a:pt x="190" y="182"/>
                  </a:lnTo>
                  <a:lnTo>
                    <a:pt x="188" y="182"/>
                  </a:lnTo>
                  <a:lnTo>
                    <a:pt x="186" y="182"/>
                  </a:lnTo>
                  <a:lnTo>
                    <a:pt x="186" y="184"/>
                  </a:lnTo>
                  <a:lnTo>
                    <a:pt x="182" y="186"/>
                  </a:lnTo>
                  <a:lnTo>
                    <a:pt x="176" y="190"/>
                  </a:lnTo>
                  <a:lnTo>
                    <a:pt x="174" y="190"/>
                  </a:lnTo>
                  <a:lnTo>
                    <a:pt x="170" y="188"/>
                  </a:lnTo>
                  <a:lnTo>
                    <a:pt x="166" y="188"/>
                  </a:lnTo>
                  <a:lnTo>
                    <a:pt x="162" y="188"/>
                  </a:lnTo>
                  <a:lnTo>
                    <a:pt x="158" y="188"/>
                  </a:lnTo>
                  <a:lnTo>
                    <a:pt x="156" y="188"/>
                  </a:lnTo>
                  <a:lnTo>
                    <a:pt x="156" y="188"/>
                  </a:lnTo>
                  <a:lnTo>
                    <a:pt x="154" y="188"/>
                  </a:lnTo>
                  <a:lnTo>
                    <a:pt x="152" y="188"/>
                  </a:lnTo>
                  <a:lnTo>
                    <a:pt x="152" y="190"/>
                  </a:lnTo>
                  <a:lnTo>
                    <a:pt x="150" y="190"/>
                  </a:lnTo>
                  <a:lnTo>
                    <a:pt x="150" y="192"/>
                  </a:lnTo>
                  <a:lnTo>
                    <a:pt x="148" y="194"/>
                  </a:lnTo>
                  <a:lnTo>
                    <a:pt x="146" y="196"/>
                  </a:lnTo>
                  <a:lnTo>
                    <a:pt x="146" y="198"/>
                  </a:lnTo>
                  <a:lnTo>
                    <a:pt x="144" y="198"/>
                  </a:lnTo>
                  <a:lnTo>
                    <a:pt x="142" y="202"/>
                  </a:lnTo>
                  <a:lnTo>
                    <a:pt x="140" y="204"/>
                  </a:lnTo>
                  <a:lnTo>
                    <a:pt x="138" y="206"/>
                  </a:lnTo>
                  <a:lnTo>
                    <a:pt x="138" y="206"/>
                  </a:lnTo>
                  <a:lnTo>
                    <a:pt x="136" y="206"/>
                  </a:lnTo>
                  <a:lnTo>
                    <a:pt x="136" y="208"/>
                  </a:lnTo>
                  <a:lnTo>
                    <a:pt x="134" y="208"/>
                  </a:lnTo>
                  <a:lnTo>
                    <a:pt x="128" y="210"/>
                  </a:lnTo>
                  <a:lnTo>
                    <a:pt x="126" y="210"/>
                  </a:lnTo>
                  <a:lnTo>
                    <a:pt x="122" y="210"/>
                  </a:lnTo>
                  <a:lnTo>
                    <a:pt x="120" y="212"/>
                  </a:lnTo>
                  <a:lnTo>
                    <a:pt x="120" y="212"/>
                  </a:lnTo>
                  <a:lnTo>
                    <a:pt x="118" y="212"/>
                  </a:lnTo>
                  <a:lnTo>
                    <a:pt x="118" y="214"/>
                  </a:lnTo>
                  <a:lnTo>
                    <a:pt x="118" y="214"/>
                  </a:lnTo>
                  <a:lnTo>
                    <a:pt x="116" y="216"/>
                  </a:lnTo>
                  <a:lnTo>
                    <a:pt x="114" y="220"/>
                  </a:lnTo>
                  <a:lnTo>
                    <a:pt x="112" y="226"/>
                  </a:lnTo>
                  <a:lnTo>
                    <a:pt x="112" y="228"/>
                  </a:lnTo>
                  <a:lnTo>
                    <a:pt x="110" y="232"/>
                  </a:lnTo>
                  <a:lnTo>
                    <a:pt x="108" y="232"/>
                  </a:lnTo>
                  <a:lnTo>
                    <a:pt x="108" y="234"/>
                  </a:lnTo>
                  <a:lnTo>
                    <a:pt x="104" y="238"/>
                  </a:lnTo>
                  <a:lnTo>
                    <a:pt x="102" y="242"/>
                  </a:lnTo>
                  <a:lnTo>
                    <a:pt x="100" y="244"/>
                  </a:lnTo>
                  <a:lnTo>
                    <a:pt x="100" y="246"/>
                  </a:lnTo>
                  <a:lnTo>
                    <a:pt x="98" y="248"/>
                  </a:lnTo>
                  <a:lnTo>
                    <a:pt x="98" y="250"/>
                  </a:lnTo>
                  <a:lnTo>
                    <a:pt x="96" y="256"/>
                  </a:lnTo>
                  <a:lnTo>
                    <a:pt x="96" y="262"/>
                  </a:lnTo>
                  <a:lnTo>
                    <a:pt x="94" y="266"/>
                  </a:lnTo>
                  <a:lnTo>
                    <a:pt x="78" y="268"/>
                  </a:lnTo>
                  <a:lnTo>
                    <a:pt x="64" y="270"/>
                  </a:lnTo>
                  <a:lnTo>
                    <a:pt x="64" y="266"/>
                  </a:lnTo>
                  <a:lnTo>
                    <a:pt x="64" y="260"/>
                  </a:lnTo>
                  <a:lnTo>
                    <a:pt x="64" y="258"/>
                  </a:lnTo>
                  <a:lnTo>
                    <a:pt x="62" y="254"/>
                  </a:lnTo>
                  <a:lnTo>
                    <a:pt x="62" y="252"/>
                  </a:lnTo>
                  <a:lnTo>
                    <a:pt x="62" y="250"/>
                  </a:lnTo>
                  <a:lnTo>
                    <a:pt x="60" y="250"/>
                  </a:lnTo>
                  <a:lnTo>
                    <a:pt x="60" y="248"/>
                  </a:lnTo>
                  <a:lnTo>
                    <a:pt x="58" y="246"/>
                  </a:lnTo>
                  <a:lnTo>
                    <a:pt x="58" y="244"/>
                  </a:lnTo>
                  <a:lnTo>
                    <a:pt x="56" y="242"/>
                  </a:lnTo>
                  <a:lnTo>
                    <a:pt x="54" y="242"/>
                  </a:lnTo>
                  <a:lnTo>
                    <a:pt x="52" y="240"/>
                  </a:lnTo>
                  <a:lnTo>
                    <a:pt x="50" y="238"/>
                  </a:lnTo>
                  <a:lnTo>
                    <a:pt x="50" y="238"/>
                  </a:lnTo>
                  <a:lnTo>
                    <a:pt x="48" y="238"/>
                  </a:lnTo>
                  <a:lnTo>
                    <a:pt x="46" y="236"/>
                  </a:lnTo>
                  <a:lnTo>
                    <a:pt x="44" y="236"/>
                  </a:lnTo>
                  <a:lnTo>
                    <a:pt x="42" y="236"/>
                  </a:lnTo>
                  <a:lnTo>
                    <a:pt x="36" y="234"/>
                  </a:lnTo>
                  <a:lnTo>
                    <a:pt x="34" y="234"/>
                  </a:lnTo>
                  <a:lnTo>
                    <a:pt x="24" y="232"/>
                  </a:lnTo>
                  <a:lnTo>
                    <a:pt x="18" y="230"/>
                  </a:lnTo>
                  <a:lnTo>
                    <a:pt x="18" y="228"/>
                  </a:lnTo>
                  <a:lnTo>
                    <a:pt x="16" y="224"/>
                  </a:lnTo>
                  <a:lnTo>
                    <a:pt x="14" y="220"/>
                  </a:lnTo>
                  <a:lnTo>
                    <a:pt x="14" y="218"/>
                  </a:lnTo>
                  <a:lnTo>
                    <a:pt x="12" y="216"/>
                  </a:lnTo>
                  <a:lnTo>
                    <a:pt x="10" y="214"/>
                  </a:lnTo>
                  <a:lnTo>
                    <a:pt x="10" y="212"/>
                  </a:lnTo>
                  <a:lnTo>
                    <a:pt x="8" y="212"/>
                  </a:lnTo>
                  <a:lnTo>
                    <a:pt x="6" y="210"/>
                  </a:lnTo>
                  <a:lnTo>
                    <a:pt x="4" y="208"/>
                  </a:lnTo>
                  <a:lnTo>
                    <a:pt x="2" y="208"/>
                  </a:lnTo>
                  <a:lnTo>
                    <a:pt x="2" y="208"/>
                  </a:lnTo>
                  <a:lnTo>
                    <a:pt x="2" y="206"/>
                  </a:lnTo>
                  <a:lnTo>
                    <a:pt x="0" y="204"/>
                  </a:lnTo>
                  <a:lnTo>
                    <a:pt x="0" y="202"/>
                  </a:lnTo>
                  <a:lnTo>
                    <a:pt x="0" y="200"/>
                  </a:lnTo>
                  <a:lnTo>
                    <a:pt x="0" y="196"/>
                  </a:lnTo>
                  <a:lnTo>
                    <a:pt x="0" y="19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3" name="Freeform 371">
              <a:extLst>
                <a:ext uri="{FF2B5EF4-FFF2-40B4-BE49-F238E27FC236}">
                  <a16:creationId xmlns:a16="http://schemas.microsoft.com/office/drawing/2014/main" id="{56AFD802-A2C5-4DAD-8BD4-0D15E0B867CE}"/>
                </a:ext>
              </a:extLst>
            </p:cNvPr>
            <p:cNvSpPr>
              <a:spLocks/>
            </p:cNvSpPr>
            <p:nvPr/>
          </p:nvSpPr>
          <p:spPr bwMode="auto">
            <a:xfrm>
              <a:off x="3964366" y="3894490"/>
              <a:ext cx="415698" cy="467660"/>
            </a:xfrm>
            <a:custGeom>
              <a:avLst/>
              <a:gdLst>
                <a:gd name="T0" fmla="*/ 4 w 240"/>
                <a:gd name="T1" fmla="*/ 186 h 270"/>
                <a:gd name="T2" fmla="*/ 12 w 240"/>
                <a:gd name="T3" fmla="*/ 176 h 270"/>
                <a:gd name="T4" fmla="*/ 16 w 240"/>
                <a:gd name="T5" fmla="*/ 176 h 270"/>
                <a:gd name="T6" fmla="*/ 26 w 240"/>
                <a:gd name="T7" fmla="*/ 182 h 270"/>
                <a:gd name="T8" fmla="*/ 44 w 240"/>
                <a:gd name="T9" fmla="*/ 184 h 270"/>
                <a:gd name="T10" fmla="*/ 78 w 240"/>
                <a:gd name="T11" fmla="*/ 184 h 270"/>
                <a:gd name="T12" fmla="*/ 92 w 240"/>
                <a:gd name="T13" fmla="*/ 184 h 270"/>
                <a:gd name="T14" fmla="*/ 96 w 240"/>
                <a:gd name="T15" fmla="*/ 182 h 270"/>
                <a:gd name="T16" fmla="*/ 98 w 240"/>
                <a:gd name="T17" fmla="*/ 174 h 270"/>
                <a:gd name="T18" fmla="*/ 94 w 240"/>
                <a:gd name="T19" fmla="*/ 164 h 270"/>
                <a:gd name="T20" fmla="*/ 90 w 240"/>
                <a:gd name="T21" fmla="*/ 162 h 270"/>
                <a:gd name="T22" fmla="*/ 84 w 240"/>
                <a:gd name="T23" fmla="*/ 162 h 270"/>
                <a:gd name="T24" fmla="*/ 78 w 240"/>
                <a:gd name="T25" fmla="*/ 148 h 270"/>
                <a:gd name="T26" fmla="*/ 78 w 240"/>
                <a:gd name="T27" fmla="*/ 130 h 270"/>
                <a:gd name="T28" fmla="*/ 84 w 240"/>
                <a:gd name="T29" fmla="*/ 82 h 270"/>
                <a:gd name="T30" fmla="*/ 86 w 240"/>
                <a:gd name="T31" fmla="*/ 60 h 270"/>
                <a:gd name="T32" fmla="*/ 84 w 240"/>
                <a:gd name="T33" fmla="*/ 48 h 270"/>
                <a:gd name="T34" fmla="*/ 78 w 240"/>
                <a:gd name="T35" fmla="*/ 38 h 270"/>
                <a:gd name="T36" fmla="*/ 76 w 240"/>
                <a:gd name="T37" fmla="*/ 24 h 270"/>
                <a:gd name="T38" fmla="*/ 78 w 240"/>
                <a:gd name="T39" fmla="*/ 18 h 270"/>
                <a:gd name="T40" fmla="*/ 82 w 240"/>
                <a:gd name="T41" fmla="*/ 16 h 270"/>
                <a:gd name="T42" fmla="*/ 88 w 240"/>
                <a:gd name="T43" fmla="*/ 16 h 270"/>
                <a:gd name="T44" fmla="*/ 88 w 240"/>
                <a:gd name="T45" fmla="*/ 6 h 270"/>
                <a:gd name="T46" fmla="*/ 102 w 240"/>
                <a:gd name="T47" fmla="*/ 10 h 270"/>
                <a:gd name="T48" fmla="*/ 138 w 240"/>
                <a:gd name="T49" fmla="*/ 40 h 270"/>
                <a:gd name="T50" fmla="*/ 186 w 240"/>
                <a:gd name="T51" fmla="*/ 80 h 270"/>
                <a:gd name="T52" fmla="*/ 206 w 240"/>
                <a:gd name="T53" fmla="*/ 92 h 270"/>
                <a:gd name="T54" fmla="*/ 216 w 240"/>
                <a:gd name="T55" fmla="*/ 98 h 270"/>
                <a:gd name="T56" fmla="*/ 218 w 240"/>
                <a:gd name="T57" fmla="*/ 102 h 270"/>
                <a:gd name="T58" fmla="*/ 218 w 240"/>
                <a:gd name="T59" fmla="*/ 118 h 270"/>
                <a:gd name="T60" fmla="*/ 222 w 240"/>
                <a:gd name="T61" fmla="*/ 122 h 270"/>
                <a:gd name="T62" fmla="*/ 228 w 240"/>
                <a:gd name="T63" fmla="*/ 122 h 270"/>
                <a:gd name="T64" fmla="*/ 238 w 240"/>
                <a:gd name="T65" fmla="*/ 140 h 270"/>
                <a:gd name="T66" fmla="*/ 238 w 240"/>
                <a:gd name="T67" fmla="*/ 160 h 270"/>
                <a:gd name="T68" fmla="*/ 236 w 240"/>
                <a:gd name="T69" fmla="*/ 166 h 270"/>
                <a:gd name="T70" fmla="*/ 232 w 240"/>
                <a:gd name="T71" fmla="*/ 168 h 270"/>
                <a:gd name="T72" fmla="*/ 226 w 240"/>
                <a:gd name="T73" fmla="*/ 168 h 270"/>
                <a:gd name="T74" fmla="*/ 226 w 240"/>
                <a:gd name="T75" fmla="*/ 172 h 270"/>
                <a:gd name="T76" fmla="*/ 226 w 240"/>
                <a:gd name="T77" fmla="*/ 176 h 270"/>
                <a:gd name="T78" fmla="*/ 224 w 240"/>
                <a:gd name="T79" fmla="*/ 180 h 270"/>
                <a:gd name="T80" fmla="*/ 208 w 240"/>
                <a:gd name="T81" fmla="*/ 180 h 270"/>
                <a:gd name="T82" fmla="*/ 190 w 240"/>
                <a:gd name="T83" fmla="*/ 182 h 270"/>
                <a:gd name="T84" fmla="*/ 176 w 240"/>
                <a:gd name="T85" fmla="*/ 190 h 270"/>
                <a:gd name="T86" fmla="*/ 158 w 240"/>
                <a:gd name="T87" fmla="*/ 188 h 270"/>
                <a:gd name="T88" fmla="*/ 152 w 240"/>
                <a:gd name="T89" fmla="*/ 190 h 270"/>
                <a:gd name="T90" fmla="*/ 146 w 240"/>
                <a:gd name="T91" fmla="*/ 198 h 270"/>
                <a:gd name="T92" fmla="*/ 138 w 240"/>
                <a:gd name="T93" fmla="*/ 206 h 270"/>
                <a:gd name="T94" fmla="*/ 126 w 240"/>
                <a:gd name="T95" fmla="*/ 210 h 270"/>
                <a:gd name="T96" fmla="*/ 118 w 240"/>
                <a:gd name="T97" fmla="*/ 214 h 270"/>
                <a:gd name="T98" fmla="*/ 112 w 240"/>
                <a:gd name="T99" fmla="*/ 228 h 270"/>
                <a:gd name="T100" fmla="*/ 102 w 240"/>
                <a:gd name="T101" fmla="*/ 242 h 270"/>
                <a:gd name="T102" fmla="*/ 96 w 240"/>
                <a:gd name="T103" fmla="*/ 256 h 270"/>
                <a:gd name="T104" fmla="*/ 64 w 240"/>
                <a:gd name="T105" fmla="*/ 266 h 270"/>
                <a:gd name="T106" fmla="*/ 62 w 240"/>
                <a:gd name="T107" fmla="*/ 250 h 270"/>
                <a:gd name="T108" fmla="*/ 56 w 240"/>
                <a:gd name="T109" fmla="*/ 242 h 270"/>
                <a:gd name="T110" fmla="*/ 48 w 240"/>
                <a:gd name="T111" fmla="*/ 238 h 270"/>
                <a:gd name="T112" fmla="*/ 34 w 240"/>
                <a:gd name="T113" fmla="*/ 234 h 270"/>
                <a:gd name="T114" fmla="*/ 14 w 240"/>
                <a:gd name="T115" fmla="*/ 220 h 270"/>
                <a:gd name="T116" fmla="*/ 8 w 240"/>
                <a:gd name="T117" fmla="*/ 212 h 270"/>
                <a:gd name="T118" fmla="*/ 2 w 240"/>
                <a:gd name="T119" fmla="*/ 206 h 270"/>
                <a:gd name="T120" fmla="*/ 0 w 240"/>
                <a:gd name="T121" fmla="*/ 19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270">
                  <a:moveTo>
                    <a:pt x="0" y="194"/>
                  </a:moveTo>
                  <a:lnTo>
                    <a:pt x="0" y="194"/>
                  </a:lnTo>
                  <a:lnTo>
                    <a:pt x="0" y="192"/>
                  </a:lnTo>
                  <a:lnTo>
                    <a:pt x="2" y="188"/>
                  </a:lnTo>
                  <a:lnTo>
                    <a:pt x="4" y="186"/>
                  </a:lnTo>
                  <a:lnTo>
                    <a:pt x="6" y="182"/>
                  </a:lnTo>
                  <a:lnTo>
                    <a:pt x="8" y="180"/>
                  </a:lnTo>
                  <a:lnTo>
                    <a:pt x="10" y="178"/>
                  </a:lnTo>
                  <a:lnTo>
                    <a:pt x="10" y="178"/>
                  </a:lnTo>
                  <a:lnTo>
                    <a:pt x="12" y="176"/>
                  </a:lnTo>
                  <a:lnTo>
                    <a:pt x="12" y="176"/>
                  </a:lnTo>
                  <a:lnTo>
                    <a:pt x="14" y="174"/>
                  </a:lnTo>
                  <a:lnTo>
                    <a:pt x="14" y="174"/>
                  </a:lnTo>
                  <a:lnTo>
                    <a:pt x="16" y="174"/>
                  </a:lnTo>
                  <a:lnTo>
                    <a:pt x="16" y="176"/>
                  </a:lnTo>
                  <a:lnTo>
                    <a:pt x="18" y="176"/>
                  </a:lnTo>
                  <a:lnTo>
                    <a:pt x="20" y="178"/>
                  </a:lnTo>
                  <a:lnTo>
                    <a:pt x="22" y="180"/>
                  </a:lnTo>
                  <a:lnTo>
                    <a:pt x="24" y="180"/>
                  </a:lnTo>
                  <a:lnTo>
                    <a:pt x="26" y="182"/>
                  </a:lnTo>
                  <a:lnTo>
                    <a:pt x="28" y="182"/>
                  </a:lnTo>
                  <a:lnTo>
                    <a:pt x="30" y="182"/>
                  </a:lnTo>
                  <a:lnTo>
                    <a:pt x="34" y="182"/>
                  </a:lnTo>
                  <a:lnTo>
                    <a:pt x="36" y="184"/>
                  </a:lnTo>
                  <a:lnTo>
                    <a:pt x="44" y="184"/>
                  </a:lnTo>
                  <a:lnTo>
                    <a:pt x="52" y="184"/>
                  </a:lnTo>
                  <a:lnTo>
                    <a:pt x="58" y="184"/>
                  </a:lnTo>
                  <a:lnTo>
                    <a:pt x="66" y="184"/>
                  </a:lnTo>
                  <a:lnTo>
                    <a:pt x="72" y="184"/>
                  </a:lnTo>
                  <a:lnTo>
                    <a:pt x="78" y="184"/>
                  </a:lnTo>
                  <a:lnTo>
                    <a:pt x="82" y="184"/>
                  </a:lnTo>
                  <a:lnTo>
                    <a:pt x="84" y="184"/>
                  </a:lnTo>
                  <a:lnTo>
                    <a:pt x="88" y="184"/>
                  </a:lnTo>
                  <a:lnTo>
                    <a:pt x="90" y="184"/>
                  </a:lnTo>
                  <a:lnTo>
                    <a:pt x="92" y="184"/>
                  </a:lnTo>
                  <a:lnTo>
                    <a:pt x="94" y="184"/>
                  </a:lnTo>
                  <a:lnTo>
                    <a:pt x="94" y="184"/>
                  </a:lnTo>
                  <a:lnTo>
                    <a:pt x="96" y="184"/>
                  </a:lnTo>
                  <a:lnTo>
                    <a:pt x="96" y="182"/>
                  </a:lnTo>
                  <a:lnTo>
                    <a:pt x="96" y="182"/>
                  </a:lnTo>
                  <a:lnTo>
                    <a:pt x="96" y="180"/>
                  </a:lnTo>
                  <a:lnTo>
                    <a:pt x="98" y="180"/>
                  </a:lnTo>
                  <a:lnTo>
                    <a:pt x="98" y="178"/>
                  </a:lnTo>
                  <a:lnTo>
                    <a:pt x="98" y="176"/>
                  </a:lnTo>
                  <a:lnTo>
                    <a:pt x="98" y="174"/>
                  </a:lnTo>
                  <a:lnTo>
                    <a:pt x="98" y="172"/>
                  </a:lnTo>
                  <a:lnTo>
                    <a:pt x="96" y="168"/>
                  </a:lnTo>
                  <a:lnTo>
                    <a:pt x="96" y="166"/>
                  </a:lnTo>
                  <a:lnTo>
                    <a:pt x="96" y="166"/>
                  </a:lnTo>
                  <a:lnTo>
                    <a:pt x="94" y="164"/>
                  </a:lnTo>
                  <a:lnTo>
                    <a:pt x="94" y="164"/>
                  </a:lnTo>
                  <a:lnTo>
                    <a:pt x="94" y="164"/>
                  </a:lnTo>
                  <a:lnTo>
                    <a:pt x="92" y="164"/>
                  </a:lnTo>
                  <a:lnTo>
                    <a:pt x="90" y="164"/>
                  </a:lnTo>
                  <a:lnTo>
                    <a:pt x="90" y="162"/>
                  </a:lnTo>
                  <a:lnTo>
                    <a:pt x="88" y="162"/>
                  </a:lnTo>
                  <a:lnTo>
                    <a:pt x="86" y="162"/>
                  </a:lnTo>
                  <a:lnTo>
                    <a:pt x="84" y="162"/>
                  </a:lnTo>
                  <a:lnTo>
                    <a:pt x="84" y="162"/>
                  </a:lnTo>
                  <a:lnTo>
                    <a:pt x="84" y="162"/>
                  </a:lnTo>
                  <a:lnTo>
                    <a:pt x="82" y="158"/>
                  </a:lnTo>
                  <a:lnTo>
                    <a:pt x="80" y="156"/>
                  </a:lnTo>
                  <a:lnTo>
                    <a:pt x="80" y="154"/>
                  </a:lnTo>
                  <a:lnTo>
                    <a:pt x="80" y="150"/>
                  </a:lnTo>
                  <a:lnTo>
                    <a:pt x="78" y="148"/>
                  </a:lnTo>
                  <a:lnTo>
                    <a:pt x="78" y="144"/>
                  </a:lnTo>
                  <a:lnTo>
                    <a:pt x="78" y="142"/>
                  </a:lnTo>
                  <a:lnTo>
                    <a:pt x="78" y="138"/>
                  </a:lnTo>
                  <a:lnTo>
                    <a:pt x="78" y="134"/>
                  </a:lnTo>
                  <a:lnTo>
                    <a:pt x="78" y="130"/>
                  </a:lnTo>
                  <a:lnTo>
                    <a:pt x="78" y="122"/>
                  </a:lnTo>
                  <a:lnTo>
                    <a:pt x="80" y="114"/>
                  </a:lnTo>
                  <a:lnTo>
                    <a:pt x="82" y="106"/>
                  </a:lnTo>
                  <a:lnTo>
                    <a:pt x="84" y="90"/>
                  </a:lnTo>
                  <a:lnTo>
                    <a:pt x="84" y="82"/>
                  </a:lnTo>
                  <a:lnTo>
                    <a:pt x="86" y="74"/>
                  </a:lnTo>
                  <a:lnTo>
                    <a:pt x="86" y="70"/>
                  </a:lnTo>
                  <a:lnTo>
                    <a:pt x="86" y="68"/>
                  </a:lnTo>
                  <a:lnTo>
                    <a:pt x="86" y="64"/>
                  </a:lnTo>
                  <a:lnTo>
                    <a:pt x="86" y="60"/>
                  </a:lnTo>
                  <a:lnTo>
                    <a:pt x="86" y="58"/>
                  </a:lnTo>
                  <a:lnTo>
                    <a:pt x="86" y="54"/>
                  </a:lnTo>
                  <a:lnTo>
                    <a:pt x="86" y="52"/>
                  </a:lnTo>
                  <a:lnTo>
                    <a:pt x="84" y="50"/>
                  </a:lnTo>
                  <a:lnTo>
                    <a:pt x="84" y="48"/>
                  </a:lnTo>
                  <a:lnTo>
                    <a:pt x="84" y="46"/>
                  </a:lnTo>
                  <a:lnTo>
                    <a:pt x="80" y="44"/>
                  </a:lnTo>
                  <a:lnTo>
                    <a:pt x="78" y="42"/>
                  </a:lnTo>
                  <a:lnTo>
                    <a:pt x="78" y="40"/>
                  </a:lnTo>
                  <a:lnTo>
                    <a:pt x="78" y="38"/>
                  </a:lnTo>
                  <a:lnTo>
                    <a:pt x="76" y="36"/>
                  </a:lnTo>
                  <a:lnTo>
                    <a:pt x="76" y="34"/>
                  </a:lnTo>
                  <a:lnTo>
                    <a:pt x="76" y="32"/>
                  </a:lnTo>
                  <a:lnTo>
                    <a:pt x="76" y="28"/>
                  </a:lnTo>
                  <a:lnTo>
                    <a:pt x="76" y="24"/>
                  </a:lnTo>
                  <a:lnTo>
                    <a:pt x="76" y="22"/>
                  </a:lnTo>
                  <a:lnTo>
                    <a:pt x="76" y="20"/>
                  </a:lnTo>
                  <a:lnTo>
                    <a:pt x="76" y="20"/>
                  </a:lnTo>
                  <a:lnTo>
                    <a:pt x="76" y="18"/>
                  </a:lnTo>
                  <a:lnTo>
                    <a:pt x="78" y="18"/>
                  </a:lnTo>
                  <a:lnTo>
                    <a:pt x="78" y="18"/>
                  </a:lnTo>
                  <a:lnTo>
                    <a:pt x="78" y="16"/>
                  </a:lnTo>
                  <a:lnTo>
                    <a:pt x="80" y="16"/>
                  </a:lnTo>
                  <a:lnTo>
                    <a:pt x="80" y="16"/>
                  </a:lnTo>
                  <a:lnTo>
                    <a:pt x="82" y="16"/>
                  </a:lnTo>
                  <a:lnTo>
                    <a:pt x="84" y="16"/>
                  </a:lnTo>
                  <a:lnTo>
                    <a:pt x="86" y="16"/>
                  </a:lnTo>
                  <a:lnTo>
                    <a:pt x="86" y="16"/>
                  </a:lnTo>
                  <a:lnTo>
                    <a:pt x="86" y="16"/>
                  </a:lnTo>
                  <a:lnTo>
                    <a:pt x="88" y="16"/>
                  </a:lnTo>
                  <a:lnTo>
                    <a:pt x="88" y="14"/>
                  </a:lnTo>
                  <a:lnTo>
                    <a:pt x="88" y="14"/>
                  </a:lnTo>
                  <a:lnTo>
                    <a:pt x="88" y="12"/>
                  </a:lnTo>
                  <a:lnTo>
                    <a:pt x="88" y="10"/>
                  </a:lnTo>
                  <a:lnTo>
                    <a:pt x="88" y="6"/>
                  </a:lnTo>
                  <a:lnTo>
                    <a:pt x="88" y="2"/>
                  </a:lnTo>
                  <a:lnTo>
                    <a:pt x="88" y="0"/>
                  </a:lnTo>
                  <a:lnTo>
                    <a:pt x="94" y="4"/>
                  </a:lnTo>
                  <a:lnTo>
                    <a:pt x="98" y="8"/>
                  </a:lnTo>
                  <a:lnTo>
                    <a:pt x="102" y="10"/>
                  </a:lnTo>
                  <a:lnTo>
                    <a:pt x="108" y="14"/>
                  </a:lnTo>
                  <a:lnTo>
                    <a:pt x="114" y="20"/>
                  </a:lnTo>
                  <a:lnTo>
                    <a:pt x="120" y="24"/>
                  </a:lnTo>
                  <a:lnTo>
                    <a:pt x="126" y="30"/>
                  </a:lnTo>
                  <a:lnTo>
                    <a:pt x="138" y="40"/>
                  </a:lnTo>
                  <a:lnTo>
                    <a:pt x="152" y="52"/>
                  </a:lnTo>
                  <a:lnTo>
                    <a:pt x="166" y="64"/>
                  </a:lnTo>
                  <a:lnTo>
                    <a:pt x="174" y="70"/>
                  </a:lnTo>
                  <a:lnTo>
                    <a:pt x="180" y="74"/>
                  </a:lnTo>
                  <a:lnTo>
                    <a:pt x="186" y="80"/>
                  </a:lnTo>
                  <a:lnTo>
                    <a:pt x="192" y="84"/>
                  </a:lnTo>
                  <a:lnTo>
                    <a:pt x="198" y="88"/>
                  </a:lnTo>
                  <a:lnTo>
                    <a:pt x="204" y="92"/>
                  </a:lnTo>
                  <a:lnTo>
                    <a:pt x="204" y="92"/>
                  </a:lnTo>
                  <a:lnTo>
                    <a:pt x="206" y="92"/>
                  </a:lnTo>
                  <a:lnTo>
                    <a:pt x="210" y="94"/>
                  </a:lnTo>
                  <a:lnTo>
                    <a:pt x="212" y="94"/>
                  </a:lnTo>
                  <a:lnTo>
                    <a:pt x="214" y="96"/>
                  </a:lnTo>
                  <a:lnTo>
                    <a:pt x="216" y="96"/>
                  </a:lnTo>
                  <a:lnTo>
                    <a:pt x="216" y="98"/>
                  </a:lnTo>
                  <a:lnTo>
                    <a:pt x="218" y="98"/>
                  </a:lnTo>
                  <a:lnTo>
                    <a:pt x="218" y="98"/>
                  </a:lnTo>
                  <a:lnTo>
                    <a:pt x="218" y="100"/>
                  </a:lnTo>
                  <a:lnTo>
                    <a:pt x="218" y="102"/>
                  </a:lnTo>
                  <a:lnTo>
                    <a:pt x="218" y="102"/>
                  </a:lnTo>
                  <a:lnTo>
                    <a:pt x="218" y="106"/>
                  </a:lnTo>
                  <a:lnTo>
                    <a:pt x="218" y="110"/>
                  </a:lnTo>
                  <a:lnTo>
                    <a:pt x="218" y="114"/>
                  </a:lnTo>
                  <a:lnTo>
                    <a:pt x="218" y="116"/>
                  </a:lnTo>
                  <a:lnTo>
                    <a:pt x="218" y="118"/>
                  </a:lnTo>
                  <a:lnTo>
                    <a:pt x="220" y="118"/>
                  </a:lnTo>
                  <a:lnTo>
                    <a:pt x="220" y="120"/>
                  </a:lnTo>
                  <a:lnTo>
                    <a:pt x="220" y="120"/>
                  </a:lnTo>
                  <a:lnTo>
                    <a:pt x="220" y="122"/>
                  </a:lnTo>
                  <a:lnTo>
                    <a:pt x="222" y="122"/>
                  </a:lnTo>
                  <a:lnTo>
                    <a:pt x="222" y="122"/>
                  </a:lnTo>
                  <a:lnTo>
                    <a:pt x="224" y="122"/>
                  </a:lnTo>
                  <a:lnTo>
                    <a:pt x="224" y="122"/>
                  </a:lnTo>
                  <a:lnTo>
                    <a:pt x="226" y="122"/>
                  </a:lnTo>
                  <a:lnTo>
                    <a:pt x="228" y="122"/>
                  </a:lnTo>
                  <a:lnTo>
                    <a:pt x="232" y="120"/>
                  </a:lnTo>
                  <a:lnTo>
                    <a:pt x="234" y="120"/>
                  </a:lnTo>
                  <a:lnTo>
                    <a:pt x="236" y="126"/>
                  </a:lnTo>
                  <a:lnTo>
                    <a:pt x="236" y="132"/>
                  </a:lnTo>
                  <a:lnTo>
                    <a:pt x="238" y="140"/>
                  </a:lnTo>
                  <a:lnTo>
                    <a:pt x="238" y="144"/>
                  </a:lnTo>
                  <a:lnTo>
                    <a:pt x="238" y="148"/>
                  </a:lnTo>
                  <a:lnTo>
                    <a:pt x="240" y="152"/>
                  </a:lnTo>
                  <a:lnTo>
                    <a:pt x="240" y="156"/>
                  </a:lnTo>
                  <a:lnTo>
                    <a:pt x="238" y="160"/>
                  </a:lnTo>
                  <a:lnTo>
                    <a:pt x="238" y="160"/>
                  </a:lnTo>
                  <a:lnTo>
                    <a:pt x="238" y="162"/>
                  </a:lnTo>
                  <a:lnTo>
                    <a:pt x="238" y="164"/>
                  </a:lnTo>
                  <a:lnTo>
                    <a:pt x="238" y="164"/>
                  </a:lnTo>
                  <a:lnTo>
                    <a:pt x="236" y="166"/>
                  </a:lnTo>
                  <a:lnTo>
                    <a:pt x="236" y="166"/>
                  </a:lnTo>
                  <a:lnTo>
                    <a:pt x="236" y="168"/>
                  </a:lnTo>
                  <a:lnTo>
                    <a:pt x="236" y="168"/>
                  </a:lnTo>
                  <a:lnTo>
                    <a:pt x="234" y="168"/>
                  </a:lnTo>
                  <a:lnTo>
                    <a:pt x="232" y="168"/>
                  </a:lnTo>
                  <a:lnTo>
                    <a:pt x="232" y="168"/>
                  </a:lnTo>
                  <a:lnTo>
                    <a:pt x="230" y="168"/>
                  </a:lnTo>
                  <a:lnTo>
                    <a:pt x="228" y="168"/>
                  </a:lnTo>
                  <a:lnTo>
                    <a:pt x="226" y="168"/>
                  </a:lnTo>
                  <a:lnTo>
                    <a:pt x="226" y="168"/>
                  </a:lnTo>
                  <a:lnTo>
                    <a:pt x="226" y="168"/>
                  </a:lnTo>
                  <a:lnTo>
                    <a:pt x="226" y="168"/>
                  </a:lnTo>
                  <a:lnTo>
                    <a:pt x="226" y="168"/>
                  </a:lnTo>
                  <a:lnTo>
                    <a:pt x="226" y="170"/>
                  </a:lnTo>
                  <a:lnTo>
                    <a:pt x="226" y="172"/>
                  </a:lnTo>
                  <a:lnTo>
                    <a:pt x="226" y="172"/>
                  </a:lnTo>
                  <a:lnTo>
                    <a:pt x="226" y="174"/>
                  </a:lnTo>
                  <a:lnTo>
                    <a:pt x="226" y="176"/>
                  </a:lnTo>
                  <a:lnTo>
                    <a:pt x="226" y="176"/>
                  </a:lnTo>
                  <a:lnTo>
                    <a:pt x="226" y="176"/>
                  </a:lnTo>
                  <a:lnTo>
                    <a:pt x="226" y="176"/>
                  </a:lnTo>
                  <a:lnTo>
                    <a:pt x="226" y="178"/>
                  </a:lnTo>
                  <a:lnTo>
                    <a:pt x="224" y="178"/>
                  </a:lnTo>
                  <a:lnTo>
                    <a:pt x="224" y="178"/>
                  </a:lnTo>
                  <a:lnTo>
                    <a:pt x="224" y="180"/>
                  </a:lnTo>
                  <a:lnTo>
                    <a:pt x="220" y="180"/>
                  </a:lnTo>
                  <a:lnTo>
                    <a:pt x="218" y="180"/>
                  </a:lnTo>
                  <a:lnTo>
                    <a:pt x="216" y="180"/>
                  </a:lnTo>
                  <a:lnTo>
                    <a:pt x="214" y="180"/>
                  </a:lnTo>
                  <a:lnTo>
                    <a:pt x="208" y="180"/>
                  </a:lnTo>
                  <a:lnTo>
                    <a:pt x="202" y="180"/>
                  </a:lnTo>
                  <a:lnTo>
                    <a:pt x="198" y="180"/>
                  </a:lnTo>
                  <a:lnTo>
                    <a:pt x="194" y="180"/>
                  </a:lnTo>
                  <a:lnTo>
                    <a:pt x="192" y="182"/>
                  </a:lnTo>
                  <a:lnTo>
                    <a:pt x="190" y="182"/>
                  </a:lnTo>
                  <a:lnTo>
                    <a:pt x="188" y="182"/>
                  </a:lnTo>
                  <a:lnTo>
                    <a:pt x="186" y="182"/>
                  </a:lnTo>
                  <a:lnTo>
                    <a:pt x="186" y="184"/>
                  </a:lnTo>
                  <a:lnTo>
                    <a:pt x="182" y="186"/>
                  </a:lnTo>
                  <a:lnTo>
                    <a:pt x="176" y="190"/>
                  </a:lnTo>
                  <a:lnTo>
                    <a:pt x="174" y="190"/>
                  </a:lnTo>
                  <a:lnTo>
                    <a:pt x="170" y="188"/>
                  </a:lnTo>
                  <a:lnTo>
                    <a:pt x="166" y="188"/>
                  </a:lnTo>
                  <a:lnTo>
                    <a:pt x="162" y="188"/>
                  </a:lnTo>
                  <a:lnTo>
                    <a:pt x="158" y="188"/>
                  </a:lnTo>
                  <a:lnTo>
                    <a:pt x="156" y="188"/>
                  </a:lnTo>
                  <a:lnTo>
                    <a:pt x="156" y="188"/>
                  </a:lnTo>
                  <a:lnTo>
                    <a:pt x="154" y="188"/>
                  </a:lnTo>
                  <a:lnTo>
                    <a:pt x="152" y="188"/>
                  </a:lnTo>
                  <a:lnTo>
                    <a:pt x="152" y="190"/>
                  </a:lnTo>
                  <a:lnTo>
                    <a:pt x="150" y="190"/>
                  </a:lnTo>
                  <a:lnTo>
                    <a:pt x="150" y="192"/>
                  </a:lnTo>
                  <a:lnTo>
                    <a:pt x="148" y="194"/>
                  </a:lnTo>
                  <a:lnTo>
                    <a:pt x="146" y="196"/>
                  </a:lnTo>
                  <a:lnTo>
                    <a:pt x="146" y="198"/>
                  </a:lnTo>
                  <a:lnTo>
                    <a:pt x="144" y="198"/>
                  </a:lnTo>
                  <a:lnTo>
                    <a:pt x="142" y="202"/>
                  </a:lnTo>
                  <a:lnTo>
                    <a:pt x="140" y="204"/>
                  </a:lnTo>
                  <a:lnTo>
                    <a:pt x="138" y="206"/>
                  </a:lnTo>
                  <a:lnTo>
                    <a:pt x="138" y="206"/>
                  </a:lnTo>
                  <a:lnTo>
                    <a:pt x="136" y="206"/>
                  </a:lnTo>
                  <a:lnTo>
                    <a:pt x="136" y="208"/>
                  </a:lnTo>
                  <a:lnTo>
                    <a:pt x="134" y="208"/>
                  </a:lnTo>
                  <a:lnTo>
                    <a:pt x="128" y="210"/>
                  </a:lnTo>
                  <a:lnTo>
                    <a:pt x="126" y="210"/>
                  </a:lnTo>
                  <a:lnTo>
                    <a:pt x="122" y="210"/>
                  </a:lnTo>
                  <a:lnTo>
                    <a:pt x="120" y="212"/>
                  </a:lnTo>
                  <a:lnTo>
                    <a:pt x="120" y="212"/>
                  </a:lnTo>
                  <a:lnTo>
                    <a:pt x="118" y="212"/>
                  </a:lnTo>
                  <a:lnTo>
                    <a:pt x="118" y="214"/>
                  </a:lnTo>
                  <a:lnTo>
                    <a:pt x="118" y="214"/>
                  </a:lnTo>
                  <a:lnTo>
                    <a:pt x="116" y="216"/>
                  </a:lnTo>
                  <a:lnTo>
                    <a:pt x="114" y="220"/>
                  </a:lnTo>
                  <a:lnTo>
                    <a:pt x="112" y="226"/>
                  </a:lnTo>
                  <a:lnTo>
                    <a:pt x="112" y="228"/>
                  </a:lnTo>
                  <a:lnTo>
                    <a:pt x="110" y="232"/>
                  </a:lnTo>
                  <a:lnTo>
                    <a:pt x="108" y="232"/>
                  </a:lnTo>
                  <a:lnTo>
                    <a:pt x="108" y="234"/>
                  </a:lnTo>
                  <a:lnTo>
                    <a:pt x="104" y="238"/>
                  </a:lnTo>
                  <a:lnTo>
                    <a:pt x="102" y="242"/>
                  </a:lnTo>
                  <a:lnTo>
                    <a:pt x="100" y="244"/>
                  </a:lnTo>
                  <a:lnTo>
                    <a:pt x="100" y="246"/>
                  </a:lnTo>
                  <a:lnTo>
                    <a:pt x="98" y="248"/>
                  </a:lnTo>
                  <a:lnTo>
                    <a:pt x="98" y="250"/>
                  </a:lnTo>
                  <a:lnTo>
                    <a:pt x="96" y="256"/>
                  </a:lnTo>
                  <a:lnTo>
                    <a:pt x="96" y="262"/>
                  </a:lnTo>
                  <a:lnTo>
                    <a:pt x="94" y="266"/>
                  </a:lnTo>
                  <a:lnTo>
                    <a:pt x="78" y="268"/>
                  </a:lnTo>
                  <a:lnTo>
                    <a:pt x="64" y="270"/>
                  </a:lnTo>
                  <a:lnTo>
                    <a:pt x="64" y="266"/>
                  </a:lnTo>
                  <a:lnTo>
                    <a:pt x="64" y="260"/>
                  </a:lnTo>
                  <a:lnTo>
                    <a:pt x="64" y="258"/>
                  </a:lnTo>
                  <a:lnTo>
                    <a:pt x="62" y="254"/>
                  </a:lnTo>
                  <a:lnTo>
                    <a:pt x="62" y="252"/>
                  </a:lnTo>
                  <a:lnTo>
                    <a:pt x="62" y="250"/>
                  </a:lnTo>
                  <a:lnTo>
                    <a:pt x="60" y="250"/>
                  </a:lnTo>
                  <a:lnTo>
                    <a:pt x="60" y="248"/>
                  </a:lnTo>
                  <a:lnTo>
                    <a:pt x="58" y="246"/>
                  </a:lnTo>
                  <a:lnTo>
                    <a:pt x="58" y="244"/>
                  </a:lnTo>
                  <a:lnTo>
                    <a:pt x="56" y="242"/>
                  </a:lnTo>
                  <a:lnTo>
                    <a:pt x="54" y="242"/>
                  </a:lnTo>
                  <a:lnTo>
                    <a:pt x="52" y="240"/>
                  </a:lnTo>
                  <a:lnTo>
                    <a:pt x="50" y="238"/>
                  </a:lnTo>
                  <a:lnTo>
                    <a:pt x="50" y="238"/>
                  </a:lnTo>
                  <a:lnTo>
                    <a:pt x="48" y="238"/>
                  </a:lnTo>
                  <a:lnTo>
                    <a:pt x="46" y="236"/>
                  </a:lnTo>
                  <a:lnTo>
                    <a:pt x="44" y="236"/>
                  </a:lnTo>
                  <a:lnTo>
                    <a:pt x="42" y="236"/>
                  </a:lnTo>
                  <a:lnTo>
                    <a:pt x="36" y="234"/>
                  </a:lnTo>
                  <a:lnTo>
                    <a:pt x="34" y="234"/>
                  </a:lnTo>
                  <a:lnTo>
                    <a:pt x="24" y="232"/>
                  </a:lnTo>
                  <a:lnTo>
                    <a:pt x="18" y="230"/>
                  </a:lnTo>
                  <a:lnTo>
                    <a:pt x="18" y="228"/>
                  </a:lnTo>
                  <a:lnTo>
                    <a:pt x="16" y="224"/>
                  </a:lnTo>
                  <a:lnTo>
                    <a:pt x="14" y="220"/>
                  </a:lnTo>
                  <a:lnTo>
                    <a:pt x="14" y="218"/>
                  </a:lnTo>
                  <a:lnTo>
                    <a:pt x="12" y="216"/>
                  </a:lnTo>
                  <a:lnTo>
                    <a:pt x="10" y="214"/>
                  </a:lnTo>
                  <a:lnTo>
                    <a:pt x="10" y="212"/>
                  </a:lnTo>
                  <a:lnTo>
                    <a:pt x="8" y="212"/>
                  </a:lnTo>
                  <a:lnTo>
                    <a:pt x="6" y="210"/>
                  </a:lnTo>
                  <a:lnTo>
                    <a:pt x="4" y="208"/>
                  </a:lnTo>
                  <a:lnTo>
                    <a:pt x="2" y="208"/>
                  </a:lnTo>
                  <a:lnTo>
                    <a:pt x="2" y="208"/>
                  </a:lnTo>
                  <a:lnTo>
                    <a:pt x="2" y="206"/>
                  </a:lnTo>
                  <a:lnTo>
                    <a:pt x="0" y="204"/>
                  </a:lnTo>
                  <a:lnTo>
                    <a:pt x="0" y="202"/>
                  </a:lnTo>
                  <a:lnTo>
                    <a:pt x="0" y="200"/>
                  </a:lnTo>
                  <a:lnTo>
                    <a:pt x="0" y="196"/>
                  </a:lnTo>
                  <a:lnTo>
                    <a:pt x="0" y="19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4" name="Freeform 372">
              <a:extLst>
                <a:ext uri="{FF2B5EF4-FFF2-40B4-BE49-F238E27FC236}">
                  <a16:creationId xmlns:a16="http://schemas.microsoft.com/office/drawing/2014/main" id="{32290DB8-7B31-4E5F-A916-59871980C9C1}"/>
                </a:ext>
              </a:extLst>
            </p:cNvPr>
            <p:cNvSpPr>
              <a:spLocks/>
            </p:cNvSpPr>
            <p:nvPr/>
          </p:nvSpPr>
          <p:spPr bwMode="auto">
            <a:xfrm>
              <a:off x="3933189" y="4369079"/>
              <a:ext cx="79675" cy="86604"/>
            </a:xfrm>
            <a:custGeom>
              <a:avLst/>
              <a:gdLst>
                <a:gd name="T0" fmla="*/ 46 w 46"/>
                <a:gd name="T1" fmla="*/ 24 h 50"/>
                <a:gd name="T2" fmla="*/ 46 w 46"/>
                <a:gd name="T3" fmla="*/ 18 h 50"/>
                <a:gd name="T4" fmla="*/ 44 w 46"/>
                <a:gd name="T5" fmla="*/ 12 h 50"/>
                <a:gd name="T6" fmla="*/ 44 w 46"/>
                <a:gd name="T7" fmla="*/ 8 h 50"/>
                <a:gd name="T8" fmla="*/ 42 w 46"/>
                <a:gd name="T9" fmla="*/ 6 h 50"/>
                <a:gd name="T10" fmla="*/ 38 w 46"/>
                <a:gd name="T11" fmla="*/ 4 h 50"/>
                <a:gd name="T12" fmla="*/ 34 w 46"/>
                <a:gd name="T13" fmla="*/ 2 h 50"/>
                <a:gd name="T14" fmla="*/ 28 w 46"/>
                <a:gd name="T15" fmla="*/ 0 h 50"/>
                <a:gd name="T16" fmla="*/ 26 w 46"/>
                <a:gd name="T17" fmla="*/ 0 h 50"/>
                <a:gd name="T18" fmla="*/ 26 w 46"/>
                <a:gd name="T19" fmla="*/ 0 h 50"/>
                <a:gd name="T20" fmla="*/ 22 w 46"/>
                <a:gd name="T21" fmla="*/ 0 h 50"/>
                <a:gd name="T22" fmla="*/ 18 w 46"/>
                <a:gd name="T23" fmla="*/ 4 h 50"/>
                <a:gd name="T24" fmla="*/ 14 w 46"/>
                <a:gd name="T25" fmla="*/ 6 h 50"/>
                <a:gd name="T26" fmla="*/ 10 w 46"/>
                <a:gd name="T27" fmla="*/ 6 h 50"/>
                <a:gd name="T28" fmla="*/ 0 w 46"/>
                <a:gd name="T29" fmla="*/ 10 h 50"/>
                <a:gd name="T30" fmla="*/ 0 w 46"/>
                <a:gd name="T31" fmla="*/ 16 h 50"/>
                <a:gd name="T32" fmla="*/ 2 w 46"/>
                <a:gd name="T33" fmla="*/ 20 h 50"/>
                <a:gd name="T34" fmla="*/ 2 w 46"/>
                <a:gd name="T35" fmla="*/ 22 h 50"/>
                <a:gd name="T36" fmla="*/ 4 w 46"/>
                <a:gd name="T37" fmla="*/ 24 h 50"/>
                <a:gd name="T38" fmla="*/ 6 w 46"/>
                <a:gd name="T39" fmla="*/ 24 h 50"/>
                <a:gd name="T40" fmla="*/ 8 w 46"/>
                <a:gd name="T41" fmla="*/ 24 h 50"/>
                <a:gd name="T42" fmla="*/ 12 w 46"/>
                <a:gd name="T43" fmla="*/ 26 h 50"/>
                <a:gd name="T44" fmla="*/ 12 w 46"/>
                <a:gd name="T45" fmla="*/ 26 h 50"/>
                <a:gd name="T46" fmla="*/ 14 w 46"/>
                <a:gd name="T47" fmla="*/ 28 h 50"/>
                <a:gd name="T48" fmla="*/ 14 w 46"/>
                <a:gd name="T49" fmla="*/ 30 h 50"/>
                <a:gd name="T50" fmla="*/ 14 w 46"/>
                <a:gd name="T51" fmla="*/ 34 h 50"/>
                <a:gd name="T52" fmla="*/ 14 w 46"/>
                <a:gd name="T53" fmla="*/ 36 h 50"/>
                <a:gd name="T54" fmla="*/ 16 w 46"/>
                <a:gd name="T55" fmla="*/ 38 h 50"/>
                <a:gd name="T56" fmla="*/ 16 w 46"/>
                <a:gd name="T57" fmla="*/ 40 h 50"/>
                <a:gd name="T58" fmla="*/ 18 w 46"/>
                <a:gd name="T59" fmla="*/ 40 h 50"/>
                <a:gd name="T60" fmla="*/ 22 w 46"/>
                <a:gd name="T61" fmla="*/ 42 h 50"/>
                <a:gd name="T62" fmla="*/ 26 w 46"/>
                <a:gd name="T63" fmla="*/ 42 h 50"/>
                <a:gd name="T64" fmla="*/ 28 w 46"/>
                <a:gd name="T65" fmla="*/ 42 h 50"/>
                <a:gd name="T66" fmla="*/ 30 w 46"/>
                <a:gd name="T67" fmla="*/ 44 h 50"/>
                <a:gd name="T68" fmla="*/ 32 w 46"/>
                <a:gd name="T69" fmla="*/ 48 h 50"/>
                <a:gd name="T70" fmla="*/ 34 w 46"/>
                <a:gd name="T7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50">
                  <a:moveTo>
                    <a:pt x="46" y="24"/>
                  </a:moveTo>
                  <a:lnTo>
                    <a:pt x="46" y="24"/>
                  </a:lnTo>
                  <a:lnTo>
                    <a:pt x="46" y="22"/>
                  </a:lnTo>
                  <a:lnTo>
                    <a:pt x="46" y="18"/>
                  </a:lnTo>
                  <a:lnTo>
                    <a:pt x="46" y="14"/>
                  </a:lnTo>
                  <a:lnTo>
                    <a:pt x="44" y="12"/>
                  </a:lnTo>
                  <a:lnTo>
                    <a:pt x="44" y="10"/>
                  </a:lnTo>
                  <a:lnTo>
                    <a:pt x="44" y="8"/>
                  </a:lnTo>
                  <a:lnTo>
                    <a:pt x="44" y="8"/>
                  </a:lnTo>
                  <a:lnTo>
                    <a:pt x="42" y="6"/>
                  </a:lnTo>
                  <a:lnTo>
                    <a:pt x="40" y="6"/>
                  </a:lnTo>
                  <a:lnTo>
                    <a:pt x="38" y="4"/>
                  </a:lnTo>
                  <a:lnTo>
                    <a:pt x="36" y="2"/>
                  </a:lnTo>
                  <a:lnTo>
                    <a:pt x="34" y="2"/>
                  </a:lnTo>
                  <a:lnTo>
                    <a:pt x="30" y="0"/>
                  </a:lnTo>
                  <a:lnTo>
                    <a:pt x="28" y="0"/>
                  </a:lnTo>
                  <a:lnTo>
                    <a:pt x="28" y="0"/>
                  </a:lnTo>
                  <a:lnTo>
                    <a:pt x="26" y="0"/>
                  </a:lnTo>
                  <a:lnTo>
                    <a:pt x="26" y="0"/>
                  </a:lnTo>
                  <a:lnTo>
                    <a:pt x="26" y="0"/>
                  </a:lnTo>
                  <a:lnTo>
                    <a:pt x="24" y="0"/>
                  </a:lnTo>
                  <a:lnTo>
                    <a:pt x="22" y="0"/>
                  </a:lnTo>
                  <a:lnTo>
                    <a:pt x="20" y="2"/>
                  </a:lnTo>
                  <a:lnTo>
                    <a:pt x="18" y="4"/>
                  </a:lnTo>
                  <a:lnTo>
                    <a:pt x="16" y="4"/>
                  </a:lnTo>
                  <a:lnTo>
                    <a:pt x="14" y="6"/>
                  </a:lnTo>
                  <a:lnTo>
                    <a:pt x="12" y="6"/>
                  </a:lnTo>
                  <a:lnTo>
                    <a:pt x="10" y="6"/>
                  </a:lnTo>
                  <a:lnTo>
                    <a:pt x="6" y="8"/>
                  </a:lnTo>
                  <a:lnTo>
                    <a:pt x="0" y="10"/>
                  </a:lnTo>
                  <a:lnTo>
                    <a:pt x="0" y="12"/>
                  </a:lnTo>
                  <a:lnTo>
                    <a:pt x="0" y="16"/>
                  </a:lnTo>
                  <a:lnTo>
                    <a:pt x="0" y="18"/>
                  </a:lnTo>
                  <a:lnTo>
                    <a:pt x="2" y="20"/>
                  </a:lnTo>
                  <a:lnTo>
                    <a:pt x="2" y="22"/>
                  </a:lnTo>
                  <a:lnTo>
                    <a:pt x="2" y="22"/>
                  </a:lnTo>
                  <a:lnTo>
                    <a:pt x="4" y="22"/>
                  </a:lnTo>
                  <a:lnTo>
                    <a:pt x="4" y="24"/>
                  </a:lnTo>
                  <a:lnTo>
                    <a:pt x="4" y="24"/>
                  </a:lnTo>
                  <a:lnTo>
                    <a:pt x="6" y="24"/>
                  </a:lnTo>
                  <a:lnTo>
                    <a:pt x="6" y="24"/>
                  </a:lnTo>
                  <a:lnTo>
                    <a:pt x="8" y="24"/>
                  </a:lnTo>
                  <a:lnTo>
                    <a:pt x="10" y="26"/>
                  </a:lnTo>
                  <a:lnTo>
                    <a:pt x="12" y="26"/>
                  </a:lnTo>
                  <a:lnTo>
                    <a:pt x="12" y="26"/>
                  </a:lnTo>
                  <a:lnTo>
                    <a:pt x="12" y="26"/>
                  </a:lnTo>
                  <a:lnTo>
                    <a:pt x="14" y="26"/>
                  </a:lnTo>
                  <a:lnTo>
                    <a:pt x="14" y="28"/>
                  </a:lnTo>
                  <a:lnTo>
                    <a:pt x="14" y="28"/>
                  </a:lnTo>
                  <a:lnTo>
                    <a:pt x="14" y="30"/>
                  </a:lnTo>
                  <a:lnTo>
                    <a:pt x="14" y="32"/>
                  </a:lnTo>
                  <a:lnTo>
                    <a:pt x="14" y="34"/>
                  </a:lnTo>
                  <a:lnTo>
                    <a:pt x="14" y="34"/>
                  </a:lnTo>
                  <a:lnTo>
                    <a:pt x="14" y="36"/>
                  </a:lnTo>
                  <a:lnTo>
                    <a:pt x="16" y="38"/>
                  </a:lnTo>
                  <a:lnTo>
                    <a:pt x="16" y="38"/>
                  </a:lnTo>
                  <a:lnTo>
                    <a:pt x="16" y="40"/>
                  </a:lnTo>
                  <a:lnTo>
                    <a:pt x="16" y="40"/>
                  </a:lnTo>
                  <a:lnTo>
                    <a:pt x="16" y="40"/>
                  </a:lnTo>
                  <a:lnTo>
                    <a:pt x="18" y="40"/>
                  </a:lnTo>
                  <a:lnTo>
                    <a:pt x="20" y="40"/>
                  </a:lnTo>
                  <a:lnTo>
                    <a:pt x="22" y="42"/>
                  </a:lnTo>
                  <a:lnTo>
                    <a:pt x="24" y="42"/>
                  </a:lnTo>
                  <a:lnTo>
                    <a:pt x="26" y="42"/>
                  </a:lnTo>
                  <a:lnTo>
                    <a:pt x="28" y="42"/>
                  </a:lnTo>
                  <a:lnTo>
                    <a:pt x="28" y="42"/>
                  </a:lnTo>
                  <a:lnTo>
                    <a:pt x="30" y="42"/>
                  </a:lnTo>
                  <a:lnTo>
                    <a:pt x="30" y="44"/>
                  </a:lnTo>
                  <a:lnTo>
                    <a:pt x="30" y="44"/>
                  </a:lnTo>
                  <a:lnTo>
                    <a:pt x="32" y="48"/>
                  </a:lnTo>
                  <a:lnTo>
                    <a:pt x="32" y="50"/>
                  </a:lnTo>
                  <a:lnTo>
                    <a:pt x="34" y="50"/>
                  </a:lnTo>
                  <a:lnTo>
                    <a:pt x="46" y="2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5" name="Freeform 373">
              <a:extLst>
                <a:ext uri="{FF2B5EF4-FFF2-40B4-BE49-F238E27FC236}">
                  <a16:creationId xmlns:a16="http://schemas.microsoft.com/office/drawing/2014/main" id="{73B96E0D-2717-4ACE-9CED-BEE768DAD43C}"/>
                </a:ext>
              </a:extLst>
            </p:cNvPr>
            <p:cNvSpPr>
              <a:spLocks/>
            </p:cNvSpPr>
            <p:nvPr/>
          </p:nvSpPr>
          <p:spPr bwMode="auto">
            <a:xfrm>
              <a:off x="3933189" y="4369079"/>
              <a:ext cx="79675" cy="86604"/>
            </a:xfrm>
            <a:custGeom>
              <a:avLst/>
              <a:gdLst>
                <a:gd name="T0" fmla="*/ 46 w 46"/>
                <a:gd name="T1" fmla="*/ 24 h 50"/>
                <a:gd name="T2" fmla="*/ 46 w 46"/>
                <a:gd name="T3" fmla="*/ 18 h 50"/>
                <a:gd name="T4" fmla="*/ 44 w 46"/>
                <a:gd name="T5" fmla="*/ 12 h 50"/>
                <a:gd name="T6" fmla="*/ 44 w 46"/>
                <a:gd name="T7" fmla="*/ 8 h 50"/>
                <a:gd name="T8" fmla="*/ 42 w 46"/>
                <a:gd name="T9" fmla="*/ 6 h 50"/>
                <a:gd name="T10" fmla="*/ 38 w 46"/>
                <a:gd name="T11" fmla="*/ 4 h 50"/>
                <a:gd name="T12" fmla="*/ 34 w 46"/>
                <a:gd name="T13" fmla="*/ 2 h 50"/>
                <a:gd name="T14" fmla="*/ 28 w 46"/>
                <a:gd name="T15" fmla="*/ 0 h 50"/>
                <a:gd name="T16" fmla="*/ 26 w 46"/>
                <a:gd name="T17" fmla="*/ 0 h 50"/>
                <a:gd name="T18" fmla="*/ 26 w 46"/>
                <a:gd name="T19" fmla="*/ 0 h 50"/>
                <a:gd name="T20" fmla="*/ 22 w 46"/>
                <a:gd name="T21" fmla="*/ 0 h 50"/>
                <a:gd name="T22" fmla="*/ 18 w 46"/>
                <a:gd name="T23" fmla="*/ 4 h 50"/>
                <a:gd name="T24" fmla="*/ 14 w 46"/>
                <a:gd name="T25" fmla="*/ 6 h 50"/>
                <a:gd name="T26" fmla="*/ 10 w 46"/>
                <a:gd name="T27" fmla="*/ 6 h 50"/>
                <a:gd name="T28" fmla="*/ 0 w 46"/>
                <a:gd name="T29" fmla="*/ 10 h 50"/>
                <a:gd name="T30" fmla="*/ 0 w 46"/>
                <a:gd name="T31" fmla="*/ 16 h 50"/>
                <a:gd name="T32" fmla="*/ 2 w 46"/>
                <a:gd name="T33" fmla="*/ 20 h 50"/>
                <a:gd name="T34" fmla="*/ 2 w 46"/>
                <a:gd name="T35" fmla="*/ 22 h 50"/>
                <a:gd name="T36" fmla="*/ 4 w 46"/>
                <a:gd name="T37" fmla="*/ 24 h 50"/>
                <a:gd name="T38" fmla="*/ 6 w 46"/>
                <a:gd name="T39" fmla="*/ 24 h 50"/>
                <a:gd name="T40" fmla="*/ 8 w 46"/>
                <a:gd name="T41" fmla="*/ 24 h 50"/>
                <a:gd name="T42" fmla="*/ 12 w 46"/>
                <a:gd name="T43" fmla="*/ 26 h 50"/>
                <a:gd name="T44" fmla="*/ 12 w 46"/>
                <a:gd name="T45" fmla="*/ 26 h 50"/>
                <a:gd name="T46" fmla="*/ 14 w 46"/>
                <a:gd name="T47" fmla="*/ 28 h 50"/>
                <a:gd name="T48" fmla="*/ 14 w 46"/>
                <a:gd name="T49" fmla="*/ 30 h 50"/>
                <a:gd name="T50" fmla="*/ 14 w 46"/>
                <a:gd name="T51" fmla="*/ 34 h 50"/>
                <a:gd name="T52" fmla="*/ 14 w 46"/>
                <a:gd name="T53" fmla="*/ 36 h 50"/>
                <a:gd name="T54" fmla="*/ 16 w 46"/>
                <a:gd name="T55" fmla="*/ 38 h 50"/>
                <a:gd name="T56" fmla="*/ 16 w 46"/>
                <a:gd name="T57" fmla="*/ 40 h 50"/>
                <a:gd name="T58" fmla="*/ 18 w 46"/>
                <a:gd name="T59" fmla="*/ 40 h 50"/>
                <a:gd name="T60" fmla="*/ 22 w 46"/>
                <a:gd name="T61" fmla="*/ 42 h 50"/>
                <a:gd name="T62" fmla="*/ 26 w 46"/>
                <a:gd name="T63" fmla="*/ 42 h 50"/>
                <a:gd name="T64" fmla="*/ 28 w 46"/>
                <a:gd name="T65" fmla="*/ 42 h 50"/>
                <a:gd name="T66" fmla="*/ 30 w 46"/>
                <a:gd name="T67" fmla="*/ 44 h 50"/>
                <a:gd name="T68" fmla="*/ 32 w 46"/>
                <a:gd name="T69" fmla="*/ 48 h 50"/>
                <a:gd name="T70" fmla="*/ 34 w 46"/>
                <a:gd name="T7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50">
                  <a:moveTo>
                    <a:pt x="46" y="24"/>
                  </a:moveTo>
                  <a:lnTo>
                    <a:pt x="46" y="24"/>
                  </a:lnTo>
                  <a:lnTo>
                    <a:pt x="46" y="22"/>
                  </a:lnTo>
                  <a:lnTo>
                    <a:pt x="46" y="18"/>
                  </a:lnTo>
                  <a:lnTo>
                    <a:pt x="46" y="14"/>
                  </a:lnTo>
                  <a:lnTo>
                    <a:pt x="44" y="12"/>
                  </a:lnTo>
                  <a:lnTo>
                    <a:pt x="44" y="10"/>
                  </a:lnTo>
                  <a:lnTo>
                    <a:pt x="44" y="8"/>
                  </a:lnTo>
                  <a:lnTo>
                    <a:pt x="44" y="8"/>
                  </a:lnTo>
                  <a:lnTo>
                    <a:pt x="42" y="6"/>
                  </a:lnTo>
                  <a:lnTo>
                    <a:pt x="40" y="6"/>
                  </a:lnTo>
                  <a:lnTo>
                    <a:pt x="38" y="4"/>
                  </a:lnTo>
                  <a:lnTo>
                    <a:pt x="36" y="2"/>
                  </a:lnTo>
                  <a:lnTo>
                    <a:pt x="34" y="2"/>
                  </a:lnTo>
                  <a:lnTo>
                    <a:pt x="30" y="0"/>
                  </a:lnTo>
                  <a:lnTo>
                    <a:pt x="28" y="0"/>
                  </a:lnTo>
                  <a:lnTo>
                    <a:pt x="28" y="0"/>
                  </a:lnTo>
                  <a:lnTo>
                    <a:pt x="26" y="0"/>
                  </a:lnTo>
                  <a:lnTo>
                    <a:pt x="26" y="0"/>
                  </a:lnTo>
                  <a:lnTo>
                    <a:pt x="26" y="0"/>
                  </a:lnTo>
                  <a:lnTo>
                    <a:pt x="24" y="0"/>
                  </a:lnTo>
                  <a:lnTo>
                    <a:pt x="22" y="0"/>
                  </a:lnTo>
                  <a:lnTo>
                    <a:pt x="20" y="2"/>
                  </a:lnTo>
                  <a:lnTo>
                    <a:pt x="18" y="4"/>
                  </a:lnTo>
                  <a:lnTo>
                    <a:pt x="16" y="4"/>
                  </a:lnTo>
                  <a:lnTo>
                    <a:pt x="14" y="6"/>
                  </a:lnTo>
                  <a:lnTo>
                    <a:pt x="12" y="6"/>
                  </a:lnTo>
                  <a:lnTo>
                    <a:pt x="10" y="6"/>
                  </a:lnTo>
                  <a:lnTo>
                    <a:pt x="6" y="8"/>
                  </a:lnTo>
                  <a:lnTo>
                    <a:pt x="0" y="10"/>
                  </a:lnTo>
                  <a:lnTo>
                    <a:pt x="0" y="12"/>
                  </a:lnTo>
                  <a:lnTo>
                    <a:pt x="0" y="16"/>
                  </a:lnTo>
                  <a:lnTo>
                    <a:pt x="0" y="18"/>
                  </a:lnTo>
                  <a:lnTo>
                    <a:pt x="2" y="20"/>
                  </a:lnTo>
                  <a:lnTo>
                    <a:pt x="2" y="22"/>
                  </a:lnTo>
                  <a:lnTo>
                    <a:pt x="2" y="22"/>
                  </a:lnTo>
                  <a:lnTo>
                    <a:pt x="4" y="22"/>
                  </a:lnTo>
                  <a:lnTo>
                    <a:pt x="4" y="24"/>
                  </a:lnTo>
                  <a:lnTo>
                    <a:pt x="4" y="24"/>
                  </a:lnTo>
                  <a:lnTo>
                    <a:pt x="6" y="24"/>
                  </a:lnTo>
                  <a:lnTo>
                    <a:pt x="6" y="24"/>
                  </a:lnTo>
                  <a:lnTo>
                    <a:pt x="8" y="24"/>
                  </a:lnTo>
                  <a:lnTo>
                    <a:pt x="10" y="26"/>
                  </a:lnTo>
                  <a:lnTo>
                    <a:pt x="12" y="26"/>
                  </a:lnTo>
                  <a:lnTo>
                    <a:pt x="12" y="26"/>
                  </a:lnTo>
                  <a:lnTo>
                    <a:pt x="12" y="26"/>
                  </a:lnTo>
                  <a:lnTo>
                    <a:pt x="14" y="26"/>
                  </a:lnTo>
                  <a:lnTo>
                    <a:pt x="14" y="28"/>
                  </a:lnTo>
                  <a:lnTo>
                    <a:pt x="14" y="28"/>
                  </a:lnTo>
                  <a:lnTo>
                    <a:pt x="14" y="30"/>
                  </a:lnTo>
                  <a:lnTo>
                    <a:pt x="14" y="32"/>
                  </a:lnTo>
                  <a:lnTo>
                    <a:pt x="14" y="34"/>
                  </a:lnTo>
                  <a:lnTo>
                    <a:pt x="14" y="34"/>
                  </a:lnTo>
                  <a:lnTo>
                    <a:pt x="14" y="36"/>
                  </a:lnTo>
                  <a:lnTo>
                    <a:pt x="16" y="38"/>
                  </a:lnTo>
                  <a:lnTo>
                    <a:pt x="16" y="38"/>
                  </a:lnTo>
                  <a:lnTo>
                    <a:pt x="16" y="40"/>
                  </a:lnTo>
                  <a:lnTo>
                    <a:pt x="16" y="40"/>
                  </a:lnTo>
                  <a:lnTo>
                    <a:pt x="16" y="40"/>
                  </a:lnTo>
                  <a:lnTo>
                    <a:pt x="18" y="40"/>
                  </a:lnTo>
                  <a:lnTo>
                    <a:pt x="20" y="40"/>
                  </a:lnTo>
                  <a:lnTo>
                    <a:pt x="22" y="42"/>
                  </a:lnTo>
                  <a:lnTo>
                    <a:pt x="24" y="42"/>
                  </a:lnTo>
                  <a:lnTo>
                    <a:pt x="26" y="42"/>
                  </a:lnTo>
                  <a:lnTo>
                    <a:pt x="28" y="42"/>
                  </a:lnTo>
                  <a:lnTo>
                    <a:pt x="28" y="42"/>
                  </a:lnTo>
                  <a:lnTo>
                    <a:pt x="30" y="42"/>
                  </a:lnTo>
                  <a:lnTo>
                    <a:pt x="30" y="44"/>
                  </a:lnTo>
                  <a:lnTo>
                    <a:pt x="30" y="44"/>
                  </a:lnTo>
                  <a:lnTo>
                    <a:pt x="32" y="48"/>
                  </a:lnTo>
                  <a:lnTo>
                    <a:pt x="32" y="50"/>
                  </a:lnTo>
                  <a:lnTo>
                    <a:pt x="34" y="50"/>
                  </a:lnTo>
                  <a:lnTo>
                    <a:pt x="46" y="2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6" name="Freeform 374">
              <a:extLst>
                <a:ext uri="{FF2B5EF4-FFF2-40B4-BE49-F238E27FC236}">
                  <a16:creationId xmlns:a16="http://schemas.microsoft.com/office/drawing/2014/main" id="{6D929A04-0B3F-4287-9E38-A9BC7C3BE28F}"/>
                </a:ext>
              </a:extLst>
            </p:cNvPr>
            <p:cNvSpPr>
              <a:spLocks/>
            </p:cNvSpPr>
            <p:nvPr/>
          </p:nvSpPr>
          <p:spPr bwMode="auto">
            <a:xfrm>
              <a:off x="4328102" y="4251298"/>
              <a:ext cx="273668" cy="273668"/>
            </a:xfrm>
            <a:custGeom>
              <a:avLst/>
              <a:gdLst>
                <a:gd name="T0" fmla="*/ 130 w 158"/>
                <a:gd name="T1" fmla="*/ 98 h 158"/>
                <a:gd name="T2" fmla="*/ 136 w 158"/>
                <a:gd name="T3" fmla="*/ 86 h 158"/>
                <a:gd name="T4" fmla="*/ 140 w 158"/>
                <a:gd name="T5" fmla="*/ 68 h 158"/>
                <a:gd name="T6" fmla="*/ 144 w 158"/>
                <a:gd name="T7" fmla="*/ 56 h 158"/>
                <a:gd name="T8" fmla="*/ 148 w 158"/>
                <a:gd name="T9" fmla="*/ 50 h 158"/>
                <a:gd name="T10" fmla="*/ 156 w 158"/>
                <a:gd name="T11" fmla="*/ 44 h 158"/>
                <a:gd name="T12" fmla="*/ 158 w 158"/>
                <a:gd name="T13" fmla="*/ 40 h 158"/>
                <a:gd name="T14" fmla="*/ 158 w 158"/>
                <a:gd name="T15" fmla="*/ 26 h 158"/>
                <a:gd name="T16" fmla="*/ 156 w 158"/>
                <a:gd name="T17" fmla="*/ 0 h 158"/>
                <a:gd name="T18" fmla="*/ 144 w 158"/>
                <a:gd name="T19" fmla="*/ 6 h 158"/>
                <a:gd name="T20" fmla="*/ 140 w 158"/>
                <a:gd name="T21" fmla="*/ 12 h 158"/>
                <a:gd name="T22" fmla="*/ 138 w 158"/>
                <a:gd name="T23" fmla="*/ 14 h 158"/>
                <a:gd name="T24" fmla="*/ 136 w 158"/>
                <a:gd name="T25" fmla="*/ 12 h 158"/>
                <a:gd name="T26" fmla="*/ 132 w 158"/>
                <a:gd name="T27" fmla="*/ 6 h 158"/>
                <a:gd name="T28" fmla="*/ 126 w 158"/>
                <a:gd name="T29" fmla="*/ 4 h 158"/>
                <a:gd name="T30" fmla="*/ 116 w 158"/>
                <a:gd name="T31" fmla="*/ 4 h 158"/>
                <a:gd name="T32" fmla="*/ 112 w 158"/>
                <a:gd name="T33" fmla="*/ 6 h 158"/>
                <a:gd name="T34" fmla="*/ 110 w 158"/>
                <a:gd name="T35" fmla="*/ 8 h 158"/>
                <a:gd name="T36" fmla="*/ 110 w 158"/>
                <a:gd name="T37" fmla="*/ 12 h 158"/>
                <a:gd name="T38" fmla="*/ 108 w 158"/>
                <a:gd name="T39" fmla="*/ 14 h 158"/>
                <a:gd name="T40" fmla="*/ 102 w 158"/>
                <a:gd name="T41" fmla="*/ 14 h 158"/>
                <a:gd name="T42" fmla="*/ 96 w 158"/>
                <a:gd name="T43" fmla="*/ 12 h 158"/>
                <a:gd name="T44" fmla="*/ 92 w 158"/>
                <a:gd name="T45" fmla="*/ 6 h 158"/>
                <a:gd name="T46" fmla="*/ 86 w 158"/>
                <a:gd name="T47" fmla="*/ 4 h 158"/>
                <a:gd name="T48" fmla="*/ 78 w 158"/>
                <a:gd name="T49" fmla="*/ 6 h 158"/>
                <a:gd name="T50" fmla="*/ 66 w 158"/>
                <a:gd name="T51" fmla="*/ 6 h 158"/>
                <a:gd name="T52" fmla="*/ 62 w 158"/>
                <a:gd name="T53" fmla="*/ 6 h 158"/>
                <a:gd name="T54" fmla="*/ 60 w 158"/>
                <a:gd name="T55" fmla="*/ 10 h 158"/>
                <a:gd name="T56" fmla="*/ 60 w 158"/>
                <a:gd name="T57" fmla="*/ 14 h 158"/>
                <a:gd name="T58" fmla="*/ 58 w 158"/>
                <a:gd name="T59" fmla="*/ 12 h 158"/>
                <a:gd name="T60" fmla="*/ 54 w 158"/>
                <a:gd name="T61" fmla="*/ 6 h 158"/>
                <a:gd name="T62" fmla="*/ 52 w 158"/>
                <a:gd name="T63" fmla="*/ 2 h 158"/>
                <a:gd name="T64" fmla="*/ 44 w 158"/>
                <a:gd name="T65" fmla="*/ 2 h 158"/>
                <a:gd name="T66" fmla="*/ 32 w 158"/>
                <a:gd name="T67" fmla="*/ 4 h 158"/>
                <a:gd name="T68" fmla="*/ 28 w 158"/>
                <a:gd name="T69" fmla="*/ 6 h 158"/>
                <a:gd name="T70" fmla="*/ 24 w 158"/>
                <a:gd name="T71" fmla="*/ 14 h 158"/>
                <a:gd name="T72" fmla="*/ 20 w 158"/>
                <a:gd name="T73" fmla="*/ 20 h 158"/>
                <a:gd name="T74" fmla="*/ 18 w 158"/>
                <a:gd name="T75" fmla="*/ 24 h 158"/>
                <a:gd name="T76" fmla="*/ 14 w 158"/>
                <a:gd name="T77" fmla="*/ 26 h 158"/>
                <a:gd name="T78" fmla="*/ 16 w 158"/>
                <a:gd name="T79" fmla="*/ 42 h 158"/>
                <a:gd name="T80" fmla="*/ 14 w 158"/>
                <a:gd name="T81" fmla="*/ 60 h 158"/>
                <a:gd name="T82" fmla="*/ 8 w 158"/>
                <a:gd name="T83" fmla="*/ 76 h 158"/>
                <a:gd name="T84" fmla="*/ 2 w 158"/>
                <a:gd name="T85" fmla="*/ 82 h 158"/>
                <a:gd name="T86" fmla="*/ 0 w 158"/>
                <a:gd name="T87" fmla="*/ 86 h 158"/>
                <a:gd name="T88" fmla="*/ 0 w 158"/>
                <a:gd name="T89" fmla="*/ 96 h 158"/>
                <a:gd name="T90" fmla="*/ 2 w 158"/>
                <a:gd name="T91" fmla="*/ 116 h 158"/>
                <a:gd name="T92" fmla="*/ 14 w 158"/>
                <a:gd name="T93" fmla="*/ 122 h 158"/>
                <a:gd name="T94" fmla="*/ 22 w 158"/>
                <a:gd name="T95" fmla="*/ 120 h 158"/>
                <a:gd name="T96" fmla="*/ 28 w 158"/>
                <a:gd name="T97" fmla="*/ 120 h 158"/>
                <a:gd name="T98" fmla="*/ 30 w 158"/>
                <a:gd name="T99" fmla="*/ 122 h 158"/>
                <a:gd name="T100" fmla="*/ 38 w 158"/>
                <a:gd name="T101" fmla="*/ 132 h 158"/>
                <a:gd name="T102" fmla="*/ 40 w 158"/>
                <a:gd name="T103" fmla="*/ 136 h 158"/>
                <a:gd name="T104" fmla="*/ 40 w 158"/>
                <a:gd name="T105" fmla="*/ 144 h 158"/>
                <a:gd name="T106" fmla="*/ 40 w 158"/>
                <a:gd name="T107" fmla="*/ 150 h 158"/>
                <a:gd name="T108" fmla="*/ 44 w 158"/>
                <a:gd name="T109" fmla="*/ 154 h 158"/>
                <a:gd name="T110" fmla="*/ 50 w 158"/>
                <a:gd name="T111" fmla="*/ 158 h 158"/>
                <a:gd name="T112" fmla="*/ 58 w 158"/>
                <a:gd name="T113" fmla="*/ 158 h 158"/>
                <a:gd name="T114" fmla="*/ 76 w 158"/>
                <a:gd name="T115" fmla="*/ 150 h 158"/>
                <a:gd name="T116" fmla="*/ 92 w 158"/>
                <a:gd name="T117" fmla="*/ 136 h 158"/>
                <a:gd name="T118" fmla="*/ 100 w 158"/>
                <a:gd name="T119" fmla="*/ 124 h 158"/>
                <a:gd name="T120" fmla="*/ 110 w 158"/>
                <a:gd name="T121" fmla="*/ 114 h 158"/>
                <a:gd name="T122" fmla="*/ 124 w 158"/>
                <a:gd name="T123" fmla="*/ 10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 h="158">
                  <a:moveTo>
                    <a:pt x="126" y="102"/>
                  </a:moveTo>
                  <a:lnTo>
                    <a:pt x="126" y="102"/>
                  </a:lnTo>
                  <a:lnTo>
                    <a:pt x="128" y="100"/>
                  </a:lnTo>
                  <a:lnTo>
                    <a:pt x="130" y="98"/>
                  </a:lnTo>
                  <a:lnTo>
                    <a:pt x="130" y="96"/>
                  </a:lnTo>
                  <a:lnTo>
                    <a:pt x="132" y="94"/>
                  </a:lnTo>
                  <a:lnTo>
                    <a:pt x="134" y="90"/>
                  </a:lnTo>
                  <a:lnTo>
                    <a:pt x="136" y="86"/>
                  </a:lnTo>
                  <a:lnTo>
                    <a:pt x="138" y="82"/>
                  </a:lnTo>
                  <a:lnTo>
                    <a:pt x="138" y="80"/>
                  </a:lnTo>
                  <a:lnTo>
                    <a:pt x="140" y="72"/>
                  </a:lnTo>
                  <a:lnTo>
                    <a:pt x="140" y="68"/>
                  </a:lnTo>
                  <a:lnTo>
                    <a:pt x="142" y="64"/>
                  </a:lnTo>
                  <a:lnTo>
                    <a:pt x="142" y="60"/>
                  </a:lnTo>
                  <a:lnTo>
                    <a:pt x="144" y="58"/>
                  </a:lnTo>
                  <a:lnTo>
                    <a:pt x="144" y="56"/>
                  </a:lnTo>
                  <a:lnTo>
                    <a:pt x="146" y="54"/>
                  </a:lnTo>
                  <a:lnTo>
                    <a:pt x="146" y="52"/>
                  </a:lnTo>
                  <a:lnTo>
                    <a:pt x="148" y="50"/>
                  </a:lnTo>
                  <a:lnTo>
                    <a:pt x="148" y="50"/>
                  </a:lnTo>
                  <a:lnTo>
                    <a:pt x="150" y="48"/>
                  </a:lnTo>
                  <a:lnTo>
                    <a:pt x="152" y="48"/>
                  </a:lnTo>
                  <a:lnTo>
                    <a:pt x="154" y="46"/>
                  </a:lnTo>
                  <a:lnTo>
                    <a:pt x="156" y="44"/>
                  </a:lnTo>
                  <a:lnTo>
                    <a:pt x="156" y="44"/>
                  </a:lnTo>
                  <a:lnTo>
                    <a:pt x="156" y="44"/>
                  </a:lnTo>
                  <a:lnTo>
                    <a:pt x="156" y="42"/>
                  </a:lnTo>
                  <a:lnTo>
                    <a:pt x="158" y="40"/>
                  </a:lnTo>
                  <a:lnTo>
                    <a:pt x="158" y="38"/>
                  </a:lnTo>
                  <a:lnTo>
                    <a:pt x="158" y="34"/>
                  </a:lnTo>
                  <a:lnTo>
                    <a:pt x="158" y="30"/>
                  </a:lnTo>
                  <a:lnTo>
                    <a:pt x="158" y="26"/>
                  </a:lnTo>
                  <a:lnTo>
                    <a:pt x="158" y="22"/>
                  </a:lnTo>
                  <a:lnTo>
                    <a:pt x="158" y="18"/>
                  </a:lnTo>
                  <a:lnTo>
                    <a:pt x="156" y="10"/>
                  </a:lnTo>
                  <a:lnTo>
                    <a:pt x="156" y="0"/>
                  </a:lnTo>
                  <a:lnTo>
                    <a:pt x="152" y="2"/>
                  </a:lnTo>
                  <a:lnTo>
                    <a:pt x="148" y="4"/>
                  </a:lnTo>
                  <a:lnTo>
                    <a:pt x="146" y="4"/>
                  </a:lnTo>
                  <a:lnTo>
                    <a:pt x="144" y="6"/>
                  </a:lnTo>
                  <a:lnTo>
                    <a:pt x="144" y="6"/>
                  </a:lnTo>
                  <a:lnTo>
                    <a:pt x="144" y="8"/>
                  </a:lnTo>
                  <a:lnTo>
                    <a:pt x="142" y="10"/>
                  </a:lnTo>
                  <a:lnTo>
                    <a:pt x="140" y="12"/>
                  </a:lnTo>
                  <a:lnTo>
                    <a:pt x="140" y="12"/>
                  </a:lnTo>
                  <a:lnTo>
                    <a:pt x="140" y="14"/>
                  </a:lnTo>
                  <a:lnTo>
                    <a:pt x="138" y="14"/>
                  </a:lnTo>
                  <a:lnTo>
                    <a:pt x="138" y="14"/>
                  </a:lnTo>
                  <a:lnTo>
                    <a:pt x="138" y="14"/>
                  </a:lnTo>
                  <a:lnTo>
                    <a:pt x="138" y="14"/>
                  </a:lnTo>
                  <a:lnTo>
                    <a:pt x="136" y="14"/>
                  </a:lnTo>
                  <a:lnTo>
                    <a:pt x="136" y="12"/>
                  </a:lnTo>
                  <a:lnTo>
                    <a:pt x="136" y="12"/>
                  </a:lnTo>
                  <a:lnTo>
                    <a:pt x="134" y="10"/>
                  </a:lnTo>
                  <a:lnTo>
                    <a:pt x="132" y="8"/>
                  </a:lnTo>
                  <a:lnTo>
                    <a:pt x="132" y="6"/>
                  </a:lnTo>
                  <a:lnTo>
                    <a:pt x="132" y="6"/>
                  </a:lnTo>
                  <a:lnTo>
                    <a:pt x="132" y="6"/>
                  </a:lnTo>
                  <a:lnTo>
                    <a:pt x="130" y="6"/>
                  </a:lnTo>
                  <a:lnTo>
                    <a:pt x="126" y="4"/>
                  </a:lnTo>
                  <a:lnTo>
                    <a:pt x="124" y="4"/>
                  </a:lnTo>
                  <a:lnTo>
                    <a:pt x="122" y="4"/>
                  </a:lnTo>
                  <a:lnTo>
                    <a:pt x="118" y="4"/>
                  </a:lnTo>
                  <a:lnTo>
                    <a:pt x="116" y="4"/>
                  </a:lnTo>
                  <a:lnTo>
                    <a:pt x="114" y="4"/>
                  </a:lnTo>
                  <a:lnTo>
                    <a:pt x="114" y="4"/>
                  </a:lnTo>
                  <a:lnTo>
                    <a:pt x="112" y="4"/>
                  </a:lnTo>
                  <a:lnTo>
                    <a:pt x="112" y="6"/>
                  </a:lnTo>
                  <a:lnTo>
                    <a:pt x="112" y="6"/>
                  </a:lnTo>
                  <a:lnTo>
                    <a:pt x="112" y="6"/>
                  </a:lnTo>
                  <a:lnTo>
                    <a:pt x="112" y="6"/>
                  </a:lnTo>
                  <a:lnTo>
                    <a:pt x="110" y="8"/>
                  </a:lnTo>
                  <a:lnTo>
                    <a:pt x="110" y="10"/>
                  </a:lnTo>
                  <a:lnTo>
                    <a:pt x="110" y="10"/>
                  </a:lnTo>
                  <a:lnTo>
                    <a:pt x="110" y="12"/>
                  </a:lnTo>
                  <a:lnTo>
                    <a:pt x="110" y="12"/>
                  </a:lnTo>
                  <a:lnTo>
                    <a:pt x="110" y="14"/>
                  </a:lnTo>
                  <a:lnTo>
                    <a:pt x="110" y="14"/>
                  </a:lnTo>
                  <a:lnTo>
                    <a:pt x="110" y="14"/>
                  </a:lnTo>
                  <a:lnTo>
                    <a:pt x="108" y="14"/>
                  </a:lnTo>
                  <a:lnTo>
                    <a:pt x="108" y="14"/>
                  </a:lnTo>
                  <a:lnTo>
                    <a:pt x="106" y="14"/>
                  </a:lnTo>
                  <a:lnTo>
                    <a:pt x="104" y="14"/>
                  </a:lnTo>
                  <a:lnTo>
                    <a:pt x="102" y="14"/>
                  </a:lnTo>
                  <a:lnTo>
                    <a:pt x="100" y="14"/>
                  </a:lnTo>
                  <a:lnTo>
                    <a:pt x="100" y="12"/>
                  </a:lnTo>
                  <a:lnTo>
                    <a:pt x="98" y="12"/>
                  </a:lnTo>
                  <a:lnTo>
                    <a:pt x="96" y="12"/>
                  </a:lnTo>
                  <a:lnTo>
                    <a:pt x="96" y="10"/>
                  </a:lnTo>
                  <a:lnTo>
                    <a:pt x="94" y="8"/>
                  </a:lnTo>
                  <a:lnTo>
                    <a:pt x="92" y="6"/>
                  </a:lnTo>
                  <a:lnTo>
                    <a:pt x="92" y="6"/>
                  </a:lnTo>
                  <a:lnTo>
                    <a:pt x="90" y="4"/>
                  </a:lnTo>
                  <a:lnTo>
                    <a:pt x="90" y="4"/>
                  </a:lnTo>
                  <a:lnTo>
                    <a:pt x="88" y="4"/>
                  </a:lnTo>
                  <a:lnTo>
                    <a:pt x="86" y="4"/>
                  </a:lnTo>
                  <a:lnTo>
                    <a:pt x="86" y="4"/>
                  </a:lnTo>
                  <a:lnTo>
                    <a:pt x="84" y="4"/>
                  </a:lnTo>
                  <a:lnTo>
                    <a:pt x="82" y="4"/>
                  </a:lnTo>
                  <a:lnTo>
                    <a:pt x="78" y="6"/>
                  </a:lnTo>
                  <a:lnTo>
                    <a:pt x="76" y="6"/>
                  </a:lnTo>
                  <a:lnTo>
                    <a:pt x="74" y="6"/>
                  </a:lnTo>
                  <a:lnTo>
                    <a:pt x="70" y="6"/>
                  </a:lnTo>
                  <a:lnTo>
                    <a:pt x="66" y="6"/>
                  </a:lnTo>
                  <a:lnTo>
                    <a:pt x="64" y="6"/>
                  </a:lnTo>
                  <a:lnTo>
                    <a:pt x="64" y="6"/>
                  </a:lnTo>
                  <a:lnTo>
                    <a:pt x="62" y="6"/>
                  </a:lnTo>
                  <a:lnTo>
                    <a:pt x="62" y="6"/>
                  </a:lnTo>
                  <a:lnTo>
                    <a:pt x="60" y="6"/>
                  </a:lnTo>
                  <a:lnTo>
                    <a:pt x="60" y="8"/>
                  </a:lnTo>
                  <a:lnTo>
                    <a:pt x="60" y="8"/>
                  </a:lnTo>
                  <a:lnTo>
                    <a:pt x="60" y="10"/>
                  </a:lnTo>
                  <a:lnTo>
                    <a:pt x="60" y="12"/>
                  </a:lnTo>
                  <a:lnTo>
                    <a:pt x="60" y="12"/>
                  </a:lnTo>
                  <a:lnTo>
                    <a:pt x="60" y="12"/>
                  </a:lnTo>
                  <a:lnTo>
                    <a:pt x="60" y="14"/>
                  </a:lnTo>
                  <a:lnTo>
                    <a:pt x="60" y="14"/>
                  </a:lnTo>
                  <a:lnTo>
                    <a:pt x="58" y="14"/>
                  </a:lnTo>
                  <a:lnTo>
                    <a:pt x="58" y="14"/>
                  </a:lnTo>
                  <a:lnTo>
                    <a:pt x="58" y="12"/>
                  </a:lnTo>
                  <a:lnTo>
                    <a:pt x="58" y="12"/>
                  </a:lnTo>
                  <a:lnTo>
                    <a:pt x="56" y="10"/>
                  </a:lnTo>
                  <a:lnTo>
                    <a:pt x="56" y="10"/>
                  </a:lnTo>
                  <a:lnTo>
                    <a:pt x="54" y="6"/>
                  </a:lnTo>
                  <a:lnTo>
                    <a:pt x="54" y="4"/>
                  </a:lnTo>
                  <a:lnTo>
                    <a:pt x="54" y="4"/>
                  </a:lnTo>
                  <a:lnTo>
                    <a:pt x="54" y="4"/>
                  </a:lnTo>
                  <a:lnTo>
                    <a:pt x="52" y="2"/>
                  </a:lnTo>
                  <a:lnTo>
                    <a:pt x="50" y="2"/>
                  </a:lnTo>
                  <a:lnTo>
                    <a:pt x="50" y="2"/>
                  </a:lnTo>
                  <a:lnTo>
                    <a:pt x="48" y="2"/>
                  </a:lnTo>
                  <a:lnTo>
                    <a:pt x="44" y="2"/>
                  </a:lnTo>
                  <a:lnTo>
                    <a:pt x="42" y="2"/>
                  </a:lnTo>
                  <a:lnTo>
                    <a:pt x="38" y="2"/>
                  </a:lnTo>
                  <a:lnTo>
                    <a:pt x="34" y="2"/>
                  </a:lnTo>
                  <a:lnTo>
                    <a:pt x="32" y="4"/>
                  </a:lnTo>
                  <a:lnTo>
                    <a:pt x="30" y="4"/>
                  </a:lnTo>
                  <a:lnTo>
                    <a:pt x="30" y="4"/>
                  </a:lnTo>
                  <a:lnTo>
                    <a:pt x="28" y="6"/>
                  </a:lnTo>
                  <a:lnTo>
                    <a:pt x="28" y="6"/>
                  </a:lnTo>
                  <a:lnTo>
                    <a:pt x="26" y="8"/>
                  </a:lnTo>
                  <a:lnTo>
                    <a:pt x="26" y="8"/>
                  </a:lnTo>
                  <a:lnTo>
                    <a:pt x="24" y="10"/>
                  </a:lnTo>
                  <a:lnTo>
                    <a:pt x="24" y="14"/>
                  </a:lnTo>
                  <a:lnTo>
                    <a:pt x="22" y="16"/>
                  </a:lnTo>
                  <a:lnTo>
                    <a:pt x="22" y="18"/>
                  </a:lnTo>
                  <a:lnTo>
                    <a:pt x="20" y="20"/>
                  </a:lnTo>
                  <a:lnTo>
                    <a:pt x="20" y="20"/>
                  </a:lnTo>
                  <a:lnTo>
                    <a:pt x="20" y="22"/>
                  </a:lnTo>
                  <a:lnTo>
                    <a:pt x="18" y="22"/>
                  </a:lnTo>
                  <a:lnTo>
                    <a:pt x="18" y="24"/>
                  </a:lnTo>
                  <a:lnTo>
                    <a:pt x="18" y="24"/>
                  </a:lnTo>
                  <a:lnTo>
                    <a:pt x="16" y="24"/>
                  </a:lnTo>
                  <a:lnTo>
                    <a:pt x="16" y="24"/>
                  </a:lnTo>
                  <a:lnTo>
                    <a:pt x="14" y="24"/>
                  </a:lnTo>
                  <a:lnTo>
                    <a:pt x="14" y="26"/>
                  </a:lnTo>
                  <a:lnTo>
                    <a:pt x="14" y="32"/>
                  </a:lnTo>
                  <a:lnTo>
                    <a:pt x="16" y="38"/>
                  </a:lnTo>
                  <a:lnTo>
                    <a:pt x="16" y="40"/>
                  </a:lnTo>
                  <a:lnTo>
                    <a:pt x="16" y="42"/>
                  </a:lnTo>
                  <a:lnTo>
                    <a:pt x="16" y="46"/>
                  </a:lnTo>
                  <a:lnTo>
                    <a:pt x="16" y="50"/>
                  </a:lnTo>
                  <a:lnTo>
                    <a:pt x="14" y="54"/>
                  </a:lnTo>
                  <a:lnTo>
                    <a:pt x="14" y="60"/>
                  </a:lnTo>
                  <a:lnTo>
                    <a:pt x="12" y="64"/>
                  </a:lnTo>
                  <a:lnTo>
                    <a:pt x="12" y="68"/>
                  </a:lnTo>
                  <a:lnTo>
                    <a:pt x="10" y="72"/>
                  </a:lnTo>
                  <a:lnTo>
                    <a:pt x="8" y="76"/>
                  </a:lnTo>
                  <a:lnTo>
                    <a:pt x="8" y="76"/>
                  </a:lnTo>
                  <a:lnTo>
                    <a:pt x="6" y="78"/>
                  </a:lnTo>
                  <a:lnTo>
                    <a:pt x="4" y="80"/>
                  </a:lnTo>
                  <a:lnTo>
                    <a:pt x="2" y="82"/>
                  </a:lnTo>
                  <a:lnTo>
                    <a:pt x="2" y="84"/>
                  </a:lnTo>
                  <a:lnTo>
                    <a:pt x="0" y="86"/>
                  </a:lnTo>
                  <a:lnTo>
                    <a:pt x="0" y="86"/>
                  </a:lnTo>
                  <a:lnTo>
                    <a:pt x="0" y="86"/>
                  </a:lnTo>
                  <a:lnTo>
                    <a:pt x="0" y="88"/>
                  </a:lnTo>
                  <a:lnTo>
                    <a:pt x="0" y="90"/>
                  </a:lnTo>
                  <a:lnTo>
                    <a:pt x="0" y="92"/>
                  </a:lnTo>
                  <a:lnTo>
                    <a:pt x="0" y="96"/>
                  </a:lnTo>
                  <a:lnTo>
                    <a:pt x="0" y="100"/>
                  </a:lnTo>
                  <a:lnTo>
                    <a:pt x="0" y="106"/>
                  </a:lnTo>
                  <a:lnTo>
                    <a:pt x="2" y="112"/>
                  </a:lnTo>
                  <a:lnTo>
                    <a:pt x="2" y="116"/>
                  </a:lnTo>
                  <a:lnTo>
                    <a:pt x="4" y="120"/>
                  </a:lnTo>
                  <a:lnTo>
                    <a:pt x="8" y="120"/>
                  </a:lnTo>
                  <a:lnTo>
                    <a:pt x="12" y="122"/>
                  </a:lnTo>
                  <a:lnTo>
                    <a:pt x="14" y="122"/>
                  </a:lnTo>
                  <a:lnTo>
                    <a:pt x="16" y="122"/>
                  </a:lnTo>
                  <a:lnTo>
                    <a:pt x="16" y="122"/>
                  </a:lnTo>
                  <a:lnTo>
                    <a:pt x="18" y="122"/>
                  </a:lnTo>
                  <a:lnTo>
                    <a:pt x="22" y="120"/>
                  </a:lnTo>
                  <a:lnTo>
                    <a:pt x="24" y="120"/>
                  </a:lnTo>
                  <a:lnTo>
                    <a:pt x="26" y="120"/>
                  </a:lnTo>
                  <a:lnTo>
                    <a:pt x="28" y="120"/>
                  </a:lnTo>
                  <a:lnTo>
                    <a:pt x="28" y="120"/>
                  </a:lnTo>
                  <a:lnTo>
                    <a:pt x="28" y="120"/>
                  </a:lnTo>
                  <a:lnTo>
                    <a:pt x="28" y="120"/>
                  </a:lnTo>
                  <a:lnTo>
                    <a:pt x="30" y="122"/>
                  </a:lnTo>
                  <a:lnTo>
                    <a:pt x="30" y="122"/>
                  </a:lnTo>
                  <a:lnTo>
                    <a:pt x="32" y="124"/>
                  </a:lnTo>
                  <a:lnTo>
                    <a:pt x="32" y="126"/>
                  </a:lnTo>
                  <a:lnTo>
                    <a:pt x="34" y="128"/>
                  </a:lnTo>
                  <a:lnTo>
                    <a:pt x="38" y="132"/>
                  </a:lnTo>
                  <a:lnTo>
                    <a:pt x="38" y="134"/>
                  </a:lnTo>
                  <a:lnTo>
                    <a:pt x="40" y="134"/>
                  </a:lnTo>
                  <a:lnTo>
                    <a:pt x="40" y="136"/>
                  </a:lnTo>
                  <a:lnTo>
                    <a:pt x="40" y="136"/>
                  </a:lnTo>
                  <a:lnTo>
                    <a:pt x="40" y="138"/>
                  </a:lnTo>
                  <a:lnTo>
                    <a:pt x="40" y="138"/>
                  </a:lnTo>
                  <a:lnTo>
                    <a:pt x="40" y="142"/>
                  </a:lnTo>
                  <a:lnTo>
                    <a:pt x="40" y="144"/>
                  </a:lnTo>
                  <a:lnTo>
                    <a:pt x="40" y="146"/>
                  </a:lnTo>
                  <a:lnTo>
                    <a:pt x="40" y="148"/>
                  </a:lnTo>
                  <a:lnTo>
                    <a:pt x="40" y="150"/>
                  </a:lnTo>
                  <a:lnTo>
                    <a:pt x="40" y="150"/>
                  </a:lnTo>
                  <a:lnTo>
                    <a:pt x="40" y="150"/>
                  </a:lnTo>
                  <a:lnTo>
                    <a:pt x="42" y="152"/>
                  </a:lnTo>
                  <a:lnTo>
                    <a:pt x="42" y="154"/>
                  </a:lnTo>
                  <a:lnTo>
                    <a:pt x="44" y="154"/>
                  </a:lnTo>
                  <a:lnTo>
                    <a:pt x="46" y="156"/>
                  </a:lnTo>
                  <a:lnTo>
                    <a:pt x="48" y="156"/>
                  </a:lnTo>
                  <a:lnTo>
                    <a:pt x="48" y="158"/>
                  </a:lnTo>
                  <a:lnTo>
                    <a:pt x="50" y="158"/>
                  </a:lnTo>
                  <a:lnTo>
                    <a:pt x="52" y="158"/>
                  </a:lnTo>
                  <a:lnTo>
                    <a:pt x="54" y="158"/>
                  </a:lnTo>
                  <a:lnTo>
                    <a:pt x="56" y="158"/>
                  </a:lnTo>
                  <a:lnTo>
                    <a:pt x="58" y="158"/>
                  </a:lnTo>
                  <a:lnTo>
                    <a:pt x="62" y="158"/>
                  </a:lnTo>
                  <a:lnTo>
                    <a:pt x="64" y="158"/>
                  </a:lnTo>
                  <a:lnTo>
                    <a:pt x="68" y="156"/>
                  </a:lnTo>
                  <a:lnTo>
                    <a:pt x="76" y="150"/>
                  </a:lnTo>
                  <a:lnTo>
                    <a:pt x="84" y="142"/>
                  </a:lnTo>
                  <a:lnTo>
                    <a:pt x="88" y="140"/>
                  </a:lnTo>
                  <a:lnTo>
                    <a:pt x="90" y="136"/>
                  </a:lnTo>
                  <a:lnTo>
                    <a:pt x="92" y="136"/>
                  </a:lnTo>
                  <a:lnTo>
                    <a:pt x="92" y="134"/>
                  </a:lnTo>
                  <a:lnTo>
                    <a:pt x="96" y="130"/>
                  </a:lnTo>
                  <a:lnTo>
                    <a:pt x="98" y="128"/>
                  </a:lnTo>
                  <a:lnTo>
                    <a:pt x="100" y="124"/>
                  </a:lnTo>
                  <a:lnTo>
                    <a:pt x="102" y="122"/>
                  </a:lnTo>
                  <a:lnTo>
                    <a:pt x="106" y="120"/>
                  </a:lnTo>
                  <a:lnTo>
                    <a:pt x="108" y="116"/>
                  </a:lnTo>
                  <a:lnTo>
                    <a:pt x="110" y="114"/>
                  </a:lnTo>
                  <a:lnTo>
                    <a:pt x="112" y="112"/>
                  </a:lnTo>
                  <a:lnTo>
                    <a:pt x="114" y="112"/>
                  </a:lnTo>
                  <a:lnTo>
                    <a:pt x="118" y="108"/>
                  </a:lnTo>
                  <a:lnTo>
                    <a:pt x="124" y="106"/>
                  </a:lnTo>
                  <a:lnTo>
                    <a:pt x="126" y="104"/>
                  </a:lnTo>
                  <a:lnTo>
                    <a:pt x="126" y="10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7" name="Freeform 375">
              <a:extLst>
                <a:ext uri="{FF2B5EF4-FFF2-40B4-BE49-F238E27FC236}">
                  <a16:creationId xmlns:a16="http://schemas.microsoft.com/office/drawing/2014/main" id="{195DF33F-77EB-4EA6-903F-68ADAF5822EA}"/>
                </a:ext>
              </a:extLst>
            </p:cNvPr>
            <p:cNvSpPr>
              <a:spLocks/>
            </p:cNvSpPr>
            <p:nvPr/>
          </p:nvSpPr>
          <p:spPr bwMode="auto">
            <a:xfrm>
              <a:off x="4328102" y="4251298"/>
              <a:ext cx="273668" cy="273668"/>
            </a:xfrm>
            <a:custGeom>
              <a:avLst/>
              <a:gdLst>
                <a:gd name="T0" fmla="*/ 130 w 158"/>
                <a:gd name="T1" fmla="*/ 98 h 158"/>
                <a:gd name="T2" fmla="*/ 136 w 158"/>
                <a:gd name="T3" fmla="*/ 86 h 158"/>
                <a:gd name="T4" fmla="*/ 140 w 158"/>
                <a:gd name="T5" fmla="*/ 68 h 158"/>
                <a:gd name="T6" fmla="*/ 144 w 158"/>
                <a:gd name="T7" fmla="*/ 56 h 158"/>
                <a:gd name="T8" fmla="*/ 148 w 158"/>
                <a:gd name="T9" fmla="*/ 50 h 158"/>
                <a:gd name="T10" fmla="*/ 156 w 158"/>
                <a:gd name="T11" fmla="*/ 44 h 158"/>
                <a:gd name="T12" fmla="*/ 158 w 158"/>
                <a:gd name="T13" fmla="*/ 40 h 158"/>
                <a:gd name="T14" fmla="*/ 158 w 158"/>
                <a:gd name="T15" fmla="*/ 26 h 158"/>
                <a:gd name="T16" fmla="*/ 156 w 158"/>
                <a:gd name="T17" fmla="*/ 0 h 158"/>
                <a:gd name="T18" fmla="*/ 144 w 158"/>
                <a:gd name="T19" fmla="*/ 6 h 158"/>
                <a:gd name="T20" fmla="*/ 140 w 158"/>
                <a:gd name="T21" fmla="*/ 12 h 158"/>
                <a:gd name="T22" fmla="*/ 138 w 158"/>
                <a:gd name="T23" fmla="*/ 14 h 158"/>
                <a:gd name="T24" fmla="*/ 136 w 158"/>
                <a:gd name="T25" fmla="*/ 12 h 158"/>
                <a:gd name="T26" fmla="*/ 132 w 158"/>
                <a:gd name="T27" fmla="*/ 6 h 158"/>
                <a:gd name="T28" fmla="*/ 126 w 158"/>
                <a:gd name="T29" fmla="*/ 4 h 158"/>
                <a:gd name="T30" fmla="*/ 116 w 158"/>
                <a:gd name="T31" fmla="*/ 4 h 158"/>
                <a:gd name="T32" fmla="*/ 112 w 158"/>
                <a:gd name="T33" fmla="*/ 6 h 158"/>
                <a:gd name="T34" fmla="*/ 110 w 158"/>
                <a:gd name="T35" fmla="*/ 8 h 158"/>
                <a:gd name="T36" fmla="*/ 110 w 158"/>
                <a:gd name="T37" fmla="*/ 12 h 158"/>
                <a:gd name="T38" fmla="*/ 108 w 158"/>
                <a:gd name="T39" fmla="*/ 14 h 158"/>
                <a:gd name="T40" fmla="*/ 102 w 158"/>
                <a:gd name="T41" fmla="*/ 14 h 158"/>
                <a:gd name="T42" fmla="*/ 96 w 158"/>
                <a:gd name="T43" fmla="*/ 12 h 158"/>
                <a:gd name="T44" fmla="*/ 92 w 158"/>
                <a:gd name="T45" fmla="*/ 6 h 158"/>
                <a:gd name="T46" fmla="*/ 86 w 158"/>
                <a:gd name="T47" fmla="*/ 4 h 158"/>
                <a:gd name="T48" fmla="*/ 78 w 158"/>
                <a:gd name="T49" fmla="*/ 6 h 158"/>
                <a:gd name="T50" fmla="*/ 66 w 158"/>
                <a:gd name="T51" fmla="*/ 6 h 158"/>
                <a:gd name="T52" fmla="*/ 62 w 158"/>
                <a:gd name="T53" fmla="*/ 6 h 158"/>
                <a:gd name="T54" fmla="*/ 60 w 158"/>
                <a:gd name="T55" fmla="*/ 10 h 158"/>
                <a:gd name="T56" fmla="*/ 60 w 158"/>
                <a:gd name="T57" fmla="*/ 14 h 158"/>
                <a:gd name="T58" fmla="*/ 58 w 158"/>
                <a:gd name="T59" fmla="*/ 12 h 158"/>
                <a:gd name="T60" fmla="*/ 54 w 158"/>
                <a:gd name="T61" fmla="*/ 6 h 158"/>
                <a:gd name="T62" fmla="*/ 52 w 158"/>
                <a:gd name="T63" fmla="*/ 2 h 158"/>
                <a:gd name="T64" fmla="*/ 44 w 158"/>
                <a:gd name="T65" fmla="*/ 2 h 158"/>
                <a:gd name="T66" fmla="*/ 32 w 158"/>
                <a:gd name="T67" fmla="*/ 4 h 158"/>
                <a:gd name="T68" fmla="*/ 28 w 158"/>
                <a:gd name="T69" fmla="*/ 6 h 158"/>
                <a:gd name="T70" fmla="*/ 24 w 158"/>
                <a:gd name="T71" fmla="*/ 14 h 158"/>
                <a:gd name="T72" fmla="*/ 20 w 158"/>
                <a:gd name="T73" fmla="*/ 20 h 158"/>
                <a:gd name="T74" fmla="*/ 18 w 158"/>
                <a:gd name="T75" fmla="*/ 24 h 158"/>
                <a:gd name="T76" fmla="*/ 14 w 158"/>
                <a:gd name="T77" fmla="*/ 26 h 158"/>
                <a:gd name="T78" fmla="*/ 16 w 158"/>
                <a:gd name="T79" fmla="*/ 42 h 158"/>
                <a:gd name="T80" fmla="*/ 14 w 158"/>
                <a:gd name="T81" fmla="*/ 60 h 158"/>
                <a:gd name="T82" fmla="*/ 8 w 158"/>
                <a:gd name="T83" fmla="*/ 76 h 158"/>
                <a:gd name="T84" fmla="*/ 2 w 158"/>
                <a:gd name="T85" fmla="*/ 82 h 158"/>
                <a:gd name="T86" fmla="*/ 0 w 158"/>
                <a:gd name="T87" fmla="*/ 86 h 158"/>
                <a:gd name="T88" fmla="*/ 0 w 158"/>
                <a:gd name="T89" fmla="*/ 96 h 158"/>
                <a:gd name="T90" fmla="*/ 2 w 158"/>
                <a:gd name="T91" fmla="*/ 116 h 158"/>
                <a:gd name="T92" fmla="*/ 14 w 158"/>
                <a:gd name="T93" fmla="*/ 122 h 158"/>
                <a:gd name="T94" fmla="*/ 22 w 158"/>
                <a:gd name="T95" fmla="*/ 120 h 158"/>
                <a:gd name="T96" fmla="*/ 28 w 158"/>
                <a:gd name="T97" fmla="*/ 120 h 158"/>
                <a:gd name="T98" fmla="*/ 30 w 158"/>
                <a:gd name="T99" fmla="*/ 122 h 158"/>
                <a:gd name="T100" fmla="*/ 38 w 158"/>
                <a:gd name="T101" fmla="*/ 132 h 158"/>
                <a:gd name="T102" fmla="*/ 40 w 158"/>
                <a:gd name="T103" fmla="*/ 136 h 158"/>
                <a:gd name="T104" fmla="*/ 40 w 158"/>
                <a:gd name="T105" fmla="*/ 144 h 158"/>
                <a:gd name="T106" fmla="*/ 40 w 158"/>
                <a:gd name="T107" fmla="*/ 150 h 158"/>
                <a:gd name="T108" fmla="*/ 44 w 158"/>
                <a:gd name="T109" fmla="*/ 154 h 158"/>
                <a:gd name="T110" fmla="*/ 50 w 158"/>
                <a:gd name="T111" fmla="*/ 158 h 158"/>
                <a:gd name="T112" fmla="*/ 58 w 158"/>
                <a:gd name="T113" fmla="*/ 158 h 158"/>
                <a:gd name="T114" fmla="*/ 76 w 158"/>
                <a:gd name="T115" fmla="*/ 150 h 158"/>
                <a:gd name="T116" fmla="*/ 92 w 158"/>
                <a:gd name="T117" fmla="*/ 136 h 158"/>
                <a:gd name="T118" fmla="*/ 100 w 158"/>
                <a:gd name="T119" fmla="*/ 124 h 158"/>
                <a:gd name="T120" fmla="*/ 110 w 158"/>
                <a:gd name="T121" fmla="*/ 114 h 158"/>
                <a:gd name="T122" fmla="*/ 124 w 158"/>
                <a:gd name="T123" fmla="*/ 10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 h="158">
                  <a:moveTo>
                    <a:pt x="126" y="102"/>
                  </a:moveTo>
                  <a:lnTo>
                    <a:pt x="126" y="102"/>
                  </a:lnTo>
                  <a:lnTo>
                    <a:pt x="128" y="100"/>
                  </a:lnTo>
                  <a:lnTo>
                    <a:pt x="130" y="98"/>
                  </a:lnTo>
                  <a:lnTo>
                    <a:pt x="130" y="96"/>
                  </a:lnTo>
                  <a:lnTo>
                    <a:pt x="132" y="94"/>
                  </a:lnTo>
                  <a:lnTo>
                    <a:pt x="134" y="90"/>
                  </a:lnTo>
                  <a:lnTo>
                    <a:pt x="136" y="86"/>
                  </a:lnTo>
                  <a:lnTo>
                    <a:pt x="138" y="82"/>
                  </a:lnTo>
                  <a:lnTo>
                    <a:pt x="138" y="80"/>
                  </a:lnTo>
                  <a:lnTo>
                    <a:pt x="140" y="72"/>
                  </a:lnTo>
                  <a:lnTo>
                    <a:pt x="140" y="68"/>
                  </a:lnTo>
                  <a:lnTo>
                    <a:pt x="142" y="64"/>
                  </a:lnTo>
                  <a:lnTo>
                    <a:pt x="142" y="60"/>
                  </a:lnTo>
                  <a:lnTo>
                    <a:pt x="144" y="58"/>
                  </a:lnTo>
                  <a:lnTo>
                    <a:pt x="144" y="56"/>
                  </a:lnTo>
                  <a:lnTo>
                    <a:pt x="146" y="54"/>
                  </a:lnTo>
                  <a:lnTo>
                    <a:pt x="146" y="52"/>
                  </a:lnTo>
                  <a:lnTo>
                    <a:pt x="148" y="50"/>
                  </a:lnTo>
                  <a:lnTo>
                    <a:pt x="148" y="50"/>
                  </a:lnTo>
                  <a:lnTo>
                    <a:pt x="150" y="48"/>
                  </a:lnTo>
                  <a:lnTo>
                    <a:pt x="152" y="48"/>
                  </a:lnTo>
                  <a:lnTo>
                    <a:pt x="154" y="46"/>
                  </a:lnTo>
                  <a:lnTo>
                    <a:pt x="156" y="44"/>
                  </a:lnTo>
                  <a:lnTo>
                    <a:pt x="156" y="44"/>
                  </a:lnTo>
                  <a:lnTo>
                    <a:pt x="156" y="44"/>
                  </a:lnTo>
                  <a:lnTo>
                    <a:pt x="156" y="42"/>
                  </a:lnTo>
                  <a:lnTo>
                    <a:pt x="158" y="40"/>
                  </a:lnTo>
                  <a:lnTo>
                    <a:pt x="158" y="38"/>
                  </a:lnTo>
                  <a:lnTo>
                    <a:pt x="158" y="34"/>
                  </a:lnTo>
                  <a:lnTo>
                    <a:pt x="158" y="30"/>
                  </a:lnTo>
                  <a:lnTo>
                    <a:pt x="158" y="26"/>
                  </a:lnTo>
                  <a:lnTo>
                    <a:pt x="158" y="22"/>
                  </a:lnTo>
                  <a:lnTo>
                    <a:pt x="158" y="18"/>
                  </a:lnTo>
                  <a:lnTo>
                    <a:pt x="156" y="10"/>
                  </a:lnTo>
                  <a:lnTo>
                    <a:pt x="156" y="0"/>
                  </a:lnTo>
                  <a:lnTo>
                    <a:pt x="152" y="2"/>
                  </a:lnTo>
                  <a:lnTo>
                    <a:pt x="148" y="4"/>
                  </a:lnTo>
                  <a:lnTo>
                    <a:pt x="146" y="4"/>
                  </a:lnTo>
                  <a:lnTo>
                    <a:pt x="144" y="6"/>
                  </a:lnTo>
                  <a:lnTo>
                    <a:pt x="144" y="6"/>
                  </a:lnTo>
                  <a:lnTo>
                    <a:pt x="144" y="8"/>
                  </a:lnTo>
                  <a:lnTo>
                    <a:pt x="142" y="10"/>
                  </a:lnTo>
                  <a:lnTo>
                    <a:pt x="140" y="12"/>
                  </a:lnTo>
                  <a:lnTo>
                    <a:pt x="140" y="12"/>
                  </a:lnTo>
                  <a:lnTo>
                    <a:pt x="140" y="14"/>
                  </a:lnTo>
                  <a:lnTo>
                    <a:pt x="138" y="14"/>
                  </a:lnTo>
                  <a:lnTo>
                    <a:pt x="138" y="14"/>
                  </a:lnTo>
                  <a:lnTo>
                    <a:pt x="138" y="14"/>
                  </a:lnTo>
                  <a:lnTo>
                    <a:pt x="138" y="14"/>
                  </a:lnTo>
                  <a:lnTo>
                    <a:pt x="136" y="14"/>
                  </a:lnTo>
                  <a:lnTo>
                    <a:pt x="136" y="12"/>
                  </a:lnTo>
                  <a:lnTo>
                    <a:pt x="136" y="12"/>
                  </a:lnTo>
                  <a:lnTo>
                    <a:pt x="134" y="10"/>
                  </a:lnTo>
                  <a:lnTo>
                    <a:pt x="132" y="8"/>
                  </a:lnTo>
                  <a:lnTo>
                    <a:pt x="132" y="6"/>
                  </a:lnTo>
                  <a:lnTo>
                    <a:pt x="132" y="6"/>
                  </a:lnTo>
                  <a:lnTo>
                    <a:pt x="132" y="6"/>
                  </a:lnTo>
                  <a:lnTo>
                    <a:pt x="130" y="6"/>
                  </a:lnTo>
                  <a:lnTo>
                    <a:pt x="126" y="4"/>
                  </a:lnTo>
                  <a:lnTo>
                    <a:pt x="124" y="4"/>
                  </a:lnTo>
                  <a:lnTo>
                    <a:pt x="122" y="4"/>
                  </a:lnTo>
                  <a:lnTo>
                    <a:pt x="118" y="4"/>
                  </a:lnTo>
                  <a:lnTo>
                    <a:pt x="116" y="4"/>
                  </a:lnTo>
                  <a:lnTo>
                    <a:pt x="114" y="4"/>
                  </a:lnTo>
                  <a:lnTo>
                    <a:pt x="114" y="4"/>
                  </a:lnTo>
                  <a:lnTo>
                    <a:pt x="112" y="4"/>
                  </a:lnTo>
                  <a:lnTo>
                    <a:pt x="112" y="6"/>
                  </a:lnTo>
                  <a:lnTo>
                    <a:pt x="112" y="6"/>
                  </a:lnTo>
                  <a:lnTo>
                    <a:pt x="112" y="6"/>
                  </a:lnTo>
                  <a:lnTo>
                    <a:pt x="112" y="6"/>
                  </a:lnTo>
                  <a:lnTo>
                    <a:pt x="110" y="8"/>
                  </a:lnTo>
                  <a:lnTo>
                    <a:pt x="110" y="10"/>
                  </a:lnTo>
                  <a:lnTo>
                    <a:pt x="110" y="10"/>
                  </a:lnTo>
                  <a:lnTo>
                    <a:pt x="110" y="12"/>
                  </a:lnTo>
                  <a:lnTo>
                    <a:pt x="110" y="12"/>
                  </a:lnTo>
                  <a:lnTo>
                    <a:pt x="110" y="14"/>
                  </a:lnTo>
                  <a:lnTo>
                    <a:pt x="110" y="14"/>
                  </a:lnTo>
                  <a:lnTo>
                    <a:pt x="110" y="14"/>
                  </a:lnTo>
                  <a:lnTo>
                    <a:pt x="108" y="14"/>
                  </a:lnTo>
                  <a:lnTo>
                    <a:pt x="108" y="14"/>
                  </a:lnTo>
                  <a:lnTo>
                    <a:pt x="106" y="14"/>
                  </a:lnTo>
                  <a:lnTo>
                    <a:pt x="104" y="14"/>
                  </a:lnTo>
                  <a:lnTo>
                    <a:pt x="102" y="14"/>
                  </a:lnTo>
                  <a:lnTo>
                    <a:pt x="100" y="14"/>
                  </a:lnTo>
                  <a:lnTo>
                    <a:pt x="100" y="12"/>
                  </a:lnTo>
                  <a:lnTo>
                    <a:pt x="98" y="12"/>
                  </a:lnTo>
                  <a:lnTo>
                    <a:pt x="96" y="12"/>
                  </a:lnTo>
                  <a:lnTo>
                    <a:pt x="96" y="10"/>
                  </a:lnTo>
                  <a:lnTo>
                    <a:pt x="94" y="8"/>
                  </a:lnTo>
                  <a:lnTo>
                    <a:pt x="92" y="6"/>
                  </a:lnTo>
                  <a:lnTo>
                    <a:pt x="92" y="6"/>
                  </a:lnTo>
                  <a:lnTo>
                    <a:pt x="90" y="4"/>
                  </a:lnTo>
                  <a:lnTo>
                    <a:pt x="90" y="4"/>
                  </a:lnTo>
                  <a:lnTo>
                    <a:pt x="88" y="4"/>
                  </a:lnTo>
                  <a:lnTo>
                    <a:pt x="86" y="4"/>
                  </a:lnTo>
                  <a:lnTo>
                    <a:pt x="86" y="4"/>
                  </a:lnTo>
                  <a:lnTo>
                    <a:pt x="84" y="4"/>
                  </a:lnTo>
                  <a:lnTo>
                    <a:pt x="82" y="4"/>
                  </a:lnTo>
                  <a:lnTo>
                    <a:pt x="78" y="6"/>
                  </a:lnTo>
                  <a:lnTo>
                    <a:pt x="76" y="6"/>
                  </a:lnTo>
                  <a:lnTo>
                    <a:pt x="74" y="6"/>
                  </a:lnTo>
                  <a:lnTo>
                    <a:pt x="70" y="6"/>
                  </a:lnTo>
                  <a:lnTo>
                    <a:pt x="66" y="6"/>
                  </a:lnTo>
                  <a:lnTo>
                    <a:pt x="64" y="6"/>
                  </a:lnTo>
                  <a:lnTo>
                    <a:pt x="64" y="6"/>
                  </a:lnTo>
                  <a:lnTo>
                    <a:pt x="62" y="6"/>
                  </a:lnTo>
                  <a:lnTo>
                    <a:pt x="62" y="6"/>
                  </a:lnTo>
                  <a:lnTo>
                    <a:pt x="60" y="6"/>
                  </a:lnTo>
                  <a:lnTo>
                    <a:pt x="60" y="8"/>
                  </a:lnTo>
                  <a:lnTo>
                    <a:pt x="60" y="8"/>
                  </a:lnTo>
                  <a:lnTo>
                    <a:pt x="60" y="10"/>
                  </a:lnTo>
                  <a:lnTo>
                    <a:pt x="60" y="12"/>
                  </a:lnTo>
                  <a:lnTo>
                    <a:pt x="60" y="12"/>
                  </a:lnTo>
                  <a:lnTo>
                    <a:pt x="60" y="12"/>
                  </a:lnTo>
                  <a:lnTo>
                    <a:pt x="60" y="14"/>
                  </a:lnTo>
                  <a:lnTo>
                    <a:pt x="60" y="14"/>
                  </a:lnTo>
                  <a:lnTo>
                    <a:pt x="58" y="14"/>
                  </a:lnTo>
                  <a:lnTo>
                    <a:pt x="58" y="14"/>
                  </a:lnTo>
                  <a:lnTo>
                    <a:pt x="58" y="12"/>
                  </a:lnTo>
                  <a:lnTo>
                    <a:pt x="58" y="12"/>
                  </a:lnTo>
                  <a:lnTo>
                    <a:pt x="56" y="10"/>
                  </a:lnTo>
                  <a:lnTo>
                    <a:pt x="56" y="10"/>
                  </a:lnTo>
                  <a:lnTo>
                    <a:pt x="54" y="6"/>
                  </a:lnTo>
                  <a:lnTo>
                    <a:pt x="54" y="4"/>
                  </a:lnTo>
                  <a:lnTo>
                    <a:pt x="54" y="4"/>
                  </a:lnTo>
                  <a:lnTo>
                    <a:pt x="54" y="4"/>
                  </a:lnTo>
                  <a:lnTo>
                    <a:pt x="52" y="2"/>
                  </a:lnTo>
                  <a:lnTo>
                    <a:pt x="50" y="2"/>
                  </a:lnTo>
                  <a:lnTo>
                    <a:pt x="50" y="2"/>
                  </a:lnTo>
                  <a:lnTo>
                    <a:pt x="48" y="2"/>
                  </a:lnTo>
                  <a:lnTo>
                    <a:pt x="44" y="2"/>
                  </a:lnTo>
                  <a:lnTo>
                    <a:pt x="42" y="2"/>
                  </a:lnTo>
                  <a:lnTo>
                    <a:pt x="38" y="2"/>
                  </a:lnTo>
                  <a:lnTo>
                    <a:pt x="34" y="2"/>
                  </a:lnTo>
                  <a:lnTo>
                    <a:pt x="32" y="4"/>
                  </a:lnTo>
                  <a:lnTo>
                    <a:pt x="30" y="4"/>
                  </a:lnTo>
                  <a:lnTo>
                    <a:pt x="30" y="4"/>
                  </a:lnTo>
                  <a:lnTo>
                    <a:pt x="28" y="6"/>
                  </a:lnTo>
                  <a:lnTo>
                    <a:pt x="28" y="6"/>
                  </a:lnTo>
                  <a:lnTo>
                    <a:pt x="26" y="8"/>
                  </a:lnTo>
                  <a:lnTo>
                    <a:pt x="26" y="8"/>
                  </a:lnTo>
                  <a:lnTo>
                    <a:pt x="24" y="10"/>
                  </a:lnTo>
                  <a:lnTo>
                    <a:pt x="24" y="14"/>
                  </a:lnTo>
                  <a:lnTo>
                    <a:pt x="22" y="16"/>
                  </a:lnTo>
                  <a:lnTo>
                    <a:pt x="22" y="18"/>
                  </a:lnTo>
                  <a:lnTo>
                    <a:pt x="20" y="20"/>
                  </a:lnTo>
                  <a:lnTo>
                    <a:pt x="20" y="20"/>
                  </a:lnTo>
                  <a:lnTo>
                    <a:pt x="20" y="22"/>
                  </a:lnTo>
                  <a:lnTo>
                    <a:pt x="18" y="22"/>
                  </a:lnTo>
                  <a:lnTo>
                    <a:pt x="18" y="24"/>
                  </a:lnTo>
                  <a:lnTo>
                    <a:pt x="18" y="24"/>
                  </a:lnTo>
                  <a:lnTo>
                    <a:pt x="16" y="24"/>
                  </a:lnTo>
                  <a:lnTo>
                    <a:pt x="16" y="24"/>
                  </a:lnTo>
                  <a:lnTo>
                    <a:pt x="14" y="24"/>
                  </a:lnTo>
                  <a:lnTo>
                    <a:pt x="14" y="26"/>
                  </a:lnTo>
                  <a:lnTo>
                    <a:pt x="14" y="32"/>
                  </a:lnTo>
                  <a:lnTo>
                    <a:pt x="16" y="38"/>
                  </a:lnTo>
                  <a:lnTo>
                    <a:pt x="16" y="40"/>
                  </a:lnTo>
                  <a:lnTo>
                    <a:pt x="16" y="42"/>
                  </a:lnTo>
                  <a:lnTo>
                    <a:pt x="16" y="46"/>
                  </a:lnTo>
                  <a:lnTo>
                    <a:pt x="16" y="50"/>
                  </a:lnTo>
                  <a:lnTo>
                    <a:pt x="14" y="54"/>
                  </a:lnTo>
                  <a:lnTo>
                    <a:pt x="14" y="60"/>
                  </a:lnTo>
                  <a:lnTo>
                    <a:pt x="12" y="64"/>
                  </a:lnTo>
                  <a:lnTo>
                    <a:pt x="12" y="68"/>
                  </a:lnTo>
                  <a:lnTo>
                    <a:pt x="10" y="72"/>
                  </a:lnTo>
                  <a:lnTo>
                    <a:pt x="8" y="76"/>
                  </a:lnTo>
                  <a:lnTo>
                    <a:pt x="8" y="76"/>
                  </a:lnTo>
                  <a:lnTo>
                    <a:pt x="6" y="78"/>
                  </a:lnTo>
                  <a:lnTo>
                    <a:pt x="4" y="80"/>
                  </a:lnTo>
                  <a:lnTo>
                    <a:pt x="2" y="82"/>
                  </a:lnTo>
                  <a:lnTo>
                    <a:pt x="2" y="84"/>
                  </a:lnTo>
                  <a:lnTo>
                    <a:pt x="0" y="86"/>
                  </a:lnTo>
                  <a:lnTo>
                    <a:pt x="0" y="86"/>
                  </a:lnTo>
                  <a:lnTo>
                    <a:pt x="0" y="86"/>
                  </a:lnTo>
                  <a:lnTo>
                    <a:pt x="0" y="88"/>
                  </a:lnTo>
                  <a:lnTo>
                    <a:pt x="0" y="90"/>
                  </a:lnTo>
                  <a:lnTo>
                    <a:pt x="0" y="92"/>
                  </a:lnTo>
                  <a:lnTo>
                    <a:pt x="0" y="96"/>
                  </a:lnTo>
                  <a:lnTo>
                    <a:pt x="0" y="100"/>
                  </a:lnTo>
                  <a:lnTo>
                    <a:pt x="0" y="106"/>
                  </a:lnTo>
                  <a:lnTo>
                    <a:pt x="2" y="112"/>
                  </a:lnTo>
                  <a:lnTo>
                    <a:pt x="2" y="116"/>
                  </a:lnTo>
                  <a:lnTo>
                    <a:pt x="4" y="120"/>
                  </a:lnTo>
                  <a:lnTo>
                    <a:pt x="8" y="120"/>
                  </a:lnTo>
                  <a:lnTo>
                    <a:pt x="12" y="122"/>
                  </a:lnTo>
                  <a:lnTo>
                    <a:pt x="14" y="122"/>
                  </a:lnTo>
                  <a:lnTo>
                    <a:pt x="16" y="122"/>
                  </a:lnTo>
                  <a:lnTo>
                    <a:pt x="16" y="122"/>
                  </a:lnTo>
                  <a:lnTo>
                    <a:pt x="18" y="122"/>
                  </a:lnTo>
                  <a:lnTo>
                    <a:pt x="22" y="120"/>
                  </a:lnTo>
                  <a:lnTo>
                    <a:pt x="24" y="120"/>
                  </a:lnTo>
                  <a:lnTo>
                    <a:pt x="26" y="120"/>
                  </a:lnTo>
                  <a:lnTo>
                    <a:pt x="28" y="120"/>
                  </a:lnTo>
                  <a:lnTo>
                    <a:pt x="28" y="120"/>
                  </a:lnTo>
                  <a:lnTo>
                    <a:pt x="28" y="120"/>
                  </a:lnTo>
                  <a:lnTo>
                    <a:pt x="28" y="120"/>
                  </a:lnTo>
                  <a:lnTo>
                    <a:pt x="30" y="122"/>
                  </a:lnTo>
                  <a:lnTo>
                    <a:pt x="30" y="122"/>
                  </a:lnTo>
                  <a:lnTo>
                    <a:pt x="32" y="124"/>
                  </a:lnTo>
                  <a:lnTo>
                    <a:pt x="32" y="126"/>
                  </a:lnTo>
                  <a:lnTo>
                    <a:pt x="34" y="128"/>
                  </a:lnTo>
                  <a:lnTo>
                    <a:pt x="38" y="132"/>
                  </a:lnTo>
                  <a:lnTo>
                    <a:pt x="38" y="134"/>
                  </a:lnTo>
                  <a:lnTo>
                    <a:pt x="40" y="134"/>
                  </a:lnTo>
                  <a:lnTo>
                    <a:pt x="40" y="136"/>
                  </a:lnTo>
                  <a:lnTo>
                    <a:pt x="40" y="136"/>
                  </a:lnTo>
                  <a:lnTo>
                    <a:pt x="40" y="138"/>
                  </a:lnTo>
                  <a:lnTo>
                    <a:pt x="40" y="138"/>
                  </a:lnTo>
                  <a:lnTo>
                    <a:pt x="40" y="142"/>
                  </a:lnTo>
                  <a:lnTo>
                    <a:pt x="40" y="144"/>
                  </a:lnTo>
                  <a:lnTo>
                    <a:pt x="40" y="146"/>
                  </a:lnTo>
                  <a:lnTo>
                    <a:pt x="40" y="148"/>
                  </a:lnTo>
                  <a:lnTo>
                    <a:pt x="40" y="150"/>
                  </a:lnTo>
                  <a:lnTo>
                    <a:pt x="40" y="150"/>
                  </a:lnTo>
                  <a:lnTo>
                    <a:pt x="40" y="150"/>
                  </a:lnTo>
                  <a:lnTo>
                    <a:pt x="42" y="152"/>
                  </a:lnTo>
                  <a:lnTo>
                    <a:pt x="42" y="154"/>
                  </a:lnTo>
                  <a:lnTo>
                    <a:pt x="44" y="154"/>
                  </a:lnTo>
                  <a:lnTo>
                    <a:pt x="46" y="156"/>
                  </a:lnTo>
                  <a:lnTo>
                    <a:pt x="48" y="156"/>
                  </a:lnTo>
                  <a:lnTo>
                    <a:pt x="48" y="158"/>
                  </a:lnTo>
                  <a:lnTo>
                    <a:pt x="50" y="158"/>
                  </a:lnTo>
                  <a:lnTo>
                    <a:pt x="52" y="158"/>
                  </a:lnTo>
                  <a:lnTo>
                    <a:pt x="54" y="158"/>
                  </a:lnTo>
                  <a:lnTo>
                    <a:pt x="56" y="158"/>
                  </a:lnTo>
                  <a:lnTo>
                    <a:pt x="58" y="158"/>
                  </a:lnTo>
                  <a:lnTo>
                    <a:pt x="62" y="158"/>
                  </a:lnTo>
                  <a:lnTo>
                    <a:pt x="64" y="158"/>
                  </a:lnTo>
                  <a:lnTo>
                    <a:pt x="68" y="156"/>
                  </a:lnTo>
                  <a:lnTo>
                    <a:pt x="76" y="150"/>
                  </a:lnTo>
                  <a:lnTo>
                    <a:pt x="84" y="142"/>
                  </a:lnTo>
                  <a:lnTo>
                    <a:pt x="88" y="140"/>
                  </a:lnTo>
                  <a:lnTo>
                    <a:pt x="90" y="136"/>
                  </a:lnTo>
                  <a:lnTo>
                    <a:pt x="92" y="136"/>
                  </a:lnTo>
                  <a:lnTo>
                    <a:pt x="92" y="134"/>
                  </a:lnTo>
                  <a:lnTo>
                    <a:pt x="96" y="130"/>
                  </a:lnTo>
                  <a:lnTo>
                    <a:pt x="98" y="128"/>
                  </a:lnTo>
                  <a:lnTo>
                    <a:pt x="100" y="124"/>
                  </a:lnTo>
                  <a:lnTo>
                    <a:pt x="102" y="122"/>
                  </a:lnTo>
                  <a:lnTo>
                    <a:pt x="106" y="120"/>
                  </a:lnTo>
                  <a:lnTo>
                    <a:pt x="108" y="116"/>
                  </a:lnTo>
                  <a:lnTo>
                    <a:pt x="110" y="114"/>
                  </a:lnTo>
                  <a:lnTo>
                    <a:pt x="112" y="112"/>
                  </a:lnTo>
                  <a:lnTo>
                    <a:pt x="114" y="112"/>
                  </a:lnTo>
                  <a:lnTo>
                    <a:pt x="118" y="108"/>
                  </a:lnTo>
                  <a:lnTo>
                    <a:pt x="124" y="106"/>
                  </a:lnTo>
                  <a:lnTo>
                    <a:pt x="126" y="104"/>
                  </a:lnTo>
                  <a:lnTo>
                    <a:pt x="126" y="10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8" name="Freeform 376">
              <a:extLst>
                <a:ext uri="{FF2B5EF4-FFF2-40B4-BE49-F238E27FC236}">
                  <a16:creationId xmlns:a16="http://schemas.microsoft.com/office/drawing/2014/main" id="{650954E3-851F-41F4-8CF3-38853FC76582}"/>
                </a:ext>
              </a:extLst>
            </p:cNvPr>
            <p:cNvSpPr>
              <a:spLocks/>
            </p:cNvSpPr>
            <p:nvPr/>
          </p:nvSpPr>
          <p:spPr bwMode="auto">
            <a:xfrm>
              <a:off x="4636412" y="4330973"/>
              <a:ext cx="311774" cy="242490"/>
            </a:xfrm>
            <a:custGeom>
              <a:avLst/>
              <a:gdLst>
                <a:gd name="T0" fmla="*/ 174 w 180"/>
                <a:gd name="T1" fmla="*/ 100 h 140"/>
                <a:gd name="T2" fmla="*/ 162 w 180"/>
                <a:gd name="T3" fmla="*/ 100 h 140"/>
                <a:gd name="T4" fmla="*/ 146 w 180"/>
                <a:gd name="T5" fmla="*/ 102 h 140"/>
                <a:gd name="T6" fmla="*/ 140 w 180"/>
                <a:gd name="T7" fmla="*/ 100 h 140"/>
                <a:gd name="T8" fmla="*/ 138 w 180"/>
                <a:gd name="T9" fmla="*/ 106 h 140"/>
                <a:gd name="T10" fmla="*/ 130 w 180"/>
                <a:gd name="T11" fmla="*/ 108 h 140"/>
                <a:gd name="T12" fmla="*/ 112 w 180"/>
                <a:gd name="T13" fmla="*/ 108 h 140"/>
                <a:gd name="T14" fmla="*/ 108 w 180"/>
                <a:gd name="T15" fmla="*/ 112 h 140"/>
                <a:gd name="T16" fmla="*/ 102 w 180"/>
                <a:gd name="T17" fmla="*/ 118 h 140"/>
                <a:gd name="T18" fmla="*/ 88 w 180"/>
                <a:gd name="T19" fmla="*/ 120 h 140"/>
                <a:gd name="T20" fmla="*/ 80 w 180"/>
                <a:gd name="T21" fmla="*/ 118 h 140"/>
                <a:gd name="T22" fmla="*/ 76 w 180"/>
                <a:gd name="T23" fmla="*/ 110 h 140"/>
                <a:gd name="T24" fmla="*/ 70 w 180"/>
                <a:gd name="T25" fmla="*/ 106 h 140"/>
                <a:gd name="T26" fmla="*/ 64 w 180"/>
                <a:gd name="T27" fmla="*/ 106 h 140"/>
                <a:gd name="T28" fmla="*/ 58 w 180"/>
                <a:gd name="T29" fmla="*/ 114 h 140"/>
                <a:gd name="T30" fmla="*/ 46 w 180"/>
                <a:gd name="T31" fmla="*/ 122 h 140"/>
                <a:gd name="T32" fmla="*/ 34 w 180"/>
                <a:gd name="T33" fmla="*/ 124 h 140"/>
                <a:gd name="T34" fmla="*/ 24 w 180"/>
                <a:gd name="T35" fmla="*/ 140 h 140"/>
                <a:gd name="T36" fmla="*/ 16 w 180"/>
                <a:gd name="T37" fmla="*/ 120 h 140"/>
                <a:gd name="T38" fmla="*/ 6 w 180"/>
                <a:gd name="T39" fmla="*/ 102 h 140"/>
                <a:gd name="T40" fmla="*/ 0 w 180"/>
                <a:gd name="T41" fmla="*/ 92 h 140"/>
                <a:gd name="T42" fmla="*/ 6 w 180"/>
                <a:gd name="T43" fmla="*/ 78 h 140"/>
                <a:gd name="T44" fmla="*/ 18 w 180"/>
                <a:gd name="T45" fmla="*/ 62 h 140"/>
                <a:gd name="T46" fmla="*/ 26 w 180"/>
                <a:gd name="T47" fmla="*/ 60 h 140"/>
                <a:gd name="T48" fmla="*/ 36 w 180"/>
                <a:gd name="T49" fmla="*/ 62 h 140"/>
                <a:gd name="T50" fmla="*/ 38 w 180"/>
                <a:gd name="T51" fmla="*/ 56 h 140"/>
                <a:gd name="T52" fmla="*/ 42 w 180"/>
                <a:gd name="T53" fmla="*/ 52 h 140"/>
                <a:gd name="T54" fmla="*/ 54 w 180"/>
                <a:gd name="T55" fmla="*/ 52 h 140"/>
                <a:gd name="T56" fmla="*/ 60 w 180"/>
                <a:gd name="T57" fmla="*/ 48 h 140"/>
                <a:gd name="T58" fmla="*/ 66 w 180"/>
                <a:gd name="T59" fmla="*/ 40 h 140"/>
                <a:gd name="T60" fmla="*/ 76 w 180"/>
                <a:gd name="T61" fmla="*/ 38 h 140"/>
                <a:gd name="T62" fmla="*/ 80 w 180"/>
                <a:gd name="T63" fmla="*/ 34 h 140"/>
                <a:gd name="T64" fmla="*/ 84 w 180"/>
                <a:gd name="T65" fmla="*/ 26 h 140"/>
                <a:gd name="T66" fmla="*/ 94 w 180"/>
                <a:gd name="T67" fmla="*/ 20 h 140"/>
                <a:gd name="T68" fmla="*/ 100 w 180"/>
                <a:gd name="T69" fmla="*/ 8 h 140"/>
                <a:gd name="T70" fmla="*/ 112 w 180"/>
                <a:gd name="T71" fmla="*/ 0 h 140"/>
                <a:gd name="T72" fmla="*/ 116 w 180"/>
                <a:gd name="T73" fmla="*/ 0 h 140"/>
                <a:gd name="T74" fmla="*/ 124 w 180"/>
                <a:gd name="T75" fmla="*/ 14 h 140"/>
                <a:gd name="T76" fmla="*/ 130 w 180"/>
                <a:gd name="T77" fmla="*/ 26 h 140"/>
                <a:gd name="T78" fmla="*/ 128 w 180"/>
                <a:gd name="T79" fmla="*/ 36 h 140"/>
                <a:gd name="T80" fmla="*/ 134 w 180"/>
                <a:gd name="T81" fmla="*/ 40 h 140"/>
                <a:gd name="T82" fmla="*/ 134 w 180"/>
                <a:gd name="T83" fmla="*/ 48 h 140"/>
                <a:gd name="T84" fmla="*/ 138 w 180"/>
                <a:gd name="T85" fmla="*/ 48 h 140"/>
                <a:gd name="T86" fmla="*/ 146 w 180"/>
                <a:gd name="T87" fmla="*/ 46 h 140"/>
                <a:gd name="T88" fmla="*/ 148 w 180"/>
                <a:gd name="T89" fmla="*/ 52 h 140"/>
                <a:gd name="T90" fmla="*/ 148 w 180"/>
                <a:gd name="T91" fmla="*/ 60 h 140"/>
                <a:gd name="T92" fmla="*/ 156 w 180"/>
                <a:gd name="T93" fmla="*/ 62 h 140"/>
                <a:gd name="T94" fmla="*/ 164 w 180"/>
                <a:gd name="T95" fmla="*/ 64 h 140"/>
                <a:gd name="T96" fmla="*/ 164 w 180"/>
                <a:gd name="T97" fmla="*/ 74 h 140"/>
                <a:gd name="T98" fmla="*/ 166 w 180"/>
                <a:gd name="T99" fmla="*/ 80 h 140"/>
                <a:gd name="T100" fmla="*/ 174 w 180"/>
                <a:gd name="T101" fmla="*/ 82 h 140"/>
                <a:gd name="T102" fmla="*/ 180 w 180"/>
                <a:gd name="T103" fmla="*/ 92 h 140"/>
                <a:gd name="T104" fmla="*/ 178 w 180"/>
                <a:gd name="T105" fmla="*/ 9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140">
                  <a:moveTo>
                    <a:pt x="178" y="100"/>
                  </a:moveTo>
                  <a:lnTo>
                    <a:pt x="178" y="100"/>
                  </a:lnTo>
                  <a:lnTo>
                    <a:pt x="178" y="100"/>
                  </a:lnTo>
                  <a:lnTo>
                    <a:pt x="176" y="100"/>
                  </a:lnTo>
                  <a:lnTo>
                    <a:pt x="174" y="100"/>
                  </a:lnTo>
                  <a:lnTo>
                    <a:pt x="174" y="100"/>
                  </a:lnTo>
                  <a:lnTo>
                    <a:pt x="172" y="100"/>
                  </a:lnTo>
                  <a:lnTo>
                    <a:pt x="170" y="98"/>
                  </a:lnTo>
                  <a:lnTo>
                    <a:pt x="170" y="98"/>
                  </a:lnTo>
                  <a:lnTo>
                    <a:pt x="168" y="100"/>
                  </a:lnTo>
                  <a:lnTo>
                    <a:pt x="166" y="100"/>
                  </a:lnTo>
                  <a:lnTo>
                    <a:pt x="162" y="100"/>
                  </a:lnTo>
                  <a:lnTo>
                    <a:pt x="156" y="102"/>
                  </a:lnTo>
                  <a:lnTo>
                    <a:pt x="154" y="102"/>
                  </a:lnTo>
                  <a:lnTo>
                    <a:pt x="152" y="102"/>
                  </a:lnTo>
                  <a:lnTo>
                    <a:pt x="152" y="102"/>
                  </a:lnTo>
                  <a:lnTo>
                    <a:pt x="150" y="102"/>
                  </a:lnTo>
                  <a:lnTo>
                    <a:pt x="146" y="102"/>
                  </a:lnTo>
                  <a:lnTo>
                    <a:pt x="144" y="100"/>
                  </a:lnTo>
                  <a:lnTo>
                    <a:pt x="142" y="100"/>
                  </a:lnTo>
                  <a:lnTo>
                    <a:pt x="142" y="100"/>
                  </a:lnTo>
                  <a:lnTo>
                    <a:pt x="142" y="100"/>
                  </a:lnTo>
                  <a:lnTo>
                    <a:pt x="140" y="100"/>
                  </a:lnTo>
                  <a:lnTo>
                    <a:pt x="140" y="100"/>
                  </a:lnTo>
                  <a:lnTo>
                    <a:pt x="140" y="102"/>
                  </a:lnTo>
                  <a:lnTo>
                    <a:pt x="140" y="102"/>
                  </a:lnTo>
                  <a:lnTo>
                    <a:pt x="140" y="104"/>
                  </a:lnTo>
                  <a:lnTo>
                    <a:pt x="140" y="106"/>
                  </a:lnTo>
                  <a:lnTo>
                    <a:pt x="140" y="106"/>
                  </a:lnTo>
                  <a:lnTo>
                    <a:pt x="138" y="106"/>
                  </a:lnTo>
                  <a:lnTo>
                    <a:pt x="138" y="106"/>
                  </a:lnTo>
                  <a:lnTo>
                    <a:pt x="138" y="108"/>
                  </a:lnTo>
                  <a:lnTo>
                    <a:pt x="136" y="108"/>
                  </a:lnTo>
                  <a:lnTo>
                    <a:pt x="134" y="108"/>
                  </a:lnTo>
                  <a:lnTo>
                    <a:pt x="132" y="108"/>
                  </a:lnTo>
                  <a:lnTo>
                    <a:pt x="130" y="108"/>
                  </a:lnTo>
                  <a:lnTo>
                    <a:pt x="128" y="108"/>
                  </a:lnTo>
                  <a:lnTo>
                    <a:pt x="124" y="108"/>
                  </a:lnTo>
                  <a:lnTo>
                    <a:pt x="118" y="108"/>
                  </a:lnTo>
                  <a:lnTo>
                    <a:pt x="116" y="108"/>
                  </a:lnTo>
                  <a:lnTo>
                    <a:pt x="114" y="108"/>
                  </a:lnTo>
                  <a:lnTo>
                    <a:pt x="112" y="108"/>
                  </a:lnTo>
                  <a:lnTo>
                    <a:pt x="112" y="108"/>
                  </a:lnTo>
                  <a:lnTo>
                    <a:pt x="110" y="108"/>
                  </a:lnTo>
                  <a:lnTo>
                    <a:pt x="108" y="110"/>
                  </a:lnTo>
                  <a:lnTo>
                    <a:pt x="108" y="110"/>
                  </a:lnTo>
                  <a:lnTo>
                    <a:pt x="108" y="110"/>
                  </a:lnTo>
                  <a:lnTo>
                    <a:pt x="108" y="112"/>
                  </a:lnTo>
                  <a:lnTo>
                    <a:pt x="106" y="114"/>
                  </a:lnTo>
                  <a:lnTo>
                    <a:pt x="106" y="116"/>
                  </a:lnTo>
                  <a:lnTo>
                    <a:pt x="106" y="116"/>
                  </a:lnTo>
                  <a:lnTo>
                    <a:pt x="106" y="116"/>
                  </a:lnTo>
                  <a:lnTo>
                    <a:pt x="104" y="118"/>
                  </a:lnTo>
                  <a:lnTo>
                    <a:pt x="102" y="118"/>
                  </a:lnTo>
                  <a:lnTo>
                    <a:pt x="102" y="118"/>
                  </a:lnTo>
                  <a:lnTo>
                    <a:pt x="100" y="118"/>
                  </a:lnTo>
                  <a:lnTo>
                    <a:pt x="98" y="120"/>
                  </a:lnTo>
                  <a:lnTo>
                    <a:pt x="94" y="120"/>
                  </a:lnTo>
                  <a:lnTo>
                    <a:pt x="90" y="120"/>
                  </a:lnTo>
                  <a:lnTo>
                    <a:pt x="88" y="120"/>
                  </a:lnTo>
                  <a:lnTo>
                    <a:pt x="86" y="120"/>
                  </a:lnTo>
                  <a:lnTo>
                    <a:pt x="84" y="120"/>
                  </a:lnTo>
                  <a:lnTo>
                    <a:pt x="84" y="120"/>
                  </a:lnTo>
                  <a:lnTo>
                    <a:pt x="82" y="118"/>
                  </a:lnTo>
                  <a:lnTo>
                    <a:pt x="82" y="118"/>
                  </a:lnTo>
                  <a:lnTo>
                    <a:pt x="80" y="118"/>
                  </a:lnTo>
                  <a:lnTo>
                    <a:pt x="80" y="118"/>
                  </a:lnTo>
                  <a:lnTo>
                    <a:pt x="80" y="116"/>
                  </a:lnTo>
                  <a:lnTo>
                    <a:pt x="80" y="116"/>
                  </a:lnTo>
                  <a:lnTo>
                    <a:pt x="78" y="114"/>
                  </a:lnTo>
                  <a:lnTo>
                    <a:pt x="78" y="110"/>
                  </a:lnTo>
                  <a:lnTo>
                    <a:pt x="76" y="110"/>
                  </a:lnTo>
                  <a:lnTo>
                    <a:pt x="76" y="108"/>
                  </a:lnTo>
                  <a:lnTo>
                    <a:pt x="76" y="108"/>
                  </a:lnTo>
                  <a:lnTo>
                    <a:pt x="74" y="106"/>
                  </a:lnTo>
                  <a:lnTo>
                    <a:pt x="72" y="106"/>
                  </a:lnTo>
                  <a:lnTo>
                    <a:pt x="72" y="106"/>
                  </a:lnTo>
                  <a:lnTo>
                    <a:pt x="70" y="106"/>
                  </a:lnTo>
                  <a:lnTo>
                    <a:pt x="68" y="104"/>
                  </a:lnTo>
                  <a:lnTo>
                    <a:pt x="68" y="104"/>
                  </a:lnTo>
                  <a:lnTo>
                    <a:pt x="66" y="104"/>
                  </a:lnTo>
                  <a:lnTo>
                    <a:pt x="66" y="104"/>
                  </a:lnTo>
                  <a:lnTo>
                    <a:pt x="66" y="106"/>
                  </a:lnTo>
                  <a:lnTo>
                    <a:pt x="64" y="106"/>
                  </a:lnTo>
                  <a:lnTo>
                    <a:pt x="64" y="106"/>
                  </a:lnTo>
                  <a:lnTo>
                    <a:pt x="64" y="108"/>
                  </a:lnTo>
                  <a:lnTo>
                    <a:pt x="62" y="110"/>
                  </a:lnTo>
                  <a:lnTo>
                    <a:pt x="62" y="112"/>
                  </a:lnTo>
                  <a:lnTo>
                    <a:pt x="60" y="112"/>
                  </a:lnTo>
                  <a:lnTo>
                    <a:pt x="58" y="114"/>
                  </a:lnTo>
                  <a:lnTo>
                    <a:pt x="56" y="114"/>
                  </a:lnTo>
                  <a:lnTo>
                    <a:pt x="54" y="116"/>
                  </a:lnTo>
                  <a:lnTo>
                    <a:pt x="54" y="116"/>
                  </a:lnTo>
                  <a:lnTo>
                    <a:pt x="50" y="118"/>
                  </a:lnTo>
                  <a:lnTo>
                    <a:pt x="48" y="120"/>
                  </a:lnTo>
                  <a:lnTo>
                    <a:pt x="46" y="122"/>
                  </a:lnTo>
                  <a:lnTo>
                    <a:pt x="44" y="122"/>
                  </a:lnTo>
                  <a:lnTo>
                    <a:pt x="40" y="122"/>
                  </a:lnTo>
                  <a:lnTo>
                    <a:pt x="38" y="122"/>
                  </a:lnTo>
                  <a:lnTo>
                    <a:pt x="36" y="122"/>
                  </a:lnTo>
                  <a:lnTo>
                    <a:pt x="36" y="124"/>
                  </a:lnTo>
                  <a:lnTo>
                    <a:pt x="34" y="124"/>
                  </a:lnTo>
                  <a:lnTo>
                    <a:pt x="32" y="126"/>
                  </a:lnTo>
                  <a:lnTo>
                    <a:pt x="30" y="128"/>
                  </a:lnTo>
                  <a:lnTo>
                    <a:pt x="30" y="130"/>
                  </a:lnTo>
                  <a:lnTo>
                    <a:pt x="28" y="134"/>
                  </a:lnTo>
                  <a:lnTo>
                    <a:pt x="26" y="136"/>
                  </a:lnTo>
                  <a:lnTo>
                    <a:pt x="24" y="140"/>
                  </a:lnTo>
                  <a:lnTo>
                    <a:pt x="22" y="136"/>
                  </a:lnTo>
                  <a:lnTo>
                    <a:pt x="20" y="134"/>
                  </a:lnTo>
                  <a:lnTo>
                    <a:pt x="18" y="130"/>
                  </a:lnTo>
                  <a:lnTo>
                    <a:pt x="18" y="128"/>
                  </a:lnTo>
                  <a:lnTo>
                    <a:pt x="16" y="126"/>
                  </a:lnTo>
                  <a:lnTo>
                    <a:pt x="16" y="120"/>
                  </a:lnTo>
                  <a:lnTo>
                    <a:pt x="14" y="114"/>
                  </a:lnTo>
                  <a:lnTo>
                    <a:pt x="12" y="112"/>
                  </a:lnTo>
                  <a:lnTo>
                    <a:pt x="12" y="110"/>
                  </a:lnTo>
                  <a:lnTo>
                    <a:pt x="10" y="108"/>
                  </a:lnTo>
                  <a:lnTo>
                    <a:pt x="10" y="106"/>
                  </a:lnTo>
                  <a:lnTo>
                    <a:pt x="6" y="102"/>
                  </a:lnTo>
                  <a:lnTo>
                    <a:pt x="4" y="100"/>
                  </a:lnTo>
                  <a:lnTo>
                    <a:pt x="2" y="98"/>
                  </a:lnTo>
                  <a:lnTo>
                    <a:pt x="2" y="96"/>
                  </a:lnTo>
                  <a:lnTo>
                    <a:pt x="2" y="94"/>
                  </a:lnTo>
                  <a:lnTo>
                    <a:pt x="0" y="94"/>
                  </a:lnTo>
                  <a:lnTo>
                    <a:pt x="0" y="92"/>
                  </a:lnTo>
                  <a:lnTo>
                    <a:pt x="0" y="92"/>
                  </a:lnTo>
                  <a:lnTo>
                    <a:pt x="2" y="88"/>
                  </a:lnTo>
                  <a:lnTo>
                    <a:pt x="2" y="86"/>
                  </a:lnTo>
                  <a:lnTo>
                    <a:pt x="2" y="84"/>
                  </a:lnTo>
                  <a:lnTo>
                    <a:pt x="4" y="80"/>
                  </a:lnTo>
                  <a:lnTo>
                    <a:pt x="6" y="78"/>
                  </a:lnTo>
                  <a:lnTo>
                    <a:pt x="8" y="74"/>
                  </a:lnTo>
                  <a:lnTo>
                    <a:pt x="8" y="74"/>
                  </a:lnTo>
                  <a:lnTo>
                    <a:pt x="8" y="72"/>
                  </a:lnTo>
                  <a:lnTo>
                    <a:pt x="12" y="68"/>
                  </a:lnTo>
                  <a:lnTo>
                    <a:pt x="14" y="66"/>
                  </a:lnTo>
                  <a:lnTo>
                    <a:pt x="18" y="62"/>
                  </a:lnTo>
                  <a:lnTo>
                    <a:pt x="20" y="62"/>
                  </a:lnTo>
                  <a:lnTo>
                    <a:pt x="22" y="60"/>
                  </a:lnTo>
                  <a:lnTo>
                    <a:pt x="22" y="60"/>
                  </a:lnTo>
                  <a:lnTo>
                    <a:pt x="22" y="60"/>
                  </a:lnTo>
                  <a:lnTo>
                    <a:pt x="24" y="60"/>
                  </a:lnTo>
                  <a:lnTo>
                    <a:pt x="26" y="60"/>
                  </a:lnTo>
                  <a:lnTo>
                    <a:pt x="30" y="62"/>
                  </a:lnTo>
                  <a:lnTo>
                    <a:pt x="32" y="62"/>
                  </a:lnTo>
                  <a:lnTo>
                    <a:pt x="34" y="62"/>
                  </a:lnTo>
                  <a:lnTo>
                    <a:pt x="34" y="62"/>
                  </a:lnTo>
                  <a:lnTo>
                    <a:pt x="36" y="62"/>
                  </a:lnTo>
                  <a:lnTo>
                    <a:pt x="36" y="62"/>
                  </a:lnTo>
                  <a:lnTo>
                    <a:pt x="36" y="62"/>
                  </a:lnTo>
                  <a:lnTo>
                    <a:pt x="36" y="62"/>
                  </a:lnTo>
                  <a:lnTo>
                    <a:pt x="38" y="60"/>
                  </a:lnTo>
                  <a:lnTo>
                    <a:pt x="38" y="58"/>
                  </a:lnTo>
                  <a:lnTo>
                    <a:pt x="38" y="58"/>
                  </a:lnTo>
                  <a:lnTo>
                    <a:pt x="38" y="56"/>
                  </a:lnTo>
                  <a:lnTo>
                    <a:pt x="40" y="54"/>
                  </a:lnTo>
                  <a:lnTo>
                    <a:pt x="40" y="54"/>
                  </a:lnTo>
                  <a:lnTo>
                    <a:pt x="40" y="52"/>
                  </a:lnTo>
                  <a:lnTo>
                    <a:pt x="40" y="52"/>
                  </a:lnTo>
                  <a:lnTo>
                    <a:pt x="42" y="52"/>
                  </a:lnTo>
                  <a:lnTo>
                    <a:pt x="42" y="52"/>
                  </a:lnTo>
                  <a:lnTo>
                    <a:pt x="44" y="52"/>
                  </a:lnTo>
                  <a:lnTo>
                    <a:pt x="46" y="52"/>
                  </a:lnTo>
                  <a:lnTo>
                    <a:pt x="48" y="52"/>
                  </a:lnTo>
                  <a:lnTo>
                    <a:pt x="50" y="52"/>
                  </a:lnTo>
                  <a:lnTo>
                    <a:pt x="52" y="52"/>
                  </a:lnTo>
                  <a:lnTo>
                    <a:pt x="54" y="52"/>
                  </a:lnTo>
                  <a:lnTo>
                    <a:pt x="56" y="52"/>
                  </a:lnTo>
                  <a:lnTo>
                    <a:pt x="56" y="52"/>
                  </a:lnTo>
                  <a:lnTo>
                    <a:pt x="56" y="50"/>
                  </a:lnTo>
                  <a:lnTo>
                    <a:pt x="58" y="50"/>
                  </a:lnTo>
                  <a:lnTo>
                    <a:pt x="58" y="50"/>
                  </a:lnTo>
                  <a:lnTo>
                    <a:pt x="60" y="48"/>
                  </a:lnTo>
                  <a:lnTo>
                    <a:pt x="60" y="46"/>
                  </a:lnTo>
                  <a:lnTo>
                    <a:pt x="62" y="44"/>
                  </a:lnTo>
                  <a:lnTo>
                    <a:pt x="62" y="42"/>
                  </a:lnTo>
                  <a:lnTo>
                    <a:pt x="64" y="40"/>
                  </a:lnTo>
                  <a:lnTo>
                    <a:pt x="64" y="40"/>
                  </a:lnTo>
                  <a:lnTo>
                    <a:pt x="66" y="40"/>
                  </a:lnTo>
                  <a:lnTo>
                    <a:pt x="68" y="40"/>
                  </a:lnTo>
                  <a:lnTo>
                    <a:pt x="68" y="40"/>
                  </a:lnTo>
                  <a:lnTo>
                    <a:pt x="72" y="40"/>
                  </a:lnTo>
                  <a:lnTo>
                    <a:pt x="74" y="40"/>
                  </a:lnTo>
                  <a:lnTo>
                    <a:pt x="76" y="40"/>
                  </a:lnTo>
                  <a:lnTo>
                    <a:pt x="76" y="38"/>
                  </a:lnTo>
                  <a:lnTo>
                    <a:pt x="78" y="38"/>
                  </a:lnTo>
                  <a:lnTo>
                    <a:pt x="78" y="38"/>
                  </a:lnTo>
                  <a:lnTo>
                    <a:pt x="78" y="38"/>
                  </a:lnTo>
                  <a:lnTo>
                    <a:pt x="78" y="38"/>
                  </a:lnTo>
                  <a:lnTo>
                    <a:pt x="80" y="36"/>
                  </a:lnTo>
                  <a:lnTo>
                    <a:pt x="80" y="34"/>
                  </a:lnTo>
                  <a:lnTo>
                    <a:pt x="80" y="32"/>
                  </a:lnTo>
                  <a:lnTo>
                    <a:pt x="82" y="30"/>
                  </a:lnTo>
                  <a:lnTo>
                    <a:pt x="82" y="28"/>
                  </a:lnTo>
                  <a:lnTo>
                    <a:pt x="82" y="28"/>
                  </a:lnTo>
                  <a:lnTo>
                    <a:pt x="84" y="26"/>
                  </a:lnTo>
                  <a:lnTo>
                    <a:pt x="84" y="26"/>
                  </a:lnTo>
                  <a:lnTo>
                    <a:pt x="88" y="24"/>
                  </a:lnTo>
                  <a:lnTo>
                    <a:pt x="90" y="24"/>
                  </a:lnTo>
                  <a:lnTo>
                    <a:pt x="92" y="24"/>
                  </a:lnTo>
                  <a:lnTo>
                    <a:pt x="92" y="22"/>
                  </a:lnTo>
                  <a:lnTo>
                    <a:pt x="94" y="22"/>
                  </a:lnTo>
                  <a:lnTo>
                    <a:pt x="94" y="20"/>
                  </a:lnTo>
                  <a:lnTo>
                    <a:pt x="96" y="18"/>
                  </a:lnTo>
                  <a:lnTo>
                    <a:pt x="96" y="18"/>
                  </a:lnTo>
                  <a:lnTo>
                    <a:pt x="98" y="14"/>
                  </a:lnTo>
                  <a:lnTo>
                    <a:pt x="98" y="12"/>
                  </a:lnTo>
                  <a:lnTo>
                    <a:pt x="98" y="10"/>
                  </a:lnTo>
                  <a:lnTo>
                    <a:pt x="100" y="8"/>
                  </a:lnTo>
                  <a:lnTo>
                    <a:pt x="104" y="6"/>
                  </a:lnTo>
                  <a:lnTo>
                    <a:pt x="106" y="4"/>
                  </a:lnTo>
                  <a:lnTo>
                    <a:pt x="108" y="2"/>
                  </a:lnTo>
                  <a:lnTo>
                    <a:pt x="108" y="2"/>
                  </a:lnTo>
                  <a:lnTo>
                    <a:pt x="110" y="2"/>
                  </a:lnTo>
                  <a:lnTo>
                    <a:pt x="112" y="0"/>
                  </a:lnTo>
                  <a:lnTo>
                    <a:pt x="112" y="0"/>
                  </a:lnTo>
                  <a:lnTo>
                    <a:pt x="114" y="0"/>
                  </a:lnTo>
                  <a:lnTo>
                    <a:pt x="114" y="0"/>
                  </a:lnTo>
                  <a:lnTo>
                    <a:pt x="116" y="0"/>
                  </a:lnTo>
                  <a:lnTo>
                    <a:pt x="116" y="0"/>
                  </a:lnTo>
                  <a:lnTo>
                    <a:pt x="116" y="0"/>
                  </a:lnTo>
                  <a:lnTo>
                    <a:pt x="118" y="2"/>
                  </a:lnTo>
                  <a:lnTo>
                    <a:pt x="118" y="2"/>
                  </a:lnTo>
                  <a:lnTo>
                    <a:pt x="120" y="4"/>
                  </a:lnTo>
                  <a:lnTo>
                    <a:pt x="120" y="8"/>
                  </a:lnTo>
                  <a:lnTo>
                    <a:pt x="122" y="10"/>
                  </a:lnTo>
                  <a:lnTo>
                    <a:pt x="124" y="14"/>
                  </a:lnTo>
                  <a:lnTo>
                    <a:pt x="126" y="18"/>
                  </a:lnTo>
                  <a:lnTo>
                    <a:pt x="128" y="20"/>
                  </a:lnTo>
                  <a:lnTo>
                    <a:pt x="128" y="22"/>
                  </a:lnTo>
                  <a:lnTo>
                    <a:pt x="128" y="24"/>
                  </a:lnTo>
                  <a:lnTo>
                    <a:pt x="130" y="24"/>
                  </a:lnTo>
                  <a:lnTo>
                    <a:pt x="130" y="26"/>
                  </a:lnTo>
                  <a:lnTo>
                    <a:pt x="128" y="28"/>
                  </a:lnTo>
                  <a:lnTo>
                    <a:pt x="128" y="32"/>
                  </a:lnTo>
                  <a:lnTo>
                    <a:pt x="128" y="32"/>
                  </a:lnTo>
                  <a:lnTo>
                    <a:pt x="128" y="34"/>
                  </a:lnTo>
                  <a:lnTo>
                    <a:pt x="128" y="36"/>
                  </a:lnTo>
                  <a:lnTo>
                    <a:pt x="128" y="36"/>
                  </a:lnTo>
                  <a:lnTo>
                    <a:pt x="128" y="38"/>
                  </a:lnTo>
                  <a:lnTo>
                    <a:pt x="128" y="38"/>
                  </a:lnTo>
                  <a:lnTo>
                    <a:pt x="130" y="38"/>
                  </a:lnTo>
                  <a:lnTo>
                    <a:pt x="130" y="40"/>
                  </a:lnTo>
                  <a:lnTo>
                    <a:pt x="132" y="40"/>
                  </a:lnTo>
                  <a:lnTo>
                    <a:pt x="134" y="40"/>
                  </a:lnTo>
                  <a:lnTo>
                    <a:pt x="134" y="40"/>
                  </a:lnTo>
                  <a:lnTo>
                    <a:pt x="134" y="42"/>
                  </a:lnTo>
                  <a:lnTo>
                    <a:pt x="134" y="42"/>
                  </a:lnTo>
                  <a:lnTo>
                    <a:pt x="134" y="44"/>
                  </a:lnTo>
                  <a:lnTo>
                    <a:pt x="134" y="46"/>
                  </a:lnTo>
                  <a:lnTo>
                    <a:pt x="134" y="48"/>
                  </a:lnTo>
                  <a:lnTo>
                    <a:pt x="134" y="48"/>
                  </a:lnTo>
                  <a:lnTo>
                    <a:pt x="136" y="48"/>
                  </a:lnTo>
                  <a:lnTo>
                    <a:pt x="136" y="48"/>
                  </a:lnTo>
                  <a:lnTo>
                    <a:pt x="136" y="48"/>
                  </a:lnTo>
                  <a:lnTo>
                    <a:pt x="136" y="48"/>
                  </a:lnTo>
                  <a:lnTo>
                    <a:pt x="138" y="48"/>
                  </a:lnTo>
                  <a:lnTo>
                    <a:pt x="140" y="48"/>
                  </a:lnTo>
                  <a:lnTo>
                    <a:pt x="140" y="48"/>
                  </a:lnTo>
                  <a:lnTo>
                    <a:pt x="142" y="48"/>
                  </a:lnTo>
                  <a:lnTo>
                    <a:pt x="144" y="46"/>
                  </a:lnTo>
                  <a:lnTo>
                    <a:pt x="144" y="46"/>
                  </a:lnTo>
                  <a:lnTo>
                    <a:pt x="146" y="46"/>
                  </a:lnTo>
                  <a:lnTo>
                    <a:pt x="146" y="46"/>
                  </a:lnTo>
                  <a:lnTo>
                    <a:pt x="146" y="48"/>
                  </a:lnTo>
                  <a:lnTo>
                    <a:pt x="146" y="48"/>
                  </a:lnTo>
                  <a:lnTo>
                    <a:pt x="146" y="48"/>
                  </a:lnTo>
                  <a:lnTo>
                    <a:pt x="148" y="50"/>
                  </a:lnTo>
                  <a:lnTo>
                    <a:pt x="148" y="52"/>
                  </a:lnTo>
                  <a:lnTo>
                    <a:pt x="148" y="54"/>
                  </a:lnTo>
                  <a:lnTo>
                    <a:pt x="148" y="56"/>
                  </a:lnTo>
                  <a:lnTo>
                    <a:pt x="148" y="58"/>
                  </a:lnTo>
                  <a:lnTo>
                    <a:pt x="148" y="58"/>
                  </a:lnTo>
                  <a:lnTo>
                    <a:pt x="148" y="60"/>
                  </a:lnTo>
                  <a:lnTo>
                    <a:pt x="148" y="60"/>
                  </a:lnTo>
                  <a:lnTo>
                    <a:pt x="150" y="60"/>
                  </a:lnTo>
                  <a:lnTo>
                    <a:pt x="150" y="60"/>
                  </a:lnTo>
                  <a:lnTo>
                    <a:pt x="150" y="62"/>
                  </a:lnTo>
                  <a:lnTo>
                    <a:pt x="152" y="62"/>
                  </a:lnTo>
                  <a:lnTo>
                    <a:pt x="154" y="62"/>
                  </a:lnTo>
                  <a:lnTo>
                    <a:pt x="156" y="62"/>
                  </a:lnTo>
                  <a:lnTo>
                    <a:pt x="158" y="62"/>
                  </a:lnTo>
                  <a:lnTo>
                    <a:pt x="160" y="62"/>
                  </a:lnTo>
                  <a:lnTo>
                    <a:pt x="162" y="62"/>
                  </a:lnTo>
                  <a:lnTo>
                    <a:pt x="162" y="62"/>
                  </a:lnTo>
                  <a:lnTo>
                    <a:pt x="162" y="64"/>
                  </a:lnTo>
                  <a:lnTo>
                    <a:pt x="164" y="64"/>
                  </a:lnTo>
                  <a:lnTo>
                    <a:pt x="164" y="64"/>
                  </a:lnTo>
                  <a:lnTo>
                    <a:pt x="164" y="66"/>
                  </a:lnTo>
                  <a:lnTo>
                    <a:pt x="164" y="66"/>
                  </a:lnTo>
                  <a:lnTo>
                    <a:pt x="164" y="68"/>
                  </a:lnTo>
                  <a:lnTo>
                    <a:pt x="164" y="72"/>
                  </a:lnTo>
                  <a:lnTo>
                    <a:pt x="164" y="74"/>
                  </a:lnTo>
                  <a:lnTo>
                    <a:pt x="164" y="76"/>
                  </a:lnTo>
                  <a:lnTo>
                    <a:pt x="164" y="76"/>
                  </a:lnTo>
                  <a:lnTo>
                    <a:pt x="164" y="78"/>
                  </a:lnTo>
                  <a:lnTo>
                    <a:pt x="164" y="78"/>
                  </a:lnTo>
                  <a:lnTo>
                    <a:pt x="166" y="80"/>
                  </a:lnTo>
                  <a:lnTo>
                    <a:pt x="166" y="80"/>
                  </a:lnTo>
                  <a:lnTo>
                    <a:pt x="166" y="80"/>
                  </a:lnTo>
                  <a:lnTo>
                    <a:pt x="168" y="80"/>
                  </a:lnTo>
                  <a:lnTo>
                    <a:pt x="170" y="80"/>
                  </a:lnTo>
                  <a:lnTo>
                    <a:pt x="172" y="82"/>
                  </a:lnTo>
                  <a:lnTo>
                    <a:pt x="172" y="82"/>
                  </a:lnTo>
                  <a:lnTo>
                    <a:pt x="174" y="82"/>
                  </a:lnTo>
                  <a:lnTo>
                    <a:pt x="174" y="84"/>
                  </a:lnTo>
                  <a:lnTo>
                    <a:pt x="174" y="84"/>
                  </a:lnTo>
                  <a:lnTo>
                    <a:pt x="176" y="86"/>
                  </a:lnTo>
                  <a:lnTo>
                    <a:pt x="178" y="88"/>
                  </a:lnTo>
                  <a:lnTo>
                    <a:pt x="178" y="90"/>
                  </a:lnTo>
                  <a:lnTo>
                    <a:pt x="180" y="92"/>
                  </a:lnTo>
                  <a:lnTo>
                    <a:pt x="180" y="92"/>
                  </a:lnTo>
                  <a:lnTo>
                    <a:pt x="180" y="92"/>
                  </a:lnTo>
                  <a:lnTo>
                    <a:pt x="180" y="94"/>
                  </a:lnTo>
                  <a:lnTo>
                    <a:pt x="180" y="96"/>
                  </a:lnTo>
                  <a:lnTo>
                    <a:pt x="180" y="98"/>
                  </a:lnTo>
                  <a:lnTo>
                    <a:pt x="178" y="98"/>
                  </a:lnTo>
                  <a:lnTo>
                    <a:pt x="178" y="98"/>
                  </a:lnTo>
                  <a:lnTo>
                    <a:pt x="178" y="10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9" name="Freeform 377">
              <a:extLst>
                <a:ext uri="{FF2B5EF4-FFF2-40B4-BE49-F238E27FC236}">
                  <a16:creationId xmlns:a16="http://schemas.microsoft.com/office/drawing/2014/main" id="{E71A6BA4-49FA-4424-992E-D04F1B80D396}"/>
                </a:ext>
              </a:extLst>
            </p:cNvPr>
            <p:cNvSpPr>
              <a:spLocks/>
            </p:cNvSpPr>
            <p:nvPr/>
          </p:nvSpPr>
          <p:spPr bwMode="auto">
            <a:xfrm>
              <a:off x="4636412" y="4330973"/>
              <a:ext cx="311774" cy="242490"/>
            </a:xfrm>
            <a:custGeom>
              <a:avLst/>
              <a:gdLst>
                <a:gd name="T0" fmla="*/ 174 w 180"/>
                <a:gd name="T1" fmla="*/ 100 h 140"/>
                <a:gd name="T2" fmla="*/ 162 w 180"/>
                <a:gd name="T3" fmla="*/ 100 h 140"/>
                <a:gd name="T4" fmla="*/ 146 w 180"/>
                <a:gd name="T5" fmla="*/ 102 h 140"/>
                <a:gd name="T6" fmla="*/ 140 w 180"/>
                <a:gd name="T7" fmla="*/ 100 h 140"/>
                <a:gd name="T8" fmla="*/ 138 w 180"/>
                <a:gd name="T9" fmla="*/ 106 h 140"/>
                <a:gd name="T10" fmla="*/ 130 w 180"/>
                <a:gd name="T11" fmla="*/ 108 h 140"/>
                <a:gd name="T12" fmla="*/ 112 w 180"/>
                <a:gd name="T13" fmla="*/ 108 h 140"/>
                <a:gd name="T14" fmla="*/ 108 w 180"/>
                <a:gd name="T15" fmla="*/ 112 h 140"/>
                <a:gd name="T16" fmla="*/ 102 w 180"/>
                <a:gd name="T17" fmla="*/ 118 h 140"/>
                <a:gd name="T18" fmla="*/ 88 w 180"/>
                <a:gd name="T19" fmla="*/ 120 h 140"/>
                <a:gd name="T20" fmla="*/ 80 w 180"/>
                <a:gd name="T21" fmla="*/ 118 h 140"/>
                <a:gd name="T22" fmla="*/ 76 w 180"/>
                <a:gd name="T23" fmla="*/ 110 h 140"/>
                <a:gd name="T24" fmla="*/ 70 w 180"/>
                <a:gd name="T25" fmla="*/ 106 h 140"/>
                <a:gd name="T26" fmla="*/ 64 w 180"/>
                <a:gd name="T27" fmla="*/ 106 h 140"/>
                <a:gd name="T28" fmla="*/ 58 w 180"/>
                <a:gd name="T29" fmla="*/ 114 h 140"/>
                <a:gd name="T30" fmla="*/ 46 w 180"/>
                <a:gd name="T31" fmla="*/ 122 h 140"/>
                <a:gd name="T32" fmla="*/ 34 w 180"/>
                <a:gd name="T33" fmla="*/ 124 h 140"/>
                <a:gd name="T34" fmla="*/ 24 w 180"/>
                <a:gd name="T35" fmla="*/ 140 h 140"/>
                <a:gd name="T36" fmla="*/ 16 w 180"/>
                <a:gd name="T37" fmla="*/ 120 h 140"/>
                <a:gd name="T38" fmla="*/ 6 w 180"/>
                <a:gd name="T39" fmla="*/ 102 h 140"/>
                <a:gd name="T40" fmla="*/ 0 w 180"/>
                <a:gd name="T41" fmla="*/ 92 h 140"/>
                <a:gd name="T42" fmla="*/ 6 w 180"/>
                <a:gd name="T43" fmla="*/ 78 h 140"/>
                <a:gd name="T44" fmla="*/ 18 w 180"/>
                <a:gd name="T45" fmla="*/ 62 h 140"/>
                <a:gd name="T46" fmla="*/ 26 w 180"/>
                <a:gd name="T47" fmla="*/ 60 h 140"/>
                <a:gd name="T48" fmla="*/ 36 w 180"/>
                <a:gd name="T49" fmla="*/ 62 h 140"/>
                <a:gd name="T50" fmla="*/ 38 w 180"/>
                <a:gd name="T51" fmla="*/ 56 h 140"/>
                <a:gd name="T52" fmla="*/ 42 w 180"/>
                <a:gd name="T53" fmla="*/ 52 h 140"/>
                <a:gd name="T54" fmla="*/ 54 w 180"/>
                <a:gd name="T55" fmla="*/ 52 h 140"/>
                <a:gd name="T56" fmla="*/ 60 w 180"/>
                <a:gd name="T57" fmla="*/ 48 h 140"/>
                <a:gd name="T58" fmla="*/ 66 w 180"/>
                <a:gd name="T59" fmla="*/ 40 h 140"/>
                <a:gd name="T60" fmla="*/ 76 w 180"/>
                <a:gd name="T61" fmla="*/ 38 h 140"/>
                <a:gd name="T62" fmla="*/ 80 w 180"/>
                <a:gd name="T63" fmla="*/ 34 h 140"/>
                <a:gd name="T64" fmla="*/ 84 w 180"/>
                <a:gd name="T65" fmla="*/ 26 h 140"/>
                <a:gd name="T66" fmla="*/ 94 w 180"/>
                <a:gd name="T67" fmla="*/ 20 h 140"/>
                <a:gd name="T68" fmla="*/ 100 w 180"/>
                <a:gd name="T69" fmla="*/ 8 h 140"/>
                <a:gd name="T70" fmla="*/ 112 w 180"/>
                <a:gd name="T71" fmla="*/ 0 h 140"/>
                <a:gd name="T72" fmla="*/ 116 w 180"/>
                <a:gd name="T73" fmla="*/ 0 h 140"/>
                <a:gd name="T74" fmla="*/ 124 w 180"/>
                <a:gd name="T75" fmla="*/ 14 h 140"/>
                <a:gd name="T76" fmla="*/ 130 w 180"/>
                <a:gd name="T77" fmla="*/ 26 h 140"/>
                <a:gd name="T78" fmla="*/ 128 w 180"/>
                <a:gd name="T79" fmla="*/ 36 h 140"/>
                <a:gd name="T80" fmla="*/ 134 w 180"/>
                <a:gd name="T81" fmla="*/ 40 h 140"/>
                <a:gd name="T82" fmla="*/ 134 w 180"/>
                <a:gd name="T83" fmla="*/ 48 h 140"/>
                <a:gd name="T84" fmla="*/ 138 w 180"/>
                <a:gd name="T85" fmla="*/ 48 h 140"/>
                <a:gd name="T86" fmla="*/ 146 w 180"/>
                <a:gd name="T87" fmla="*/ 46 h 140"/>
                <a:gd name="T88" fmla="*/ 148 w 180"/>
                <a:gd name="T89" fmla="*/ 52 h 140"/>
                <a:gd name="T90" fmla="*/ 148 w 180"/>
                <a:gd name="T91" fmla="*/ 60 h 140"/>
                <a:gd name="T92" fmla="*/ 156 w 180"/>
                <a:gd name="T93" fmla="*/ 62 h 140"/>
                <a:gd name="T94" fmla="*/ 164 w 180"/>
                <a:gd name="T95" fmla="*/ 64 h 140"/>
                <a:gd name="T96" fmla="*/ 164 w 180"/>
                <a:gd name="T97" fmla="*/ 74 h 140"/>
                <a:gd name="T98" fmla="*/ 166 w 180"/>
                <a:gd name="T99" fmla="*/ 80 h 140"/>
                <a:gd name="T100" fmla="*/ 174 w 180"/>
                <a:gd name="T101" fmla="*/ 82 h 140"/>
                <a:gd name="T102" fmla="*/ 180 w 180"/>
                <a:gd name="T103" fmla="*/ 92 h 140"/>
                <a:gd name="T104" fmla="*/ 178 w 180"/>
                <a:gd name="T105" fmla="*/ 9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140">
                  <a:moveTo>
                    <a:pt x="178" y="100"/>
                  </a:moveTo>
                  <a:lnTo>
                    <a:pt x="178" y="100"/>
                  </a:lnTo>
                  <a:lnTo>
                    <a:pt x="178" y="100"/>
                  </a:lnTo>
                  <a:lnTo>
                    <a:pt x="176" y="100"/>
                  </a:lnTo>
                  <a:lnTo>
                    <a:pt x="174" y="100"/>
                  </a:lnTo>
                  <a:lnTo>
                    <a:pt x="174" y="100"/>
                  </a:lnTo>
                  <a:lnTo>
                    <a:pt x="172" y="100"/>
                  </a:lnTo>
                  <a:lnTo>
                    <a:pt x="170" y="98"/>
                  </a:lnTo>
                  <a:lnTo>
                    <a:pt x="170" y="98"/>
                  </a:lnTo>
                  <a:lnTo>
                    <a:pt x="168" y="100"/>
                  </a:lnTo>
                  <a:lnTo>
                    <a:pt x="166" y="100"/>
                  </a:lnTo>
                  <a:lnTo>
                    <a:pt x="162" y="100"/>
                  </a:lnTo>
                  <a:lnTo>
                    <a:pt x="156" y="102"/>
                  </a:lnTo>
                  <a:lnTo>
                    <a:pt x="154" y="102"/>
                  </a:lnTo>
                  <a:lnTo>
                    <a:pt x="152" y="102"/>
                  </a:lnTo>
                  <a:lnTo>
                    <a:pt x="152" y="102"/>
                  </a:lnTo>
                  <a:lnTo>
                    <a:pt x="150" y="102"/>
                  </a:lnTo>
                  <a:lnTo>
                    <a:pt x="146" y="102"/>
                  </a:lnTo>
                  <a:lnTo>
                    <a:pt x="144" y="100"/>
                  </a:lnTo>
                  <a:lnTo>
                    <a:pt x="142" y="100"/>
                  </a:lnTo>
                  <a:lnTo>
                    <a:pt x="142" y="100"/>
                  </a:lnTo>
                  <a:lnTo>
                    <a:pt x="142" y="100"/>
                  </a:lnTo>
                  <a:lnTo>
                    <a:pt x="140" y="100"/>
                  </a:lnTo>
                  <a:lnTo>
                    <a:pt x="140" y="100"/>
                  </a:lnTo>
                  <a:lnTo>
                    <a:pt x="140" y="102"/>
                  </a:lnTo>
                  <a:lnTo>
                    <a:pt x="140" y="102"/>
                  </a:lnTo>
                  <a:lnTo>
                    <a:pt x="140" y="104"/>
                  </a:lnTo>
                  <a:lnTo>
                    <a:pt x="140" y="106"/>
                  </a:lnTo>
                  <a:lnTo>
                    <a:pt x="140" y="106"/>
                  </a:lnTo>
                  <a:lnTo>
                    <a:pt x="138" y="106"/>
                  </a:lnTo>
                  <a:lnTo>
                    <a:pt x="138" y="106"/>
                  </a:lnTo>
                  <a:lnTo>
                    <a:pt x="138" y="108"/>
                  </a:lnTo>
                  <a:lnTo>
                    <a:pt x="136" y="108"/>
                  </a:lnTo>
                  <a:lnTo>
                    <a:pt x="134" y="108"/>
                  </a:lnTo>
                  <a:lnTo>
                    <a:pt x="132" y="108"/>
                  </a:lnTo>
                  <a:lnTo>
                    <a:pt x="130" y="108"/>
                  </a:lnTo>
                  <a:lnTo>
                    <a:pt x="128" y="108"/>
                  </a:lnTo>
                  <a:lnTo>
                    <a:pt x="124" y="108"/>
                  </a:lnTo>
                  <a:lnTo>
                    <a:pt x="118" y="108"/>
                  </a:lnTo>
                  <a:lnTo>
                    <a:pt x="116" y="108"/>
                  </a:lnTo>
                  <a:lnTo>
                    <a:pt x="114" y="108"/>
                  </a:lnTo>
                  <a:lnTo>
                    <a:pt x="112" y="108"/>
                  </a:lnTo>
                  <a:lnTo>
                    <a:pt x="112" y="108"/>
                  </a:lnTo>
                  <a:lnTo>
                    <a:pt x="110" y="108"/>
                  </a:lnTo>
                  <a:lnTo>
                    <a:pt x="108" y="110"/>
                  </a:lnTo>
                  <a:lnTo>
                    <a:pt x="108" y="110"/>
                  </a:lnTo>
                  <a:lnTo>
                    <a:pt x="108" y="110"/>
                  </a:lnTo>
                  <a:lnTo>
                    <a:pt x="108" y="112"/>
                  </a:lnTo>
                  <a:lnTo>
                    <a:pt x="106" y="114"/>
                  </a:lnTo>
                  <a:lnTo>
                    <a:pt x="106" y="116"/>
                  </a:lnTo>
                  <a:lnTo>
                    <a:pt x="106" y="116"/>
                  </a:lnTo>
                  <a:lnTo>
                    <a:pt x="106" y="116"/>
                  </a:lnTo>
                  <a:lnTo>
                    <a:pt x="104" y="118"/>
                  </a:lnTo>
                  <a:lnTo>
                    <a:pt x="102" y="118"/>
                  </a:lnTo>
                  <a:lnTo>
                    <a:pt x="102" y="118"/>
                  </a:lnTo>
                  <a:lnTo>
                    <a:pt x="100" y="118"/>
                  </a:lnTo>
                  <a:lnTo>
                    <a:pt x="98" y="120"/>
                  </a:lnTo>
                  <a:lnTo>
                    <a:pt x="94" y="120"/>
                  </a:lnTo>
                  <a:lnTo>
                    <a:pt x="90" y="120"/>
                  </a:lnTo>
                  <a:lnTo>
                    <a:pt x="88" y="120"/>
                  </a:lnTo>
                  <a:lnTo>
                    <a:pt x="86" y="120"/>
                  </a:lnTo>
                  <a:lnTo>
                    <a:pt x="84" y="120"/>
                  </a:lnTo>
                  <a:lnTo>
                    <a:pt x="84" y="120"/>
                  </a:lnTo>
                  <a:lnTo>
                    <a:pt x="82" y="118"/>
                  </a:lnTo>
                  <a:lnTo>
                    <a:pt x="82" y="118"/>
                  </a:lnTo>
                  <a:lnTo>
                    <a:pt x="80" y="118"/>
                  </a:lnTo>
                  <a:lnTo>
                    <a:pt x="80" y="118"/>
                  </a:lnTo>
                  <a:lnTo>
                    <a:pt x="80" y="116"/>
                  </a:lnTo>
                  <a:lnTo>
                    <a:pt x="80" y="116"/>
                  </a:lnTo>
                  <a:lnTo>
                    <a:pt x="78" y="114"/>
                  </a:lnTo>
                  <a:lnTo>
                    <a:pt x="78" y="110"/>
                  </a:lnTo>
                  <a:lnTo>
                    <a:pt x="76" y="110"/>
                  </a:lnTo>
                  <a:lnTo>
                    <a:pt x="76" y="108"/>
                  </a:lnTo>
                  <a:lnTo>
                    <a:pt x="76" y="108"/>
                  </a:lnTo>
                  <a:lnTo>
                    <a:pt x="74" y="106"/>
                  </a:lnTo>
                  <a:lnTo>
                    <a:pt x="72" y="106"/>
                  </a:lnTo>
                  <a:lnTo>
                    <a:pt x="72" y="106"/>
                  </a:lnTo>
                  <a:lnTo>
                    <a:pt x="70" y="106"/>
                  </a:lnTo>
                  <a:lnTo>
                    <a:pt x="68" y="104"/>
                  </a:lnTo>
                  <a:lnTo>
                    <a:pt x="68" y="104"/>
                  </a:lnTo>
                  <a:lnTo>
                    <a:pt x="66" y="104"/>
                  </a:lnTo>
                  <a:lnTo>
                    <a:pt x="66" y="104"/>
                  </a:lnTo>
                  <a:lnTo>
                    <a:pt x="66" y="106"/>
                  </a:lnTo>
                  <a:lnTo>
                    <a:pt x="64" y="106"/>
                  </a:lnTo>
                  <a:lnTo>
                    <a:pt x="64" y="106"/>
                  </a:lnTo>
                  <a:lnTo>
                    <a:pt x="64" y="108"/>
                  </a:lnTo>
                  <a:lnTo>
                    <a:pt x="62" y="110"/>
                  </a:lnTo>
                  <a:lnTo>
                    <a:pt x="62" y="112"/>
                  </a:lnTo>
                  <a:lnTo>
                    <a:pt x="60" y="112"/>
                  </a:lnTo>
                  <a:lnTo>
                    <a:pt x="58" y="114"/>
                  </a:lnTo>
                  <a:lnTo>
                    <a:pt x="56" y="114"/>
                  </a:lnTo>
                  <a:lnTo>
                    <a:pt x="54" y="116"/>
                  </a:lnTo>
                  <a:lnTo>
                    <a:pt x="54" y="116"/>
                  </a:lnTo>
                  <a:lnTo>
                    <a:pt x="50" y="118"/>
                  </a:lnTo>
                  <a:lnTo>
                    <a:pt x="48" y="120"/>
                  </a:lnTo>
                  <a:lnTo>
                    <a:pt x="46" y="122"/>
                  </a:lnTo>
                  <a:lnTo>
                    <a:pt x="44" y="122"/>
                  </a:lnTo>
                  <a:lnTo>
                    <a:pt x="40" y="122"/>
                  </a:lnTo>
                  <a:lnTo>
                    <a:pt x="38" y="122"/>
                  </a:lnTo>
                  <a:lnTo>
                    <a:pt x="36" y="122"/>
                  </a:lnTo>
                  <a:lnTo>
                    <a:pt x="36" y="124"/>
                  </a:lnTo>
                  <a:lnTo>
                    <a:pt x="34" y="124"/>
                  </a:lnTo>
                  <a:lnTo>
                    <a:pt x="32" y="126"/>
                  </a:lnTo>
                  <a:lnTo>
                    <a:pt x="30" y="128"/>
                  </a:lnTo>
                  <a:lnTo>
                    <a:pt x="30" y="130"/>
                  </a:lnTo>
                  <a:lnTo>
                    <a:pt x="28" y="134"/>
                  </a:lnTo>
                  <a:lnTo>
                    <a:pt x="26" y="136"/>
                  </a:lnTo>
                  <a:lnTo>
                    <a:pt x="24" y="140"/>
                  </a:lnTo>
                  <a:lnTo>
                    <a:pt x="22" y="136"/>
                  </a:lnTo>
                  <a:lnTo>
                    <a:pt x="20" y="134"/>
                  </a:lnTo>
                  <a:lnTo>
                    <a:pt x="18" y="130"/>
                  </a:lnTo>
                  <a:lnTo>
                    <a:pt x="18" y="128"/>
                  </a:lnTo>
                  <a:lnTo>
                    <a:pt x="16" y="126"/>
                  </a:lnTo>
                  <a:lnTo>
                    <a:pt x="16" y="120"/>
                  </a:lnTo>
                  <a:lnTo>
                    <a:pt x="14" y="114"/>
                  </a:lnTo>
                  <a:lnTo>
                    <a:pt x="12" y="112"/>
                  </a:lnTo>
                  <a:lnTo>
                    <a:pt x="12" y="110"/>
                  </a:lnTo>
                  <a:lnTo>
                    <a:pt x="10" y="108"/>
                  </a:lnTo>
                  <a:lnTo>
                    <a:pt x="10" y="106"/>
                  </a:lnTo>
                  <a:lnTo>
                    <a:pt x="6" y="102"/>
                  </a:lnTo>
                  <a:lnTo>
                    <a:pt x="4" y="100"/>
                  </a:lnTo>
                  <a:lnTo>
                    <a:pt x="2" y="98"/>
                  </a:lnTo>
                  <a:lnTo>
                    <a:pt x="2" y="96"/>
                  </a:lnTo>
                  <a:lnTo>
                    <a:pt x="2" y="94"/>
                  </a:lnTo>
                  <a:lnTo>
                    <a:pt x="0" y="94"/>
                  </a:lnTo>
                  <a:lnTo>
                    <a:pt x="0" y="92"/>
                  </a:lnTo>
                  <a:lnTo>
                    <a:pt x="0" y="92"/>
                  </a:lnTo>
                  <a:lnTo>
                    <a:pt x="2" y="88"/>
                  </a:lnTo>
                  <a:lnTo>
                    <a:pt x="2" y="86"/>
                  </a:lnTo>
                  <a:lnTo>
                    <a:pt x="2" y="84"/>
                  </a:lnTo>
                  <a:lnTo>
                    <a:pt x="4" y="80"/>
                  </a:lnTo>
                  <a:lnTo>
                    <a:pt x="6" y="78"/>
                  </a:lnTo>
                  <a:lnTo>
                    <a:pt x="8" y="74"/>
                  </a:lnTo>
                  <a:lnTo>
                    <a:pt x="8" y="74"/>
                  </a:lnTo>
                  <a:lnTo>
                    <a:pt x="8" y="72"/>
                  </a:lnTo>
                  <a:lnTo>
                    <a:pt x="12" y="68"/>
                  </a:lnTo>
                  <a:lnTo>
                    <a:pt x="14" y="66"/>
                  </a:lnTo>
                  <a:lnTo>
                    <a:pt x="18" y="62"/>
                  </a:lnTo>
                  <a:lnTo>
                    <a:pt x="20" y="62"/>
                  </a:lnTo>
                  <a:lnTo>
                    <a:pt x="22" y="60"/>
                  </a:lnTo>
                  <a:lnTo>
                    <a:pt x="22" y="60"/>
                  </a:lnTo>
                  <a:lnTo>
                    <a:pt x="22" y="60"/>
                  </a:lnTo>
                  <a:lnTo>
                    <a:pt x="24" y="60"/>
                  </a:lnTo>
                  <a:lnTo>
                    <a:pt x="26" y="60"/>
                  </a:lnTo>
                  <a:lnTo>
                    <a:pt x="30" y="62"/>
                  </a:lnTo>
                  <a:lnTo>
                    <a:pt x="32" y="62"/>
                  </a:lnTo>
                  <a:lnTo>
                    <a:pt x="34" y="62"/>
                  </a:lnTo>
                  <a:lnTo>
                    <a:pt x="34" y="62"/>
                  </a:lnTo>
                  <a:lnTo>
                    <a:pt x="36" y="62"/>
                  </a:lnTo>
                  <a:lnTo>
                    <a:pt x="36" y="62"/>
                  </a:lnTo>
                  <a:lnTo>
                    <a:pt x="36" y="62"/>
                  </a:lnTo>
                  <a:lnTo>
                    <a:pt x="36" y="62"/>
                  </a:lnTo>
                  <a:lnTo>
                    <a:pt x="38" y="60"/>
                  </a:lnTo>
                  <a:lnTo>
                    <a:pt x="38" y="58"/>
                  </a:lnTo>
                  <a:lnTo>
                    <a:pt x="38" y="58"/>
                  </a:lnTo>
                  <a:lnTo>
                    <a:pt x="38" y="56"/>
                  </a:lnTo>
                  <a:lnTo>
                    <a:pt x="40" y="54"/>
                  </a:lnTo>
                  <a:lnTo>
                    <a:pt x="40" y="54"/>
                  </a:lnTo>
                  <a:lnTo>
                    <a:pt x="40" y="52"/>
                  </a:lnTo>
                  <a:lnTo>
                    <a:pt x="40" y="52"/>
                  </a:lnTo>
                  <a:lnTo>
                    <a:pt x="42" y="52"/>
                  </a:lnTo>
                  <a:lnTo>
                    <a:pt x="42" y="52"/>
                  </a:lnTo>
                  <a:lnTo>
                    <a:pt x="44" y="52"/>
                  </a:lnTo>
                  <a:lnTo>
                    <a:pt x="46" y="52"/>
                  </a:lnTo>
                  <a:lnTo>
                    <a:pt x="48" y="52"/>
                  </a:lnTo>
                  <a:lnTo>
                    <a:pt x="50" y="52"/>
                  </a:lnTo>
                  <a:lnTo>
                    <a:pt x="52" y="52"/>
                  </a:lnTo>
                  <a:lnTo>
                    <a:pt x="54" y="52"/>
                  </a:lnTo>
                  <a:lnTo>
                    <a:pt x="56" y="52"/>
                  </a:lnTo>
                  <a:lnTo>
                    <a:pt x="56" y="52"/>
                  </a:lnTo>
                  <a:lnTo>
                    <a:pt x="56" y="50"/>
                  </a:lnTo>
                  <a:lnTo>
                    <a:pt x="58" y="50"/>
                  </a:lnTo>
                  <a:lnTo>
                    <a:pt x="58" y="50"/>
                  </a:lnTo>
                  <a:lnTo>
                    <a:pt x="60" y="48"/>
                  </a:lnTo>
                  <a:lnTo>
                    <a:pt x="60" y="46"/>
                  </a:lnTo>
                  <a:lnTo>
                    <a:pt x="62" y="44"/>
                  </a:lnTo>
                  <a:lnTo>
                    <a:pt x="62" y="42"/>
                  </a:lnTo>
                  <a:lnTo>
                    <a:pt x="64" y="40"/>
                  </a:lnTo>
                  <a:lnTo>
                    <a:pt x="64" y="40"/>
                  </a:lnTo>
                  <a:lnTo>
                    <a:pt x="66" y="40"/>
                  </a:lnTo>
                  <a:lnTo>
                    <a:pt x="68" y="40"/>
                  </a:lnTo>
                  <a:lnTo>
                    <a:pt x="68" y="40"/>
                  </a:lnTo>
                  <a:lnTo>
                    <a:pt x="72" y="40"/>
                  </a:lnTo>
                  <a:lnTo>
                    <a:pt x="74" y="40"/>
                  </a:lnTo>
                  <a:lnTo>
                    <a:pt x="76" y="40"/>
                  </a:lnTo>
                  <a:lnTo>
                    <a:pt x="76" y="38"/>
                  </a:lnTo>
                  <a:lnTo>
                    <a:pt x="78" y="38"/>
                  </a:lnTo>
                  <a:lnTo>
                    <a:pt x="78" y="38"/>
                  </a:lnTo>
                  <a:lnTo>
                    <a:pt x="78" y="38"/>
                  </a:lnTo>
                  <a:lnTo>
                    <a:pt x="78" y="38"/>
                  </a:lnTo>
                  <a:lnTo>
                    <a:pt x="80" y="36"/>
                  </a:lnTo>
                  <a:lnTo>
                    <a:pt x="80" y="34"/>
                  </a:lnTo>
                  <a:lnTo>
                    <a:pt x="80" y="32"/>
                  </a:lnTo>
                  <a:lnTo>
                    <a:pt x="82" y="30"/>
                  </a:lnTo>
                  <a:lnTo>
                    <a:pt x="82" y="28"/>
                  </a:lnTo>
                  <a:lnTo>
                    <a:pt x="82" y="28"/>
                  </a:lnTo>
                  <a:lnTo>
                    <a:pt x="84" y="26"/>
                  </a:lnTo>
                  <a:lnTo>
                    <a:pt x="84" y="26"/>
                  </a:lnTo>
                  <a:lnTo>
                    <a:pt x="88" y="24"/>
                  </a:lnTo>
                  <a:lnTo>
                    <a:pt x="90" y="24"/>
                  </a:lnTo>
                  <a:lnTo>
                    <a:pt x="92" y="24"/>
                  </a:lnTo>
                  <a:lnTo>
                    <a:pt x="92" y="22"/>
                  </a:lnTo>
                  <a:lnTo>
                    <a:pt x="94" y="22"/>
                  </a:lnTo>
                  <a:lnTo>
                    <a:pt x="94" y="20"/>
                  </a:lnTo>
                  <a:lnTo>
                    <a:pt x="96" y="18"/>
                  </a:lnTo>
                  <a:lnTo>
                    <a:pt x="96" y="18"/>
                  </a:lnTo>
                  <a:lnTo>
                    <a:pt x="98" y="14"/>
                  </a:lnTo>
                  <a:lnTo>
                    <a:pt x="98" y="12"/>
                  </a:lnTo>
                  <a:lnTo>
                    <a:pt x="98" y="10"/>
                  </a:lnTo>
                  <a:lnTo>
                    <a:pt x="100" y="8"/>
                  </a:lnTo>
                  <a:lnTo>
                    <a:pt x="104" y="6"/>
                  </a:lnTo>
                  <a:lnTo>
                    <a:pt x="106" y="4"/>
                  </a:lnTo>
                  <a:lnTo>
                    <a:pt x="108" y="2"/>
                  </a:lnTo>
                  <a:lnTo>
                    <a:pt x="108" y="2"/>
                  </a:lnTo>
                  <a:lnTo>
                    <a:pt x="110" y="2"/>
                  </a:lnTo>
                  <a:lnTo>
                    <a:pt x="112" y="0"/>
                  </a:lnTo>
                  <a:lnTo>
                    <a:pt x="112" y="0"/>
                  </a:lnTo>
                  <a:lnTo>
                    <a:pt x="114" y="0"/>
                  </a:lnTo>
                  <a:lnTo>
                    <a:pt x="114" y="0"/>
                  </a:lnTo>
                  <a:lnTo>
                    <a:pt x="116" y="0"/>
                  </a:lnTo>
                  <a:lnTo>
                    <a:pt x="116" y="0"/>
                  </a:lnTo>
                  <a:lnTo>
                    <a:pt x="116" y="0"/>
                  </a:lnTo>
                  <a:lnTo>
                    <a:pt x="118" y="2"/>
                  </a:lnTo>
                  <a:lnTo>
                    <a:pt x="118" y="2"/>
                  </a:lnTo>
                  <a:lnTo>
                    <a:pt x="120" y="4"/>
                  </a:lnTo>
                  <a:lnTo>
                    <a:pt x="120" y="8"/>
                  </a:lnTo>
                  <a:lnTo>
                    <a:pt x="122" y="10"/>
                  </a:lnTo>
                  <a:lnTo>
                    <a:pt x="124" y="14"/>
                  </a:lnTo>
                  <a:lnTo>
                    <a:pt x="126" y="18"/>
                  </a:lnTo>
                  <a:lnTo>
                    <a:pt x="128" y="20"/>
                  </a:lnTo>
                  <a:lnTo>
                    <a:pt x="128" y="22"/>
                  </a:lnTo>
                  <a:lnTo>
                    <a:pt x="128" y="24"/>
                  </a:lnTo>
                  <a:lnTo>
                    <a:pt x="130" y="24"/>
                  </a:lnTo>
                  <a:lnTo>
                    <a:pt x="130" y="26"/>
                  </a:lnTo>
                  <a:lnTo>
                    <a:pt x="128" y="28"/>
                  </a:lnTo>
                  <a:lnTo>
                    <a:pt x="128" y="32"/>
                  </a:lnTo>
                  <a:lnTo>
                    <a:pt x="128" y="32"/>
                  </a:lnTo>
                  <a:lnTo>
                    <a:pt x="128" y="34"/>
                  </a:lnTo>
                  <a:lnTo>
                    <a:pt x="128" y="36"/>
                  </a:lnTo>
                  <a:lnTo>
                    <a:pt x="128" y="36"/>
                  </a:lnTo>
                  <a:lnTo>
                    <a:pt x="128" y="38"/>
                  </a:lnTo>
                  <a:lnTo>
                    <a:pt x="128" y="38"/>
                  </a:lnTo>
                  <a:lnTo>
                    <a:pt x="130" y="38"/>
                  </a:lnTo>
                  <a:lnTo>
                    <a:pt x="130" y="40"/>
                  </a:lnTo>
                  <a:lnTo>
                    <a:pt x="132" y="40"/>
                  </a:lnTo>
                  <a:lnTo>
                    <a:pt x="134" y="40"/>
                  </a:lnTo>
                  <a:lnTo>
                    <a:pt x="134" y="40"/>
                  </a:lnTo>
                  <a:lnTo>
                    <a:pt x="134" y="42"/>
                  </a:lnTo>
                  <a:lnTo>
                    <a:pt x="134" y="42"/>
                  </a:lnTo>
                  <a:lnTo>
                    <a:pt x="134" y="44"/>
                  </a:lnTo>
                  <a:lnTo>
                    <a:pt x="134" y="46"/>
                  </a:lnTo>
                  <a:lnTo>
                    <a:pt x="134" y="48"/>
                  </a:lnTo>
                  <a:lnTo>
                    <a:pt x="134" y="48"/>
                  </a:lnTo>
                  <a:lnTo>
                    <a:pt x="136" y="48"/>
                  </a:lnTo>
                  <a:lnTo>
                    <a:pt x="136" y="48"/>
                  </a:lnTo>
                  <a:lnTo>
                    <a:pt x="136" y="48"/>
                  </a:lnTo>
                  <a:lnTo>
                    <a:pt x="136" y="48"/>
                  </a:lnTo>
                  <a:lnTo>
                    <a:pt x="138" y="48"/>
                  </a:lnTo>
                  <a:lnTo>
                    <a:pt x="140" y="48"/>
                  </a:lnTo>
                  <a:lnTo>
                    <a:pt x="140" y="48"/>
                  </a:lnTo>
                  <a:lnTo>
                    <a:pt x="142" y="48"/>
                  </a:lnTo>
                  <a:lnTo>
                    <a:pt x="144" y="46"/>
                  </a:lnTo>
                  <a:lnTo>
                    <a:pt x="144" y="46"/>
                  </a:lnTo>
                  <a:lnTo>
                    <a:pt x="146" y="46"/>
                  </a:lnTo>
                  <a:lnTo>
                    <a:pt x="146" y="46"/>
                  </a:lnTo>
                  <a:lnTo>
                    <a:pt x="146" y="48"/>
                  </a:lnTo>
                  <a:lnTo>
                    <a:pt x="146" y="48"/>
                  </a:lnTo>
                  <a:lnTo>
                    <a:pt x="146" y="48"/>
                  </a:lnTo>
                  <a:lnTo>
                    <a:pt x="148" y="50"/>
                  </a:lnTo>
                  <a:lnTo>
                    <a:pt x="148" y="52"/>
                  </a:lnTo>
                  <a:lnTo>
                    <a:pt x="148" y="54"/>
                  </a:lnTo>
                  <a:lnTo>
                    <a:pt x="148" y="56"/>
                  </a:lnTo>
                  <a:lnTo>
                    <a:pt x="148" y="58"/>
                  </a:lnTo>
                  <a:lnTo>
                    <a:pt x="148" y="58"/>
                  </a:lnTo>
                  <a:lnTo>
                    <a:pt x="148" y="60"/>
                  </a:lnTo>
                  <a:lnTo>
                    <a:pt x="148" y="60"/>
                  </a:lnTo>
                  <a:lnTo>
                    <a:pt x="150" y="60"/>
                  </a:lnTo>
                  <a:lnTo>
                    <a:pt x="150" y="60"/>
                  </a:lnTo>
                  <a:lnTo>
                    <a:pt x="150" y="62"/>
                  </a:lnTo>
                  <a:lnTo>
                    <a:pt x="152" y="62"/>
                  </a:lnTo>
                  <a:lnTo>
                    <a:pt x="154" y="62"/>
                  </a:lnTo>
                  <a:lnTo>
                    <a:pt x="156" y="62"/>
                  </a:lnTo>
                  <a:lnTo>
                    <a:pt x="158" y="62"/>
                  </a:lnTo>
                  <a:lnTo>
                    <a:pt x="160" y="62"/>
                  </a:lnTo>
                  <a:lnTo>
                    <a:pt x="162" y="62"/>
                  </a:lnTo>
                  <a:lnTo>
                    <a:pt x="162" y="62"/>
                  </a:lnTo>
                  <a:lnTo>
                    <a:pt x="162" y="64"/>
                  </a:lnTo>
                  <a:lnTo>
                    <a:pt x="164" y="64"/>
                  </a:lnTo>
                  <a:lnTo>
                    <a:pt x="164" y="64"/>
                  </a:lnTo>
                  <a:lnTo>
                    <a:pt x="164" y="66"/>
                  </a:lnTo>
                  <a:lnTo>
                    <a:pt x="164" y="66"/>
                  </a:lnTo>
                  <a:lnTo>
                    <a:pt x="164" y="68"/>
                  </a:lnTo>
                  <a:lnTo>
                    <a:pt x="164" y="72"/>
                  </a:lnTo>
                  <a:lnTo>
                    <a:pt x="164" y="74"/>
                  </a:lnTo>
                  <a:lnTo>
                    <a:pt x="164" y="76"/>
                  </a:lnTo>
                  <a:lnTo>
                    <a:pt x="164" y="76"/>
                  </a:lnTo>
                  <a:lnTo>
                    <a:pt x="164" y="78"/>
                  </a:lnTo>
                  <a:lnTo>
                    <a:pt x="164" y="78"/>
                  </a:lnTo>
                  <a:lnTo>
                    <a:pt x="166" y="80"/>
                  </a:lnTo>
                  <a:lnTo>
                    <a:pt x="166" y="80"/>
                  </a:lnTo>
                  <a:lnTo>
                    <a:pt x="166" y="80"/>
                  </a:lnTo>
                  <a:lnTo>
                    <a:pt x="168" y="80"/>
                  </a:lnTo>
                  <a:lnTo>
                    <a:pt x="170" y="80"/>
                  </a:lnTo>
                  <a:lnTo>
                    <a:pt x="172" y="82"/>
                  </a:lnTo>
                  <a:lnTo>
                    <a:pt x="172" y="82"/>
                  </a:lnTo>
                  <a:lnTo>
                    <a:pt x="174" y="82"/>
                  </a:lnTo>
                  <a:lnTo>
                    <a:pt x="174" y="84"/>
                  </a:lnTo>
                  <a:lnTo>
                    <a:pt x="174" y="84"/>
                  </a:lnTo>
                  <a:lnTo>
                    <a:pt x="176" y="86"/>
                  </a:lnTo>
                  <a:lnTo>
                    <a:pt x="178" y="88"/>
                  </a:lnTo>
                  <a:lnTo>
                    <a:pt x="178" y="90"/>
                  </a:lnTo>
                  <a:lnTo>
                    <a:pt x="180" y="92"/>
                  </a:lnTo>
                  <a:lnTo>
                    <a:pt x="180" y="92"/>
                  </a:lnTo>
                  <a:lnTo>
                    <a:pt x="180" y="92"/>
                  </a:lnTo>
                  <a:lnTo>
                    <a:pt x="180" y="94"/>
                  </a:lnTo>
                  <a:lnTo>
                    <a:pt x="180" y="96"/>
                  </a:lnTo>
                  <a:lnTo>
                    <a:pt x="180" y="98"/>
                  </a:lnTo>
                  <a:lnTo>
                    <a:pt x="178" y="98"/>
                  </a:lnTo>
                  <a:lnTo>
                    <a:pt x="178" y="98"/>
                  </a:lnTo>
                  <a:lnTo>
                    <a:pt x="178" y="10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0" name="Freeform 378">
              <a:extLst>
                <a:ext uri="{FF2B5EF4-FFF2-40B4-BE49-F238E27FC236}">
                  <a16:creationId xmlns:a16="http://schemas.microsoft.com/office/drawing/2014/main" id="{18DEA45B-138E-46F7-AB5E-51005C4C45FD}"/>
                </a:ext>
              </a:extLst>
            </p:cNvPr>
            <p:cNvSpPr>
              <a:spLocks/>
            </p:cNvSpPr>
            <p:nvPr/>
          </p:nvSpPr>
          <p:spPr bwMode="auto">
            <a:xfrm>
              <a:off x="4882366" y="3717819"/>
              <a:ext cx="266740" cy="315238"/>
            </a:xfrm>
            <a:custGeom>
              <a:avLst/>
              <a:gdLst>
                <a:gd name="T0" fmla="*/ 4 w 154"/>
                <a:gd name="T1" fmla="*/ 180 h 182"/>
                <a:gd name="T2" fmla="*/ 14 w 154"/>
                <a:gd name="T3" fmla="*/ 172 h 182"/>
                <a:gd name="T4" fmla="*/ 20 w 154"/>
                <a:gd name="T5" fmla="*/ 168 h 182"/>
                <a:gd name="T6" fmla="*/ 36 w 154"/>
                <a:gd name="T7" fmla="*/ 166 h 182"/>
                <a:gd name="T8" fmla="*/ 54 w 154"/>
                <a:gd name="T9" fmla="*/ 164 h 182"/>
                <a:gd name="T10" fmla="*/ 74 w 154"/>
                <a:gd name="T11" fmla="*/ 162 h 182"/>
                <a:gd name="T12" fmla="*/ 94 w 154"/>
                <a:gd name="T13" fmla="*/ 164 h 182"/>
                <a:gd name="T14" fmla="*/ 110 w 154"/>
                <a:gd name="T15" fmla="*/ 168 h 182"/>
                <a:gd name="T16" fmla="*/ 116 w 154"/>
                <a:gd name="T17" fmla="*/ 168 h 182"/>
                <a:gd name="T18" fmla="*/ 118 w 154"/>
                <a:gd name="T19" fmla="*/ 172 h 182"/>
                <a:gd name="T20" fmla="*/ 122 w 154"/>
                <a:gd name="T21" fmla="*/ 176 h 182"/>
                <a:gd name="T22" fmla="*/ 124 w 154"/>
                <a:gd name="T23" fmla="*/ 176 h 182"/>
                <a:gd name="T24" fmla="*/ 128 w 154"/>
                <a:gd name="T25" fmla="*/ 174 h 182"/>
                <a:gd name="T26" fmla="*/ 134 w 154"/>
                <a:gd name="T27" fmla="*/ 170 h 182"/>
                <a:gd name="T28" fmla="*/ 146 w 154"/>
                <a:gd name="T29" fmla="*/ 160 h 182"/>
                <a:gd name="T30" fmla="*/ 148 w 154"/>
                <a:gd name="T31" fmla="*/ 148 h 182"/>
                <a:gd name="T32" fmla="*/ 148 w 154"/>
                <a:gd name="T33" fmla="*/ 140 h 182"/>
                <a:gd name="T34" fmla="*/ 148 w 154"/>
                <a:gd name="T35" fmla="*/ 136 h 182"/>
                <a:gd name="T36" fmla="*/ 152 w 154"/>
                <a:gd name="T37" fmla="*/ 134 h 182"/>
                <a:gd name="T38" fmla="*/ 154 w 154"/>
                <a:gd name="T39" fmla="*/ 132 h 182"/>
                <a:gd name="T40" fmla="*/ 154 w 154"/>
                <a:gd name="T41" fmla="*/ 128 h 182"/>
                <a:gd name="T42" fmla="*/ 152 w 154"/>
                <a:gd name="T43" fmla="*/ 122 h 182"/>
                <a:gd name="T44" fmla="*/ 148 w 154"/>
                <a:gd name="T45" fmla="*/ 116 h 182"/>
                <a:gd name="T46" fmla="*/ 140 w 154"/>
                <a:gd name="T47" fmla="*/ 104 h 182"/>
                <a:gd name="T48" fmla="*/ 126 w 154"/>
                <a:gd name="T49" fmla="*/ 86 h 182"/>
                <a:gd name="T50" fmla="*/ 120 w 154"/>
                <a:gd name="T51" fmla="*/ 78 h 182"/>
                <a:gd name="T52" fmla="*/ 110 w 154"/>
                <a:gd name="T53" fmla="*/ 62 h 182"/>
                <a:gd name="T54" fmla="*/ 104 w 154"/>
                <a:gd name="T55" fmla="*/ 50 h 182"/>
                <a:gd name="T56" fmla="*/ 100 w 154"/>
                <a:gd name="T57" fmla="*/ 46 h 182"/>
                <a:gd name="T58" fmla="*/ 100 w 154"/>
                <a:gd name="T59" fmla="*/ 36 h 182"/>
                <a:gd name="T60" fmla="*/ 100 w 154"/>
                <a:gd name="T61" fmla="*/ 32 h 182"/>
                <a:gd name="T62" fmla="*/ 100 w 154"/>
                <a:gd name="T63" fmla="*/ 30 h 182"/>
                <a:gd name="T64" fmla="*/ 102 w 154"/>
                <a:gd name="T65" fmla="*/ 30 h 182"/>
                <a:gd name="T66" fmla="*/ 104 w 154"/>
                <a:gd name="T67" fmla="*/ 32 h 182"/>
                <a:gd name="T68" fmla="*/ 108 w 154"/>
                <a:gd name="T69" fmla="*/ 40 h 182"/>
                <a:gd name="T70" fmla="*/ 112 w 154"/>
                <a:gd name="T71" fmla="*/ 44 h 182"/>
                <a:gd name="T72" fmla="*/ 118 w 154"/>
                <a:gd name="T73" fmla="*/ 54 h 182"/>
                <a:gd name="T74" fmla="*/ 122 w 154"/>
                <a:gd name="T75" fmla="*/ 58 h 182"/>
                <a:gd name="T76" fmla="*/ 126 w 154"/>
                <a:gd name="T77" fmla="*/ 60 h 182"/>
                <a:gd name="T78" fmla="*/ 128 w 154"/>
                <a:gd name="T79" fmla="*/ 60 h 182"/>
                <a:gd name="T80" fmla="*/ 132 w 154"/>
                <a:gd name="T81" fmla="*/ 56 h 182"/>
                <a:gd name="T82" fmla="*/ 134 w 154"/>
                <a:gd name="T83" fmla="*/ 48 h 182"/>
                <a:gd name="T84" fmla="*/ 120 w 154"/>
                <a:gd name="T85" fmla="*/ 6 h 182"/>
                <a:gd name="T86" fmla="*/ 100 w 154"/>
                <a:gd name="T87" fmla="*/ 4 h 182"/>
                <a:gd name="T88" fmla="*/ 88 w 154"/>
                <a:gd name="T89" fmla="*/ 2 h 182"/>
                <a:gd name="T90" fmla="*/ 76 w 154"/>
                <a:gd name="T91" fmla="*/ 0 h 182"/>
                <a:gd name="T92" fmla="*/ 70 w 154"/>
                <a:gd name="T93" fmla="*/ 0 h 182"/>
                <a:gd name="T94" fmla="*/ 66 w 154"/>
                <a:gd name="T95" fmla="*/ 0 h 182"/>
                <a:gd name="T96" fmla="*/ 64 w 154"/>
                <a:gd name="T97" fmla="*/ 2 h 182"/>
                <a:gd name="T98" fmla="*/ 62 w 154"/>
                <a:gd name="T99" fmla="*/ 8 h 182"/>
                <a:gd name="T100" fmla="*/ 62 w 154"/>
                <a:gd name="T101" fmla="*/ 16 h 182"/>
                <a:gd name="T102" fmla="*/ 60 w 154"/>
                <a:gd name="T103" fmla="*/ 18 h 182"/>
                <a:gd name="T104" fmla="*/ 58 w 154"/>
                <a:gd name="T105" fmla="*/ 18 h 182"/>
                <a:gd name="T106" fmla="*/ 54 w 154"/>
                <a:gd name="T107" fmla="*/ 18 h 182"/>
                <a:gd name="T108" fmla="*/ 48 w 154"/>
                <a:gd name="T109" fmla="*/ 12 h 182"/>
                <a:gd name="T110" fmla="*/ 44 w 154"/>
                <a:gd name="T111" fmla="*/ 6 h 182"/>
                <a:gd name="T112" fmla="*/ 40 w 154"/>
                <a:gd name="T113" fmla="*/ 2 h 182"/>
                <a:gd name="T114" fmla="*/ 36 w 154"/>
                <a:gd name="T115" fmla="*/ 2 h 182"/>
                <a:gd name="T116" fmla="*/ 26 w 154"/>
                <a:gd name="T117" fmla="*/ 2 h 182"/>
                <a:gd name="T118" fmla="*/ 10 w 154"/>
                <a:gd name="T119" fmla="*/ 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2">
                  <a:moveTo>
                    <a:pt x="0" y="4"/>
                  </a:moveTo>
                  <a:lnTo>
                    <a:pt x="0" y="182"/>
                  </a:lnTo>
                  <a:lnTo>
                    <a:pt x="4" y="180"/>
                  </a:lnTo>
                  <a:lnTo>
                    <a:pt x="10" y="176"/>
                  </a:lnTo>
                  <a:lnTo>
                    <a:pt x="12" y="174"/>
                  </a:lnTo>
                  <a:lnTo>
                    <a:pt x="14" y="172"/>
                  </a:lnTo>
                  <a:lnTo>
                    <a:pt x="18" y="170"/>
                  </a:lnTo>
                  <a:lnTo>
                    <a:pt x="20" y="168"/>
                  </a:lnTo>
                  <a:lnTo>
                    <a:pt x="20" y="168"/>
                  </a:lnTo>
                  <a:lnTo>
                    <a:pt x="26" y="168"/>
                  </a:lnTo>
                  <a:lnTo>
                    <a:pt x="30" y="166"/>
                  </a:lnTo>
                  <a:lnTo>
                    <a:pt x="36" y="166"/>
                  </a:lnTo>
                  <a:lnTo>
                    <a:pt x="42" y="164"/>
                  </a:lnTo>
                  <a:lnTo>
                    <a:pt x="48" y="164"/>
                  </a:lnTo>
                  <a:lnTo>
                    <a:pt x="54" y="164"/>
                  </a:lnTo>
                  <a:lnTo>
                    <a:pt x="62" y="164"/>
                  </a:lnTo>
                  <a:lnTo>
                    <a:pt x="68" y="162"/>
                  </a:lnTo>
                  <a:lnTo>
                    <a:pt x="74" y="162"/>
                  </a:lnTo>
                  <a:lnTo>
                    <a:pt x="82" y="164"/>
                  </a:lnTo>
                  <a:lnTo>
                    <a:pt x="88" y="164"/>
                  </a:lnTo>
                  <a:lnTo>
                    <a:pt x="94" y="164"/>
                  </a:lnTo>
                  <a:lnTo>
                    <a:pt x="100" y="164"/>
                  </a:lnTo>
                  <a:lnTo>
                    <a:pt x="106" y="166"/>
                  </a:lnTo>
                  <a:lnTo>
                    <a:pt x="110" y="168"/>
                  </a:lnTo>
                  <a:lnTo>
                    <a:pt x="112" y="168"/>
                  </a:lnTo>
                  <a:lnTo>
                    <a:pt x="114" y="168"/>
                  </a:lnTo>
                  <a:lnTo>
                    <a:pt x="116" y="168"/>
                  </a:lnTo>
                  <a:lnTo>
                    <a:pt x="116" y="170"/>
                  </a:lnTo>
                  <a:lnTo>
                    <a:pt x="116" y="170"/>
                  </a:lnTo>
                  <a:lnTo>
                    <a:pt x="118" y="172"/>
                  </a:lnTo>
                  <a:lnTo>
                    <a:pt x="120" y="174"/>
                  </a:lnTo>
                  <a:lnTo>
                    <a:pt x="122" y="174"/>
                  </a:lnTo>
                  <a:lnTo>
                    <a:pt x="122" y="176"/>
                  </a:lnTo>
                  <a:lnTo>
                    <a:pt x="122" y="176"/>
                  </a:lnTo>
                  <a:lnTo>
                    <a:pt x="124" y="176"/>
                  </a:lnTo>
                  <a:lnTo>
                    <a:pt x="124" y="176"/>
                  </a:lnTo>
                  <a:lnTo>
                    <a:pt x="124" y="176"/>
                  </a:lnTo>
                  <a:lnTo>
                    <a:pt x="126" y="176"/>
                  </a:lnTo>
                  <a:lnTo>
                    <a:pt x="128" y="174"/>
                  </a:lnTo>
                  <a:lnTo>
                    <a:pt x="130" y="174"/>
                  </a:lnTo>
                  <a:lnTo>
                    <a:pt x="132" y="172"/>
                  </a:lnTo>
                  <a:lnTo>
                    <a:pt x="134" y="170"/>
                  </a:lnTo>
                  <a:lnTo>
                    <a:pt x="138" y="166"/>
                  </a:lnTo>
                  <a:lnTo>
                    <a:pt x="142" y="162"/>
                  </a:lnTo>
                  <a:lnTo>
                    <a:pt x="146" y="160"/>
                  </a:lnTo>
                  <a:lnTo>
                    <a:pt x="148" y="156"/>
                  </a:lnTo>
                  <a:lnTo>
                    <a:pt x="148" y="154"/>
                  </a:lnTo>
                  <a:lnTo>
                    <a:pt x="148" y="148"/>
                  </a:lnTo>
                  <a:lnTo>
                    <a:pt x="148" y="144"/>
                  </a:lnTo>
                  <a:lnTo>
                    <a:pt x="148" y="140"/>
                  </a:lnTo>
                  <a:lnTo>
                    <a:pt x="148" y="140"/>
                  </a:lnTo>
                  <a:lnTo>
                    <a:pt x="148" y="138"/>
                  </a:lnTo>
                  <a:lnTo>
                    <a:pt x="148" y="136"/>
                  </a:lnTo>
                  <a:lnTo>
                    <a:pt x="148" y="136"/>
                  </a:lnTo>
                  <a:lnTo>
                    <a:pt x="148" y="136"/>
                  </a:lnTo>
                  <a:lnTo>
                    <a:pt x="150" y="134"/>
                  </a:lnTo>
                  <a:lnTo>
                    <a:pt x="152" y="134"/>
                  </a:lnTo>
                  <a:lnTo>
                    <a:pt x="152" y="132"/>
                  </a:lnTo>
                  <a:lnTo>
                    <a:pt x="154" y="132"/>
                  </a:lnTo>
                  <a:lnTo>
                    <a:pt x="154" y="132"/>
                  </a:lnTo>
                  <a:lnTo>
                    <a:pt x="154" y="130"/>
                  </a:lnTo>
                  <a:lnTo>
                    <a:pt x="154" y="128"/>
                  </a:lnTo>
                  <a:lnTo>
                    <a:pt x="154" y="128"/>
                  </a:lnTo>
                  <a:lnTo>
                    <a:pt x="154" y="126"/>
                  </a:lnTo>
                  <a:lnTo>
                    <a:pt x="152" y="124"/>
                  </a:lnTo>
                  <a:lnTo>
                    <a:pt x="152" y="122"/>
                  </a:lnTo>
                  <a:lnTo>
                    <a:pt x="152" y="120"/>
                  </a:lnTo>
                  <a:lnTo>
                    <a:pt x="150" y="118"/>
                  </a:lnTo>
                  <a:lnTo>
                    <a:pt x="148" y="116"/>
                  </a:lnTo>
                  <a:lnTo>
                    <a:pt x="146" y="112"/>
                  </a:lnTo>
                  <a:lnTo>
                    <a:pt x="144" y="108"/>
                  </a:lnTo>
                  <a:lnTo>
                    <a:pt x="140" y="104"/>
                  </a:lnTo>
                  <a:lnTo>
                    <a:pt x="134" y="96"/>
                  </a:lnTo>
                  <a:lnTo>
                    <a:pt x="128" y="90"/>
                  </a:lnTo>
                  <a:lnTo>
                    <a:pt x="126" y="86"/>
                  </a:lnTo>
                  <a:lnTo>
                    <a:pt x="124" y="84"/>
                  </a:lnTo>
                  <a:lnTo>
                    <a:pt x="122" y="80"/>
                  </a:lnTo>
                  <a:lnTo>
                    <a:pt x="120" y="78"/>
                  </a:lnTo>
                  <a:lnTo>
                    <a:pt x="118" y="74"/>
                  </a:lnTo>
                  <a:lnTo>
                    <a:pt x="116" y="70"/>
                  </a:lnTo>
                  <a:lnTo>
                    <a:pt x="110" y="62"/>
                  </a:lnTo>
                  <a:lnTo>
                    <a:pt x="106" y="58"/>
                  </a:lnTo>
                  <a:lnTo>
                    <a:pt x="104" y="52"/>
                  </a:lnTo>
                  <a:lnTo>
                    <a:pt x="104" y="50"/>
                  </a:lnTo>
                  <a:lnTo>
                    <a:pt x="102" y="48"/>
                  </a:lnTo>
                  <a:lnTo>
                    <a:pt x="102" y="46"/>
                  </a:lnTo>
                  <a:lnTo>
                    <a:pt x="100" y="46"/>
                  </a:lnTo>
                  <a:lnTo>
                    <a:pt x="100" y="42"/>
                  </a:lnTo>
                  <a:lnTo>
                    <a:pt x="100" y="38"/>
                  </a:lnTo>
                  <a:lnTo>
                    <a:pt x="100" y="36"/>
                  </a:lnTo>
                  <a:lnTo>
                    <a:pt x="100" y="34"/>
                  </a:lnTo>
                  <a:lnTo>
                    <a:pt x="100" y="34"/>
                  </a:lnTo>
                  <a:lnTo>
                    <a:pt x="100" y="32"/>
                  </a:lnTo>
                  <a:lnTo>
                    <a:pt x="100" y="32"/>
                  </a:lnTo>
                  <a:lnTo>
                    <a:pt x="100" y="30"/>
                  </a:lnTo>
                  <a:lnTo>
                    <a:pt x="100" y="30"/>
                  </a:lnTo>
                  <a:lnTo>
                    <a:pt x="100" y="30"/>
                  </a:lnTo>
                  <a:lnTo>
                    <a:pt x="102" y="30"/>
                  </a:lnTo>
                  <a:lnTo>
                    <a:pt x="102" y="30"/>
                  </a:lnTo>
                  <a:lnTo>
                    <a:pt x="104" y="30"/>
                  </a:lnTo>
                  <a:lnTo>
                    <a:pt x="104" y="30"/>
                  </a:lnTo>
                  <a:lnTo>
                    <a:pt x="104" y="32"/>
                  </a:lnTo>
                  <a:lnTo>
                    <a:pt x="104" y="32"/>
                  </a:lnTo>
                  <a:lnTo>
                    <a:pt x="106" y="34"/>
                  </a:lnTo>
                  <a:lnTo>
                    <a:pt x="108" y="40"/>
                  </a:lnTo>
                  <a:lnTo>
                    <a:pt x="110" y="42"/>
                  </a:lnTo>
                  <a:lnTo>
                    <a:pt x="110" y="42"/>
                  </a:lnTo>
                  <a:lnTo>
                    <a:pt x="112" y="44"/>
                  </a:lnTo>
                  <a:lnTo>
                    <a:pt x="114" y="48"/>
                  </a:lnTo>
                  <a:lnTo>
                    <a:pt x="116" y="50"/>
                  </a:lnTo>
                  <a:lnTo>
                    <a:pt x="118" y="54"/>
                  </a:lnTo>
                  <a:lnTo>
                    <a:pt x="120" y="56"/>
                  </a:lnTo>
                  <a:lnTo>
                    <a:pt x="122" y="58"/>
                  </a:lnTo>
                  <a:lnTo>
                    <a:pt x="122" y="58"/>
                  </a:lnTo>
                  <a:lnTo>
                    <a:pt x="124" y="60"/>
                  </a:lnTo>
                  <a:lnTo>
                    <a:pt x="124" y="60"/>
                  </a:lnTo>
                  <a:lnTo>
                    <a:pt x="126" y="60"/>
                  </a:lnTo>
                  <a:lnTo>
                    <a:pt x="128" y="60"/>
                  </a:lnTo>
                  <a:lnTo>
                    <a:pt x="128" y="60"/>
                  </a:lnTo>
                  <a:lnTo>
                    <a:pt x="128" y="60"/>
                  </a:lnTo>
                  <a:lnTo>
                    <a:pt x="130" y="58"/>
                  </a:lnTo>
                  <a:lnTo>
                    <a:pt x="130" y="58"/>
                  </a:lnTo>
                  <a:lnTo>
                    <a:pt x="132" y="56"/>
                  </a:lnTo>
                  <a:lnTo>
                    <a:pt x="132" y="52"/>
                  </a:lnTo>
                  <a:lnTo>
                    <a:pt x="134" y="50"/>
                  </a:lnTo>
                  <a:lnTo>
                    <a:pt x="134" y="48"/>
                  </a:lnTo>
                  <a:lnTo>
                    <a:pt x="134" y="46"/>
                  </a:lnTo>
                  <a:lnTo>
                    <a:pt x="134" y="28"/>
                  </a:lnTo>
                  <a:lnTo>
                    <a:pt x="120" y="6"/>
                  </a:lnTo>
                  <a:lnTo>
                    <a:pt x="112" y="6"/>
                  </a:lnTo>
                  <a:lnTo>
                    <a:pt x="100" y="4"/>
                  </a:lnTo>
                  <a:lnTo>
                    <a:pt x="100" y="4"/>
                  </a:lnTo>
                  <a:lnTo>
                    <a:pt x="96" y="4"/>
                  </a:lnTo>
                  <a:lnTo>
                    <a:pt x="92" y="4"/>
                  </a:lnTo>
                  <a:lnTo>
                    <a:pt x="88" y="2"/>
                  </a:lnTo>
                  <a:lnTo>
                    <a:pt x="82" y="0"/>
                  </a:lnTo>
                  <a:lnTo>
                    <a:pt x="80" y="0"/>
                  </a:lnTo>
                  <a:lnTo>
                    <a:pt x="76" y="0"/>
                  </a:lnTo>
                  <a:lnTo>
                    <a:pt x="74" y="0"/>
                  </a:lnTo>
                  <a:lnTo>
                    <a:pt x="72" y="0"/>
                  </a:lnTo>
                  <a:lnTo>
                    <a:pt x="70" y="0"/>
                  </a:lnTo>
                  <a:lnTo>
                    <a:pt x="68" y="0"/>
                  </a:lnTo>
                  <a:lnTo>
                    <a:pt x="66" y="0"/>
                  </a:lnTo>
                  <a:lnTo>
                    <a:pt x="66" y="0"/>
                  </a:lnTo>
                  <a:lnTo>
                    <a:pt x="64" y="0"/>
                  </a:lnTo>
                  <a:lnTo>
                    <a:pt x="64" y="2"/>
                  </a:lnTo>
                  <a:lnTo>
                    <a:pt x="64" y="2"/>
                  </a:lnTo>
                  <a:lnTo>
                    <a:pt x="62" y="4"/>
                  </a:lnTo>
                  <a:lnTo>
                    <a:pt x="62" y="4"/>
                  </a:lnTo>
                  <a:lnTo>
                    <a:pt x="62" y="8"/>
                  </a:lnTo>
                  <a:lnTo>
                    <a:pt x="62" y="10"/>
                  </a:lnTo>
                  <a:lnTo>
                    <a:pt x="62" y="12"/>
                  </a:lnTo>
                  <a:lnTo>
                    <a:pt x="62" y="16"/>
                  </a:lnTo>
                  <a:lnTo>
                    <a:pt x="62" y="16"/>
                  </a:lnTo>
                  <a:lnTo>
                    <a:pt x="60" y="18"/>
                  </a:lnTo>
                  <a:lnTo>
                    <a:pt x="60" y="18"/>
                  </a:lnTo>
                  <a:lnTo>
                    <a:pt x="60" y="18"/>
                  </a:lnTo>
                  <a:lnTo>
                    <a:pt x="60" y="18"/>
                  </a:lnTo>
                  <a:lnTo>
                    <a:pt x="58" y="18"/>
                  </a:lnTo>
                  <a:lnTo>
                    <a:pt x="58" y="18"/>
                  </a:lnTo>
                  <a:lnTo>
                    <a:pt x="56" y="18"/>
                  </a:lnTo>
                  <a:lnTo>
                    <a:pt x="54" y="18"/>
                  </a:lnTo>
                  <a:lnTo>
                    <a:pt x="52" y="16"/>
                  </a:lnTo>
                  <a:lnTo>
                    <a:pt x="50" y="14"/>
                  </a:lnTo>
                  <a:lnTo>
                    <a:pt x="48" y="12"/>
                  </a:lnTo>
                  <a:lnTo>
                    <a:pt x="48" y="12"/>
                  </a:lnTo>
                  <a:lnTo>
                    <a:pt x="44" y="8"/>
                  </a:lnTo>
                  <a:lnTo>
                    <a:pt x="44" y="6"/>
                  </a:lnTo>
                  <a:lnTo>
                    <a:pt x="42" y="4"/>
                  </a:lnTo>
                  <a:lnTo>
                    <a:pt x="40" y="4"/>
                  </a:lnTo>
                  <a:lnTo>
                    <a:pt x="40" y="2"/>
                  </a:lnTo>
                  <a:lnTo>
                    <a:pt x="40" y="2"/>
                  </a:lnTo>
                  <a:lnTo>
                    <a:pt x="38" y="2"/>
                  </a:lnTo>
                  <a:lnTo>
                    <a:pt x="36" y="2"/>
                  </a:lnTo>
                  <a:lnTo>
                    <a:pt x="32" y="0"/>
                  </a:lnTo>
                  <a:lnTo>
                    <a:pt x="30" y="0"/>
                  </a:lnTo>
                  <a:lnTo>
                    <a:pt x="26" y="2"/>
                  </a:lnTo>
                  <a:lnTo>
                    <a:pt x="22" y="2"/>
                  </a:lnTo>
                  <a:lnTo>
                    <a:pt x="16" y="2"/>
                  </a:lnTo>
                  <a:lnTo>
                    <a:pt x="10" y="2"/>
                  </a:lnTo>
                  <a:lnTo>
                    <a:pt x="4" y="4"/>
                  </a:lnTo>
                  <a:lnTo>
                    <a:pt x="0" y="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1" name="Freeform 379">
              <a:extLst>
                <a:ext uri="{FF2B5EF4-FFF2-40B4-BE49-F238E27FC236}">
                  <a16:creationId xmlns:a16="http://schemas.microsoft.com/office/drawing/2014/main" id="{513A6B06-FDC9-4E8F-85FA-B31390A9456B}"/>
                </a:ext>
              </a:extLst>
            </p:cNvPr>
            <p:cNvSpPr>
              <a:spLocks/>
            </p:cNvSpPr>
            <p:nvPr/>
          </p:nvSpPr>
          <p:spPr bwMode="auto">
            <a:xfrm>
              <a:off x="4882366" y="3717819"/>
              <a:ext cx="266740" cy="315238"/>
            </a:xfrm>
            <a:custGeom>
              <a:avLst/>
              <a:gdLst>
                <a:gd name="T0" fmla="*/ 4 w 154"/>
                <a:gd name="T1" fmla="*/ 180 h 182"/>
                <a:gd name="T2" fmla="*/ 14 w 154"/>
                <a:gd name="T3" fmla="*/ 172 h 182"/>
                <a:gd name="T4" fmla="*/ 20 w 154"/>
                <a:gd name="T5" fmla="*/ 168 h 182"/>
                <a:gd name="T6" fmla="*/ 36 w 154"/>
                <a:gd name="T7" fmla="*/ 166 h 182"/>
                <a:gd name="T8" fmla="*/ 54 w 154"/>
                <a:gd name="T9" fmla="*/ 164 h 182"/>
                <a:gd name="T10" fmla="*/ 74 w 154"/>
                <a:gd name="T11" fmla="*/ 162 h 182"/>
                <a:gd name="T12" fmla="*/ 94 w 154"/>
                <a:gd name="T13" fmla="*/ 164 h 182"/>
                <a:gd name="T14" fmla="*/ 110 w 154"/>
                <a:gd name="T15" fmla="*/ 168 h 182"/>
                <a:gd name="T16" fmla="*/ 116 w 154"/>
                <a:gd name="T17" fmla="*/ 168 h 182"/>
                <a:gd name="T18" fmla="*/ 118 w 154"/>
                <a:gd name="T19" fmla="*/ 172 h 182"/>
                <a:gd name="T20" fmla="*/ 122 w 154"/>
                <a:gd name="T21" fmla="*/ 176 h 182"/>
                <a:gd name="T22" fmla="*/ 124 w 154"/>
                <a:gd name="T23" fmla="*/ 176 h 182"/>
                <a:gd name="T24" fmla="*/ 128 w 154"/>
                <a:gd name="T25" fmla="*/ 174 h 182"/>
                <a:gd name="T26" fmla="*/ 134 w 154"/>
                <a:gd name="T27" fmla="*/ 170 h 182"/>
                <a:gd name="T28" fmla="*/ 146 w 154"/>
                <a:gd name="T29" fmla="*/ 160 h 182"/>
                <a:gd name="T30" fmla="*/ 148 w 154"/>
                <a:gd name="T31" fmla="*/ 148 h 182"/>
                <a:gd name="T32" fmla="*/ 148 w 154"/>
                <a:gd name="T33" fmla="*/ 140 h 182"/>
                <a:gd name="T34" fmla="*/ 148 w 154"/>
                <a:gd name="T35" fmla="*/ 136 h 182"/>
                <a:gd name="T36" fmla="*/ 152 w 154"/>
                <a:gd name="T37" fmla="*/ 134 h 182"/>
                <a:gd name="T38" fmla="*/ 154 w 154"/>
                <a:gd name="T39" fmla="*/ 132 h 182"/>
                <a:gd name="T40" fmla="*/ 154 w 154"/>
                <a:gd name="T41" fmla="*/ 128 h 182"/>
                <a:gd name="T42" fmla="*/ 152 w 154"/>
                <a:gd name="T43" fmla="*/ 122 h 182"/>
                <a:gd name="T44" fmla="*/ 148 w 154"/>
                <a:gd name="T45" fmla="*/ 116 h 182"/>
                <a:gd name="T46" fmla="*/ 140 w 154"/>
                <a:gd name="T47" fmla="*/ 104 h 182"/>
                <a:gd name="T48" fmla="*/ 126 w 154"/>
                <a:gd name="T49" fmla="*/ 86 h 182"/>
                <a:gd name="T50" fmla="*/ 120 w 154"/>
                <a:gd name="T51" fmla="*/ 78 h 182"/>
                <a:gd name="T52" fmla="*/ 110 w 154"/>
                <a:gd name="T53" fmla="*/ 62 h 182"/>
                <a:gd name="T54" fmla="*/ 104 w 154"/>
                <a:gd name="T55" fmla="*/ 50 h 182"/>
                <a:gd name="T56" fmla="*/ 100 w 154"/>
                <a:gd name="T57" fmla="*/ 46 h 182"/>
                <a:gd name="T58" fmla="*/ 100 w 154"/>
                <a:gd name="T59" fmla="*/ 36 h 182"/>
                <a:gd name="T60" fmla="*/ 100 w 154"/>
                <a:gd name="T61" fmla="*/ 32 h 182"/>
                <a:gd name="T62" fmla="*/ 100 w 154"/>
                <a:gd name="T63" fmla="*/ 30 h 182"/>
                <a:gd name="T64" fmla="*/ 102 w 154"/>
                <a:gd name="T65" fmla="*/ 30 h 182"/>
                <a:gd name="T66" fmla="*/ 104 w 154"/>
                <a:gd name="T67" fmla="*/ 32 h 182"/>
                <a:gd name="T68" fmla="*/ 108 w 154"/>
                <a:gd name="T69" fmla="*/ 40 h 182"/>
                <a:gd name="T70" fmla="*/ 112 w 154"/>
                <a:gd name="T71" fmla="*/ 44 h 182"/>
                <a:gd name="T72" fmla="*/ 118 w 154"/>
                <a:gd name="T73" fmla="*/ 54 h 182"/>
                <a:gd name="T74" fmla="*/ 122 w 154"/>
                <a:gd name="T75" fmla="*/ 58 h 182"/>
                <a:gd name="T76" fmla="*/ 126 w 154"/>
                <a:gd name="T77" fmla="*/ 60 h 182"/>
                <a:gd name="T78" fmla="*/ 128 w 154"/>
                <a:gd name="T79" fmla="*/ 60 h 182"/>
                <a:gd name="T80" fmla="*/ 132 w 154"/>
                <a:gd name="T81" fmla="*/ 56 h 182"/>
                <a:gd name="T82" fmla="*/ 134 w 154"/>
                <a:gd name="T83" fmla="*/ 48 h 182"/>
                <a:gd name="T84" fmla="*/ 120 w 154"/>
                <a:gd name="T85" fmla="*/ 6 h 182"/>
                <a:gd name="T86" fmla="*/ 100 w 154"/>
                <a:gd name="T87" fmla="*/ 4 h 182"/>
                <a:gd name="T88" fmla="*/ 88 w 154"/>
                <a:gd name="T89" fmla="*/ 2 h 182"/>
                <a:gd name="T90" fmla="*/ 76 w 154"/>
                <a:gd name="T91" fmla="*/ 0 h 182"/>
                <a:gd name="T92" fmla="*/ 70 w 154"/>
                <a:gd name="T93" fmla="*/ 0 h 182"/>
                <a:gd name="T94" fmla="*/ 66 w 154"/>
                <a:gd name="T95" fmla="*/ 0 h 182"/>
                <a:gd name="T96" fmla="*/ 64 w 154"/>
                <a:gd name="T97" fmla="*/ 2 h 182"/>
                <a:gd name="T98" fmla="*/ 62 w 154"/>
                <a:gd name="T99" fmla="*/ 8 h 182"/>
                <a:gd name="T100" fmla="*/ 62 w 154"/>
                <a:gd name="T101" fmla="*/ 16 h 182"/>
                <a:gd name="T102" fmla="*/ 60 w 154"/>
                <a:gd name="T103" fmla="*/ 18 h 182"/>
                <a:gd name="T104" fmla="*/ 58 w 154"/>
                <a:gd name="T105" fmla="*/ 18 h 182"/>
                <a:gd name="T106" fmla="*/ 54 w 154"/>
                <a:gd name="T107" fmla="*/ 18 h 182"/>
                <a:gd name="T108" fmla="*/ 48 w 154"/>
                <a:gd name="T109" fmla="*/ 12 h 182"/>
                <a:gd name="T110" fmla="*/ 44 w 154"/>
                <a:gd name="T111" fmla="*/ 6 h 182"/>
                <a:gd name="T112" fmla="*/ 40 w 154"/>
                <a:gd name="T113" fmla="*/ 2 h 182"/>
                <a:gd name="T114" fmla="*/ 36 w 154"/>
                <a:gd name="T115" fmla="*/ 2 h 182"/>
                <a:gd name="T116" fmla="*/ 26 w 154"/>
                <a:gd name="T117" fmla="*/ 2 h 182"/>
                <a:gd name="T118" fmla="*/ 10 w 154"/>
                <a:gd name="T119" fmla="*/ 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2">
                  <a:moveTo>
                    <a:pt x="0" y="4"/>
                  </a:moveTo>
                  <a:lnTo>
                    <a:pt x="0" y="182"/>
                  </a:lnTo>
                  <a:lnTo>
                    <a:pt x="4" y="180"/>
                  </a:lnTo>
                  <a:lnTo>
                    <a:pt x="10" y="176"/>
                  </a:lnTo>
                  <a:lnTo>
                    <a:pt x="12" y="174"/>
                  </a:lnTo>
                  <a:lnTo>
                    <a:pt x="14" y="172"/>
                  </a:lnTo>
                  <a:lnTo>
                    <a:pt x="18" y="170"/>
                  </a:lnTo>
                  <a:lnTo>
                    <a:pt x="20" y="168"/>
                  </a:lnTo>
                  <a:lnTo>
                    <a:pt x="20" y="168"/>
                  </a:lnTo>
                  <a:lnTo>
                    <a:pt x="26" y="168"/>
                  </a:lnTo>
                  <a:lnTo>
                    <a:pt x="30" y="166"/>
                  </a:lnTo>
                  <a:lnTo>
                    <a:pt x="36" y="166"/>
                  </a:lnTo>
                  <a:lnTo>
                    <a:pt x="42" y="164"/>
                  </a:lnTo>
                  <a:lnTo>
                    <a:pt x="48" y="164"/>
                  </a:lnTo>
                  <a:lnTo>
                    <a:pt x="54" y="164"/>
                  </a:lnTo>
                  <a:lnTo>
                    <a:pt x="62" y="164"/>
                  </a:lnTo>
                  <a:lnTo>
                    <a:pt x="68" y="162"/>
                  </a:lnTo>
                  <a:lnTo>
                    <a:pt x="74" y="162"/>
                  </a:lnTo>
                  <a:lnTo>
                    <a:pt x="82" y="164"/>
                  </a:lnTo>
                  <a:lnTo>
                    <a:pt x="88" y="164"/>
                  </a:lnTo>
                  <a:lnTo>
                    <a:pt x="94" y="164"/>
                  </a:lnTo>
                  <a:lnTo>
                    <a:pt x="100" y="164"/>
                  </a:lnTo>
                  <a:lnTo>
                    <a:pt x="106" y="166"/>
                  </a:lnTo>
                  <a:lnTo>
                    <a:pt x="110" y="168"/>
                  </a:lnTo>
                  <a:lnTo>
                    <a:pt x="112" y="168"/>
                  </a:lnTo>
                  <a:lnTo>
                    <a:pt x="114" y="168"/>
                  </a:lnTo>
                  <a:lnTo>
                    <a:pt x="116" y="168"/>
                  </a:lnTo>
                  <a:lnTo>
                    <a:pt x="116" y="170"/>
                  </a:lnTo>
                  <a:lnTo>
                    <a:pt x="116" y="170"/>
                  </a:lnTo>
                  <a:lnTo>
                    <a:pt x="118" y="172"/>
                  </a:lnTo>
                  <a:lnTo>
                    <a:pt x="120" y="174"/>
                  </a:lnTo>
                  <a:lnTo>
                    <a:pt x="122" y="174"/>
                  </a:lnTo>
                  <a:lnTo>
                    <a:pt x="122" y="176"/>
                  </a:lnTo>
                  <a:lnTo>
                    <a:pt x="122" y="176"/>
                  </a:lnTo>
                  <a:lnTo>
                    <a:pt x="124" y="176"/>
                  </a:lnTo>
                  <a:lnTo>
                    <a:pt x="124" y="176"/>
                  </a:lnTo>
                  <a:lnTo>
                    <a:pt x="124" y="176"/>
                  </a:lnTo>
                  <a:lnTo>
                    <a:pt x="126" y="176"/>
                  </a:lnTo>
                  <a:lnTo>
                    <a:pt x="128" y="174"/>
                  </a:lnTo>
                  <a:lnTo>
                    <a:pt x="130" y="174"/>
                  </a:lnTo>
                  <a:lnTo>
                    <a:pt x="132" y="172"/>
                  </a:lnTo>
                  <a:lnTo>
                    <a:pt x="134" y="170"/>
                  </a:lnTo>
                  <a:lnTo>
                    <a:pt x="138" y="166"/>
                  </a:lnTo>
                  <a:lnTo>
                    <a:pt x="142" y="162"/>
                  </a:lnTo>
                  <a:lnTo>
                    <a:pt x="146" y="160"/>
                  </a:lnTo>
                  <a:lnTo>
                    <a:pt x="148" y="156"/>
                  </a:lnTo>
                  <a:lnTo>
                    <a:pt x="148" y="154"/>
                  </a:lnTo>
                  <a:lnTo>
                    <a:pt x="148" y="148"/>
                  </a:lnTo>
                  <a:lnTo>
                    <a:pt x="148" y="144"/>
                  </a:lnTo>
                  <a:lnTo>
                    <a:pt x="148" y="140"/>
                  </a:lnTo>
                  <a:lnTo>
                    <a:pt x="148" y="140"/>
                  </a:lnTo>
                  <a:lnTo>
                    <a:pt x="148" y="138"/>
                  </a:lnTo>
                  <a:lnTo>
                    <a:pt x="148" y="136"/>
                  </a:lnTo>
                  <a:lnTo>
                    <a:pt x="148" y="136"/>
                  </a:lnTo>
                  <a:lnTo>
                    <a:pt x="148" y="136"/>
                  </a:lnTo>
                  <a:lnTo>
                    <a:pt x="150" y="134"/>
                  </a:lnTo>
                  <a:lnTo>
                    <a:pt x="152" y="134"/>
                  </a:lnTo>
                  <a:lnTo>
                    <a:pt x="152" y="132"/>
                  </a:lnTo>
                  <a:lnTo>
                    <a:pt x="154" y="132"/>
                  </a:lnTo>
                  <a:lnTo>
                    <a:pt x="154" y="132"/>
                  </a:lnTo>
                  <a:lnTo>
                    <a:pt x="154" y="130"/>
                  </a:lnTo>
                  <a:lnTo>
                    <a:pt x="154" y="128"/>
                  </a:lnTo>
                  <a:lnTo>
                    <a:pt x="154" y="128"/>
                  </a:lnTo>
                  <a:lnTo>
                    <a:pt x="154" y="126"/>
                  </a:lnTo>
                  <a:lnTo>
                    <a:pt x="152" y="124"/>
                  </a:lnTo>
                  <a:lnTo>
                    <a:pt x="152" y="122"/>
                  </a:lnTo>
                  <a:lnTo>
                    <a:pt x="152" y="120"/>
                  </a:lnTo>
                  <a:lnTo>
                    <a:pt x="150" y="118"/>
                  </a:lnTo>
                  <a:lnTo>
                    <a:pt x="148" y="116"/>
                  </a:lnTo>
                  <a:lnTo>
                    <a:pt x="146" y="112"/>
                  </a:lnTo>
                  <a:lnTo>
                    <a:pt x="144" y="108"/>
                  </a:lnTo>
                  <a:lnTo>
                    <a:pt x="140" y="104"/>
                  </a:lnTo>
                  <a:lnTo>
                    <a:pt x="134" y="96"/>
                  </a:lnTo>
                  <a:lnTo>
                    <a:pt x="128" y="90"/>
                  </a:lnTo>
                  <a:lnTo>
                    <a:pt x="126" y="86"/>
                  </a:lnTo>
                  <a:lnTo>
                    <a:pt x="124" y="84"/>
                  </a:lnTo>
                  <a:lnTo>
                    <a:pt x="122" y="80"/>
                  </a:lnTo>
                  <a:lnTo>
                    <a:pt x="120" y="78"/>
                  </a:lnTo>
                  <a:lnTo>
                    <a:pt x="118" y="74"/>
                  </a:lnTo>
                  <a:lnTo>
                    <a:pt x="116" y="70"/>
                  </a:lnTo>
                  <a:lnTo>
                    <a:pt x="110" y="62"/>
                  </a:lnTo>
                  <a:lnTo>
                    <a:pt x="106" y="58"/>
                  </a:lnTo>
                  <a:lnTo>
                    <a:pt x="104" y="52"/>
                  </a:lnTo>
                  <a:lnTo>
                    <a:pt x="104" y="50"/>
                  </a:lnTo>
                  <a:lnTo>
                    <a:pt x="102" y="48"/>
                  </a:lnTo>
                  <a:lnTo>
                    <a:pt x="102" y="46"/>
                  </a:lnTo>
                  <a:lnTo>
                    <a:pt x="100" y="46"/>
                  </a:lnTo>
                  <a:lnTo>
                    <a:pt x="100" y="42"/>
                  </a:lnTo>
                  <a:lnTo>
                    <a:pt x="100" y="38"/>
                  </a:lnTo>
                  <a:lnTo>
                    <a:pt x="100" y="36"/>
                  </a:lnTo>
                  <a:lnTo>
                    <a:pt x="100" y="34"/>
                  </a:lnTo>
                  <a:lnTo>
                    <a:pt x="100" y="34"/>
                  </a:lnTo>
                  <a:lnTo>
                    <a:pt x="100" y="32"/>
                  </a:lnTo>
                  <a:lnTo>
                    <a:pt x="100" y="32"/>
                  </a:lnTo>
                  <a:lnTo>
                    <a:pt x="100" y="30"/>
                  </a:lnTo>
                  <a:lnTo>
                    <a:pt x="100" y="30"/>
                  </a:lnTo>
                  <a:lnTo>
                    <a:pt x="100" y="30"/>
                  </a:lnTo>
                  <a:lnTo>
                    <a:pt x="102" y="30"/>
                  </a:lnTo>
                  <a:lnTo>
                    <a:pt x="102" y="30"/>
                  </a:lnTo>
                  <a:lnTo>
                    <a:pt x="104" y="30"/>
                  </a:lnTo>
                  <a:lnTo>
                    <a:pt x="104" y="30"/>
                  </a:lnTo>
                  <a:lnTo>
                    <a:pt x="104" y="32"/>
                  </a:lnTo>
                  <a:lnTo>
                    <a:pt x="104" y="32"/>
                  </a:lnTo>
                  <a:lnTo>
                    <a:pt x="106" y="34"/>
                  </a:lnTo>
                  <a:lnTo>
                    <a:pt x="108" y="40"/>
                  </a:lnTo>
                  <a:lnTo>
                    <a:pt x="110" y="42"/>
                  </a:lnTo>
                  <a:lnTo>
                    <a:pt x="110" y="42"/>
                  </a:lnTo>
                  <a:lnTo>
                    <a:pt x="112" y="44"/>
                  </a:lnTo>
                  <a:lnTo>
                    <a:pt x="114" y="48"/>
                  </a:lnTo>
                  <a:lnTo>
                    <a:pt x="116" y="50"/>
                  </a:lnTo>
                  <a:lnTo>
                    <a:pt x="118" y="54"/>
                  </a:lnTo>
                  <a:lnTo>
                    <a:pt x="120" y="56"/>
                  </a:lnTo>
                  <a:lnTo>
                    <a:pt x="122" y="58"/>
                  </a:lnTo>
                  <a:lnTo>
                    <a:pt x="122" y="58"/>
                  </a:lnTo>
                  <a:lnTo>
                    <a:pt x="124" y="60"/>
                  </a:lnTo>
                  <a:lnTo>
                    <a:pt x="124" y="60"/>
                  </a:lnTo>
                  <a:lnTo>
                    <a:pt x="126" y="60"/>
                  </a:lnTo>
                  <a:lnTo>
                    <a:pt x="128" y="60"/>
                  </a:lnTo>
                  <a:lnTo>
                    <a:pt x="128" y="60"/>
                  </a:lnTo>
                  <a:lnTo>
                    <a:pt x="128" y="60"/>
                  </a:lnTo>
                  <a:lnTo>
                    <a:pt x="130" y="58"/>
                  </a:lnTo>
                  <a:lnTo>
                    <a:pt x="130" y="58"/>
                  </a:lnTo>
                  <a:lnTo>
                    <a:pt x="132" y="56"/>
                  </a:lnTo>
                  <a:lnTo>
                    <a:pt x="132" y="52"/>
                  </a:lnTo>
                  <a:lnTo>
                    <a:pt x="134" y="50"/>
                  </a:lnTo>
                  <a:lnTo>
                    <a:pt x="134" y="48"/>
                  </a:lnTo>
                  <a:lnTo>
                    <a:pt x="134" y="46"/>
                  </a:lnTo>
                  <a:lnTo>
                    <a:pt x="134" y="28"/>
                  </a:lnTo>
                  <a:lnTo>
                    <a:pt x="120" y="6"/>
                  </a:lnTo>
                  <a:lnTo>
                    <a:pt x="112" y="6"/>
                  </a:lnTo>
                  <a:lnTo>
                    <a:pt x="100" y="4"/>
                  </a:lnTo>
                  <a:lnTo>
                    <a:pt x="100" y="4"/>
                  </a:lnTo>
                  <a:lnTo>
                    <a:pt x="96" y="4"/>
                  </a:lnTo>
                  <a:lnTo>
                    <a:pt x="92" y="4"/>
                  </a:lnTo>
                  <a:lnTo>
                    <a:pt x="88" y="2"/>
                  </a:lnTo>
                  <a:lnTo>
                    <a:pt x="82" y="0"/>
                  </a:lnTo>
                  <a:lnTo>
                    <a:pt x="80" y="0"/>
                  </a:lnTo>
                  <a:lnTo>
                    <a:pt x="76" y="0"/>
                  </a:lnTo>
                  <a:lnTo>
                    <a:pt x="74" y="0"/>
                  </a:lnTo>
                  <a:lnTo>
                    <a:pt x="72" y="0"/>
                  </a:lnTo>
                  <a:lnTo>
                    <a:pt x="70" y="0"/>
                  </a:lnTo>
                  <a:lnTo>
                    <a:pt x="68" y="0"/>
                  </a:lnTo>
                  <a:lnTo>
                    <a:pt x="66" y="0"/>
                  </a:lnTo>
                  <a:lnTo>
                    <a:pt x="66" y="0"/>
                  </a:lnTo>
                  <a:lnTo>
                    <a:pt x="64" y="0"/>
                  </a:lnTo>
                  <a:lnTo>
                    <a:pt x="64" y="2"/>
                  </a:lnTo>
                  <a:lnTo>
                    <a:pt x="64" y="2"/>
                  </a:lnTo>
                  <a:lnTo>
                    <a:pt x="62" y="4"/>
                  </a:lnTo>
                  <a:lnTo>
                    <a:pt x="62" y="4"/>
                  </a:lnTo>
                  <a:lnTo>
                    <a:pt x="62" y="8"/>
                  </a:lnTo>
                  <a:lnTo>
                    <a:pt x="62" y="10"/>
                  </a:lnTo>
                  <a:lnTo>
                    <a:pt x="62" y="12"/>
                  </a:lnTo>
                  <a:lnTo>
                    <a:pt x="62" y="16"/>
                  </a:lnTo>
                  <a:lnTo>
                    <a:pt x="62" y="16"/>
                  </a:lnTo>
                  <a:lnTo>
                    <a:pt x="60" y="18"/>
                  </a:lnTo>
                  <a:lnTo>
                    <a:pt x="60" y="18"/>
                  </a:lnTo>
                  <a:lnTo>
                    <a:pt x="60" y="18"/>
                  </a:lnTo>
                  <a:lnTo>
                    <a:pt x="60" y="18"/>
                  </a:lnTo>
                  <a:lnTo>
                    <a:pt x="58" y="18"/>
                  </a:lnTo>
                  <a:lnTo>
                    <a:pt x="58" y="18"/>
                  </a:lnTo>
                  <a:lnTo>
                    <a:pt x="56" y="18"/>
                  </a:lnTo>
                  <a:lnTo>
                    <a:pt x="54" y="18"/>
                  </a:lnTo>
                  <a:lnTo>
                    <a:pt x="52" y="16"/>
                  </a:lnTo>
                  <a:lnTo>
                    <a:pt x="50" y="14"/>
                  </a:lnTo>
                  <a:lnTo>
                    <a:pt x="48" y="12"/>
                  </a:lnTo>
                  <a:lnTo>
                    <a:pt x="48" y="12"/>
                  </a:lnTo>
                  <a:lnTo>
                    <a:pt x="44" y="8"/>
                  </a:lnTo>
                  <a:lnTo>
                    <a:pt x="44" y="6"/>
                  </a:lnTo>
                  <a:lnTo>
                    <a:pt x="42" y="4"/>
                  </a:lnTo>
                  <a:lnTo>
                    <a:pt x="40" y="4"/>
                  </a:lnTo>
                  <a:lnTo>
                    <a:pt x="40" y="2"/>
                  </a:lnTo>
                  <a:lnTo>
                    <a:pt x="40" y="2"/>
                  </a:lnTo>
                  <a:lnTo>
                    <a:pt x="38" y="2"/>
                  </a:lnTo>
                  <a:lnTo>
                    <a:pt x="36" y="2"/>
                  </a:lnTo>
                  <a:lnTo>
                    <a:pt x="32" y="0"/>
                  </a:lnTo>
                  <a:lnTo>
                    <a:pt x="30" y="0"/>
                  </a:lnTo>
                  <a:lnTo>
                    <a:pt x="26" y="2"/>
                  </a:lnTo>
                  <a:lnTo>
                    <a:pt x="22" y="2"/>
                  </a:lnTo>
                  <a:lnTo>
                    <a:pt x="16" y="2"/>
                  </a:lnTo>
                  <a:lnTo>
                    <a:pt x="10" y="2"/>
                  </a:lnTo>
                  <a:lnTo>
                    <a:pt x="4" y="4"/>
                  </a:lnTo>
                  <a:lnTo>
                    <a:pt x="0" y="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2" name="Freeform 380">
              <a:extLst>
                <a:ext uri="{FF2B5EF4-FFF2-40B4-BE49-F238E27FC236}">
                  <a16:creationId xmlns:a16="http://schemas.microsoft.com/office/drawing/2014/main" id="{5B9C72A9-B6B4-48D5-B502-4B8C3BBD2438}"/>
                </a:ext>
              </a:extLst>
            </p:cNvPr>
            <p:cNvSpPr>
              <a:spLocks/>
            </p:cNvSpPr>
            <p:nvPr/>
          </p:nvSpPr>
          <p:spPr bwMode="auto">
            <a:xfrm>
              <a:off x="4064827" y="3544611"/>
              <a:ext cx="491909" cy="561192"/>
            </a:xfrm>
            <a:custGeom>
              <a:avLst/>
              <a:gdLst>
                <a:gd name="T0" fmla="*/ 98 w 284"/>
                <a:gd name="T1" fmla="*/ 50 h 324"/>
                <a:gd name="T2" fmla="*/ 98 w 284"/>
                <a:gd name="T3" fmla="*/ 56 h 324"/>
                <a:gd name="T4" fmla="*/ 92 w 284"/>
                <a:gd name="T5" fmla="*/ 66 h 324"/>
                <a:gd name="T6" fmla="*/ 98 w 284"/>
                <a:gd name="T7" fmla="*/ 70 h 324"/>
                <a:gd name="T8" fmla="*/ 102 w 284"/>
                <a:gd name="T9" fmla="*/ 76 h 324"/>
                <a:gd name="T10" fmla="*/ 98 w 284"/>
                <a:gd name="T11" fmla="*/ 92 h 324"/>
                <a:gd name="T12" fmla="*/ 92 w 284"/>
                <a:gd name="T13" fmla="*/ 98 h 324"/>
                <a:gd name="T14" fmla="*/ 80 w 284"/>
                <a:gd name="T15" fmla="*/ 98 h 324"/>
                <a:gd name="T16" fmla="*/ 76 w 284"/>
                <a:gd name="T17" fmla="*/ 104 h 324"/>
                <a:gd name="T18" fmla="*/ 78 w 284"/>
                <a:gd name="T19" fmla="*/ 112 h 324"/>
                <a:gd name="T20" fmla="*/ 84 w 284"/>
                <a:gd name="T21" fmla="*/ 118 h 324"/>
                <a:gd name="T22" fmla="*/ 72 w 284"/>
                <a:gd name="T23" fmla="*/ 126 h 324"/>
                <a:gd name="T24" fmla="*/ 56 w 284"/>
                <a:gd name="T25" fmla="*/ 142 h 324"/>
                <a:gd name="T26" fmla="*/ 40 w 284"/>
                <a:gd name="T27" fmla="*/ 152 h 324"/>
                <a:gd name="T28" fmla="*/ 30 w 284"/>
                <a:gd name="T29" fmla="*/ 152 h 324"/>
                <a:gd name="T30" fmla="*/ 28 w 284"/>
                <a:gd name="T31" fmla="*/ 158 h 324"/>
                <a:gd name="T32" fmla="*/ 20 w 284"/>
                <a:gd name="T33" fmla="*/ 158 h 324"/>
                <a:gd name="T34" fmla="*/ 16 w 284"/>
                <a:gd name="T35" fmla="*/ 158 h 324"/>
                <a:gd name="T36" fmla="*/ 14 w 284"/>
                <a:gd name="T37" fmla="*/ 166 h 324"/>
                <a:gd name="T38" fmla="*/ 6 w 284"/>
                <a:gd name="T39" fmla="*/ 168 h 324"/>
                <a:gd name="T40" fmla="*/ 44 w 284"/>
                <a:gd name="T41" fmla="*/ 212 h 324"/>
                <a:gd name="T42" fmla="*/ 108 w 284"/>
                <a:gd name="T43" fmla="*/ 266 h 324"/>
                <a:gd name="T44" fmla="*/ 146 w 284"/>
                <a:gd name="T45" fmla="*/ 294 h 324"/>
                <a:gd name="T46" fmla="*/ 158 w 284"/>
                <a:gd name="T47" fmla="*/ 300 h 324"/>
                <a:gd name="T48" fmla="*/ 160 w 284"/>
                <a:gd name="T49" fmla="*/ 316 h 324"/>
                <a:gd name="T50" fmla="*/ 164 w 284"/>
                <a:gd name="T51" fmla="*/ 324 h 324"/>
                <a:gd name="T52" fmla="*/ 176 w 284"/>
                <a:gd name="T53" fmla="*/ 322 h 324"/>
                <a:gd name="T54" fmla="*/ 178 w 284"/>
                <a:gd name="T55" fmla="*/ 312 h 324"/>
                <a:gd name="T56" fmla="*/ 192 w 284"/>
                <a:gd name="T57" fmla="*/ 312 h 324"/>
                <a:gd name="T58" fmla="*/ 202 w 284"/>
                <a:gd name="T59" fmla="*/ 312 h 324"/>
                <a:gd name="T60" fmla="*/ 212 w 284"/>
                <a:gd name="T61" fmla="*/ 300 h 324"/>
                <a:gd name="T62" fmla="*/ 220 w 284"/>
                <a:gd name="T63" fmla="*/ 294 h 324"/>
                <a:gd name="T64" fmla="*/ 224 w 284"/>
                <a:gd name="T65" fmla="*/ 284 h 324"/>
                <a:gd name="T66" fmla="*/ 240 w 284"/>
                <a:gd name="T67" fmla="*/ 280 h 324"/>
                <a:gd name="T68" fmla="*/ 250 w 284"/>
                <a:gd name="T69" fmla="*/ 274 h 324"/>
                <a:gd name="T70" fmla="*/ 262 w 284"/>
                <a:gd name="T71" fmla="*/ 260 h 324"/>
                <a:gd name="T72" fmla="*/ 280 w 284"/>
                <a:gd name="T73" fmla="*/ 252 h 324"/>
                <a:gd name="T74" fmla="*/ 284 w 284"/>
                <a:gd name="T75" fmla="*/ 236 h 324"/>
                <a:gd name="T76" fmla="*/ 278 w 284"/>
                <a:gd name="T77" fmla="*/ 228 h 324"/>
                <a:gd name="T78" fmla="*/ 262 w 284"/>
                <a:gd name="T79" fmla="*/ 228 h 324"/>
                <a:gd name="T80" fmla="*/ 252 w 284"/>
                <a:gd name="T81" fmla="*/ 220 h 324"/>
                <a:gd name="T82" fmla="*/ 250 w 284"/>
                <a:gd name="T83" fmla="*/ 202 h 324"/>
                <a:gd name="T84" fmla="*/ 254 w 284"/>
                <a:gd name="T85" fmla="*/ 104 h 324"/>
                <a:gd name="T86" fmla="*/ 246 w 284"/>
                <a:gd name="T87" fmla="*/ 102 h 324"/>
                <a:gd name="T88" fmla="*/ 244 w 284"/>
                <a:gd name="T89" fmla="*/ 90 h 324"/>
                <a:gd name="T90" fmla="*/ 240 w 284"/>
                <a:gd name="T91" fmla="*/ 86 h 324"/>
                <a:gd name="T92" fmla="*/ 230 w 284"/>
                <a:gd name="T93" fmla="*/ 82 h 324"/>
                <a:gd name="T94" fmla="*/ 224 w 284"/>
                <a:gd name="T95" fmla="*/ 68 h 324"/>
                <a:gd name="T96" fmla="*/ 226 w 284"/>
                <a:gd name="T97" fmla="*/ 54 h 324"/>
                <a:gd name="T98" fmla="*/ 234 w 284"/>
                <a:gd name="T99" fmla="*/ 48 h 324"/>
                <a:gd name="T100" fmla="*/ 240 w 284"/>
                <a:gd name="T101" fmla="*/ 44 h 324"/>
                <a:gd name="T102" fmla="*/ 234 w 284"/>
                <a:gd name="T103" fmla="*/ 36 h 324"/>
                <a:gd name="T104" fmla="*/ 234 w 284"/>
                <a:gd name="T105" fmla="*/ 28 h 324"/>
                <a:gd name="T106" fmla="*/ 236 w 284"/>
                <a:gd name="T107" fmla="*/ 22 h 324"/>
                <a:gd name="T108" fmla="*/ 242 w 284"/>
                <a:gd name="T109" fmla="*/ 20 h 324"/>
                <a:gd name="T110" fmla="*/ 240 w 284"/>
                <a:gd name="T111" fmla="*/ 6 h 324"/>
                <a:gd name="T112" fmla="*/ 196 w 284"/>
                <a:gd name="T113" fmla="*/ 0 h 324"/>
                <a:gd name="T114" fmla="*/ 172 w 284"/>
                <a:gd name="T115" fmla="*/ 4 h 324"/>
                <a:gd name="T116" fmla="*/ 152 w 284"/>
                <a:gd name="T117" fmla="*/ 10 h 324"/>
                <a:gd name="T118" fmla="*/ 128 w 284"/>
                <a:gd name="T119" fmla="*/ 12 h 324"/>
                <a:gd name="T120" fmla="*/ 116 w 284"/>
                <a:gd name="T121" fmla="*/ 22 h 324"/>
                <a:gd name="T122" fmla="*/ 100 w 284"/>
                <a:gd name="T123" fmla="*/ 24 h 324"/>
                <a:gd name="T124" fmla="*/ 92 w 284"/>
                <a:gd name="T125" fmla="*/ 3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 h="324">
                  <a:moveTo>
                    <a:pt x="88" y="42"/>
                  </a:moveTo>
                  <a:lnTo>
                    <a:pt x="88" y="42"/>
                  </a:lnTo>
                  <a:lnTo>
                    <a:pt x="90" y="42"/>
                  </a:lnTo>
                  <a:lnTo>
                    <a:pt x="94" y="46"/>
                  </a:lnTo>
                  <a:lnTo>
                    <a:pt x="96" y="48"/>
                  </a:lnTo>
                  <a:lnTo>
                    <a:pt x="98" y="50"/>
                  </a:lnTo>
                  <a:lnTo>
                    <a:pt x="98" y="50"/>
                  </a:lnTo>
                  <a:lnTo>
                    <a:pt x="100" y="52"/>
                  </a:lnTo>
                  <a:lnTo>
                    <a:pt x="100" y="52"/>
                  </a:lnTo>
                  <a:lnTo>
                    <a:pt x="100" y="52"/>
                  </a:lnTo>
                  <a:lnTo>
                    <a:pt x="100" y="54"/>
                  </a:lnTo>
                  <a:lnTo>
                    <a:pt x="100" y="54"/>
                  </a:lnTo>
                  <a:lnTo>
                    <a:pt x="100" y="56"/>
                  </a:lnTo>
                  <a:lnTo>
                    <a:pt x="98" y="56"/>
                  </a:lnTo>
                  <a:lnTo>
                    <a:pt x="98" y="58"/>
                  </a:lnTo>
                  <a:lnTo>
                    <a:pt x="96" y="60"/>
                  </a:lnTo>
                  <a:lnTo>
                    <a:pt x="94" y="62"/>
                  </a:lnTo>
                  <a:lnTo>
                    <a:pt x="94" y="64"/>
                  </a:lnTo>
                  <a:lnTo>
                    <a:pt x="92" y="64"/>
                  </a:lnTo>
                  <a:lnTo>
                    <a:pt x="92" y="66"/>
                  </a:lnTo>
                  <a:lnTo>
                    <a:pt x="92" y="66"/>
                  </a:lnTo>
                  <a:lnTo>
                    <a:pt x="92" y="66"/>
                  </a:lnTo>
                  <a:lnTo>
                    <a:pt x="92" y="68"/>
                  </a:lnTo>
                  <a:lnTo>
                    <a:pt x="92" y="68"/>
                  </a:lnTo>
                  <a:lnTo>
                    <a:pt x="94" y="68"/>
                  </a:lnTo>
                  <a:lnTo>
                    <a:pt x="96" y="68"/>
                  </a:lnTo>
                  <a:lnTo>
                    <a:pt x="96" y="70"/>
                  </a:lnTo>
                  <a:lnTo>
                    <a:pt x="98" y="70"/>
                  </a:lnTo>
                  <a:lnTo>
                    <a:pt x="100" y="70"/>
                  </a:lnTo>
                  <a:lnTo>
                    <a:pt x="100" y="70"/>
                  </a:lnTo>
                  <a:lnTo>
                    <a:pt x="100" y="72"/>
                  </a:lnTo>
                  <a:lnTo>
                    <a:pt x="102" y="72"/>
                  </a:lnTo>
                  <a:lnTo>
                    <a:pt x="102" y="74"/>
                  </a:lnTo>
                  <a:lnTo>
                    <a:pt x="102" y="74"/>
                  </a:lnTo>
                  <a:lnTo>
                    <a:pt x="102" y="76"/>
                  </a:lnTo>
                  <a:lnTo>
                    <a:pt x="102" y="78"/>
                  </a:lnTo>
                  <a:lnTo>
                    <a:pt x="102" y="80"/>
                  </a:lnTo>
                  <a:lnTo>
                    <a:pt x="102" y="82"/>
                  </a:lnTo>
                  <a:lnTo>
                    <a:pt x="100" y="86"/>
                  </a:lnTo>
                  <a:lnTo>
                    <a:pt x="100" y="88"/>
                  </a:lnTo>
                  <a:lnTo>
                    <a:pt x="98" y="90"/>
                  </a:lnTo>
                  <a:lnTo>
                    <a:pt x="98" y="92"/>
                  </a:lnTo>
                  <a:lnTo>
                    <a:pt x="98" y="94"/>
                  </a:lnTo>
                  <a:lnTo>
                    <a:pt x="96" y="94"/>
                  </a:lnTo>
                  <a:lnTo>
                    <a:pt x="96" y="96"/>
                  </a:lnTo>
                  <a:lnTo>
                    <a:pt x="94" y="96"/>
                  </a:lnTo>
                  <a:lnTo>
                    <a:pt x="94" y="98"/>
                  </a:lnTo>
                  <a:lnTo>
                    <a:pt x="94" y="98"/>
                  </a:lnTo>
                  <a:lnTo>
                    <a:pt x="92" y="98"/>
                  </a:lnTo>
                  <a:lnTo>
                    <a:pt x="92" y="98"/>
                  </a:lnTo>
                  <a:lnTo>
                    <a:pt x="90" y="98"/>
                  </a:lnTo>
                  <a:lnTo>
                    <a:pt x="86" y="98"/>
                  </a:lnTo>
                  <a:lnTo>
                    <a:pt x="84" y="98"/>
                  </a:lnTo>
                  <a:lnTo>
                    <a:pt x="82" y="98"/>
                  </a:lnTo>
                  <a:lnTo>
                    <a:pt x="80" y="98"/>
                  </a:lnTo>
                  <a:lnTo>
                    <a:pt x="80" y="98"/>
                  </a:lnTo>
                  <a:lnTo>
                    <a:pt x="80" y="98"/>
                  </a:lnTo>
                  <a:lnTo>
                    <a:pt x="78" y="98"/>
                  </a:lnTo>
                  <a:lnTo>
                    <a:pt x="78" y="100"/>
                  </a:lnTo>
                  <a:lnTo>
                    <a:pt x="78" y="100"/>
                  </a:lnTo>
                  <a:lnTo>
                    <a:pt x="76" y="102"/>
                  </a:lnTo>
                  <a:lnTo>
                    <a:pt x="76" y="102"/>
                  </a:lnTo>
                  <a:lnTo>
                    <a:pt x="76" y="104"/>
                  </a:lnTo>
                  <a:lnTo>
                    <a:pt x="76" y="106"/>
                  </a:lnTo>
                  <a:lnTo>
                    <a:pt x="76" y="108"/>
                  </a:lnTo>
                  <a:lnTo>
                    <a:pt x="76" y="108"/>
                  </a:lnTo>
                  <a:lnTo>
                    <a:pt x="76" y="108"/>
                  </a:lnTo>
                  <a:lnTo>
                    <a:pt x="76" y="110"/>
                  </a:lnTo>
                  <a:lnTo>
                    <a:pt x="78" y="110"/>
                  </a:lnTo>
                  <a:lnTo>
                    <a:pt x="78" y="112"/>
                  </a:lnTo>
                  <a:lnTo>
                    <a:pt x="80" y="112"/>
                  </a:lnTo>
                  <a:lnTo>
                    <a:pt x="82" y="114"/>
                  </a:lnTo>
                  <a:lnTo>
                    <a:pt x="82" y="114"/>
                  </a:lnTo>
                  <a:lnTo>
                    <a:pt x="84" y="114"/>
                  </a:lnTo>
                  <a:lnTo>
                    <a:pt x="84" y="116"/>
                  </a:lnTo>
                  <a:lnTo>
                    <a:pt x="84" y="116"/>
                  </a:lnTo>
                  <a:lnTo>
                    <a:pt x="84" y="118"/>
                  </a:lnTo>
                  <a:lnTo>
                    <a:pt x="82" y="118"/>
                  </a:lnTo>
                  <a:lnTo>
                    <a:pt x="82" y="120"/>
                  </a:lnTo>
                  <a:lnTo>
                    <a:pt x="82" y="120"/>
                  </a:lnTo>
                  <a:lnTo>
                    <a:pt x="80" y="122"/>
                  </a:lnTo>
                  <a:lnTo>
                    <a:pt x="78" y="122"/>
                  </a:lnTo>
                  <a:lnTo>
                    <a:pt x="76" y="124"/>
                  </a:lnTo>
                  <a:lnTo>
                    <a:pt x="72" y="126"/>
                  </a:lnTo>
                  <a:lnTo>
                    <a:pt x="70" y="128"/>
                  </a:lnTo>
                  <a:lnTo>
                    <a:pt x="66" y="130"/>
                  </a:lnTo>
                  <a:lnTo>
                    <a:pt x="66" y="132"/>
                  </a:lnTo>
                  <a:lnTo>
                    <a:pt x="64" y="132"/>
                  </a:lnTo>
                  <a:lnTo>
                    <a:pt x="62" y="136"/>
                  </a:lnTo>
                  <a:lnTo>
                    <a:pt x="58" y="138"/>
                  </a:lnTo>
                  <a:lnTo>
                    <a:pt x="56" y="142"/>
                  </a:lnTo>
                  <a:lnTo>
                    <a:pt x="54" y="144"/>
                  </a:lnTo>
                  <a:lnTo>
                    <a:pt x="52" y="144"/>
                  </a:lnTo>
                  <a:lnTo>
                    <a:pt x="50" y="146"/>
                  </a:lnTo>
                  <a:lnTo>
                    <a:pt x="46" y="148"/>
                  </a:lnTo>
                  <a:lnTo>
                    <a:pt x="44" y="150"/>
                  </a:lnTo>
                  <a:lnTo>
                    <a:pt x="42" y="150"/>
                  </a:lnTo>
                  <a:lnTo>
                    <a:pt x="40" y="152"/>
                  </a:lnTo>
                  <a:lnTo>
                    <a:pt x="40" y="152"/>
                  </a:lnTo>
                  <a:lnTo>
                    <a:pt x="38" y="152"/>
                  </a:lnTo>
                  <a:lnTo>
                    <a:pt x="36" y="150"/>
                  </a:lnTo>
                  <a:lnTo>
                    <a:pt x="34" y="150"/>
                  </a:lnTo>
                  <a:lnTo>
                    <a:pt x="32" y="150"/>
                  </a:lnTo>
                  <a:lnTo>
                    <a:pt x="32" y="150"/>
                  </a:lnTo>
                  <a:lnTo>
                    <a:pt x="30" y="152"/>
                  </a:lnTo>
                  <a:lnTo>
                    <a:pt x="30" y="152"/>
                  </a:lnTo>
                  <a:lnTo>
                    <a:pt x="30" y="152"/>
                  </a:lnTo>
                  <a:lnTo>
                    <a:pt x="28" y="154"/>
                  </a:lnTo>
                  <a:lnTo>
                    <a:pt x="28" y="156"/>
                  </a:lnTo>
                  <a:lnTo>
                    <a:pt x="28" y="158"/>
                  </a:lnTo>
                  <a:lnTo>
                    <a:pt x="28" y="158"/>
                  </a:lnTo>
                  <a:lnTo>
                    <a:pt x="28" y="158"/>
                  </a:lnTo>
                  <a:lnTo>
                    <a:pt x="28" y="158"/>
                  </a:lnTo>
                  <a:lnTo>
                    <a:pt x="26" y="158"/>
                  </a:lnTo>
                  <a:lnTo>
                    <a:pt x="26" y="158"/>
                  </a:lnTo>
                  <a:lnTo>
                    <a:pt x="24" y="158"/>
                  </a:lnTo>
                  <a:lnTo>
                    <a:pt x="22" y="158"/>
                  </a:lnTo>
                  <a:lnTo>
                    <a:pt x="22" y="158"/>
                  </a:lnTo>
                  <a:lnTo>
                    <a:pt x="20" y="158"/>
                  </a:lnTo>
                  <a:lnTo>
                    <a:pt x="18" y="158"/>
                  </a:lnTo>
                  <a:lnTo>
                    <a:pt x="18" y="158"/>
                  </a:lnTo>
                  <a:lnTo>
                    <a:pt x="16" y="158"/>
                  </a:lnTo>
                  <a:lnTo>
                    <a:pt x="16" y="158"/>
                  </a:lnTo>
                  <a:lnTo>
                    <a:pt x="16" y="158"/>
                  </a:lnTo>
                  <a:lnTo>
                    <a:pt x="16" y="158"/>
                  </a:lnTo>
                  <a:lnTo>
                    <a:pt x="16" y="158"/>
                  </a:lnTo>
                  <a:lnTo>
                    <a:pt x="14" y="160"/>
                  </a:lnTo>
                  <a:lnTo>
                    <a:pt x="14" y="160"/>
                  </a:lnTo>
                  <a:lnTo>
                    <a:pt x="14" y="162"/>
                  </a:lnTo>
                  <a:lnTo>
                    <a:pt x="16" y="164"/>
                  </a:lnTo>
                  <a:lnTo>
                    <a:pt x="16" y="164"/>
                  </a:lnTo>
                  <a:lnTo>
                    <a:pt x="14" y="166"/>
                  </a:lnTo>
                  <a:lnTo>
                    <a:pt x="14" y="166"/>
                  </a:lnTo>
                  <a:lnTo>
                    <a:pt x="14" y="166"/>
                  </a:lnTo>
                  <a:lnTo>
                    <a:pt x="14" y="166"/>
                  </a:lnTo>
                  <a:lnTo>
                    <a:pt x="12" y="166"/>
                  </a:lnTo>
                  <a:lnTo>
                    <a:pt x="12" y="168"/>
                  </a:lnTo>
                  <a:lnTo>
                    <a:pt x="10" y="168"/>
                  </a:lnTo>
                  <a:lnTo>
                    <a:pt x="8" y="168"/>
                  </a:lnTo>
                  <a:lnTo>
                    <a:pt x="6" y="168"/>
                  </a:lnTo>
                  <a:lnTo>
                    <a:pt x="4" y="168"/>
                  </a:lnTo>
                  <a:lnTo>
                    <a:pt x="2" y="166"/>
                  </a:lnTo>
                  <a:lnTo>
                    <a:pt x="0" y="166"/>
                  </a:lnTo>
                  <a:lnTo>
                    <a:pt x="30" y="202"/>
                  </a:lnTo>
                  <a:lnTo>
                    <a:pt x="36" y="206"/>
                  </a:lnTo>
                  <a:lnTo>
                    <a:pt x="40" y="210"/>
                  </a:lnTo>
                  <a:lnTo>
                    <a:pt x="44" y="212"/>
                  </a:lnTo>
                  <a:lnTo>
                    <a:pt x="50" y="216"/>
                  </a:lnTo>
                  <a:lnTo>
                    <a:pt x="56" y="222"/>
                  </a:lnTo>
                  <a:lnTo>
                    <a:pt x="62" y="226"/>
                  </a:lnTo>
                  <a:lnTo>
                    <a:pt x="68" y="232"/>
                  </a:lnTo>
                  <a:lnTo>
                    <a:pt x="80" y="242"/>
                  </a:lnTo>
                  <a:lnTo>
                    <a:pt x="94" y="254"/>
                  </a:lnTo>
                  <a:lnTo>
                    <a:pt x="108" y="266"/>
                  </a:lnTo>
                  <a:lnTo>
                    <a:pt x="114" y="272"/>
                  </a:lnTo>
                  <a:lnTo>
                    <a:pt x="122" y="276"/>
                  </a:lnTo>
                  <a:lnTo>
                    <a:pt x="128" y="282"/>
                  </a:lnTo>
                  <a:lnTo>
                    <a:pt x="134" y="286"/>
                  </a:lnTo>
                  <a:lnTo>
                    <a:pt x="140" y="290"/>
                  </a:lnTo>
                  <a:lnTo>
                    <a:pt x="146" y="294"/>
                  </a:lnTo>
                  <a:lnTo>
                    <a:pt x="146" y="294"/>
                  </a:lnTo>
                  <a:lnTo>
                    <a:pt x="148" y="294"/>
                  </a:lnTo>
                  <a:lnTo>
                    <a:pt x="152" y="296"/>
                  </a:lnTo>
                  <a:lnTo>
                    <a:pt x="154" y="296"/>
                  </a:lnTo>
                  <a:lnTo>
                    <a:pt x="156" y="298"/>
                  </a:lnTo>
                  <a:lnTo>
                    <a:pt x="158" y="298"/>
                  </a:lnTo>
                  <a:lnTo>
                    <a:pt x="158" y="300"/>
                  </a:lnTo>
                  <a:lnTo>
                    <a:pt x="158" y="300"/>
                  </a:lnTo>
                  <a:lnTo>
                    <a:pt x="160" y="300"/>
                  </a:lnTo>
                  <a:lnTo>
                    <a:pt x="160" y="302"/>
                  </a:lnTo>
                  <a:lnTo>
                    <a:pt x="160" y="304"/>
                  </a:lnTo>
                  <a:lnTo>
                    <a:pt x="160" y="306"/>
                  </a:lnTo>
                  <a:lnTo>
                    <a:pt x="160" y="308"/>
                  </a:lnTo>
                  <a:lnTo>
                    <a:pt x="160" y="312"/>
                  </a:lnTo>
                  <a:lnTo>
                    <a:pt x="160" y="316"/>
                  </a:lnTo>
                  <a:lnTo>
                    <a:pt x="160" y="318"/>
                  </a:lnTo>
                  <a:lnTo>
                    <a:pt x="160" y="320"/>
                  </a:lnTo>
                  <a:lnTo>
                    <a:pt x="160" y="320"/>
                  </a:lnTo>
                  <a:lnTo>
                    <a:pt x="162" y="322"/>
                  </a:lnTo>
                  <a:lnTo>
                    <a:pt x="162" y="324"/>
                  </a:lnTo>
                  <a:lnTo>
                    <a:pt x="162" y="324"/>
                  </a:lnTo>
                  <a:lnTo>
                    <a:pt x="164" y="324"/>
                  </a:lnTo>
                  <a:lnTo>
                    <a:pt x="164" y="324"/>
                  </a:lnTo>
                  <a:lnTo>
                    <a:pt x="164" y="324"/>
                  </a:lnTo>
                  <a:lnTo>
                    <a:pt x="166" y="324"/>
                  </a:lnTo>
                  <a:lnTo>
                    <a:pt x="168" y="324"/>
                  </a:lnTo>
                  <a:lnTo>
                    <a:pt x="170" y="324"/>
                  </a:lnTo>
                  <a:lnTo>
                    <a:pt x="174" y="322"/>
                  </a:lnTo>
                  <a:lnTo>
                    <a:pt x="176" y="322"/>
                  </a:lnTo>
                  <a:lnTo>
                    <a:pt x="176" y="320"/>
                  </a:lnTo>
                  <a:lnTo>
                    <a:pt x="176" y="318"/>
                  </a:lnTo>
                  <a:lnTo>
                    <a:pt x="176" y="316"/>
                  </a:lnTo>
                  <a:lnTo>
                    <a:pt x="176" y="316"/>
                  </a:lnTo>
                  <a:lnTo>
                    <a:pt x="176" y="314"/>
                  </a:lnTo>
                  <a:lnTo>
                    <a:pt x="176" y="314"/>
                  </a:lnTo>
                  <a:lnTo>
                    <a:pt x="178" y="312"/>
                  </a:lnTo>
                  <a:lnTo>
                    <a:pt x="178" y="312"/>
                  </a:lnTo>
                  <a:lnTo>
                    <a:pt x="180" y="312"/>
                  </a:lnTo>
                  <a:lnTo>
                    <a:pt x="182" y="312"/>
                  </a:lnTo>
                  <a:lnTo>
                    <a:pt x="184" y="312"/>
                  </a:lnTo>
                  <a:lnTo>
                    <a:pt x="186" y="312"/>
                  </a:lnTo>
                  <a:lnTo>
                    <a:pt x="188" y="312"/>
                  </a:lnTo>
                  <a:lnTo>
                    <a:pt x="192" y="312"/>
                  </a:lnTo>
                  <a:lnTo>
                    <a:pt x="196" y="312"/>
                  </a:lnTo>
                  <a:lnTo>
                    <a:pt x="196" y="312"/>
                  </a:lnTo>
                  <a:lnTo>
                    <a:pt x="198" y="312"/>
                  </a:lnTo>
                  <a:lnTo>
                    <a:pt x="200" y="312"/>
                  </a:lnTo>
                  <a:lnTo>
                    <a:pt x="200" y="312"/>
                  </a:lnTo>
                  <a:lnTo>
                    <a:pt x="202" y="312"/>
                  </a:lnTo>
                  <a:lnTo>
                    <a:pt x="202" y="312"/>
                  </a:lnTo>
                  <a:lnTo>
                    <a:pt x="204" y="310"/>
                  </a:lnTo>
                  <a:lnTo>
                    <a:pt x="204" y="308"/>
                  </a:lnTo>
                  <a:lnTo>
                    <a:pt x="206" y="306"/>
                  </a:lnTo>
                  <a:lnTo>
                    <a:pt x="208" y="304"/>
                  </a:lnTo>
                  <a:lnTo>
                    <a:pt x="210" y="302"/>
                  </a:lnTo>
                  <a:lnTo>
                    <a:pt x="210" y="300"/>
                  </a:lnTo>
                  <a:lnTo>
                    <a:pt x="212" y="300"/>
                  </a:lnTo>
                  <a:lnTo>
                    <a:pt x="212" y="300"/>
                  </a:lnTo>
                  <a:lnTo>
                    <a:pt x="216" y="298"/>
                  </a:lnTo>
                  <a:lnTo>
                    <a:pt x="218" y="296"/>
                  </a:lnTo>
                  <a:lnTo>
                    <a:pt x="218" y="296"/>
                  </a:lnTo>
                  <a:lnTo>
                    <a:pt x="220" y="296"/>
                  </a:lnTo>
                  <a:lnTo>
                    <a:pt x="220" y="294"/>
                  </a:lnTo>
                  <a:lnTo>
                    <a:pt x="220" y="294"/>
                  </a:lnTo>
                  <a:lnTo>
                    <a:pt x="220" y="290"/>
                  </a:lnTo>
                  <a:lnTo>
                    <a:pt x="220" y="290"/>
                  </a:lnTo>
                  <a:lnTo>
                    <a:pt x="222" y="288"/>
                  </a:lnTo>
                  <a:lnTo>
                    <a:pt x="222" y="286"/>
                  </a:lnTo>
                  <a:lnTo>
                    <a:pt x="222" y="286"/>
                  </a:lnTo>
                  <a:lnTo>
                    <a:pt x="222" y="286"/>
                  </a:lnTo>
                  <a:lnTo>
                    <a:pt x="224" y="284"/>
                  </a:lnTo>
                  <a:lnTo>
                    <a:pt x="224" y="284"/>
                  </a:lnTo>
                  <a:lnTo>
                    <a:pt x="226" y="284"/>
                  </a:lnTo>
                  <a:lnTo>
                    <a:pt x="226" y="284"/>
                  </a:lnTo>
                  <a:lnTo>
                    <a:pt x="230" y="282"/>
                  </a:lnTo>
                  <a:lnTo>
                    <a:pt x="234" y="282"/>
                  </a:lnTo>
                  <a:lnTo>
                    <a:pt x="238" y="280"/>
                  </a:lnTo>
                  <a:lnTo>
                    <a:pt x="240" y="280"/>
                  </a:lnTo>
                  <a:lnTo>
                    <a:pt x="242" y="280"/>
                  </a:lnTo>
                  <a:lnTo>
                    <a:pt x="244" y="280"/>
                  </a:lnTo>
                  <a:lnTo>
                    <a:pt x="246" y="278"/>
                  </a:lnTo>
                  <a:lnTo>
                    <a:pt x="246" y="278"/>
                  </a:lnTo>
                  <a:lnTo>
                    <a:pt x="246" y="278"/>
                  </a:lnTo>
                  <a:lnTo>
                    <a:pt x="248" y="276"/>
                  </a:lnTo>
                  <a:lnTo>
                    <a:pt x="250" y="274"/>
                  </a:lnTo>
                  <a:lnTo>
                    <a:pt x="250" y="270"/>
                  </a:lnTo>
                  <a:lnTo>
                    <a:pt x="252" y="268"/>
                  </a:lnTo>
                  <a:lnTo>
                    <a:pt x="252" y="268"/>
                  </a:lnTo>
                  <a:lnTo>
                    <a:pt x="254" y="266"/>
                  </a:lnTo>
                  <a:lnTo>
                    <a:pt x="254" y="266"/>
                  </a:lnTo>
                  <a:lnTo>
                    <a:pt x="258" y="262"/>
                  </a:lnTo>
                  <a:lnTo>
                    <a:pt x="262" y="260"/>
                  </a:lnTo>
                  <a:lnTo>
                    <a:pt x="264" y="258"/>
                  </a:lnTo>
                  <a:lnTo>
                    <a:pt x="266" y="258"/>
                  </a:lnTo>
                  <a:lnTo>
                    <a:pt x="268" y="256"/>
                  </a:lnTo>
                  <a:lnTo>
                    <a:pt x="272" y="254"/>
                  </a:lnTo>
                  <a:lnTo>
                    <a:pt x="276" y="254"/>
                  </a:lnTo>
                  <a:lnTo>
                    <a:pt x="278" y="252"/>
                  </a:lnTo>
                  <a:lnTo>
                    <a:pt x="280" y="252"/>
                  </a:lnTo>
                  <a:lnTo>
                    <a:pt x="280" y="250"/>
                  </a:lnTo>
                  <a:lnTo>
                    <a:pt x="282" y="250"/>
                  </a:lnTo>
                  <a:lnTo>
                    <a:pt x="282" y="248"/>
                  </a:lnTo>
                  <a:lnTo>
                    <a:pt x="284" y="246"/>
                  </a:lnTo>
                  <a:lnTo>
                    <a:pt x="284" y="244"/>
                  </a:lnTo>
                  <a:lnTo>
                    <a:pt x="284" y="238"/>
                  </a:lnTo>
                  <a:lnTo>
                    <a:pt x="284" y="236"/>
                  </a:lnTo>
                  <a:lnTo>
                    <a:pt x="284" y="234"/>
                  </a:lnTo>
                  <a:lnTo>
                    <a:pt x="282" y="232"/>
                  </a:lnTo>
                  <a:lnTo>
                    <a:pt x="282" y="232"/>
                  </a:lnTo>
                  <a:lnTo>
                    <a:pt x="282" y="230"/>
                  </a:lnTo>
                  <a:lnTo>
                    <a:pt x="282" y="230"/>
                  </a:lnTo>
                  <a:lnTo>
                    <a:pt x="280" y="230"/>
                  </a:lnTo>
                  <a:lnTo>
                    <a:pt x="278" y="228"/>
                  </a:lnTo>
                  <a:lnTo>
                    <a:pt x="278" y="228"/>
                  </a:lnTo>
                  <a:lnTo>
                    <a:pt x="274" y="228"/>
                  </a:lnTo>
                  <a:lnTo>
                    <a:pt x="272" y="228"/>
                  </a:lnTo>
                  <a:lnTo>
                    <a:pt x="268" y="228"/>
                  </a:lnTo>
                  <a:lnTo>
                    <a:pt x="264" y="228"/>
                  </a:lnTo>
                  <a:lnTo>
                    <a:pt x="264" y="228"/>
                  </a:lnTo>
                  <a:lnTo>
                    <a:pt x="262" y="228"/>
                  </a:lnTo>
                  <a:lnTo>
                    <a:pt x="260" y="228"/>
                  </a:lnTo>
                  <a:lnTo>
                    <a:pt x="260" y="226"/>
                  </a:lnTo>
                  <a:lnTo>
                    <a:pt x="258" y="226"/>
                  </a:lnTo>
                  <a:lnTo>
                    <a:pt x="258" y="226"/>
                  </a:lnTo>
                  <a:lnTo>
                    <a:pt x="256" y="224"/>
                  </a:lnTo>
                  <a:lnTo>
                    <a:pt x="254" y="222"/>
                  </a:lnTo>
                  <a:lnTo>
                    <a:pt x="252" y="220"/>
                  </a:lnTo>
                  <a:lnTo>
                    <a:pt x="252" y="220"/>
                  </a:lnTo>
                  <a:lnTo>
                    <a:pt x="252" y="218"/>
                  </a:lnTo>
                  <a:lnTo>
                    <a:pt x="252" y="216"/>
                  </a:lnTo>
                  <a:lnTo>
                    <a:pt x="250" y="214"/>
                  </a:lnTo>
                  <a:lnTo>
                    <a:pt x="250" y="210"/>
                  </a:lnTo>
                  <a:lnTo>
                    <a:pt x="250" y="206"/>
                  </a:lnTo>
                  <a:lnTo>
                    <a:pt x="250" y="202"/>
                  </a:lnTo>
                  <a:lnTo>
                    <a:pt x="250" y="190"/>
                  </a:lnTo>
                  <a:lnTo>
                    <a:pt x="252" y="176"/>
                  </a:lnTo>
                  <a:lnTo>
                    <a:pt x="252" y="160"/>
                  </a:lnTo>
                  <a:lnTo>
                    <a:pt x="252" y="144"/>
                  </a:lnTo>
                  <a:lnTo>
                    <a:pt x="254" y="116"/>
                  </a:lnTo>
                  <a:lnTo>
                    <a:pt x="254" y="104"/>
                  </a:lnTo>
                  <a:lnTo>
                    <a:pt x="254" y="104"/>
                  </a:lnTo>
                  <a:lnTo>
                    <a:pt x="250" y="104"/>
                  </a:lnTo>
                  <a:lnTo>
                    <a:pt x="250" y="104"/>
                  </a:lnTo>
                  <a:lnTo>
                    <a:pt x="248" y="104"/>
                  </a:lnTo>
                  <a:lnTo>
                    <a:pt x="246" y="104"/>
                  </a:lnTo>
                  <a:lnTo>
                    <a:pt x="246" y="104"/>
                  </a:lnTo>
                  <a:lnTo>
                    <a:pt x="246" y="104"/>
                  </a:lnTo>
                  <a:lnTo>
                    <a:pt x="246" y="102"/>
                  </a:lnTo>
                  <a:lnTo>
                    <a:pt x="244" y="102"/>
                  </a:lnTo>
                  <a:lnTo>
                    <a:pt x="244" y="102"/>
                  </a:lnTo>
                  <a:lnTo>
                    <a:pt x="244" y="100"/>
                  </a:lnTo>
                  <a:lnTo>
                    <a:pt x="244" y="98"/>
                  </a:lnTo>
                  <a:lnTo>
                    <a:pt x="244" y="96"/>
                  </a:lnTo>
                  <a:lnTo>
                    <a:pt x="244" y="92"/>
                  </a:lnTo>
                  <a:lnTo>
                    <a:pt x="244" y="90"/>
                  </a:lnTo>
                  <a:lnTo>
                    <a:pt x="242" y="90"/>
                  </a:lnTo>
                  <a:lnTo>
                    <a:pt x="242" y="88"/>
                  </a:lnTo>
                  <a:lnTo>
                    <a:pt x="242" y="88"/>
                  </a:lnTo>
                  <a:lnTo>
                    <a:pt x="242" y="86"/>
                  </a:lnTo>
                  <a:lnTo>
                    <a:pt x="242" y="86"/>
                  </a:lnTo>
                  <a:lnTo>
                    <a:pt x="240" y="86"/>
                  </a:lnTo>
                  <a:lnTo>
                    <a:pt x="240" y="86"/>
                  </a:lnTo>
                  <a:lnTo>
                    <a:pt x="238" y="84"/>
                  </a:lnTo>
                  <a:lnTo>
                    <a:pt x="236" y="84"/>
                  </a:lnTo>
                  <a:lnTo>
                    <a:pt x="234" y="84"/>
                  </a:lnTo>
                  <a:lnTo>
                    <a:pt x="232" y="84"/>
                  </a:lnTo>
                  <a:lnTo>
                    <a:pt x="230" y="82"/>
                  </a:lnTo>
                  <a:lnTo>
                    <a:pt x="230" y="82"/>
                  </a:lnTo>
                  <a:lnTo>
                    <a:pt x="230" y="82"/>
                  </a:lnTo>
                  <a:lnTo>
                    <a:pt x="228" y="80"/>
                  </a:lnTo>
                  <a:lnTo>
                    <a:pt x="226" y="78"/>
                  </a:lnTo>
                  <a:lnTo>
                    <a:pt x="226" y="76"/>
                  </a:lnTo>
                  <a:lnTo>
                    <a:pt x="226" y="74"/>
                  </a:lnTo>
                  <a:lnTo>
                    <a:pt x="224" y="72"/>
                  </a:lnTo>
                  <a:lnTo>
                    <a:pt x="224" y="70"/>
                  </a:lnTo>
                  <a:lnTo>
                    <a:pt x="224" y="68"/>
                  </a:lnTo>
                  <a:lnTo>
                    <a:pt x="224" y="66"/>
                  </a:lnTo>
                  <a:lnTo>
                    <a:pt x="224" y="64"/>
                  </a:lnTo>
                  <a:lnTo>
                    <a:pt x="224" y="62"/>
                  </a:lnTo>
                  <a:lnTo>
                    <a:pt x="224" y="60"/>
                  </a:lnTo>
                  <a:lnTo>
                    <a:pt x="224" y="58"/>
                  </a:lnTo>
                  <a:lnTo>
                    <a:pt x="224" y="56"/>
                  </a:lnTo>
                  <a:lnTo>
                    <a:pt x="226" y="54"/>
                  </a:lnTo>
                  <a:lnTo>
                    <a:pt x="226" y="52"/>
                  </a:lnTo>
                  <a:lnTo>
                    <a:pt x="226" y="50"/>
                  </a:lnTo>
                  <a:lnTo>
                    <a:pt x="228" y="50"/>
                  </a:lnTo>
                  <a:lnTo>
                    <a:pt x="228" y="50"/>
                  </a:lnTo>
                  <a:lnTo>
                    <a:pt x="230" y="48"/>
                  </a:lnTo>
                  <a:lnTo>
                    <a:pt x="232" y="48"/>
                  </a:lnTo>
                  <a:lnTo>
                    <a:pt x="234" y="48"/>
                  </a:lnTo>
                  <a:lnTo>
                    <a:pt x="236" y="48"/>
                  </a:lnTo>
                  <a:lnTo>
                    <a:pt x="238" y="48"/>
                  </a:lnTo>
                  <a:lnTo>
                    <a:pt x="240" y="46"/>
                  </a:lnTo>
                  <a:lnTo>
                    <a:pt x="240" y="46"/>
                  </a:lnTo>
                  <a:lnTo>
                    <a:pt x="240" y="46"/>
                  </a:lnTo>
                  <a:lnTo>
                    <a:pt x="240" y="46"/>
                  </a:lnTo>
                  <a:lnTo>
                    <a:pt x="240" y="44"/>
                  </a:lnTo>
                  <a:lnTo>
                    <a:pt x="240" y="44"/>
                  </a:lnTo>
                  <a:lnTo>
                    <a:pt x="240" y="44"/>
                  </a:lnTo>
                  <a:lnTo>
                    <a:pt x="240" y="42"/>
                  </a:lnTo>
                  <a:lnTo>
                    <a:pt x="238" y="42"/>
                  </a:lnTo>
                  <a:lnTo>
                    <a:pt x="238" y="40"/>
                  </a:lnTo>
                  <a:lnTo>
                    <a:pt x="236" y="38"/>
                  </a:lnTo>
                  <a:lnTo>
                    <a:pt x="234" y="36"/>
                  </a:lnTo>
                  <a:lnTo>
                    <a:pt x="234" y="36"/>
                  </a:lnTo>
                  <a:lnTo>
                    <a:pt x="234" y="34"/>
                  </a:lnTo>
                  <a:lnTo>
                    <a:pt x="234" y="34"/>
                  </a:lnTo>
                  <a:lnTo>
                    <a:pt x="232" y="32"/>
                  </a:lnTo>
                  <a:lnTo>
                    <a:pt x="232" y="32"/>
                  </a:lnTo>
                  <a:lnTo>
                    <a:pt x="234" y="30"/>
                  </a:lnTo>
                  <a:lnTo>
                    <a:pt x="234" y="28"/>
                  </a:lnTo>
                  <a:lnTo>
                    <a:pt x="234" y="26"/>
                  </a:lnTo>
                  <a:lnTo>
                    <a:pt x="234" y="24"/>
                  </a:lnTo>
                  <a:lnTo>
                    <a:pt x="234" y="24"/>
                  </a:lnTo>
                  <a:lnTo>
                    <a:pt x="236" y="22"/>
                  </a:lnTo>
                  <a:lnTo>
                    <a:pt x="236" y="22"/>
                  </a:lnTo>
                  <a:lnTo>
                    <a:pt x="236" y="22"/>
                  </a:lnTo>
                  <a:lnTo>
                    <a:pt x="236" y="22"/>
                  </a:lnTo>
                  <a:lnTo>
                    <a:pt x="238" y="22"/>
                  </a:lnTo>
                  <a:lnTo>
                    <a:pt x="240" y="22"/>
                  </a:lnTo>
                  <a:lnTo>
                    <a:pt x="242" y="22"/>
                  </a:lnTo>
                  <a:lnTo>
                    <a:pt x="242" y="22"/>
                  </a:lnTo>
                  <a:lnTo>
                    <a:pt x="242" y="22"/>
                  </a:lnTo>
                  <a:lnTo>
                    <a:pt x="242" y="22"/>
                  </a:lnTo>
                  <a:lnTo>
                    <a:pt x="242" y="20"/>
                  </a:lnTo>
                  <a:lnTo>
                    <a:pt x="242" y="20"/>
                  </a:lnTo>
                  <a:lnTo>
                    <a:pt x="242" y="18"/>
                  </a:lnTo>
                  <a:lnTo>
                    <a:pt x="242" y="16"/>
                  </a:lnTo>
                  <a:lnTo>
                    <a:pt x="242" y="16"/>
                  </a:lnTo>
                  <a:lnTo>
                    <a:pt x="242" y="12"/>
                  </a:lnTo>
                  <a:lnTo>
                    <a:pt x="242" y="8"/>
                  </a:lnTo>
                  <a:lnTo>
                    <a:pt x="240" y="6"/>
                  </a:lnTo>
                  <a:lnTo>
                    <a:pt x="240" y="4"/>
                  </a:lnTo>
                  <a:lnTo>
                    <a:pt x="234" y="4"/>
                  </a:lnTo>
                  <a:lnTo>
                    <a:pt x="222" y="2"/>
                  </a:lnTo>
                  <a:lnTo>
                    <a:pt x="214" y="2"/>
                  </a:lnTo>
                  <a:lnTo>
                    <a:pt x="208" y="2"/>
                  </a:lnTo>
                  <a:lnTo>
                    <a:pt x="200" y="0"/>
                  </a:lnTo>
                  <a:lnTo>
                    <a:pt x="196" y="0"/>
                  </a:lnTo>
                  <a:lnTo>
                    <a:pt x="192" y="2"/>
                  </a:lnTo>
                  <a:lnTo>
                    <a:pt x="186" y="2"/>
                  </a:lnTo>
                  <a:lnTo>
                    <a:pt x="180" y="2"/>
                  </a:lnTo>
                  <a:lnTo>
                    <a:pt x="178" y="2"/>
                  </a:lnTo>
                  <a:lnTo>
                    <a:pt x="176" y="4"/>
                  </a:lnTo>
                  <a:lnTo>
                    <a:pt x="174" y="4"/>
                  </a:lnTo>
                  <a:lnTo>
                    <a:pt x="172" y="4"/>
                  </a:lnTo>
                  <a:lnTo>
                    <a:pt x="168" y="6"/>
                  </a:lnTo>
                  <a:lnTo>
                    <a:pt x="164" y="8"/>
                  </a:lnTo>
                  <a:lnTo>
                    <a:pt x="162" y="10"/>
                  </a:lnTo>
                  <a:lnTo>
                    <a:pt x="160" y="10"/>
                  </a:lnTo>
                  <a:lnTo>
                    <a:pt x="158" y="10"/>
                  </a:lnTo>
                  <a:lnTo>
                    <a:pt x="156" y="10"/>
                  </a:lnTo>
                  <a:lnTo>
                    <a:pt x="152" y="10"/>
                  </a:lnTo>
                  <a:lnTo>
                    <a:pt x="144" y="10"/>
                  </a:lnTo>
                  <a:lnTo>
                    <a:pt x="138" y="10"/>
                  </a:lnTo>
                  <a:lnTo>
                    <a:pt x="134" y="10"/>
                  </a:lnTo>
                  <a:lnTo>
                    <a:pt x="132" y="10"/>
                  </a:lnTo>
                  <a:lnTo>
                    <a:pt x="130" y="12"/>
                  </a:lnTo>
                  <a:lnTo>
                    <a:pt x="130" y="12"/>
                  </a:lnTo>
                  <a:lnTo>
                    <a:pt x="128" y="12"/>
                  </a:lnTo>
                  <a:lnTo>
                    <a:pt x="126" y="12"/>
                  </a:lnTo>
                  <a:lnTo>
                    <a:pt x="126" y="14"/>
                  </a:lnTo>
                  <a:lnTo>
                    <a:pt x="124" y="16"/>
                  </a:lnTo>
                  <a:lnTo>
                    <a:pt x="122" y="18"/>
                  </a:lnTo>
                  <a:lnTo>
                    <a:pt x="120" y="20"/>
                  </a:lnTo>
                  <a:lnTo>
                    <a:pt x="118" y="22"/>
                  </a:lnTo>
                  <a:lnTo>
                    <a:pt x="116" y="22"/>
                  </a:lnTo>
                  <a:lnTo>
                    <a:pt x="116" y="22"/>
                  </a:lnTo>
                  <a:lnTo>
                    <a:pt x="114" y="22"/>
                  </a:lnTo>
                  <a:lnTo>
                    <a:pt x="112" y="24"/>
                  </a:lnTo>
                  <a:lnTo>
                    <a:pt x="108" y="24"/>
                  </a:lnTo>
                  <a:lnTo>
                    <a:pt x="106" y="24"/>
                  </a:lnTo>
                  <a:lnTo>
                    <a:pt x="102" y="24"/>
                  </a:lnTo>
                  <a:lnTo>
                    <a:pt x="100" y="24"/>
                  </a:lnTo>
                  <a:lnTo>
                    <a:pt x="98" y="24"/>
                  </a:lnTo>
                  <a:lnTo>
                    <a:pt x="98" y="26"/>
                  </a:lnTo>
                  <a:lnTo>
                    <a:pt x="96" y="26"/>
                  </a:lnTo>
                  <a:lnTo>
                    <a:pt x="96" y="26"/>
                  </a:lnTo>
                  <a:lnTo>
                    <a:pt x="94" y="26"/>
                  </a:lnTo>
                  <a:lnTo>
                    <a:pt x="94" y="28"/>
                  </a:lnTo>
                  <a:lnTo>
                    <a:pt x="92" y="30"/>
                  </a:lnTo>
                  <a:lnTo>
                    <a:pt x="92" y="32"/>
                  </a:lnTo>
                  <a:lnTo>
                    <a:pt x="90" y="34"/>
                  </a:lnTo>
                  <a:lnTo>
                    <a:pt x="90" y="40"/>
                  </a:lnTo>
                  <a:lnTo>
                    <a:pt x="88" y="4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3" name="Freeform 381">
              <a:extLst>
                <a:ext uri="{FF2B5EF4-FFF2-40B4-BE49-F238E27FC236}">
                  <a16:creationId xmlns:a16="http://schemas.microsoft.com/office/drawing/2014/main" id="{49637149-62BD-48AA-8764-AD78F8A0F243}"/>
                </a:ext>
              </a:extLst>
            </p:cNvPr>
            <p:cNvSpPr>
              <a:spLocks/>
            </p:cNvSpPr>
            <p:nvPr/>
          </p:nvSpPr>
          <p:spPr bwMode="auto">
            <a:xfrm>
              <a:off x="4064827" y="3544611"/>
              <a:ext cx="491909" cy="561192"/>
            </a:xfrm>
            <a:custGeom>
              <a:avLst/>
              <a:gdLst>
                <a:gd name="T0" fmla="*/ 98 w 284"/>
                <a:gd name="T1" fmla="*/ 50 h 324"/>
                <a:gd name="T2" fmla="*/ 98 w 284"/>
                <a:gd name="T3" fmla="*/ 56 h 324"/>
                <a:gd name="T4" fmla="*/ 92 w 284"/>
                <a:gd name="T5" fmla="*/ 66 h 324"/>
                <a:gd name="T6" fmla="*/ 98 w 284"/>
                <a:gd name="T7" fmla="*/ 70 h 324"/>
                <a:gd name="T8" fmla="*/ 102 w 284"/>
                <a:gd name="T9" fmla="*/ 76 h 324"/>
                <a:gd name="T10" fmla="*/ 98 w 284"/>
                <a:gd name="T11" fmla="*/ 92 h 324"/>
                <a:gd name="T12" fmla="*/ 92 w 284"/>
                <a:gd name="T13" fmla="*/ 98 h 324"/>
                <a:gd name="T14" fmla="*/ 80 w 284"/>
                <a:gd name="T15" fmla="*/ 98 h 324"/>
                <a:gd name="T16" fmla="*/ 76 w 284"/>
                <a:gd name="T17" fmla="*/ 104 h 324"/>
                <a:gd name="T18" fmla="*/ 78 w 284"/>
                <a:gd name="T19" fmla="*/ 112 h 324"/>
                <a:gd name="T20" fmla="*/ 84 w 284"/>
                <a:gd name="T21" fmla="*/ 118 h 324"/>
                <a:gd name="T22" fmla="*/ 72 w 284"/>
                <a:gd name="T23" fmla="*/ 126 h 324"/>
                <a:gd name="T24" fmla="*/ 56 w 284"/>
                <a:gd name="T25" fmla="*/ 142 h 324"/>
                <a:gd name="T26" fmla="*/ 40 w 284"/>
                <a:gd name="T27" fmla="*/ 152 h 324"/>
                <a:gd name="T28" fmla="*/ 30 w 284"/>
                <a:gd name="T29" fmla="*/ 152 h 324"/>
                <a:gd name="T30" fmla="*/ 28 w 284"/>
                <a:gd name="T31" fmla="*/ 158 h 324"/>
                <a:gd name="T32" fmla="*/ 20 w 284"/>
                <a:gd name="T33" fmla="*/ 158 h 324"/>
                <a:gd name="T34" fmla="*/ 16 w 284"/>
                <a:gd name="T35" fmla="*/ 158 h 324"/>
                <a:gd name="T36" fmla="*/ 14 w 284"/>
                <a:gd name="T37" fmla="*/ 166 h 324"/>
                <a:gd name="T38" fmla="*/ 6 w 284"/>
                <a:gd name="T39" fmla="*/ 168 h 324"/>
                <a:gd name="T40" fmla="*/ 44 w 284"/>
                <a:gd name="T41" fmla="*/ 212 h 324"/>
                <a:gd name="T42" fmla="*/ 108 w 284"/>
                <a:gd name="T43" fmla="*/ 266 h 324"/>
                <a:gd name="T44" fmla="*/ 146 w 284"/>
                <a:gd name="T45" fmla="*/ 294 h 324"/>
                <a:gd name="T46" fmla="*/ 158 w 284"/>
                <a:gd name="T47" fmla="*/ 300 h 324"/>
                <a:gd name="T48" fmla="*/ 160 w 284"/>
                <a:gd name="T49" fmla="*/ 316 h 324"/>
                <a:gd name="T50" fmla="*/ 164 w 284"/>
                <a:gd name="T51" fmla="*/ 324 h 324"/>
                <a:gd name="T52" fmla="*/ 176 w 284"/>
                <a:gd name="T53" fmla="*/ 322 h 324"/>
                <a:gd name="T54" fmla="*/ 178 w 284"/>
                <a:gd name="T55" fmla="*/ 312 h 324"/>
                <a:gd name="T56" fmla="*/ 192 w 284"/>
                <a:gd name="T57" fmla="*/ 312 h 324"/>
                <a:gd name="T58" fmla="*/ 202 w 284"/>
                <a:gd name="T59" fmla="*/ 312 h 324"/>
                <a:gd name="T60" fmla="*/ 212 w 284"/>
                <a:gd name="T61" fmla="*/ 300 h 324"/>
                <a:gd name="T62" fmla="*/ 220 w 284"/>
                <a:gd name="T63" fmla="*/ 294 h 324"/>
                <a:gd name="T64" fmla="*/ 224 w 284"/>
                <a:gd name="T65" fmla="*/ 284 h 324"/>
                <a:gd name="T66" fmla="*/ 240 w 284"/>
                <a:gd name="T67" fmla="*/ 280 h 324"/>
                <a:gd name="T68" fmla="*/ 250 w 284"/>
                <a:gd name="T69" fmla="*/ 274 h 324"/>
                <a:gd name="T70" fmla="*/ 262 w 284"/>
                <a:gd name="T71" fmla="*/ 260 h 324"/>
                <a:gd name="T72" fmla="*/ 280 w 284"/>
                <a:gd name="T73" fmla="*/ 252 h 324"/>
                <a:gd name="T74" fmla="*/ 284 w 284"/>
                <a:gd name="T75" fmla="*/ 236 h 324"/>
                <a:gd name="T76" fmla="*/ 278 w 284"/>
                <a:gd name="T77" fmla="*/ 228 h 324"/>
                <a:gd name="T78" fmla="*/ 262 w 284"/>
                <a:gd name="T79" fmla="*/ 228 h 324"/>
                <a:gd name="T80" fmla="*/ 252 w 284"/>
                <a:gd name="T81" fmla="*/ 220 h 324"/>
                <a:gd name="T82" fmla="*/ 250 w 284"/>
                <a:gd name="T83" fmla="*/ 202 h 324"/>
                <a:gd name="T84" fmla="*/ 254 w 284"/>
                <a:gd name="T85" fmla="*/ 104 h 324"/>
                <a:gd name="T86" fmla="*/ 246 w 284"/>
                <a:gd name="T87" fmla="*/ 102 h 324"/>
                <a:gd name="T88" fmla="*/ 244 w 284"/>
                <a:gd name="T89" fmla="*/ 90 h 324"/>
                <a:gd name="T90" fmla="*/ 240 w 284"/>
                <a:gd name="T91" fmla="*/ 86 h 324"/>
                <a:gd name="T92" fmla="*/ 230 w 284"/>
                <a:gd name="T93" fmla="*/ 82 h 324"/>
                <a:gd name="T94" fmla="*/ 224 w 284"/>
                <a:gd name="T95" fmla="*/ 68 h 324"/>
                <a:gd name="T96" fmla="*/ 226 w 284"/>
                <a:gd name="T97" fmla="*/ 54 h 324"/>
                <a:gd name="T98" fmla="*/ 234 w 284"/>
                <a:gd name="T99" fmla="*/ 48 h 324"/>
                <a:gd name="T100" fmla="*/ 240 w 284"/>
                <a:gd name="T101" fmla="*/ 44 h 324"/>
                <a:gd name="T102" fmla="*/ 234 w 284"/>
                <a:gd name="T103" fmla="*/ 36 h 324"/>
                <a:gd name="T104" fmla="*/ 234 w 284"/>
                <a:gd name="T105" fmla="*/ 28 h 324"/>
                <a:gd name="T106" fmla="*/ 236 w 284"/>
                <a:gd name="T107" fmla="*/ 22 h 324"/>
                <a:gd name="T108" fmla="*/ 242 w 284"/>
                <a:gd name="T109" fmla="*/ 20 h 324"/>
                <a:gd name="T110" fmla="*/ 240 w 284"/>
                <a:gd name="T111" fmla="*/ 6 h 324"/>
                <a:gd name="T112" fmla="*/ 196 w 284"/>
                <a:gd name="T113" fmla="*/ 0 h 324"/>
                <a:gd name="T114" fmla="*/ 172 w 284"/>
                <a:gd name="T115" fmla="*/ 4 h 324"/>
                <a:gd name="T116" fmla="*/ 152 w 284"/>
                <a:gd name="T117" fmla="*/ 10 h 324"/>
                <a:gd name="T118" fmla="*/ 128 w 284"/>
                <a:gd name="T119" fmla="*/ 12 h 324"/>
                <a:gd name="T120" fmla="*/ 116 w 284"/>
                <a:gd name="T121" fmla="*/ 22 h 324"/>
                <a:gd name="T122" fmla="*/ 100 w 284"/>
                <a:gd name="T123" fmla="*/ 24 h 324"/>
                <a:gd name="T124" fmla="*/ 92 w 284"/>
                <a:gd name="T125" fmla="*/ 3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 h="324">
                  <a:moveTo>
                    <a:pt x="88" y="42"/>
                  </a:moveTo>
                  <a:lnTo>
                    <a:pt x="88" y="42"/>
                  </a:lnTo>
                  <a:lnTo>
                    <a:pt x="90" y="42"/>
                  </a:lnTo>
                  <a:lnTo>
                    <a:pt x="94" y="46"/>
                  </a:lnTo>
                  <a:lnTo>
                    <a:pt x="96" y="48"/>
                  </a:lnTo>
                  <a:lnTo>
                    <a:pt x="98" y="50"/>
                  </a:lnTo>
                  <a:lnTo>
                    <a:pt x="98" y="50"/>
                  </a:lnTo>
                  <a:lnTo>
                    <a:pt x="100" y="52"/>
                  </a:lnTo>
                  <a:lnTo>
                    <a:pt x="100" y="52"/>
                  </a:lnTo>
                  <a:lnTo>
                    <a:pt x="100" y="52"/>
                  </a:lnTo>
                  <a:lnTo>
                    <a:pt x="100" y="54"/>
                  </a:lnTo>
                  <a:lnTo>
                    <a:pt x="100" y="54"/>
                  </a:lnTo>
                  <a:lnTo>
                    <a:pt x="100" y="56"/>
                  </a:lnTo>
                  <a:lnTo>
                    <a:pt x="98" y="56"/>
                  </a:lnTo>
                  <a:lnTo>
                    <a:pt x="98" y="58"/>
                  </a:lnTo>
                  <a:lnTo>
                    <a:pt x="96" y="60"/>
                  </a:lnTo>
                  <a:lnTo>
                    <a:pt x="94" y="62"/>
                  </a:lnTo>
                  <a:lnTo>
                    <a:pt x="94" y="64"/>
                  </a:lnTo>
                  <a:lnTo>
                    <a:pt x="92" y="64"/>
                  </a:lnTo>
                  <a:lnTo>
                    <a:pt x="92" y="66"/>
                  </a:lnTo>
                  <a:lnTo>
                    <a:pt x="92" y="66"/>
                  </a:lnTo>
                  <a:lnTo>
                    <a:pt x="92" y="66"/>
                  </a:lnTo>
                  <a:lnTo>
                    <a:pt x="92" y="68"/>
                  </a:lnTo>
                  <a:lnTo>
                    <a:pt x="92" y="68"/>
                  </a:lnTo>
                  <a:lnTo>
                    <a:pt x="94" y="68"/>
                  </a:lnTo>
                  <a:lnTo>
                    <a:pt x="96" y="68"/>
                  </a:lnTo>
                  <a:lnTo>
                    <a:pt x="96" y="70"/>
                  </a:lnTo>
                  <a:lnTo>
                    <a:pt x="98" y="70"/>
                  </a:lnTo>
                  <a:lnTo>
                    <a:pt x="100" y="70"/>
                  </a:lnTo>
                  <a:lnTo>
                    <a:pt x="100" y="70"/>
                  </a:lnTo>
                  <a:lnTo>
                    <a:pt x="100" y="72"/>
                  </a:lnTo>
                  <a:lnTo>
                    <a:pt x="102" y="72"/>
                  </a:lnTo>
                  <a:lnTo>
                    <a:pt x="102" y="74"/>
                  </a:lnTo>
                  <a:lnTo>
                    <a:pt x="102" y="74"/>
                  </a:lnTo>
                  <a:lnTo>
                    <a:pt x="102" y="76"/>
                  </a:lnTo>
                  <a:lnTo>
                    <a:pt x="102" y="78"/>
                  </a:lnTo>
                  <a:lnTo>
                    <a:pt x="102" y="80"/>
                  </a:lnTo>
                  <a:lnTo>
                    <a:pt x="102" y="82"/>
                  </a:lnTo>
                  <a:lnTo>
                    <a:pt x="100" y="86"/>
                  </a:lnTo>
                  <a:lnTo>
                    <a:pt x="100" y="88"/>
                  </a:lnTo>
                  <a:lnTo>
                    <a:pt x="98" y="90"/>
                  </a:lnTo>
                  <a:lnTo>
                    <a:pt x="98" y="92"/>
                  </a:lnTo>
                  <a:lnTo>
                    <a:pt x="98" y="94"/>
                  </a:lnTo>
                  <a:lnTo>
                    <a:pt x="96" y="94"/>
                  </a:lnTo>
                  <a:lnTo>
                    <a:pt x="96" y="96"/>
                  </a:lnTo>
                  <a:lnTo>
                    <a:pt x="94" y="96"/>
                  </a:lnTo>
                  <a:lnTo>
                    <a:pt x="94" y="98"/>
                  </a:lnTo>
                  <a:lnTo>
                    <a:pt x="94" y="98"/>
                  </a:lnTo>
                  <a:lnTo>
                    <a:pt x="92" y="98"/>
                  </a:lnTo>
                  <a:lnTo>
                    <a:pt x="92" y="98"/>
                  </a:lnTo>
                  <a:lnTo>
                    <a:pt x="90" y="98"/>
                  </a:lnTo>
                  <a:lnTo>
                    <a:pt x="86" y="98"/>
                  </a:lnTo>
                  <a:lnTo>
                    <a:pt x="84" y="98"/>
                  </a:lnTo>
                  <a:lnTo>
                    <a:pt x="82" y="98"/>
                  </a:lnTo>
                  <a:lnTo>
                    <a:pt x="80" y="98"/>
                  </a:lnTo>
                  <a:lnTo>
                    <a:pt x="80" y="98"/>
                  </a:lnTo>
                  <a:lnTo>
                    <a:pt x="80" y="98"/>
                  </a:lnTo>
                  <a:lnTo>
                    <a:pt x="78" y="98"/>
                  </a:lnTo>
                  <a:lnTo>
                    <a:pt x="78" y="100"/>
                  </a:lnTo>
                  <a:lnTo>
                    <a:pt x="78" y="100"/>
                  </a:lnTo>
                  <a:lnTo>
                    <a:pt x="76" y="102"/>
                  </a:lnTo>
                  <a:lnTo>
                    <a:pt x="76" y="102"/>
                  </a:lnTo>
                  <a:lnTo>
                    <a:pt x="76" y="104"/>
                  </a:lnTo>
                  <a:lnTo>
                    <a:pt x="76" y="106"/>
                  </a:lnTo>
                  <a:lnTo>
                    <a:pt x="76" y="108"/>
                  </a:lnTo>
                  <a:lnTo>
                    <a:pt x="76" y="108"/>
                  </a:lnTo>
                  <a:lnTo>
                    <a:pt x="76" y="108"/>
                  </a:lnTo>
                  <a:lnTo>
                    <a:pt x="76" y="110"/>
                  </a:lnTo>
                  <a:lnTo>
                    <a:pt x="78" y="110"/>
                  </a:lnTo>
                  <a:lnTo>
                    <a:pt x="78" y="112"/>
                  </a:lnTo>
                  <a:lnTo>
                    <a:pt x="80" y="112"/>
                  </a:lnTo>
                  <a:lnTo>
                    <a:pt x="82" y="114"/>
                  </a:lnTo>
                  <a:lnTo>
                    <a:pt x="82" y="114"/>
                  </a:lnTo>
                  <a:lnTo>
                    <a:pt x="84" y="114"/>
                  </a:lnTo>
                  <a:lnTo>
                    <a:pt x="84" y="116"/>
                  </a:lnTo>
                  <a:lnTo>
                    <a:pt x="84" y="116"/>
                  </a:lnTo>
                  <a:lnTo>
                    <a:pt x="84" y="118"/>
                  </a:lnTo>
                  <a:lnTo>
                    <a:pt x="82" y="118"/>
                  </a:lnTo>
                  <a:lnTo>
                    <a:pt x="82" y="120"/>
                  </a:lnTo>
                  <a:lnTo>
                    <a:pt x="82" y="120"/>
                  </a:lnTo>
                  <a:lnTo>
                    <a:pt x="80" y="122"/>
                  </a:lnTo>
                  <a:lnTo>
                    <a:pt x="78" y="122"/>
                  </a:lnTo>
                  <a:lnTo>
                    <a:pt x="76" y="124"/>
                  </a:lnTo>
                  <a:lnTo>
                    <a:pt x="72" y="126"/>
                  </a:lnTo>
                  <a:lnTo>
                    <a:pt x="70" y="128"/>
                  </a:lnTo>
                  <a:lnTo>
                    <a:pt x="66" y="130"/>
                  </a:lnTo>
                  <a:lnTo>
                    <a:pt x="66" y="132"/>
                  </a:lnTo>
                  <a:lnTo>
                    <a:pt x="64" y="132"/>
                  </a:lnTo>
                  <a:lnTo>
                    <a:pt x="62" y="136"/>
                  </a:lnTo>
                  <a:lnTo>
                    <a:pt x="58" y="138"/>
                  </a:lnTo>
                  <a:lnTo>
                    <a:pt x="56" y="142"/>
                  </a:lnTo>
                  <a:lnTo>
                    <a:pt x="54" y="144"/>
                  </a:lnTo>
                  <a:lnTo>
                    <a:pt x="52" y="144"/>
                  </a:lnTo>
                  <a:lnTo>
                    <a:pt x="50" y="146"/>
                  </a:lnTo>
                  <a:lnTo>
                    <a:pt x="46" y="148"/>
                  </a:lnTo>
                  <a:lnTo>
                    <a:pt x="44" y="150"/>
                  </a:lnTo>
                  <a:lnTo>
                    <a:pt x="42" y="150"/>
                  </a:lnTo>
                  <a:lnTo>
                    <a:pt x="40" y="152"/>
                  </a:lnTo>
                  <a:lnTo>
                    <a:pt x="40" y="152"/>
                  </a:lnTo>
                  <a:lnTo>
                    <a:pt x="38" y="152"/>
                  </a:lnTo>
                  <a:lnTo>
                    <a:pt x="36" y="150"/>
                  </a:lnTo>
                  <a:lnTo>
                    <a:pt x="34" y="150"/>
                  </a:lnTo>
                  <a:lnTo>
                    <a:pt x="32" y="150"/>
                  </a:lnTo>
                  <a:lnTo>
                    <a:pt x="32" y="150"/>
                  </a:lnTo>
                  <a:lnTo>
                    <a:pt x="30" y="152"/>
                  </a:lnTo>
                  <a:lnTo>
                    <a:pt x="30" y="152"/>
                  </a:lnTo>
                  <a:lnTo>
                    <a:pt x="30" y="152"/>
                  </a:lnTo>
                  <a:lnTo>
                    <a:pt x="28" y="154"/>
                  </a:lnTo>
                  <a:lnTo>
                    <a:pt x="28" y="156"/>
                  </a:lnTo>
                  <a:lnTo>
                    <a:pt x="28" y="158"/>
                  </a:lnTo>
                  <a:lnTo>
                    <a:pt x="28" y="158"/>
                  </a:lnTo>
                  <a:lnTo>
                    <a:pt x="28" y="158"/>
                  </a:lnTo>
                  <a:lnTo>
                    <a:pt x="28" y="158"/>
                  </a:lnTo>
                  <a:lnTo>
                    <a:pt x="26" y="158"/>
                  </a:lnTo>
                  <a:lnTo>
                    <a:pt x="26" y="158"/>
                  </a:lnTo>
                  <a:lnTo>
                    <a:pt x="24" y="158"/>
                  </a:lnTo>
                  <a:lnTo>
                    <a:pt x="22" y="158"/>
                  </a:lnTo>
                  <a:lnTo>
                    <a:pt x="22" y="158"/>
                  </a:lnTo>
                  <a:lnTo>
                    <a:pt x="20" y="158"/>
                  </a:lnTo>
                  <a:lnTo>
                    <a:pt x="18" y="158"/>
                  </a:lnTo>
                  <a:lnTo>
                    <a:pt x="18" y="158"/>
                  </a:lnTo>
                  <a:lnTo>
                    <a:pt x="16" y="158"/>
                  </a:lnTo>
                  <a:lnTo>
                    <a:pt x="16" y="158"/>
                  </a:lnTo>
                  <a:lnTo>
                    <a:pt x="16" y="158"/>
                  </a:lnTo>
                  <a:lnTo>
                    <a:pt x="16" y="158"/>
                  </a:lnTo>
                  <a:lnTo>
                    <a:pt x="16" y="158"/>
                  </a:lnTo>
                  <a:lnTo>
                    <a:pt x="14" y="160"/>
                  </a:lnTo>
                  <a:lnTo>
                    <a:pt x="14" y="160"/>
                  </a:lnTo>
                  <a:lnTo>
                    <a:pt x="14" y="162"/>
                  </a:lnTo>
                  <a:lnTo>
                    <a:pt x="16" y="164"/>
                  </a:lnTo>
                  <a:lnTo>
                    <a:pt x="16" y="164"/>
                  </a:lnTo>
                  <a:lnTo>
                    <a:pt x="14" y="166"/>
                  </a:lnTo>
                  <a:lnTo>
                    <a:pt x="14" y="166"/>
                  </a:lnTo>
                  <a:lnTo>
                    <a:pt x="14" y="166"/>
                  </a:lnTo>
                  <a:lnTo>
                    <a:pt x="14" y="166"/>
                  </a:lnTo>
                  <a:lnTo>
                    <a:pt x="12" y="166"/>
                  </a:lnTo>
                  <a:lnTo>
                    <a:pt x="12" y="168"/>
                  </a:lnTo>
                  <a:lnTo>
                    <a:pt x="10" y="168"/>
                  </a:lnTo>
                  <a:lnTo>
                    <a:pt x="8" y="168"/>
                  </a:lnTo>
                  <a:lnTo>
                    <a:pt x="6" y="168"/>
                  </a:lnTo>
                  <a:lnTo>
                    <a:pt x="4" y="168"/>
                  </a:lnTo>
                  <a:lnTo>
                    <a:pt x="2" y="166"/>
                  </a:lnTo>
                  <a:lnTo>
                    <a:pt x="0" y="166"/>
                  </a:lnTo>
                  <a:lnTo>
                    <a:pt x="30" y="202"/>
                  </a:lnTo>
                  <a:lnTo>
                    <a:pt x="36" y="206"/>
                  </a:lnTo>
                  <a:lnTo>
                    <a:pt x="40" y="210"/>
                  </a:lnTo>
                  <a:lnTo>
                    <a:pt x="44" y="212"/>
                  </a:lnTo>
                  <a:lnTo>
                    <a:pt x="50" y="216"/>
                  </a:lnTo>
                  <a:lnTo>
                    <a:pt x="56" y="222"/>
                  </a:lnTo>
                  <a:lnTo>
                    <a:pt x="62" y="226"/>
                  </a:lnTo>
                  <a:lnTo>
                    <a:pt x="68" y="232"/>
                  </a:lnTo>
                  <a:lnTo>
                    <a:pt x="80" y="242"/>
                  </a:lnTo>
                  <a:lnTo>
                    <a:pt x="94" y="254"/>
                  </a:lnTo>
                  <a:lnTo>
                    <a:pt x="108" y="266"/>
                  </a:lnTo>
                  <a:lnTo>
                    <a:pt x="114" y="272"/>
                  </a:lnTo>
                  <a:lnTo>
                    <a:pt x="122" y="276"/>
                  </a:lnTo>
                  <a:lnTo>
                    <a:pt x="128" y="282"/>
                  </a:lnTo>
                  <a:lnTo>
                    <a:pt x="134" y="286"/>
                  </a:lnTo>
                  <a:lnTo>
                    <a:pt x="140" y="290"/>
                  </a:lnTo>
                  <a:lnTo>
                    <a:pt x="146" y="294"/>
                  </a:lnTo>
                  <a:lnTo>
                    <a:pt x="146" y="294"/>
                  </a:lnTo>
                  <a:lnTo>
                    <a:pt x="148" y="294"/>
                  </a:lnTo>
                  <a:lnTo>
                    <a:pt x="152" y="296"/>
                  </a:lnTo>
                  <a:lnTo>
                    <a:pt x="154" y="296"/>
                  </a:lnTo>
                  <a:lnTo>
                    <a:pt x="156" y="298"/>
                  </a:lnTo>
                  <a:lnTo>
                    <a:pt x="158" y="298"/>
                  </a:lnTo>
                  <a:lnTo>
                    <a:pt x="158" y="300"/>
                  </a:lnTo>
                  <a:lnTo>
                    <a:pt x="158" y="300"/>
                  </a:lnTo>
                  <a:lnTo>
                    <a:pt x="160" y="300"/>
                  </a:lnTo>
                  <a:lnTo>
                    <a:pt x="160" y="302"/>
                  </a:lnTo>
                  <a:lnTo>
                    <a:pt x="160" y="304"/>
                  </a:lnTo>
                  <a:lnTo>
                    <a:pt x="160" y="306"/>
                  </a:lnTo>
                  <a:lnTo>
                    <a:pt x="160" y="308"/>
                  </a:lnTo>
                  <a:lnTo>
                    <a:pt x="160" y="312"/>
                  </a:lnTo>
                  <a:lnTo>
                    <a:pt x="160" y="316"/>
                  </a:lnTo>
                  <a:lnTo>
                    <a:pt x="160" y="318"/>
                  </a:lnTo>
                  <a:lnTo>
                    <a:pt x="160" y="320"/>
                  </a:lnTo>
                  <a:lnTo>
                    <a:pt x="160" y="320"/>
                  </a:lnTo>
                  <a:lnTo>
                    <a:pt x="162" y="322"/>
                  </a:lnTo>
                  <a:lnTo>
                    <a:pt x="162" y="324"/>
                  </a:lnTo>
                  <a:lnTo>
                    <a:pt x="162" y="324"/>
                  </a:lnTo>
                  <a:lnTo>
                    <a:pt x="164" y="324"/>
                  </a:lnTo>
                  <a:lnTo>
                    <a:pt x="164" y="324"/>
                  </a:lnTo>
                  <a:lnTo>
                    <a:pt x="164" y="324"/>
                  </a:lnTo>
                  <a:lnTo>
                    <a:pt x="166" y="324"/>
                  </a:lnTo>
                  <a:lnTo>
                    <a:pt x="168" y="324"/>
                  </a:lnTo>
                  <a:lnTo>
                    <a:pt x="170" y="324"/>
                  </a:lnTo>
                  <a:lnTo>
                    <a:pt x="174" y="322"/>
                  </a:lnTo>
                  <a:lnTo>
                    <a:pt x="176" y="322"/>
                  </a:lnTo>
                  <a:lnTo>
                    <a:pt x="176" y="320"/>
                  </a:lnTo>
                  <a:lnTo>
                    <a:pt x="176" y="318"/>
                  </a:lnTo>
                  <a:lnTo>
                    <a:pt x="176" y="316"/>
                  </a:lnTo>
                  <a:lnTo>
                    <a:pt x="176" y="316"/>
                  </a:lnTo>
                  <a:lnTo>
                    <a:pt x="176" y="314"/>
                  </a:lnTo>
                  <a:lnTo>
                    <a:pt x="176" y="314"/>
                  </a:lnTo>
                  <a:lnTo>
                    <a:pt x="178" y="312"/>
                  </a:lnTo>
                  <a:lnTo>
                    <a:pt x="178" y="312"/>
                  </a:lnTo>
                  <a:lnTo>
                    <a:pt x="180" y="312"/>
                  </a:lnTo>
                  <a:lnTo>
                    <a:pt x="182" y="312"/>
                  </a:lnTo>
                  <a:lnTo>
                    <a:pt x="184" y="312"/>
                  </a:lnTo>
                  <a:lnTo>
                    <a:pt x="186" y="312"/>
                  </a:lnTo>
                  <a:lnTo>
                    <a:pt x="188" y="312"/>
                  </a:lnTo>
                  <a:lnTo>
                    <a:pt x="192" y="312"/>
                  </a:lnTo>
                  <a:lnTo>
                    <a:pt x="196" y="312"/>
                  </a:lnTo>
                  <a:lnTo>
                    <a:pt x="196" y="312"/>
                  </a:lnTo>
                  <a:lnTo>
                    <a:pt x="198" y="312"/>
                  </a:lnTo>
                  <a:lnTo>
                    <a:pt x="200" y="312"/>
                  </a:lnTo>
                  <a:lnTo>
                    <a:pt x="200" y="312"/>
                  </a:lnTo>
                  <a:lnTo>
                    <a:pt x="202" y="312"/>
                  </a:lnTo>
                  <a:lnTo>
                    <a:pt x="202" y="312"/>
                  </a:lnTo>
                  <a:lnTo>
                    <a:pt x="204" y="310"/>
                  </a:lnTo>
                  <a:lnTo>
                    <a:pt x="204" y="308"/>
                  </a:lnTo>
                  <a:lnTo>
                    <a:pt x="206" y="306"/>
                  </a:lnTo>
                  <a:lnTo>
                    <a:pt x="208" y="304"/>
                  </a:lnTo>
                  <a:lnTo>
                    <a:pt x="210" y="302"/>
                  </a:lnTo>
                  <a:lnTo>
                    <a:pt x="210" y="300"/>
                  </a:lnTo>
                  <a:lnTo>
                    <a:pt x="212" y="300"/>
                  </a:lnTo>
                  <a:lnTo>
                    <a:pt x="212" y="300"/>
                  </a:lnTo>
                  <a:lnTo>
                    <a:pt x="216" y="298"/>
                  </a:lnTo>
                  <a:lnTo>
                    <a:pt x="218" y="296"/>
                  </a:lnTo>
                  <a:lnTo>
                    <a:pt x="218" y="296"/>
                  </a:lnTo>
                  <a:lnTo>
                    <a:pt x="220" y="296"/>
                  </a:lnTo>
                  <a:lnTo>
                    <a:pt x="220" y="294"/>
                  </a:lnTo>
                  <a:lnTo>
                    <a:pt x="220" y="294"/>
                  </a:lnTo>
                  <a:lnTo>
                    <a:pt x="220" y="290"/>
                  </a:lnTo>
                  <a:lnTo>
                    <a:pt x="220" y="290"/>
                  </a:lnTo>
                  <a:lnTo>
                    <a:pt x="222" y="288"/>
                  </a:lnTo>
                  <a:lnTo>
                    <a:pt x="222" y="286"/>
                  </a:lnTo>
                  <a:lnTo>
                    <a:pt x="222" y="286"/>
                  </a:lnTo>
                  <a:lnTo>
                    <a:pt x="222" y="286"/>
                  </a:lnTo>
                  <a:lnTo>
                    <a:pt x="224" y="284"/>
                  </a:lnTo>
                  <a:lnTo>
                    <a:pt x="224" y="284"/>
                  </a:lnTo>
                  <a:lnTo>
                    <a:pt x="226" y="284"/>
                  </a:lnTo>
                  <a:lnTo>
                    <a:pt x="226" y="284"/>
                  </a:lnTo>
                  <a:lnTo>
                    <a:pt x="230" y="282"/>
                  </a:lnTo>
                  <a:lnTo>
                    <a:pt x="234" y="282"/>
                  </a:lnTo>
                  <a:lnTo>
                    <a:pt x="238" y="280"/>
                  </a:lnTo>
                  <a:lnTo>
                    <a:pt x="240" y="280"/>
                  </a:lnTo>
                  <a:lnTo>
                    <a:pt x="242" y="280"/>
                  </a:lnTo>
                  <a:lnTo>
                    <a:pt x="244" y="280"/>
                  </a:lnTo>
                  <a:lnTo>
                    <a:pt x="246" y="278"/>
                  </a:lnTo>
                  <a:lnTo>
                    <a:pt x="246" y="278"/>
                  </a:lnTo>
                  <a:lnTo>
                    <a:pt x="246" y="278"/>
                  </a:lnTo>
                  <a:lnTo>
                    <a:pt x="248" y="276"/>
                  </a:lnTo>
                  <a:lnTo>
                    <a:pt x="250" y="274"/>
                  </a:lnTo>
                  <a:lnTo>
                    <a:pt x="250" y="270"/>
                  </a:lnTo>
                  <a:lnTo>
                    <a:pt x="252" y="268"/>
                  </a:lnTo>
                  <a:lnTo>
                    <a:pt x="252" y="268"/>
                  </a:lnTo>
                  <a:lnTo>
                    <a:pt x="254" y="266"/>
                  </a:lnTo>
                  <a:lnTo>
                    <a:pt x="254" y="266"/>
                  </a:lnTo>
                  <a:lnTo>
                    <a:pt x="258" y="262"/>
                  </a:lnTo>
                  <a:lnTo>
                    <a:pt x="262" y="260"/>
                  </a:lnTo>
                  <a:lnTo>
                    <a:pt x="264" y="258"/>
                  </a:lnTo>
                  <a:lnTo>
                    <a:pt x="266" y="258"/>
                  </a:lnTo>
                  <a:lnTo>
                    <a:pt x="268" y="256"/>
                  </a:lnTo>
                  <a:lnTo>
                    <a:pt x="272" y="254"/>
                  </a:lnTo>
                  <a:lnTo>
                    <a:pt x="276" y="254"/>
                  </a:lnTo>
                  <a:lnTo>
                    <a:pt x="278" y="252"/>
                  </a:lnTo>
                  <a:lnTo>
                    <a:pt x="280" y="252"/>
                  </a:lnTo>
                  <a:lnTo>
                    <a:pt x="280" y="250"/>
                  </a:lnTo>
                  <a:lnTo>
                    <a:pt x="282" y="250"/>
                  </a:lnTo>
                  <a:lnTo>
                    <a:pt x="282" y="248"/>
                  </a:lnTo>
                  <a:lnTo>
                    <a:pt x="284" y="246"/>
                  </a:lnTo>
                  <a:lnTo>
                    <a:pt x="284" y="244"/>
                  </a:lnTo>
                  <a:lnTo>
                    <a:pt x="284" y="238"/>
                  </a:lnTo>
                  <a:lnTo>
                    <a:pt x="284" y="236"/>
                  </a:lnTo>
                  <a:lnTo>
                    <a:pt x="284" y="234"/>
                  </a:lnTo>
                  <a:lnTo>
                    <a:pt x="282" y="232"/>
                  </a:lnTo>
                  <a:lnTo>
                    <a:pt x="282" y="232"/>
                  </a:lnTo>
                  <a:lnTo>
                    <a:pt x="282" y="230"/>
                  </a:lnTo>
                  <a:lnTo>
                    <a:pt x="282" y="230"/>
                  </a:lnTo>
                  <a:lnTo>
                    <a:pt x="280" y="230"/>
                  </a:lnTo>
                  <a:lnTo>
                    <a:pt x="278" y="228"/>
                  </a:lnTo>
                  <a:lnTo>
                    <a:pt x="278" y="228"/>
                  </a:lnTo>
                  <a:lnTo>
                    <a:pt x="274" y="228"/>
                  </a:lnTo>
                  <a:lnTo>
                    <a:pt x="272" y="228"/>
                  </a:lnTo>
                  <a:lnTo>
                    <a:pt x="268" y="228"/>
                  </a:lnTo>
                  <a:lnTo>
                    <a:pt x="264" y="228"/>
                  </a:lnTo>
                  <a:lnTo>
                    <a:pt x="264" y="228"/>
                  </a:lnTo>
                  <a:lnTo>
                    <a:pt x="262" y="228"/>
                  </a:lnTo>
                  <a:lnTo>
                    <a:pt x="260" y="228"/>
                  </a:lnTo>
                  <a:lnTo>
                    <a:pt x="260" y="226"/>
                  </a:lnTo>
                  <a:lnTo>
                    <a:pt x="258" y="226"/>
                  </a:lnTo>
                  <a:lnTo>
                    <a:pt x="258" y="226"/>
                  </a:lnTo>
                  <a:lnTo>
                    <a:pt x="256" y="224"/>
                  </a:lnTo>
                  <a:lnTo>
                    <a:pt x="254" y="222"/>
                  </a:lnTo>
                  <a:lnTo>
                    <a:pt x="252" y="220"/>
                  </a:lnTo>
                  <a:lnTo>
                    <a:pt x="252" y="220"/>
                  </a:lnTo>
                  <a:lnTo>
                    <a:pt x="252" y="218"/>
                  </a:lnTo>
                  <a:lnTo>
                    <a:pt x="252" y="216"/>
                  </a:lnTo>
                  <a:lnTo>
                    <a:pt x="250" y="214"/>
                  </a:lnTo>
                  <a:lnTo>
                    <a:pt x="250" y="210"/>
                  </a:lnTo>
                  <a:lnTo>
                    <a:pt x="250" y="206"/>
                  </a:lnTo>
                  <a:lnTo>
                    <a:pt x="250" y="202"/>
                  </a:lnTo>
                  <a:lnTo>
                    <a:pt x="250" y="190"/>
                  </a:lnTo>
                  <a:lnTo>
                    <a:pt x="252" y="176"/>
                  </a:lnTo>
                  <a:lnTo>
                    <a:pt x="252" y="160"/>
                  </a:lnTo>
                  <a:lnTo>
                    <a:pt x="252" y="144"/>
                  </a:lnTo>
                  <a:lnTo>
                    <a:pt x="254" y="116"/>
                  </a:lnTo>
                  <a:lnTo>
                    <a:pt x="254" y="104"/>
                  </a:lnTo>
                  <a:lnTo>
                    <a:pt x="254" y="104"/>
                  </a:lnTo>
                  <a:lnTo>
                    <a:pt x="250" y="104"/>
                  </a:lnTo>
                  <a:lnTo>
                    <a:pt x="250" y="104"/>
                  </a:lnTo>
                  <a:lnTo>
                    <a:pt x="248" y="104"/>
                  </a:lnTo>
                  <a:lnTo>
                    <a:pt x="246" y="104"/>
                  </a:lnTo>
                  <a:lnTo>
                    <a:pt x="246" y="104"/>
                  </a:lnTo>
                  <a:lnTo>
                    <a:pt x="246" y="104"/>
                  </a:lnTo>
                  <a:lnTo>
                    <a:pt x="246" y="102"/>
                  </a:lnTo>
                  <a:lnTo>
                    <a:pt x="244" y="102"/>
                  </a:lnTo>
                  <a:lnTo>
                    <a:pt x="244" y="102"/>
                  </a:lnTo>
                  <a:lnTo>
                    <a:pt x="244" y="100"/>
                  </a:lnTo>
                  <a:lnTo>
                    <a:pt x="244" y="98"/>
                  </a:lnTo>
                  <a:lnTo>
                    <a:pt x="244" y="96"/>
                  </a:lnTo>
                  <a:lnTo>
                    <a:pt x="244" y="92"/>
                  </a:lnTo>
                  <a:lnTo>
                    <a:pt x="244" y="90"/>
                  </a:lnTo>
                  <a:lnTo>
                    <a:pt x="242" y="90"/>
                  </a:lnTo>
                  <a:lnTo>
                    <a:pt x="242" y="88"/>
                  </a:lnTo>
                  <a:lnTo>
                    <a:pt x="242" y="88"/>
                  </a:lnTo>
                  <a:lnTo>
                    <a:pt x="242" y="86"/>
                  </a:lnTo>
                  <a:lnTo>
                    <a:pt x="242" y="86"/>
                  </a:lnTo>
                  <a:lnTo>
                    <a:pt x="240" y="86"/>
                  </a:lnTo>
                  <a:lnTo>
                    <a:pt x="240" y="86"/>
                  </a:lnTo>
                  <a:lnTo>
                    <a:pt x="238" y="84"/>
                  </a:lnTo>
                  <a:lnTo>
                    <a:pt x="236" y="84"/>
                  </a:lnTo>
                  <a:lnTo>
                    <a:pt x="234" y="84"/>
                  </a:lnTo>
                  <a:lnTo>
                    <a:pt x="232" y="84"/>
                  </a:lnTo>
                  <a:lnTo>
                    <a:pt x="230" y="82"/>
                  </a:lnTo>
                  <a:lnTo>
                    <a:pt x="230" y="82"/>
                  </a:lnTo>
                  <a:lnTo>
                    <a:pt x="230" y="82"/>
                  </a:lnTo>
                  <a:lnTo>
                    <a:pt x="228" y="80"/>
                  </a:lnTo>
                  <a:lnTo>
                    <a:pt x="226" y="78"/>
                  </a:lnTo>
                  <a:lnTo>
                    <a:pt x="226" y="76"/>
                  </a:lnTo>
                  <a:lnTo>
                    <a:pt x="226" y="74"/>
                  </a:lnTo>
                  <a:lnTo>
                    <a:pt x="224" y="72"/>
                  </a:lnTo>
                  <a:lnTo>
                    <a:pt x="224" y="70"/>
                  </a:lnTo>
                  <a:lnTo>
                    <a:pt x="224" y="68"/>
                  </a:lnTo>
                  <a:lnTo>
                    <a:pt x="224" y="66"/>
                  </a:lnTo>
                  <a:lnTo>
                    <a:pt x="224" y="64"/>
                  </a:lnTo>
                  <a:lnTo>
                    <a:pt x="224" y="62"/>
                  </a:lnTo>
                  <a:lnTo>
                    <a:pt x="224" y="60"/>
                  </a:lnTo>
                  <a:lnTo>
                    <a:pt x="224" y="58"/>
                  </a:lnTo>
                  <a:lnTo>
                    <a:pt x="224" y="56"/>
                  </a:lnTo>
                  <a:lnTo>
                    <a:pt x="226" y="54"/>
                  </a:lnTo>
                  <a:lnTo>
                    <a:pt x="226" y="52"/>
                  </a:lnTo>
                  <a:lnTo>
                    <a:pt x="226" y="50"/>
                  </a:lnTo>
                  <a:lnTo>
                    <a:pt x="228" y="50"/>
                  </a:lnTo>
                  <a:lnTo>
                    <a:pt x="228" y="50"/>
                  </a:lnTo>
                  <a:lnTo>
                    <a:pt x="230" y="48"/>
                  </a:lnTo>
                  <a:lnTo>
                    <a:pt x="232" y="48"/>
                  </a:lnTo>
                  <a:lnTo>
                    <a:pt x="234" y="48"/>
                  </a:lnTo>
                  <a:lnTo>
                    <a:pt x="236" y="48"/>
                  </a:lnTo>
                  <a:lnTo>
                    <a:pt x="238" y="48"/>
                  </a:lnTo>
                  <a:lnTo>
                    <a:pt x="240" y="46"/>
                  </a:lnTo>
                  <a:lnTo>
                    <a:pt x="240" y="46"/>
                  </a:lnTo>
                  <a:lnTo>
                    <a:pt x="240" y="46"/>
                  </a:lnTo>
                  <a:lnTo>
                    <a:pt x="240" y="46"/>
                  </a:lnTo>
                  <a:lnTo>
                    <a:pt x="240" y="44"/>
                  </a:lnTo>
                  <a:lnTo>
                    <a:pt x="240" y="44"/>
                  </a:lnTo>
                  <a:lnTo>
                    <a:pt x="240" y="44"/>
                  </a:lnTo>
                  <a:lnTo>
                    <a:pt x="240" y="42"/>
                  </a:lnTo>
                  <a:lnTo>
                    <a:pt x="238" y="42"/>
                  </a:lnTo>
                  <a:lnTo>
                    <a:pt x="238" y="40"/>
                  </a:lnTo>
                  <a:lnTo>
                    <a:pt x="236" y="38"/>
                  </a:lnTo>
                  <a:lnTo>
                    <a:pt x="234" y="36"/>
                  </a:lnTo>
                  <a:lnTo>
                    <a:pt x="234" y="36"/>
                  </a:lnTo>
                  <a:lnTo>
                    <a:pt x="234" y="34"/>
                  </a:lnTo>
                  <a:lnTo>
                    <a:pt x="234" y="34"/>
                  </a:lnTo>
                  <a:lnTo>
                    <a:pt x="232" y="32"/>
                  </a:lnTo>
                  <a:lnTo>
                    <a:pt x="232" y="32"/>
                  </a:lnTo>
                  <a:lnTo>
                    <a:pt x="234" y="30"/>
                  </a:lnTo>
                  <a:lnTo>
                    <a:pt x="234" y="28"/>
                  </a:lnTo>
                  <a:lnTo>
                    <a:pt x="234" y="26"/>
                  </a:lnTo>
                  <a:lnTo>
                    <a:pt x="234" y="24"/>
                  </a:lnTo>
                  <a:lnTo>
                    <a:pt x="234" y="24"/>
                  </a:lnTo>
                  <a:lnTo>
                    <a:pt x="236" y="22"/>
                  </a:lnTo>
                  <a:lnTo>
                    <a:pt x="236" y="22"/>
                  </a:lnTo>
                  <a:lnTo>
                    <a:pt x="236" y="22"/>
                  </a:lnTo>
                  <a:lnTo>
                    <a:pt x="236" y="22"/>
                  </a:lnTo>
                  <a:lnTo>
                    <a:pt x="238" y="22"/>
                  </a:lnTo>
                  <a:lnTo>
                    <a:pt x="240" y="22"/>
                  </a:lnTo>
                  <a:lnTo>
                    <a:pt x="242" y="22"/>
                  </a:lnTo>
                  <a:lnTo>
                    <a:pt x="242" y="22"/>
                  </a:lnTo>
                  <a:lnTo>
                    <a:pt x="242" y="22"/>
                  </a:lnTo>
                  <a:lnTo>
                    <a:pt x="242" y="22"/>
                  </a:lnTo>
                  <a:lnTo>
                    <a:pt x="242" y="20"/>
                  </a:lnTo>
                  <a:lnTo>
                    <a:pt x="242" y="20"/>
                  </a:lnTo>
                  <a:lnTo>
                    <a:pt x="242" y="18"/>
                  </a:lnTo>
                  <a:lnTo>
                    <a:pt x="242" y="16"/>
                  </a:lnTo>
                  <a:lnTo>
                    <a:pt x="242" y="16"/>
                  </a:lnTo>
                  <a:lnTo>
                    <a:pt x="242" y="12"/>
                  </a:lnTo>
                  <a:lnTo>
                    <a:pt x="242" y="8"/>
                  </a:lnTo>
                  <a:lnTo>
                    <a:pt x="240" y="6"/>
                  </a:lnTo>
                  <a:lnTo>
                    <a:pt x="240" y="4"/>
                  </a:lnTo>
                  <a:lnTo>
                    <a:pt x="234" y="4"/>
                  </a:lnTo>
                  <a:lnTo>
                    <a:pt x="222" y="2"/>
                  </a:lnTo>
                  <a:lnTo>
                    <a:pt x="214" y="2"/>
                  </a:lnTo>
                  <a:lnTo>
                    <a:pt x="208" y="2"/>
                  </a:lnTo>
                  <a:lnTo>
                    <a:pt x="200" y="0"/>
                  </a:lnTo>
                  <a:lnTo>
                    <a:pt x="196" y="0"/>
                  </a:lnTo>
                  <a:lnTo>
                    <a:pt x="192" y="2"/>
                  </a:lnTo>
                  <a:lnTo>
                    <a:pt x="186" y="2"/>
                  </a:lnTo>
                  <a:lnTo>
                    <a:pt x="180" y="2"/>
                  </a:lnTo>
                  <a:lnTo>
                    <a:pt x="178" y="2"/>
                  </a:lnTo>
                  <a:lnTo>
                    <a:pt x="176" y="4"/>
                  </a:lnTo>
                  <a:lnTo>
                    <a:pt x="174" y="4"/>
                  </a:lnTo>
                  <a:lnTo>
                    <a:pt x="172" y="4"/>
                  </a:lnTo>
                  <a:lnTo>
                    <a:pt x="168" y="6"/>
                  </a:lnTo>
                  <a:lnTo>
                    <a:pt x="164" y="8"/>
                  </a:lnTo>
                  <a:lnTo>
                    <a:pt x="162" y="10"/>
                  </a:lnTo>
                  <a:lnTo>
                    <a:pt x="160" y="10"/>
                  </a:lnTo>
                  <a:lnTo>
                    <a:pt x="158" y="10"/>
                  </a:lnTo>
                  <a:lnTo>
                    <a:pt x="156" y="10"/>
                  </a:lnTo>
                  <a:lnTo>
                    <a:pt x="152" y="10"/>
                  </a:lnTo>
                  <a:lnTo>
                    <a:pt x="144" y="10"/>
                  </a:lnTo>
                  <a:lnTo>
                    <a:pt x="138" y="10"/>
                  </a:lnTo>
                  <a:lnTo>
                    <a:pt x="134" y="10"/>
                  </a:lnTo>
                  <a:lnTo>
                    <a:pt x="132" y="10"/>
                  </a:lnTo>
                  <a:lnTo>
                    <a:pt x="130" y="12"/>
                  </a:lnTo>
                  <a:lnTo>
                    <a:pt x="130" y="12"/>
                  </a:lnTo>
                  <a:lnTo>
                    <a:pt x="128" y="12"/>
                  </a:lnTo>
                  <a:lnTo>
                    <a:pt x="126" y="12"/>
                  </a:lnTo>
                  <a:lnTo>
                    <a:pt x="126" y="14"/>
                  </a:lnTo>
                  <a:lnTo>
                    <a:pt x="124" y="16"/>
                  </a:lnTo>
                  <a:lnTo>
                    <a:pt x="122" y="18"/>
                  </a:lnTo>
                  <a:lnTo>
                    <a:pt x="120" y="20"/>
                  </a:lnTo>
                  <a:lnTo>
                    <a:pt x="118" y="22"/>
                  </a:lnTo>
                  <a:lnTo>
                    <a:pt x="116" y="22"/>
                  </a:lnTo>
                  <a:lnTo>
                    <a:pt x="116" y="22"/>
                  </a:lnTo>
                  <a:lnTo>
                    <a:pt x="114" y="22"/>
                  </a:lnTo>
                  <a:lnTo>
                    <a:pt x="112" y="24"/>
                  </a:lnTo>
                  <a:lnTo>
                    <a:pt x="108" y="24"/>
                  </a:lnTo>
                  <a:lnTo>
                    <a:pt x="106" y="24"/>
                  </a:lnTo>
                  <a:lnTo>
                    <a:pt x="102" y="24"/>
                  </a:lnTo>
                  <a:lnTo>
                    <a:pt x="100" y="24"/>
                  </a:lnTo>
                  <a:lnTo>
                    <a:pt x="98" y="24"/>
                  </a:lnTo>
                  <a:lnTo>
                    <a:pt x="98" y="26"/>
                  </a:lnTo>
                  <a:lnTo>
                    <a:pt x="96" y="26"/>
                  </a:lnTo>
                  <a:lnTo>
                    <a:pt x="96" y="26"/>
                  </a:lnTo>
                  <a:lnTo>
                    <a:pt x="94" y="26"/>
                  </a:lnTo>
                  <a:lnTo>
                    <a:pt x="94" y="28"/>
                  </a:lnTo>
                  <a:lnTo>
                    <a:pt x="92" y="30"/>
                  </a:lnTo>
                  <a:lnTo>
                    <a:pt x="92" y="32"/>
                  </a:lnTo>
                  <a:lnTo>
                    <a:pt x="90" y="34"/>
                  </a:lnTo>
                  <a:lnTo>
                    <a:pt x="90" y="40"/>
                  </a:lnTo>
                  <a:lnTo>
                    <a:pt x="88" y="4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4" name="Freeform 382">
              <a:extLst>
                <a:ext uri="{FF2B5EF4-FFF2-40B4-BE49-F238E27FC236}">
                  <a16:creationId xmlns:a16="http://schemas.microsoft.com/office/drawing/2014/main" id="{63D53B6A-9DD0-4933-B762-0A9069E0FD7C}"/>
                </a:ext>
              </a:extLst>
            </p:cNvPr>
            <p:cNvSpPr>
              <a:spLocks/>
            </p:cNvSpPr>
            <p:nvPr/>
          </p:nvSpPr>
          <p:spPr bwMode="auto">
            <a:xfrm>
              <a:off x="4438955" y="4251298"/>
              <a:ext cx="239026" cy="363736"/>
            </a:xfrm>
            <a:custGeom>
              <a:avLst/>
              <a:gdLst>
                <a:gd name="T0" fmla="*/ 12 w 138"/>
                <a:gd name="T1" fmla="*/ 150 h 210"/>
                <a:gd name="T2" fmla="*/ 28 w 138"/>
                <a:gd name="T3" fmla="*/ 136 h 210"/>
                <a:gd name="T4" fmla="*/ 36 w 138"/>
                <a:gd name="T5" fmla="*/ 126 h 210"/>
                <a:gd name="T6" fmla="*/ 48 w 138"/>
                <a:gd name="T7" fmla="*/ 114 h 210"/>
                <a:gd name="T8" fmla="*/ 60 w 138"/>
                <a:gd name="T9" fmla="*/ 106 h 210"/>
                <a:gd name="T10" fmla="*/ 66 w 138"/>
                <a:gd name="T11" fmla="*/ 100 h 210"/>
                <a:gd name="T12" fmla="*/ 72 w 138"/>
                <a:gd name="T13" fmla="*/ 86 h 210"/>
                <a:gd name="T14" fmla="*/ 76 w 138"/>
                <a:gd name="T15" fmla="*/ 68 h 210"/>
                <a:gd name="T16" fmla="*/ 80 w 138"/>
                <a:gd name="T17" fmla="*/ 56 h 210"/>
                <a:gd name="T18" fmla="*/ 84 w 138"/>
                <a:gd name="T19" fmla="*/ 50 h 210"/>
                <a:gd name="T20" fmla="*/ 92 w 138"/>
                <a:gd name="T21" fmla="*/ 46 h 210"/>
                <a:gd name="T22" fmla="*/ 94 w 138"/>
                <a:gd name="T23" fmla="*/ 40 h 210"/>
                <a:gd name="T24" fmla="*/ 94 w 138"/>
                <a:gd name="T25" fmla="*/ 26 h 210"/>
                <a:gd name="T26" fmla="*/ 92 w 138"/>
                <a:gd name="T27" fmla="*/ 0 h 210"/>
                <a:gd name="T28" fmla="*/ 98 w 138"/>
                <a:gd name="T29" fmla="*/ 0 h 210"/>
                <a:gd name="T30" fmla="*/ 98 w 138"/>
                <a:gd name="T31" fmla="*/ 2 h 210"/>
                <a:gd name="T32" fmla="*/ 100 w 138"/>
                <a:gd name="T33" fmla="*/ 8 h 210"/>
                <a:gd name="T34" fmla="*/ 104 w 138"/>
                <a:gd name="T35" fmla="*/ 18 h 210"/>
                <a:gd name="T36" fmla="*/ 112 w 138"/>
                <a:gd name="T37" fmla="*/ 32 h 210"/>
                <a:gd name="T38" fmla="*/ 112 w 138"/>
                <a:gd name="T39" fmla="*/ 38 h 210"/>
                <a:gd name="T40" fmla="*/ 110 w 138"/>
                <a:gd name="T41" fmla="*/ 40 h 210"/>
                <a:gd name="T42" fmla="*/ 106 w 138"/>
                <a:gd name="T43" fmla="*/ 42 h 210"/>
                <a:gd name="T44" fmla="*/ 106 w 138"/>
                <a:gd name="T45" fmla="*/ 44 h 210"/>
                <a:gd name="T46" fmla="*/ 108 w 138"/>
                <a:gd name="T47" fmla="*/ 46 h 210"/>
                <a:gd name="T48" fmla="*/ 110 w 138"/>
                <a:gd name="T49" fmla="*/ 52 h 210"/>
                <a:gd name="T50" fmla="*/ 112 w 138"/>
                <a:gd name="T51" fmla="*/ 56 h 210"/>
                <a:gd name="T52" fmla="*/ 116 w 138"/>
                <a:gd name="T53" fmla="*/ 62 h 210"/>
                <a:gd name="T54" fmla="*/ 116 w 138"/>
                <a:gd name="T55" fmla="*/ 68 h 210"/>
                <a:gd name="T56" fmla="*/ 114 w 138"/>
                <a:gd name="T57" fmla="*/ 70 h 210"/>
                <a:gd name="T58" fmla="*/ 108 w 138"/>
                <a:gd name="T59" fmla="*/ 74 h 210"/>
                <a:gd name="T60" fmla="*/ 108 w 138"/>
                <a:gd name="T61" fmla="*/ 78 h 210"/>
                <a:gd name="T62" fmla="*/ 112 w 138"/>
                <a:gd name="T63" fmla="*/ 86 h 210"/>
                <a:gd name="T64" fmla="*/ 120 w 138"/>
                <a:gd name="T65" fmla="*/ 94 h 210"/>
                <a:gd name="T66" fmla="*/ 126 w 138"/>
                <a:gd name="T67" fmla="*/ 104 h 210"/>
                <a:gd name="T68" fmla="*/ 122 w 138"/>
                <a:gd name="T69" fmla="*/ 120 h 210"/>
                <a:gd name="T70" fmla="*/ 116 w 138"/>
                <a:gd name="T71" fmla="*/ 130 h 210"/>
                <a:gd name="T72" fmla="*/ 114 w 138"/>
                <a:gd name="T73" fmla="*/ 138 h 210"/>
                <a:gd name="T74" fmla="*/ 116 w 138"/>
                <a:gd name="T75" fmla="*/ 144 h 210"/>
                <a:gd name="T76" fmla="*/ 124 w 138"/>
                <a:gd name="T77" fmla="*/ 154 h 210"/>
                <a:gd name="T78" fmla="*/ 128 w 138"/>
                <a:gd name="T79" fmla="*/ 168 h 210"/>
                <a:gd name="T80" fmla="*/ 134 w 138"/>
                <a:gd name="T81" fmla="*/ 180 h 210"/>
                <a:gd name="T82" fmla="*/ 90 w 138"/>
                <a:gd name="T83" fmla="*/ 192 h 210"/>
                <a:gd name="T84" fmla="*/ 72 w 138"/>
                <a:gd name="T85" fmla="*/ 194 h 210"/>
                <a:gd name="T86" fmla="*/ 66 w 138"/>
                <a:gd name="T87" fmla="*/ 196 h 210"/>
                <a:gd name="T88" fmla="*/ 62 w 138"/>
                <a:gd name="T89" fmla="*/ 200 h 210"/>
                <a:gd name="T90" fmla="*/ 60 w 138"/>
                <a:gd name="T91" fmla="*/ 206 h 210"/>
                <a:gd name="T92" fmla="*/ 38 w 138"/>
                <a:gd name="T93" fmla="*/ 204 h 210"/>
                <a:gd name="T94" fmla="*/ 38 w 138"/>
                <a:gd name="T95" fmla="*/ 194 h 210"/>
                <a:gd name="T96" fmla="*/ 40 w 138"/>
                <a:gd name="T97" fmla="*/ 190 h 210"/>
                <a:gd name="T98" fmla="*/ 44 w 138"/>
                <a:gd name="T99" fmla="*/ 182 h 210"/>
                <a:gd name="T100" fmla="*/ 44 w 138"/>
                <a:gd name="T101" fmla="*/ 178 h 210"/>
                <a:gd name="T102" fmla="*/ 40 w 138"/>
                <a:gd name="T103" fmla="*/ 172 h 210"/>
                <a:gd name="T104" fmla="*/ 34 w 138"/>
                <a:gd name="T105" fmla="*/ 168 h 210"/>
                <a:gd name="T106" fmla="*/ 10 w 138"/>
                <a:gd name="T107" fmla="*/ 16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8" h="210">
                  <a:moveTo>
                    <a:pt x="0" y="158"/>
                  </a:moveTo>
                  <a:lnTo>
                    <a:pt x="0" y="158"/>
                  </a:lnTo>
                  <a:lnTo>
                    <a:pt x="4" y="156"/>
                  </a:lnTo>
                  <a:lnTo>
                    <a:pt x="12" y="150"/>
                  </a:lnTo>
                  <a:lnTo>
                    <a:pt x="20" y="142"/>
                  </a:lnTo>
                  <a:lnTo>
                    <a:pt x="24" y="140"/>
                  </a:lnTo>
                  <a:lnTo>
                    <a:pt x="26" y="136"/>
                  </a:lnTo>
                  <a:lnTo>
                    <a:pt x="28" y="136"/>
                  </a:lnTo>
                  <a:lnTo>
                    <a:pt x="30" y="134"/>
                  </a:lnTo>
                  <a:lnTo>
                    <a:pt x="32" y="130"/>
                  </a:lnTo>
                  <a:lnTo>
                    <a:pt x="34" y="128"/>
                  </a:lnTo>
                  <a:lnTo>
                    <a:pt x="36" y="126"/>
                  </a:lnTo>
                  <a:lnTo>
                    <a:pt x="38" y="122"/>
                  </a:lnTo>
                  <a:lnTo>
                    <a:pt x="42" y="120"/>
                  </a:lnTo>
                  <a:lnTo>
                    <a:pt x="44" y="116"/>
                  </a:lnTo>
                  <a:lnTo>
                    <a:pt x="48" y="114"/>
                  </a:lnTo>
                  <a:lnTo>
                    <a:pt x="48" y="112"/>
                  </a:lnTo>
                  <a:lnTo>
                    <a:pt x="50" y="112"/>
                  </a:lnTo>
                  <a:lnTo>
                    <a:pt x="56" y="108"/>
                  </a:lnTo>
                  <a:lnTo>
                    <a:pt x="60" y="106"/>
                  </a:lnTo>
                  <a:lnTo>
                    <a:pt x="62" y="104"/>
                  </a:lnTo>
                  <a:lnTo>
                    <a:pt x="64" y="102"/>
                  </a:lnTo>
                  <a:lnTo>
                    <a:pt x="64" y="102"/>
                  </a:lnTo>
                  <a:lnTo>
                    <a:pt x="66" y="100"/>
                  </a:lnTo>
                  <a:lnTo>
                    <a:pt x="68" y="98"/>
                  </a:lnTo>
                  <a:lnTo>
                    <a:pt x="68" y="94"/>
                  </a:lnTo>
                  <a:lnTo>
                    <a:pt x="70" y="90"/>
                  </a:lnTo>
                  <a:lnTo>
                    <a:pt x="72" y="86"/>
                  </a:lnTo>
                  <a:lnTo>
                    <a:pt x="74" y="84"/>
                  </a:lnTo>
                  <a:lnTo>
                    <a:pt x="74" y="80"/>
                  </a:lnTo>
                  <a:lnTo>
                    <a:pt x="76" y="72"/>
                  </a:lnTo>
                  <a:lnTo>
                    <a:pt x="76" y="68"/>
                  </a:lnTo>
                  <a:lnTo>
                    <a:pt x="78" y="64"/>
                  </a:lnTo>
                  <a:lnTo>
                    <a:pt x="78" y="60"/>
                  </a:lnTo>
                  <a:lnTo>
                    <a:pt x="80" y="58"/>
                  </a:lnTo>
                  <a:lnTo>
                    <a:pt x="80" y="56"/>
                  </a:lnTo>
                  <a:lnTo>
                    <a:pt x="82" y="54"/>
                  </a:lnTo>
                  <a:lnTo>
                    <a:pt x="82" y="52"/>
                  </a:lnTo>
                  <a:lnTo>
                    <a:pt x="84" y="52"/>
                  </a:lnTo>
                  <a:lnTo>
                    <a:pt x="84" y="50"/>
                  </a:lnTo>
                  <a:lnTo>
                    <a:pt x="86" y="50"/>
                  </a:lnTo>
                  <a:lnTo>
                    <a:pt x="88" y="48"/>
                  </a:lnTo>
                  <a:lnTo>
                    <a:pt x="90" y="46"/>
                  </a:lnTo>
                  <a:lnTo>
                    <a:pt x="92" y="46"/>
                  </a:lnTo>
                  <a:lnTo>
                    <a:pt x="92" y="44"/>
                  </a:lnTo>
                  <a:lnTo>
                    <a:pt x="92" y="44"/>
                  </a:lnTo>
                  <a:lnTo>
                    <a:pt x="94" y="42"/>
                  </a:lnTo>
                  <a:lnTo>
                    <a:pt x="94" y="40"/>
                  </a:lnTo>
                  <a:lnTo>
                    <a:pt x="94" y="38"/>
                  </a:lnTo>
                  <a:lnTo>
                    <a:pt x="94" y="36"/>
                  </a:lnTo>
                  <a:lnTo>
                    <a:pt x="94" y="30"/>
                  </a:lnTo>
                  <a:lnTo>
                    <a:pt x="94" y="26"/>
                  </a:lnTo>
                  <a:lnTo>
                    <a:pt x="94" y="22"/>
                  </a:lnTo>
                  <a:lnTo>
                    <a:pt x="94" y="20"/>
                  </a:lnTo>
                  <a:lnTo>
                    <a:pt x="94" y="10"/>
                  </a:lnTo>
                  <a:lnTo>
                    <a:pt x="92" y="0"/>
                  </a:lnTo>
                  <a:lnTo>
                    <a:pt x="92" y="0"/>
                  </a:lnTo>
                  <a:lnTo>
                    <a:pt x="94" y="0"/>
                  </a:lnTo>
                  <a:lnTo>
                    <a:pt x="96" y="0"/>
                  </a:lnTo>
                  <a:lnTo>
                    <a:pt x="98" y="0"/>
                  </a:lnTo>
                  <a:lnTo>
                    <a:pt x="98" y="0"/>
                  </a:lnTo>
                  <a:lnTo>
                    <a:pt x="98" y="0"/>
                  </a:lnTo>
                  <a:lnTo>
                    <a:pt x="98" y="0"/>
                  </a:lnTo>
                  <a:lnTo>
                    <a:pt x="98" y="2"/>
                  </a:lnTo>
                  <a:lnTo>
                    <a:pt x="100" y="4"/>
                  </a:lnTo>
                  <a:lnTo>
                    <a:pt x="100" y="4"/>
                  </a:lnTo>
                  <a:lnTo>
                    <a:pt x="100" y="8"/>
                  </a:lnTo>
                  <a:lnTo>
                    <a:pt x="100" y="8"/>
                  </a:lnTo>
                  <a:lnTo>
                    <a:pt x="100" y="10"/>
                  </a:lnTo>
                  <a:lnTo>
                    <a:pt x="102" y="12"/>
                  </a:lnTo>
                  <a:lnTo>
                    <a:pt x="102" y="14"/>
                  </a:lnTo>
                  <a:lnTo>
                    <a:pt x="104" y="18"/>
                  </a:lnTo>
                  <a:lnTo>
                    <a:pt x="108" y="24"/>
                  </a:lnTo>
                  <a:lnTo>
                    <a:pt x="110" y="28"/>
                  </a:lnTo>
                  <a:lnTo>
                    <a:pt x="112" y="30"/>
                  </a:lnTo>
                  <a:lnTo>
                    <a:pt x="112" y="32"/>
                  </a:lnTo>
                  <a:lnTo>
                    <a:pt x="112" y="34"/>
                  </a:lnTo>
                  <a:lnTo>
                    <a:pt x="112" y="36"/>
                  </a:lnTo>
                  <a:lnTo>
                    <a:pt x="112" y="36"/>
                  </a:lnTo>
                  <a:lnTo>
                    <a:pt x="112" y="38"/>
                  </a:lnTo>
                  <a:lnTo>
                    <a:pt x="112" y="38"/>
                  </a:lnTo>
                  <a:lnTo>
                    <a:pt x="112" y="40"/>
                  </a:lnTo>
                  <a:lnTo>
                    <a:pt x="112" y="40"/>
                  </a:lnTo>
                  <a:lnTo>
                    <a:pt x="110" y="40"/>
                  </a:lnTo>
                  <a:lnTo>
                    <a:pt x="108" y="42"/>
                  </a:lnTo>
                  <a:lnTo>
                    <a:pt x="108" y="42"/>
                  </a:lnTo>
                  <a:lnTo>
                    <a:pt x="106" y="42"/>
                  </a:lnTo>
                  <a:lnTo>
                    <a:pt x="106" y="42"/>
                  </a:lnTo>
                  <a:lnTo>
                    <a:pt x="106" y="42"/>
                  </a:lnTo>
                  <a:lnTo>
                    <a:pt x="106" y="42"/>
                  </a:lnTo>
                  <a:lnTo>
                    <a:pt x="106" y="44"/>
                  </a:lnTo>
                  <a:lnTo>
                    <a:pt x="106" y="44"/>
                  </a:lnTo>
                  <a:lnTo>
                    <a:pt x="106" y="44"/>
                  </a:lnTo>
                  <a:lnTo>
                    <a:pt x="108" y="44"/>
                  </a:lnTo>
                  <a:lnTo>
                    <a:pt x="108" y="46"/>
                  </a:lnTo>
                  <a:lnTo>
                    <a:pt x="108" y="46"/>
                  </a:lnTo>
                  <a:lnTo>
                    <a:pt x="110" y="46"/>
                  </a:lnTo>
                  <a:lnTo>
                    <a:pt x="110" y="48"/>
                  </a:lnTo>
                  <a:lnTo>
                    <a:pt x="110" y="50"/>
                  </a:lnTo>
                  <a:lnTo>
                    <a:pt x="110" y="52"/>
                  </a:lnTo>
                  <a:lnTo>
                    <a:pt x="112" y="54"/>
                  </a:lnTo>
                  <a:lnTo>
                    <a:pt x="112" y="54"/>
                  </a:lnTo>
                  <a:lnTo>
                    <a:pt x="112" y="56"/>
                  </a:lnTo>
                  <a:lnTo>
                    <a:pt x="112" y="56"/>
                  </a:lnTo>
                  <a:lnTo>
                    <a:pt x="114" y="58"/>
                  </a:lnTo>
                  <a:lnTo>
                    <a:pt x="116" y="60"/>
                  </a:lnTo>
                  <a:lnTo>
                    <a:pt x="116" y="60"/>
                  </a:lnTo>
                  <a:lnTo>
                    <a:pt x="116" y="62"/>
                  </a:lnTo>
                  <a:lnTo>
                    <a:pt x="116" y="62"/>
                  </a:lnTo>
                  <a:lnTo>
                    <a:pt x="116" y="64"/>
                  </a:lnTo>
                  <a:lnTo>
                    <a:pt x="116" y="66"/>
                  </a:lnTo>
                  <a:lnTo>
                    <a:pt x="116" y="68"/>
                  </a:lnTo>
                  <a:lnTo>
                    <a:pt x="116" y="68"/>
                  </a:lnTo>
                  <a:lnTo>
                    <a:pt x="116" y="70"/>
                  </a:lnTo>
                  <a:lnTo>
                    <a:pt x="114" y="70"/>
                  </a:lnTo>
                  <a:lnTo>
                    <a:pt x="114" y="70"/>
                  </a:lnTo>
                  <a:lnTo>
                    <a:pt x="112" y="72"/>
                  </a:lnTo>
                  <a:lnTo>
                    <a:pt x="110" y="72"/>
                  </a:lnTo>
                  <a:lnTo>
                    <a:pt x="110" y="74"/>
                  </a:lnTo>
                  <a:lnTo>
                    <a:pt x="108" y="74"/>
                  </a:lnTo>
                  <a:lnTo>
                    <a:pt x="108" y="74"/>
                  </a:lnTo>
                  <a:lnTo>
                    <a:pt x="108" y="76"/>
                  </a:lnTo>
                  <a:lnTo>
                    <a:pt x="108" y="76"/>
                  </a:lnTo>
                  <a:lnTo>
                    <a:pt x="108" y="78"/>
                  </a:lnTo>
                  <a:lnTo>
                    <a:pt x="110" y="80"/>
                  </a:lnTo>
                  <a:lnTo>
                    <a:pt x="110" y="82"/>
                  </a:lnTo>
                  <a:lnTo>
                    <a:pt x="110" y="84"/>
                  </a:lnTo>
                  <a:lnTo>
                    <a:pt x="112" y="86"/>
                  </a:lnTo>
                  <a:lnTo>
                    <a:pt x="114" y="86"/>
                  </a:lnTo>
                  <a:lnTo>
                    <a:pt x="114" y="88"/>
                  </a:lnTo>
                  <a:lnTo>
                    <a:pt x="118" y="92"/>
                  </a:lnTo>
                  <a:lnTo>
                    <a:pt x="120" y="94"/>
                  </a:lnTo>
                  <a:lnTo>
                    <a:pt x="120" y="96"/>
                  </a:lnTo>
                  <a:lnTo>
                    <a:pt x="122" y="98"/>
                  </a:lnTo>
                  <a:lnTo>
                    <a:pt x="122" y="100"/>
                  </a:lnTo>
                  <a:lnTo>
                    <a:pt x="126" y="104"/>
                  </a:lnTo>
                  <a:lnTo>
                    <a:pt x="128" y="112"/>
                  </a:lnTo>
                  <a:lnTo>
                    <a:pt x="126" y="116"/>
                  </a:lnTo>
                  <a:lnTo>
                    <a:pt x="122" y="118"/>
                  </a:lnTo>
                  <a:lnTo>
                    <a:pt x="122" y="120"/>
                  </a:lnTo>
                  <a:lnTo>
                    <a:pt x="122" y="120"/>
                  </a:lnTo>
                  <a:lnTo>
                    <a:pt x="120" y="124"/>
                  </a:lnTo>
                  <a:lnTo>
                    <a:pt x="118" y="128"/>
                  </a:lnTo>
                  <a:lnTo>
                    <a:pt x="116" y="130"/>
                  </a:lnTo>
                  <a:lnTo>
                    <a:pt x="116" y="132"/>
                  </a:lnTo>
                  <a:lnTo>
                    <a:pt x="116" y="136"/>
                  </a:lnTo>
                  <a:lnTo>
                    <a:pt x="114" y="138"/>
                  </a:lnTo>
                  <a:lnTo>
                    <a:pt x="114" y="138"/>
                  </a:lnTo>
                  <a:lnTo>
                    <a:pt x="114" y="140"/>
                  </a:lnTo>
                  <a:lnTo>
                    <a:pt x="116" y="140"/>
                  </a:lnTo>
                  <a:lnTo>
                    <a:pt x="116" y="142"/>
                  </a:lnTo>
                  <a:lnTo>
                    <a:pt x="116" y="144"/>
                  </a:lnTo>
                  <a:lnTo>
                    <a:pt x="118" y="146"/>
                  </a:lnTo>
                  <a:lnTo>
                    <a:pt x="120" y="148"/>
                  </a:lnTo>
                  <a:lnTo>
                    <a:pt x="124" y="152"/>
                  </a:lnTo>
                  <a:lnTo>
                    <a:pt x="124" y="154"/>
                  </a:lnTo>
                  <a:lnTo>
                    <a:pt x="126" y="156"/>
                  </a:lnTo>
                  <a:lnTo>
                    <a:pt x="126" y="158"/>
                  </a:lnTo>
                  <a:lnTo>
                    <a:pt x="128" y="162"/>
                  </a:lnTo>
                  <a:lnTo>
                    <a:pt x="128" y="168"/>
                  </a:lnTo>
                  <a:lnTo>
                    <a:pt x="130" y="172"/>
                  </a:lnTo>
                  <a:lnTo>
                    <a:pt x="132" y="176"/>
                  </a:lnTo>
                  <a:lnTo>
                    <a:pt x="132" y="178"/>
                  </a:lnTo>
                  <a:lnTo>
                    <a:pt x="134" y="180"/>
                  </a:lnTo>
                  <a:lnTo>
                    <a:pt x="136" y="182"/>
                  </a:lnTo>
                  <a:lnTo>
                    <a:pt x="138" y="186"/>
                  </a:lnTo>
                  <a:lnTo>
                    <a:pt x="92" y="192"/>
                  </a:lnTo>
                  <a:lnTo>
                    <a:pt x="90" y="192"/>
                  </a:lnTo>
                  <a:lnTo>
                    <a:pt x="82" y="192"/>
                  </a:lnTo>
                  <a:lnTo>
                    <a:pt x="78" y="192"/>
                  </a:lnTo>
                  <a:lnTo>
                    <a:pt x="74" y="192"/>
                  </a:lnTo>
                  <a:lnTo>
                    <a:pt x="72" y="194"/>
                  </a:lnTo>
                  <a:lnTo>
                    <a:pt x="70" y="194"/>
                  </a:lnTo>
                  <a:lnTo>
                    <a:pt x="70" y="194"/>
                  </a:lnTo>
                  <a:lnTo>
                    <a:pt x="68" y="194"/>
                  </a:lnTo>
                  <a:lnTo>
                    <a:pt x="66" y="196"/>
                  </a:lnTo>
                  <a:lnTo>
                    <a:pt x="64" y="196"/>
                  </a:lnTo>
                  <a:lnTo>
                    <a:pt x="64" y="198"/>
                  </a:lnTo>
                  <a:lnTo>
                    <a:pt x="62" y="198"/>
                  </a:lnTo>
                  <a:lnTo>
                    <a:pt x="62" y="200"/>
                  </a:lnTo>
                  <a:lnTo>
                    <a:pt x="60" y="200"/>
                  </a:lnTo>
                  <a:lnTo>
                    <a:pt x="60" y="202"/>
                  </a:lnTo>
                  <a:lnTo>
                    <a:pt x="60" y="202"/>
                  </a:lnTo>
                  <a:lnTo>
                    <a:pt x="60" y="206"/>
                  </a:lnTo>
                  <a:lnTo>
                    <a:pt x="60" y="208"/>
                  </a:lnTo>
                  <a:lnTo>
                    <a:pt x="40" y="210"/>
                  </a:lnTo>
                  <a:lnTo>
                    <a:pt x="40" y="208"/>
                  </a:lnTo>
                  <a:lnTo>
                    <a:pt x="38" y="204"/>
                  </a:lnTo>
                  <a:lnTo>
                    <a:pt x="38" y="202"/>
                  </a:lnTo>
                  <a:lnTo>
                    <a:pt x="38" y="198"/>
                  </a:lnTo>
                  <a:lnTo>
                    <a:pt x="38" y="196"/>
                  </a:lnTo>
                  <a:lnTo>
                    <a:pt x="38" y="194"/>
                  </a:lnTo>
                  <a:lnTo>
                    <a:pt x="38" y="194"/>
                  </a:lnTo>
                  <a:lnTo>
                    <a:pt x="38" y="192"/>
                  </a:lnTo>
                  <a:lnTo>
                    <a:pt x="40" y="190"/>
                  </a:lnTo>
                  <a:lnTo>
                    <a:pt x="40" y="190"/>
                  </a:lnTo>
                  <a:lnTo>
                    <a:pt x="42" y="188"/>
                  </a:lnTo>
                  <a:lnTo>
                    <a:pt x="44" y="186"/>
                  </a:lnTo>
                  <a:lnTo>
                    <a:pt x="44" y="184"/>
                  </a:lnTo>
                  <a:lnTo>
                    <a:pt x="44" y="182"/>
                  </a:lnTo>
                  <a:lnTo>
                    <a:pt x="44" y="182"/>
                  </a:lnTo>
                  <a:lnTo>
                    <a:pt x="46" y="180"/>
                  </a:lnTo>
                  <a:lnTo>
                    <a:pt x="46" y="180"/>
                  </a:lnTo>
                  <a:lnTo>
                    <a:pt x="44" y="178"/>
                  </a:lnTo>
                  <a:lnTo>
                    <a:pt x="44" y="178"/>
                  </a:lnTo>
                  <a:lnTo>
                    <a:pt x="44" y="176"/>
                  </a:lnTo>
                  <a:lnTo>
                    <a:pt x="42" y="174"/>
                  </a:lnTo>
                  <a:lnTo>
                    <a:pt x="40" y="172"/>
                  </a:lnTo>
                  <a:lnTo>
                    <a:pt x="38" y="172"/>
                  </a:lnTo>
                  <a:lnTo>
                    <a:pt x="36" y="170"/>
                  </a:lnTo>
                  <a:lnTo>
                    <a:pt x="36" y="170"/>
                  </a:lnTo>
                  <a:lnTo>
                    <a:pt x="34" y="168"/>
                  </a:lnTo>
                  <a:lnTo>
                    <a:pt x="32" y="168"/>
                  </a:lnTo>
                  <a:lnTo>
                    <a:pt x="24" y="166"/>
                  </a:lnTo>
                  <a:lnTo>
                    <a:pt x="18" y="164"/>
                  </a:lnTo>
                  <a:lnTo>
                    <a:pt x="10" y="162"/>
                  </a:lnTo>
                  <a:lnTo>
                    <a:pt x="0" y="15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5" name="Freeform 383">
              <a:extLst>
                <a:ext uri="{FF2B5EF4-FFF2-40B4-BE49-F238E27FC236}">
                  <a16:creationId xmlns:a16="http://schemas.microsoft.com/office/drawing/2014/main" id="{40E139F0-339F-4D9E-B06C-861FDD39DE5B}"/>
                </a:ext>
              </a:extLst>
            </p:cNvPr>
            <p:cNvSpPr>
              <a:spLocks/>
            </p:cNvSpPr>
            <p:nvPr/>
          </p:nvSpPr>
          <p:spPr bwMode="auto">
            <a:xfrm>
              <a:off x="4438955" y="4251298"/>
              <a:ext cx="239026" cy="363736"/>
            </a:xfrm>
            <a:custGeom>
              <a:avLst/>
              <a:gdLst>
                <a:gd name="T0" fmla="*/ 12 w 138"/>
                <a:gd name="T1" fmla="*/ 150 h 210"/>
                <a:gd name="T2" fmla="*/ 28 w 138"/>
                <a:gd name="T3" fmla="*/ 136 h 210"/>
                <a:gd name="T4" fmla="*/ 36 w 138"/>
                <a:gd name="T5" fmla="*/ 126 h 210"/>
                <a:gd name="T6" fmla="*/ 48 w 138"/>
                <a:gd name="T7" fmla="*/ 114 h 210"/>
                <a:gd name="T8" fmla="*/ 60 w 138"/>
                <a:gd name="T9" fmla="*/ 106 h 210"/>
                <a:gd name="T10" fmla="*/ 66 w 138"/>
                <a:gd name="T11" fmla="*/ 100 h 210"/>
                <a:gd name="T12" fmla="*/ 72 w 138"/>
                <a:gd name="T13" fmla="*/ 86 h 210"/>
                <a:gd name="T14" fmla="*/ 76 w 138"/>
                <a:gd name="T15" fmla="*/ 68 h 210"/>
                <a:gd name="T16" fmla="*/ 80 w 138"/>
                <a:gd name="T17" fmla="*/ 56 h 210"/>
                <a:gd name="T18" fmla="*/ 84 w 138"/>
                <a:gd name="T19" fmla="*/ 50 h 210"/>
                <a:gd name="T20" fmla="*/ 92 w 138"/>
                <a:gd name="T21" fmla="*/ 46 h 210"/>
                <a:gd name="T22" fmla="*/ 94 w 138"/>
                <a:gd name="T23" fmla="*/ 40 h 210"/>
                <a:gd name="T24" fmla="*/ 94 w 138"/>
                <a:gd name="T25" fmla="*/ 26 h 210"/>
                <a:gd name="T26" fmla="*/ 92 w 138"/>
                <a:gd name="T27" fmla="*/ 0 h 210"/>
                <a:gd name="T28" fmla="*/ 98 w 138"/>
                <a:gd name="T29" fmla="*/ 0 h 210"/>
                <a:gd name="T30" fmla="*/ 98 w 138"/>
                <a:gd name="T31" fmla="*/ 2 h 210"/>
                <a:gd name="T32" fmla="*/ 100 w 138"/>
                <a:gd name="T33" fmla="*/ 8 h 210"/>
                <a:gd name="T34" fmla="*/ 104 w 138"/>
                <a:gd name="T35" fmla="*/ 18 h 210"/>
                <a:gd name="T36" fmla="*/ 112 w 138"/>
                <a:gd name="T37" fmla="*/ 32 h 210"/>
                <a:gd name="T38" fmla="*/ 112 w 138"/>
                <a:gd name="T39" fmla="*/ 38 h 210"/>
                <a:gd name="T40" fmla="*/ 110 w 138"/>
                <a:gd name="T41" fmla="*/ 40 h 210"/>
                <a:gd name="T42" fmla="*/ 106 w 138"/>
                <a:gd name="T43" fmla="*/ 42 h 210"/>
                <a:gd name="T44" fmla="*/ 106 w 138"/>
                <a:gd name="T45" fmla="*/ 44 h 210"/>
                <a:gd name="T46" fmla="*/ 108 w 138"/>
                <a:gd name="T47" fmla="*/ 46 h 210"/>
                <a:gd name="T48" fmla="*/ 110 w 138"/>
                <a:gd name="T49" fmla="*/ 52 h 210"/>
                <a:gd name="T50" fmla="*/ 112 w 138"/>
                <a:gd name="T51" fmla="*/ 56 h 210"/>
                <a:gd name="T52" fmla="*/ 116 w 138"/>
                <a:gd name="T53" fmla="*/ 62 h 210"/>
                <a:gd name="T54" fmla="*/ 116 w 138"/>
                <a:gd name="T55" fmla="*/ 68 h 210"/>
                <a:gd name="T56" fmla="*/ 114 w 138"/>
                <a:gd name="T57" fmla="*/ 70 h 210"/>
                <a:gd name="T58" fmla="*/ 108 w 138"/>
                <a:gd name="T59" fmla="*/ 74 h 210"/>
                <a:gd name="T60" fmla="*/ 108 w 138"/>
                <a:gd name="T61" fmla="*/ 78 h 210"/>
                <a:gd name="T62" fmla="*/ 112 w 138"/>
                <a:gd name="T63" fmla="*/ 86 h 210"/>
                <a:gd name="T64" fmla="*/ 120 w 138"/>
                <a:gd name="T65" fmla="*/ 94 h 210"/>
                <a:gd name="T66" fmla="*/ 126 w 138"/>
                <a:gd name="T67" fmla="*/ 104 h 210"/>
                <a:gd name="T68" fmla="*/ 122 w 138"/>
                <a:gd name="T69" fmla="*/ 120 h 210"/>
                <a:gd name="T70" fmla="*/ 116 w 138"/>
                <a:gd name="T71" fmla="*/ 130 h 210"/>
                <a:gd name="T72" fmla="*/ 114 w 138"/>
                <a:gd name="T73" fmla="*/ 138 h 210"/>
                <a:gd name="T74" fmla="*/ 116 w 138"/>
                <a:gd name="T75" fmla="*/ 144 h 210"/>
                <a:gd name="T76" fmla="*/ 124 w 138"/>
                <a:gd name="T77" fmla="*/ 154 h 210"/>
                <a:gd name="T78" fmla="*/ 128 w 138"/>
                <a:gd name="T79" fmla="*/ 168 h 210"/>
                <a:gd name="T80" fmla="*/ 134 w 138"/>
                <a:gd name="T81" fmla="*/ 180 h 210"/>
                <a:gd name="T82" fmla="*/ 90 w 138"/>
                <a:gd name="T83" fmla="*/ 192 h 210"/>
                <a:gd name="T84" fmla="*/ 72 w 138"/>
                <a:gd name="T85" fmla="*/ 194 h 210"/>
                <a:gd name="T86" fmla="*/ 66 w 138"/>
                <a:gd name="T87" fmla="*/ 196 h 210"/>
                <a:gd name="T88" fmla="*/ 62 w 138"/>
                <a:gd name="T89" fmla="*/ 200 h 210"/>
                <a:gd name="T90" fmla="*/ 60 w 138"/>
                <a:gd name="T91" fmla="*/ 206 h 210"/>
                <a:gd name="T92" fmla="*/ 38 w 138"/>
                <a:gd name="T93" fmla="*/ 204 h 210"/>
                <a:gd name="T94" fmla="*/ 38 w 138"/>
                <a:gd name="T95" fmla="*/ 194 h 210"/>
                <a:gd name="T96" fmla="*/ 40 w 138"/>
                <a:gd name="T97" fmla="*/ 190 h 210"/>
                <a:gd name="T98" fmla="*/ 44 w 138"/>
                <a:gd name="T99" fmla="*/ 182 h 210"/>
                <a:gd name="T100" fmla="*/ 44 w 138"/>
                <a:gd name="T101" fmla="*/ 178 h 210"/>
                <a:gd name="T102" fmla="*/ 40 w 138"/>
                <a:gd name="T103" fmla="*/ 172 h 210"/>
                <a:gd name="T104" fmla="*/ 34 w 138"/>
                <a:gd name="T105" fmla="*/ 168 h 210"/>
                <a:gd name="T106" fmla="*/ 10 w 138"/>
                <a:gd name="T107" fmla="*/ 16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8" h="210">
                  <a:moveTo>
                    <a:pt x="0" y="158"/>
                  </a:moveTo>
                  <a:lnTo>
                    <a:pt x="0" y="158"/>
                  </a:lnTo>
                  <a:lnTo>
                    <a:pt x="4" y="156"/>
                  </a:lnTo>
                  <a:lnTo>
                    <a:pt x="12" y="150"/>
                  </a:lnTo>
                  <a:lnTo>
                    <a:pt x="20" y="142"/>
                  </a:lnTo>
                  <a:lnTo>
                    <a:pt x="24" y="140"/>
                  </a:lnTo>
                  <a:lnTo>
                    <a:pt x="26" y="136"/>
                  </a:lnTo>
                  <a:lnTo>
                    <a:pt x="28" y="136"/>
                  </a:lnTo>
                  <a:lnTo>
                    <a:pt x="30" y="134"/>
                  </a:lnTo>
                  <a:lnTo>
                    <a:pt x="32" y="130"/>
                  </a:lnTo>
                  <a:lnTo>
                    <a:pt x="34" y="128"/>
                  </a:lnTo>
                  <a:lnTo>
                    <a:pt x="36" y="126"/>
                  </a:lnTo>
                  <a:lnTo>
                    <a:pt x="38" y="122"/>
                  </a:lnTo>
                  <a:lnTo>
                    <a:pt x="42" y="120"/>
                  </a:lnTo>
                  <a:lnTo>
                    <a:pt x="44" y="116"/>
                  </a:lnTo>
                  <a:lnTo>
                    <a:pt x="48" y="114"/>
                  </a:lnTo>
                  <a:lnTo>
                    <a:pt x="48" y="112"/>
                  </a:lnTo>
                  <a:lnTo>
                    <a:pt x="50" y="112"/>
                  </a:lnTo>
                  <a:lnTo>
                    <a:pt x="56" y="108"/>
                  </a:lnTo>
                  <a:lnTo>
                    <a:pt x="60" y="106"/>
                  </a:lnTo>
                  <a:lnTo>
                    <a:pt x="62" y="104"/>
                  </a:lnTo>
                  <a:lnTo>
                    <a:pt x="64" y="102"/>
                  </a:lnTo>
                  <a:lnTo>
                    <a:pt x="64" y="102"/>
                  </a:lnTo>
                  <a:lnTo>
                    <a:pt x="66" y="100"/>
                  </a:lnTo>
                  <a:lnTo>
                    <a:pt x="68" y="98"/>
                  </a:lnTo>
                  <a:lnTo>
                    <a:pt x="68" y="94"/>
                  </a:lnTo>
                  <a:lnTo>
                    <a:pt x="70" y="90"/>
                  </a:lnTo>
                  <a:lnTo>
                    <a:pt x="72" y="86"/>
                  </a:lnTo>
                  <a:lnTo>
                    <a:pt x="74" y="84"/>
                  </a:lnTo>
                  <a:lnTo>
                    <a:pt x="74" y="80"/>
                  </a:lnTo>
                  <a:lnTo>
                    <a:pt x="76" y="72"/>
                  </a:lnTo>
                  <a:lnTo>
                    <a:pt x="76" y="68"/>
                  </a:lnTo>
                  <a:lnTo>
                    <a:pt x="78" y="64"/>
                  </a:lnTo>
                  <a:lnTo>
                    <a:pt x="78" y="60"/>
                  </a:lnTo>
                  <a:lnTo>
                    <a:pt x="80" y="58"/>
                  </a:lnTo>
                  <a:lnTo>
                    <a:pt x="80" y="56"/>
                  </a:lnTo>
                  <a:lnTo>
                    <a:pt x="82" y="54"/>
                  </a:lnTo>
                  <a:lnTo>
                    <a:pt x="82" y="52"/>
                  </a:lnTo>
                  <a:lnTo>
                    <a:pt x="84" y="52"/>
                  </a:lnTo>
                  <a:lnTo>
                    <a:pt x="84" y="50"/>
                  </a:lnTo>
                  <a:lnTo>
                    <a:pt x="86" y="50"/>
                  </a:lnTo>
                  <a:lnTo>
                    <a:pt x="88" y="48"/>
                  </a:lnTo>
                  <a:lnTo>
                    <a:pt x="90" y="46"/>
                  </a:lnTo>
                  <a:lnTo>
                    <a:pt x="92" y="46"/>
                  </a:lnTo>
                  <a:lnTo>
                    <a:pt x="92" y="44"/>
                  </a:lnTo>
                  <a:lnTo>
                    <a:pt x="92" y="44"/>
                  </a:lnTo>
                  <a:lnTo>
                    <a:pt x="94" y="42"/>
                  </a:lnTo>
                  <a:lnTo>
                    <a:pt x="94" y="40"/>
                  </a:lnTo>
                  <a:lnTo>
                    <a:pt x="94" y="38"/>
                  </a:lnTo>
                  <a:lnTo>
                    <a:pt x="94" y="36"/>
                  </a:lnTo>
                  <a:lnTo>
                    <a:pt x="94" y="30"/>
                  </a:lnTo>
                  <a:lnTo>
                    <a:pt x="94" y="26"/>
                  </a:lnTo>
                  <a:lnTo>
                    <a:pt x="94" y="22"/>
                  </a:lnTo>
                  <a:lnTo>
                    <a:pt x="94" y="20"/>
                  </a:lnTo>
                  <a:lnTo>
                    <a:pt x="94" y="10"/>
                  </a:lnTo>
                  <a:lnTo>
                    <a:pt x="92" y="0"/>
                  </a:lnTo>
                  <a:lnTo>
                    <a:pt x="92" y="0"/>
                  </a:lnTo>
                  <a:lnTo>
                    <a:pt x="94" y="0"/>
                  </a:lnTo>
                  <a:lnTo>
                    <a:pt x="96" y="0"/>
                  </a:lnTo>
                  <a:lnTo>
                    <a:pt x="98" y="0"/>
                  </a:lnTo>
                  <a:lnTo>
                    <a:pt x="98" y="0"/>
                  </a:lnTo>
                  <a:lnTo>
                    <a:pt x="98" y="0"/>
                  </a:lnTo>
                  <a:lnTo>
                    <a:pt x="98" y="0"/>
                  </a:lnTo>
                  <a:lnTo>
                    <a:pt x="98" y="2"/>
                  </a:lnTo>
                  <a:lnTo>
                    <a:pt x="100" y="4"/>
                  </a:lnTo>
                  <a:lnTo>
                    <a:pt x="100" y="4"/>
                  </a:lnTo>
                  <a:lnTo>
                    <a:pt x="100" y="8"/>
                  </a:lnTo>
                  <a:lnTo>
                    <a:pt x="100" y="8"/>
                  </a:lnTo>
                  <a:lnTo>
                    <a:pt x="100" y="10"/>
                  </a:lnTo>
                  <a:lnTo>
                    <a:pt x="102" y="12"/>
                  </a:lnTo>
                  <a:lnTo>
                    <a:pt x="102" y="14"/>
                  </a:lnTo>
                  <a:lnTo>
                    <a:pt x="104" y="18"/>
                  </a:lnTo>
                  <a:lnTo>
                    <a:pt x="108" y="24"/>
                  </a:lnTo>
                  <a:lnTo>
                    <a:pt x="110" y="28"/>
                  </a:lnTo>
                  <a:lnTo>
                    <a:pt x="112" y="30"/>
                  </a:lnTo>
                  <a:lnTo>
                    <a:pt x="112" y="32"/>
                  </a:lnTo>
                  <a:lnTo>
                    <a:pt x="112" y="34"/>
                  </a:lnTo>
                  <a:lnTo>
                    <a:pt x="112" y="36"/>
                  </a:lnTo>
                  <a:lnTo>
                    <a:pt x="112" y="36"/>
                  </a:lnTo>
                  <a:lnTo>
                    <a:pt x="112" y="38"/>
                  </a:lnTo>
                  <a:lnTo>
                    <a:pt x="112" y="38"/>
                  </a:lnTo>
                  <a:lnTo>
                    <a:pt x="112" y="40"/>
                  </a:lnTo>
                  <a:lnTo>
                    <a:pt x="112" y="40"/>
                  </a:lnTo>
                  <a:lnTo>
                    <a:pt x="110" y="40"/>
                  </a:lnTo>
                  <a:lnTo>
                    <a:pt x="108" y="42"/>
                  </a:lnTo>
                  <a:lnTo>
                    <a:pt x="108" y="42"/>
                  </a:lnTo>
                  <a:lnTo>
                    <a:pt x="106" y="42"/>
                  </a:lnTo>
                  <a:lnTo>
                    <a:pt x="106" y="42"/>
                  </a:lnTo>
                  <a:lnTo>
                    <a:pt x="106" y="42"/>
                  </a:lnTo>
                  <a:lnTo>
                    <a:pt x="106" y="42"/>
                  </a:lnTo>
                  <a:lnTo>
                    <a:pt x="106" y="44"/>
                  </a:lnTo>
                  <a:lnTo>
                    <a:pt x="106" y="44"/>
                  </a:lnTo>
                  <a:lnTo>
                    <a:pt x="106" y="44"/>
                  </a:lnTo>
                  <a:lnTo>
                    <a:pt x="108" y="44"/>
                  </a:lnTo>
                  <a:lnTo>
                    <a:pt x="108" y="46"/>
                  </a:lnTo>
                  <a:lnTo>
                    <a:pt x="108" y="46"/>
                  </a:lnTo>
                  <a:lnTo>
                    <a:pt x="110" y="46"/>
                  </a:lnTo>
                  <a:lnTo>
                    <a:pt x="110" y="48"/>
                  </a:lnTo>
                  <a:lnTo>
                    <a:pt x="110" y="50"/>
                  </a:lnTo>
                  <a:lnTo>
                    <a:pt x="110" y="52"/>
                  </a:lnTo>
                  <a:lnTo>
                    <a:pt x="112" y="54"/>
                  </a:lnTo>
                  <a:lnTo>
                    <a:pt x="112" y="54"/>
                  </a:lnTo>
                  <a:lnTo>
                    <a:pt x="112" y="56"/>
                  </a:lnTo>
                  <a:lnTo>
                    <a:pt x="112" y="56"/>
                  </a:lnTo>
                  <a:lnTo>
                    <a:pt x="114" y="58"/>
                  </a:lnTo>
                  <a:lnTo>
                    <a:pt x="116" y="60"/>
                  </a:lnTo>
                  <a:lnTo>
                    <a:pt x="116" y="60"/>
                  </a:lnTo>
                  <a:lnTo>
                    <a:pt x="116" y="62"/>
                  </a:lnTo>
                  <a:lnTo>
                    <a:pt x="116" y="62"/>
                  </a:lnTo>
                  <a:lnTo>
                    <a:pt x="116" y="64"/>
                  </a:lnTo>
                  <a:lnTo>
                    <a:pt x="116" y="66"/>
                  </a:lnTo>
                  <a:lnTo>
                    <a:pt x="116" y="68"/>
                  </a:lnTo>
                  <a:lnTo>
                    <a:pt x="116" y="68"/>
                  </a:lnTo>
                  <a:lnTo>
                    <a:pt x="116" y="70"/>
                  </a:lnTo>
                  <a:lnTo>
                    <a:pt x="114" y="70"/>
                  </a:lnTo>
                  <a:lnTo>
                    <a:pt x="114" y="70"/>
                  </a:lnTo>
                  <a:lnTo>
                    <a:pt x="112" y="72"/>
                  </a:lnTo>
                  <a:lnTo>
                    <a:pt x="110" y="72"/>
                  </a:lnTo>
                  <a:lnTo>
                    <a:pt x="110" y="74"/>
                  </a:lnTo>
                  <a:lnTo>
                    <a:pt x="108" y="74"/>
                  </a:lnTo>
                  <a:lnTo>
                    <a:pt x="108" y="74"/>
                  </a:lnTo>
                  <a:lnTo>
                    <a:pt x="108" y="76"/>
                  </a:lnTo>
                  <a:lnTo>
                    <a:pt x="108" y="76"/>
                  </a:lnTo>
                  <a:lnTo>
                    <a:pt x="108" y="78"/>
                  </a:lnTo>
                  <a:lnTo>
                    <a:pt x="110" y="80"/>
                  </a:lnTo>
                  <a:lnTo>
                    <a:pt x="110" y="82"/>
                  </a:lnTo>
                  <a:lnTo>
                    <a:pt x="110" y="84"/>
                  </a:lnTo>
                  <a:lnTo>
                    <a:pt x="112" y="86"/>
                  </a:lnTo>
                  <a:lnTo>
                    <a:pt x="114" y="86"/>
                  </a:lnTo>
                  <a:lnTo>
                    <a:pt x="114" y="88"/>
                  </a:lnTo>
                  <a:lnTo>
                    <a:pt x="118" y="92"/>
                  </a:lnTo>
                  <a:lnTo>
                    <a:pt x="120" y="94"/>
                  </a:lnTo>
                  <a:lnTo>
                    <a:pt x="120" y="96"/>
                  </a:lnTo>
                  <a:lnTo>
                    <a:pt x="122" y="98"/>
                  </a:lnTo>
                  <a:lnTo>
                    <a:pt x="122" y="100"/>
                  </a:lnTo>
                  <a:lnTo>
                    <a:pt x="126" y="104"/>
                  </a:lnTo>
                  <a:lnTo>
                    <a:pt x="128" y="112"/>
                  </a:lnTo>
                  <a:lnTo>
                    <a:pt x="126" y="116"/>
                  </a:lnTo>
                  <a:lnTo>
                    <a:pt x="122" y="118"/>
                  </a:lnTo>
                  <a:lnTo>
                    <a:pt x="122" y="120"/>
                  </a:lnTo>
                  <a:lnTo>
                    <a:pt x="122" y="120"/>
                  </a:lnTo>
                  <a:lnTo>
                    <a:pt x="120" y="124"/>
                  </a:lnTo>
                  <a:lnTo>
                    <a:pt x="118" y="128"/>
                  </a:lnTo>
                  <a:lnTo>
                    <a:pt x="116" y="130"/>
                  </a:lnTo>
                  <a:lnTo>
                    <a:pt x="116" y="132"/>
                  </a:lnTo>
                  <a:lnTo>
                    <a:pt x="116" y="136"/>
                  </a:lnTo>
                  <a:lnTo>
                    <a:pt x="114" y="138"/>
                  </a:lnTo>
                  <a:lnTo>
                    <a:pt x="114" y="138"/>
                  </a:lnTo>
                  <a:lnTo>
                    <a:pt x="114" y="140"/>
                  </a:lnTo>
                  <a:lnTo>
                    <a:pt x="116" y="140"/>
                  </a:lnTo>
                  <a:lnTo>
                    <a:pt x="116" y="142"/>
                  </a:lnTo>
                  <a:lnTo>
                    <a:pt x="116" y="144"/>
                  </a:lnTo>
                  <a:lnTo>
                    <a:pt x="118" y="146"/>
                  </a:lnTo>
                  <a:lnTo>
                    <a:pt x="120" y="148"/>
                  </a:lnTo>
                  <a:lnTo>
                    <a:pt x="124" y="152"/>
                  </a:lnTo>
                  <a:lnTo>
                    <a:pt x="124" y="154"/>
                  </a:lnTo>
                  <a:lnTo>
                    <a:pt x="126" y="156"/>
                  </a:lnTo>
                  <a:lnTo>
                    <a:pt x="126" y="158"/>
                  </a:lnTo>
                  <a:lnTo>
                    <a:pt x="128" y="162"/>
                  </a:lnTo>
                  <a:lnTo>
                    <a:pt x="128" y="168"/>
                  </a:lnTo>
                  <a:lnTo>
                    <a:pt x="130" y="172"/>
                  </a:lnTo>
                  <a:lnTo>
                    <a:pt x="132" y="176"/>
                  </a:lnTo>
                  <a:lnTo>
                    <a:pt x="132" y="178"/>
                  </a:lnTo>
                  <a:lnTo>
                    <a:pt x="134" y="180"/>
                  </a:lnTo>
                  <a:lnTo>
                    <a:pt x="136" y="182"/>
                  </a:lnTo>
                  <a:lnTo>
                    <a:pt x="138" y="186"/>
                  </a:lnTo>
                  <a:lnTo>
                    <a:pt x="92" y="192"/>
                  </a:lnTo>
                  <a:lnTo>
                    <a:pt x="90" y="192"/>
                  </a:lnTo>
                  <a:lnTo>
                    <a:pt x="82" y="192"/>
                  </a:lnTo>
                  <a:lnTo>
                    <a:pt x="78" y="192"/>
                  </a:lnTo>
                  <a:lnTo>
                    <a:pt x="74" y="192"/>
                  </a:lnTo>
                  <a:lnTo>
                    <a:pt x="72" y="194"/>
                  </a:lnTo>
                  <a:lnTo>
                    <a:pt x="70" y="194"/>
                  </a:lnTo>
                  <a:lnTo>
                    <a:pt x="70" y="194"/>
                  </a:lnTo>
                  <a:lnTo>
                    <a:pt x="68" y="194"/>
                  </a:lnTo>
                  <a:lnTo>
                    <a:pt x="66" y="196"/>
                  </a:lnTo>
                  <a:lnTo>
                    <a:pt x="64" y="196"/>
                  </a:lnTo>
                  <a:lnTo>
                    <a:pt x="64" y="198"/>
                  </a:lnTo>
                  <a:lnTo>
                    <a:pt x="62" y="198"/>
                  </a:lnTo>
                  <a:lnTo>
                    <a:pt x="62" y="200"/>
                  </a:lnTo>
                  <a:lnTo>
                    <a:pt x="60" y="200"/>
                  </a:lnTo>
                  <a:lnTo>
                    <a:pt x="60" y="202"/>
                  </a:lnTo>
                  <a:lnTo>
                    <a:pt x="60" y="202"/>
                  </a:lnTo>
                  <a:lnTo>
                    <a:pt x="60" y="206"/>
                  </a:lnTo>
                  <a:lnTo>
                    <a:pt x="60" y="208"/>
                  </a:lnTo>
                  <a:lnTo>
                    <a:pt x="40" y="210"/>
                  </a:lnTo>
                  <a:lnTo>
                    <a:pt x="40" y="208"/>
                  </a:lnTo>
                  <a:lnTo>
                    <a:pt x="38" y="204"/>
                  </a:lnTo>
                  <a:lnTo>
                    <a:pt x="38" y="202"/>
                  </a:lnTo>
                  <a:lnTo>
                    <a:pt x="38" y="198"/>
                  </a:lnTo>
                  <a:lnTo>
                    <a:pt x="38" y="196"/>
                  </a:lnTo>
                  <a:lnTo>
                    <a:pt x="38" y="194"/>
                  </a:lnTo>
                  <a:lnTo>
                    <a:pt x="38" y="194"/>
                  </a:lnTo>
                  <a:lnTo>
                    <a:pt x="38" y="192"/>
                  </a:lnTo>
                  <a:lnTo>
                    <a:pt x="40" y="190"/>
                  </a:lnTo>
                  <a:lnTo>
                    <a:pt x="40" y="190"/>
                  </a:lnTo>
                  <a:lnTo>
                    <a:pt x="42" y="188"/>
                  </a:lnTo>
                  <a:lnTo>
                    <a:pt x="44" y="186"/>
                  </a:lnTo>
                  <a:lnTo>
                    <a:pt x="44" y="184"/>
                  </a:lnTo>
                  <a:lnTo>
                    <a:pt x="44" y="182"/>
                  </a:lnTo>
                  <a:lnTo>
                    <a:pt x="44" y="182"/>
                  </a:lnTo>
                  <a:lnTo>
                    <a:pt x="46" y="180"/>
                  </a:lnTo>
                  <a:lnTo>
                    <a:pt x="46" y="180"/>
                  </a:lnTo>
                  <a:lnTo>
                    <a:pt x="44" y="178"/>
                  </a:lnTo>
                  <a:lnTo>
                    <a:pt x="44" y="178"/>
                  </a:lnTo>
                  <a:lnTo>
                    <a:pt x="44" y="176"/>
                  </a:lnTo>
                  <a:lnTo>
                    <a:pt x="42" y="174"/>
                  </a:lnTo>
                  <a:lnTo>
                    <a:pt x="40" y="172"/>
                  </a:lnTo>
                  <a:lnTo>
                    <a:pt x="38" y="172"/>
                  </a:lnTo>
                  <a:lnTo>
                    <a:pt x="36" y="170"/>
                  </a:lnTo>
                  <a:lnTo>
                    <a:pt x="36" y="170"/>
                  </a:lnTo>
                  <a:lnTo>
                    <a:pt x="34" y="168"/>
                  </a:lnTo>
                  <a:lnTo>
                    <a:pt x="32" y="168"/>
                  </a:lnTo>
                  <a:lnTo>
                    <a:pt x="24" y="166"/>
                  </a:lnTo>
                  <a:lnTo>
                    <a:pt x="18" y="164"/>
                  </a:lnTo>
                  <a:lnTo>
                    <a:pt x="10" y="162"/>
                  </a:lnTo>
                  <a:lnTo>
                    <a:pt x="0" y="15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6" name="Freeform 384">
              <a:extLst>
                <a:ext uri="{FF2B5EF4-FFF2-40B4-BE49-F238E27FC236}">
                  <a16:creationId xmlns:a16="http://schemas.microsoft.com/office/drawing/2014/main" id="{1A1431BF-0117-49DE-81C1-56991169A8A3}"/>
                </a:ext>
              </a:extLst>
            </p:cNvPr>
            <p:cNvSpPr>
              <a:spLocks/>
            </p:cNvSpPr>
            <p:nvPr/>
          </p:nvSpPr>
          <p:spPr bwMode="auto">
            <a:xfrm>
              <a:off x="4754193" y="5158905"/>
              <a:ext cx="245955" cy="273668"/>
            </a:xfrm>
            <a:custGeom>
              <a:avLst/>
              <a:gdLst>
                <a:gd name="T0" fmla="*/ 60 w 142"/>
                <a:gd name="T1" fmla="*/ 2 h 158"/>
                <a:gd name="T2" fmla="*/ 92 w 142"/>
                <a:gd name="T3" fmla="*/ 14 h 158"/>
                <a:gd name="T4" fmla="*/ 96 w 142"/>
                <a:gd name="T5" fmla="*/ 28 h 158"/>
                <a:gd name="T6" fmla="*/ 96 w 142"/>
                <a:gd name="T7" fmla="*/ 36 h 158"/>
                <a:gd name="T8" fmla="*/ 100 w 142"/>
                <a:gd name="T9" fmla="*/ 40 h 158"/>
                <a:gd name="T10" fmla="*/ 104 w 142"/>
                <a:gd name="T11" fmla="*/ 42 h 158"/>
                <a:gd name="T12" fmla="*/ 106 w 142"/>
                <a:gd name="T13" fmla="*/ 48 h 158"/>
                <a:gd name="T14" fmla="*/ 106 w 142"/>
                <a:gd name="T15" fmla="*/ 54 h 158"/>
                <a:gd name="T16" fmla="*/ 110 w 142"/>
                <a:gd name="T17" fmla="*/ 54 h 158"/>
                <a:gd name="T18" fmla="*/ 114 w 142"/>
                <a:gd name="T19" fmla="*/ 54 h 158"/>
                <a:gd name="T20" fmla="*/ 116 w 142"/>
                <a:gd name="T21" fmla="*/ 54 h 158"/>
                <a:gd name="T22" fmla="*/ 118 w 142"/>
                <a:gd name="T23" fmla="*/ 60 h 158"/>
                <a:gd name="T24" fmla="*/ 120 w 142"/>
                <a:gd name="T25" fmla="*/ 68 h 158"/>
                <a:gd name="T26" fmla="*/ 122 w 142"/>
                <a:gd name="T27" fmla="*/ 70 h 158"/>
                <a:gd name="T28" fmla="*/ 128 w 142"/>
                <a:gd name="T29" fmla="*/ 72 h 158"/>
                <a:gd name="T30" fmla="*/ 142 w 142"/>
                <a:gd name="T31" fmla="*/ 78 h 158"/>
                <a:gd name="T32" fmla="*/ 138 w 142"/>
                <a:gd name="T33" fmla="*/ 86 h 158"/>
                <a:gd name="T34" fmla="*/ 130 w 142"/>
                <a:gd name="T35" fmla="*/ 92 h 158"/>
                <a:gd name="T36" fmla="*/ 122 w 142"/>
                <a:gd name="T37" fmla="*/ 100 h 158"/>
                <a:gd name="T38" fmla="*/ 118 w 142"/>
                <a:gd name="T39" fmla="*/ 104 h 158"/>
                <a:gd name="T40" fmla="*/ 110 w 142"/>
                <a:gd name="T41" fmla="*/ 106 h 158"/>
                <a:gd name="T42" fmla="*/ 108 w 142"/>
                <a:gd name="T43" fmla="*/ 110 h 158"/>
                <a:gd name="T44" fmla="*/ 106 w 142"/>
                <a:gd name="T45" fmla="*/ 120 h 158"/>
                <a:gd name="T46" fmla="*/ 106 w 142"/>
                <a:gd name="T47" fmla="*/ 122 h 158"/>
                <a:gd name="T48" fmla="*/ 100 w 142"/>
                <a:gd name="T49" fmla="*/ 124 h 158"/>
                <a:gd name="T50" fmla="*/ 96 w 142"/>
                <a:gd name="T51" fmla="*/ 124 h 158"/>
                <a:gd name="T52" fmla="*/ 92 w 142"/>
                <a:gd name="T53" fmla="*/ 132 h 158"/>
                <a:gd name="T54" fmla="*/ 86 w 142"/>
                <a:gd name="T55" fmla="*/ 138 h 158"/>
                <a:gd name="T56" fmla="*/ 82 w 142"/>
                <a:gd name="T57" fmla="*/ 142 h 158"/>
                <a:gd name="T58" fmla="*/ 74 w 142"/>
                <a:gd name="T59" fmla="*/ 144 h 158"/>
                <a:gd name="T60" fmla="*/ 68 w 142"/>
                <a:gd name="T61" fmla="*/ 142 h 158"/>
                <a:gd name="T62" fmla="*/ 60 w 142"/>
                <a:gd name="T63" fmla="*/ 138 h 158"/>
                <a:gd name="T64" fmla="*/ 54 w 142"/>
                <a:gd name="T65" fmla="*/ 136 h 158"/>
                <a:gd name="T66" fmla="*/ 50 w 142"/>
                <a:gd name="T67" fmla="*/ 138 h 158"/>
                <a:gd name="T68" fmla="*/ 46 w 142"/>
                <a:gd name="T69" fmla="*/ 142 h 158"/>
                <a:gd name="T70" fmla="*/ 42 w 142"/>
                <a:gd name="T71" fmla="*/ 150 h 158"/>
                <a:gd name="T72" fmla="*/ 40 w 142"/>
                <a:gd name="T73" fmla="*/ 154 h 158"/>
                <a:gd name="T74" fmla="*/ 34 w 142"/>
                <a:gd name="T75" fmla="*/ 158 h 158"/>
                <a:gd name="T76" fmla="*/ 26 w 142"/>
                <a:gd name="T77" fmla="*/ 158 h 158"/>
                <a:gd name="T78" fmla="*/ 14 w 142"/>
                <a:gd name="T79" fmla="*/ 156 h 158"/>
                <a:gd name="T80" fmla="*/ 12 w 142"/>
                <a:gd name="T81" fmla="*/ 152 h 158"/>
                <a:gd name="T82" fmla="*/ 10 w 142"/>
                <a:gd name="T83" fmla="*/ 142 h 158"/>
                <a:gd name="T84" fmla="*/ 8 w 142"/>
                <a:gd name="T85" fmla="*/ 138 h 158"/>
                <a:gd name="T86" fmla="*/ 2 w 142"/>
                <a:gd name="T87" fmla="*/ 118 h 158"/>
                <a:gd name="T88" fmla="*/ 0 w 142"/>
                <a:gd name="T89" fmla="*/ 98 h 158"/>
                <a:gd name="T90" fmla="*/ 2 w 142"/>
                <a:gd name="T91" fmla="*/ 84 h 158"/>
                <a:gd name="T92" fmla="*/ 4 w 142"/>
                <a:gd name="T93" fmla="*/ 80 h 158"/>
                <a:gd name="T94" fmla="*/ 8 w 142"/>
                <a:gd name="T95" fmla="*/ 78 h 158"/>
                <a:gd name="T96" fmla="*/ 14 w 142"/>
                <a:gd name="T97" fmla="*/ 74 h 158"/>
                <a:gd name="T98" fmla="*/ 18 w 142"/>
                <a:gd name="T99" fmla="*/ 72 h 158"/>
                <a:gd name="T100" fmla="*/ 20 w 142"/>
                <a:gd name="T101" fmla="*/ 64 h 158"/>
                <a:gd name="T102" fmla="*/ 20 w 142"/>
                <a:gd name="T103" fmla="*/ 46 h 158"/>
                <a:gd name="T104" fmla="*/ 18 w 142"/>
                <a:gd name="T105" fmla="*/ 26 h 158"/>
                <a:gd name="T106" fmla="*/ 20 w 142"/>
                <a:gd name="T107" fmla="*/ 16 h 158"/>
                <a:gd name="T108" fmla="*/ 42 w 142"/>
                <a:gd name="T109"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2" h="158">
                  <a:moveTo>
                    <a:pt x="50" y="2"/>
                  </a:moveTo>
                  <a:lnTo>
                    <a:pt x="50" y="2"/>
                  </a:lnTo>
                  <a:lnTo>
                    <a:pt x="54" y="2"/>
                  </a:lnTo>
                  <a:lnTo>
                    <a:pt x="60" y="2"/>
                  </a:lnTo>
                  <a:lnTo>
                    <a:pt x="74" y="4"/>
                  </a:lnTo>
                  <a:lnTo>
                    <a:pt x="84" y="4"/>
                  </a:lnTo>
                  <a:lnTo>
                    <a:pt x="90" y="4"/>
                  </a:lnTo>
                  <a:lnTo>
                    <a:pt x="92" y="14"/>
                  </a:lnTo>
                  <a:lnTo>
                    <a:pt x="94" y="20"/>
                  </a:lnTo>
                  <a:lnTo>
                    <a:pt x="94" y="26"/>
                  </a:lnTo>
                  <a:lnTo>
                    <a:pt x="94" y="28"/>
                  </a:lnTo>
                  <a:lnTo>
                    <a:pt x="96" y="28"/>
                  </a:lnTo>
                  <a:lnTo>
                    <a:pt x="96" y="32"/>
                  </a:lnTo>
                  <a:lnTo>
                    <a:pt x="96" y="34"/>
                  </a:lnTo>
                  <a:lnTo>
                    <a:pt x="96" y="36"/>
                  </a:lnTo>
                  <a:lnTo>
                    <a:pt x="96" y="36"/>
                  </a:lnTo>
                  <a:lnTo>
                    <a:pt x="96" y="38"/>
                  </a:lnTo>
                  <a:lnTo>
                    <a:pt x="96" y="38"/>
                  </a:lnTo>
                  <a:lnTo>
                    <a:pt x="98" y="40"/>
                  </a:lnTo>
                  <a:lnTo>
                    <a:pt x="100" y="40"/>
                  </a:lnTo>
                  <a:lnTo>
                    <a:pt x="102" y="40"/>
                  </a:lnTo>
                  <a:lnTo>
                    <a:pt x="104" y="40"/>
                  </a:lnTo>
                  <a:lnTo>
                    <a:pt x="104" y="42"/>
                  </a:lnTo>
                  <a:lnTo>
                    <a:pt x="104" y="42"/>
                  </a:lnTo>
                  <a:lnTo>
                    <a:pt x="104" y="42"/>
                  </a:lnTo>
                  <a:lnTo>
                    <a:pt x="106" y="44"/>
                  </a:lnTo>
                  <a:lnTo>
                    <a:pt x="106" y="46"/>
                  </a:lnTo>
                  <a:lnTo>
                    <a:pt x="106" y="48"/>
                  </a:lnTo>
                  <a:lnTo>
                    <a:pt x="106" y="50"/>
                  </a:lnTo>
                  <a:lnTo>
                    <a:pt x="106" y="52"/>
                  </a:lnTo>
                  <a:lnTo>
                    <a:pt x="106" y="52"/>
                  </a:lnTo>
                  <a:lnTo>
                    <a:pt x="106" y="54"/>
                  </a:lnTo>
                  <a:lnTo>
                    <a:pt x="108" y="54"/>
                  </a:lnTo>
                  <a:lnTo>
                    <a:pt x="108" y="54"/>
                  </a:lnTo>
                  <a:lnTo>
                    <a:pt x="108" y="54"/>
                  </a:lnTo>
                  <a:lnTo>
                    <a:pt x="110" y="54"/>
                  </a:lnTo>
                  <a:lnTo>
                    <a:pt x="110" y="54"/>
                  </a:lnTo>
                  <a:lnTo>
                    <a:pt x="112" y="54"/>
                  </a:lnTo>
                  <a:lnTo>
                    <a:pt x="114" y="54"/>
                  </a:lnTo>
                  <a:lnTo>
                    <a:pt x="114" y="54"/>
                  </a:lnTo>
                  <a:lnTo>
                    <a:pt x="116" y="54"/>
                  </a:lnTo>
                  <a:lnTo>
                    <a:pt x="116" y="54"/>
                  </a:lnTo>
                  <a:lnTo>
                    <a:pt x="116" y="54"/>
                  </a:lnTo>
                  <a:lnTo>
                    <a:pt x="116" y="54"/>
                  </a:lnTo>
                  <a:lnTo>
                    <a:pt x="118" y="56"/>
                  </a:lnTo>
                  <a:lnTo>
                    <a:pt x="118" y="56"/>
                  </a:lnTo>
                  <a:lnTo>
                    <a:pt x="118" y="58"/>
                  </a:lnTo>
                  <a:lnTo>
                    <a:pt x="118" y="60"/>
                  </a:lnTo>
                  <a:lnTo>
                    <a:pt x="118" y="62"/>
                  </a:lnTo>
                  <a:lnTo>
                    <a:pt x="118" y="64"/>
                  </a:lnTo>
                  <a:lnTo>
                    <a:pt x="120" y="66"/>
                  </a:lnTo>
                  <a:lnTo>
                    <a:pt x="120" y="68"/>
                  </a:lnTo>
                  <a:lnTo>
                    <a:pt x="120" y="68"/>
                  </a:lnTo>
                  <a:lnTo>
                    <a:pt x="120" y="70"/>
                  </a:lnTo>
                  <a:lnTo>
                    <a:pt x="120" y="70"/>
                  </a:lnTo>
                  <a:lnTo>
                    <a:pt x="122" y="70"/>
                  </a:lnTo>
                  <a:lnTo>
                    <a:pt x="122" y="70"/>
                  </a:lnTo>
                  <a:lnTo>
                    <a:pt x="124" y="70"/>
                  </a:lnTo>
                  <a:lnTo>
                    <a:pt x="126" y="70"/>
                  </a:lnTo>
                  <a:lnTo>
                    <a:pt x="128" y="72"/>
                  </a:lnTo>
                  <a:lnTo>
                    <a:pt x="128" y="72"/>
                  </a:lnTo>
                  <a:lnTo>
                    <a:pt x="130" y="72"/>
                  </a:lnTo>
                  <a:lnTo>
                    <a:pt x="136" y="74"/>
                  </a:lnTo>
                  <a:lnTo>
                    <a:pt x="142" y="78"/>
                  </a:lnTo>
                  <a:lnTo>
                    <a:pt x="140" y="82"/>
                  </a:lnTo>
                  <a:lnTo>
                    <a:pt x="138" y="84"/>
                  </a:lnTo>
                  <a:lnTo>
                    <a:pt x="138" y="86"/>
                  </a:lnTo>
                  <a:lnTo>
                    <a:pt x="138" y="86"/>
                  </a:lnTo>
                  <a:lnTo>
                    <a:pt x="136" y="88"/>
                  </a:lnTo>
                  <a:lnTo>
                    <a:pt x="136" y="88"/>
                  </a:lnTo>
                  <a:lnTo>
                    <a:pt x="134" y="90"/>
                  </a:lnTo>
                  <a:lnTo>
                    <a:pt x="130" y="92"/>
                  </a:lnTo>
                  <a:lnTo>
                    <a:pt x="128" y="94"/>
                  </a:lnTo>
                  <a:lnTo>
                    <a:pt x="128" y="96"/>
                  </a:lnTo>
                  <a:lnTo>
                    <a:pt x="124" y="98"/>
                  </a:lnTo>
                  <a:lnTo>
                    <a:pt x="122" y="100"/>
                  </a:lnTo>
                  <a:lnTo>
                    <a:pt x="122" y="102"/>
                  </a:lnTo>
                  <a:lnTo>
                    <a:pt x="120" y="102"/>
                  </a:lnTo>
                  <a:lnTo>
                    <a:pt x="120" y="102"/>
                  </a:lnTo>
                  <a:lnTo>
                    <a:pt x="118" y="104"/>
                  </a:lnTo>
                  <a:lnTo>
                    <a:pt x="114" y="104"/>
                  </a:lnTo>
                  <a:lnTo>
                    <a:pt x="114" y="106"/>
                  </a:lnTo>
                  <a:lnTo>
                    <a:pt x="112" y="106"/>
                  </a:lnTo>
                  <a:lnTo>
                    <a:pt x="110" y="106"/>
                  </a:lnTo>
                  <a:lnTo>
                    <a:pt x="110" y="108"/>
                  </a:lnTo>
                  <a:lnTo>
                    <a:pt x="108" y="108"/>
                  </a:lnTo>
                  <a:lnTo>
                    <a:pt x="108" y="110"/>
                  </a:lnTo>
                  <a:lnTo>
                    <a:pt x="108" y="110"/>
                  </a:lnTo>
                  <a:lnTo>
                    <a:pt x="108" y="112"/>
                  </a:lnTo>
                  <a:lnTo>
                    <a:pt x="108" y="116"/>
                  </a:lnTo>
                  <a:lnTo>
                    <a:pt x="108" y="118"/>
                  </a:lnTo>
                  <a:lnTo>
                    <a:pt x="106" y="120"/>
                  </a:lnTo>
                  <a:lnTo>
                    <a:pt x="106" y="120"/>
                  </a:lnTo>
                  <a:lnTo>
                    <a:pt x="106" y="122"/>
                  </a:lnTo>
                  <a:lnTo>
                    <a:pt x="106" y="122"/>
                  </a:lnTo>
                  <a:lnTo>
                    <a:pt x="106" y="122"/>
                  </a:lnTo>
                  <a:lnTo>
                    <a:pt x="104" y="122"/>
                  </a:lnTo>
                  <a:lnTo>
                    <a:pt x="104" y="122"/>
                  </a:lnTo>
                  <a:lnTo>
                    <a:pt x="102" y="122"/>
                  </a:lnTo>
                  <a:lnTo>
                    <a:pt x="100" y="124"/>
                  </a:lnTo>
                  <a:lnTo>
                    <a:pt x="98" y="124"/>
                  </a:lnTo>
                  <a:lnTo>
                    <a:pt x="96" y="124"/>
                  </a:lnTo>
                  <a:lnTo>
                    <a:pt x="96" y="124"/>
                  </a:lnTo>
                  <a:lnTo>
                    <a:pt x="96" y="124"/>
                  </a:lnTo>
                  <a:lnTo>
                    <a:pt x="94" y="126"/>
                  </a:lnTo>
                  <a:lnTo>
                    <a:pt x="94" y="128"/>
                  </a:lnTo>
                  <a:lnTo>
                    <a:pt x="92" y="128"/>
                  </a:lnTo>
                  <a:lnTo>
                    <a:pt x="92" y="132"/>
                  </a:lnTo>
                  <a:lnTo>
                    <a:pt x="90" y="132"/>
                  </a:lnTo>
                  <a:lnTo>
                    <a:pt x="90" y="134"/>
                  </a:lnTo>
                  <a:lnTo>
                    <a:pt x="88" y="136"/>
                  </a:lnTo>
                  <a:lnTo>
                    <a:pt x="86" y="138"/>
                  </a:lnTo>
                  <a:lnTo>
                    <a:pt x="84" y="140"/>
                  </a:lnTo>
                  <a:lnTo>
                    <a:pt x="84" y="140"/>
                  </a:lnTo>
                  <a:lnTo>
                    <a:pt x="82" y="142"/>
                  </a:lnTo>
                  <a:lnTo>
                    <a:pt x="82" y="142"/>
                  </a:lnTo>
                  <a:lnTo>
                    <a:pt x="80" y="142"/>
                  </a:lnTo>
                  <a:lnTo>
                    <a:pt x="78" y="144"/>
                  </a:lnTo>
                  <a:lnTo>
                    <a:pt x="76" y="144"/>
                  </a:lnTo>
                  <a:lnTo>
                    <a:pt x="74" y="144"/>
                  </a:lnTo>
                  <a:lnTo>
                    <a:pt x="72" y="144"/>
                  </a:lnTo>
                  <a:lnTo>
                    <a:pt x="70" y="142"/>
                  </a:lnTo>
                  <a:lnTo>
                    <a:pt x="68" y="142"/>
                  </a:lnTo>
                  <a:lnTo>
                    <a:pt x="68" y="142"/>
                  </a:lnTo>
                  <a:lnTo>
                    <a:pt x="66" y="142"/>
                  </a:lnTo>
                  <a:lnTo>
                    <a:pt x="66" y="142"/>
                  </a:lnTo>
                  <a:lnTo>
                    <a:pt x="62" y="140"/>
                  </a:lnTo>
                  <a:lnTo>
                    <a:pt x="60" y="138"/>
                  </a:lnTo>
                  <a:lnTo>
                    <a:pt x="60" y="138"/>
                  </a:lnTo>
                  <a:lnTo>
                    <a:pt x="58" y="136"/>
                  </a:lnTo>
                  <a:lnTo>
                    <a:pt x="56" y="136"/>
                  </a:lnTo>
                  <a:lnTo>
                    <a:pt x="54" y="136"/>
                  </a:lnTo>
                  <a:lnTo>
                    <a:pt x="52" y="136"/>
                  </a:lnTo>
                  <a:lnTo>
                    <a:pt x="50" y="136"/>
                  </a:lnTo>
                  <a:lnTo>
                    <a:pt x="50" y="136"/>
                  </a:lnTo>
                  <a:lnTo>
                    <a:pt x="50" y="138"/>
                  </a:lnTo>
                  <a:lnTo>
                    <a:pt x="48" y="138"/>
                  </a:lnTo>
                  <a:lnTo>
                    <a:pt x="48" y="138"/>
                  </a:lnTo>
                  <a:lnTo>
                    <a:pt x="46" y="140"/>
                  </a:lnTo>
                  <a:lnTo>
                    <a:pt x="46" y="142"/>
                  </a:lnTo>
                  <a:lnTo>
                    <a:pt x="44" y="144"/>
                  </a:lnTo>
                  <a:lnTo>
                    <a:pt x="44" y="146"/>
                  </a:lnTo>
                  <a:lnTo>
                    <a:pt x="44" y="146"/>
                  </a:lnTo>
                  <a:lnTo>
                    <a:pt x="42" y="150"/>
                  </a:lnTo>
                  <a:lnTo>
                    <a:pt x="42" y="152"/>
                  </a:lnTo>
                  <a:lnTo>
                    <a:pt x="42" y="152"/>
                  </a:lnTo>
                  <a:lnTo>
                    <a:pt x="40" y="154"/>
                  </a:lnTo>
                  <a:lnTo>
                    <a:pt x="40" y="154"/>
                  </a:lnTo>
                  <a:lnTo>
                    <a:pt x="40" y="156"/>
                  </a:lnTo>
                  <a:lnTo>
                    <a:pt x="38" y="156"/>
                  </a:lnTo>
                  <a:lnTo>
                    <a:pt x="34" y="158"/>
                  </a:lnTo>
                  <a:lnTo>
                    <a:pt x="34" y="158"/>
                  </a:lnTo>
                  <a:lnTo>
                    <a:pt x="32" y="158"/>
                  </a:lnTo>
                  <a:lnTo>
                    <a:pt x="30" y="158"/>
                  </a:lnTo>
                  <a:lnTo>
                    <a:pt x="28" y="158"/>
                  </a:lnTo>
                  <a:lnTo>
                    <a:pt x="26" y="158"/>
                  </a:lnTo>
                  <a:lnTo>
                    <a:pt x="22" y="158"/>
                  </a:lnTo>
                  <a:lnTo>
                    <a:pt x="20" y="158"/>
                  </a:lnTo>
                  <a:lnTo>
                    <a:pt x="18" y="156"/>
                  </a:lnTo>
                  <a:lnTo>
                    <a:pt x="14" y="156"/>
                  </a:lnTo>
                  <a:lnTo>
                    <a:pt x="14" y="154"/>
                  </a:lnTo>
                  <a:lnTo>
                    <a:pt x="14" y="154"/>
                  </a:lnTo>
                  <a:lnTo>
                    <a:pt x="12" y="154"/>
                  </a:lnTo>
                  <a:lnTo>
                    <a:pt x="12" y="152"/>
                  </a:lnTo>
                  <a:lnTo>
                    <a:pt x="12" y="152"/>
                  </a:lnTo>
                  <a:lnTo>
                    <a:pt x="12" y="150"/>
                  </a:lnTo>
                  <a:lnTo>
                    <a:pt x="12" y="146"/>
                  </a:lnTo>
                  <a:lnTo>
                    <a:pt x="10" y="142"/>
                  </a:lnTo>
                  <a:lnTo>
                    <a:pt x="10" y="140"/>
                  </a:lnTo>
                  <a:lnTo>
                    <a:pt x="10" y="140"/>
                  </a:lnTo>
                  <a:lnTo>
                    <a:pt x="8" y="138"/>
                  </a:lnTo>
                  <a:lnTo>
                    <a:pt x="8" y="138"/>
                  </a:lnTo>
                  <a:lnTo>
                    <a:pt x="6" y="136"/>
                  </a:lnTo>
                  <a:lnTo>
                    <a:pt x="4" y="132"/>
                  </a:lnTo>
                  <a:lnTo>
                    <a:pt x="2" y="126"/>
                  </a:lnTo>
                  <a:lnTo>
                    <a:pt x="2" y="118"/>
                  </a:lnTo>
                  <a:lnTo>
                    <a:pt x="0" y="110"/>
                  </a:lnTo>
                  <a:lnTo>
                    <a:pt x="0" y="106"/>
                  </a:lnTo>
                  <a:lnTo>
                    <a:pt x="0" y="102"/>
                  </a:lnTo>
                  <a:lnTo>
                    <a:pt x="0" y="98"/>
                  </a:lnTo>
                  <a:lnTo>
                    <a:pt x="0" y="94"/>
                  </a:lnTo>
                  <a:lnTo>
                    <a:pt x="0" y="90"/>
                  </a:lnTo>
                  <a:lnTo>
                    <a:pt x="0" y="86"/>
                  </a:lnTo>
                  <a:lnTo>
                    <a:pt x="2" y="84"/>
                  </a:lnTo>
                  <a:lnTo>
                    <a:pt x="2" y="82"/>
                  </a:lnTo>
                  <a:lnTo>
                    <a:pt x="2" y="82"/>
                  </a:lnTo>
                  <a:lnTo>
                    <a:pt x="2" y="80"/>
                  </a:lnTo>
                  <a:lnTo>
                    <a:pt x="4" y="80"/>
                  </a:lnTo>
                  <a:lnTo>
                    <a:pt x="4" y="80"/>
                  </a:lnTo>
                  <a:lnTo>
                    <a:pt x="6" y="78"/>
                  </a:lnTo>
                  <a:lnTo>
                    <a:pt x="6" y="78"/>
                  </a:lnTo>
                  <a:lnTo>
                    <a:pt x="8" y="78"/>
                  </a:lnTo>
                  <a:lnTo>
                    <a:pt x="10" y="78"/>
                  </a:lnTo>
                  <a:lnTo>
                    <a:pt x="10" y="78"/>
                  </a:lnTo>
                  <a:lnTo>
                    <a:pt x="12" y="76"/>
                  </a:lnTo>
                  <a:lnTo>
                    <a:pt x="14" y="74"/>
                  </a:lnTo>
                  <a:lnTo>
                    <a:pt x="16" y="74"/>
                  </a:lnTo>
                  <a:lnTo>
                    <a:pt x="16" y="74"/>
                  </a:lnTo>
                  <a:lnTo>
                    <a:pt x="18" y="72"/>
                  </a:lnTo>
                  <a:lnTo>
                    <a:pt x="18" y="72"/>
                  </a:lnTo>
                  <a:lnTo>
                    <a:pt x="18" y="70"/>
                  </a:lnTo>
                  <a:lnTo>
                    <a:pt x="20" y="70"/>
                  </a:lnTo>
                  <a:lnTo>
                    <a:pt x="20" y="68"/>
                  </a:lnTo>
                  <a:lnTo>
                    <a:pt x="20" y="64"/>
                  </a:lnTo>
                  <a:lnTo>
                    <a:pt x="20" y="62"/>
                  </a:lnTo>
                  <a:lnTo>
                    <a:pt x="20" y="58"/>
                  </a:lnTo>
                  <a:lnTo>
                    <a:pt x="20" y="54"/>
                  </a:lnTo>
                  <a:lnTo>
                    <a:pt x="20" y="46"/>
                  </a:lnTo>
                  <a:lnTo>
                    <a:pt x="18" y="40"/>
                  </a:lnTo>
                  <a:lnTo>
                    <a:pt x="18" y="32"/>
                  </a:lnTo>
                  <a:lnTo>
                    <a:pt x="18" y="28"/>
                  </a:lnTo>
                  <a:lnTo>
                    <a:pt x="18" y="26"/>
                  </a:lnTo>
                  <a:lnTo>
                    <a:pt x="18" y="22"/>
                  </a:lnTo>
                  <a:lnTo>
                    <a:pt x="18" y="20"/>
                  </a:lnTo>
                  <a:lnTo>
                    <a:pt x="20" y="18"/>
                  </a:lnTo>
                  <a:lnTo>
                    <a:pt x="20" y="16"/>
                  </a:lnTo>
                  <a:lnTo>
                    <a:pt x="22" y="12"/>
                  </a:lnTo>
                  <a:lnTo>
                    <a:pt x="26" y="8"/>
                  </a:lnTo>
                  <a:lnTo>
                    <a:pt x="26" y="6"/>
                  </a:lnTo>
                  <a:lnTo>
                    <a:pt x="42" y="0"/>
                  </a:lnTo>
                  <a:lnTo>
                    <a:pt x="46" y="0"/>
                  </a:lnTo>
                  <a:lnTo>
                    <a:pt x="48" y="2"/>
                  </a:lnTo>
                  <a:lnTo>
                    <a:pt x="50"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7" name="Freeform 385">
              <a:extLst>
                <a:ext uri="{FF2B5EF4-FFF2-40B4-BE49-F238E27FC236}">
                  <a16:creationId xmlns:a16="http://schemas.microsoft.com/office/drawing/2014/main" id="{F8A731E4-1379-4552-83B8-D08299C1A758}"/>
                </a:ext>
              </a:extLst>
            </p:cNvPr>
            <p:cNvSpPr>
              <a:spLocks/>
            </p:cNvSpPr>
            <p:nvPr/>
          </p:nvSpPr>
          <p:spPr bwMode="auto">
            <a:xfrm>
              <a:off x="4754193" y="5158905"/>
              <a:ext cx="245955" cy="273668"/>
            </a:xfrm>
            <a:custGeom>
              <a:avLst/>
              <a:gdLst>
                <a:gd name="T0" fmla="*/ 60 w 142"/>
                <a:gd name="T1" fmla="*/ 2 h 158"/>
                <a:gd name="T2" fmla="*/ 92 w 142"/>
                <a:gd name="T3" fmla="*/ 14 h 158"/>
                <a:gd name="T4" fmla="*/ 96 w 142"/>
                <a:gd name="T5" fmla="*/ 28 h 158"/>
                <a:gd name="T6" fmla="*/ 96 w 142"/>
                <a:gd name="T7" fmla="*/ 36 h 158"/>
                <a:gd name="T8" fmla="*/ 100 w 142"/>
                <a:gd name="T9" fmla="*/ 40 h 158"/>
                <a:gd name="T10" fmla="*/ 104 w 142"/>
                <a:gd name="T11" fmla="*/ 42 h 158"/>
                <a:gd name="T12" fmla="*/ 106 w 142"/>
                <a:gd name="T13" fmla="*/ 48 h 158"/>
                <a:gd name="T14" fmla="*/ 106 w 142"/>
                <a:gd name="T15" fmla="*/ 54 h 158"/>
                <a:gd name="T16" fmla="*/ 110 w 142"/>
                <a:gd name="T17" fmla="*/ 54 h 158"/>
                <a:gd name="T18" fmla="*/ 114 w 142"/>
                <a:gd name="T19" fmla="*/ 54 h 158"/>
                <a:gd name="T20" fmla="*/ 116 w 142"/>
                <a:gd name="T21" fmla="*/ 54 h 158"/>
                <a:gd name="T22" fmla="*/ 118 w 142"/>
                <a:gd name="T23" fmla="*/ 60 h 158"/>
                <a:gd name="T24" fmla="*/ 120 w 142"/>
                <a:gd name="T25" fmla="*/ 68 h 158"/>
                <a:gd name="T26" fmla="*/ 122 w 142"/>
                <a:gd name="T27" fmla="*/ 70 h 158"/>
                <a:gd name="T28" fmla="*/ 128 w 142"/>
                <a:gd name="T29" fmla="*/ 72 h 158"/>
                <a:gd name="T30" fmla="*/ 142 w 142"/>
                <a:gd name="T31" fmla="*/ 78 h 158"/>
                <a:gd name="T32" fmla="*/ 138 w 142"/>
                <a:gd name="T33" fmla="*/ 86 h 158"/>
                <a:gd name="T34" fmla="*/ 130 w 142"/>
                <a:gd name="T35" fmla="*/ 92 h 158"/>
                <a:gd name="T36" fmla="*/ 122 w 142"/>
                <a:gd name="T37" fmla="*/ 100 h 158"/>
                <a:gd name="T38" fmla="*/ 118 w 142"/>
                <a:gd name="T39" fmla="*/ 104 h 158"/>
                <a:gd name="T40" fmla="*/ 110 w 142"/>
                <a:gd name="T41" fmla="*/ 106 h 158"/>
                <a:gd name="T42" fmla="*/ 108 w 142"/>
                <a:gd name="T43" fmla="*/ 110 h 158"/>
                <a:gd name="T44" fmla="*/ 106 w 142"/>
                <a:gd name="T45" fmla="*/ 120 h 158"/>
                <a:gd name="T46" fmla="*/ 106 w 142"/>
                <a:gd name="T47" fmla="*/ 122 h 158"/>
                <a:gd name="T48" fmla="*/ 100 w 142"/>
                <a:gd name="T49" fmla="*/ 124 h 158"/>
                <a:gd name="T50" fmla="*/ 96 w 142"/>
                <a:gd name="T51" fmla="*/ 124 h 158"/>
                <a:gd name="T52" fmla="*/ 92 w 142"/>
                <a:gd name="T53" fmla="*/ 132 h 158"/>
                <a:gd name="T54" fmla="*/ 86 w 142"/>
                <a:gd name="T55" fmla="*/ 138 h 158"/>
                <a:gd name="T56" fmla="*/ 82 w 142"/>
                <a:gd name="T57" fmla="*/ 142 h 158"/>
                <a:gd name="T58" fmla="*/ 74 w 142"/>
                <a:gd name="T59" fmla="*/ 144 h 158"/>
                <a:gd name="T60" fmla="*/ 68 w 142"/>
                <a:gd name="T61" fmla="*/ 142 h 158"/>
                <a:gd name="T62" fmla="*/ 60 w 142"/>
                <a:gd name="T63" fmla="*/ 138 h 158"/>
                <a:gd name="T64" fmla="*/ 54 w 142"/>
                <a:gd name="T65" fmla="*/ 136 h 158"/>
                <a:gd name="T66" fmla="*/ 50 w 142"/>
                <a:gd name="T67" fmla="*/ 138 h 158"/>
                <a:gd name="T68" fmla="*/ 46 w 142"/>
                <a:gd name="T69" fmla="*/ 142 h 158"/>
                <a:gd name="T70" fmla="*/ 42 w 142"/>
                <a:gd name="T71" fmla="*/ 150 h 158"/>
                <a:gd name="T72" fmla="*/ 40 w 142"/>
                <a:gd name="T73" fmla="*/ 154 h 158"/>
                <a:gd name="T74" fmla="*/ 34 w 142"/>
                <a:gd name="T75" fmla="*/ 158 h 158"/>
                <a:gd name="T76" fmla="*/ 26 w 142"/>
                <a:gd name="T77" fmla="*/ 158 h 158"/>
                <a:gd name="T78" fmla="*/ 14 w 142"/>
                <a:gd name="T79" fmla="*/ 156 h 158"/>
                <a:gd name="T80" fmla="*/ 12 w 142"/>
                <a:gd name="T81" fmla="*/ 152 h 158"/>
                <a:gd name="T82" fmla="*/ 10 w 142"/>
                <a:gd name="T83" fmla="*/ 142 h 158"/>
                <a:gd name="T84" fmla="*/ 8 w 142"/>
                <a:gd name="T85" fmla="*/ 138 h 158"/>
                <a:gd name="T86" fmla="*/ 2 w 142"/>
                <a:gd name="T87" fmla="*/ 118 h 158"/>
                <a:gd name="T88" fmla="*/ 0 w 142"/>
                <a:gd name="T89" fmla="*/ 98 h 158"/>
                <a:gd name="T90" fmla="*/ 2 w 142"/>
                <a:gd name="T91" fmla="*/ 84 h 158"/>
                <a:gd name="T92" fmla="*/ 4 w 142"/>
                <a:gd name="T93" fmla="*/ 80 h 158"/>
                <a:gd name="T94" fmla="*/ 8 w 142"/>
                <a:gd name="T95" fmla="*/ 78 h 158"/>
                <a:gd name="T96" fmla="*/ 14 w 142"/>
                <a:gd name="T97" fmla="*/ 74 h 158"/>
                <a:gd name="T98" fmla="*/ 18 w 142"/>
                <a:gd name="T99" fmla="*/ 72 h 158"/>
                <a:gd name="T100" fmla="*/ 20 w 142"/>
                <a:gd name="T101" fmla="*/ 64 h 158"/>
                <a:gd name="T102" fmla="*/ 20 w 142"/>
                <a:gd name="T103" fmla="*/ 46 h 158"/>
                <a:gd name="T104" fmla="*/ 18 w 142"/>
                <a:gd name="T105" fmla="*/ 26 h 158"/>
                <a:gd name="T106" fmla="*/ 20 w 142"/>
                <a:gd name="T107" fmla="*/ 16 h 158"/>
                <a:gd name="T108" fmla="*/ 42 w 142"/>
                <a:gd name="T109"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2" h="158">
                  <a:moveTo>
                    <a:pt x="50" y="2"/>
                  </a:moveTo>
                  <a:lnTo>
                    <a:pt x="50" y="2"/>
                  </a:lnTo>
                  <a:lnTo>
                    <a:pt x="54" y="2"/>
                  </a:lnTo>
                  <a:lnTo>
                    <a:pt x="60" y="2"/>
                  </a:lnTo>
                  <a:lnTo>
                    <a:pt x="74" y="4"/>
                  </a:lnTo>
                  <a:lnTo>
                    <a:pt x="84" y="4"/>
                  </a:lnTo>
                  <a:lnTo>
                    <a:pt x="90" y="4"/>
                  </a:lnTo>
                  <a:lnTo>
                    <a:pt x="92" y="14"/>
                  </a:lnTo>
                  <a:lnTo>
                    <a:pt x="94" y="20"/>
                  </a:lnTo>
                  <a:lnTo>
                    <a:pt x="94" y="26"/>
                  </a:lnTo>
                  <a:lnTo>
                    <a:pt x="94" y="28"/>
                  </a:lnTo>
                  <a:lnTo>
                    <a:pt x="96" y="28"/>
                  </a:lnTo>
                  <a:lnTo>
                    <a:pt x="96" y="32"/>
                  </a:lnTo>
                  <a:lnTo>
                    <a:pt x="96" y="34"/>
                  </a:lnTo>
                  <a:lnTo>
                    <a:pt x="96" y="36"/>
                  </a:lnTo>
                  <a:lnTo>
                    <a:pt x="96" y="36"/>
                  </a:lnTo>
                  <a:lnTo>
                    <a:pt x="96" y="38"/>
                  </a:lnTo>
                  <a:lnTo>
                    <a:pt x="96" y="38"/>
                  </a:lnTo>
                  <a:lnTo>
                    <a:pt x="98" y="40"/>
                  </a:lnTo>
                  <a:lnTo>
                    <a:pt x="100" y="40"/>
                  </a:lnTo>
                  <a:lnTo>
                    <a:pt x="102" y="40"/>
                  </a:lnTo>
                  <a:lnTo>
                    <a:pt x="104" y="40"/>
                  </a:lnTo>
                  <a:lnTo>
                    <a:pt x="104" y="42"/>
                  </a:lnTo>
                  <a:lnTo>
                    <a:pt x="104" y="42"/>
                  </a:lnTo>
                  <a:lnTo>
                    <a:pt x="104" y="42"/>
                  </a:lnTo>
                  <a:lnTo>
                    <a:pt x="106" y="44"/>
                  </a:lnTo>
                  <a:lnTo>
                    <a:pt x="106" y="46"/>
                  </a:lnTo>
                  <a:lnTo>
                    <a:pt x="106" y="48"/>
                  </a:lnTo>
                  <a:lnTo>
                    <a:pt x="106" y="50"/>
                  </a:lnTo>
                  <a:lnTo>
                    <a:pt x="106" y="52"/>
                  </a:lnTo>
                  <a:lnTo>
                    <a:pt x="106" y="52"/>
                  </a:lnTo>
                  <a:lnTo>
                    <a:pt x="106" y="54"/>
                  </a:lnTo>
                  <a:lnTo>
                    <a:pt x="108" y="54"/>
                  </a:lnTo>
                  <a:lnTo>
                    <a:pt x="108" y="54"/>
                  </a:lnTo>
                  <a:lnTo>
                    <a:pt x="108" y="54"/>
                  </a:lnTo>
                  <a:lnTo>
                    <a:pt x="110" y="54"/>
                  </a:lnTo>
                  <a:lnTo>
                    <a:pt x="110" y="54"/>
                  </a:lnTo>
                  <a:lnTo>
                    <a:pt x="112" y="54"/>
                  </a:lnTo>
                  <a:lnTo>
                    <a:pt x="114" y="54"/>
                  </a:lnTo>
                  <a:lnTo>
                    <a:pt x="114" y="54"/>
                  </a:lnTo>
                  <a:lnTo>
                    <a:pt x="116" y="54"/>
                  </a:lnTo>
                  <a:lnTo>
                    <a:pt x="116" y="54"/>
                  </a:lnTo>
                  <a:lnTo>
                    <a:pt x="116" y="54"/>
                  </a:lnTo>
                  <a:lnTo>
                    <a:pt x="116" y="54"/>
                  </a:lnTo>
                  <a:lnTo>
                    <a:pt x="118" y="56"/>
                  </a:lnTo>
                  <a:lnTo>
                    <a:pt x="118" y="56"/>
                  </a:lnTo>
                  <a:lnTo>
                    <a:pt x="118" y="58"/>
                  </a:lnTo>
                  <a:lnTo>
                    <a:pt x="118" y="60"/>
                  </a:lnTo>
                  <a:lnTo>
                    <a:pt x="118" y="62"/>
                  </a:lnTo>
                  <a:lnTo>
                    <a:pt x="118" y="64"/>
                  </a:lnTo>
                  <a:lnTo>
                    <a:pt x="120" y="66"/>
                  </a:lnTo>
                  <a:lnTo>
                    <a:pt x="120" y="68"/>
                  </a:lnTo>
                  <a:lnTo>
                    <a:pt x="120" y="68"/>
                  </a:lnTo>
                  <a:lnTo>
                    <a:pt x="120" y="70"/>
                  </a:lnTo>
                  <a:lnTo>
                    <a:pt x="120" y="70"/>
                  </a:lnTo>
                  <a:lnTo>
                    <a:pt x="122" y="70"/>
                  </a:lnTo>
                  <a:lnTo>
                    <a:pt x="122" y="70"/>
                  </a:lnTo>
                  <a:lnTo>
                    <a:pt x="124" y="70"/>
                  </a:lnTo>
                  <a:lnTo>
                    <a:pt x="126" y="70"/>
                  </a:lnTo>
                  <a:lnTo>
                    <a:pt x="128" y="72"/>
                  </a:lnTo>
                  <a:lnTo>
                    <a:pt x="128" y="72"/>
                  </a:lnTo>
                  <a:lnTo>
                    <a:pt x="130" y="72"/>
                  </a:lnTo>
                  <a:lnTo>
                    <a:pt x="136" y="74"/>
                  </a:lnTo>
                  <a:lnTo>
                    <a:pt x="142" y="78"/>
                  </a:lnTo>
                  <a:lnTo>
                    <a:pt x="140" y="82"/>
                  </a:lnTo>
                  <a:lnTo>
                    <a:pt x="138" y="84"/>
                  </a:lnTo>
                  <a:lnTo>
                    <a:pt x="138" y="86"/>
                  </a:lnTo>
                  <a:lnTo>
                    <a:pt x="138" y="86"/>
                  </a:lnTo>
                  <a:lnTo>
                    <a:pt x="136" y="88"/>
                  </a:lnTo>
                  <a:lnTo>
                    <a:pt x="136" y="88"/>
                  </a:lnTo>
                  <a:lnTo>
                    <a:pt x="134" y="90"/>
                  </a:lnTo>
                  <a:lnTo>
                    <a:pt x="130" y="92"/>
                  </a:lnTo>
                  <a:lnTo>
                    <a:pt x="128" y="94"/>
                  </a:lnTo>
                  <a:lnTo>
                    <a:pt x="128" y="96"/>
                  </a:lnTo>
                  <a:lnTo>
                    <a:pt x="124" y="98"/>
                  </a:lnTo>
                  <a:lnTo>
                    <a:pt x="122" y="100"/>
                  </a:lnTo>
                  <a:lnTo>
                    <a:pt x="122" y="102"/>
                  </a:lnTo>
                  <a:lnTo>
                    <a:pt x="120" y="102"/>
                  </a:lnTo>
                  <a:lnTo>
                    <a:pt x="120" y="102"/>
                  </a:lnTo>
                  <a:lnTo>
                    <a:pt x="118" y="104"/>
                  </a:lnTo>
                  <a:lnTo>
                    <a:pt x="114" y="104"/>
                  </a:lnTo>
                  <a:lnTo>
                    <a:pt x="114" y="106"/>
                  </a:lnTo>
                  <a:lnTo>
                    <a:pt x="112" y="106"/>
                  </a:lnTo>
                  <a:lnTo>
                    <a:pt x="110" y="106"/>
                  </a:lnTo>
                  <a:lnTo>
                    <a:pt x="110" y="108"/>
                  </a:lnTo>
                  <a:lnTo>
                    <a:pt x="108" y="108"/>
                  </a:lnTo>
                  <a:lnTo>
                    <a:pt x="108" y="110"/>
                  </a:lnTo>
                  <a:lnTo>
                    <a:pt x="108" y="110"/>
                  </a:lnTo>
                  <a:lnTo>
                    <a:pt x="108" y="112"/>
                  </a:lnTo>
                  <a:lnTo>
                    <a:pt x="108" y="116"/>
                  </a:lnTo>
                  <a:lnTo>
                    <a:pt x="108" y="118"/>
                  </a:lnTo>
                  <a:lnTo>
                    <a:pt x="106" y="120"/>
                  </a:lnTo>
                  <a:lnTo>
                    <a:pt x="106" y="120"/>
                  </a:lnTo>
                  <a:lnTo>
                    <a:pt x="106" y="122"/>
                  </a:lnTo>
                  <a:lnTo>
                    <a:pt x="106" y="122"/>
                  </a:lnTo>
                  <a:lnTo>
                    <a:pt x="106" y="122"/>
                  </a:lnTo>
                  <a:lnTo>
                    <a:pt x="104" y="122"/>
                  </a:lnTo>
                  <a:lnTo>
                    <a:pt x="104" y="122"/>
                  </a:lnTo>
                  <a:lnTo>
                    <a:pt x="102" y="122"/>
                  </a:lnTo>
                  <a:lnTo>
                    <a:pt x="100" y="124"/>
                  </a:lnTo>
                  <a:lnTo>
                    <a:pt x="98" y="124"/>
                  </a:lnTo>
                  <a:lnTo>
                    <a:pt x="96" y="124"/>
                  </a:lnTo>
                  <a:lnTo>
                    <a:pt x="96" y="124"/>
                  </a:lnTo>
                  <a:lnTo>
                    <a:pt x="96" y="124"/>
                  </a:lnTo>
                  <a:lnTo>
                    <a:pt x="94" y="126"/>
                  </a:lnTo>
                  <a:lnTo>
                    <a:pt x="94" y="128"/>
                  </a:lnTo>
                  <a:lnTo>
                    <a:pt x="92" y="128"/>
                  </a:lnTo>
                  <a:lnTo>
                    <a:pt x="92" y="132"/>
                  </a:lnTo>
                  <a:lnTo>
                    <a:pt x="90" y="132"/>
                  </a:lnTo>
                  <a:lnTo>
                    <a:pt x="90" y="134"/>
                  </a:lnTo>
                  <a:lnTo>
                    <a:pt x="88" y="136"/>
                  </a:lnTo>
                  <a:lnTo>
                    <a:pt x="86" y="138"/>
                  </a:lnTo>
                  <a:lnTo>
                    <a:pt x="84" y="140"/>
                  </a:lnTo>
                  <a:lnTo>
                    <a:pt x="84" y="140"/>
                  </a:lnTo>
                  <a:lnTo>
                    <a:pt x="82" y="142"/>
                  </a:lnTo>
                  <a:lnTo>
                    <a:pt x="82" y="142"/>
                  </a:lnTo>
                  <a:lnTo>
                    <a:pt x="80" y="142"/>
                  </a:lnTo>
                  <a:lnTo>
                    <a:pt x="78" y="144"/>
                  </a:lnTo>
                  <a:lnTo>
                    <a:pt x="76" y="144"/>
                  </a:lnTo>
                  <a:lnTo>
                    <a:pt x="74" y="144"/>
                  </a:lnTo>
                  <a:lnTo>
                    <a:pt x="72" y="144"/>
                  </a:lnTo>
                  <a:lnTo>
                    <a:pt x="70" y="142"/>
                  </a:lnTo>
                  <a:lnTo>
                    <a:pt x="68" y="142"/>
                  </a:lnTo>
                  <a:lnTo>
                    <a:pt x="68" y="142"/>
                  </a:lnTo>
                  <a:lnTo>
                    <a:pt x="66" y="142"/>
                  </a:lnTo>
                  <a:lnTo>
                    <a:pt x="66" y="142"/>
                  </a:lnTo>
                  <a:lnTo>
                    <a:pt x="62" y="140"/>
                  </a:lnTo>
                  <a:lnTo>
                    <a:pt x="60" y="138"/>
                  </a:lnTo>
                  <a:lnTo>
                    <a:pt x="60" y="138"/>
                  </a:lnTo>
                  <a:lnTo>
                    <a:pt x="58" y="136"/>
                  </a:lnTo>
                  <a:lnTo>
                    <a:pt x="56" y="136"/>
                  </a:lnTo>
                  <a:lnTo>
                    <a:pt x="54" y="136"/>
                  </a:lnTo>
                  <a:lnTo>
                    <a:pt x="52" y="136"/>
                  </a:lnTo>
                  <a:lnTo>
                    <a:pt x="50" y="136"/>
                  </a:lnTo>
                  <a:lnTo>
                    <a:pt x="50" y="136"/>
                  </a:lnTo>
                  <a:lnTo>
                    <a:pt x="50" y="138"/>
                  </a:lnTo>
                  <a:lnTo>
                    <a:pt x="48" y="138"/>
                  </a:lnTo>
                  <a:lnTo>
                    <a:pt x="48" y="138"/>
                  </a:lnTo>
                  <a:lnTo>
                    <a:pt x="46" y="140"/>
                  </a:lnTo>
                  <a:lnTo>
                    <a:pt x="46" y="142"/>
                  </a:lnTo>
                  <a:lnTo>
                    <a:pt x="44" y="144"/>
                  </a:lnTo>
                  <a:lnTo>
                    <a:pt x="44" y="146"/>
                  </a:lnTo>
                  <a:lnTo>
                    <a:pt x="44" y="146"/>
                  </a:lnTo>
                  <a:lnTo>
                    <a:pt x="42" y="150"/>
                  </a:lnTo>
                  <a:lnTo>
                    <a:pt x="42" y="152"/>
                  </a:lnTo>
                  <a:lnTo>
                    <a:pt x="42" y="152"/>
                  </a:lnTo>
                  <a:lnTo>
                    <a:pt x="40" y="154"/>
                  </a:lnTo>
                  <a:lnTo>
                    <a:pt x="40" y="154"/>
                  </a:lnTo>
                  <a:lnTo>
                    <a:pt x="40" y="156"/>
                  </a:lnTo>
                  <a:lnTo>
                    <a:pt x="38" y="156"/>
                  </a:lnTo>
                  <a:lnTo>
                    <a:pt x="34" y="158"/>
                  </a:lnTo>
                  <a:lnTo>
                    <a:pt x="34" y="158"/>
                  </a:lnTo>
                  <a:lnTo>
                    <a:pt x="32" y="158"/>
                  </a:lnTo>
                  <a:lnTo>
                    <a:pt x="30" y="158"/>
                  </a:lnTo>
                  <a:lnTo>
                    <a:pt x="28" y="158"/>
                  </a:lnTo>
                  <a:lnTo>
                    <a:pt x="26" y="158"/>
                  </a:lnTo>
                  <a:lnTo>
                    <a:pt x="22" y="158"/>
                  </a:lnTo>
                  <a:lnTo>
                    <a:pt x="20" y="158"/>
                  </a:lnTo>
                  <a:lnTo>
                    <a:pt x="18" y="156"/>
                  </a:lnTo>
                  <a:lnTo>
                    <a:pt x="14" y="156"/>
                  </a:lnTo>
                  <a:lnTo>
                    <a:pt x="14" y="154"/>
                  </a:lnTo>
                  <a:lnTo>
                    <a:pt x="14" y="154"/>
                  </a:lnTo>
                  <a:lnTo>
                    <a:pt x="12" y="154"/>
                  </a:lnTo>
                  <a:lnTo>
                    <a:pt x="12" y="152"/>
                  </a:lnTo>
                  <a:lnTo>
                    <a:pt x="12" y="152"/>
                  </a:lnTo>
                  <a:lnTo>
                    <a:pt x="12" y="150"/>
                  </a:lnTo>
                  <a:lnTo>
                    <a:pt x="12" y="146"/>
                  </a:lnTo>
                  <a:lnTo>
                    <a:pt x="10" y="142"/>
                  </a:lnTo>
                  <a:lnTo>
                    <a:pt x="10" y="140"/>
                  </a:lnTo>
                  <a:lnTo>
                    <a:pt x="10" y="140"/>
                  </a:lnTo>
                  <a:lnTo>
                    <a:pt x="8" y="138"/>
                  </a:lnTo>
                  <a:lnTo>
                    <a:pt x="8" y="138"/>
                  </a:lnTo>
                  <a:lnTo>
                    <a:pt x="6" y="136"/>
                  </a:lnTo>
                  <a:lnTo>
                    <a:pt x="4" y="132"/>
                  </a:lnTo>
                  <a:lnTo>
                    <a:pt x="2" y="126"/>
                  </a:lnTo>
                  <a:lnTo>
                    <a:pt x="2" y="118"/>
                  </a:lnTo>
                  <a:lnTo>
                    <a:pt x="0" y="110"/>
                  </a:lnTo>
                  <a:lnTo>
                    <a:pt x="0" y="106"/>
                  </a:lnTo>
                  <a:lnTo>
                    <a:pt x="0" y="102"/>
                  </a:lnTo>
                  <a:lnTo>
                    <a:pt x="0" y="98"/>
                  </a:lnTo>
                  <a:lnTo>
                    <a:pt x="0" y="94"/>
                  </a:lnTo>
                  <a:lnTo>
                    <a:pt x="0" y="90"/>
                  </a:lnTo>
                  <a:lnTo>
                    <a:pt x="0" y="86"/>
                  </a:lnTo>
                  <a:lnTo>
                    <a:pt x="2" y="84"/>
                  </a:lnTo>
                  <a:lnTo>
                    <a:pt x="2" y="82"/>
                  </a:lnTo>
                  <a:lnTo>
                    <a:pt x="2" y="82"/>
                  </a:lnTo>
                  <a:lnTo>
                    <a:pt x="2" y="80"/>
                  </a:lnTo>
                  <a:lnTo>
                    <a:pt x="4" y="80"/>
                  </a:lnTo>
                  <a:lnTo>
                    <a:pt x="4" y="80"/>
                  </a:lnTo>
                  <a:lnTo>
                    <a:pt x="6" y="78"/>
                  </a:lnTo>
                  <a:lnTo>
                    <a:pt x="6" y="78"/>
                  </a:lnTo>
                  <a:lnTo>
                    <a:pt x="8" y="78"/>
                  </a:lnTo>
                  <a:lnTo>
                    <a:pt x="10" y="78"/>
                  </a:lnTo>
                  <a:lnTo>
                    <a:pt x="10" y="78"/>
                  </a:lnTo>
                  <a:lnTo>
                    <a:pt x="12" y="76"/>
                  </a:lnTo>
                  <a:lnTo>
                    <a:pt x="14" y="74"/>
                  </a:lnTo>
                  <a:lnTo>
                    <a:pt x="16" y="74"/>
                  </a:lnTo>
                  <a:lnTo>
                    <a:pt x="16" y="74"/>
                  </a:lnTo>
                  <a:lnTo>
                    <a:pt x="18" y="72"/>
                  </a:lnTo>
                  <a:lnTo>
                    <a:pt x="18" y="72"/>
                  </a:lnTo>
                  <a:lnTo>
                    <a:pt x="18" y="70"/>
                  </a:lnTo>
                  <a:lnTo>
                    <a:pt x="20" y="70"/>
                  </a:lnTo>
                  <a:lnTo>
                    <a:pt x="20" y="68"/>
                  </a:lnTo>
                  <a:lnTo>
                    <a:pt x="20" y="64"/>
                  </a:lnTo>
                  <a:lnTo>
                    <a:pt x="20" y="62"/>
                  </a:lnTo>
                  <a:lnTo>
                    <a:pt x="20" y="58"/>
                  </a:lnTo>
                  <a:lnTo>
                    <a:pt x="20" y="54"/>
                  </a:lnTo>
                  <a:lnTo>
                    <a:pt x="20" y="46"/>
                  </a:lnTo>
                  <a:lnTo>
                    <a:pt x="18" y="40"/>
                  </a:lnTo>
                  <a:lnTo>
                    <a:pt x="18" y="32"/>
                  </a:lnTo>
                  <a:lnTo>
                    <a:pt x="18" y="28"/>
                  </a:lnTo>
                  <a:lnTo>
                    <a:pt x="18" y="26"/>
                  </a:lnTo>
                  <a:lnTo>
                    <a:pt x="18" y="22"/>
                  </a:lnTo>
                  <a:lnTo>
                    <a:pt x="18" y="20"/>
                  </a:lnTo>
                  <a:lnTo>
                    <a:pt x="20" y="18"/>
                  </a:lnTo>
                  <a:lnTo>
                    <a:pt x="20" y="16"/>
                  </a:lnTo>
                  <a:lnTo>
                    <a:pt x="22" y="12"/>
                  </a:lnTo>
                  <a:lnTo>
                    <a:pt x="26" y="8"/>
                  </a:lnTo>
                  <a:lnTo>
                    <a:pt x="26" y="6"/>
                  </a:lnTo>
                  <a:lnTo>
                    <a:pt x="42" y="0"/>
                  </a:lnTo>
                  <a:lnTo>
                    <a:pt x="46" y="0"/>
                  </a:lnTo>
                  <a:lnTo>
                    <a:pt x="48" y="2"/>
                  </a:lnTo>
                  <a:lnTo>
                    <a:pt x="50"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8" name="Freeform 386">
              <a:extLst>
                <a:ext uri="{FF2B5EF4-FFF2-40B4-BE49-F238E27FC236}">
                  <a16:creationId xmlns:a16="http://schemas.microsoft.com/office/drawing/2014/main" id="{B1538D38-5229-4C9B-95D2-64776E5090C3}"/>
                </a:ext>
              </a:extLst>
            </p:cNvPr>
            <p:cNvSpPr>
              <a:spLocks/>
            </p:cNvSpPr>
            <p:nvPr/>
          </p:nvSpPr>
          <p:spPr bwMode="auto">
            <a:xfrm>
              <a:off x="4262283" y="4355222"/>
              <a:ext cx="38106" cy="124709"/>
            </a:xfrm>
            <a:custGeom>
              <a:avLst/>
              <a:gdLst>
                <a:gd name="T0" fmla="*/ 14 w 22"/>
                <a:gd name="T1" fmla="*/ 72 h 72"/>
                <a:gd name="T2" fmla="*/ 14 w 22"/>
                <a:gd name="T3" fmla="*/ 72 h 72"/>
                <a:gd name="T4" fmla="*/ 12 w 22"/>
                <a:gd name="T5" fmla="*/ 64 h 72"/>
                <a:gd name="T6" fmla="*/ 10 w 22"/>
                <a:gd name="T7" fmla="*/ 58 h 72"/>
                <a:gd name="T8" fmla="*/ 8 w 22"/>
                <a:gd name="T9" fmla="*/ 52 h 72"/>
                <a:gd name="T10" fmla="*/ 8 w 22"/>
                <a:gd name="T11" fmla="*/ 48 h 72"/>
                <a:gd name="T12" fmla="*/ 6 w 22"/>
                <a:gd name="T13" fmla="*/ 42 h 72"/>
                <a:gd name="T14" fmla="*/ 6 w 22"/>
                <a:gd name="T15" fmla="*/ 38 h 72"/>
                <a:gd name="T16" fmla="*/ 6 w 22"/>
                <a:gd name="T17" fmla="*/ 32 h 72"/>
                <a:gd name="T18" fmla="*/ 6 w 22"/>
                <a:gd name="T19" fmla="*/ 32 h 72"/>
                <a:gd name="T20" fmla="*/ 6 w 22"/>
                <a:gd name="T21" fmla="*/ 30 h 72"/>
                <a:gd name="T22" fmla="*/ 8 w 22"/>
                <a:gd name="T23" fmla="*/ 26 h 72"/>
                <a:gd name="T24" fmla="*/ 8 w 22"/>
                <a:gd name="T25" fmla="*/ 24 h 72"/>
                <a:gd name="T26" fmla="*/ 8 w 22"/>
                <a:gd name="T27" fmla="*/ 22 h 72"/>
                <a:gd name="T28" fmla="*/ 8 w 22"/>
                <a:gd name="T29" fmla="*/ 20 h 72"/>
                <a:gd name="T30" fmla="*/ 8 w 22"/>
                <a:gd name="T31" fmla="*/ 20 h 72"/>
                <a:gd name="T32" fmla="*/ 8 w 22"/>
                <a:gd name="T33" fmla="*/ 20 h 72"/>
                <a:gd name="T34" fmla="*/ 6 w 22"/>
                <a:gd name="T35" fmla="*/ 20 h 72"/>
                <a:gd name="T36" fmla="*/ 6 w 22"/>
                <a:gd name="T37" fmla="*/ 18 h 72"/>
                <a:gd name="T38" fmla="*/ 4 w 22"/>
                <a:gd name="T39" fmla="*/ 18 h 72"/>
                <a:gd name="T40" fmla="*/ 2 w 22"/>
                <a:gd name="T41" fmla="*/ 16 h 72"/>
                <a:gd name="T42" fmla="*/ 2 w 22"/>
                <a:gd name="T43" fmla="*/ 16 h 72"/>
                <a:gd name="T44" fmla="*/ 0 w 22"/>
                <a:gd name="T45" fmla="*/ 16 h 72"/>
                <a:gd name="T46" fmla="*/ 0 w 22"/>
                <a:gd name="T47" fmla="*/ 16 h 72"/>
                <a:gd name="T48" fmla="*/ 0 w 22"/>
                <a:gd name="T49" fmla="*/ 14 h 72"/>
                <a:gd name="T50" fmla="*/ 0 w 22"/>
                <a:gd name="T51" fmla="*/ 12 h 72"/>
                <a:gd name="T52" fmla="*/ 0 w 22"/>
                <a:gd name="T53" fmla="*/ 10 h 72"/>
                <a:gd name="T54" fmla="*/ 0 w 22"/>
                <a:gd name="T55" fmla="*/ 8 h 72"/>
                <a:gd name="T56" fmla="*/ 0 w 22"/>
                <a:gd name="T57" fmla="*/ 4 h 72"/>
                <a:gd name="T58" fmla="*/ 0 w 22"/>
                <a:gd name="T59" fmla="*/ 2 h 72"/>
                <a:gd name="T60" fmla="*/ 6 w 22"/>
                <a:gd name="T61" fmla="*/ 0 h 72"/>
                <a:gd name="T62" fmla="*/ 10 w 22"/>
                <a:gd name="T63" fmla="*/ 4 h 72"/>
                <a:gd name="T64" fmla="*/ 12 w 22"/>
                <a:gd name="T65" fmla="*/ 8 h 72"/>
                <a:gd name="T66" fmla="*/ 12 w 22"/>
                <a:gd name="T67" fmla="*/ 10 h 72"/>
                <a:gd name="T68" fmla="*/ 12 w 22"/>
                <a:gd name="T69" fmla="*/ 10 h 72"/>
                <a:gd name="T70" fmla="*/ 14 w 22"/>
                <a:gd name="T71" fmla="*/ 12 h 72"/>
                <a:gd name="T72" fmla="*/ 14 w 22"/>
                <a:gd name="T73" fmla="*/ 14 h 72"/>
                <a:gd name="T74" fmla="*/ 14 w 22"/>
                <a:gd name="T75" fmla="*/ 20 h 72"/>
                <a:gd name="T76" fmla="*/ 16 w 22"/>
                <a:gd name="T77" fmla="*/ 26 h 72"/>
                <a:gd name="T78" fmla="*/ 16 w 22"/>
                <a:gd name="T79" fmla="*/ 30 h 72"/>
                <a:gd name="T80" fmla="*/ 16 w 22"/>
                <a:gd name="T81" fmla="*/ 36 h 72"/>
                <a:gd name="T82" fmla="*/ 16 w 22"/>
                <a:gd name="T83" fmla="*/ 40 h 72"/>
                <a:gd name="T84" fmla="*/ 18 w 22"/>
                <a:gd name="T85" fmla="*/ 46 h 72"/>
                <a:gd name="T86" fmla="*/ 18 w 22"/>
                <a:gd name="T87" fmla="*/ 48 h 72"/>
                <a:gd name="T88" fmla="*/ 18 w 22"/>
                <a:gd name="T89" fmla="*/ 50 h 72"/>
                <a:gd name="T90" fmla="*/ 18 w 22"/>
                <a:gd name="T91" fmla="*/ 52 h 72"/>
                <a:gd name="T92" fmla="*/ 18 w 22"/>
                <a:gd name="T93" fmla="*/ 54 h 72"/>
                <a:gd name="T94" fmla="*/ 20 w 22"/>
                <a:gd name="T95" fmla="*/ 62 h 72"/>
                <a:gd name="T96" fmla="*/ 22 w 22"/>
                <a:gd name="T97" fmla="*/ 68 h 72"/>
                <a:gd name="T98" fmla="*/ 14 w 22"/>
                <a:gd name="T9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 h="72">
                  <a:moveTo>
                    <a:pt x="14" y="72"/>
                  </a:moveTo>
                  <a:lnTo>
                    <a:pt x="14" y="72"/>
                  </a:lnTo>
                  <a:lnTo>
                    <a:pt x="12" y="64"/>
                  </a:lnTo>
                  <a:lnTo>
                    <a:pt x="10" y="58"/>
                  </a:lnTo>
                  <a:lnTo>
                    <a:pt x="8" y="52"/>
                  </a:lnTo>
                  <a:lnTo>
                    <a:pt x="8" y="48"/>
                  </a:lnTo>
                  <a:lnTo>
                    <a:pt x="6" y="42"/>
                  </a:lnTo>
                  <a:lnTo>
                    <a:pt x="6" y="38"/>
                  </a:lnTo>
                  <a:lnTo>
                    <a:pt x="6" y="32"/>
                  </a:lnTo>
                  <a:lnTo>
                    <a:pt x="6" y="32"/>
                  </a:lnTo>
                  <a:lnTo>
                    <a:pt x="6" y="30"/>
                  </a:lnTo>
                  <a:lnTo>
                    <a:pt x="8" y="26"/>
                  </a:lnTo>
                  <a:lnTo>
                    <a:pt x="8" y="24"/>
                  </a:lnTo>
                  <a:lnTo>
                    <a:pt x="8" y="22"/>
                  </a:lnTo>
                  <a:lnTo>
                    <a:pt x="8" y="20"/>
                  </a:lnTo>
                  <a:lnTo>
                    <a:pt x="8" y="20"/>
                  </a:lnTo>
                  <a:lnTo>
                    <a:pt x="8" y="20"/>
                  </a:lnTo>
                  <a:lnTo>
                    <a:pt x="6" y="20"/>
                  </a:lnTo>
                  <a:lnTo>
                    <a:pt x="6" y="18"/>
                  </a:lnTo>
                  <a:lnTo>
                    <a:pt x="4" y="18"/>
                  </a:lnTo>
                  <a:lnTo>
                    <a:pt x="2" y="16"/>
                  </a:lnTo>
                  <a:lnTo>
                    <a:pt x="2" y="16"/>
                  </a:lnTo>
                  <a:lnTo>
                    <a:pt x="0" y="16"/>
                  </a:lnTo>
                  <a:lnTo>
                    <a:pt x="0" y="16"/>
                  </a:lnTo>
                  <a:lnTo>
                    <a:pt x="0" y="14"/>
                  </a:lnTo>
                  <a:lnTo>
                    <a:pt x="0" y="12"/>
                  </a:lnTo>
                  <a:lnTo>
                    <a:pt x="0" y="10"/>
                  </a:lnTo>
                  <a:lnTo>
                    <a:pt x="0" y="8"/>
                  </a:lnTo>
                  <a:lnTo>
                    <a:pt x="0" y="4"/>
                  </a:lnTo>
                  <a:lnTo>
                    <a:pt x="0" y="2"/>
                  </a:lnTo>
                  <a:lnTo>
                    <a:pt x="6" y="0"/>
                  </a:lnTo>
                  <a:lnTo>
                    <a:pt x="10" y="4"/>
                  </a:lnTo>
                  <a:lnTo>
                    <a:pt x="12" y="8"/>
                  </a:lnTo>
                  <a:lnTo>
                    <a:pt x="12" y="10"/>
                  </a:lnTo>
                  <a:lnTo>
                    <a:pt x="12" y="10"/>
                  </a:lnTo>
                  <a:lnTo>
                    <a:pt x="14" y="12"/>
                  </a:lnTo>
                  <a:lnTo>
                    <a:pt x="14" y="14"/>
                  </a:lnTo>
                  <a:lnTo>
                    <a:pt x="14" y="20"/>
                  </a:lnTo>
                  <a:lnTo>
                    <a:pt x="16" y="26"/>
                  </a:lnTo>
                  <a:lnTo>
                    <a:pt x="16" y="30"/>
                  </a:lnTo>
                  <a:lnTo>
                    <a:pt x="16" y="36"/>
                  </a:lnTo>
                  <a:lnTo>
                    <a:pt x="16" y="40"/>
                  </a:lnTo>
                  <a:lnTo>
                    <a:pt x="18" y="46"/>
                  </a:lnTo>
                  <a:lnTo>
                    <a:pt x="18" y="48"/>
                  </a:lnTo>
                  <a:lnTo>
                    <a:pt x="18" y="50"/>
                  </a:lnTo>
                  <a:lnTo>
                    <a:pt x="18" y="52"/>
                  </a:lnTo>
                  <a:lnTo>
                    <a:pt x="18" y="54"/>
                  </a:lnTo>
                  <a:lnTo>
                    <a:pt x="20" y="62"/>
                  </a:lnTo>
                  <a:lnTo>
                    <a:pt x="22" y="68"/>
                  </a:lnTo>
                  <a:lnTo>
                    <a:pt x="14" y="7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9" name="Freeform 387">
              <a:extLst>
                <a:ext uri="{FF2B5EF4-FFF2-40B4-BE49-F238E27FC236}">
                  <a16:creationId xmlns:a16="http://schemas.microsoft.com/office/drawing/2014/main" id="{6B7527EA-7412-459A-BDD2-E6C5F69517EE}"/>
                </a:ext>
              </a:extLst>
            </p:cNvPr>
            <p:cNvSpPr>
              <a:spLocks/>
            </p:cNvSpPr>
            <p:nvPr/>
          </p:nvSpPr>
          <p:spPr bwMode="auto">
            <a:xfrm>
              <a:off x="4262283" y="4355222"/>
              <a:ext cx="38106" cy="124709"/>
            </a:xfrm>
            <a:custGeom>
              <a:avLst/>
              <a:gdLst>
                <a:gd name="T0" fmla="*/ 14 w 22"/>
                <a:gd name="T1" fmla="*/ 72 h 72"/>
                <a:gd name="T2" fmla="*/ 14 w 22"/>
                <a:gd name="T3" fmla="*/ 72 h 72"/>
                <a:gd name="T4" fmla="*/ 12 w 22"/>
                <a:gd name="T5" fmla="*/ 64 h 72"/>
                <a:gd name="T6" fmla="*/ 10 w 22"/>
                <a:gd name="T7" fmla="*/ 58 h 72"/>
                <a:gd name="T8" fmla="*/ 8 w 22"/>
                <a:gd name="T9" fmla="*/ 52 h 72"/>
                <a:gd name="T10" fmla="*/ 8 w 22"/>
                <a:gd name="T11" fmla="*/ 48 h 72"/>
                <a:gd name="T12" fmla="*/ 6 w 22"/>
                <a:gd name="T13" fmla="*/ 42 h 72"/>
                <a:gd name="T14" fmla="*/ 6 w 22"/>
                <a:gd name="T15" fmla="*/ 38 h 72"/>
                <a:gd name="T16" fmla="*/ 6 w 22"/>
                <a:gd name="T17" fmla="*/ 32 h 72"/>
                <a:gd name="T18" fmla="*/ 6 w 22"/>
                <a:gd name="T19" fmla="*/ 32 h 72"/>
                <a:gd name="T20" fmla="*/ 6 w 22"/>
                <a:gd name="T21" fmla="*/ 30 h 72"/>
                <a:gd name="T22" fmla="*/ 8 w 22"/>
                <a:gd name="T23" fmla="*/ 26 h 72"/>
                <a:gd name="T24" fmla="*/ 8 w 22"/>
                <a:gd name="T25" fmla="*/ 24 h 72"/>
                <a:gd name="T26" fmla="*/ 8 w 22"/>
                <a:gd name="T27" fmla="*/ 22 h 72"/>
                <a:gd name="T28" fmla="*/ 8 w 22"/>
                <a:gd name="T29" fmla="*/ 20 h 72"/>
                <a:gd name="T30" fmla="*/ 8 w 22"/>
                <a:gd name="T31" fmla="*/ 20 h 72"/>
                <a:gd name="T32" fmla="*/ 8 w 22"/>
                <a:gd name="T33" fmla="*/ 20 h 72"/>
                <a:gd name="T34" fmla="*/ 6 w 22"/>
                <a:gd name="T35" fmla="*/ 20 h 72"/>
                <a:gd name="T36" fmla="*/ 6 w 22"/>
                <a:gd name="T37" fmla="*/ 18 h 72"/>
                <a:gd name="T38" fmla="*/ 4 w 22"/>
                <a:gd name="T39" fmla="*/ 18 h 72"/>
                <a:gd name="T40" fmla="*/ 2 w 22"/>
                <a:gd name="T41" fmla="*/ 16 h 72"/>
                <a:gd name="T42" fmla="*/ 2 w 22"/>
                <a:gd name="T43" fmla="*/ 16 h 72"/>
                <a:gd name="T44" fmla="*/ 0 w 22"/>
                <a:gd name="T45" fmla="*/ 16 h 72"/>
                <a:gd name="T46" fmla="*/ 0 w 22"/>
                <a:gd name="T47" fmla="*/ 16 h 72"/>
                <a:gd name="T48" fmla="*/ 0 w 22"/>
                <a:gd name="T49" fmla="*/ 14 h 72"/>
                <a:gd name="T50" fmla="*/ 0 w 22"/>
                <a:gd name="T51" fmla="*/ 12 h 72"/>
                <a:gd name="T52" fmla="*/ 0 w 22"/>
                <a:gd name="T53" fmla="*/ 10 h 72"/>
                <a:gd name="T54" fmla="*/ 0 w 22"/>
                <a:gd name="T55" fmla="*/ 8 h 72"/>
                <a:gd name="T56" fmla="*/ 0 w 22"/>
                <a:gd name="T57" fmla="*/ 4 h 72"/>
                <a:gd name="T58" fmla="*/ 0 w 22"/>
                <a:gd name="T59" fmla="*/ 2 h 72"/>
                <a:gd name="T60" fmla="*/ 6 w 22"/>
                <a:gd name="T61" fmla="*/ 0 h 72"/>
                <a:gd name="T62" fmla="*/ 10 w 22"/>
                <a:gd name="T63" fmla="*/ 4 h 72"/>
                <a:gd name="T64" fmla="*/ 12 w 22"/>
                <a:gd name="T65" fmla="*/ 8 h 72"/>
                <a:gd name="T66" fmla="*/ 12 w 22"/>
                <a:gd name="T67" fmla="*/ 10 h 72"/>
                <a:gd name="T68" fmla="*/ 12 w 22"/>
                <a:gd name="T69" fmla="*/ 10 h 72"/>
                <a:gd name="T70" fmla="*/ 14 w 22"/>
                <a:gd name="T71" fmla="*/ 12 h 72"/>
                <a:gd name="T72" fmla="*/ 14 w 22"/>
                <a:gd name="T73" fmla="*/ 14 h 72"/>
                <a:gd name="T74" fmla="*/ 14 w 22"/>
                <a:gd name="T75" fmla="*/ 20 h 72"/>
                <a:gd name="T76" fmla="*/ 16 w 22"/>
                <a:gd name="T77" fmla="*/ 26 h 72"/>
                <a:gd name="T78" fmla="*/ 16 w 22"/>
                <a:gd name="T79" fmla="*/ 30 h 72"/>
                <a:gd name="T80" fmla="*/ 16 w 22"/>
                <a:gd name="T81" fmla="*/ 36 h 72"/>
                <a:gd name="T82" fmla="*/ 16 w 22"/>
                <a:gd name="T83" fmla="*/ 40 h 72"/>
                <a:gd name="T84" fmla="*/ 18 w 22"/>
                <a:gd name="T85" fmla="*/ 46 h 72"/>
                <a:gd name="T86" fmla="*/ 18 w 22"/>
                <a:gd name="T87" fmla="*/ 48 h 72"/>
                <a:gd name="T88" fmla="*/ 18 w 22"/>
                <a:gd name="T89" fmla="*/ 50 h 72"/>
                <a:gd name="T90" fmla="*/ 18 w 22"/>
                <a:gd name="T91" fmla="*/ 52 h 72"/>
                <a:gd name="T92" fmla="*/ 18 w 22"/>
                <a:gd name="T93" fmla="*/ 54 h 72"/>
                <a:gd name="T94" fmla="*/ 20 w 22"/>
                <a:gd name="T95" fmla="*/ 62 h 72"/>
                <a:gd name="T96" fmla="*/ 22 w 22"/>
                <a:gd name="T97" fmla="*/ 68 h 72"/>
                <a:gd name="T98" fmla="*/ 14 w 22"/>
                <a:gd name="T9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 h="72">
                  <a:moveTo>
                    <a:pt x="14" y="72"/>
                  </a:moveTo>
                  <a:lnTo>
                    <a:pt x="14" y="72"/>
                  </a:lnTo>
                  <a:lnTo>
                    <a:pt x="12" y="64"/>
                  </a:lnTo>
                  <a:lnTo>
                    <a:pt x="10" y="58"/>
                  </a:lnTo>
                  <a:lnTo>
                    <a:pt x="8" y="52"/>
                  </a:lnTo>
                  <a:lnTo>
                    <a:pt x="8" y="48"/>
                  </a:lnTo>
                  <a:lnTo>
                    <a:pt x="6" y="42"/>
                  </a:lnTo>
                  <a:lnTo>
                    <a:pt x="6" y="38"/>
                  </a:lnTo>
                  <a:lnTo>
                    <a:pt x="6" y="32"/>
                  </a:lnTo>
                  <a:lnTo>
                    <a:pt x="6" y="32"/>
                  </a:lnTo>
                  <a:lnTo>
                    <a:pt x="6" y="30"/>
                  </a:lnTo>
                  <a:lnTo>
                    <a:pt x="8" y="26"/>
                  </a:lnTo>
                  <a:lnTo>
                    <a:pt x="8" y="24"/>
                  </a:lnTo>
                  <a:lnTo>
                    <a:pt x="8" y="22"/>
                  </a:lnTo>
                  <a:lnTo>
                    <a:pt x="8" y="20"/>
                  </a:lnTo>
                  <a:lnTo>
                    <a:pt x="8" y="20"/>
                  </a:lnTo>
                  <a:lnTo>
                    <a:pt x="8" y="20"/>
                  </a:lnTo>
                  <a:lnTo>
                    <a:pt x="6" y="20"/>
                  </a:lnTo>
                  <a:lnTo>
                    <a:pt x="6" y="18"/>
                  </a:lnTo>
                  <a:lnTo>
                    <a:pt x="4" y="18"/>
                  </a:lnTo>
                  <a:lnTo>
                    <a:pt x="2" y="16"/>
                  </a:lnTo>
                  <a:lnTo>
                    <a:pt x="2" y="16"/>
                  </a:lnTo>
                  <a:lnTo>
                    <a:pt x="0" y="16"/>
                  </a:lnTo>
                  <a:lnTo>
                    <a:pt x="0" y="16"/>
                  </a:lnTo>
                  <a:lnTo>
                    <a:pt x="0" y="14"/>
                  </a:lnTo>
                  <a:lnTo>
                    <a:pt x="0" y="12"/>
                  </a:lnTo>
                  <a:lnTo>
                    <a:pt x="0" y="10"/>
                  </a:lnTo>
                  <a:lnTo>
                    <a:pt x="0" y="8"/>
                  </a:lnTo>
                  <a:lnTo>
                    <a:pt x="0" y="4"/>
                  </a:lnTo>
                  <a:lnTo>
                    <a:pt x="0" y="2"/>
                  </a:lnTo>
                  <a:lnTo>
                    <a:pt x="6" y="0"/>
                  </a:lnTo>
                  <a:lnTo>
                    <a:pt x="10" y="4"/>
                  </a:lnTo>
                  <a:lnTo>
                    <a:pt x="12" y="8"/>
                  </a:lnTo>
                  <a:lnTo>
                    <a:pt x="12" y="10"/>
                  </a:lnTo>
                  <a:lnTo>
                    <a:pt x="12" y="10"/>
                  </a:lnTo>
                  <a:lnTo>
                    <a:pt x="14" y="12"/>
                  </a:lnTo>
                  <a:lnTo>
                    <a:pt x="14" y="14"/>
                  </a:lnTo>
                  <a:lnTo>
                    <a:pt x="14" y="20"/>
                  </a:lnTo>
                  <a:lnTo>
                    <a:pt x="16" y="26"/>
                  </a:lnTo>
                  <a:lnTo>
                    <a:pt x="16" y="30"/>
                  </a:lnTo>
                  <a:lnTo>
                    <a:pt x="16" y="36"/>
                  </a:lnTo>
                  <a:lnTo>
                    <a:pt x="16" y="40"/>
                  </a:lnTo>
                  <a:lnTo>
                    <a:pt x="18" y="46"/>
                  </a:lnTo>
                  <a:lnTo>
                    <a:pt x="18" y="48"/>
                  </a:lnTo>
                  <a:lnTo>
                    <a:pt x="18" y="50"/>
                  </a:lnTo>
                  <a:lnTo>
                    <a:pt x="18" y="52"/>
                  </a:lnTo>
                  <a:lnTo>
                    <a:pt x="18" y="54"/>
                  </a:lnTo>
                  <a:lnTo>
                    <a:pt x="20" y="62"/>
                  </a:lnTo>
                  <a:lnTo>
                    <a:pt x="22" y="68"/>
                  </a:lnTo>
                  <a:lnTo>
                    <a:pt x="14" y="7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0" name="Freeform 388">
              <a:extLst>
                <a:ext uri="{FF2B5EF4-FFF2-40B4-BE49-F238E27FC236}">
                  <a16:creationId xmlns:a16="http://schemas.microsoft.com/office/drawing/2014/main" id="{7F765FED-7412-447C-99D3-909B52DF5006}"/>
                </a:ext>
              </a:extLst>
            </p:cNvPr>
            <p:cNvSpPr>
              <a:spLocks/>
            </p:cNvSpPr>
            <p:nvPr/>
          </p:nvSpPr>
          <p:spPr bwMode="auto">
            <a:xfrm>
              <a:off x="3992080" y="4410649"/>
              <a:ext cx="114317" cy="128174"/>
            </a:xfrm>
            <a:custGeom>
              <a:avLst/>
              <a:gdLst>
                <a:gd name="T0" fmla="*/ 14 w 66"/>
                <a:gd name="T1" fmla="*/ 0 h 74"/>
                <a:gd name="T2" fmla="*/ 16 w 66"/>
                <a:gd name="T3" fmla="*/ 8 h 74"/>
                <a:gd name="T4" fmla="*/ 20 w 66"/>
                <a:gd name="T5" fmla="*/ 14 h 74"/>
                <a:gd name="T6" fmla="*/ 22 w 66"/>
                <a:gd name="T7" fmla="*/ 18 h 74"/>
                <a:gd name="T8" fmla="*/ 24 w 66"/>
                <a:gd name="T9" fmla="*/ 20 h 74"/>
                <a:gd name="T10" fmla="*/ 26 w 66"/>
                <a:gd name="T11" fmla="*/ 20 h 74"/>
                <a:gd name="T12" fmla="*/ 32 w 66"/>
                <a:gd name="T13" fmla="*/ 22 h 74"/>
                <a:gd name="T14" fmla="*/ 34 w 66"/>
                <a:gd name="T15" fmla="*/ 24 h 74"/>
                <a:gd name="T16" fmla="*/ 36 w 66"/>
                <a:gd name="T17" fmla="*/ 30 h 74"/>
                <a:gd name="T18" fmla="*/ 36 w 66"/>
                <a:gd name="T19" fmla="*/ 34 h 74"/>
                <a:gd name="T20" fmla="*/ 38 w 66"/>
                <a:gd name="T21" fmla="*/ 36 h 74"/>
                <a:gd name="T22" fmla="*/ 40 w 66"/>
                <a:gd name="T23" fmla="*/ 36 h 74"/>
                <a:gd name="T24" fmla="*/ 44 w 66"/>
                <a:gd name="T25" fmla="*/ 36 h 74"/>
                <a:gd name="T26" fmla="*/ 46 w 66"/>
                <a:gd name="T27" fmla="*/ 38 h 74"/>
                <a:gd name="T28" fmla="*/ 46 w 66"/>
                <a:gd name="T29" fmla="*/ 38 h 74"/>
                <a:gd name="T30" fmla="*/ 48 w 66"/>
                <a:gd name="T31" fmla="*/ 40 h 74"/>
                <a:gd name="T32" fmla="*/ 48 w 66"/>
                <a:gd name="T33" fmla="*/ 42 h 74"/>
                <a:gd name="T34" fmla="*/ 48 w 66"/>
                <a:gd name="T35" fmla="*/ 46 h 74"/>
                <a:gd name="T36" fmla="*/ 48 w 66"/>
                <a:gd name="T37" fmla="*/ 50 h 74"/>
                <a:gd name="T38" fmla="*/ 48 w 66"/>
                <a:gd name="T39" fmla="*/ 52 h 74"/>
                <a:gd name="T40" fmla="*/ 48 w 66"/>
                <a:gd name="T41" fmla="*/ 54 h 74"/>
                <a:gd name="T42" fmla="*/ 50 w 66"/>
                <a:gd name="T43" fmla="*/ 56 h 74"/>
                <a:gd name="T44" fmla="*/ 56 w 66"/>
                <a:gd name="T45" fmla="*/ 58 h 74"/>
                <a:gd name="T46" fmla="*/ 64 w 66"/>
                <a:gd name="T47" fmla="*/ 60 h 74"/>
                <a:gd name="T48" fmla="*/ 64 w 66"/>
                <a:gd name="T49" fmla="*/ 64 h 74"/>
                <a:gd name="T50" fmla="*/ 62 w 66"/>
                <a:gd name="T51" fmla="*/ 68 h 74"/>
                <a:gd name="T52" fmla="*/ 62 w 66"/>
                <a:gd name="T53" fmla="*/ 70 h 74"/>
                <a:gd name="T54" fmla="*/ 58 w 66"/>
                <a:gd name="T55" fmla="*/ 72 h 74"/>
                <a:gd name="T56" fmla="*/ 56 w 66"/>
                <a:gd name="T57" fmla="*/ 74 h 74"/>
                <a:gd name="T58" fmla="*/ 54 w 66"/>
                <a:gd name="T59" fmla="*/ 74 h 74"/>
                <a:gd name="T60" fmla="*/ 52 w 66"/>
                <a:gd name="T61" fmla="*/ 74 h 74"/>
                <a:gd name="T62" fmla="*/ 48 w 66"/>
                <a:gd name="T63" fmla="*/ 74 h 74"/>
                <a:gd name="T64" fmla="*/ 42 w 66"/>
                <a:gd name="T65" fmla="*/ 72 h 74"/>
                <a:gd name="T66" fmla="*/ 38 w 66"/>
                <a:gd name="T67" fmla="*/ 70 h 74"/>
                <a:gd name="T68" fmla="*/ 34 w 66"/>
                <a:gd name="T69" fmla="*/ 68 h 74"/>
                <a:gd name="T70" fmla="*/ 28 w 66"/>
                <a:gd name="T71" fmla="*/ 62 h 74"/>
                <a:gd name="T72" fmla="*/ 22 w 66"/>
                <a:gd name="T73" fmla="*/ 56 h 74"/>
                <a:gd name="T74" fmla="*/ 14 w 66"/>
                <a:gd name="T75" fmla="*/ 46 h 74"/>
                <a:gd name="T76" fmla="*/ 4 w 66"/>
                <a:gd name="T77"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6" h="74">
                  <a:moveTo>
                    <a:pt x="0" y="28"/>
                  </a:moveTo>
                  <a:lnTo>
                    <a:pt x="14" y="0"/>
                  </a:lnTo>
                  <a:lnTo>
                    <a:pt x="14" y="4"/>
                  </a:lnTo>
                  <a:lnTo>
                    <a:pt x="16" y="8"/>
                  </a:lnTo>
                  <a:lnTo>
                    <a:pt x="18" y="12"/>
                  </a:lnTo>
                  <a:lnTo>
                    <a:pt x="20" y="14"/>
                  </a:lnTo>
                  <a:lnTo>
                    <a:pt x="20" y="16"/>
                  </a:lnTo>
                  <a:lnTo>
                    <a:pt x="22" y="18"/>
                  </a:lnTo>
                  <a:lnTo>
                    <a:pt x="22" y="18"/>
                  </a:lnTo>
                  <a:lnTo>
                    <a:pt x="24" y="20"/>
                  </a:lnTo>
                  <a:lnTo>
                    <a:pt x="24" y="20"/>
                  </a:lnTo>
                  <a:lnTo>
                    <a:pt x="26" y="20"/>
                  </a:lnTo>
                  <a:lnTo>
                    <a:pt x="28" y="20"/>
                  </a:lnTo>
                  <a:lnTo>
                    <a:pt x="32" y="22"/>
                  </a:lnTo>
                  <a:lnTo>
                    <a:pt x="34" y="22"/>
                  </a:lnTo>
                  <a:lnTo>
                    <a:pt x="34" y="24"/>
                  </a:lnTo>
                  <a:lnTo>
                    <a:pt x="34" y="28"/>
                  </a:lnTo>
                  <a:lnTo>
                    <a:pt x="36" y="30"/>
                  </a:lnTo>
                  <a:lnTo>
                    <a:pt x="36" y="32"/>
                  </a:lnTo>
                  <a:lnTo>
                    <a:pt x="36" y="34"/>
                  </a:lnTo>
                  <a:lnTo>
                    <a:pt x="38" y="34"/>
                  </a:lnTo>
                  <a:lnTo>
                    <a:pt x="38" y="36"/>
                  </a:lnTo>
                  <a:lnTo>
                    <a:pt x="38" y="36"/>
                  </a:lnTo>
                  <a:lnTo>
                    <a:pt x="40" y="36"/>
                  </a:lnTo>
                  <a:lnTo>
                    <a:pt x="42" y="36"/>
                  </a:lnTo>
                  <a:lnTo>
                    <a:pt x="44" y="36"/>
                  </a:lnTo>
                  <a:lnTo>
                    <a:pt x="44" y="38"/>
                  </a:lnTo>
                  <a:lnTo>
                    <a:pt x="46" y="38"/>
                  </a:lnTo>
                  <a:lnTo>
                    <a:pt x="46" y="38"/>
                  </a:lnTo>
                  <a:lnTo>
                    <a:pt x="46" y="38"/>
                  </a:lnTo>
                  <a:lnTo>
                    <a:pt x="46" y="38"/>
                  </a:lnTo>
                  <a:lnTo>
                    <a:pt x="48" y="40"/>
                  </a:lnTo>
                  <a:lnTo>
                    <a:pt x="48" y="40"/>
                  </a:lnTo>
                  <a:lnTo>
                    <a:pt x="48" y="42"/>
                  </a:lnTo>
                  <a:lnTo>
                    <a:pt x="48" y="44"/>
                  </a:lnTo>
                  <a:lnTo>
                    <a:pt x="48" y="46"/>
                  </a:lnTo>
                  <a:lnTo>
                    <a:pt x="48" y="48"/>
                  </a:lnTo>
                  <a:lnTo>
                    <a:pt x="48" y="50"/>
                  </a:lnTo>
                  <a:lnTo>
                    <a:pt x="48" y="52"/>
                  </a:lnTo>
                  <a:lnTo>
                    <a:pt x="48" y="52"/>
                  </a:lnTo>
                  <a:lnTo>
                    <a:pt x="48" y="54"/>
                  </a:lnTo>
                  <a:lnTo>
                    <a:pt x="48" y="54"/>
                  </a:lnTo>
                  <a:lnTo>
                    <a:pt x="50" y="54"/>
                  </a:lnTo>
                  <a:lnTo>
                    <a:pt x="50" y="56"/>
                  </a:lnTo>
                  <a:lnTo>
                    <a:pt x="52" y="56"/>
                  </a:lnTo>
                  <a:lnTo>
                    <a:pt x="56" y="58"/>
                  </a:lnTo>
                  <a:lnTo>
                    <a:pt x="58" y="58"/>
                  </a:lnTo>
                  <a:lnTo>
                    <a:pt x="64" y="60"/>
                  </a:lnTo>
                  <a:lnTo>
                    <a:pt x="66" y="60"/>
                  </a:lnTo>
                  <a:lnTo>
                    <a:pt x="64" y="64"/>
                  </a:lnTo>
                  <a:lnTo>
                    <a:pt x="64" y="66"/>
                  </a:lnTo>
                  <a:lnTo>
                    <a:pt x="62" y="68"/>
                  </a:lnTo>
                  <a:lnTo>
                    <a:pt x="62" y="68"/>
                  </a:lnTo>
                  <a:lnTo>
                    <a:pt x="62" y="70"/>
                  </a:lnTo>
                  <a:lnTo>
                    <a:pt x="60" y="70"/>
                  </a:lnTo>
                  <a:lnTo>
                    <a:pt x="58" y="72"/>
                  </a:lnTo>
                  <a:lnTo>
                    <a:pt x="58" y="74"/>
                  </a:lnTo>
                  <a:lnTo>
                    <a:pt x="56" y="74"/>
                  </a:lnTo>
                  <a:lnTo>
                    <a:pt x="54" y="74"/>
                  </a:lnTo>
                  <a:lnTo>
                    <a:pt x="54" y="74"/>
                  </a:lnTo>
                  <a:lnTo>
                    <a:pt x="52" y="74"/>
                  </a:lnTo>
                  <a:lnTo>
                    <a:pt x="52" y="74"/>
                  </a:lnTo>
                  <a:lnTo>
                    <a:pt x="50" y="74"/>
                  </a:lnTo>
                  <a:lnTo>
                    <a:pt x="48" y="74"/>
                  </a:lnTo>
                  <a:lnTo>
                    <a:pt x="44" y="74"/>
                  </a:lnTo>
                  <a:lnTo>
                    <a:pt x="42" y="72"/>
                  </a:lnTo>
                  <a:lnTo>
                    <a:pt x="40" y="72"/>
                  </a:lnTo>
                  <a:lnTo>
                    <a:pt x="38" y="70"/>
                  </a:lnTo>
                  <a:lnTo>
                    <a:pt x="36" y="70"/>
                  </a:lnTo>
                  <a:lnTo>
                    <a:pt x="34" y="68"/>
                  </a:lnTo>
                  <a:lnTo>
                    <a:pt x="32" y="66"/>
                  </a:lnTo>
                  <a:lnTo>
                    <a:pt x="28" y="62"/>
                  </a:lnTo>
                  <a:lnTo>
                    <a:pt x="26" y="60"/>
                  </a:lnTo>
                  <a:lnTo>
                    <a:pt x="22" y="56"/>
                  </a:lnTo>
                  <a:lnTo>
                    <a:pt x="20" y="52"/>
                  </a:lnTo>
                  <a:lnTo>
                    <a:pt x="14" y="46"/>
                  </a:lnTo>
                  <a:lnTo>
                    <a:pt x="8" y="38"/>
                  </a:lnTo>
                  <a:lnTo>
                    <a:pt x="4" y="32"/>
                  </a:lnTo>
                  <a:lnTo>
                    <a:pt x="0" y="2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1" name="Freeform 389">
              <a:extLst>
                <a:ext uri="{FF2B5EF4-FFF2-40B4-BE49-F238E27FC236}">
                  <a16:creationId xmlns:a16="http://schemas.microsoft.com/office/drawing/2014/main" id="{3A7B8468-039A-4EB9-A8D8-C3BD7E5F5461}"/>
                </a:ext>
              </a:extLst>
            </p:cNvPr>
            <p:cNvSpPr>
              <a:spLocks/>
            </p:cNvSpPr>
            <p:nvPr/>
          </p:nvSpPr>
          <p:spPr bwMode="auto">
            <a:xfrm>
              <a:off x="3992080" y="4410649"/>
              <a:ext cx="114317" cy="128174"/>
            </a:xfrm>
            <a:custGeom>
              <a:avLst/>
              <a:gdLst>
                <a:gd name="T0" fmla="*/ 14 w 66"/>
                <a:gd name="T1" fmla="*/ 0 h 74"/>
                <a:gd name="T2" fmla="*/ 16 w 66"/>
                <a:gd name="T3" fmla="*/ 8 h 74"/>
                <a:gd name="T4" fmla="*/ 20 w 66"/>
                <a:gd name="T5" fmla="*/ 14 h 74"/>
                <a:gd name="T6" fmla="*/ 22 w 66"/>
                <a:gd name="T7" fmla="*/ 18 h 74"/>
                <a:gd name="T8" fmla="*/ 24 w 66"/>
                <a:gd name="T9" fmla="*/ 20 h 74"/>
                <a:gd name="T10" fmla="*/ 26 w 66"/>
                <a:gd name="T11" fmla="*/ 20 h 74"/>
                <a:gd name="T12" fmla="*/ 32 w 66"/>
                <a:gd name="T13" fmla="*/ 22 h 74"/>
                <a:gd name="T14" fmla="*/ 34 w 66"/>
                <a:gd name="T15" fmla="*/ 24 h 74"/>
                <a:gd name="T16" fmla="*/ 36 w 66"/>
                <a:gd name="T17" fmla="*/ 30 h 74"/>
                <a:gd name="T18" fmla="*/ 36 w 66"/>
                <a:gd name="T19" fmla="*/ 34 h 74"/>
                <a:gd name="T20" fmla="*/ 38 w 66"/>
                <a:gd name="T21" fmla="*/ 36 h 74"/>
                <a:gd name="T22" fmla="*/ 40 w 66"/>
                <a:gd name="T23" fmla="*/ 36 h 74"/>
                <a:gd name="T24" fmla="*/ 44 w 66"/>
                <a:gd name="T25" fmla="*/ 36 h 74"/>
                <a:gd name="T26" fmla="*/ 46 w 66"/>
                <a:gd name="T27" fmla="*/ 38 h 74"/>
                <a:gd name="T28" fmla="*/ 46 w 66"/>
                <a:gd name="T29" fmla="*/ 38 h 74"/>
                <a:gd name="T30" fmla="*/ 48 w 66"/>
                <a:gd name="T31" fmla="*/ 40 h 74"/>
                <a:gd name="T32" fmla="*/ 48 w 66"/>
                <a:gd name="T33" fmla="*/ 42 h 74"/>
                <a:gd name="T34" fmla="*/ 48 w 66"/>
                <a:gd name="T35" fmla="*/ 46 h 74"/>
                <a:gd name="T36" fmla="*/ 48 w 66"/>
                <a:gd name="T37" fmla="*/ 50 h 74"/>
                <a:gd name="T38" fmla="*/ 48 w 66"/>
                <a:gd name="T39" fmla="*/ 52 h 74"/>
                <a:gd name="T40" fmla="*/ 48 w 66"/>
                <a:gd name="T41" fmla="*/ 54 h 74"/>
                <a:gd name="T42" fmla="*/ 50 w 66"/>
                <a:gd name="T43" fmla="*/ 56 h 74"/>
                <a:gd name="T44" fmla="*/ 56 w 66"/>
                <a:gd name="T45" fmla="*/ 58 h 74"/>
                <a:gd name="T46" fmla="*/ 64 w 66"/>
                <a:gd name="T47" fmla="*/ 60 h 74"/>
                <a:gd name="T48" fmla="*/ 64 w 66"/>
                <a:gd name="T49" fmla="*/ 64 h 74"/>
                <a:gd name="T50" fmla="*/ 62 w 66"/>
                <a:gd name="T51" fmla="*/ 68 h 74"/>
                <a:gd name="T52" fmla="*/ 62 w 66"/>
                <a:gd name="T53" fmla="*/ 70 h 74"/>
                <a:gd name="T54" fmla="*/ 58 w 66"/>
                <a:gd name="T55" fmla="*/ 72 h 74"/>
                <a:gd name="T56" fmla="*/ 56 w 66"/>
                <a:gd name="T57" fmla="*/ 74 h 74"/>
                <a:gd name="T58" fmla="*/ 54 w 66"/>
                <a:gd name="T59" fmla="*/ 74 h 74"/>
                <a:gd name="T60" fmla="*/ 52 w 66"/>
                <a:gd name="T61" fmla="*/ 74 h 74"/>
                <a:gd name="T62" fmla="*/ 48 w 66"/>
                <a:gd name="T63" fmla="*/ 74 h 74"/>
                <a:gd name="T64" fmla="*/ 42 w 66"/>
                <a:gd name="T65" fmla="*/ 72 h 74"/>
                <a:gd name="T66" fmla="*/ 38 w 66"/>
                <a:gd name="T67" fmla="*/ 70 h 74"/>
                <a:gd name="T68" fmla="*/ 34 w 66"/>
                <a:gd name="T69" fmla="*/ 68 h 74"/>
                <a:gd name="T70" fmla="*/ 28 w 66"/>
                <a:gd name="T71" fmla="*/ 62 h 74"/>
                <a:gd name="T72" fmla="*/ 22 w 66"/>
                <a:gd name="T73" fmla="*/ 56 h 74"/>
                <a:gd name="T74" fmla="*/ 14 w 66"/>
                <a:gd name="T75" fmla="*/ 46 h 74"/>
                <a:gd name="T76" fmla="*/ 4 w 66"/>
                <a:gd name="T77"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6" h="74">
                  <a:moveTo>
                    <a:pt x="0" y="28"/>
                  </a:moveTo>
                  <a:lnTo>
                    <a:pt x="14" y="0"/>
                  </a:lnTo>
                  <a:lnTo>
                    <a:pt x="14" y="4"/>
                  </a:lnTo>
                  <a:lnTo>
                    <a:pt x="16" y="8"/>
                  </a:lnTo>
                  <a:lnTo>
                    <a:pt x="18" y="12"/>
                  </a:lnTo>
                  <a:lnTo>
                    <a:pt x="20" y="14"/>
                  </a:lnTo>
                  <a:lnTo>
                    <a:pt x="20" y="16"/>
                  </a:lnTo>
                  <a:lnTo>
                    <a:pt x="22" y="18"/>
                  </a:lnTo>
                  <a:lnTo>
                    <a:pt x="22" y="18"/>
                  </a:lnTo>
                  <a:lnTo>
                    <a:pt x="24" y="20"/>
                  </a:lnTo>
                  <a:lnTo>
                    <a:pt x="24" y="20"/>
                  </a:lnTo>
                  <a:lnTo>
                    <a:pt x="26" y="20"/>
                  </a:lnTo>
                  <a:lnTo>
                    <a:pt x="28" y="20"/>
                  </a:lnTo>
                  <a:lnTo>
                    <a:pt x="32" y="22"/>
                  </a:lnTo>
                  <a:lnTo>
                    <a:pt x="34" y="22"/>
                  </a:lnTo>
                  <a:lnTo>
                    <a:pt x="34" y="24"/>
                  </a:lnTo>
                  <a:lnTo>
                    <a:pt x="34" y="28"/>
                  </a:lnTo>
                  <a:lnTo>
                    <a:pt x="36" y="30"/>
                  </a:lnTo>
                  <a:lnTo>
                    <a:pt x="36" y="32"/>
                  </a:lnTo>
                  <a:lnTo>
                    <a:pt x="36" y="34"/>
                  </a:lnTo>
                  <a:lnTo>
                    <a:pt x="38" y="34"/>
                  </a:lnTo>
                  <a:lnTo>
                    <a:pt x="38" y="36"/>
                  </a:lnTo>
                  <a:lnTo>
                    <a:pt x="38" y="36"/>
                  </a:lnTo>
                  <a:lnTo>
                    <a:pt x="40" y="36"/>
                  </a:lnTo>
                  <a:lnTo>
                    <a:pt x="42" y="36"/>
                  </a:lnTo>
                  <a:lnTo>
                    <a:pt x="44" y="36"/>
                  </a:lnTo>
                  <a:lnTo>
                    <a:pt x="44" y="38"/>
                  </a:lnTo>
                  <a:lnTo>
                    <a:pt x="46" y="38"/>
                  </a:lnTo>
                  <a:lnTo>
                    <a:pt x="46" y="38"/>
                  </a:lnTo>
                  <a:lnTo>
                    <a:pt x="46" y="38"/>
                  </a:lnTo>
                  <a:lnTo>
                    <a:pt x="46" y="38"/>
                  </a:lnTo>
                  <a:lnTo>
                    <a:pt x="48" y="40"/>
                  </a:lnTo>
                  <a:lnTo>
                    <a:pt x="48" y="40"/>
                  </a:lnTo>
                  <a:lnTo>
                    <a:pt x="48" y="42"/>
                  </a:lnTo>
                  <a:lnTo>
                    <a:pt x="48" y="44"/>
                  </a:lnTo>
                  <a:lnTo>
                    <a:pt x="48" y="46"/>
                  </a:lnTo>
                  <a:lnTo>
                    <a:pt x="48" y="48"/>
                  </a:lnTo>
                  <a:lnTo>
                    <a:pt x="48" y="50"/>
                  </a:lnTo>
                  <a:lnTo>
                    <a:pt x="48" y="52"/>
                  </a:lnTo>
                  <a:lnTo>
                    <a:pt x="48" y="52"/>
                  </a:lnTo>
                  <a:lnTo>
                    <a:pt x="48" y="54"/>
                  </a:lnTo>
                  <a:lnTo>
                    <a:pt x="48" y="54"/>
                  </a:lnTo>
                  <a:lnTo>
                    <a:pt x="50" y="54"/>
                  </a:lnTo>
                  <a:lnTo>
                    <a:pt x="50" y="56"/>
                  </a:lnTo>
                  <a:lnTo>
                    <a:pt x="52" y="56"/>
                  </a:lnTo>
                  <a:lnTo>
                    <a:pt x="56" y="58"/>
                  </a:lnTo>
                  <a:lnTo>
                    <a:pt x="58" y="58"/>
                  </a:lnTo>
                  <a:lnTo>
                    <a:pt x="64" y="60"/>
                  </a:lnTo>
                  <a:lnTo>
                    <a:pt x="66" y="60"/>
                  </a:lnTo>
                  <a:lnTo>
                    <a:pt x="64" y="64"/>
                  </a:lnTo>
                  <a:lnTo>
                    <a:pt x="64" y="66"/>
                  </a:lnTo>
                  <a:lnTo>
                    <a:pt x="62" y="68"/>
                  </a:lnTo>
                  <a:lnTo>
                    <a:pt x="62" y="68"/>
                  </a:lnTo>
                  <a:lnTo>
                    <a:pt x="62" y="70"/>
                  </a:lnTo>
                  <a:lnTo>
                    <a:pt x="60" y="70"/>
                  </a:lnTo>
                  <a:lnTo>
                    <a:pt x="58" y="72"/>
                  </a:lnTo>
                  <a:lnTo>
                    <a:pt x="58" y="74"/>
                  </a:lnTo>
                  <a:lnTo>
                    <a:pt x="56" y="74"/>
                  </a:lnTo>
                  <a:lnTo>
                    <a:pt x="54" y="74"/>
                  </a:lnTo>
                  <a:lnTo>
                    <a:pt x="54" y="74"/>
                  </a:lnTo>
                  <a:lnTo>
                    <a:pt x="52" y="74"/>
                  </a:lnTo>
                  <a:lnTo>
                    <a:pt x="52" y="74"/>
                  </a:lnTo>
                  <a:lnTo>
                    <a:pt x="50" y="74"/>
                  </a:lnTo>
                  <a:lnTo>
                    <a:pt x="48" y="74"/>
                  </a:lnTo>
                  <a:lnTo>
                    <a:pt x="44" y="74"/>
                  </a:lnTo>
                  <a:lnTo>
                    <a:pt x="42" y="72"/>
                  </a:lnTo>
                  <a:lnTo>
                    <a:pt x="40" y="72"/>
                  </a:lnTo>
                  <a:lnTo>
                    <a:pt x="38" y="70"/>
                  </a:lnTo>
                  <a:lnTo>
                    <a:pt x="36" y="70"/>
                  </a:lnTo>
                  <a:lnTo>
                    <a:pt x="34" y="68"/>
                  </a:lnTo>
                  <a:lnTo>
                    <a:pt x="32" y="66"/>
                  </a:lnTo>
                  <a:lnTo>
                    <a:pt x="28" y="62"/>
                  </a:lnTo>
                  <a:lnTo>
                    <a:pt x="26" y="60"/>
                  </a:lnTo>
                  <a:lnTo>
                    <a:pt x="22" y="56"/>
                  </a:lnTo>
                  <a:lnTo>
                    <a:pt x="20" y="52"/>
                  </a:lnTo>
                  <a:lnTo>
                    <a:pt x="14" y="46"/>
                  </a:lnTo>
                  <a:lnTo>
                    <a:pt x="8" y="38"/>
                  </a:lnTo>
                  <a:lnTo>
                    <a:pt x="4" y="32"/>
                  </a:lnTo>
                  <a:lnTo>
                    <a:pt x="0" y="2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2" name="Freeform 390">
              <a:extLst>
                <a:ext uri="{FF2B5EF4-FFF2-40B4-BE49-F238E27FC236}">
                  <a16:creationId xmlns:a16="http://schemas.microsoft.com/office/drawing/2014/main" id="{210E19AC-C1C1-4062-A016-038050262146}"/>
                </a:ext>
              </a:extLst>
            </p:cNvPr>
            <p:cNvSpPr>
              <a:spLocks/>
            </p:cNvSpPr>
            <p:nvPr/>
          </p:nvSpPr>
          <p:spPr bwMode="auto">
            <a:xfrm>
              <a:off x="4906615" y="5089622"/>
              <a:ext cx="187064" cy="221706"/>
            </a:xfrm>
            <a:custGeom>
              <a:avLst/>
              <a:gdLst>
                <a:gd name="T0" fmla="*/ 64 w 108"/>
                <a:gd name="T1" fmla="*/ 4 h 128"/>
                <a:gd name="T2" fmla="*/ 60 w 108"/>
                <a:gd name="T3" fmla="*/ 10 h 128"/>
                <a:gd name="T4" fmla="*/ 54 w 108"/>
                <a:gd name="T5" fmla="*/ 10 h 128"/>
                <a:gd name="T6" fmla="*/ 48 w 108"/>
                <a:gd name="T7" fmla="*/ 10 h 128"/>
                <a:gd name="T8" fmla="*/ 48 w 108"/>
                <a:gd name="T9" fmla="*/ 14 h 128"/>
                <a:gd name="T10" fmla="*/ 46 w 108"/>
                <a:gd name="T11" fmla="*/ 20 h 128"/>
                <a:gd name="T12" fmla="*/ 44 w 108"/>
                <a:gd name="T13" fmla="*/ 24 h 128"/>
                <a:gd name="T14" fmla="*/ 40 w 108"/>
                <a:gd name="T15" fmla="*/ 26 h 128"/>
                <a:gd name="T16" fmla="*/ 34 w 108"/>
                <a:gd name="T17" fmla="*/ 26 h 128"/>
                <a:gd name="T18" fmla="*/ 32 w 108"/>
                <a:gd name="T19" fmla="*/ 30 h 128"/>
                <a:gd name="T20" fmla="*/ 32 w 108"/>
                <a:gd name="T21" fmla="*/ 36 h 128"/>
                <a:gd name="T22" fmla="*/ 30 w 108"/>
                <a:gd name="T23" fmla="*/ 38 h 128"/>
                <a:gd name="T24" fmla="*/ 24 w 108"/>
                <a:gd name="T25" fmla="*/ 40 h 128"/>
                <a:gd name="T26" fmla="*/ 12 w 108"/>
                <a:gd name="T27" fmla="*/ 40 h 128"/>
                <a:gd name="T28" fmla="*/ 4 w 108"/>
                <a:gd name="T29" fmla="*/ 42 h 128"/>
                <a:gd name="T30" fmla="*/ 6 w 108"/>
                <a:gd name="T31" fmla="*/ 66 h 128"/>
                <a:gd name="T32" fmla="*/ 6 w 108"/>
                <a:gd name="T33" fmla="*/ 74 h 128"/>
                <a:gd name="T34" fmla="*/ 8 w 108"/>
                <a:gd name="T35" fmla="*/ 78 h 128"/>
                <a:gd name="T36" fmla="*/ 16 w 108"/>
                <a:gd name="T37" fmla="*/ 80 h 128"/>
                <a:gd name="T38" fmla="*/ 18 w 108"/>
                <a:gd name="T39" fmla="*/ 84 h 128"/>
                <a:gd name="T40" fmla="*/ 18 w 108"/>
                <a:gd name="T41" fmla="*/ 90 h 128"/>
                <a:gd name="T42" fmla="*/ 20 w 108"/>
                <a:gd name="T43" fmla="*/ 94 h 128"/>
                <a:gd name="T44" fmla="*/ 24 w 108"/>
                <a:gd name="T45" fmla="*/ 94 h 128"/>
                <a:gd name="T46" fmla="*/ 28 w 108"/>
                <a:gd name="T47" fmla="*/ 94 h 128"/>
                <a:gd name="T48" fmla="*/ 30 w 108"/>
                <a:gd name="T49" fmla="*/ 96 h 128"/>
                <a:gd name="T50" fmla="*/ 30 w 108"/>
                <a:gd name="T51" fmla="*/ 104 h 128"/>
                <a:gd name="T52" fmla="*/ 32 w 108"/>
                <a:gd name="T53" fmla="*/ 110 h 128"/>
                <a:gd name="T54" fmla="*/ 36 w 108"/>
                <a:gd name="T55" fmla="*/ 110 h 128"/>
                <a:gd name="T56" fmla="*/ 42 w 108"/>
                <a:gd name="T57" fmla="*/ 112 h 128"/>
                <a:gd name="T58" fmla="*/ 60 w 108"/>
                <a:gd name="T59" fmla="*/ 120 h 128"/>
                <a:gd name="T60" fmla="*/ 64 w 108"/>
                <a:gd name="T61" fmla="*/ 122 h 128"/>
                <a:gd name="T62" fmla="*/ 68 w 108"/>
                <a:gd name="T63" fmla="*/ 126 h 128"/>
                <a:gd name="T64" fmla="*/ 74 w 108"/>
                <a:gd name="T65" fmla="*/ 128 h 128"/>
                <a:gd name="T66" fmla="*/ 84 w 108"/>
                <a:gd name="T67" fmla="*/ 126 h 128"/>
                <a:gd name="T68" fmla="*/ 86 w 108"/>
                <a:gd name="T69" fmla="*/ 116 h 128"/>
                <a:gd name="T70" fmla="*/ 90 w 108"/>
                <a:gd name="T71" fmla="*/ 112 h 128"/>
                <a:gd name="T72" fmla="*/ 94 w 108"/>
                <a:gd name="T73" fmla="*/ 110 h 128"/>
                <a:gd name="T74" fmla="*/ 96 w 108"/>
                <a:gd name="T75" fmla="*/ 106 h 128"/>
                <a:gd name="T76" fmla="*/ 94 w 108"/>
                <a:gd name="T77" fmla="*/ 96 h 128"/>
                <a:gd name="T78" fmla="*/ 94 w 108"/>
                <a:gd name="T79" fmla="*/ 90 h 128"/>
                <a:gd name="T80" fmla="*/ 98 w 108"/>
                <a:gd name="T81" fmla="*/ 88 h 128"/>
                <a:gd name="T82" fmla="*/ 106 w 108"/>
                <a:gd name="T83" fmla="*/ 82 h 128"/>
                <a:gd name="T84" fmla="*/ 108 w 108"/>
                <a:gd name="T85" fmla="*/ 78 h 128"/>
                <a:gd name="T86" fmla="*/ 108 w 108"/>
                <a:gd name="T87" fmla="*/ 74 h 128"/>
                <a:gd name="T88" fmla="*/ 104 w 108"/>
                <a:gd name="T89" fmla="*/ 64 h 128"/>
                <a:gd name="T90" fmla="*/ 102 w 108"/>
                <a:gd name="T91" fmla="*/ 56 h 128"/>
                <a:gd name="T92" fmla="*/ 106 w 108"/>
                <a:gd name="T93" fmla="*/ 42 h 128"/>
                <a:gd name="T94" fmla="*/ 108 w 108"/>
                <a:gd name="T95" fmla="*/ 34 h 128"/>
                <a:gd name="T96" fmla="*/ 106 w 108"/>
                <a:gd name="T97" fmla="*/ 26 h 128"/>
                <a:gd name="T98" fmla="*/ 102 w 108"/>
                <a:gd name="T99" fmla="*/ 20 h 128"/>
                <a:gd name="T100" fmla="*/ 96 w 108"/>
                <a:gd name="T101" fmla="*/ 16 h 128"/>
                <a:gd name="T102" fmla="*/ 86 w 108"/>
                <a:gd name="T103" fmla="*/ 16 h 128"/>
                <a:gd name="T104" fmla="*/ 80 w 108"/>
                <a:gd name="T105" fmla="*/ 14 h 128"/>
                <a:gd name="T106" fmla="*/ 78 w 108"/>
                <a:gd name="T107" fmla="*/ 12 h 128"/>
                <a:gd name="T108" fmla="*/ 74 w 108"/>
                <a:gd name="T109" fmla="*/ 6 h 128"/>
                <a:gd name="T110" fmla="*/ 72 w 108"/>
                <a:gd name="T111" fmla="*/ 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 h="128">
                  <a:moveTo>
                    <a:pt x="66" y="0"/>
                  </a:moveTo>
                  <a:lnTo>
                    <a:pt x="66" y="0"/>
                  </a:lnTo>
                  <a:lnTo>
                    <a:pt x="66" y="2"/>
                  </a:lnTo>
                  <a:lnTo>
                    <a:pt x="64" y="4"/>
                  </a:lnTo>
                  <a:lnTo>
                    <a:pt x="62" y="8"/>
                  </a:lnTo>
                  <a:lnTo>
                    <a:pt x="62" y="8"/>
                  </a:lnTo>
                  <a:lnTo>
                    <a:pt x="62" y="10"/>
                  </a:lnTo>
                  <a:lnTo>
                    <a:pt x="60" y="10"/>
                  </a:lnTo>
                  <a:lnTo>
                    <a:pt x="60" y="10"/>
                  </a:lnTo>
                  <a:lnTo>
                    <a:pt x="58" y="10"/>
                  </a:lnTo>
                  <a:lnTo>
                    <a:pt x="56" y="10"/>
                  </a:lnTo>
                  <a:lnTo>
                    <a:pt x="54" y="10"/>
                  </a:lnTo>
                  <a:lnTo>
                    <a:pt x="52" y="10"/>
                  </a:lnTo>
                  <a:lnTo>
                    <a:pt x="50" y="10"/>
                  </a:lnTo>
                  <a:lnTo>
                    <a:pt x="48" y="10"/>
                  </a:lnTo>
                  <a:lnTo>
                    <a:pt x="48" y="10"/>
                  </a:lnTo>
                  <a:lnTo>
                    <a:pt x="48" y="10"/>
                  </a:lnTo>
                  <a:lnTo>
                    <a:pt x="48" y="12"/>
                  </a:lnTo>
                  <a:lnTo>
                    <a:pt x="48" y="12"/>
                  </a:lnTo>
                  <a:lnTo>
                    <a:pt x="48" y="14"/>
                  </a:lnTo>
                  <a:lnTo>
                    <a:pt x="46" y="14"/>
                  </a:lnTo>
                  <a:lnTo>
                    <a:pt x="48" y="16"/>
                  </a:lnTo>
                  <a:lnTo>
                    <a:pt x="48" y="18"/>
                  </a:lnTo>
                  <a:lnTo>
                    <a:pt x="46" y="20"/>
                  </a:lnTo>
                  <a:lnTo>
                    <a:pt x="46" y="22"/>
                  </a:lnTo>
                  <a:lnTo>
                    <a:pt x="46" y="22"/>
                  </a:lnTo>
                  <a:lnTo>
                    <a:pt x="46" y="22"/>
                  </a:lnTo>
                  <a:lnTo>
                    <a:pt x="44" y="24"/>
                  </a:lnTo>
                  <a:lnTo>
                    <a:pt x="42" y="24"/>
                  </a:lnTo>
                  <a:lnTo>
                    <a:pt x="40" y="24"/>
                  </a:lnTo>
                  <a:lnTo>
                    <a:pt x="40" y="26"/>
                  </a:lnTo>
                  <a:lnTo>
                    <a:pt x="40" y="26"/>
                  </a:lnTo>
                  <a:lnTo>
                    <a:pt x="36" y="26"/>
                  </a:lnTo>
                  <a:lnTo>
                    <a:pt x="34" y="26"/>
                  </a:lnTo>
                  <a:lnTo>
                    <a:pt x="34" y="26"/>
                  </a:lnTo>
                  <a:lnTo>
                    <a:pt x="34" y="26"/>
                  </a:lnTo>
                  <a:lnTo>
                    <a:pt x="34" y="28"/>
                  </a:lnTo>
                  <a:lnTo>
                    <a:pt x="32" y="28"/>
                  </a:lnTo>
                  <a:lnTo>
                    <a:pt x="32" y="28"/>
                  </a:lnTo>
                  <a:lnTo>
                    <a:pt x="32" y="30"/>
                  </a:lnTo>
                  <a:lnTo>
                    <a:pt x="32" y="32"/>
                  </a:lnTo>
                  <a:lnTo>
                    <a:pt x="32" y="34"/>
                  </a:lnTo>
                  <a:lnTo>
                    <a:pt x="32" y="36"/>
                  </a:lnTo>
                  <a:lnTo>
                    <a:pt x="32" y="36"/>
                  </a:lnTo>
                  <a:lnTo>
                    <a:pt x="32" y="38"/>
                  </a:lnTo>
                  <a:lnTo>
                    <a:pt x="32" y="38"/>
                  </a:lnTo>
                  <a:lnTo>
                    <a:pt x="30" y="38"/>
                  </a:lnTo>
                  <a:lnTo>
                    <a:pt x="30" y="38"/>
                  </a:lnTo>
                  <a:lnTo>
                    <a:pt x="28" y="40"/>
                  </a:lnTo>
                  <a:lnTo>
                    <a:pt x="28" y="40"/>
                  </a:lnTo>
                  <a:lnTo>
                    <a:pt x="26" y="40"/>
                  </a:lnTo>
                  <a:lnTo>
                    <a:pt x="24" y="40"/>
                  </a:lnTo>
                  <a:lnTo>
                    <a:pt x="22" y="40"/>
                  </a:lnTo>
                  <a:lnTo>
                    <a:pt x="20" y="42"/>
                  </a:lnTo>
                  <a:lnTo>
                    <a:pt x="16" y="40"/>
                  </a:lnTo>
                  <a:lnTo>
                    <a:pt x="12" y="40"/>
                  </a:lnTo>
                  <a:lnTo>
                    <a:pt x="12" y="40"/>
                  </a:lnTo>
                  <a:lnTo>
                    <a:pt x="10" y="40"/>
                  </a:lnTo>
                  <a:lnTo>
                    <a:pt x="8" y="42"/>
                  </a:lnTo>
                  <a:lnTo>
                    <a:pt x="4" y="42"/>
                  </a:lnTo>
                  <a:lnTo>
                    <a:pt x="0" y="44"/>
                  </a:lnTo>
                  <a:lnTo>
                    <a:pt x="4" y="52"/>
                  </a:lnTo>
                  <a:lnTo>
                    <a:pt x="6" y="60"/>
                  </a:lnTo>
                  <a:lnTo>
                    <a:pt x="6" y="66"/>
                  </a:lnTo>
                  <a:lnTo>
                    <a:pt x="6" y="68"/>
                  </a:lnTo>
                  <a:lnTo>
                    <a:pt x="6" y="68"/>
                  </a:lnTo>
                  <a:lnTo>
                    <a:pt x="6" y="72"/>
                  </a:lnTo>
                  <a:lnTo>
                    <a:pt x="6" y="74"/>
                  </a:lnTo>
                  <a:lnTo>
                    <a:pt x="8" y="76"/>
                  </a:lnTo>
                  <a:lnTo>
                    <a:pt x="8" y="76"/>
                  </a:lnTo>
                  <a:lnTo>
                    <a:pt x="8" y="78"/>
                  </a:lnTo>
                  <a:lnTo>
                    <a:pt x="8" y="78"/>
                  </a:lnTo>
                  <a:lnTo>
                    <a:pt x="10" y="78"/>
                  </a:lnTo>
                  <a:lnTo>
                    <a:pt x="12" y="80"/>
                  </a:lnTo>
                  <a:lnTo>
                    <a:pt x="14" y="80"/>
                  </a:lnTo>
                  <a:lnTo>
                    <a:pt x="16" y="80"/>
                  </a:lnTo>
                  <a:lnTo>
                    <a:pt x="16" y="82"/>
                  </a:lnTo>
                  <a:lnTo>
                    <a:pt x="16" y="82"/>
                  </a:lnTo>
                  <a:lnTo>
                    <a:pt x="16" y="82"/>
                  </a:lnTo>
                  <a:lnTo>
                    <a:pt x="18" y="84"/>
                  </a:lnTo>
                  <a:lnTo>
                    <a:pt x="18" y="86"/>
                  </a:lnTo>
                  <a:lnTo>
                    <a:pt x="18" y="88"/>
                  </a:lnTo>
                  <a:lnTo>
                    <a:pt x="18" y="90"/>
                  </a:lnTo>
                  <a:lnTo>
                    <a:pt x="18" y="90"/>
                  </a:lnTo>
                  <a:lnTo>
                    <a:pt x="18" y="92"/>
                  </a:lnTo>
                  <a:lnTo>
                    <a:pt x="18" y="92"/>
                  </a:lnTo>
                  <a:lnTo>
                    <a:pt x="20" y="94"/>
                  </a:lnTo>
                  <a:lnTo>
                    <a:pt x="20" y="94"/>
                  </a:lnTo>
                  <a:lnTo>
                    <a:pt x="20" y="94"/>
                  </a:lnTo>
                  <a:lnTo>
                    <a:pt x="22" y="94"/>
                  </a:lnTo>
                  <a:lnTo>
                    <a:pt x="22" y="94"/>
                  </a:lnTo>
                  <a:lnTo>
                    <a:pt x="24" y="94"/>
                  </a:lnTo>
                  <a:lnTo>
                    <a:pt x="26" y="94"/>
                  </a:lnTo>
                  <a:lnTo>
                    <a:pt x="26" y="94"/>
                  </a:lnTo>
                  <a:lnTo>
                    <a:pt x="28" y="94"/>
                  </a:lnTo>
                  <a:lnTo>
                    <a:pt x="28" y="94"/>
                  </a:lnTo>
                  <a:lnTo>
                    <a:pt x="28" y="94"/>
                  </a:lnTo>
                  <a:lnTo>
                    <a:pt x="28" y="94"/>
                  </a:lnTo>
                  <a:lnTo>
                    <a:pt x="30" y="96"/>
                  </a:lnTo>
                  <a:lnTo>
                    <a:pt x="30" y="96"/>
                  </a:lnTo>
                  <a:lnTo>
                    <a:pt x="30" y="96"/>
                  </a:lnTo>
                  <a:lnTo>
                    <a:pt x="30" y="100"/>
                  </a:lnTo>
                  <a:lnTo>
                    <a:pt x="30" y="102"/>
                  </a:lnTo>
                  <a:lnTo>
                    <a:pt x="30" y="104"/>
                  </a:lnTo>
                  <a:lnTo>
                    <a:pt x="32" y="106"/>
                  </a:lnTo>
                  <a:lnTo>
                    <a:pt x="32" y="108"/>
                  </a:lnTo>
                  <a:lnTo>
                    <a:pt x="32" y="108"/>
                  </a:lnTo>
                  <a:lnTo>
                    <a:pt x="32" y="110"/>
                  </a:lnTo>
                  <a:lnTo>
                    <a:pt x="32" y="110"/>
                  </a:lnTo>
                  <a:lnTo>
                    <a:pt x="34" y="110"/>
                  </a:lnTo>
                  <a:lnTo>
                    <a:pt x="34" y="110"/>
                  </a:lnTo>
                  <a:lnTo>
                    <a:pt x="36" y="110"/>
                  </a:lnTo>
                  <a:lnTo>
                    <a:pt x="38" y="110"/>
                  </a:lnTo>
                  <a:lnTo>
                    <a:pt x="40" y="110"/>
                  </a:lnTo>
                  <a:lnTo>
                    <a:pt x="40" y="112"/>
                  </a:lnTo>
                  <a:lnTo>
                    <a:pt x="42" y="112"/>
                  </a:lnTo>
                  <a:lnTo>
                    <a:pt x="48" y="114"/>
                  </a:lnTo>
                  <a:lnTo>
                    <a:pt x="54" y="118"/>
                  </a:lnTo>
                  <a:lnTo>
                    <a:pt x="58" y="118"/>
                  </a:lnTo>
                  <a:lnTo>
                    <a:pt x="60" y="120"/>
                  </a:lnTo>
                  <a:lnTo>
                    <a:pt x="62" y="122"/>
                  </a:lnTo>
                  <a:lnTo>
                    <a:pt x="64" y="122"/>
                  </a:lnTo>
                  <a:lnTo>
                    <a:pt x="64" y="122"/>
                  </a:lnTo>
                  <a:lnTo>
                    <a:pt x="64" y="122"/>
                  </a:lnTo>
                  <a:lnTo>
                    <a:pt x="66" y="124"/>
                  </a:lnTo>
                  <a:lnTo>
                    <a:pt x="66" y="126"/>
                  </a:lnTo>
                  <a:lnTo>
                    <a:pt x="66" y="126"/>
                  </a:lnTo>
                  <a:lnTo>
                    <a:pt x="68" y="126"/>
                  </a:lnTo>
                  <a:lnTo>
                    <a:pt x="68" y="128"/>
                  </a:lnTo>
                  <a:lnTo>
                    <a:pt x="70" y="128"/>
                  </a:lnTo>
                  <a:lnTo>
                    <a:pt x="72" y="128"/>
                  </a:lnTo>
                  <a:lnTo>
                    <a:pt x="74" y="128"/>
                  </a:lnTo>
                  <a:lnTo>
                    <a:pt x="76" y="128"/>
                  </a:lnTo>
                  <a:lnTo>
                    <a:pt x="82" y="126"/>
                  </a:lnTo>
                  <a:lnTo>
                    <a:pt x="84" y="126"/>
                  </a:lnTo>
                  <a:lnTo>
                    <a:pt x="84" y="126"/>
                  </a:lnTo>
                  <a:lnTo>
                    <a:pt x="84" y="122"/>
                  </a:lnTo>
                  <a:lnTo>
                    <a:pt x="84" y="120"/>
                  </a:lnTo>
                  <a:lnTo>
                    <a:pt x="86" y="118"/>
                  </a:lnTo>
                  <a:lnTo>
                    <a:pt x="86" y="116"/>
                  </a:lnTo>
                  <a:lnTo>
                    <a:pt x="86" y="116"/>
                  </a:lnTo>
                  <a:lnTo>
                    <a:pt x="88" y="114"/>
                  </a:lnTo>
                  <a:lnTo>
                    <a:pt x="88" y="114"/>
                  </a:lnTo>
                  <a:lnTo>
                    <a:pt x="90" y="112"/>
                  </a:lnTo>
                  <a:lnTo>
                    <a:pt x="92" y="112"/>
                  </a:lnTo>
                  <a:lnTo>
                    <a:pt x="94" y="112"/>
                  </a:lnTo>
                  <a:lnTo>
                    <a:pt x="94" y="112"/>
                  </a:lnTo>
                  <a:lnTo>
                    <a:pt x="94" y="110"/>
                  </a:lnTo>
                  <a:lnTo>
                    <a:pt x="96" y="110"/>
                  </a:lnTo>
                  <a:lnTo>
                    <a:pt x="96" y="108"/>
                  </a:lnTo>
                  <a:lnTo>
                    <a:pt x="96" y="108"/>
                  </a:lnTo>
                  <a:lnTo>
                    <a:pt x="96" y="106"/>
                  </a:lnTo>
                  <a:lnTo>
                    <a:pt x="94" y="104"/>
                  </a:lnTo>
                  <a:lnTo>
                    <a:pt x="94" y="100"/>
                  </a:lnTo>
                  <a:lnTo>
                    <a:pt x="94" y="98"/>
                  </a:lnTo>
                  <a:lnTo>
                    <a:pt x="94" y="96"/>
                  </a:lnTo>
                  <a:lnTo>
                    <a:pt x="94" y="94"/>
                  </a:lnTo>
                  <a:lnTo>
                    <a:pt x="94" y="92"/>
                  </a:lnTo>
                  <a:lnTo>
                    <a:pt x="94" y="92"/>
                  </a:lnTo>
                  <a:lnTo>
                    <a:pt x="94" y="90"/>
                  </a:lnTo>
                  <a:lnTo>
                    <a:pt x="94" y="90"/>
                  </a:lnTo>
                  <a:lnTo>
                    <a:pt x="96" y="88"/>
                  </a:lnTo>
                  <a:lnTo>
                    <a:pt x="98" y="88"/>
                  </a:lnTo>
                  <a:lnTo>
                    <a:pt x="98" y="88"/>
                  </a:lnTo>
                  <a:lnTo>
                    <a:pt x="102" y="86"/>
                  </a:lnTo>
                  <a:lnTo>
                    <a:pt x="102" y="86"/>
                  </a:lnTo>
                  <a:lnTo>
                    <a:pt x="104" y="84"/>
                  </a:lnTo>
                  <a:lnTo>
                    <a:pt x="106" y="82"/>
                  </a:lnTo>
                  <a:lnTo>
                    <a:pt x="106" y="80"/>
                  </a:lnTo>
                  <a:lnTo>
                    <a:pt x="108" y="80"/>
                  </a:lnTo>
                  <a:lnTo>
                    <a:pt x="108" y="78"/>
                  </a:lnTo>
                  <a:lnTo>
                    <a:pt x="108" y="78"/>
                  </a:lnTo>
                  <a:lnTo>
                    <a:pt x="108" y="76"/>
                  </a:lnTo>
                  <a:lnTo>
                    <a:pt x="108" y="76"/>
                  </a:lnTo>
                  <a:lnTo>
                    <a:pt x="108" y="76"/>
                  </a:lnTo>
                  <a:lnTo>
                    <a:pt x="108" y="74"/>
                  </a:lnTo>
                  <a:lnTo>
                    <a:pt x="108" y="72"/>
                  </a:lnTo>
                  <a:lnTo>
                    <a:pt x="106" y="70"/>
                  </a:lnTo>
                  <a:lnTo>
                    <a:pt x="104" y="66"/>
                  </a:lnTo>
                  <a:lnTo>
                    <a:pt x="104" y="64"/>
                  </a:lnTo>
                  <a:lnTo>
                    <a:pt x="102" y="64"/>
                  </a:lnTo>
                  <a:lnTo>
                    <a:pt x="102" y="62"/>
                  </a:lnTo>
                  <a:lnTo>
                    <a:pt x="102" y="58"/>
                  </a:lnTo>
                  <a:lnTo>
                    <a:pt x="102" y="56"/>
                  </a:lnTo>
                  <a:lnTo>
                    <a:pt x="102" y="52"/>
                  </a:lnTo>
                  <a:lnTo>
                    <a:pt x="102" y="50"/>
                  </a:lnTo>
                  <a:lnTo>
                    <a:pt x="104" y="48"/>
                  </a:lnTo>
                  <a:lnTo>
                    <a:pt x="106" y="42"/>
                  </a:lnTo>
                  <a:lnTo>
                    <a:pt x="106" y="40"/>
                  </a:lnTo>
                  <a:lnTo>
                    <a:pt x="106" y="38"/>
                  </a:lnTo>
                  <a:lnTo>
                    <a:pt x="108" y="34"/>
                  </a:lnTo>
                  <a:lnTo>
                    <a:pt x="108" y="34"/>
                  </a:lnTo>
                  <a:lnTo>
                    <a:pt x="108" y="32"/>
                  </a:lnTo>
                  <a:lnTo>
                    <a:pt x="108" y="30"/>
                  </a:lnTo>
                  <a:lnTo>
                    <a:pt x="106" y="28"/>
                  </a:lnTo>
                  <a:lnTo>
                    <a:pt x="106" y="26"/>
                  </a:lnTo>
                  <a:lnTo>
                    <a:pt x="104" y="24"/>
                  </a:lnTo>
                  <a:lnTo>
                    <a:pt x="104" y="22"/>
                  </a:lnTo>
                  <a:lnTo>
                    <a:pt x="102" y="20"/>
                  </a:lnTo>
                  <a:lnTo>
                    <a:pt x="102" y="20"/>
                  </a:lnTo>
                  <a:lnTo>
                    <a:pt x="100" y="18"/>
                  </a:lnTo>
                  <a:lnTo>
                    <a:pt x="98" y="18"/>
                  </a:lnTo>
                  <a:lnTo>
                    <a:pt x="98" y="16"/>
                  </a:lnTo>
                  <a:lnTo>
                    <a:pt x="96" y="16"/>
                  </a:lnTo>
                  <a:lnTo>
                    <a:pt x="96" y="16"/>
                  </a:lnTo>
                  <a:lnTo>
                    <a:pt x="92" y="16"/>
                  </a:lnTo>
                  <a:lnTo>
                    <a:pt x="90" y="16"/>
                  </a:lnTo>
                  <a:lnTo>
                    <a:pt x="86" y="16"/>
                  </a:lnTo>
                  <a:lnTo>
                    <a:pt x="84" y="16"/>
                  </a:lnTo>
                  <a:lnTo>
                    <a:pt x="82" y="16"/>
                  </a:lnTo>
                  <a:lnTo>
                    <a:pt x="80" y="14"/>
                  </a:lnTo>
                  <a:lnTo>
                    <a:pt x="80" y="14"/>
                  </a:lnTo>
                  <a:lnTo>
                    <a:pt x="78" y="14"/>
                  </a:lnTo>
                  <a:lnTo>
                    <a:pt x="78" y="14"/>
                  </a:lnTo>
                  <a:lnTo>
                    <a:pt x="78" y="14"/>
                  </a:lnTo>
                  <a:lnTo>
                    <a:pt x="78" y="12"/>
                  </a:lnTo>
                  <a:lnTo>
                    <a:pt x="76" y="10"/>
                  </a:lnTo>
                  <a:lnTo>
                    <a:pt x="76" y="8"/>
                  </a:lnTo>
                  <a:lnTo>
                    <a:pt x="74" y="6"/>
                  </a:lnTo>
                  <a:lnTo>
                    <a:pt x="74" y="6"/>
                  </a:lnTo>
                  <a:lnTo>
                    <a:pt x="74" y="4"/>
                  </a:lnTo>
                  <a:lnTo>
                    <a:pt x="74" y="4"/>
                  </a:lnTo>
                  <a:lnTo>
                    <a:pt x="72" y="2"/>
                  </a:lnTo>
                  <a:lnTo>
                    <a:pt x="72" y="2"/>
                  </a:lnTo>
                  <a:lnTo>
                    <a:pt x="72" y="2"/>
                  </a:lnTo>
                  <a:lnTo>
                    <a:pt x="70" y="2"/>
                  </a:lnTo>
                  <a:lnTo>
                    <a:pt x="66"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3" name="Freeform 391">
              <a:extLst>
                <a:ext uri="{FF2B5EF4-FFF2-40B4-BE49-F238E27FC236}">
                  <a16:creationId xmlns:a16="http://schemas.microsoft.com/office/drawing/2014/main" id="{396092CC-CC96-4F85-AFBD-9FEDB1E371D3}"/>
                </a:ext>
              </a:extLst>
            </p:cNvPr>
            <p:cNvSpPr>
              <a:spLocks/>
            </p:cNvSpPr>
            <p:nvPr/>
          </p:nvSpPr>
          <p:spPr bwMode="auto">
            <a:xfrm>
              <a:off x="4906615" y="5089622"/>
              <a:ext cx="187064" cy="221706"/>
            </a:xfrm>
            <a:custGeom>
              <a:avLst/>
              <a:gdLst>
                <a:gd name="T0" fmla="*/ 64 w 108"/>
                <a:gd name="T1" fmla="*/ 4 h 128"/>
                <a:gd name="T2" fmla="*/ 60 w 108"/>
                <a:gd name="T3" fmla="*/ 10 h 128"/>
                <a:gd name="T4" fmla="*/ 54 w 108"/>
                <a:gd name="T5" fmla="*/ 10 h 128"/>
                <a:gd name="T6" fmla="*/ 48 w 108"/>
                <a:gd name="T7" fmla="*/ 10 h 128"/>
                <a:gd name="T8" fmla="*/ 48 w 108"/>
                <a:gd name="T9" fmla="*/ 14 h 128"/>
                <a:gd name="T10" fmla="*/ 46 w 108"/>
                <a:gd name="T11" fmla="*/ 20 h 128"/>
                <a:gd name="T12" fmla="*/ 44 w 108"/>
                <a:gd name="T13" fmla="*/ 24 h 128"/>
                <a:gd name="T14" fmla="*/ 40 w 108"/>
                <a:gd name="T15" fmla="*/ 26 h 128"/>
                <a:gd name="T16" fmla="*/ 34 w 108"/>
                <a:gd name="T17" fmla="*/ 26 h 128"/>
                <a:gd name="T18" fmla="*/ 32 w 108"/>
                <a:gd name="T19" fmla="*/ 30 h 128"/>
                <a:gd name="T20" fmla="*/ 32 w 108"/>
                <a:gd name="T21" fmla="*/ 36 h 128"/>
                <a:gd name="T22" fmla="*/ 30 w 108"/>
                <a:gd name="T23" fmla="*/ 38 h 128"/>
                <a:gd name="T24" fmla="*/ 24 w 108"/>
                <a:gd name="T25" fmla="*/ 40 h 128"/>
                <a:gd name="T26" fmla="*/ 12 w 108"/>
                <a:gd name="T27" fmla="*/ 40 h 128"/>
                <a:gd name="T28" fmla="*/ 4 w 108"/>
                <a:gd name="T29" fmla="*/ 42 h 128"/>
                <a:gd name="T30" fmla="*/ 6 w 108"/>
                <a:gd name="T31" fmla="*/ 66 h 128"/>
                <a:gd name="T32" fmla="*/ 6 w 108"/>
                <a:gd name="T33" fmla="*/ 74 h 128"/>
                <a:gd name="T34" fmla="*/ 8 w 108"/>
                <a:gd name="T35" fmla="*/ 78 h 128"/>
                <a:gd name="T36" fmla="*/ 16 w 108"/>
                <a:gd name="T37" fmla="*/ 80 h 128"/>
                <a:gd name="T38" fmla="*/ 18 w 108"/>
                <a:gd name="T39" fmla="*/ 84 h 128"/>
                <a:gd name="T40" fmla="*/ 18 w 108"/>
                <a:gd name="T41" fmla="*/ 90 h 128"/>
                <a:gd name="T42" fmla="*/ 20 w 108"/>
                <a:gd name="T43" fmla="*/ 94 h 128"/>
                <a:gd name="T44" fmla="*/ 24 w 108"/>
                <a:gd name="T45" fmla="*/ 94 h 128"/>
                <a:gd name="T46" fmla="*/ 28 w 108"/>
                <a:gd name="T47" fmla="*/ 94 h 128"/>
                <a:gd name="T48" fmla="*/ 30 w 108"/>
                <a:gd name="T49" fmla="*/ 96 h 128"/>
                <a:gd name="T50" fmla="*/ 30 w 108"/>
                <a:gd name="T51" fmla="*/ 104 h 128"/>
                <a:gd name="T52" fmla="*/ 32 w 108"/>
                <a:gd name="T53" fmla="*/ 110 h 128"/>
                <a:gd name="T54" fmla="*/ 36 w 108"/>
                <a:gd name="T55" fmla="*/ 110 h 128"/>
                <a:gd name="T56" fmla="*/ 42 w 108"/>
                <a:gd name="T57" fmla="*/ 112 h 128"/>
                <a:gd name="T58" fmla="*/ 60 w 108"/>
                <a:gd name="T59" fmla="*/ 120 h 128"/>
                <a:gd name="T60" fmla="*/ 64 w 108"/>
                <a:gd name="T61" fmla="*/ 122 h 128"/>
                <a:gd name="T62" fmla="*/ 68 w 108"/>
                <a:gd name="T63" fmla="*/ 126 h 128"/>
                <a:gd name="T64" fmla="*/ 74 w 108"/>
                <a:gd name="T65" fmla="*/ 128 h 128"/>
                <a:gd name="T66" fmla="*/ 84 w 108"/>
                <a:gd name="T67" fmla="*/ 126 h 128"/>
                <a:gd name="T68" fmla="*/ 86 w 108"/>
                <a:gd name="T69" fmla="*/ 116 h 128"/>
                <a:gd name="T70" fmla="*/ 90 w 108"/>
                <a:gd name="T71" fmla="*/ 112 h 128"/>
                <a:gd name="T72" fmla="*/ 94 w 108"/>
                <a:gd name="T73" fmla="*/ 110 h 128"/>
                <a:gd name="T74" fmla="*/ 96 w 108"/>
                <a:gd name="T75" fmla="*/ 106 h 128"/>
                <a:gd name="T76" fmla="*/ 94 w 108"/>
                <a:gd name="T77" fmla="*/ 96 h 128"/>
                <a:gd name="T78" fmla="*/ 94 w 108"/>
                <a:gd name="T79" fmla="*/ 90 h 128"/>
                <a:gd name="T80" fmla="*/ 98 w 108"/>
                <a:gd name="T81" fmla="*/ 88 h 128"/>
                <a:gd name="T82" fmla="*/ 106 w 108"/>
                <a:gd name="T83" fmla="*/ 82 h 128"/>
                <a:gd name="T84" fmla="*/ 108 w 108"/>
                <a:gd name="T85" fmla="*/ 78 h 128"/>
                <a:gd name="T86" fmla="*/ 108 w 108"/>
                <a:gd name="T87" fmla="*/ 74 h 128"/>
                <a:gd name="T88" fmla="*/ 104 w 108"/>
                <a:gd name="T89" fmla="*/ 64 h 128"/>
                <a:gd name="T90" fmla="*/ 102 w 108"/>
                <a:gd name="T91" fmla="*/ 56 h 128"/>
                <a:gd name="T92" fmla="*/ 106 w 108"/>
                <a:gd name="T93" fmla="*/ 42 h 128"/>
                <a:gd name="T94" fmla="*/ 108 w 108"/>
                <a:gd name="T95" fmla="*/ 34 h 128"/>
                <a:gd name="T96" fmla="*/ 106 w 108"/>
                <a:gd name="T97" fmla="*/ 26 h 128"/>
                <a:gd name="T98" fmla="*/ 102 w 108"/>
                <a:gd name="T99" fmla="*/ 20 h 128"/>
                <a:gd name="T100" fmla="*/ 96 w 108"/>
                <a:gd name="T101" fmla="*/ 16 h 128"/>
                <a:gd name="T102" fmla="*/ 86 w 108"/>
                <a:gd name="T103" fmla="*/ 16 h 128"/>
                <a:gd name="T104" fmla="*/ 80 w 108"/>
                <a:gd name="T105" fmla="*/ 14 h 128"/>
                <a:gd name="T106" fmla="*/ 78 w 108"/>
                <a:gd name="T107" fmla="*/ 12 h 128"/>
                <a:gd name="T108" fmla="*/ 74 w 108"/>
                <a:gd name="T109" fmla="*/ 6 h 128"/>
                <a:gd name="T110" fmla="*/ 72 w 108"/>
                <a:gd name="T111" fmla="*/ 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 h="128">
                  <a:moveTo>
                    <a:pt x="66" y="0"/>
                  </a:moveTo>
                  <a:lnTo>
                    <a:pt x="66" y="0"/>
                  </a:lnTo>
                  <a:lnTo>
                    <a:pt x="66" y="2"/>
                  </a:lnTo>
                  <a:lnTo>
                    <a:pt x="64" y="4"/>
                  </a:lnTo>
                  <a:lnTo>
                    <a:pt x="62" y="8"/>
                  </a:lnTo>
                  <a:lnTo>
                    <a:pt x="62" y="8"/>
                  </a:lnTo>
                  <a:lnTo>
                    <a:pt x="62" y="10"/>
                  </a:lnTo>
                  <a:lnTo>
                    <a:pt x="60" y="10"/>
                  </a:lnTo>
                  <a:lnTo>
                    <a:pt x="60" y="10"/>
                  </a:lnTo>
                  <a:lnTo>
                    <a:pt x="58" y="10"/>
                  </a:lnTo>
                  <a:lnTo>
                    <a:pt x="56" y="10"/>
                  </a:lnTo>
                  <a:lnTo>
                    <a:pt x="54" y="10"/>
                  </a:lnTo>
                  <a:lnTo>
                    <a:pt x="52" y="10"/>
                  </a:lnTo>
                  <a:lnTo>
                    <a:pt x="50" y="10"/>
                  </a:lnTo>
                  <a:lnTo>
                    <a:pt x="48" y="10"/>
                  </a:lnTo>
                  <a:lnTo>
                    <a:pt x="48" y="10"/>
                  </a:lnTo>
                  <a:lnTo>
                    <a:pt x="48" y="10"/>
                  </a:lnTo>
                  <a:lnTo>
                    <a:pt x="48" y="12"/>
                  </a:lnTo>
                  <a:lnTo>
                    <a:pt x="48" y="12"/>
                  </a:lnTo>
                  <a:lnTo>
                    <a:pt x="48" y="14"/>
                  </a:lnTo>
                  <a:lnTo>
                    <a:pt x="46" y="14"/>
                  </a:lnTo>
                  <a:lnTo>
                    <a:pt x="48" y="16"/>
                  </a:lnTo>
                  <a:lnTo>
                    <a:pt x="48" y="18"/>
                  </a:lnTo>
                  <a:lnTo>
                    <a:pt x="46" y="20"/>
                  </a:lnTo>
                  <a:lnTo>
                    <a:pt x="46" y="22"/>
                  </a:lnTo>
                  <a:lnTo>
                    <a:pt x="46" y="22"/>
                  </a:lnTo>
                  <a:lnTo>
                    <a:pt x="46" y="22"/>
                  </a:lnTo>
                  <a:lnTo>
                    <a:pt x="44" y="24"/>
                  </a:lnTo>
                  <a:lnTo>
                    <a:pt x="42" y="24"/>
                  </a:lnTo>
                  <a:lnTo>
                    <a:pt x="40" y="24"/>
                  </a:lnTo>
                  <a:lnTo>
                    <a:pt x="40" y="26"/>
                  </a:lnTo>
                  <a:lnTo>
                    <a:pt x="40" y="26"/>
                  </a:lnTo>
                  <a:lnTo>
                    <a:pt x="36" y="26"/>
                  </a:lnTo>
                  <a:lnTo>
                    <a:pt x="34" y="26"/>
                  </a:lnTo>
                  <a:lnTo>
                    <a:pt x="34" y="26"/>
                  </a:lnTo>
                  <a:lnTo>
                    <a:pt x="34" y="26"/>
                  </a:lnTo>
                  <a:lnTo>
                    <a:pt x="34" y="28"/>
                  </a:lnTo>
                  <a:lnTo>
                    <a:pt x="32" y="28"/>
                  </a:lnTo>
                  <a:lnTo>
                    <a:pt x="32" y="28"/>
                  </a:lnTo>
                  <a:lnTo>
                    <a:pt x="32" y="30"/>
                  </a:lnTo>
                  <a:lnTo>
                    <a:pt x="32" y="32"/>
                  </a:lnTo>
                  <a:lnTo>
                    <a:pt x="32" y="34"/>
                  </a:lnTo>
                  <a:lnTo>
                    <a:pt x="32" y="36"/>
                  </a:lnTo>
                  <a:lnTo>
                    <a:pt x="32" y="36"/>
                  </a:lnTo>
                  <a:lnTo>
                    <a:pt x="32" y="38"/>
                  </a:lnTo>
                  <a:lnTo>
                    <a:pt x="32" y="38"/>
                  </a:lnTo>
                  <a:lnTo>
                    <a:pt x="30" y="38"/>
                  </a:lnTo>
                  <a:lnTo>
                    <a:pt x="30" y="38"/>
                  </a:lnTo>
                  <a:lnTo>
                    <a:pt x="28" y="40"/>
                  </a:lnTo>
                  <a:lnTo>
                    <a:pt x="28" y="40"/>
                  </a:lnTo>
                  <a:lnTo>
                    <a:pt x="26" y="40"/>
                  </a:lnTo>
                  <a:lnTo>
                    <a:pt x="24" y="40"/>
                  </a:lnTo>
                  <a:lnTo>
                    <a:pt x="22" y="40"/>
                  </a:lnTo>
                  <a:lnTo>
                    <a:pt x="20" y="42"/>
                  </a:lnTo>
                  <a:lnTo>
                    <a:pt x="16" y="40"/>
                  </a:lnTo>
                  <a:lnTo>
                    <a:pt x="12" y="40"/>
                  </a:lnTo>
                  <a:lnTo>
                    <a:pt x="12" y="40"/>
                  </a:lnTo>
                  <a:lnTo>
                    <a:pt x="10" y="40"/>
                  </a:lnTo>
                  <a:lnTo>
                    <a:pt x="8" y="42"/>
                  </a:lnTo>
                  <a:lnTo>
                    <a:pt x="4" y="42"/>
                  </a:lnTo>
                  <a:lnTo>
                    <a:pt x="0" y="44"/>
                  </a:lnTo>
                  <a:lnTo>
                    <a:pt x="4" y="52"/>
                  </a:lnTo>
                  <a:lnTo>
                    <a:pt x="6" y="60"/>
                  </a:lnTo>
                  <a:lnTo>
                    <a:pt x="6" y="66"/>
                  </a:lnTo>
                  <a:lnTo>
                    <a:pt x="6" y="68"/>
                  </a:lnTo>
                  <a:lnTo>
                    <a:pt x="6" y="68"/>
                  </a:lnTo>
                  <a:lnTo>
                    <a:pt x="6" y="72"/>
                  </a:lnTo>
                  <a:lnTo>
                    <a:pt x="6" y="74"/>
                  </a:lnTo>
                  <a:lnTo>
                    <a:pt x="8" y="76"/>
                  </a:lnTo>
                  <a:lnTo>
                    <a:pt x="8" y="76"/>
                  </a:lnTo>
                  <a:lnTo>
                    <a:pt x="8" y="78"/>
                  </a:lnTo>
                  <a:lnTo>
                    <a:pt x="8" y="78"/>
                  </a:lnTo>
                  <a:lnTo>
                    <a:pt x="10" y="78"/>
                  </a:lnTo>
                  <a:lnTo>
                    <a:pt x="12" y="80"/>
                  </a:lnTo>
                  <a:lnTo>
                    <a:pt x="14" y="80"/>
                  </a:lnTo>
                  <a:lnTo>
                    <a:pt x="16" y="80"/>
                  </a:lnTo>
                  <a:lnTo>
                    <a:pt x="16" y="82"/>
                  </a:lnTo>
                  <a:lnTo>
                    <a:pt x="16" y="82"/>
                  </a:lnTo>
                  <a:lnTo>
                    <a:pt x="16" y="82"/>
                  </a:lnTo>
                  <a:lnTo>
                    <a:pt x="18" y="84"/>
                  </a:lnTo>
                  <a:lnTo>
                    <a:pt x="18" y="86"/>
                  </a:lnTo>
                  <a:lnTo>
                    <a:pt x="18" y="88"/>
                  </a:lnTo>
                  <a:lnTo>
                    <a:pt x="18" y="90"/>
                  </a:lnTo>
                  <a:lnTo>
                    <a:pt x="18" y="90"/>
                  </a:lnTo>
                  <a:lnTo>
                    <a:pt x="18" y="92"/>
                  </a:lnTo>
                  <a:lnTo>
                    <a:pt x="18" y="92"/>
                  </a:lnTo>
                  <a:lnTo>
                    <a:pt x="20" y="94"/>
                  </a:lnTo>
                  <a:lnTo>
                    <a:pt x="20" y="94"/>
                  </a:lnTo>
                  <a:lnTo>
                    <a:pt x="20" y="94"/>
                  </a:lnTo>
                  <a:lnTo>
                    <a:pt x="22" y="94"/>
                  </a:lnTo>
                  <a:lnTo>
                    <a:pt x="22" y="94"/>
                  </a:lnTo>
                  <a:lnTo>
                    <a:pt x="24" y="94"/>
                  </a:lnTo>
                  <a:lnTo>
                    <a:pt x="26" y="94"/>
                  </a:lnTo>
                  <a:lnTo>
                    <a:pt x="26" y="94"/>
                  </a:lnTo>
                  <a:lnTo>
                    <a:pt x="28" y="94"/>
                  </a:lnTo>
                  <a:lnTo>
                    <a:pt x="28" y="94"/>
                  </a:lnTo>
                  <a:lnTo>
                    <a:pt x="28" y="94"/>
                  </a:lnTo>
                  <a:lnTo>
                    <a:pt x="28" y="94"/>
                  </a:lnTo>
                  <a:lnTo>
                    <a:pt x="30" y="96"/>
                  </a:lnTo>
                  <a:lnTo>
                    <a:pt x="30" y="96"/>
                  </a:lnTo>
                  <a:lnTo>
                    <a:pt x="30" y="96"/>
                  </a:lnTo>
                  <a:lnTo>
                    <a:pt x="30" y="100"/>
                  </a:lnTo>
                  <a:lnTo>
                    <a:pt x="30" y="102"/>
                  </a:lnTo>
                  <a:lnTo>
                    <a:pt x="30" y="104"/>
                  </a:lnTo>
                  <a:lnTo>
                    <a:pt x="32" y="106"/>
                  </a:lnTo>
                  <a:lnTo>
                    <a:pt x="32" y="108"/>
                  </a:lnTo>
                  <a:lnTo>
                    <a:pt x="32" y="108"/>
                  </a:lnTo>
                  <a:lnTo>
                    <a:pt x="32" y="110"/>
                  </a:lnTo>
                  <a:lnTo>
                    <a:pt x="32" y="110"/>
                  </a:lnTo>
                  <a:lnTo>
                    <a:pt x="34" y="110"/>
                  </a:lnTo>
                  <a:lnTo>
                    <a:pt x="34" y="110"/>
                  </a:lnTo>
                  <a:lnTo>
                    <a:pt x="36" y="110"/>
                  </a:lnTo>
                  <a:lnTo>
                    <a:pt x="38" y="110"/>
                  </a:lnTo>
                  <a:lnTo>
                    <a:pt x="40" y="110"/>
                  </a:lnTo>
                  <a:lnTo>
                    <a:pt x="40" y="112"/>
                  </a:lnTo>
                  <a:lnTo>
                    <a:pt x="42" y="112"/>
                  </a:lnTo>
                  <a:lnTo>
                    <a:pt x="48" y="114"/>
                  </a:lnTo>
                  <a:lnTo>
                    <a:pt x="54" y="118"/>
                  </a:lnTo>
                  <a:lnTo>
                    <a:pt x="58" y="118"/>
                  </a:lnTo>
                  <a:lnTo>
                    <a:pt x="60" y="120"/>
                  </a:lnTo>
                  <a:lnTo>
                    <a:pt x="62" y="122"/>
                  </a:lnTo>
                  <a:lnTo>
                    <a:pt x="64" y="122"/>
                  </a:lnTo>
                  <a:lnTo>
                    <a:pt x="64" y="122"/>
                  </a:lnTo>
                  <a:lnTo>
                    <a:pt x="64" y="122"/>
                  </a:lnTo>
                  <a:lnTo>
                    <a:pt x="66" y="124"/>
                  </a:lnTo>
                  <a:lnTo>
                    <a:pt x="66" y="126"/>
                  </a:lnTo>
                  <a:lnTo>
                    <a:pt x="66" y="126"/>
                  </a:lnTo>
                  <a:lnTo>
                    <a:pt x="68" y="126"/>
                  </a:lnTo>
                  <a:lnTo>
                    <a:pt x="68" y="128"/>
                  </a:lnTo>
                  <a:lnTo>
                    <a:pt x="70" y="128"/>
                  </a:lnTo>
                  <a:lnTo>
                    <a:pt x="72" y="128"/>
                  </a:lnTo>
                  <a:lnTo>
                    <a:pt x="74" y="128"/>
                  </a:lnTo>
                  <a:lnTo>
                    <a:pt x="76" y="128"/>
                  </a:lnTo>
                  <a:lnTo>
                    <a:pt x="82" y="126"/>
                  </a:lnTo>
                  <a:lnTo>
                    <a:pt x="84" y="126"/>
                  </a:lnTo>
                  <a:lnTo>
                    <a:pt x="84" y="126"/>
                  </a:lnTo>
                  <a:lnTo>
                    <a:pt x="84" y="122"/>
                  </a:lnTo>
                  <a:lnTo>
                    <a:pt x="84" y="120"/>
                  </a:lnTo>
                  <a:lnTo>
                    <a:pt x="86" y="118"/>
                  </a:lnTo>
                  <a:lnTo>
                    <a:pt x="86" y="116"/>
                  </a:lnTo>
                  <a:lnTo>
                    <a:pt x="86" y="116"/>
                  </a:lnTo>
                  <a:lnTo>
                    <a:pt x="88" y="114"/>
                  </a:lnTo>
                  <a:lnTo>
                    <a:pt x="88" y="114"/>
                  </a:lnTo>
                  <a:lnTo>
                    <a:pt x="90" y="112"/>
                  </a:lnTo>
                  <a:lnTo>
                    <a:pt x="92" y="112"/>
                  </a:lnTo>
                  <a:lnTo>
                    <a:pt x="94" y="112"/>
                  </a:lnTo>
                  <a:lnTo>
                    <a:pt x="94" y="112"/>
                  </a:lnTo>
                  <a:lnTo>
                    <a:pt x="94" y="110"/>
                  </a:lnTo>
                  <a:lnTo>
                    <a:pt x="96" y="110"/>
                  </a:lnTo>
                  <a:lnTo>
                    <a:pt x="96" y="108"/>
                  </a:lnTo>
                  <a:lnTo>
                    <a:pt x="96" y="108"/>
                  </a:lnTo>
                  <a:lnTo>
                    <a:pt x="96" y="106"/>
                  </a:lnTo>
                  <a:lnTo>
                    <a:pt x="94" y="104"/>
                  </a:lnTo>
                  <a:lnTo>
                    <a:pt x="94" y="100"/>
                  </a:lnTo>
                  <a:lnTo>
                    <a:pt x="94" y="98"/>
                  </a:lnTo>
                  <a:lnTo>
                    <a:pt x="94" y="96"/>
                  </a:lnTo>
                  <a:lnTo>
                    <a:pt x="94" y="94"/>
                  </a:lnTo>
                  <a:lnTo>
                    <a:pt x="94" y="92"/>
                  </a:lnTo>
                  <a:lnTo>
                    <a:pt x="94" y="92"/>
                  </a:lnTo>
                  <a:lnTo>
                    <a:pt x="94" y="90"/>
                  </a:lnTo>
                  <a:lnTo>
                    <a:pt x="94" y="90"/>
                  </a:lnTo>
                  <a:lnTo>
                    <a:pt x="96" y="88"/>
                  </a:lnTo>
                  <a:lnTo>
                    <a:pt x="98" y="88"/>
                  </a:lnTo>
                  <a:lnTo>
                    <a:pt x="98" y="88"/>
                  </a:lnTo>
                  <a:lnTo>
                    <a:pt x="102" y="86"/>
                  </a:lnTo>
                  <a:lnTo>
                    <a:pt x="102" y="86"/>
                  </a:lnTo>
                  <a:lnTo>
                    <a:pt x="104" y="84"/>
                  </a:lnTo>
                  <a:lnTo>
                    <a:pt x="106" y="82"/>
                  </a:lnTo>
                  <a:lnTo>
                    <a:pt x="106" y="80"/>
                  </a:lnTo>
                  <a:lnTo>
                    <a:pt x="108" y="80"/>
                  </a:lnTo>
                  <a:lnTo>
                    <a:pt x="108" y="78"/>
                  </a:lnTo>
                  <a:lnTo>
                    <a:pt x="108" y="78"/>
                  </a:lnTo>
                  <a:lnTo>
                    <a:pt x="108" y="76"/>
                  </a:lnTo>
                  <a:lnTo>
                    <a:pt x="108" y="76"/>
                  </a:lnTo>
                  <a:lnTo>
                    <a:pt x="108" y="76"/>
                  </a:lnTo>
                  <a:lnTo>
                    <a:pt x="108" y="74"/>
                  </a:lnTo>
                  <a:lnTo>
                    <a:pt x="108" y="72"/>
                  </a:lnTo>
                  <a:lnTo>
                    <a:pt x="106" y="70"/>
                  </a:lnTo>
                  <a:lnTo>
                    <a:pt x="104" y="66"/>
                  </a:lnTo>
                  <a:lnTo>
                    <a:pt x="104" y="64"/>
                  </a:lnTo>
                  <a:lnTo>
                    <a:pt x="102" y="64"/>
                  </a:lnTo>
                  <a:lnTo>
                    <a:pt x="102" y="62"/>
                  </a:lnTo>
                  <a:lnTo>
                    <a:pt x="102" y="58"/>
                  </a:lnTo>
                  <a:lnTo>
                    <a:pt x="102" y="56"/>
                  </a:lnTo>
                  <a:lnTo>
                    <a:pt x="102" y="52"/>
                  </a:lnTo>
                  <a:lnTo>
                    <a:pt x="102" y="50"/>
                  </a:lnTo>
                  <a:lnTo>
                    <a:pt x="104" y="48"/>
                  </a:lnTo>
                  <a:lnTo>
                    <a:pt x="106" y="42"/>
                  </a:lnTo>
                  <a:lnTo>
                    <a:pt x="106" y="40"/>
                  </a:lnTo>
                  <a:lnTo>
                    <a:pt x="106" y="38"/>
                  </a:lnTo>
                  <a:lnTo>
                    <a:pt x="108" y="34"/>
                  </a:lnTo>
                  <a:lnTo>
                    <a:pt x="108" y="34"/>
                  </a:lnTo>
                  <a:lnTo>
                    <a:pt x="108" y="32"/>
                  </a:lnTo>
                  <a:lnTo>
                    <a:pt x="108" y="30"/>
                  </a:lnTo>
                  <a:lnTo>
                    <a:pt x="106" y="28"/>
                  </a:lnTo>
                  <a:lnTo>
                    <a:pt x="106" y="26"/>
                  </a:lnTo>
                  <a:lnTo>
                    <a:pt x="104" y="24"/>
                  </a:lnTo>
                  <a:lnTo>
                    <a:pt x="104" y="22"/>
                  </a:lnTo>
                  <a:lnTo>
                    <a:pt x="102" y="20"/>
                  </a:lnTo>
                  <a:lnTo>
                    <a:pt x="102" y="20"/>
                  </a:lnTo>
                  <a:lnTo>
                    <a:pt x="100" y="18"/>
                  </a:lnTo>
                  <a:lnTo>
                    <a:pt x="98" y="18"/>
                  </a:lnTo>
                  <a:lnTo>
                    <a:pt x="98" y="16"/>
                  </a:lnTo>
                  <a:lnTo>
                    <a:pt x="96" y="16"/>
                  </a:lnTo>
                  <a:lnTo>
                    <a:pt x="96" y="16"/>
                  </a:lnTo>
                  <a:lnTo>
                    <a:pt x="92" y="16"/>
                  </a:lnTo>
                  <a:lnTo>
                    <a:pt x="90" y="16"/>
                  </a:lnTo>
                  <a:lnTo>
                    <a:pt x="86" y="16"/>
                  </a:lnTo>
                  <a:lnTo>
                    <a:pt x="84" y="16"/>
                  </a:lnTo>
                  <a:lnTo>
                    <a:pt x="82" y="16"/>
                  </a:lnTo>
                  <a:lnTo>
                    <a:pt x="80" y="14"/>
                  </a:lnTo>
                  <a:lnTo>
                    <a:pt x="80" y="14"/>
                  </a:lnTo>
                  <a:lnTo>
                    <a:pt x="78" y="14"/>
                  </a:lnTo>
                  <a:lnTo>
                    <a:pt x="78" y="14"/>
                  </a:lnTo>
                  <a:lnTo>
                    <a:pt x="78" y="14"/>
                  </a:lnTo>
                  <a:lnTo>
                    <a:pt x="78" y="12"/>
                  </a:lnTo>
                  <a:lnTo>
                    <a:pt x="76" y="10"/>
                  </a:lnTo>
                  <a:lnTo>
                    <a:pt x="76" y="8"/>
                  </a:lnTo>
                  <a:lnTo>
                    <a:pt x="74" y="6"/>
                  </a:lnTo>
                  <a:lnTo>
                    <a:pt x="74" y="6"/>
                  </a:lnTo>
                  <a:lnTo>
                    <a:pt x="74" y="4"/>
                  </a:lnTo>
                  <a:lnTo>
                    <a:pt x="74" y="4"/>
                  </a:lnTo>
                  <a:lnTo>
                    <a:pt x="72" y="2"/>
                  </a:lnTo>
                  <a:lnTo>
                    <a:pt x="72" y="2"/>
                  </a:lnTo>
                  <a:lnTo>
                    <a:pt x="72" y="2"/>
                  </a:lnTo>
                  <a:lnTo>
                    <a:pt x="70" y="2"/>
                  </a:lnTo>
                  <a:lnTo>
                    <a:pt x="66"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4" name="Freeform 392">
              <a:extLst>
                <a:ext uri="{FF2B5EF4-FFF2-40B4-BE49-F238E27FC236}">
                  <a16:creationId xmlns:a16="http://schemas.microsoft.com/office/drawing/2014/main" id="{4C04A1EF-B1A9-4785-AE23-DFB286904796}"/>
                </a:ext>
              </a:extLst>
            </p:cNvPr>
            <p:cNvSpPr>
              <a:spLocks/>
            </p:cNvSpPr>
            <p:nvPr/>
          </p:nvSpPr>
          <p:spPr bwMode="auto">
            <a:xfrm>
              <a:off x="3863906" y="3832136"/>
              <a:ext cx="270204" cy="398377"/>
            </a:xfrm>
            <a:custGeom>
              <a:avLst/>
              <a:gdLst>
                <a:gd name="T0" fmla="*/ 112 w 156"/>
                <a:gd name="T1" fmla="*/ 16 h 230"/>
                <a:gd name="T2" fmla="*/ 106 w 156"/>
                <a:gd name="T3" fmla="*/ 26 h 230"/>
                <a:gd name="T4" fmla="*/ 102 w 156"/>
                <a:gd name="T5" fmla="*/ 30 h 230"/>
                <a:gd name="T6" fmla="*/ 90 w 156"/>
                <a:gd name="T7" fmla="*/ 30 h 230"/>
                <a:gd name="T8" fmla="*/ 72 w 156"/>
                <a:gd name="T9" fmla="*/ 30 h 230"/>
                <a:gd name="T10" fmla="*/ 68 w 156"/>
                <a:gd name="T11" fmla="*/ 32 h 230"/>
                <a:gd name="T12" fmla="*/ 66 w 156"/>
                <a:gd name="T13" fmla="*/ 38 h 230"/>
                <a:gd name="T14" fmla="*/ 68 w 156"/>
                <a:gd name="T15" fmla="*/ 58 h 230"/>
                <a:gd name="T16" fmla="*/ 70 w 156"/>
                <a:gd name="T17" fmla="*/ 74 h 230"/>
                <a:gd name="T18" fmla="*/ 70 w 156"/>
                <a:gd name="T19" fmla="*/ 80 h 230"/>
                <a:gd name="T20" fmla="*/ 66 w 156"/>
                <a:gd name="T21" fmla="*/ 82 h 230"/>
                <a:gd name="T22" fmla="*/ 58 w 156"/>
                <a:gd name="T23" fmla="*/ 78 h 230"/>
                <a:gd name="T24" fmla="*/ 52 w 156"/>
                <a:gd name="T25" fmla="*/ 78 h 230"/>
                <a:gd name="T26" fmla="*/ 46 w 156"/>
                <a:gd name="T27" fmla="*/ 86 h 230"/>
                <a:gd name="T28" fmla="*/ 42 w 156"/>
                <a:gd name="T29" fmla="*/ 98 h 230"/>
                <a:gd name="T30" fmla="*/ 44 w 156"/>
                <a:gd name="T31" fmla="*/ 114 h 230"/>
                <a:gd name="T32" fmla="*/ 42 w 156"/>
                <a:gd name="T33" fmla="*/ 120 h 230"/>
                <a:gd name="T34" fmla="*/ 36 w 156"/>
                <a:gd name="T35" fmla="*/ 120 h 230"/>
                <a:gd name="T36" fmla="*/ 12 w 156"/>
                <a:gd name="T37" fmla="*/ 118 h 230"/>
                <a:gd name="T38" fmla="*/ 2 w 156"/>
                <a:gd name="T39" fmla="*/ 114 h 230"/>
                <a:gd name="T40" fmla="*/ 0 w 156"/>
                <a:gd name="T41" fmla="*/ 146 h 230"/>
                <a:gd name="T42" fmla="*/ 2 w 156"/>
                <a:gd name="T43" fmla="*/ 158 h 230"/>
                <a:gd name="T44" fmla="*/ 6 w 156"/>
                <a:gd name="T45" fmla="*/ 164 h 230"/>
                <a:gd name="T46" fmla="*/ 8 w 156"/>
                <a:gd name="T47" fmla="*/ 178 h 230"/>
                <a:gd name="T48" fmla="*/ 8 w 156"/>
                <a:gd name="T49" fmla="*/ 196 h 230"/>
                <a:gd name="T50" fmla="*/ 18 w 156"/>
                <a:gd name="T51" fmla="*/ 194 h 230"/>
                <a:gd name="T52" fmla="*/ 22 w 156"/>
                <a:gd name="T53" fmla="*/ 198 h 230"/>
                <a:gd name="T54" fmla="*/ 26 w 156"/>
                <a:gd name="T55" fmla="*/ 204 h 230"/>
                <a:gd name="T56" fmla="*/ 36 w 156"/>
                <a:gd name="T57" fmla="*/ 206 h 230"/>
                <a:gd name="T58" fmla="*/ 42 w 156"/>
                <a:gd name="T59" fmla="*/ 214 h 230"/>
                <a:gd name="T60" fmla="*/ 50 w 156"/>
                <a:gd name="T61" fmla="*/ 226 h 230"/>
                <a:gd name="T62" fmla="*/ 62 w 156"/>
                <a:gd name="T63" fmla="*/ 222 h 230"/>
                <a:gd name="T64" fmla="*/ 70 w 156"/>
                <a:gd name="T65" fmla="*/ 212 h 230"/>
                <a:gd name="T66" fmla="*/ 74 w 156"/>
                <a:gd name="T67" fmla="*/ 212 h 230"/>
                <a:gd name="T68" fmla="*/ 84 w 156"/>
                <a:gd name="T69" fmla="*/ 218 h 230"/>
                <a:gd name="T70" fmla="*/ 102 w 156"/>
                <a:gd name="T71" fmla="*/ 220 h 230"/>
                <a:gd name="T72" fmla="*/ 134 w 156"/>
                <a:gd name="T73" fmla="*/ 222 h 230"/>
                <a:gd name="T74" fmla="*/ 150 w 156"/>
                <a:gd name="T75" fmla="*/ 220 h 230"/>
                <a:gd name="T76" fmla="*/ 154 w 156"/>
                <a:gd name="T77" fmla="*/ 218 h 230"/>
                <a:gd name="T78" fmla="*/ 156 w 156"/>
                <a:gd name="T79" fmla="*/ 210 h 230"/>
                <a:gd name="T80" fmla="*/ 152 w 156"/>
                <a:gd name="T81" fmla="*/ 202 h 230"/>
                <a:gd name="T82" fmla="*/ 146 w 156"/>
                <a:gd name="T83" fmla="*/ 200 h 230"/>
                <a:gd name="T84" fmla="*/ 142 w 156"/>
                <a:gd name="T85" fmla="*/ 198 h 230"/>
                <a:gd name="T86" fmla="*/ 136 w 156"/>
                <a:gd name="T87" fmla="*/ 184 h 230"/>
                <a:gd name="T88" fmla="*/ 136 w 156"/>
                <a:gd name="T89" fmla="*/ 166 h 230"/>
                <a:gd name="T90" fmla="*/ 142 w 156"/>
                <a:gd name="T91" fmla="*/ 118 h 230"/>
                <a:gd name="T92" fmla="*/ 144 w 156"/>
                <a:gd name="T93" fmla="*/ 96 h 230"/>
                <a:gd name="T94" fmla="*/ 142 w 156"/>
                <a:gd name="T95" fmla="*/ 84 h 230"/>
                <a:gd name="T96" fmla="*/ 134 w 156"/>
                <a:gd name="T97" fmla="*/ 76 h 230"/>
                <a:gd name="T98" fmla="*/ 134 w 156"/>
                <a:gd name="T99" fmla="*/ 60 h 230"/>
                <a:gd name="T100" fmla="*/ 134 w 156"/>
                <a:gd name="T101" fmla="*/ 54 h 230"/>
                <a:gd name="T102" fmla="*/ 140 w 156"/>
                <a:gd name="T103" fmla="*/ 52 h 230"/>
                <a:gd name="T104" fmla="*/ 146 w 156"/>
                <a:gd name="T105" fmla="*/ 52 h 230"/>
                <a:gd name="T106" fmla="*/ 146 w 156"/>
                <a:gd name="T107" fmla="*/ 4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230">
                  <a:moveTo>
                    <a:pt x="114" y="0"/>
                  </a:moveTo>
                  <a:lnTo>
                    <a:pt x="114" y="0"/>
                  </a:lnTo>
                  <a:lnTo>
                    <a:pt x="114" y="4"/>
                  </a:lnTo>
                  <a:lnTo>
                    <a:pt x="114" y="8"/>
                  </a:lnTo>
                  <a:lnTo>
                    <a:pt x="112" y="16"/>
                  </a:lnTo>
                  <a:lnTo>
                    <a:pt x="110" y="18"/>
                  </a:lnTo>
                  <a:lnTo>
                    <a:pt x="110" y="20"/>
                  </a:lnTo>
                  <a:lnTo>
                    <a:pt x="108" y="24"/>
                  </a:lnTo>
                  <a:lnTo>
                    <a:pt x="106" y="26"/>
                  </a:lnTo>
                  <a:lnTo>
                    <a:pt x="106" y="26"/>
                  </a:lnTo>
                  <a:lnTo>
                    <a:pt x="106" y="28"/>
                  </a:lnTo>
                  <a:lnTo>
                    <a:pt x="104" y="30"/>
                  </a:lnTo>
                  <a:lnTo>
                    <a:pt x="104" y="30"/>
                  </a:lnTo>
                  <a:lnTo>
                    <a:pt x="102" y="30"/>
                  </a:lnTo>
                  <a:lnTo>
                    <a:pt x="102" y="30"/>
                  </a:lnTo>
                  <a:lnTo>
                    <a:pt x="100" y="30"/>
                  </a:lnTo>
                  <a:lnTo>
                    <a:pt x="98" y="30"/>
                  </a:lnTo>
                  <a:lnTo>
                    <a:pt x="96" y="30"/>
                  </a:lnTo>
                  <a:lnTo>
                    <a:pt x="92" y="30"/>
                  </a:lnTo>
                  <a:lnTo>
                    <a:pt x="90" y="30"/>
                  </a:lnTo>
                  <a:lnTo>
                    <a:pt x="84" y="30"/>
                  </a:lnTo>
                  <a:lnTo>
                    <a:pt x="80" y="30"/>
                  </a:lnTo>
                  <a:lnTo>
                    <a:pt x="78" y="30"/>
                  </a:lnTo>
                  <a:lnTo>
                    <a:pt x="74" y="30"/>
                  </a:lnTo>
                  <a:lnTo>
                    <a:pt x="72" y="30"/>
                  </a:lnTo>
                  <a:lnTo>
                    <a:pt x="70" y="30"/>
                  </a:lnTo>
                  <a:lnTo>
                    <a:pt x="70" y="30"/>
                  </a:lnTo>
                  <a:lnTo>
                    <a:pt x="70" y="32"/>
                  </a:lnTo>
                  <a:lnTo>
                    <a:pt x="68" y="32"/>
                  </a:lnTo>
                  <a:lnTo>
                    <a:pt x="68" y="32"/>
                  </a:lnTo>
                  <a:lnTo>
                    <a:pt x="68" y="34"/>
                  </a:lnTo>
                  <a:lnTo>
                    <a:pt x="66" y="34"/>
                  </a:lnTo>
                  <a:lnTo>
                    <a:pt x="66" y="36"/>
                  </a:lnTo>
                  <a:lnTo>
                    <a:pt x="66" y="36"/>
                  </a:lnTo>
                  <a:lnTo>
                    <a:pt x="66" y="38"/>
                  </a:lnTo>
                  <a:lnTo>
                    <a:pt x="66" y="40"/>
                  </a:lnTo>
                  <a:lnTo>
                    <a:pt x="66" y="42"/>
                  </a:lnTo>
                  <a:lnTo>
                    <a:pt x="66" y="46"/>
                  </a:lnTo>
                  <a:lnTo>
                    <a:pt x="66" y="50"/>
                  </a:lnTo>
                  <a:lnTo>
                    <a:pt x="68" y="58"/>
                  </a:lnTo>
                  <a:lnTo>
                    <a:pt x="70" y="62"/>
                  </a:lnTo>
                  <a:lnTo>
                    <a:pt x="70" y="64"/>
                  </a:lnTo>
                  <a:lnTo>
                    <a:pt x="70" y="68"/>
                  </a:lnTo>
                  <a:lnTo>
                    <a:pt x="70" y="72"/>
                  </a:lnTo>
                  <a:lnTo>
                    <a:pt x="70" y="74"/>
                  </a:lnTo>
                  <a:lnTo>
                    <a:pt x="70" y="74"/>
                  </a:lnTo>
                  <a:lnTo>
                    <a:pt x="70" y="76"/>
                  </a:lnTo>
                  <a:lnTo>
                    <a:pt x="70" y="78"/>
                  </a:lnTo>
                  <a:lnTo>
                    <a:pt x="70" y="78"/>
                  </a:lnTo>
                  <a:lnTo>
                    <a:pt x="70" y="80"/>
                  </a:lnTo>
                  <a:lnTo>
                    <a:pt x="68" y="80"/>
                  </a:lnTo>
                  <a:lnTo>
                    <a:pt x="68" y="82"/>
                  </a:lnTo>
                  <a:lnTo>
                    <a:pt x="68" y="82"/>
                  </a:lnTo>
                  <a:lnTo>
                    <a:pt x="66" y="82"/>
                  </a:lnTo>
                  <a:lnTo>
                    <a:pt x="66" y="82"/>
                  </a:lnTo>
                  <a:lnTo>
                    <a:pt x="66" y="82"/>
                  </a:lnTo>
                  <a:lnTo>
                    <a:pt x="64" y="80"/>
                  </a:lnTo>
                  <a:lnTo>
                    <a:pt x="62" y="80"/>
                  </a:lnTo>
                  <a:lnTo>
                    <a:pt x="60" y="80"/>
                  </a:lnTo>
                  <a:lnTo>
                    <a:pt x="58" y="78"/>
                  </a:lnTo>
                  <a:lnTo>
                    <a:pt x="56" y="78"/>
                  </a:lnTo>
                  <a:lnTo>
                    <a:pt x="56" y="78"/>
                  </a:lnTo>
                  <a:lnTo>
                    <a:pt x="56" y="78"/>
                  </a:lnTo>
                  <a:lnTo>
                    <a:pt x="54" y="78"/>
                  </a:lnTo>
                  <a:lnTo>
                    <a:pt x="52" y="78"/>
                  </a:lnTo>
                  <a:lnTo>
                    <a:pt x="52" y="80"/>
                  </a:lnTo>
                  <a:lnTo>
                    <a:pt x="50" y="80"/>
                  </a:lnTo>
                  <a:lnTo>
                    <a:pt x="48" y="82"/>
                  </a:lnTo>
                  <a:lnTo>
                    <a:pt x="46" y="86"/>
                  </a:lnTo>
                  <a:lnTo>
                    <a:pt x="46" y="86"/>
                  </a:lnTo>
                  <a:lnTo>
                    <a:pt x="46" y="88"/>
                  </a:lnTo>
                  <a:lnTo>
                    <a:pt x="44" y="92"/>
                  </a:lnTo>
                  <a:lnTo>
                    <a:pt x="44" y="94"/>
                  </a:lnTo>
                  <a:lnTo>
                    <a:pt x="42" y="98"/>
                  </a:lnTo>
                  <a:lnTo>
                    <a:pt x="42" y="98"/>
                  </a:lnTo>
                  <a:lnTo>
                    <a:pt x="42" y="100"/>
                  </a:lnTo>
                  <a:lnTo>
                    <a:pt x="42" y="102"/>
                  </a:lnTo>
                  <a:lnTo>
                    <a:pt x="44" y="110"/>
                  </a:lnTo>
                  <a:lnTo>
                    <a:pt x="44" y="112"/>
                  </a:lnTo>
                  <a:lnTo>
                    <a:pt x="44" y="114"/>
                  </a:lnTo>
                  <a:lnTo>
                    <a:pt x="44" y="116"/>
                  </a:lnTo>
                  <a:lnTo>
                    <a:pt x="42" y="116"/>
                  </a:lnTo>
                  <a:lnTo>
                    <a:pt x="42" y="118"/>
                  </a:lnTo>
                  <a:lnTo>
                    <a:pt x="42" y="118"/>
                  </a:lnTo>
                  <a:lnTo>
                    <a:pt x="42" y="120"/>
                  </a:lnTo>
                  <a:lnTo>
                    <a:pt x="40" y="120"/>
                  </a:lnTo>
                  <a:lnTo>
                    <a:pt x="40" y="120"/>
                  </a:lnTo>
                  <a:lnTo>
                    <a:pt x="38" y="120"/>
                  </a:lnTo>
                  <a:lnTo>
                    <a:pt x="38" y="120"/>
                  </a:lnTo>
                  <a:lnTo>
                    <a:pt x="36" y="120"/>
                  </a:lnTo>
                  <a:lnTo>
                    <a:pt x="32" y="120"/>
                  </a:lnTo>
                  <a:lnTo>
                    <a:pt x="28" y="120"/>
                  </a:lnTo>
                  <a:lnTo>
                    <a:pt x="24" y="118"/>
                  </a:lnTo>
                  <a:lnTo>
                    <a:pt x="18" y="118"/>
                  </a:lnTo>
                  <a:lnTo>
                    <a:pt x="12" y="118"/>
                  </a:lnTo>
                  <a:lnTo>
                    <a:pt x="10" y="118"/>
                  </a:lnTo>
                  <a:lnTo>
                    <a:pt x="8" y="116"/>
                  </a:lnTo>
                  <a:lnTo>
                    <a:pt x="6" y="116"/>
                  </a:lnTo>
                  <a:lnTo>
                    <a:pt x="4" y="116"/>
                  </a:lnTo>
                  <a:lnTo>
                    <a:pt x="2" y="114"/>
                  </a:lnTo>
                  <a:lnTo>
                    <a:pt x="2" y="120"/>
                  </a:lnTo>
                  <a:lnTo>
                    <a:pt x="2" y="126"/>
                  </a:lnTo>
                  <a:lnTo>
                    <a:pt x="0" y="132"/>
                  </a:lnTo>
                  <a:lnTo>
                    <a:pt x="0" y="140"/>
                  </a:lnTo>
                  <a:lnTo>
                    <a:pt x="0" y="146"/>
                  </a:lnTo>
                  <a:lnTo>
                    <a:pt x="0" y="150"/>
                  </a:lnTo>
                  <a:lnTo>
                    <a:pt x="2" y="154"/>
                  </a:lnTo>
                  <a:lnTo>
                    <a:pt x="2" y="156"/>
                  </a:lnTo>
                  <a:lnTo>
                    <a:pt x="2" y="158"/>
                  </a:lnTo>
                  <a:lnTo>
                    <a:pt x="2" y="158"/>
                  </a:lnTo>
                  <a:lnTo>
                    <a:pt x="2" y="160"/>
                  </a:lnTo>
                  <a:lnTo>
                    <a:pt x="4" y="160"/>
                  </a:lnTo>
                  <a:lnTo>
                    <a:pt x="6" y="162"/>
                  </a:lnTo>
                  <a:lnTo>
                    <a:pt x="6" y="162"/>
                  </a:lnTo>
                  <a:lnTo>
                    <a:pt x="6" y="164"/>
                  </a:lnTo>
                  <a:lnTo>
                    <a:pt x="6" y="164"/>
                  </a:lnTo>
                  <a:lnTo>
                    <a:pt x="6" y="168"/>
                  </a:lnTo>
                  <a:lnTo>
                    <a:pt x="6" y="170"/>
                  </a:lnTo>
                  <a:lnTo>
                    <a:pt x="8" y="172"/>
                  </a:lnTo>
                  <a:lnTo>
                    <a:pt x="8" y="178"/>
                  </a:lnTo>
                  <a:lnTo>
                    <a:pt x="8" y="184"/>
                  </a:lnTo>
                  <a:lnTo>
                    <a:pt x="6" y="188"/>
                  </a:lnTo>
                  <a:lnTo>
                    <a:pt x="6" y="192"/>
                  </a:lnTo>
                  <a:lnTo>
                    <a:pt x="6" y="196"/>
                  </a:lnTo>
                  <a:lnTo>
                    <a:pt x="8" y="196"/>
                  </a:lnTo>
                  <a:lnTo>
                    <a:pt x="12" y="196"/>
                  </a:lnTo>
                  <a:lnTo>
                    <a:pt x="14" y="194"/>
                  </a:lnTo>
                  <a:lnTo>
                    <a:pt x="16" y="194"/>
                  </a:lnTo>
                  <a:lnTo>
                    <a:pt x="18" y="194"/>
                  </a:lnTo>
                  <a:lnTo>
                    <a:pt x="18" y="194"/>
                  </a:lnTo>
                  <a:lnTo>
                    <a:pt x="18" y="194"/>
                  </a:lnTo>
                  <a:lnTo>
                    <a:pt x="20" y="194"/>
                  </a:lnTo>
                  <a:lnTo>
                    <a:pt x="20" y="196"/>
                  </a:lnTo>
                  <a:lnTo>
                    <a:pt x="20" y="196"/>
                  </a:lnTo>
                  <a:lnTo>
                    <a:pt x="22" y="198"/>
                  </a:lnTo>
                  <a:lnTo>
                    <a:pt x="22" y="198"/>
                  </a:lnTo>
                  <a:lnTo>
                    <a:pt x="24" y="202"/>
                  </a:lnTo>
                  <a:lnTo>
                    <a:pt x="24" y="202"/>
                  </a:lnTo>
                  <a:lnTo>
                    <a:pt x="26" y="204"/>
                  </a:lnTo>
                  <a:lnTo>
                    <a:pt x="26" y="204"/>
                  </a:lnTo>
                  <a:lnTo>
                    <a:pt x="28" y="204"/>
                  </a:lnTo>
                  <a:lnTo>
                    <a:pt x="30" y="206"/>
                  </a:lnTo>
                  <a:lnTo>
                    <a:pt x="34" y="206"/>
                  </a:lnTo>
                  <a:lnTo>
                    <a:pt x="34" y="206"/>
                  </a:lnTo>
                  <a:lnTo>
                    <a:pt x="36" y="206"/>
                  </a:lnTo>
                  <a:lnTo>
                    <a:pt x="36" y="208"/>
                  </a:lnTo>
                  <a:lnTo>
                    <a:pt x="36" y="208"/>
                  </a:lnTo>
                  <a:lnTo>
                    <a:pt x="38" y="210"/>
                  </a:lnTo>
                  <a:lnTo>
                    <a:pt x="40" y="212"/>
                  </a:lnTo>
                  <a:lnTo>
                    <a:pt x="42" y="214"/>
                  </a:lnTo>
                  <a:lnTo>
                    <a:pt x="44" y="220"/>
                  </a:lnTo>
                  <a:lnTo>
                    <a:pt x="46" y="222"/>
                  </a:lnTo>
                  <a:lnTo>
                    <a:pt x="46" y="224"/>
                  </a:lnTo>
                  <a:lnTo>
                    <a:pt x="48" y="224"/>
                  </a:lnTo>
                  <a:lnTo>
                    <a:pt x="50" y="226"/>
                  </a:lnTo>
                  <a:lnTo>
                    <a:pt x="52" y="228"/>
                  </a:lnTo>
                  <a:lnTo>
                    <a:pt x="56" y="230"/>
                  </a:lnTo>
                  <a:lnTo>
                    <a:pt x="58" y="228"/>
                  </a:lnTo>
                  <a:lnTo>
                    <a:pt x="60" y="224"/>
                  </a:lnTo>
                  <a:lnTo>
                    <a:pt x="62" y="222"/>
                  </a:lnTo>
                  <a:lnTo>
                    <a:pt x="64" y="218"/>
                  </a:lnTo>
                  <a:lnTo>
                    <a:pt x="66" y="216"/>
                  </a:lnTo>
                  <a:lnTo>
                    <a:pt x="66" y="214"/>
                  </a:lnTo>
                  <a:lnTo>
                    <a:pt x="68" y="214"/>
                  </a:lnTo>
                  <a:lnTo>
                    <a:pt x="70" y="212"/>
                  </a:lnTo>
                  <a:lnTo>
                    <a:pt x="70" y="212"/>
                  </a:lnTo>
                  <a:lnTo>
                    <a:pt x="72" y="212"/>
                  </a:lnTo>
                  <a:lnTo>
                    <a:pt x="72" y="212"/>
                  </a:lnTo>
                  <a:lnTo>
                    <a:pt x="72" y="212"/>
                  </a:lnTo>
                  <a:lnTo>
                    <a:pt x="74" y="212"/>
                  </a:lnTo>
                  <a:lnTo>
                    <a:pt x="76" y="212"/>
                  </a:lnTo>
                  <a:lnTo>
                    <a:pt x="78" y="214"/>
                  </a:lnTo>
                  <a:lnTo>
                    <a:pt x="80" y="216"/>
                  </a:lnTo>
                  <a:lnTo>
                    <a:pt x="82" y="216"/>
                  </a:lnTo>
                  <a:lnTo>
                    <a:pt x="84" y="218"/>
                  </a:lnTo>
                  <a:lnTo>
                    <a:pt x="86" y="218"/>
                  </a:lnTo>
                  <a:lnTo>
                    <a:pt x="88" y="218"/>
                  </a:lnTo>
                  <a:lnTo>
                    <a:pt x="92" y="220"/>
                  </a:lnTo>
                  <a:lnTo>
                    <a:pt x="94" y="220"/>
                  </a:lnTo>
                  <a:lnTo>
                    <a:pt x="102" y="220"/>
                  </a:lnTo>
                  <a:lnTo>
                    <a:pt x="108" y="220"/>
                  </a:lnTo>
                  <a:lnTo>
                    <a:pt x="116" y="222"/>
                  </a:lnTo>
                  <a:lnTo>
                    <a:pt x="124" y="222"/>
                  </a:lnTo>
                  <a:lnTo>
                    <a:pt x="130" y="222"/>
                  </a:lnTo>
                  <a:lnTo>
                    <a:pt x="134" y="222"/>
                  </a:lnTo>
                  <a:lnTo>
                    <a:pt x="140" y="222"/>
                  </a:lnTo>
                  <a:lnTo>
                    <a:pt x="142" y="222"/>
                  </a:lnTo>
                  <a:lnTo>
                    <a:pt x="146" y="222"/>
                  </a:lnTo>
                  <a:lnTo>
                    <a:pt x="148" y="222"/>
                  </a:lnTo>
                  <a:lnTo>
                    <a:pt x="150" y="220"/>
                  </a:lnTo>
                  <a:lnTo>
                    <a:pt x="152" y="220"/>
                  </a:lnTo>
                  <a:lnTo>
                    <a:pt x="152" y="220"/>
                  </a:lnTo>
                  <a:lnTo>
                    <a:pt x="154" y="220"/>
                  </a:lnTo>
                  <a:lnTo>
                    <a:pt x="154" y="218"/>
                  </a:lnTo>
                  <a:lnTo>
                    <a:pt x="154" y="218"/>
                  </a:lnTo>
                  <a:lnTo>
                    <a:pt x="154" y="218"/>
                  </a:lnTo>
                  <a:lnTo>
                    <a:pt x="156" y="216"/>
                  </a:lnTo>
                  <a:lnTo>
                    <a:pt x="156" y="214"/>
                  </a:lnTo>
                  <a:lnTo>
                    <a:pt x="156" y="212"/>
                  </a:lnTo>
                  <a:lnTo>
                    <a:pt x="156" y="210"/>
                  </a:lnTo>
                  <a:lnTo>
                    <a:pt x="156" y="208"/>
                  </a:lnTo>
                  <a:lnTo>
                    <a:pt x="154" y="204"/>
                  </a:lnTo>
                  <a:lnTo>
                    <a:pt x="154" y="202"/>
                  </a:lnTo>
                  <a:lnTo>
                    <a:pt x="154" y="202"/>
                  </a:lnTo>
                  <a:lnTo>
                    <a:pt x="152" y="202"/>
                  </a:lnTo>
                  <a:lnTo>
                    <a:pt x="152" y="200"/>
                  </a:lnTo>
                  <a:lnTo>
                    <a:pt x="152" y="200"/>
                  </a:lnTo>
                  <a:lnTo>
                    <a:pt x="150" y="200"/>
                  </a:lnTo>
                  <a:lnTo>
                    <a:pt x="148" y="200"/>
                  </a:lnTo>
                  <a:lnTo>
                    <a:pt x="146" y="200"/>
                  </a:lnTo>
                  <a:lnTo>
                    <a:pt x="146" y="198"/>
                  </a:lnTo>
                  <a:lnTo>
                    <a:pt x="144" y="198"/>
                  </a:lnTo>
                  <a:lnTo>
                    <a:pt x="142" y="198"/>
                  </a:lnTo>
                  <a:lnTo>
                    <a:pt x="142" y="198"/>
                  </a:lnTo>
                  <a:lnTo>
                    <a:pt x="142" y="198"/>
                  </a:lnTo>
                  <a:lnTo>
                    <a:pt x="140" y="196"/>
                  </a:lnTo>
                  <a:lnTo>
                    <a:pt x="138" y="192"/>
                  </a:lnTo>
                  <a:lnTo>
                    <a:pt x="138" y="190"/>
                  </a:lnTo>
                  <a:lnTo>
                    <a:pt x="138" y="186"/>
                  </a:lnTo>
                  <a:lnTo>
                    <a:pt x="136" y="184"/>
                  </a:lnTo>
                  <a:lnTo>
                    <a:pt x="136" y="180"/>
                  </a:lnTo>
                  <a:lnTo>
                    <a:pt x="136" y="178"/>
                  </a:lnTo>
                  <a:lnTo>
                    <a:pt x="136" y="174"/>
                  </a:lnTo>
                  <a:lnTo>
                    <a:pt x="136" y="170"/>
                  </a:lnTo>
                  <a:lnTo>
                    <a:pt x="136" y="166"/>
                  </a:lnTo>
                  <a:lnTo>
                    <a:pt x="136" y="158"/>
                  </a:lnTo>
                  <a:lnTo>
                    <a:pt x="138" y="150"/>
                  </a:lnTo>
                  <a:lnTo>
                    <a:pt x="140" y="142"/>
                  </a:lnTo>
                  <a:lnTo>
                    <a:pt x="142" y="126"/>
                  </a:lnTo>
                  <a:lnTo>
                    <a:pt x="142" y="118"/>
                  </a:lnTo>
                  <a:lnTo>
                    <a:pt x="144" y="110"/>
                  </a:lnTo>
                  <a:lnTo>
                    <a:pt x="144" y="108"/>
                  </a:lnTo>
                  <a:lnTo>
                    <a:pt x="144" y="104"/>
                  </a:lnTo>
                  <a:lnTo>
                    <a:pt x="144" y="100"/>
                  </a:lnTo>
                  <a:lnTo>
                    <a:pt x="144" y="96"/>
                  </a:lnTo>
                  <a:lnTo>
                    <a:pt x="144" y="94"/>
                  </a:lnTo>
                  <a:lnTo>
                    <a:pt x="144" y="90"/>
                  </a:lnTo>
                  <a:lnTo>
                    <a:pt x="144" y="88"/>
                  </a:lnTo>
                  <a:lnTo>
                    <a:pt x="142" y="86"/>
                  </a:lnTo>
                  <a:lnTo>
                    <a:pt x="142" y="84"/>
                  </a:lnTo>
                  <a:lnTo>
                    <a:pt x="142" y="82"/>
                  </a:lnTo>
                  <a:lnTo>
                    <a:pt x="138" y="80"/>
                  </a:lnTo>
                  <a:lnTo>
                    <a:pt x="136" y="78"/>
                  </a:lnTo>
                  <a:lnTo>
                    <a:pt x="136" y="76"/>
                  </a:lnTo>
                  <a:lnTo>
                    <a:pt x="134" y="76"/>
                  </a:lnTo>
                  <a:lnTo>
                    <a:pt x="134" y="72"/>
                  </a:lnTo>
                  <a:lnTo>
                    <a:pt x="134" y="70"/>
                  </a:lnTo>
                  <a:lnTo>
                    <a:pt x="134" y="68"/>
                  </a:lnTo>
                  <a:lnTo>
                    <a:pt x="134" y="64"/>
                  </a:lnTo>
                  <a:lnTo>
                    <a:pt x="134" y="60"/>
                  </a:lnTo>
                  <a:lnTo>
                    <a:pt x="134" y="58"/>
                  </a:lnTo>
                  <a:lnTo>
                    <a:pt x="134" y="56"/>
                  </a:lnTo>
                  <a:lnTo>
                    <a:pt x="134" y="56"/>
                  </a:lnTo>
                  <a:lnTo>
                    <a:pt x="134" y="54"/>
                  </a:lnTo>
                  <a:lnTo>
                    <a:pt x="134" y="54"/>
                  </a:lnTo>
                  <a:lnTo>
                    <a:pt x="136" y="54"/>
                  </a:lnTo>
                  <a:lnTo>
                    <a:pt x="136" y="52"/>
                  </a:lnTo>
                  <a:lnTo>
                    <a:pt x="138" y="52"/>
                  </a:lnTo>
                  <a:lnTo>
                    <a:pt x="138" y="52"/>
                  </a:lnTo>
                  <a:lnTo>
                    <a:pt x="140" y="52"/>
                  </a:lnTo>
                  <a:lnTo>
                    <a:pt x="142" y="52"/>
                  </a:lnTo>
                  <a:lnTo>
                    <a:pt x="144" y="52"/>
                  </a:lnTo>
                  <a:lnTo>
                    <a:pt x="144" y="52"/>
                  </a:lnTo>
                  <a:lnTo>
                    <a:pt x="144" y="52"/>
                  </a:lnTo>
                  <a:lnTo>
                    <a:pt x="146" y="52"/>
                  </a:lnTo>
                  <a:lnTo>
                    <a:pt x="146" y="50"/>
                  </a:lnTo>
                  <a:lnTo>
                    <a:pt x="146" y="50"/>
                  </a:lnTo>
                  <a:lnTo>
                    <a:pt x="146" y="48"/>
                  </a:lnTo>
                  <a:lnTo>
                    <a:pt x="146" y="46"/>
                  </a:lnTo>
                  <a:lnTo>
                    <a:pt x="146" y="42"/>
                  </a:lnTo>
                  <a:lnTo>
                    <a:pt x="146" y="38"/>
                  </a:lnTo>
                  <a:lnTo>
                    <a:pt x="146" y="36"/>
                  </a:lnTo>
                  <a:lnTo>
                    <a:pt x="114"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5" name="Freeform 393">
              <a:extLst>
                <a:ext uri="{FF2B5EF4-FFF2-40B4-BE49-F238E27FC236}">
                  <a16:creationId xmlns:a16="http://schemas.microsoft.com/office/drawing/2014/main" id="{4229B777-1378-42FF-870C-523241AFB7E6}"/>
                </a:ext>
              </a:extLst>
            </p:cNvPr>
            <p:cNvSpPr>
              <a:spLocks/>
            </p:cNvSpPr>
            <p:nvPr/>
          </p:nvSpPr>
          <p:spPr bwMode="auto">
            <a:xfrm>
              <a:off x="3863906" y="3832136"/>
              <a:ext cx="270204" cy="398377"/>
            </a:xfrm>
            <a:custGeom>
              <a:avLst/>
              <a:gdLst>
                <a:gd name="T0" fmla="*/ 112 w 156"/>
                <a:gd name="T1" fmla="*/ 16 h 230"/>
                <a:gd name="T2" fmla="*/ 106 w 156"/>
                <a:gd name="T3" fmla="*/ 26 h 230"/>
                <a:gd name="T4" fmla="*/ 102 w 156"/>
                <a:gd name="T5" fmla="*/ 30 h 230"/>
                <a:gd name="T6" fmla="*/ 90 w 156"/>
                <a:gd name="T7" fmla="*/ 30 h 230"/>
                <a:gd name="T8" fmla="*/ 72 w 156"/>
                <a:gd name="T9" fmla="*/ 30 h 230"/>
                <a:gd name="T10" fmla="*/ 68 w 156"/>
                <a:gd name="T11" fmla="*/ 32 h 230"/>
                <a:gd name="T12" fmla="*/ 66 w 156"/>
                <a:gd name="T13" fmla="*/ 38 h 230"/>
                <a:gd name="T14" fmla="*/ 68 w 156"/>
                <a:gd name="T15" fmla="*/ 58 h 230"/>
                <a:gd name="T16" fmla="*/ 70 w 156"/>
                <a:gd name="T17" fmla="*/ 74 h 230"/>
                <a:gd name="T18" fmla="*/ 70 w 156"/>
                <a:gd name="T19" fmla="*/ 80 h 230"/>
                <a:gd name="T20" fmla="*/ 66 w 156"/>
                <a:gd name="T21" fmla="*/ 82 h 230"/>
                <a:gd name="T22" fmla="*/ 58 w 156"/>
                <a:gd name="T23" fmla="*/ 78 h 230"/>
                <a:gd name="T24" fmla="*/ 52 w 156"/>
                <a:gd name="T25" fmla="*/ 78 h 230"/>
                <a:gd name="T26" fmla="*/ 46 w 156"/>
                <a:gd name="T27" fmla="*/ 86 h 230"/>
                <a:gd name="T28" fmla="*/ 42 w 156"/>
                <a:gd name="T29" fmla="*/ 98 h 230"/>
                <a:gd name="T30" fmla="*/ 44 w 156"/>
                <a:gd name="T31" fmla="*/ 114 h 230"/>
                <a:gd name="T32" fmla="*/ 42 w 156"/>
                <a:gd name="T33" fmla="*/ 120 h 230"/>
                <a:gd name="T34" fmla="*/ 36 w 156"/>
                <a:gd name="T35" fmla="*/ 120 h 230"/>
                <a:gd name="T36" fmla="*/ 12 w 156"/>
                <a:gd name="T37" fmla="*/ 118 h 230"/>
                <a:gd name="T38" fmla="*/ 2 w 156"/>
                <a:gd name="T39" fmla="*/ 114 h 230"/>
                <a:gd name="T40" fmla="*/ 0 w 156"/>
                <a:gd name="T41" fmla="*/ 146 h 230"/>
                <a:gd name="T42" fmla="*/ 2 w 156"/>
                <a:gd name="T43" fmla="*/ 158 h 230"/>
                <a:gd name="T44" fmla="*/ 6 w 156"/>
                <a:gd name="T45" fmla="*/ 164 h 230"/>
                <a:gd name="T46" fmla="*/ 8 w 156"/>
                <a:gd name="T47" fmla="*/ 178 h 230"/>
                <a:gd name="T48" fmla="*/ 8 w 156"/>
                <a:gd name="T49" fmla="*/ 196 h 230"/>
                <a:gd name="T50" fmla="*/ 18 w 156"/>
                <a:gd name="T51" fmla="*/ 194 h 230"/>
                <a:gd name="T52" fmla="*/ 22 w 156"/>
                <a:gd name="T53" fmla="*/ 198 h 230"/>
                <a:gd name="T54" fmla="*/ 26 w 156"/>
                <a:gd name="T55" fmla="*/ 204 h 230"/>
                <a:gd name="T56" fmla="*/ 36 w 156"/>
                <a:gd name="T57" fmla="*/ 206 h 230"/>
                <a:gd name="T58" fmla="*/ 42 w 156"/>
                <a:gd name="T59" fmla="*/ 214 h 230"/>
                <a:gd name="T60" fmla="*/ 50 w 156"/>
                <a:gd name="T61" fmla="*/ 226 h 230"/>
                <a:gd name="T62" fmla="*/ 62 w 156"/>
                <a:gd name="T63" fmla="*/ 222 h 230"/>
                <a:gd name="T64" fmla="*/ 70 w 156"/>
                <a:gd name="T65" fmla="*/ 212 h 230"/>
                <a:gd name="T66" fmla="*/ 74 w 156"/>
                <a:gd name="T67" fmla="*/ 212 h 230"/>
                <a:gd name="T68" fmla="*/ 84 w 156"/>
                <a:gd name="T69" fmla="*/ 218 h 230"/>
                <a:gd name="T70" fmla="*/ 102 w 156"/>
                <a:gd name="T71" fmla="*/ 220 h 230"/>
                <a:gd name="T72" fmla="*/ 134 w 156"/>
                <a:gd name="T73" fmla="*/ 222 h 230"/>
                <a:gd name="T74" fmla="*/ 150 w 156"/>
                <a:gd name="T75" fmla="*/ 220 h 230"/>
                <a:gd name="T76" fmla="*/ 154 w 156"/>
                <a:gd name="T77" fmla="*/ 218 h 230"/>
                <a:gd name="T78" fmla="*/ 156 w 156"/>
                <a:gd name="T79" fmla="*/ 210 h 230"/>
                <a:gd name="T80" fmla="*/ 152 w 156"/>
                <a:gd name="T81" fmla="*/ 202 h 230"/>
                <a:gd name="T82" fmla="*/ 146 w 156"/>
                <a:gd name="T83" fmla="*/ 200 h 230"/>
                <a:gd name="T84" fmla="*/ 142 w 156"/>
                <a:gd name="T85" fmla="*/ 198 h 230"/>
                <a:gd name="T86" fmla="*/ 136 w 156"/>
                <a:gd name="T87" fmla="*/ 184 h 230"/>
                <a:gd name="T88" fmla="*/ 136 w 156"/>
                <a:gd name="T89" fmla="*/ 166 h 230"/>
                <a:gd name="T90" fmla="*/ 142 w 156"/>
                <a:gd name="T91" fmla="*/ 118 h 230"/>
                <a:gd name="T92" fmla="*/ 144 w 156"/>
                <a:gd name="T93" fmla="*/ 96 h 230"/>
                <a:gd name="T94" fmla="*/ 142 w 156"/>
                <a:gd name="T95" fmla="*/ 84 h 230"/>
                <a:gd name="T96" fmla="*/ 134 w 156"/>
                <a:gd name="T97" fmla="*/ 76 h 230"/>
                <a:gd name="T98" fmla="*/ 134 w 156"/>
                <a:gd name="T99" fmla="*/ 60 h 230"/>
                <a:gd name="T100" fmla="*/ 134 w 156"/>
                <a:gd name="T101" fmla="*/ 54 h 230"/>
                <a:gd name="T102" fmla="*/ 140 w 156"/>
                <a:gd name="T103" fmla="*/ 52 h 230"/>
                <a:gd name="T104" fmla="*/ 146 w 156"/>
                <a:gd name="T105" fmla="*/ 52 h 230"/>
                <a:gd name="T106" fmla="*/ 146 w 156"/>
                <a:gd name="T107" fmla="*/ 4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230">
                  <a:moveTo>
                    <a:pt x="114" y="0"/>
                  </a:moveTo>
                  <a:lnTo>
                    <a:pt x="114" y="0"/>
                  </a:lnTo>
                  <a:lnTo>
                    <a:pt x="114" y="4"/>
                  </a:lnTo>
                  <a:lnTo>
                    <a:pt x="114" y="8"/>
                  </a:lnTo>
                  <a:lnTo>
                    <a:pt x="112" y="16"/>
                  </a:lnTo>
                  <a:lnTo>
                    <a:pt x="110" y="18"/>
                  </a:lnTo>
                  <a:lnTo>
                    <a:pt x="110" y="20"/>
                  </a:lnTo>
                  <a:lnTo>
                    <a:pt x="108" y="24"/>
                  </a:lnTo>
                  <a:lnTo>
                    <a:pt x="106" y="26"/>
                  </a:lnTo>
                  <a:lnTo>
                    <a:pt x="106" y="26"/>
                  </a:lnTo>
                  <a:lnTo>
                    <a:pt x="106" y="28"/>
                  </a:lnTo>
                  <a:lnTo>
                    <a:pt x="104" y="30"/>
                  </a:lnTo>
                  <a:lnTo>
                    <a:pt x="104" y="30"/>
                  </a:lnTo>
                  <a:lnTo>
                    <a:pt x="102" y="30"/>
                  </a:lnTo>
                  <a:lnTo>
                    <a:pt x="102" y="30"/>
                  </a:lnTo>
                  <a:lnTo>
                    <a:pt x="100" y="30"/>
                  </a:lnTo>
                  <a:lnTo>
                    <a:pt x="98" y="30"/>
                  </a:lnTo>
                  <a:lnTo>
                    <a:pt x="96" y="30"/>
                  </a:lnTo>
                  <a:lnTo>
                    <a:pt x="92" y="30"/>
                  </a:lnTo>
                  <a:lnTo>
                    <a:pt x="90" y="30"/>
                  </a:lnTo>
                  <a:lnTo>
                    <a:pt x="84" y="30"/>
                  </a:lnTo>
                  <a:lnTo>
                    <a:pt x="80" y="30"/>
                  </a:lnTo>
                  <a:lnTo>
                    <a:pt x="78" y="30"/>
                  </a:lnTo>
                  <a:lnTo>
                    <a:pt x="74" y="30"/>
                  </a:lnTo>
                  <a:lnTo>
                    <a:pt x="72" y="30"/>
                  </a:lnTo>
                  <a:lnTo>
                    <a:pt x="70" y="30"/>
                  </a:lnTo>
                  <a:lnTo>
                    <a:pt x="70" y="30"/>
                  </a:lnTo>
                  <a:lnTo>
                    <a:pt x="70" y="32"/>
                  </a:lnTo>
                  <a:lnTo>
                    <a:pt x="68" y="32"/>
                  </a:lnTo>
                  <a:lnTo>
                    <a:pt x="68" y="32"/>
                  </a:lnTo>
                  <a:lnTo>
                    <a:pt x="68" y="34"/>
                  </a:lnTo>
                  <a:lnTo>
                    <a:pt x="66" y="34"/>
                  </a:lnTo>
                  <a:lnTo>
                    <a:pt x="66" y="36"/>
                  </a:lnTo>
                  <a:lnTo>
                    <a:pt x="66" y="36"/>
                  </a:lnTo>
                  <a:lnTo>
                    <a:pt x="66" y="38"/>
                  </a:lnTo>
                  <a:lnTo>
                    <a:pt x="66" y="40"/>
                  </a:lnTo>
                  <a:lnTo>
                    <a:pt x="66" y="42"/>
                  </a:lnTo>
                  <a:lnTo>
                    <a:pt x="66" y="46"/>
                  </a:lnTo>
                  <a:lnTo>
                    <a:pt x="66" y="50"/>
                  </a:lnTo>
                  <a:lnTo>
                    <a:pt x="68" y="58"/>
                  </a:lnTo>
                  <a:lnTo>
                    <a:pt x="70" y="62"/>
                  </a:lnTo>
                  <a:lnTo>
                    <a:pt x="70" y="64"/>
                  </a:lnTo>
                  <a:lnTo>
                    <a:pt x="70" y="68"/>
                  </a:lnTo>
                  <a:lnTo>
                    <a:pt x="70" y="72"/>
                  </a:lnTo>
                  <a:lnTo>
                    <a:pt x="70" y="74"/>
                  </a:lnTo>
                  <a:lnTo>
                    <a:pt x="70" y="74"/>
                  </a:lnTo>
                  <a:lnTo>
                    <a:pt x="70" y="76"/>
                  </a:lnTo>
                  <a:lnTo>
                    <a:pt x="70" y="78"/>
                  </a:lnTo>
                  <a:lnTo>
                    <a:pt x="70" y="78"/>
                  </a:lnTo>
                  <a:lnTo>
                    <a:pt x="70" y="80"/>
                  </a:lnTo>
                  <a:lnTo>
                    <a:pt x="68" y="80"/>
                  </a:lnTo>
                  <a:lnTo>
                    <a:pt x="68" y="82"/>
                  </a:lnTo>
                  <a:lnTo>
                    <a:pt x="68" y="82"/>
                  </a:lnTo>
                  <a:lnTo>
                    <a:pt x="66" y="82"/>
                  </a:lnTo>
                  <a:lnTo>
                    <a:pt x="66" y="82"/>
                  </a:lnTo>
                  <a:lnTo>
                    <a:pt x="66" y="82"/>
                  </a:lnTo>
                  <a:lnTo>
                    <a:pt x="64" y="80"/>
                  </a:lnTo>
                  <a:lnTo>
                    <a:pt x="62" y="80"/>
                  </a:lnTo>
                  <a:lnTo>
                    <a:pt x="60" y="80"/>
                  </a:lnTo>
                  <a:lnTo>
                    <a:pt x="58" y="78"/>
                  </a:lnTo>
                  <a:lnTo>
                    <a:pt x="56" y="78"/>
                  </a:lnTo>
                  <a:lnTo>
                    <a:pt x="56" y="78"/>
                  </a:lnTo>
                  <a:lnTo>
                    <a:pt x="56" y="78"/>
                  </a:lnTo>
                  <a:lnTo>
                    <a:pt x="54" y="78"/>
                  </a:lnTo>
                  <a:lnTo>
                    <a:pt x="52" y="78"/>
                  </a:lnTo>
                  <a:lnTo>
                    <a:pt x="52" y="80"/>
                  </a:lnTo>
                  <a:lnTo>
                    <a:pt x="50" y="80"/>
                  </a:lnTo>
                  <a:lnTo>
                    <a:pt x="48" y="82"/>
                  </a:lnTo>
                  <a:lnTo>
                    <a:pt x="46" y="86"/>
                  </a:lnTo>
                  <a:lnTo>
                    <a:pt x="46" y="86"/>
                  </a:lnTo>
                  <a:lnTo>
                    <a:pt x="46" y="88"/>
                  </a:lnTo>
                  <a:lnTo>
                    <a:pt x="44" y="92"/>
                  </a:lnTo>
                  <a:lnTo>
                    <a:pt x="44" y="94"/>
                  </a:lnTo>
                  <a:lnTo>
                    <a:pt x="42" y="98"/>
                  </a:lnTo>
                  <a:lnTo>
                    <a:pt x="42" y="98"/>
                  </a:lnTo>
                  <a:lnTo>
                    <a:pt x="42" y="100"/>
                  </a:lnTo>
                  <a:lnTo>
                    <a:pt x="42" y="102"/>
                  </a:lnTo>
                  <a:lnTo>
                    <a:pt x="44" y="110"/>
                  </a:lnTo>
                  <a:lnTo>
                    <a:pt x="44" y="112"/>
                  </a:lnTo>
                  <a:lnTo>
                    <a:pt x="44" y="114"/>
                  </a:lnTo>
                  <a:lnTo>
                    <a:pt x="44" y="116"/>
                  </a:lnTo>
                  <a:lnTo>
                    <a:pt x="42" y="116"/>
                  </a:lnTo>
                  <a:lnTo>
                    <a:pt x="42" y="118"/>
                  </a:lnTo>
                  <a:lnTo>
                    <a:pt x="42" y="118"/>
                  </a:lnTo>
                  <a:lnTo>
                    <a:pt x="42" y="120"/>
                  </a:lnTo>
                  <a:lnTo>
                    <a:pt x="40" y="120"/>
                  </a:lnTo>
                  <a:lnTo>
                    <a:pt x="40" y="120"/>
                  </a:lnTo>
                  <a:lnTo>
                    <a:pt x="38" y="120"/>
                  </a:lnTo>
                  <a:lnTo>
                    <a:pt x="38" y="120"/>
                  </a:lnTo>
                  <a:lnTo>
                    <a:pt x="36" y="120"/>
                  </a:lnTo>
                  <a:lnTo>
                    <a:pt x="32" y="120"/>
                  </a:lnTo>
                  <a:lnTo>
                    <a:pt x="28" y="120"/>
                  </a:lnTo>
                  <a:lnTo>
                    <a:pt x="24" y="118"/>
                  </a:lnTo>
                  <a:lnTo>
                    <a:pt x="18" y="118"/>
                  </a:lnTo>
                  <a:lnTo>
                    <a:pt x="12" y="118"/>
                  </a:lnTo>
                  <a:lnTo>
                    <a:pt x="10" y="118"/>
                  </a:lnTo>
                  <a:lnTo>
                    <a:pt x="8" y="116"/>
                  </a:lnTo>
                  <a:lnTo>
                    <a:pt x="6" y="116"/>
                  </a:lnTo>
                  <a:lnTo>
                    <a:pt x="4" y="116"/>
                  </a:lnTo>
                  <a:lnTo>
                    <a:pt x="2" y="114"/>
                  </a:lnTo>
                  <a:lnTo>
                    <a:pt x="2" y="120"/>
                  </a:lnTo>
                  <a:lnTo>
                    <a:pt x="2" y="126"/>
                  </a:lnTo>
                  <a:lnTo>
                    <a:pt x="0" y="132"/>
                  </a:lnTo>
                  <a:lnTo>
                    <a:pt x="0" y="140"/>
                  </a:lnTo>
                  <a:lnTo>
                    <a:pt x="0" y="146"/>
                  </a:lnTo>
                  <a:lnTo>
                    <a:pt x="0" y="150"/>
                  </a:lnTo>
                  <a:lnTo>
                    <a:pt x="2" y="154"/>
                  </a:lnTo>
                  <a:lnTo>
                    <a:pt x="2" y="156"/>
                  </a:lnTo>
                  <a:lnTo>
                    <a:pt x="2" y="158"/>
                  </a:lnTo>
                  <a:lnTo>
                    <a:pt x="2" y="158"/>
                  </a:lnTo>
                  <a:lnTo>
                    <a:pt x="2" y="160"/>
                  </a:lnTo>
                  <a:lnTo>
                    <a:pt x="4" y="160"/>
                  </a:lnTo>
                  <a:lnTo>
                    <a:pt x="6" y="162"/>
                  </a:lnTo>
                  <a:lnTo>
                    <a:pt x="6" y="162"/>
                  </a:lnTo>
                  <a:lnTo>
                    <a:pt x="6" y="164"/>
                  </a:lnTo>
                  <a:lnTo>
                    <a:pt x="6" y="164"/>
                  </a:lnTo>
                  <a:lnTo>
                    <a:pt x="6" y="168"/>
                  </a:lnTo>
                  <a:lnTo>
                    <a:pt x="6" y="170"/>
                  </a:lnTo>
                  <a:lnTo>
                    <a:pt x="8" y="172"/>
                  </a:lnTo>
                  <a:lnTo>
                    <a:pt x="8" y="178"/>
                  </a:lnTo>
                  <a:lnTo>
                    <a:pt x="8" y="184"/>
                  </a:lnTo>
                  <a:lnTo>
                    <a:pt x="6" y="188"/>
                  </a:lnTo>
                  <a:lnTo>
                    <a:pt x="6" y="192"/>
                  </a:lnTo>
                  <a:lnTo>
                    <a:pt x="6" y="196"/>
                  </a:lnTo>
                  <a:lnTo>
                    <a:pt x="8" y="196"/>
                  </a:lnTo>
                  <a:lnTo>
                    <a:pt x="12" y="196"/>
                  </a:lnTo>
                  <a:lnTo>
                    <a:pt x="14" y="194"/>
                  </a:lnTo>
                  <a:lnTo>
                    <a:pt x="16" y="194"/>
                  </a:lnTo>
                  <a:lnTo>
                    <a:pt x="18" y="194"/>
                  </a:lnTo>
                  <a:lnTo>
                    <a:pt x="18" y="194"/>
                  </a:lnTo>
                  <a:lnTo>
                    <a:pt x="18" y="194"/>
                  </a:lnTo>
                  <a:lnTo>
                    <a:pt x="20" y="194"/>
                  </a:lnTo>
                  <a:lnTo>
                    <a:pt x="20" y="196"/>
                  </a:lnTo>
                  <a:lnTo>
                    <a:pt x="20" y="196"/>
                  </a:lnTo>
                  <a:lnTo>
                    <a:pt x="22" y="198"/>
                  </a:lnTo>
                  <a:lnTo>
                    <a:pt x="22" y="198"/>
                  </a:lnTo>
                  <a:lnTo>
                    <a:pt x="24" y="202"/>
                  </a:lnTo>
                  <a:lnTo>
                    <a:pt x="24" y="202"/>
                  </a:lnTo>
                  <a:lnTo>
                    <a:pt x="26" y="204"/>
                  </a:lnTo>
                  <a:lnTo>
                    <a:pt x="26" y="204"/>
                  </a:lnTo>
                  <a:lnTo>
                    <a:pt x="28" y="204"/>
                  </a:lnTo>
                  <a:lnTo>
                    <a:pt x="30" y="206"/>
                  </a:lnTo>
                  <a:lnTo>
                    <a:pt x="34" y="206"/>
                  </a:lnTo>
                  <a:lnTo>
                    <a:pt x="34" y="206"/>
                  </a:lnTo>
                  <a:lnTo>
                    <a:pt x="36" y="206"/>
                  </a:lnTo>
                  <a:lnTo>
                    <a:pt x="36" y="208"/>
                  </a:lnTo>
                  <a:lnTo>
                    <a:pt x="36" y="208"/>
                  </a:lnTo>
                  <a:lnTo>
                    <a:pt x="38" y="210"/>
                  </a:lnTo>
                  <a:lnTo>
                    <a:pt x="40" y="212"/>
                  </a:lnTo>
                  <a:lnTo>
                    <a:pt x="42" y="214"/>
                  </a:lnTo>
                  <a:lnTo>
                    <a:pt x="44" y="220"/>
                  </a:lnTo>
                  <a:lnTo>
                    <a:pt x="46" y="222"/>
                  </a:lnTo>
                  <a:lnTo>
                    <a:pt x="46" y="224"/>
                  </a:lnTo>
                  <a:lnTo>
                    <a:pt x="48" y="224"/>
                  </a:lnTo>
                  <a:lnTo>
                    <a:pt x="50" y="226"/>
                  </a:lnTo>
                  <a:lnTo>
                    <a:pt x="52" y="228"/>
                  </a:lnTo>
                  <a:lnTo>
                    <a:pt x="56" y="230"/>
                  </a:lnTo>
                  <a:lnTo>
                    <a:pt x="58" y="228"/>
                  </a:lnTo>
                  <a:lnTo>
                    <a:pt x="60" y="224"/>
                  </a:lnTo>
                  <a:lnTo>
                    <a:pt x="62" y="222"/>
                  </a:lnTo>
                  <a:lnTo>
                    <a:pt x="64" y="218"/>
                  </a:lnTo>
                  <a:lnTo>
                    <a:pt x="66" y="216"/>
                  </a:lnTo>
                  <a:lnTo>
                    <a:pt x="66" y="214"/>
                  </a:lnTo>
                  <a:lnTo>
                    <a:pt x="68" y="214"/>
                  </a:lnTo>
                  <a:lnTo>
                    <a:pt x="70" y="212"/>
                  </a:lnTo>
                  <a:lnTo>
                    <a:pt x="70" y="212"/>
                  </a:lnTo>
                  <a:lnTo>
                    <a:pt x="72" y="212"/>
                  </a:lnTo>
                  <a:lnTo>
                    <a:pt x="72" y="212"/>
                  </a:lnTo>
                  <a:lnTo>
                    <a:pt x="72" y="212"/>
                  </a:lnTo>
                  <a:lnTo>
                    <a:pt x="74" y="212"/>
                  </a:lnTo>
                  <a:lnTo>
                    <a:pt x="76" y="212"/>
                  </a:lnTo>
                  <a:lnTo>
                    <a:pt x="78" y="214"/>
                  </a:lnTo>
                  <a:lnTo>
                    <a:pt x="80" y="216"/>
                  </a:lnTo>
                  <a:lnTo>
                    <a:pt x="82" y="216"/>
                  </a:lnTo>
                  <a:lnTo>
                    <a:pt x="84" y="218"/>
                  </a:lnTo>
                  <a:lnTo>
                    <a:pt x="86" y="218"/>
                  </a:lnTo>
                  <a:lnTo>
                    <a:pt x="88" y="218"/>
                  </a:lnTo>
                  <a:lnTo>
                    <a:pt x="92" y="220"/>
                  </a:lnTo>
                  <a:lnTo>
                    <a:pt x="94" y="220"/>
                  </a:lnTo>
                  <a:lnTo>
                    <a:pt x="102" y="220"/>
                  </a:lnTo>
                  <a:lnTo>
                    <a:pt x="108" y="220"/>
                  </a:lnTo>
                  <a:lnTo>
                    <a:pt x="116" y="222"/>
                  </a:lnTo>
                  <a:lnTo>
                    <a:pt x="124" y="222"/>
                  </a:lnTo>
                  <a:lnTo>
                    <a:pt x="130" y="222"/>
                  </a:lnTo>
                  <a:lnTo>
                    <a:pt x="134" y="222"/>
                  </a:lnTo>
                  <a:lnTo>
                    <a:pt x="140" y="222"/>
                  </a:lnTo>
                  <a:lnTo>
                    <a:pt x="142" y="222"/>
                  </a:lnTo>
                  <a:lnTo>
                    <a:pt x="146" y="222"/>
                  </a:lnTo>
                  <a:lnTo>
                    <a:pt x="148" y="222"/>
                  </a:lnTo>
                  <a:lnTo>
                    <a:pt x="150" y="220"/>
                  </a:lnTo>
                  <a:lnTo>
                    <a:pt x="152" y="220"/>
                  </a:lnTo>
                  <a:lnTo>
                    <a:pt x="152" y="220"/>
                  </a:lnTo>
                  <a:lnTo>
                    <a:pt x="154" y="220"/>
                  </a:lnTo>
                  <a:lnTo>
                    <a:pt x="154" y="218"/>
                  </a:lnTo>
                  <a:lnTo>
                    <a:pt x="154" y="218"/>
                  </a:lnTo>
                  <a:lnTo>
                    <a:pt x="154" y="218"/>
                  </a:lnTo>
                  <a:lnTo>
                    <a:pt x="156" y="216"/>
                  </a:lnTo>
                  <a:lnTo>
                    <a:pt x="156" y="214"/>
                  </a:lnTo>
                  <a:lnTo>
                    <a:pt x="156" y="212"/>
                  </a:lnTo>
                  <a:lnTo>
                    <a:pt x="156" y="210"/>
                  </a:lnTo>
                  <a:lnTo>
                    <a:pt x="156" y="208"/>
                  </a:lnTo>
                  <a:lnTo>
                    <a:pt x="154" y="204"/>
                  </a:lnTo>
                  <a:lnTo>
                    <a:pt x="154" y="202"/>
                  </a:lnTo>
                  <a:lnTo>
                    <a:pt x="154" y="202"/>
                  </a:lnTo>
                  <a:lnTo>
                    <a:pt x="152" y="202"/>
                  </a:lnTo>
                  <a:lnTo>
                    <a:pt x="152" y="200"/>
                  </a:lnTo>
                  <a:lnTo>
                    <a:pt x="152" y="200"/>
                  </a:lnTo>
                  <a:lnTo>
                    <a:pt x="150" y="200"/>
                  </a:lnTo>
                  <a:lnTo>
                    <a:pt x="148" y="200"/>
                  </a:lnTo>
                  <a:lnTo>
                    <a:pt x="146" y="200"/>
                  </a:lnTo>
                  <a:lnTo>
                    <a:pt x="146" y="198"/>
                  </a:lnTo>
                  <a:lnTo>
                    <a:pt x="144" y="198"/>
                  </a:lnTo>
                  <a:lnTo>
                    <a:pt x="142" y="198"/>
                  </a:lnTo>
                  <a:lnTo>
                    <a:pt x="142" y="198"/>
                  </a:lnTo>
                  <a:lnTo>
                    <a:pt x="142" y="198"/>
                  </a:lnTo>
                  <a:lnTo>
                    <a:pt x="140" y="196"/>
                  </a:lnTo>
                  <a:lnTo>
                    <a:pt x="138" y="192"/>
                  </a:lnTo>
                  <a:lnTo>
                    <a:pt x="138" y="190"/>
                  </a:lnTo>
                  <a:lnTo>
                    <a:pt x="138" y="186"/>
                  </a:lnTo>
                  <a:lnTo>
                    <a:pt x="136" y="184"/>
                  </a:lnTo>
                  <a:lnTo>
                    <a:pt x="136" y="180"/>
                  </a:lnTo>
                  <a:lnTo>
                    <a:pt x="136" y="178"/>
                  </a:lnTo>
                  <a:lnTo>
                    <a:pt x="136" y="174"/>
                  </a:lnTo>
                  <a:lnTo>
                    <a:pt x="136" y="170"/>
                  </a:lnTo>
                  <a:lnTo>
                    <a:pt x="136" y="166"/>
                  </a:lnTo>
                  <a:lnTo>
                    <a:pt x="136" y="158"/>
                  </a:lnTo>
                  <a:lnTo>
                    <a:pt x="138" y="150"/>
                  </a:lnTo>
                  <a:lnTo>
                    <a:pt x="140" y="142"/>
                  </a:lnTo>
                  <a:lnTo>
                    <a:pt x="142" y="126"/>
                  </a:lnTo>
                  <a:lnTo>
                    <a:pt x="142" y="118"/>
                  </a:lnTo>
                  <a:lnTo>
                    <a:pt x="144" y="110"/>
                  </a:lnTo>
                  <a:lnTo>
                    <a:pt x="144" y="108"/>
                  </a:lnTo>
                  <a:lnTo>
                    <a:pt x="144" y="104"/>
                  </a:lnTo>
                  <a:lnTo>
                    <a:pt x="144" y="100"/>
                  </a:lnTo>
                  <a:lnTo>
                    <a:pt x="144" y="96"/>
                  </a:lnTo>
                  <a:lnTo>
                    <a:pt x="144" y="94"/>
                  </a:lnTo>
                  <a:lnTo>
                    <a:pt x="144" y="90"/>
                  </a:lnTo>
                  <a:lnTo>
                    <a:pt x="144" y="88"/>
                  </a:lnTo>
                  <a:lnTo>
                    <a:pt x="142" y="86"/>
                  </a:lnTo>
                  <a:lnTo>
                    <a:pt x="142" y="84"/>
                  </a:lnTo>
                  <a:lnTo>
                    <a:pt x="142" y="82"/>
                  </a:lnTo>
                  <a:lnTo>
                    <a:pt x="138" y="80"/>
                  </a:lnTo>
                  <a:lnTo>
                    <a:pt x="136" y="78"/>
                  </a:lnTo>
                  <a:lnTo>
                    <a:pt x="136" y="76"/>
                  </a:lnTo>
                  <a:lnTo>
                    <a:pt x="134" y="76"/>
                  </a:lnTo>
                  <a:lnTo>
                    <a:pt x="134" y="72"/>
                  </a:lnTo>
                  <a:lnTo>
                    <a:pt x="134" y="70"/>
                  </a:lnTo>
                  <a:lnTo>
                    <a:pt x="134" y="68"/>
                  </a:lnTo>
                  <a:lnTo>
                    <a:pt x="134" y="64"/>
                  </a:lnTo>
                  <a:lnTo>
                    <a:pt x="134" y="60"/>
                  </a:lnTo>
                  <a:lnTo>
                    <a:pt x="134" y="58"/>
                  </a:lnTo>
                  <a:lnTo>
                    <a:pt x="134" y="56"/>
                  </a:lnTo>
                  <a:lnTo>
                    <a:pt x="134" y="56"/>
                  </a:lnTo>
                  <a:lnTo>
                    <a:pt x="134" y="54"/>
                  </a:lnTo>
                  <a:lnTo>
                    <a:pt x="134" y="54"/>
                  </a:lnTo>
                  <a:lnTo>
                    <a:pt x="136" y="54"/>
                  </a:lnTo>
                  <a:lnTo>
                    <a:pt x="136" y="52"/>
                  </a:lnTo>
                  <a:lnTo>
                    <a:pt x="138" y="52"/>
                  </a:lnTo>
                  <a:lnTo>
                    <a:pt x="138" y="52"/>
                  </a:lnTo>
                  <a:lnTo>
                    <a:pt x="140" y="52"/>
                  </a:lnTo>
                  <a:lnTo>
                    <a:pt x="142" y="52"/>
                  </a:lnTo>
                  <a:lnTo>
                    <a:pt x="144" y="52"/>
                  </a:lnTo>
                  <a:lnTo>
                    <a:pt x="144" y="52"/>
                  </a:lnTo>
                  <a:lnTo>
                    <a:pt x="144" y="52"/>
                  </a:lnTo>
                  <a:lnTo>
                    <a:pt x="146" y="52"/>
                  </a:lnTo>
                  <a:lnTo>
                    <a:pt x="146" y="50"/>
                  </a:lnTo>
                  <a:lnTo>
                    <a:pt x="146" y="50"/>
                  </a:lnTo>
                  <a:lnTo>
                    <a:pt x="146" y="48"/>
                  </a:lnTo>
                  <a:lnTo>
                    <a:pt x="146" y="46"/>
                  </a:lnTo>
                  <a:lnTo>
                    <a:pt x="146" y="42"/>
                  </a:lnTo>
                  <a:lnTo>
                    <a:pt x="146" y="38"/>
                  </a:lnTo>
                  <a:lnTo>
                    <a:pt x="146" y="36"/>
                  </a:lnTo>
                  <a:lnTo>
                    <a:pt x="114"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6" name="Freeform 394">
              <a:extLst>
                <a:ext uri="{FF2B5EF4-FFF2-40B4-BE49-F238E27FC236}">
                  <a16:creationId xmlns:a16="http://schemas.microsoft.com/office/drawing/2014/main" id="{7AF7599B-36E1-400D-9089-A0E7104D2CCA}"/>
                </a:ext>
              </a:extLst>
            </p:cNvPr>
            <p:cNvSpPr>
              <a:spLocks/>
            </p:cNvSpPr>
            <p:nvPr/>
          </p:nvSpPr>
          <p:spPr bwMode="auto">
            <a:xfrm>
              <a:off x="4556736" y="4538822"/>
              <a:ext cx="180136" cy="252883"/>
            </a:xfrm>
            <a:custGeom>
              <a:avLst/>
              <a:gdLst>
                <a:gd name="T0" fmla="*/ 4 w 104"/>
                <a:gd name="T1" fmla="*/ 128 h 146"/>
                <a:gd name="T2" fmla="*/ 10 w 104"/>
                <a:gd name="T3" fmla="*/ 116 h 146"/>
                <a:gd name="T4" fmla="*/ 8 w 104"/>
                <a:gd name="T5" fmla="*/ 114 h 146"/>
                <a:gd name="T6" fmla="*/ 2 w 104"/>
                <a:gd name="T7" fmla="*/ 110 h 146"/>
                <a:gd name="T8" fmla="*/ 2 w 104"/>
                <a:gd name="T9" fmla="*/ 104 h 146"/>
                <a:gd name="T10" fmla="*/ 4 w 104"/>
                <a:gd name="T11" fmla="*/ 100 h 146"/>
                <a:gd name="T12" fmla="*/ 16 w 104"/>
                <a:gd name="T13" fmla="*/ 96 h 146"/>
                <a:gd name="T14" fmla="*/ 20 w 104"/>
                <a:gd name="T15" fmla="*/ 96 h 146"/>
                <a:gd name="T16" fmla="*/ 24 w 104"/>
                <a:gd name="T17" fmla="*/ 102 h 146"/>
                <a:gd name="T18" fmla="*/ 28 w 104"/>
                <a:gd name="T19" fmla="*/ 106 h 146"/>
                <a:gd name="T20" fmla="*/ 34 w 104"/>
                <a:gd name="T21" fmla="*/ 104 h 146"/>
                <a:gd name="T22" fmla="*/ 42 w 104"/>
                <a:gd name="T23" fmla="*/ 96 h 146"/>
                <a:gd name="T24" fmla="*/ 48 w 104"/>
                <a:gd name="T25" fmla="*/ 88 h 146"/>
                <a:gd name="T26" fmla="*/ 48 w 104"/>
                <a:gd name="T27" fmla="*/ 78 h 146"/>
                <a:gd name="T28" fmla="*/ 44 w 104"/>
                <a:gd name="T29" fmla="*/ 72 h 146"/>
                <a:gd name="T30" fmla="*/ 36 w 104"/>
                <a:gd name="T31" fmla="*/ 64 h 146"/>
                <a:gd name="T32" fmla="*/ 34 w 104"/>
                <a:gd name="T33" fmla="*/ 56 h 146"/>
                <a:gd name="T34" fmla="*/ 36 w 104"/>
                <a:gd name="T35" fmla="*/ 50 h 146"/>
                <a:gd name="T36" fmla="*/ 36 w 104"/>
                <a:gd name="T37" fmla="*/ 44 h 146"/>
                <a:gd name="T38" fmla="*/ 34 w 104"/>
                <a:gd name="T39" fmla="*/ 40 h 146"/>
                <a:gd name="T40" fmla="*/ 28 w 104"/>
                <a:gd name="T41" fmla="*/ 40 h 146"/>
                <a:gd name="T42" fmla="*/ 24 w 104"/>
                <a:gd name="T43" fmla="*/ 38 h 146"/>
                <a:gd name="T44" fmla="*/ 24 w 104"/>
                <a:gd name="T45" fmla="*/ 30 h 146"/>
                <a:gd name="T46" fmla="*/ 74 w 104"/>
                <a:gd name="T47" fmla="*/ 14 h 146"/>
                <a:gd name="T48" fmla="*/ 82 w 104"/>
                <a:gd name="T49" fmla="*/ 4 h 146"/>
                <a:gd name="T50" fmla="*/ 92 w 104"/>
                <a:gd name="T51" fmla="*/ 0 h 146"/>
                <a:gd name="T52" fmla="*/ 100 w 104"/>
                <a:gd name="T53" fmla="*/ 2 h 146"/>
                <a:gd name="T54" fmla="*/ 104 w 104"/>
                <a:gd name="T55" fmla="*/ 6 h 146"/>
                <a:gd name="T56" fmla="*/ 102 w 104"/>
                <a:gd name="T57" fmla="*/ 16 h 146"/>
                <a:gd name="T58" fmla="*/ 98 w 104"/>
                <a:gd name="T59" fmla="*/ 24 h 146"/>
                <a:gd name="T60" fmla="*/ 94 w 104"/>
                <a:gd name="T61" fmla="*/ 28 h 146"/>
                <a:gd name="T62" fmla="*/ 92 w 104"/>
                <a:gd name="T63" fmla="*/ 42 h 146"/>
                <a:gd name="T64" fmla="*/ 94 w 104"/>
                <a:gd name="T65" fmla="*/ 68 h 146"/>
                <a:gd name="T66" fmla="*/ 90 w 104"/>
                <a:gd name="T67" fmla="*/ 78 h 146"/>
                <a:gd name="T68" fmla="*/ 84 w 104"/>
                <a:gd name="T69" fmla="*/ 84 h 146"/>
                <a:gd name="T70" fmla="*/ 82 w 104"/>
                <a:gd name="T71" fmla="*/ 92 h 146"/>
                <a:gd name="T72" fmla="*/ 82 w 104"/>
                <a:gd name="T73" fmla="*/ 104 h 146"/>
                <a:gd name="T74" fmla="*/ 80 w 104"/>
                <a:gd name="T75" fmla="*/ 106 h 146"/>
                <a:gd name="T76" fmla="*/ 72 w 104"/>
                <a:gd name="T77" fmla="*/ 106 h 146"/>
                <a:gd name="T78" fmla="*/ 70 w 104"/>
                <a:gd name="T79" fmla="*/ 110 h 146"/>
                <a:gd name="T80" fmla="*/ 70 w 104"/>
                <a:gd name="T81" fmla="*/ 122 h 146"/>
                <a:gd name="T82" fmla="*/ 70 w 104"/>
                <a:gd name="T83" fmla="*/ 130 h 146"/>
                <a:gd name="T84" fmla="*/ 64 w 104"/>
                <a:gd name="T85" fmla="*/ 132 h 146"/>
                <a:gd name="T86" fmla="*/ 54 w 104"/>
                <a:gd name="T87" fmla="*/ 136 h 146"/>
                <a:gd name="T88" fmla="*/ 52 w 104"/>
                <a:gd name="T89" fmla="*/ 140 h 146"/>
                <a:gd name="T90" fmla="*/ 46 w 104"/>
                <a:gd name="T91" fmla="*/ 142 h 146"/>
                <a:gd name="T92" fmla="*/ 38 w 104"/>
                <a:gd name="T93" fmla="*/ 140 h 146"/>
                <a:gd name="T94" fmla="*/ 32 w 104"/>
                <a:gd name="T95" fmla="*/ 136 h 146"/>
                <a:gd name="T96" fmla="*/ 24 w 104"/>
                <a:gd name="T97" fmla="*/ 140 h 146"/>
                <a:gd name="T98" fmla="*/ 10 w 104"/>
                <a:gd name="T99" fmla="*/ 146 h 146"/>
                <a:gd name="T100" fmla="*/ 8 w 104"/>
                <a:gd name="T101" fmla="*/ 140 h 146"/>
                <a:gd name="T102" fmla="*/ 6 w 104"/>
                <a:gd name="T103" fmla="*/ 13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4" h="146">
                  <a:moveTo>
                    <a:pt x="0" y="134"/>
                  </a:moveTo>
                  <a:lnTo>
                    <a:pt x="0" y="134"/>
                  </a:lnTo>
                  <a:lnTo>
                    <a:pt x="2" y="132"/>
                  </a:lnTo>
                  <a:lnTo>
                    <a:pt x="4" y="130"/>
                  </a:lnTo>
                  <a:lnTo>
                    <a:pt x="4" y="128"/>
                  </a:lnTo>
                  <a:lnTo>
                    <a:pt x="6" y="124"/>
                  </a:lnTo>
                  <a:lnTo>
                    <a:pt x="8" y="122"/>
                  </a:lnTo>
                  <a:lnTo>
                    <a:pt x="8" y="120"/>
                  </a:lnTo>
                  <a:lnTo>
                    <a:pt x="10" y="118"/>
                  </a:lnTo>
                  <a:lnTo>
                    <a:pt x="10" y="116"/>
                  </a:lnTo>
                  <a:lnTo>
                    <a:pt x="10" y="116"/>
                  </a:lnTo>
                  <a:lnTo>
                    <a:pt x="10" y="116"/>
                  </a:lnTo>
                  <a:lnTo>
                    <a:pt x="10" y="116"/>
                  </a:lnTo>
                  <a:lnTo>
                    <a:pt x="10" y="114"/>
                  </a:lnTo>
                  <a:lnTo>
                    <a:pt x="8" y="114"/>
                  </a:lnTo>
                  <a:lnTo>
                    <a:pt x="8" y="114"/>
                  </a:lnTo>
                  <a:lnTo>
                    <a:pt x="6" y="112"/>
                  </a:lnTo>
                  <a:lnTo>
                    <a:pt x="4" y="112"/>
                  </a:lnTo>
                  <a:lnTo>
                    <a:pt x="4" y="112"/>
                  </a:lnTo>
                  <a:lnTo>
                    <a:pt x="2" y="110"/>
                  </a:lnTo>
                  <a:lnTo>
                    <a:pt x="2" y="110"/>
                  </a:lnTo>
                  <a:lnTo>
                    <a:pt x="2" y="108"/>
                  </a:lnTo>
                  <a:lnTo>
                    <a:pt x="2" y="106"/>
                  </a:lnTo>
                  <a:lnTo>
                    <a:pt x="2" y="106"/>
                  </a:lnTo>
                  <a:lnTo>
                    <a:pt x="2" y="104"/>
                  </a:lnTo>
                  <a:lnTo>
                    <a:pt x="2" y="104"/>
                  </a:lnTo>
                  <a:lnTo>
                    <a:pt x="2" y="102"/>
                  </a:lnTo>
                  <a:lnTo>
                    <a:pt x="2" y="102"/>
                  </a:lnTo>
                  <a:lnTo>
                    <a:pt x="2" y="102"/>
                  </a:lnTo>
                  <a:lnTo>
                    <a:pt x="4" y="100"/>
                  </a:lnTo>
                  <a:lnTo>
                    <a:pt x="4" y="100"/>
                  </a:lnTo>
                  <a:lnTo>
                    <a:pt x="6" y="100"/>
                  </a:lnTo>
                  <a:lnTo>
                    <a:pt x="8" y="98"/>
                  </a:lnTo>
                  <a:lnTo>
                    <a:pt x="12" y="98"/>
                  </a:lnTo>
                  <a:lnTo>
                    <a:pt x="16" y="96"/>
                  </a:lnTo>
                  <a:lnTo>
                    <a:pt x="16" y="96"/>
                  </a:lnTo>
                  <a:lnTo>
                    <a:pt x="18" y="96"/>
                  </a:lnTo>
                  <a:lnTo>
                    <a:pt x="18" y="96"/>
                  </a:lnTo>
                  <a:lnTo>
                    <a:pt x="20" y="96"/>
                  </a:lnTo>
                  <a:lnTo>
                    <a:pt x="20" y="96"/>
                  </a:lnTo>
                  <a:lnTo>
                    <a:pt x="20" y="96"/>
                  </a:lnTo>
                  <a:lnTo>
                    <a:pt x="20" y="98"/>
                  </a:lnTo>
                  <a:lnTo>
                    <a:pt x="22" y="100"/>
                  </a:lnTo>
                  <a:lnTo>
                    <a:pt x="22" y="102"/>
                  </a:lnTo>
                  <a:lnTo>
                    <a:pt x="24" y="102"/>
                  </a:lnTo>
                  <a:lnTo>
                    <a:pt x="24" y="104"/>
                  </a:lnTo>
                  <a:lnTo>
                    <a:pt x="26" y="106"/>
                  </a:lnTo>
                  <a:lnTo>
                    <a:pt x="26" y="106"/>
                  </a:lnTo>
                  <a:lnTo>
                    <a:pt x="26" y="106"/>
                  </a:lnTo>
                  <a:lnTo>
                    <a:pt x="28" y="106"/>
                  </a:lnTo>
                  <a:lnTo>
                    <a:pt x="28" y="106"/>
                  </a:lnTo>
                  <a:lnTo>
                    <a:pt x="30" y="106"/>
                  </a:lnTo>
                  <a:lnTo>
                    <a:pt x="30" y="106"/>
                  </a:lnTo>
                  <a:lnTo>
                    <a:pt x="32" y="104"/>
                  </a:lnTo>
                  <a:lnTo>
                    <a:pt x="34" y="104"/>
                  </a:lnTo>
                  <a:lnTo>
                    <a:pt x="36" y="102"/>
                  </a:lnTo>
                  <a:lnTo>
                    <a:pt x="38" y="102"/>
                  </a:lnTo>
                  <a:lnTo>
                    <a:pt x="40" y="100"/>
                  </a:lnTo>
                  <a:lnTo>
                    <a:pt x="42" y="98"/>
                  </a:lnTo>
                  <a:lnTo>
                    <a:pt x="42" y="96"/>
                  </a:lnTo>
                  <a:lnTo>
                    <a:pt x="44" y="94"/>
                  </a:lnTo>
                  <a:lnTo>
                    <a:pt x="46" y="92"/>
                  </a:lnTo>
                  <a:lnTo>
                    <a:pt x="46" y="90"/>
                  </a:lnTo>
                  <a:lnTo>
                    <a:pt x="48" y="88"/>
                  </a:lnTo>
                  <a:lnTo>
                    <a:pt x="48" y="88"/>
                  </a:lnTo>
                  <a:lnTo>
                    <a:pt x="48" y="86"/>
                  </a:lnTo>
                  <a:lnTo>
                    <a:pt x="48" y="84"/>
                  </a:lnTo>
                  <a:lnTo>
                    <a:pt x="48" y="82"/>
                  </a:lnTo>
                  <a:lnTo>
                    <a:pt x="48" y="80"/>
                  </a:lnTo>
                  <a:lnTo>
                    <a:pt x="48" y="78"/>
                  </a:lnTo>
                  <a:lnTo>
                    <a:pt x="46" y="76"/>
                  </a:lnTo>
                  <a:lnTo>
                    <a:pt x="46" y="74"/>
                  </a:lnTo>
                  <a:lnTo>
                    <a:pt x="46" y="74"/>
                  </a:lnTo>
                  <a:lnTo>
                    <a:pt x="44" y="72"/>
                  </a:lnTo>
                  <a:lnTo>
                    <a:pt x="44" y="72"/>
                  </a:lnTo>
                  <a:lnTo>
                    <a:pt x="42" y="70"/>
                  </a:lnTo>
                  <a:lnTo>
                    <a:pt x="40" y="68"/>
                  </a:lnTo>
                  <a:lnTo>
                    <a:pt x="38" y="68"/>
                  </a:lnTo>
                  <a:lnTo>
                    <a:pt x="38" y="66"/>
                  </a:lnTo>
                  <a:lnTo>
                    <a:pt x="36" y="64"/>
                  </a:lnTo>
                  <a:lnTo>
                    <a:pt x="36" y="62"/>
                  </a:lnTo>
                  <a:lnTo>
                    <a:pt x="34" y="60"/>
                  </a:lnTo>
                  <a:lnTo>
                    <a:pt x="34" y="58"/>
                  </a:lnTo>
                  <a:lnTo>
                    <a:pt x="34" y="58"/>
                  </a:lnTo>
                  <a:lnTo>
                    <a:pt x="34" y="56"/>
                  </a:lnTo>
                  <a:lnTo>
                    <a:pt x="34" y="56"/>
                  </a:lnTo>
                  <a:lnTo>
                    <a:pt x="34" y="54"/>
                  </a:lnTo>
                  <a:lnTo>
                    <a:pt x="36" y="52"/>
                  </a:lnTo>
                  <a:lnTo>
                    <a:pt x="36" y="50"/>
                  </a:lnTo>
                  <a:lnTo>
                    <a:pt x="36" y="50"/>
                  </a:lnTo>
                  <a:lnTo>
                    <a:pt x="38" y="48"/>
                  </a:lnTo>
                  <a:lnTo>
                    <a:pt x="38" y="48"/>
                  </a:lnTo>
                  <a:lnTo>
                    <a:pt x="36" y="46"/>
                  </a:lnTo>
                  <a:lnTo>
                    <a:pt x="36" y="46"/>
                  </a:lnTo>
                  <a:lnTo>
                    <a:pt x="36" y="44"/>
                  </a:lnTo>
                  <a:lnTo>
                    <a:pt x="36" y="42"/>
                  </a:lnTo>
                  <a:lnTo>
                    <a:pt x="36" y="42"/>
                  </a:lnTo>
                  <a:lnTo>
                    <a:pt x="34" y="40"/>
                  </a:lnTo>
                  <a:lnTo>
                    <a:pt x="34" y="40"/>
                  </a:lnTo>
                  <a:lnTo>
                    <a:pt x="34" y="40"/>
                  </a:lnTo>
                  <a:lnTo>
                    <a:pt x="34" y="38"/>
                  </a:lnTo>
                  <a:lnTo>
                    <a:pt x="32" y="38"/>
                  </a:lnTo>
                  <a:lnTo>
                    <a:pt x="30" y="38"/>
                  </a:lnTo>
                  <a:lnTo>
                    <a:pt x="28" y="40"/>
                  </a:lnTo>
                  <a:lnTo>
                    <a:pt x="28" y="40"/>
                  </a:lnTo>
                  <a:lnTo>
                    <a:pt x="26" y="40"/>
                  </a:lnTo>
                  <a:lnTo>
                    <a:pt x="24" y="40"/>
                  </a:lnTo>
                  <a:lnTo>
                    <a:pt x="24" y="38"/>
                  </a:lnTo>
                  <a:lnTo>
                    <a:pt x="24" y="38"/>
                  </a:lnTo>
                  <a:lnTo>
                    <a:pt x="24" y="38"/>
                  </a:lnTo>
                  <a:lnTo>
                    <a:pt x="24" y="38"/>
                  </a:lnTo>
                  <a:lnTo>
                    <a:pt x="24" y="36"/>
                  </a:lnTo>
                  <a:lnTo>
                    <a:pt x="22" y="36"/>
                  </a:lnTo>
                  <a:lnTo>
                    <a:pt x="22" y="34"/>
                  </a:lnTo>
                  <a:lnTo>
                    <a:pt x="24" y="30"/>
                  </a:lnTo>
                  <a:lnTo>
                    <a:pt x="24" y="28"/>
                  </a:lnTo>
                  <a:lnTo>
                    <a:pt x="24" y="26"/>
                  </a:lnTo>
                  <a:lnTo>
                    <a:pt x="70" y="20"/>
                  </a:lnTo>
                  <a:lnTo>
                    <a:pt x="72" y="16"/>
                  </a:lnTo>
                  <a:lnTo>
                    <a:pt x="74" y="14"/>
                  </a:lnTo>
                  <a:lnTo>
                    <a:pt x="74" y="10"/>
                  </a:lnTo>
                  <a:lnTo>
                    <a:pt x="76" y="8"/>
                  </a:lnTo>
                  <a:lnTo>
                    <a:pt x="78" y="6"/>
                  </a:lnTo>
                  <a:lnTo>
                    <a:pt x="80" y="4"/>
                  </a:lnTo>
                  <a:lnTo>
                    <a:pt x="82" y="4"/>
                  </a:lnTo>
                  <a:lnTo>
                    <a:pt x="82" y="2"/>
                  </a:lnTo>
                  <a:lnTo>
                    <a:pt x="84" y="2"/>
                  </a:lnTo>
                  <a:lnTo>
                    <a:pt x="84" y="2"/>
                  </a:lnTo>
                  <a:lnTo>
                    <a:pt x="88" y="2"/>
                  </a:lnTo>
                  <a:lnTo>
                    <a:pt x="92" y="0"/>
                  </a:lnTo>
                  <a:lnTo>
                    <a:pt x="92" y="0"/>
                  </a:lnTo>
                  <a:lnTo>
                    <a:pt x="94" y="0"/>
                  </a:lnTo>
                  <a:lnTo>
                    <a:pt x="98" y="2"/>
                  </a:lnTo>
                  <a:lnTo>
                    <a:pt x="98" y="2"/>
                  </a:lnTo>
                  <a:lnTo>
                    <a:pt x="100" y="2"/>
                  </a:lnTo>
                  <a:lnTo>
                    <a:pt x="102" y="4"/>
                  </a:lnTo>
                  <a:lnTo>
                    <a:pt x="102" y="4"/>
                  </a:lnTo>
                  <a:lnTo>
                    <a:pt x="102" y="4"/>
                  </a:lnTo>
                  <a:lnTo>
                    <a:pt x="102" y="4"/>
                  </a:lnTo>
                  <a:lnTo>
                    <a:pt x="104" y="6"/>
                  </a:lnTo>
                  <a:lnTo>
                    <a:pt x="104" y="6"/>
                  </a:lnTo>
                  <a:lnTo>
                    <a:pt x="104" y="8"/>
                  </a:lnTo>
                  <a:lnTo>
                    <a:pt x="102" y="10"/>
                  </a:lnTo>
                  <a:lnTo>
                    <a:pt x="102" y="14"/>
                  </a:lnTo>
                  <a:lnTo>
                    <a:pt x="102" y="16"/>
                  </a:lnTo>
                  <a:lnTo>
                    <a:pt x="100" y="18"/>
                  </a:lnTo>
                  <a:lnTo>
                    <a:pt x="100" y="22"/>
                  </a:lnTo>
                  <a:lnTo>
                    <a:pt x="98" y="22"/>
                  </a:lnTo>
                  <a:lnTo>
                    <a:pt x="98" y="24"/>
                  </a:lnTo>
                  <a:lnTo>
                    <a:pt x="98" y="24"/>
                  </a:lnTo>
                  <a:lnTo>
                    <a:pt x="96" y="24"/>
                  </a:lnTo>
                  <a:lnTo>
                    <a:pt x="94" y="26"/>
                  </a:lnTo>
                  <a:lnTo>
                    <a:pt x="94" y="26"/>
                  </a:lnTo>
                  <a:lnTo>
                    <a:pt x="94" y="26"/>
                  </a:lnTo>
                  <a:lnTo>
                    <a:pt x="94" y="28"/>
                  </a:lnTo>
                  <a:lnTo>
                    <a:pt x="92" y="32"/>
                  </a:lnTo>
                  <a:lnTo>
                    <a:pt x="92" y="34"/>
                  </a:lnTo>
                  <a:lnTo>
                    <a:pt x="92" y="36"/>
                  </a:lnTo>
                  <a:lnTo>
                    <a:pt x="92" y="40"/>
                  </a:lnTo>
                  <a:lnTo>
                    <a:pt x="92" y="42"/>
                  </a:lnTo>
                  <a:lnTo>
                    <a:pt x="92" y="50"/>
                  </a:lnTo>
                  <a:lnTo>
                    <a:pt x="94" y="56"/>
                  </a:lnTo>
                  <a:lnTo>
                    <a:pt x="94" y="62"/>
                  </a:lnTo>
                  <a:lnTo>
                    <a:pt x="94" y="66"/>
                  </a:lnTo>
                  <a:lnTo>
                    <a:pt x="94" y="68"/>
                  </a:lnTo>
                  <a:lnTo>
                    <a:pt x="94" y="70"/>
                  </a:lnTo>
                  <a:lnTo>
                    <a:pt x="92" y="72"/>
                  </a:lnTo>
                  <a:lnTo>
                    <a:pt x="92" y="74"/>
                  </a:lnTo>
                  <a:lnTo>
                    <a:pt x="92" y="76"/>
                  </a:lnTo>
                  <a:lnTo>
                    <a:pt x="90" y="78"/>
                  </a:lnTo>
                  <a:lnTo>
                    <a:pt x="90" y="80"/>
                  </a:lnTo>
                  <a:lnTo>
                    <a:pt x="88" y="80"/>
                  </a:lnTo>
                  <a:lnTo>
                    <a:pt x="86" y="82"/>
                  </a:lnTo>
                  <a:lnTo>
                    <a:pt x="84" y="84"/>
                  </a:lnTo>
                  <a:lnTo>
                    <a:pt x="84" y="84"/>
                  </a:lnTo>
                  <a:lnTo>
                    <a:pt x="84" y="86"/>
                  </a:lnTo>
                  <a:lnTo>
                    <a:pt x="84" y="86"/>
                  </a:lnTo>
                  <a:lnTo>
                    <a:pt x="84" y="88"/>
                  </a:lnTo>
                  <a:lnTo>
                    <a:pt x="82" y="90"/>
                  </a:lnTo>
                  <a:lnTo>
                    <a:pt x="82" y="92"/>
                  </a:lnTo>
                  <a:lnTo>
                    <a:pt x="84" y="96"/>
                  </a:lnTo>
                  <a:lnTo>
                    <a:pt x="84" y="98"/>
                  </a:lnTo>
                  <a:lnTo>
                    <a:pt x="84" y="100"/>
                  </a:lnTo>
                  <a:lnTo>
                    <a:pt x="82" y="102"/>
                  </a:lnTo>
                  <a:lnTo>
                    <a:pt x="82" y="104"/>
                  </a:lnTo>
                  <a:lnTo>
                    <a:pt x="82" y="104"/>
                  </a:lnTo>
                  <a:lnTo>
                    <a:pt x="82" y="104"/>
                  </a:lnTo>
                  <a:lnTo>
                    <a:pt x="82" y="106"/>
                  </a:lnTo>
                  <a:lnTo>
                    <a:pt x="80" y="106"/>
                  </a:lnTo>
                  <a:lnTo>
                    <a:pt x="80" y="106"/>
                  </a:lnTo>
                  <a:lnTo>
                    <a:pt x="78" y="106"/>
                  </a:lnTo>
                  <a:lnTo>
                    <a:pt x="76" y="106"/>
                  </a:lnTo>
                  <a:lnTo>
                    <a:pt x="74" y="106"/>
                  </a:lnTo>
                  <a:lnTo>
                    <a:pt x="72" y="106"/>
                  </a:lnTo>
                  <a:lnTo>
                    <a:pt x="72" y="106"/>
                  </a:lnTo>
                  <a:lnTo>
                    <a:pt x="70" y="106"/>
                  </a:lnTo>
                  <a:lnTo>
                    <a:pt x="70" y="106"/>
                  </a:lnTo>
                  <a:lnTo>
                    <a:pt x="70" y="108"/>
                  </a:lnTo>
                  <a:lnTo>
                    <a:pt x="70" y="108"/>
                  </a:lnTo>
                  <a:lnTo>
                    <a:pt x="70" y="110"/>
                  </a:lnTo>
                  <a:lnTo>
                    <a:pt x="70" y="110"/>
                  </a:lnTo>
                  <a:lnTo>
                    <a:pt x="70" y="112"/>
                  </a:lnTo>
                  <a:lnTo>
                    <a:pt x="70" y="114"/>
                  </a:lnTo>
                  <a:lnTo>
                    <a:pt x="70" y="118"/>
                  </a:lnTo>
                  <a:lnTo>
                    <a:pt x="70" y="122"/>
                  </a:lnTo>
                  <a:lnTo>
                    <a:pt x="70" y="124"/>
                  </a:lnTo>
                  <a:lnTo>
                    <a:pt x="70" y="126"/>
                  </a:lnTo>
                  <a:lnTo>
                    <a:pt x="70" y="128"/>
                  </a:lnTo>
                  <a:lnTo>
                    <a:pt x="70" y="128"/>
                  </a:lnTo>
                  <a:lnTo>
                    <a:pt x="70" y="130"/>
                  </a:lnTo>
                  <a:lnTo>
                    <a:pt x="68" y="130"/>
                  </a:lnTo>
                  <a:lnTo>
                    <a:pt x="68" y="130"/>
                  </a:lnTo>
                  <a:lnTo>
                    <a:pt x="66" y="130"/>
                  </a:lnTo>
                  <a:lnTo>
                    <a:pt x="66" y="132"/>
                  </a:lnTo>
                  <a:lnTo>
                    <a:pt x="64" y="132"/>
                  </a:lnTo>
                  <a:lnTo>
                    <a:pt x="62" y="132"/>
                  </a:lnTo>
                  <a:lnTo>
                    <a:pt x="60" y="134"/>
                  </a:lnTo>
                  <a:lnTo>
                    <a:pt x="56" y="134"/>
                  </a:lnTo>
                  <a:lnTo>
                    <a:pt x="54" y="134"/>
                  </a:lnTo>
                  <a:lnTo>
                    <a:pt x="54" y="136"/>
                  </a:lnTo>
                  <a:lnTo>
                    <a:pt x="54" y="136"/>
                  </a:lnTo>
                  <a:lnTo>
                    <a:pt x="54" y="136"/>
                  </a:lnTo>
                  <a:lnTo>
                    <a:pt x="52" y="136"/>
                  </a:lnTo>
                  <a:lnTo>
                    <a:pt x="52" y="138"/>
                  </a:lnTo>
                  <a:lnTo>
                    <a:pt x="52" y="140"/>
                  </a:lnTo>
                  <a:lnTo>
                    <a:pt x="50" y="140"/>
                  </a:lnTo>
                  <a:lnTo>
                    <a:pt x="50" y="140"/>
                  </a:lnTo>
                  <a:lnTo>
                    <a:pt x="50" y="142"/>
                  </a:lnTo>
                  <a:lnTo>
                    <a:pt x="48" y="142"/>
                  </a:lnTo>
                  <a:lnTo>
                    <a:pt x="46" y="142"/>
                  </a:lnTo>
                  <a:lnTo>
                    <a:pt x="44" y="142"/>
                  </a:lnTo>
                  <a:lnTo>
                    <a:pt x="42" y="142"/>
                  </a:lnTo>
                  <a:lnTo>
                    <a:pt x="42" y="142"/>
                  </a:lnTo>
                  <a:lnTo>
                    <a:pt x="38" y="140"/>
                  </a:lnTo>
                  <a:lnTo>
                    <a:pt x="38" y="140"/>
                  </a:lnTo>
                  <a:lnTo>
                    <a:pt x="36" y="140"/>
                  </a:lnTo>
                  <a:lnTo>
                    <a:pt x="36" y="138"/>
                  </a:lnTo>
                  <a:lnTo>
                    <a:pt x="34" y="136"/>
                  </a:lnTo>
                  <a:lnTo>
                    <a:pt x="32" y="136"/>
                  </a:lnTo>
                  <a:lnTo>
                    <a:pt x="32" y="136"/>
                  </a:lnTo>
                  <a:lnTo>
                    <a:pt x="30" y="136"/>
                  </a:lnTo>
                  <a:lnTo>
                    <a:pt x="30" y="136"/>
                  </a:lnTo>
                  <a:lnTo>
                    <a:pt x="28" y="138"/>
                  </a:lnTo>
                  <a:lnTo>
                    <a:pt x="26" y="138"/>
                  </a:lnTo>
                  <a:lnTo>
                    <a:pt x="24" y="140"/>
                  </a:lnTo>
                  <a:lnTo>
                    <a:pt x="22" y="140"/>
                  </a:lnTo>
                  <a:lnTo>
                    <a:pt x="18" y="142"/>
                  </a:lnTo>
                  <a:lnTo>
                    <a:pt x="16" y="144"/>
                  </a:lnTo>
                  <a:lnTo>
                    <a:pt x="14" y="144"/>
                  </a:lnTo>
                  <a:lnTo>
                    <a:pt x="10" y="146"/>
                  </a:lnTo>
                  <a:lnTo>
                    <a:pt x="8" y="146"/>
                  </a:lnTo>
                  <a:lnTo>
                    <a:pt x="8" y="146"/>
                  </a:lnTo>
                  <a:lnTo>
                    <a:pt x="8" y="144"/>
                  </a:lnTo>
                  <a:lnTo>
                    <a:pt x="8" y="142"/>
                  </a:lnTo>
                  <a:lnTo>
                    <a:pt x="8" y="140"/>
                  </a:lnTo>
                  <a:lnTo>
                    <a:pt x="8" y="140"/>
                  </a:lnTo>
                  <a:lnTo>
                    <a:pt x="8" y="138"/>
                  </a:lnTo>
                  <a:lnTo>
                    <a:pt x="8" y="138"/>
                  </a:lnTo>
                  <a:lnTo>
                    <a:pt x="8" y="138"/>
                  </a:lnTo>
                  <a:lnTo>
                    <a:pt x="6" y="138"/>
                  </a:lnTo>
                  <a:lnTo>
                    <a:pt x="4" y="136"/>
                  </a:lnTo>
                  <a:lnTo>
                    <a:pt x="4" y="136"/>
                  </a:lnTo>
                  <a:lnTo>
                    <a:pt x="0" y="136"/>
                  </a:lnTo>
                  <a:lnTo>
                    <a:pt x="0" y="13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7" name="Freeform 395">
              <a:extLst>
                <a:ext uri="{FF2B5EF4-FFF2-40B4-BE49-F238E27FC236}">
                  <a16:creationId xmlns:a16="http://schemas.microsoft.com/office/drawing/2014/main" id="{086F625A-B12D-41BB-9EA0-E391C7DFECD1}"/>
                </a:ext>
              </a:extLst>
            </p:cNvPr>
            <p:cNvSpPr>
              <a:spLocks/>
            </p:cNvSpPr>
            <p:nvPr/>
          </p:nvSpPr>
          <p:spPr bwMode="auto">
            <a:xfrm>
              <a:off x="4556736" y="4538822"/>
              <a:ext cx="180136" cy="252883"/>
            </a:xfrm>
            <a:custGeom>
              <a:avLst/>
              <a:gdLst>
                <a:gd name="T0" fmla="*/ 4 w 104"/>
                <a:gd name="T1" fmla="*/ 128 h 146"/>
                <a:gd name="T2" fmla="*/ 10 w 104"/>
                <a:gd name="T3" fmla="*/ 116 h 146"/>
                <a:gd name="T4" fmla="*/ 8 w 104"/>
                <a:gd name="T5" fmla="*/ 114 h 146"/>
                <a:gd name="T6" fmla="*/ 2 w 104"/>
                <a:gd name="T7" fmla="*/ 110 h 146"/>
                <a:gd name="T8" fmla="*/ 2 w 104"/>
                <a:gd name="T9" fmla="*/ 104 h 146"/>
                <a:gd name="T10" fmla="*/ 4 w 104"/>
                <a:gd name="T11" fmla="*/ 100 h 146"/>
                <a:gd name="T12" fmla="*/ 16 w 104"/>
                <a:gd name="T13" fmla="*/ 96 h 146"/>
                <a:gd name="T14" fmla="*/ 20 w 104"/>
                <a:gd name="T15" fmla="*/ 96 h 146"/>
                <a:gd name="T16" fmla="*/ 24 w 104"/>
                <a:gd name="T17" fmla="*/ 102 h 146"/>
                <a:gd name="T18" fmla="*/ 28 w 104"/>
                <a:gd name="T19" fmla="*/ 106 h 146"/>
                <a:gd name="T20" fmla="*/ 34 w 104"/>
                <a:gd name="T21" fmla="*/ 104 h 146"/>
                <a:gd name="T22" fmla="*/ 42 w 104"/>
                <a:gd name="T23" fmla="*/ 96 h 146"/>
                <a:gd name="T24" fmla="*/ 48 w 104"/>
                <a:gd name="T25" fmla="*/ 88 h 146"/>
                <a:gd name="T26" fmla="*/ 48 w 104"/>
                <a:gd name="T27" fmla="*/ 78 h 146"/>
                <a:gd name="T28" fmla="*/ 44 w 104"/>
                <a:gd name="T29" fmla="*/ 72 h 146"/>
                <a:gd name="T30" fmla="*/ 36 w 104"/>
                <a:gd name="T31" fmla="*/ 64 h 146"/>
                <a:gd name="T32" fmla="*/ 34 w 104"/>
                <a:gd name="T33" fmla="*/ 56 h 146"/>
                <a:gd name="T34" fmla="*/ 36 w 104"/>
                <a:gd name="T35" fmla="*/ 50 h 146"/>
                <a:gd name="T36" fmla="*/ 36 w 104"/>
                <a:gd name="T37" fmla="*/ 44 h 146"/>
                <a:gd name="T38" fmla="*/ 34 w 104"/>
                <a:gd name="T39" fmla="*/ 40 h 146"/>
                <a:gd name="T40" fmla="*/ 28 w 104"/>
                <a:gd name="T41" fmla="*/ 40 h 146"/>
                <a:gd name="T42" fmla="*/ 24 w 104"/>
                <a:gd name="T43" fmla="*/ 38 h 146"/>
                <a:gd name="T44" fmla="*/ 24 w 104"/>
                <a:gd name="T45" fmla="*/ 30 h 146"/>
                <a:gd name="T46" fmla="*/ 74 w 104"/>
                <a:gd name="T47" fmla="*/ 14 h 146"/>
                <a:gd name="T48" fmla="*/ 82 w 104"/>
                <a:gd name="T49" fmla="*/ 4 h 146"/>
                <a:gd name="T50" fmla="*/ 92 w 104"/>
                <a:gd name="T51" fmla="*/ 0 h 146"/>
                <a:gd name="T52" fmla="*/ 100 w 104"/>
                <a:gd name="T53" fmla="*/ 2 h 146"/>
                <a:gd name="T54" fmla="*/ 104 w 104"/>
                <a:gd name="T55" fmla="*/ 6 h 146"/>
                <a:gd name="T56" fmla="*/ 102 w 104"/>
                <a:gd name="T57" fmla="*/ 16 h 146"/>
                <a:gd name="T58" fmla="*/ 98 w 104"/>
                <a:gd name="T59" fmla="*/ 24 h 146"/>
                <a:gd name="T60" fmla="*/ 94 w 104"/>
                <a:gd name="T61" fmla="*/ 28 h 146"/>
                <a:gd name="T62" fmla="*/ 92 w 104"/>
                <a:gd name="T63" fmla="*/ 42 h 146"/>
                <a:gd name="T64" fmla="*/ 94 w 104"/>
                <a:gd name="T65" fmla="*/ 68 h 146"/>
                <a:gd name="T66" fmla="*/ 90 w 104"/>
                <a:gd name="T67" fmla="*/ 78 h 146"/>
                <a:gd name="T68" fmla="*/ 84 w 104"/>
                <a:gd name="T69" fmla="*/ 84 h 146"/>
                <a:gd name="T70" fmla="*/ 82 w 104"/>
                <a:gd name="T71" fmla="*/ 92 h 146"/>
                <a:gd name="T72" fmla="*/ 82 w 104"/>
                <a:gd name="T73" fmla="*/ 104 h 146"/>
                <a:gd name="T74" fmla="*/ 80 w 104"/>
                <a:gd name="T75" fmla="*/ 106 h 146"/>
                <a:gd name="T76" fmla="*/ 72 w 104"/>
                <a:gd name="T77" fmla="*/ 106 h 146"/>
                <a:gd name="T78" fmla="*/ 70 w 104"/>
                <a:gd name="T79" fmla="*/ 110 h 146"/>
                <a:gd name="T80" fmla="*/ 70 w 104"/>
                <a:gd name="T81" fmla="*/ 122 h 146"/>
                <a:gd name="T82" fmla="*/ 70 w 104"/>
                <a:gd name="T83" fmla="*/ 130 h 146"/>
                <a:gd name="T84" fmla="*/ 64 w 104"/>
                <a:gd name="T85" fmla="*/ 132 h 146"/>
                <a:gd name="T86" fmla="*/ 54 w 104"/>
                <a:gd name="T87" fmla="*/ 136 h 146"/>
                <a:gd name="T88" fmla="*/ 52 w 104"/>
                <a:gd name="T89" fmla="*/ 140 h 146"/>
                <a:gd name="T90" fmla="*/ 46 w 104"/>
                <a:gd name="T91" fmla="*/ 142 h 146"/>
                <a:gd name="T92" fmla="*/ 38 w 104"/>
                <a:gd name="T93" fmla="*/ 140 h 146"/>
                <a:gd name="T94" fmla="*/ 32 w 104"/>
                <a:gd name="T95" fmla="*/ 136 h 146"/>
                <a:gd name="T96" fmla="*/ 24 w 104"/>
                <a:gd name="T97" fmla="*/ 140 h 146"/>
                <a:gd name="T98" fmla="*/ 10 w 104"/>
                <a:gd name="T99" fmla="*/ 146 h 146"/>
                <a:gd name="T100" fmla="*/ 8 w 104"/>
                <a:gd name="T101" fmla="*/ 140 h 146"/>
                <a:gd name="T102" fmla="*/ 6 w 104"/>
                <a:gd name="T103" fmla="*/ 13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4" h="146">
                  <a:moveTo>
                    <a:pt x="0" y="134"/>
                  </a:moveTo>
                  <a:lnTo>
                    <a:pt x="0" y="134"/>
                  </a:lnTo>
                  <a:lnTo>
                    <a:pt x="2" y="132"/>
                  </a:lnTo>
                  <a:lnTo>
                    <a:pt x="4" y="130"/>
                  </a:lnTo>
                  <a:lnTo>
                    <a:pt x="4" y="128"/>
                  </a:lnTo>
                  <a:lnTo>
                    <a:pt x="6" y="124"/>
                  </a:lnTo>
                  <a:lnTo>
                    <a:pt x="8" y="122"/>
                  </a:lnTo>
                  <a:lnTo>
                    <a:pt x="8" y="120"/>
                  </a:lnTo>
                  <a:lnTo>
                    <a:pt x="10" y="118"/>
                  </a:lnTo>
                  <a:lnTo>
                    <a:pt x="10" y="116"/>
                  </a:lnTo>
                  <a:lnTo>
                    <a:pt x="10" y="116"/>
                  </a:lnTo>
                  <a:lnTo>
                    <a:pt x="10" y="116"/>
                  </a:lnTo>
                  <a:lnTo>
                    <a:pt x="10" y="116"/>
                  </a:lnTo>
                  <a:lnTo>
                    <a:pt x="10" y="114"/>
                  </a:lnTo>
                  <a:lnTo>
                    <a:pt x="8" y="114"/>
                  </a:lnTo>
                  <a:lnTo>
                    <a:pt x="8" y="114"/>
                  </a:lnTo>
                  <a:lnTo>
                    <a:pt x="6" y="112"/>
                  </a:lnTo>
                  <a:lnTo>
                    <a:pt x="4" y="112"/>
                  </a:lnTo>
                  <a:lnTo>
                    <a:pt x="4" y="112"/>
                  </a:lnTo>
                  <a:lnTo>
                    <a:pt x="2" y="110"/>
                  </a:lnTo>
                  <a:lnTo>
                    <a:pt x="2" y="110"/>
                  </a:lnTo>
                  <a:lnTo>
                    <a:pt x="2" y="108"/>
                  </a:lnTo>
                  <a:lnTo>
                    <a:pt x="2" y="106"/>
                  </a:lnTo>
                  <a:lnTo>
                    <a:pt x="2" y="106"/>
                  </a:lnTo>
                  <a:lnTo>
                    <a:pt x="2" y="104"/>
                  </a:lnTo>
                  <a:lnTo>
                    <a:pt x="2" y="104"/>
                  </a:lnTo>
                  <a:lnTo>
                    <a:pt x="2" y="102"/>
                  </a:lnTo>
                  <a:lnTo>
                    <a:pt x="2" y="102"/>
                  </a:lnTo>
                  <a:lnTo>
                    <a:pt x="2" y="102"/>
                  </a:lnTo>
                  <a:lnTo>
                    <a:pt x="4" y="100"/>
                  </a:lnTo>
                  <a:lnTo>
                    <a:pt x="4" y="100"/>
                  </a:lnTo>
                  <a:lnTo>
                    <a:pt x="6" y="100"/>
                  </a:lnTo>
                  <a:lnTo>
                    <a:pt x="8" y="98"/>
                  </a:lnTo>
                  <a:lnTo>
                    <a:pt x="12" y="98"/>
                  </a:lnTo>
                  <a:lnTo>
                    <a:pt x="16" y="96"/>
                  </a:lnTo>
                  <a:lnTo>
                    <a:pt x="16" y="96"/>
                  </a:lnTo>
                  <a:lnTo>
                    <a:pt x="18" y="96"/>
                  </a:lnTo>
                  <a:lnTo>
                    <a:pt x="18" y="96"/>
                  </a:lnTo>
                  <a:lnTo>
                    <a:pt x="20" y="96"/>
                  </a:lnTo>
                  <a:lnTo>
                    <a:pt x="20" y="96"/>
                  </a:lnTo>
                  <a:lnTo>
                    <a:pt x="20" y="96"/>
                  </a:lnTo>
                  <a:lnTo>
                    <a:pt x="20" y="98"/>
                  </a:lnTo>
                  <a:lnTo>
                    <a:pt x="22" y="100"/>
                  </a:lnTo>
                  <a:lnTo>
                    <a:pt x="22" y="102"/>
                  </a:lnTo>
                  <a:lnTo>
                    <a:pt x="24" y="102"/>
                  </a:lnTo>
                  <a:lnTo>
                    <a:pt x="24" y="104"/>
                  </a:lnTo>
                  <a:lnTo>
                    <a:pt x="26" y="106"/>
                  </a:lnTo>
                  <a:lnTo>
                    <a:pt x="26" y="106"/>
                  </a:lnTo>
                  <a:lnTo>
                    <a:pt x="26" y="106"/>
                  </a:lnTo>
                  <a:lnTo>
                    <a:pt x="28" y="106"/>
                  </a:lnTo>
                  <a:lnTo>
                    <a:pt x="28" y="106"/>
                  </a:lnTo>
                  <a:lnTo>
                    <a:pt x="30" y="106"/>
                  </a:lnTo>
                  <a:lnTo>
                    <a:pt x="30" y="106"/>
                  </a:lnTo>
                  <a:lnTo>
                    <a:pt x="32" y="104"/>
                  </a:lnTo>
                  <a:lnTo>
                    <a:pt x="34" y="104"/>
                  </a:lnTo>
                  <a:lnTo>
                    <a:pt x="36" y="102"/>
                  </a:lnTo>
                  <a:lnTo>
                    <a:pt x="38" y="102"/>
                  </a:lnTo>
                  <a:lnTo>
                    <a:pt x="40" y="100"/>
                  </a:lnTo>
                  <a:lnTo>
                    <a:pt x="42" y="98"/>
                  </a:lnTo>
                  <a:lnTo>
                    <a:pt x="42" y="96"/>
                  </a:lnTo>
                  <a:lnTo>
                    <a:pt x="44" y="94"/>
                  </a:lnTo>
                  <a:lnTo>
                    <a:pt x="46" y="92"/>
                  </a:lnTo>
                  <a:lnTo>
                    <a:pt x="46" y="90"/>
                  </a:lnTo>
                  <a:lnTo>
                    <a:pt x="48" y="88"/>
                  </a:lnTo>
                  <a:lnTo>
                    <a:pt x="48" y="88"/>
                  </a:lnTo>
                  <a:lnTo>
                    <a:pt x="48" y="86"/>
                  </a:lnTo>
                  <a:lnTo>
                    <a:pt x="48" y="84"/>
                  </a:lnTo>
                  <a:lnTo>
                    <a:pt x="48" y="82"/>
                  </a:lnTo>
                  <a:lnTo>
                    <a:pt x="48" y="80"/>
                  </a:lnTo>
                  <a:lnTo>
                    <a:pt x="48" y="78"/>
                  </a:lnTo>
                  <a:lnTo>
                    <a:pt x="46" y="76"/>
                  </a:lnTo>
                  <a:lnTo>
                    <a:pt x="46" y="74"/>
                  </a:lnTo>
                  <a:lnTo>
                    <a:pt x="46" y="74"/>
                  </a:lnTo>
                  <a:lnTo>
                    <a:pt x="44" y="72"/>
                  </a:lnTo>
                  <a:lnTo>
                    <a:pt x="44" y="72"/>
                  </a:lnTo>
                  <a:lnTo>
                    <a:pt x="42" y="70"/>
                  </a:lnTo>
                  <a:lnTo>
                    <a:pt x="40" y="68"/>
                  </a:lnTo>
                  <a:lnTo>
                    <a:pt x="38" y="68"/>
                  </a:lnTo>
                  <a:lnTo>
                    <a:pt x="38" y="66"/>
                  </a:lnTo>
                  <a:lnTo>
                    <a:pt x="36" y="64"/>
                  </a:lnTo>
                  <a:lnTo>
                    <a:pt x="36" y="62"/>
                  </a:lnTo>
                  <a:lnTo>
                    <a:pt x="34" y="60"/>
                  </a:lnTo>
                  <a:lnTo>
                    <a:pt x="34" y="58"/>
                  </a:lnTo>
                  <a:lnTo>
                    <a:pt x="34" y="58"/>
                  </a:lnTo>
                  <a:lnTo>
                    <a:pt x="34" y="56"/>
                  </a:lnTo>
                  <a:lnTo>
                    <a:pt x="34" y="56"/>
                  </a:lnTo>
                  <a:lnTo>
                    <a:pt x="34" y="54"/>
                  </a:lnTo>
                  <a:lnTo>
                    <a:pt x="36" y="52"/>
                  </a:lnTo>
                  <a:lnTo>
                    <a:pt x="36" y="50"/>
                  </a:lnTo>
                  <a:lnTo>
                    <a:pt x="36" y="50"/>
                  </a:lnTo>
                  <a:lnTo>
                    <a:pt x="38" y="48"/>
                  </a:lnTo>
                  <a:lnTo>
                    <a:pt x="38" y="48"/>
                  </a:lnTo>
                  <a:lnTo>
                    <a:pt x="36" y="46"/>
                  </a:lnTo>
                  <a:lnTo>
                    <a:pt x="36" y="46"/>
                  </a:lnTo>
                  <a:lnTo>
                    <a:pt x="36" y="44"/>
                  </a:lnTo>
                  <a:lnTo>
                    <a:pt x="36" y="42"/>
                  </a:lnTo>
                  <a:lnTo>
                    <a:pt x="36" y="42"/>
                  </a:lnTo>
                  <a:lnTo>
                    <a:pt x="34" y="40"/>
                  </a:lnTo>
                  <a:lnTo>
                    <a:pt x="34" y="40"/>
                  </a:lnTo>
                  <a:lnTo>
                    <a:pt x="34" y="40"/>
                  </a:lnTo>
                  <a:lnTo>
                    <a:pt x="34" y="38"/>
                  </a:lnTo>
                  <a:lnTo>
                    <a:pt x="32" y="38"/>
                  </a:lnTo>
                  <a:lnTo>
                    <a:pt x="30" y="38"/>
                  </a:lnTo>
                  <a:lnTo>
                    <a:pt x="28" y="40"/>
                  </a:lnTo>
                  <a:lnTo>
                    <a:pt x="28" y="40"/>
                  </a:lnTo>
                  <a:lnTo>
                    <a:pt x="26" y="40"/>
                  </a:lnTo>
                  <a:lnTo>
                    <a:pt x="24" y="40"/>
                  </a:lnTo>
                  <a:lnTo>
                    <a:pt x="24" y="38"/>
                  </a:lnTo>
                  <a:lnTo>
                    <a:pt x="24" y="38"/>
                  </a:lnTo>
                  <a:lnTo>
                    <a:pt x="24" y="38"/>
                  </a:lnTo>
                  <a:lnTo>
                    <a:pt x="24" y="38"/>
                  </a:lnTo>
                  <a:lnTo>
                    <a:pt x="24" y="36"/>
                  </a:lnTo>
                  <a:lnTo>
                    <a:pt x="22" y="36"/>
                  </a:lnTo>
                  <a:lnTo>
                    <a:pt x="22" y="34"/>
                  </a:lnTo>
                  <a:lnTo>
                    <a:pt x="24" y="30"/>
                  </a:lnTo>
                  <a:lnTo>
                    <a:pt x="24" y="28"/>
                  </a:lnTo>
                  <a:lnTo>
                    <a:pt x="24" y="26"/>
                  </a:lnTo>
                  <a:lnTo>
                    <a:pt x="70" y="20"/>
                  </a:lnTo>
                  <a:lnTo>
                    <a:pt x="72" y="16"/>
                  </a:lnTo>
                  <a:lnTo>
                    <a:pt x="74" y="14"/>
                  </a:lnTo>
                  <a:lnTo>
                    <a:pt x="74" y="10"/>
                  </a:lnTo>
                  <a:lnTo>
                    <a:pt x="76" y="8"/>
                  </a:lnTo>
                  <a:lnTo>
                    <a:pt x="78" y="6"/>
                  </a:lnTo>
                  <a:lnTo>
                    <a:pt x="80" y="4"/>
                  </a:lnTo>
                  <a:lnTo>
                    <a:pt x="82" y="4"/>
                  </a:lnTo>
                  <a:lnTo>
                    <a:pt x="82" y="2"/>
                  </a:lnTo>
                  <a:lnTo>
                    <a:pt x="84" y="2"/>
                  </a:lnTo>
                  <a:lnTo>
                    <a:pt x="84" y="2"/>
                  </a:lnTo>
                  <a:lnTo>
                    <a:pt x="88" y="2"/>
                  </a:lnTo>
                  <a:lnTo>
                    <a:pt x="92" y="0"/>
                  </a:lnTo>
                  <a:lnTo>
                    <a:pt x="92" y="0"/>
                  </a:lnTo>
                  <a:lnTo>
                    <a:pt x="94" y="0"/>
                  </a:lnTo>
                  <a:lnTo>
                    <a:pt x="98" y="2"/>
                  </a:lnTo>
                  <a:lnTo>
                    <a:pt x="98" y="2"/>
                  </a:lnTo>
                  <a:lnTo>
                    <a:pt x="100" y="2"/>
                  </a:lnTo>
                  <a:lnTo>
                    <a:pt x="102" y="4"/>
                  </a:lnTo>
                  <a:lnTo>
                    <a:pt x="102" y="4"/>
                  </a:lnTo>
                  <a:lnTo>
                    <a:pt x="102" y="4"/>
                  </a:lnTo>
                  <a:lnTo>
                    <a:pt x="102" y="4"/>
                  </a:lnTo>
                  <a:lnTo>
                    <a:pt x="104" y="6"/>
                  </a:lnTo>
                  <a:lnTo>
                    <a:pt x="104" y="6"/>
                  </a:lnTo>
                  <a:lnTo>
                    <a:pt x="104" y="8"/>
                  </a:lnTo>
                  <a:lnTo>
                    <a:pt x="102" y="10"/>
                  </a:lnTo>
                  <a:lnTo>
                    <a:pt x="102" y="14"/>
                  </a:lnTo>
                  <a:lnTo>
                    <a:pt x="102" y="16"/>
                  </a:lnTo>
                  <a:lnTo>
                    <a:pt x="100" y="18"/>
                  </a:lnTo>
                  <a:lnTo>
                    <a:pt x="100" y="22"/>
                  </a:lnTo>
                  <a:lnTo>
                    <a:pt x="98" y="22"/>
                  </a:lnTo>
                  <a:lnTo>
                    <a:pt x="98" y="24"/>
                  </a:lnTo>
                  <a:lnTo>
                    <a:pt x="98" y="24"/>
                  </a:lnTo>
                  <a:lnTo>
                    <a:pt x="96" y="24"/>
                  </a:lnTo>
                  <a:lnTo>
                    <a:pt x="94" y="26"/>
                  </a:lnTo>
                  <a:lnTo>
                    <a:pt x="94" y="26"/>
                  </a:lnTo>
                  <a:lnTo>
                    <a:pt x="94" y="26"/>
                  </a:lnTo>
                  <a:lnTo>
                    <a:pt x="94" y="28"/>
                  </a:lnTo>
                  <a:lnTo>
                    <a:pt x="92" y="32"/>
                  </a:lnTo>
                  <a:lnTo>
                    <a:pt x="92" y="34"/>
                  </a:lnTo>
                  <a:lnTo>
                    <a:pt x="92" y="36"/>
                  </a:lnTo>
                  <a:lnTo>
                    <a:pt x="92" y="40"/>
                  </a:lnTo>
                  <a:lnTo>
                    <a:pt x="92" y="42"/>
                  </a:lnTo>
                  <a:lnTo>
                    <a:pt x="92" y="50"/>
                  </a:lnTo>
                  <a:lnTo>
                    <a:pt x="94" y="56"/>
                  </a:lnTo>
                  <a:lnTo>
                    <a:pt x="94" y="62"/>
                  </a:lnTo>
                  <a:lnTo>
                    <a:pt x="94" y="66"/>
                  </a:lnTo>
                  <a:lnTo>
                    <a:pt x="94" y="68"/>
                  </a:lnTo>
                  <a:lnTo>
                    <a:pt x="94" y="70"/>
                  </a:lnTo>
                  <a:lnTo>
                    <a:pt x="92" y="72"/>
                  </a:lnTo>
                  <a:lnTo>
                    <a:pt x="92" y="74"/>
                  </a:lnTo>
                  <a:lnTo>
                    <a:pt x="92" y="76"/>
                  </a:lnTo>
                  <a:lnTo>
                    <a:pt x="90" y="78"/>
                  </a:lnTo>
                  <a:lnTo>
                    <a:pt x="90" y="80"/>
                  </a:lnTo>
                  <a:lnTo>
                    <a:pt x="88" y="80"/>
                  </a:lnTo>
                  <a:lnTo>
                    <a:pt x="86" y="82"/>
                  </a:lnTo>
                  <a:lnTo>
                    <a:pt x="84" y="84"/>
                  </a:lnTo>
                  <a:lnTo>
                    <a:pt x="84" y="84"/>
                  </a:lnTo>
                  <a:lnTo>
                    <a:pt x="84" y="86"/>
                  </a:lnTo>
                  <a:lnTo>
                    <a:pt x="84" y="86"/>
                  </a:lnTo>
                  <a:lnTo>
                    <a:pt x="84" y="88"/>
                  </a:lnTo>
                  <a:lnTo>
                    <a:pt x="82" y="90"/>
                  </a:lnTo>
                  <a:lnTo>
                    <a:pt x="82" y="92"/>
                  </a:lnTo>
                  <a:lnTo>
                    <a:pt x="84" y="96"/>
                  </a:lnTo>
                  <a:lnTo>
                    <a:pt x="84" y="98"/>
                  </a:lnTo>
                  <a:lnTo>
                    <a:pt x="84" y="100"/>
                  </a:lnTo>
                  <a:lnTo>
                    <a:pt x="82" y="102"/>
                  </a:lnTo>
                  <a:lnTo>
                    <a:pt x="82" y="104"/>
                  </a:lnTo>
                  <a:lnTo>
                    <a:pt x="82" y="104"/>
                  </a:lnTo>
                  <a:lnTo>
                    <a:pt x="82" y="104"/>
                  </a:lnTo>
                  <a:lnTo>
                    <a:pt x="82" y="106"/>
                  </a:lnTo>
                  <a:lnTo>
                    <a:pt x="80" y="106"/>
                  </a:lnTo>
                  <a:lnTo>
                    <a:pt x="80" y="106"/>
                  </a:lnTo>
                  <a:lnTo>
                    <a:pt x="78" y="106"/>
                  </a:lnTo>
                  <a:lnTo>
                    <a:pt x="76" y="106"/>
                  </a:lnTo>
                  <a:lnTo>
                    <a:pt x="74" y="106"/>
                  </a:lnTo>
                  <a:lnTo>
                    <a:pt x="72" y="106"/>
                  </a:lnTo>
                  <a:lnTo>
                    <a:pt x="72" y="106"/>
                  </a:lnTo>
                  <a:lnTo>
                    <a:pt x="70" y="106"/>
                  </a:lnTo>
                  <a:lnTo>
                    <a:pt x="70" y="106"/>
                  </a:lnTo>
                  <a:lnTo>
                    <a:pt x="70" y="108"/>
                  </a:lnTo>
                  <a:lnTo>
                    <a:pt x="70" y="108"/>
                  </a:lnTo>
                  <a:lnTo>
                    <a:pt x="70" y="110"/>
                  </a:lnTo>
                  <a:lnTo>
                    <a:pt x="70" y="110"/>
                  </a:lnTo>
                  <a:lnTo>
                    <a:pt x="70" y="112"/>
                  </a:lnTo>
                  <a:lnTo>
                    <a:pt x="70" y="114"/>
                  </a:lnTo>
                  <a:lnTo>
                    <a:pt x="70" y="118"/>
                  </a:lnTo>
                  <a:lnTo>
                    <a:pt x="70" y="122"/>
                  </a:lnTo>
                  <a:lnTo>
                    <a:pt x="70" y="124"/>
                  </a:lnTo>
                  <a:lnTo>
                    <a:pt x="70" y="126"/>
                  </a:lnTo>
                  <a:lnTo>
                    <a:pt x="70" y="128"/>
                  </a:lnTo>
                  <a:lnTo>
                    <a:pt x="70" y="128"/>
                  </a:lnTo>
                  <a:lnTo>
                    <a:pt x="70" y="130"/>
                  </a:lnTo>
                  <a:lnTo>
                    <a:pt x="68" y="130"/>
                  </a:lnTo>
                  <a:lnTo>
                    <a:pt x="68" y="130"/>
                  </a:lnTo>
                  <a:lnTo>
                    <a:pt x="66" y="130"/>
                  </a:lnTo>
                  <a:lnTo>
                    <a:pt x="66" y="132"/>
                  </a:lnTo>
                  <a:lnTo>
                    <a:pt x="64" y="132"/>
                  </a:lnTo>
                  <a:lnTo>
                    <a:pt x="62" y="132"/>
                  </a:lnTo>
                  <a:lnTo>
                    <a:pt x="60" y="134"/>
                  </a:lnTo>
                  <a:lnTo>
                    <a:pt x="56" y="134"/>
                  </a:lnTo>
                  <a:lnTo>
                    <a:pt x="54" y="134"/>
                  </a:lnTo>
                  <a:lnTo>
                    <a:pt x="54" y="136"/>
                  </a:lnTo>
                  <a:lnTo>
                    <a:pt x="54" y="136"/>
                  </a:lnTo>
                  <a:lnTo>
                    <a:pt x="54" y="136"/>
                  </a:lnTo>
                  <a:lnTo>
                    <a:pt x="52" y="136"/>
                  </a:lnTo>
                  <a:lnTo>
                    <a:pt x="52" y="138"/>
                  </a:lnTo>
                  <a:lnTo>
                    <a:pt x="52" y="140"/>
                  </a:lnTo>
                  <a:lnTo>
                    <a:pt x="50" y="140"/>
                  </a:lnTo>
                  <a:lnTo>
                    <a:pt x="50" y="140"/>
                  </a:lnTo>
                  <a:lnTo>
                    <a:pt x="50" y="142"/>
                  </a:lnTo>
                  <a:lnTo>
                    <a:pt x="48" y="142"/>
                  </a:lnTo>
                  <a:lnTo>
                    <a:pt x="46" y="142"/>
                  </a:lnTo>
                  <a:lnTo>
                    <a:pt x="44" y="142"/>
                  </a:lnTo>
                  <a:lnTo>
                    <a:pt x="42" y="142"/>
                  </a:lnTo>
                  <a:lnTo>
                    <a:pt x="42" y="142"/>
                  </a:lnTo>
                  <a:lnTo>
                    <a:pt x="38" y="140"/>
                  </a:lnTo>
                  <a:lnTo>
                    <a:pt x="38" y="140"/>
                  </a:lnTo>
                  <a:lnTo>
                    <a:pt x="36" y="140"/>
                  </a:lnTo>
                  <a:lnTo>
                    <a:pt x="36" y="138"/>
                  </a:lnTo>
                  <a:lnTo>
                    <a:pt x="34" y="136"/>
                  </a:lnTo>
                  <a:lnTo>
                    <a:pt x="32" y="136"/>
                  </a:lnTo>
                  <a:lnTo>
                    <a:pt x="32" y="136"/>
                  </a:lnTo>
                  <a:lnTo>
                    <a:pt x="30" y="136"/>
                  </a:lnTo>
                  <a:lnTo>
                    <a:pt x="30" y="136"/>
                  </a:lnTo>
                  <a:lnTo>
                    <a:pt x="28" y="138"/>
                  </a:lnTo>
                  <a:lnTo>
                    <a:pt x="26" y="138"/>
                  </a:lnTo>
                  <a:lnTo>
                    <a:pt x="24" y="140"/>
                  </a:lnTo>
                  <a:lnTo>
                    <a:pt x="22" y="140"/>
                  </a:lnTo>
                  <a:lnTo>
                    <a:pt x="18" y="142"/>
                  </a:lnTo>
                  <a:lnTo>
                    <a:pt x="16" y="144"/>
                  </a:lnTo>
                  <a:lnTo>
                    <a:pt x="14" y="144"/>
                  </a:lnTo>
                  <a:lnTo>
                    <a:pt x="10" y="146"/>
                  </a:lnTo>
                  <a:lnTo>
                    <a:pt x="8" y="146"/>
                  </a:lnTo>
                  <a:lnTo>
                    <a:pt x="8" y="146"/>
                  </a:lnTo>
                  <a:lnTo>
                    <a:pt x="8" y="144"/>
                  </a:lnTo>
                  <a:lnTo>
                    <a:pt x="8" y="142"/>
                  </a:lnTo>
                  <a:lnTo>
                    <a:pt x="8" y="140"/>
                  </a:lnTo>
                  <a:lnTo>
                    <a:pt x="8" y="140"/>
                  </a:lnTo>
                  <a:lnTo>
                    <a:pt x="8" y="138"/>
                  </a:lnTo>
                  <a:lnTo>
                    <a:pt x="8" y="138"/>
                  </a:lnTo>
                  <a:lnTo>
                    <a:pt x="8" y="138"/>
                  </a:lnTo>
                  <a:lnTo>
                    <a:pt x="6" y="138"/>
                  </a:lnTo>
                  <a:lnTo>
                    <a:pt x="4" y="136"/>
                  </a:lnTo>
                  <a:lnTo>
                    <a:pt x="4" y="136"/>
                  </a:lnTo>
                  <a:lnTo>
                    <a:pt x="0" y="136"/>
                  </a:lnTo>
                  <a:lnTo>
                    <a:pt x="0" y="13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8" name="Freeform 396">
              <a:extLst>
                <a:ext uri="{FF2B5EF4-FFF2-40B4-BE49-F238E27FC236}">
                  <a16:creationId xmlns:a16="http://schemas.microsoft.com/office/drawing/2014/main" id="{B7BCB448-D9E9-408D-917C-22C93F9C4FEC}"/>
                </a:ext>
              </a:extLst>
            </p:cNvPr>
            <p:cNvSpPr>
              <a:spLocks/>
            </p:cNvSpPr>
            <p:nvPr/>
          </p:nvSpPr>
          <p:spPr bwMode="auto">
            <a:xfrm>
              <a:off x="4570593" y="4504181"/>
              <a:ext cx="488445" cy="543872"/>
            </a:xfrm>
            <a:custGeom>
              <a:avLst/>
              <a:gdLst>
                <a:gd name="T0" fmla="*/ 0 w 282"/>
                <a:gd name="T1" fmla="*/ 176 h 314"/>
                <a:gd name="T2" fmla="*/ 26 w 282"/>
                <a:gd name="T3" fmla="*/ 186 h 314"/>
                <a:gd name="T4" fmla="*/ 56 w 282"/>
                <a:gd name="T5" fmla="*/ 178 h 314"/>
                <a:gd name="T6" fmla="*/ 72 w 282"/>
                <a:gd name="T7" fmla="*/ 188 h 314"/>
                <a:gd name="T8" fmla="*/ 76 w 282"/>
                <a:gd name="T9" fmla="*/ 208 h 314"/>
                <a:gd name="T10" fmla="*/ 82 w 282"/>
                <a:gd name="T11" fmla="*/ 218 h 314"/>
                <a:gd name="T12" fmla="*/ 96 w 282"/>
                <a:gd name="T13" fmla="*/ 222 h 314"/>
                <a:gd name="T14" fmla="*/ 110 w 282"/>
                <a:gd name="T15" fmla="*/ 216 h 314"/>
                <a:gd name="T16" fmla="*/ 112 w 282"/>
                <a:gd name="T17" fmla="*/ 200 h 314"/>
                <a:gd name="T18" fmla="*/ 120 w 282"/>
                <a:gd name="T19" fmla="*/ 200 h 314"/>
                <a:gd name="T20" fmla="*/ 126 w 282"/>
                <a:gd name="T21" fmla="*/ 214 h 314"/>
                <a:gd name="T22" fmla="*/ 140 w 282"/>
                <a:gd name="T23" fmla="*/ 208 h 314"/>
                <a:gd name="T24" fmla="*/ 146 w 282"/>
                <a:gd name="T25" fmla="*/ 232 h 314"/>
                <a:gd name="T26" fmla="*/ 150 w 282"/>
                <a:gd name="T27" fmla="*/ 264 h 314"/>
                <a:gd name="T28" fmla="*/ 170 w 282"/>
                <a:gd name="T29" fmla="*/ 268 h 314"/>
                <a:gd name="T30" fmla="*/ 190 w 282"/>
                <a:gd name="T31" fmla="*/ 272 h 314"/>
                <a:gd name="T32" fmla="*/ 196 w 282"/>
                <a:gd name="T33" fmla="*/ 288 h 314"/>
                <a:gd name="T34" fmla="*/ 204 w 282"/>
                <a:gd name="T35" fmla="*/ 280 h 314"/>
                <a:gd name="T36" fmla="*/ 216 w 282"/>
                <a:gd name="T37" fmla="*/ 276 h 314"/>
                <a:gd name="T38" fmla="*/ 222 w 282"/>
                <a:gd name="T39" fmla="*/ 286 h 314"/>
                <a:gd name="T40" fmla="*/ 230 w 282"/>
                <a:gd name="T41" fmla="*/ 300 h 314"/>
                <a:gd name="T42" fmla="*/ 244 w 282"/>
                <a:gd name="T43" fmla="*/ 314 h 314"/>
                <a:gd name="T44" fmla="*/ 256 w 282"/>
                <a:gd name="T45" fmla="*/ 304 h 314"/>
                <a:gd name="T46" fmla="*/ 254 w 282"/>
                <a:gd name="T47" fmla="*/ 284 h 314"/>
                <a:gd name="T48" fmla="*/ 240 w 282"/>
                <a:gd name="T49" fmla="*/ 280 h 314"/>
                <a:gd name="T50" fmla="*/ 238 w 282"/>
                <a:gd name="T51" fmla="*/ 254 h 314"/>
                <a:gd name="T52" fmla="*/ 250 w 282"/>
                <a:gd name="T53" fmla="*/ 222 h 314"/>
                <a:gd name="T54" fmla="*/ 262 w 282"/>
                <a:gd name="T55" fmla="*/ 208 h 314"/>
                <a:gd name="T56" fmla="*/ 258 w 282"/>
                <a:gd name="T57" fmla="*/ 178 h 314"/>
                <a:gd name="T58" fmla="*/ 256 w 282"/>
                <a:gd name="T59" fmla="*/ 154 h 314"/>
                <a:gd name="T60" fmla="*/ 248 w 282"/>
                <a:gd name="T61" fmla="*/ 136 h 314"/>
                <a:gd name="T62" fmla="*/ 240 w 282"/>
                <a:gd name="T63" fmla="*/ 130 h 314"/>
                <a:gd name="T64" fmla="*/ 246 w 282"/>
                <a:gd name="T65" fmla="*/ 118 h 314"/>
                <a:gd name="T66" fmla="*/ 244 w 282"/>
                <a:gd name="T67" fmla="*/ 108 h 314"/>
                <a:gd name="T68" fmla="*/ 254 w 282"/>
                <a:gd name="T69" fmla="*/ 82 h 314"/>
                <a:gd name="T70" fmla="*/ 262 w 282"/>
                <a:gd name="T71" fmla="*/ 66 h 314"/>
                <a:gd name="T72" fmla="*/ 282 w 282"/>
                <a:gd name="T73" fmla="*/ 56 h 314"/>
                <a:gd name="T74" fmla="*/ 276 w 282"/>
                <a:gd name="T75" fmla="*/ 48 h 314"/>
                <a:gd name="T76" fmla="*/ 272 w 282"/>
                <a:gd name="T77" fmla="*/ 42 h 314"/>
                <a:gd name="T78" fmla="*/ 264 w 282"/>
                <a:gd name="T79" fmla="*/ 20 h 314"/>
                <a:gd name="T80" fmla="*/ 250 w 282"/>
                <a:gd name="T81" fmla="*/ 10 h 314"/>
                <a:gd name="T82" fmla="*/ 222 w 282"/>
                <a:gd name="T83" fmla="*/ 8 h 314"/>
                <a:gd name="T84" fmla="*/ 208 w 282"/>
                <a:gd name="T85" fmla="*/ 0 h 314"/>
                <a:gd name="T86" fmla="*/ 182 w 282"/>
                <a:gd name="T87" fmla="*/ 2 h 314"/>
                <a:gd name="T88" fmla="*/ 176 w 282"/>
                <a:gd name="T89" fmla="*/ 6 h 314"/>
                <a:gd name="T90" fmla="*/ 152 w 282"/>
                <a:gd name="T91" fmla="*/ 8 h 314"/>
                <a:gd name="T92" fmla="*/ 144 w 282"/>
                <a:gd name="T93" fmla="*/ 16 h 314"/>
                <a:gd name="T94" fmla="*/ 122 w 282"/>
                <a:gd name="T95" fmla="*/ 20 h 314"/>
                <a:gd name="T96" fmla="*/ 114 w 282"/>
                <a:gd name="T97" fmla="*/ 8 h 314"/>
                <a:gd name="T98" fmla="*/ 102 w 282"/>
                <a:gd name="T99" fmla="*/ 8 h 314"/>
                <a:gd name="T100" fmla="*/ 86 w 282"/>
                <a:gd name="T101" fmla="*/ 22 h 314"/>
                <a:gd name="T102" fmla="*/ 96 w 282"/>
                <a:gd name="T103" fmla="*/ 32 h 314"/>
                <a:gd name="T104" fmla="*/ 86 w 282"/>
                <a:gd name="T105" fmla="*/ 48 h 314"/>
                <a:gd name="T106" fmla="*/ 86 w 282"/>
                <a:gd name="T107" fmla="*/ 88 h 314"/>
                <a:gd name="T108" fmla="*/ 76 w 282"/>
                <a:gd name="T109" fmla="*/ 106 h 314"/>
                <a:gd name="T110" fmla="*/ 74 w 282"/>
                <a:gd name="T111" fmla="*/ 126 h 314"/>
                <a:gd name="T112" fmla="*/ 62 w 282"/>
                <a:gd name="T113" fmla="*/ 128 h 314"/>
                <a:gd name="T114" fmla="*/ 62 w 282"/>
                <a:gd name="T115" fmla="*/ 148 h 314"/>
                <a:gd name="T116" fmla="*/ 46 w 282"/>
                <a:gd name="T117" fmla="*/ 156 h 314"/>
                <a:gd name="T118" fmla="*/ 38 w 282"/>
                <a:gd name="T119" fmla="*/ 162 h 314"/>
                <a:gd name="T120" fmla="*/ 22 w 282"/>
                <a:gd name="T121" fmla="*/ 158 h 314"/>
                <a:gd name="T122" fmla="*/ 4 w 282"/>
                <a:gd name="T123" fmla="*/ 17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314">
                  <a:moveTo>
                    <a:pt x="6" y="172"/>
                  </a:moveTo>
                  <a:lnTo>
                    <a:pt x="6" y="172"/>
                  </a:lnTo>
                  <a:lnTo>
                    <a:pt x="6" y="172"/>
                  </a:lnTo>
                  <a:lnTo>
                    <a:pt x="6" y="172"/>
                  </a:lnTo>
                  <a:lnTo>
                    <a:pt x="6" y="174"/>
                  </a:lnTo>
                  <a:lnTo>
                    <a:pt x="4" y="174"/>
                  </a:lnTo>
                  <a:lnTo>
                    <a:pt x="4" y="174"/>
                  </a:lnTo>
                  <a:lnTo>
                    <a:pt x="2" y="174"/>
                  </a:lnTo>
                  <a:lnTo>
                    <a:pt x="2" y="176"/>
                  </a:lnTo>
                  <a:lnTo>
                    <a:pt x="0" y="176"/>
                  </a:lnTo>
                  <a:lnTo>
                    <a:pt x="0" y="176"/>
                  </a:lnTo>
                  <a:lnTo>
                    <a:pt x="0" y="178"/>
                  </a:lnTo>
                  <a:lnTo>
                    <a:pt x="0" y="180"/>
                  </a:lnTo>
                  <a:lnTo>
                    <a:pt x="0" y="182"/>
                  </a:lnTo>
                  <a:lnTo>
                    <a:pt x="2" y="182"/>
                  </a:lnTo>
                  <a:lnTo>
                    <a:pt x="4" y="184"/>
                  </a:lnTo>
                  <a:lnTo>
                    <a:pt x="6" y="184"/>
                  </a:lnTo>
                  <a:lnTo>
                    <a:pt x="12" y="184"/>
                  </a:lnTo>
                  <a:lnTo>
                    <a:pt x="16" y="184"/>
                  </a:lnTo>
                  <a:lnTo>
                    <a:pt x="20" y="186"/>
                  </a:lnTo>
                  <a:lnTo>
                    <a:pt x="22" y="186"/>
                  </a:lnTo>
                  <a:lnTo>
                    <a:pt x="26" y="186"/>
                  </a:lnTo>
                  <a:lnTo>
                    <a:pt x="28" y="184"/>
                  </a:lnTo>
                  <a:lnTo>
                    <a:pt x="28" y="184"/>
                  </a:lnTo>
                  <a:lnTo>
                    <a:pt x="30" y="184"/>
                  </a:lnTo>
                  <a:lnTo>
                    <a:pt x="34" y="182"/>
                  </a:lnTo>
                  <a:lnTo>
                    <a:pt x="38" y="180"/>
                  </a:lnTo>
                  <a:lnTo>
                    <a:pt x="40" y="180"/>
                  </a:lnTo>
                  <a:lnTo>
                    <a:pt x="42" y="180"/>
                  </a:lnTo>
                  <a:lnTo>
                    <a:pt x="46" y="180"/>
                  </a:lnTo>
                  <a:lnTo>
                    <a:pt x="48" y="178"/>
                  </a:lnTo>
                  <a:lnTo>
                    <a:pt x="52" y="178"/>
                  </a:lnTo>
                  <a:lnTo>
                    <a:pt x="56" y="178"/>
                  </a:lnTo>
                  <a:lnTo>
                    <a:pt x="60" y="180"/>
                  </a:lnTo>
                  <a:lnTo>
                    <a:pt x="62" y="180"/>
                  </a:lnTo>
                  <a:lnTo>
                    <a:pt x="64" y="180"/>
                  </a:lnTo>
                  <a:lnTo>
                    <a:pt x="66" y="180"/>
                  </a:lnTo>
                  <a:lnTo>
                    <a:pt x="66" y="182"/>
                  </a:lnTo>
                  <a:lnTo>
                    <a:pt x="68" y="182"/>
                  </a:lnTo>
                  <a:lnTo>
                    <a:pt x="70" y="182"/>
                  </a:lnTo>
                  <a:lnTo>
                    <a:pt x="70" y="184"/>
                  </a:lnTo>
                  <a:lnTo>
                    <a:pt x="70" y="184"/>
                  </a:lnTo>
                  <a:lnTo>
                    <a:pt x="72" y="186"/>
                  </a:lnTo>
                  <a:lnTo>
                    <a:pt x="72" y="188"/>
                  </a:lnTo>
                  <a:lnTo>
                    <a:pt x="72" y="190"/>
                  </a:lnTo>
                  <a:lnTo>
                    <a:pt x="72" y="190"/>
                  </a:lnTo>
                  <a:lnTo>
                    <a:pt x="72" y="194"/>
                  </a:lnTo>
                  <a:lnTo>
                    <a:pt x="72" y="198"/>
                  </a:lnTo>
                  <a:lnTo>
                    <a:pt x="72" y="202"/>
                  </a:lnTo>
                  <a:lnTo>
                    <a:pt x="74" y="204"/>
                  </a:lnTo>
                  <a:lnTo>
                    <a:pt x="74" y="204"/>
                  </a:lnTo>
                  <a:lnTo>
                    <a:pt x="74" y="206"/>
                  </a:lnTo>
                  <a:lnTo>
                    <a:pt x="74" y="206"/>
                  </a:lnTo>
                  <a:lnTo>
                    <a:pt x="76" y="208"/>
                  </a:lnTo>
                  <a:lnTo>
                    <a:pt x="76" y="208"/>
                  </a:lnTo>
                  <a:lnTo>
                    <a:pt x="78" y="208"/>
                  </a:lnTo>
                  <a:lnTo>
                    <a:pt x="80" y="208"/>
                  </a:lnTo>
                  <a:lnTo>
                    <a:pt x="80" y="210"/>
                  </a:lnTo>
                  <a:lnTo>
                    <a:pt x="82" y="210"/>
                  </a:lnTo>
                  <a:lnTo>
                    <a:pt x="82" y="210"/>
                  </a:lnTo>
                  <a:lnTo>
                    <a:pt x="82" y="210"/>
                  </a:lnTo>
                  <a:lnTo>
                    <a:pt x="82" y="212"/>
                  </a:lnTo>
                  <a:lnTo>
                    <a:pt x="82" y="212"/>
                  </a:lnTo>
                  <a:lnTo>
                    <a:pt x="82" y="214"/>
                  </a:lnTo>
                  <a:lnTo>
                    <a:pt x="82" y="216"/>
                  </a:lnTo>
                  <a:lnTo>
                    <a:pt x="82" y="218"/>
                  </a:lnTo>
                  <a:lnTo>
                    <a:pt x="82" y="218"/>
                  </a:lnTo>
                  <a:lnTo>
                    <a:pt x="82" y="218"/>
                  </a:lnTo>
                  <a:lnTo>
                    <a:pt x="82" y="218"/>
                  </a:lnTo>
                  <a:lnTo>
                    <a:pt x="84" y="220"/>
                  </a:lnTo>
                  <a:lnTo>
                    <a:pt x="84" y="220"/>
                  </a:lnTo>
                  <a:lnTo>
                    <a:pt x="86" y="220"/>
                  </a:lnTo>
                  <a:lnTo>
                    <a:pt x="88" y="222"/>
                  </a:lnTo>
                  <a:lnTo>
                    <a:pt x="90" y="222"/>
                  </a:lnTo>
                  <a:lnTo>
                    <a:pt x="92" y="222"/>
                  </a:lnTo>
                  <a:lnTo>
                    <a:pt x="94" y="222"/>
                  </a:lnTo>
                  <a:lnTo>
                    <a:pt x="96" y="222"/>
                  </a:lnTo>
                  <a:lnTo>
                    <a:pt x="98" y="222"/>
                  </a:lnTo>
                  <a:lnTo>
                    <a:pt x="100" y="222"/>
                  </a:lnTo>
                  <a:lnTo>
                    <a:pt x="102" y="222"/>
                  </a:lnTo>
                  <a:lnTo>
                    <a:pt x="102" y="220"/>
                  </a:lnTo>
                  <a:lnTo>
                    <a:pt x="104" y="220"/>
                  </a:lnTo>
                  <a:lnTo>
                    <a:pt x="106" y="220"/>
                  </a:lnTo>
                  <a:lnTo>
                    <a:pt x="108" y="220"/>
                  </a:lnTo>
                  <a:lnTo>
                    <a:pt x="108" y="218"/>
                  </a:lnTo>
                  <a:lnTo>
                    <a:pt x="108" y="218"/>
                  </a:lnTo>
                  <a:lnTo>
                    <a:pt x="110" y="218"/>
                  </a:lnTo>
                  <a:lnTo>
                    <a:pt x="110" y="216"/>
                  </a:lnTo>
                  <a:lnTo>
                    <a:pt x="110" y="216"/>
                  </a:lnTo>
                  <a:lnTo>
                    <a:pt x="110" y="212"/>
                  </a:lnTo>
                  <a:lnTo>
                    <a:pt x="110" y="210"/>
                  </a:lnTo>
                  <a:lnTo>
                    <a:pt x="110" y="208"/>
                  </a:lnTo>
                  <a:lnTo>
                    <a:pt x="108" y="206"/>
                  </a:lnTo>
                  <a:lnTo>
                    <a:pt x="110" y="204"/>
                  </a:lnTo>
                  <a:lnTo>
                    <a:pt x="110" y="202"/>
                  </a:lnTo>
                  <a:lnTo>
                    <a:pt x="110" y="202"/>
                  </a:lnTo>
                  <a:lnTo>
                    <a:pt x="110" y="202"/>
                  </a:lnTo>
                  <a:lnTo>
                    <a:pt x="110" y="200"/>
                  </a:lnTo>
                  <a:lnTo>
                    <a:pt x="112" y="200"/>
                  </a:lnTo>
                  <a:lnTo>
                    <a:pt x="112" y="198"/>
                  </a:lnTo>
                  <a:lnTo>
                    <a:pt x="114" y="198"/>
                  </a:lnTo>
                  <a:lnTo>
                    <a:pt x="114" y="196"/>
                  </a:lnTo>
                  <a:lnTo>
                    <a:pt x="116" y="196"/>
                  </a:lnTo>
                  <a:lnTo>
                    <a:pt x="116" y="196"/>
                  </a:lnTo>
                  <a:lnTo>
                    <a:pt x="116" y="196"/>
                  </a:lnTo>
                  <a:lnTo>
                    <a:pt x="118" y="196"/>
                  </a:lnTo>
                  <a:lnTo>
                    <a:pt x="118" y="198"/>
                  </a:lnTo>
                  <a:lnTo>
                    <a:pt x="118" y="198"/>
                  </a:lnTo>
                  <a:lnTo>
                    <a:pt x="118" y="200"/>
                  </a:lnTo>
                  <a:lnTo>
                    <a:pt x="120" y="200"/>
                  </a:lnTo>
                  <a:lnTo>
                    <a:pt x="120" y="202"/>
                  </a:lnTo>
                  <a:lnTo>
                    <a:pt x="120" y="206"/>
                  </a:lnTo>
                  <a:lnTo>
                    <a:pt x="120" y="208"/>
                  </a:lnTo>
                  <a:lnTo>
                    <a:pt x="122" y="210"/>
                  </a:lnTo>
                  <a:lnTo>
                    <a:pt x="122" y="212"/>
                  </a:lnTo>
                  <a:lnTo>
                    <a:pt x="122" y="212"/>
                  </a:lnTo>
                  <a:lnTo>
                    <a:pt x="124" y="214"/>
                  </a:lnTo>
                  <a:lnTo>
                    <a:pt x="124" y="214"/>
                  </a:lnTo>
                  <a:lnTo>
                    <a:pt x="124" y="214"/>
                  </a:lnTo>
                  <a:lnTo>
                    <a:pt x="124" y="214"/>
                  </a:lnTo>
                  <a:lnTo>
                    <a:pt x="126" y="214"/>
                  </a:lnTo>
                  <a:lnTo>
                    <a:pt x="126" y="212"/>
                  </a:lnTo>
                  <a:lnTo>
                    <a:pt x="128" y="212"/>
                  </a:lnTo>
                  <a:lnTo>
                    <a:pt x="128" y="210"/>
                  </a:lnTo>
                  <a:lnTo>
                    <a:pt x="130" y="210"/>
                  </a:lnTo>
                  <a:lnTo>
                    <a:pt x="130" y="210"/>
                  </a:lnTo>
                  <a:lnTo>
                    <a:pt x="132" y="208"/>
                  </a:lnTo>
                  <a:lnTo>
                    <a:pt x="134" y="208"/>
                  </a:lnTo>
                  <a:lnTo>
                    <a:pt x="136" y="208"/>
                  </a:lnTo>
                  <a:lnTo>
                    <a:pt x="138" y="208"/>
                  </a:lnTo>
                  <a:lnTo>
                    <a:pt x="138" y="208"/>
                  </a:lnTo>
                  <a:lnTo>
                    <a:pt x="140" y="208"/>
                  </a:lnTo>
                  <a:lnTo>
                    <a:pt x="140" y="208"/>
                  </a:lnTo>
                  <a:lnTo>
                    <a:pt x="142" y="210"/>
                  </a:lnTo>
                  <a:lnTo>
                    <a:pt x="142" y="210"/>
                  </a:lnTo>
                  <a:lnTo>
                    <a:pt x="144" y="212"/>
                  </a:lnTo>
                  <a:lnTo>
                    <a:pt x="144" y="214"/>
                  </a:lnTo>
                  <a:lnTo>
                    <a:pt x="146" y="216"/>
                  </a:lnTo>
                  <a:lnTo>
                    <a:pt x="146" y="218"/>
                  </a:lnTo>
                  <a:lnTo>
                    <a:pt x="146" y="220"/>
                  </a:lnTo>
                  <a:lnTo>
                    <a:pt x="146" y="224"/>
                  </a:lnTo>
                  <a:lnTo>
                    <a:pt x="146" y="228"/>
                  </a:lnTo>
                  <a:lnTo>
                    <a:pt x="146" y="232"/>
                  </a:lnTo>
                  <a:lnTo>
                    <a:pt x="146" y="242"/>
                  </a:lnTo>
                  <a:lnTo>
                    <a:pt x="146" y="250"/>
                  </a:lnTo>
                  <a:lnTo>
                    <a:pt x="146" y="252"/>
                  </a:lnTo>
                  <a:lnTo>
                    <a:pt x="146" y="256"/>
                  </a:lnTo>
                  <a:lnTo>
                    <a:pt x="146" y="256"/>
                  </a:lnTo>
                  <a:lnTo>
                    <a:pt x="146" y="258"/>
                  </a:lnTo>
                  <a:lnTo>
                    <a:pt x="146" y="260"/>
                  </a:lnTo>
                  <a:lnTo>
                    <a:pt x="146" y="262"/>
                  </a:lnTo>
                  <a:lnTo>
                    <a:pt x="148" y="262"/>
                  </a:lnTo>
                  <a:lnTo>
                    <a:pt x="148" y="264"/>
                  </a:lnTo>
                  <a:lnTo>
                    <a:pt x="150" y="264"/>
                  </a:lnTo>
                  <a:lnTo>
                    <a:pt x="150" y="266"/>
                  </a:lnTo>
                  <a:lnTo>
                    <a:pt x="152" y="266"/>
                  </a:lnTo>
                  <a:lnTo>
                    <a:pt x="152" y="268"/>
                  </a:lnTo>
                  <a:lnTo>
                    <a:pt x="154" y="268"/>
                  </a:lnTo>
                  <a:lnTo>
                    <a:pt x="156" y="268"/>
                  </a:lnTo>
                  <a:lnTo>
                    <a:pt x="156" y="268"/>
                  </a:lnTo>
                  <a:lnTo>
                    <a:pt x="158" y="270"/>
                  </a:lnTo>
                  <a:lnTo>
                    <a:pt x="160" y="270"/>
                  </a:lnTo>
                  <a:lnTo>
                    <a:pt x="162" y="270"/>
                  </a:lnTo>
                  <a:lnTo>
                    <a:pt x="166" y="270"/>
                  </a:lnTo>
                  <a:lnTo>
                    <a:pt x="170" y="268"/>
                  </a:lnTo>
                  <a:lnTo>
                    <a:pt x="172" y="268"/>
                  </a:lnTo>
                  <a:lnTo>
                    <a:pt x="174" y="268"/>
                  </a:lnTo>
                  <a:lnTo>
                    <a:pt x="180" y="268"/>
                  </a:lnTo>
                  <a:lnTo>
                    <a:pt x="182" y="268"/>
                  </a:lnTo>
                  <a:lnTo>
                    <a:pt x="184" y="270"/>
                  </a:lnTo>
                  <a:lnTo>
                    <a:pt x="186" y="270"/>
                  </a:lnTo>
                  <a:lnTo>
                    <a:pt x="188" y="270"/>
                  </a:lnTo>
                  <a:lnTo>
                    <a:pt x="188" y="270"/>
                  </a:lnTo>
                  <a:lnTo>
                    <a:pt x="188" y="272"/>
                  </a:lnTo>
                  <a:lnTo>
                    <a:pt x="188" y="272"/>
                  </a:lnTo>
                  <a:lnTo>
                    <a:pt x="190" y="272"/>
                  </a:lnTo>
                  <a:lnTo>
                    <a:pt x="190" y="274"/>
                  </a:lnTo>
                  <a:lnTo>
                    <a:pt x="190" y="276"/>
                  </a:lnTo>
                  <a:lnTo>
                    <a:pt x="190" y="278"/>
                  </a:lnTo>
                  <a:lnTo>
                    <a:pt x="190" y="280"/>
                  </a:lnTo>
                  <a:lnTo>
                    <a:pt x="192" y="282"/>
                  </a:lnTo>
                  <a:lnTo>
                    <a:pt x="192" y="284"/>
                  </a:lnTo>
                  <a:lnTo>
                    <a:pt x="192" y="286"/>
                  </a:lnTo>
                  <a:lnTo>
                    <a:pt x="192" y="286"/>
                  </a:lnTo>
                  <a:lnTo>
                    <a:pt x="192" y="286"/>
                  </a:lnTo>
                  <a:lnTo>
                    <a:pt x="194" y="286"/>
                  </a:lnTo>
                  <a:lnTo>
                    <a:pt x="196" y="288"/>
                  </a:lnTo>
                  <a:lnTo>
                    <a:pt x="196" y="288"/>
                  </a:lnTo>
                  <a:lnTo>
                    <a:pt x="198" y="288"/>
                  </a:lnTo>
                  <a:lnTo>
                    <a:pt x="198" y="288"/>
                  </a:lnTo>
                  <a:lnTo>
                    <a:pt x="200" y="288"/>
                  </a:lnTo>
                  <a:lnTo>
                    <a:pt x="200" y="288"/>
                  </a:lnTo>
                  <a:lnTo>
                    <a:pt x="200" y="288"/>
                  </a:lnTo>
                  <a:lnTo>
                    <a:pt x="200" y="286"/>
                  </a:lnTo>
                  <a:lnTo>
                    <a:pt x="202" y="286"/>
                  </a:lnTo>
                  <a:lnTo>
                    <a:pt x="202" y="284"/>
                  </a:lnTo>
                  <a:lnTo>
                    <a:pt x="202" y="282"/>
                  </a:lnTo>
                  <a:lnTo>
                    <a:pt x="204" y="280"/>
                  </a:lnTo>
                  <a:lnTo>
                    <a:pt x="204" y="280"/>
                  </a:lnTo>
                  <a:lnTo>
                    <a:pt x="204" y="280"/>
                  </a:lnTo>
                  <a:lnTo>
                    <a:pt x="204" y="278"/>
                  </a:lnTo>
                  <a:lnTo>
                    <a:pt x="206" y="278"/>
                  </a:lnTo>
                  <a:lnTo>
                    <a:pt x="208" y="278"/>
                  </a:lnTo>
                  <a:lnTo>
                    <a:pt x="210" y="276"/>
                  </a:lnTo>
                  <a:lnTo>
                    <a:pt x="212" y="276"/>
                  </a:lnTo>
                  <a:lnTo>
                    <a:pt x="212" y="276"/>
                  </a:lnTo>
                  <a:lnTo>
                    <a:pt x="214" y="276"/>
                  </a:lnTo>
                  <a:lnTo>
                    <a:pt x="214" y="276"/>
                  </a:lnTo>
                  <a:lnTo>
                    <a:pt x="216" y="276"/>
                  </a:lnTo>
                  <a:lnTo>
                    <a:pt x="216" y="278"/>
                  </a:lnTo>
                  <a:lnTo>
                    <a:pt x="216" y="278"/>
                  </a:lnTo>
                  <a:lnTo>
                    <a:pt x="216" y="280"/>
                  </a:lnTo>
                  <a:lnTo>
                    <a:pt x="216" y="282"/>
                  </a:lnTo>
                  <a:lnTo>
                    <a:pt x="216" y="282"/>
                  </a:lnTo>
                  <a:lnTo>
                    <a:pt x="218" y="282"/>
                  </a:lnTo>
                  <a:lnTo>
                    <a:pt x="218" y="284"/>
                  </a:lnTo>
                  <a:lnTo>
                    <a:pt x="218" y="284"/>
                  </a:lnTo>
                  <a:lnTo>
                    <a:pt x="220" y="284"/>
                  </a:lnTo>
                  <a:lnTo>
                    <a:pt x="220" y="284"/>
                  </a:lnTo>
                  <a:lnTo>
                    <a:pt x="222" y="286"/>
                  </a:lnTo>
                  <a:lnTo>
                    <a:pt x="224" y="286"/>
                  </a:lnTo>
                  <a:lnTo>
                    <a:pt x="226" y="288"/>
                  </a:lnTo>
                  <a:lnTo>
                    <a:pt x="228" y="288"/>
                  </a:lnTo>
                  <a:lnTo>
                    <a:pt x="228" y="288"/>
                  </a:lnTo>
                  <a:lnTo>
                    <a:pt x="228" y="288"/>
                  </a:lnTo>
                  <a:lnTo>
                    <a:pt x="228" y="290"/>
                  </a:lnTo>
                  <a:lnTo>
                    <a:pt x="228" y="290"/>
                  </a:lnTo>
                  <a:lnTo>
                    <a:pt x="230" y="292"/>
                  </a:lnTo>
                  <a:lnTo>
                    <a:pt x="230" y="294"/>
                  </a:lnTo>
                  <a:lnTo>
                    <a:pt x="230" y="296"/>
                  </a:lnTo>
                  <a:lnTo>
                    <a:pt x="230" y="300"/>
                  </a:lnTo>
                  <a:lnTo>
                    <a:pt x="230" y="302"/>
                  </a:lnTo>
                  <a:lnTo>
                    <a:pt x="232" y="304"/>
                  </a:lnTo>
                  <a:lnTo>
                    <a:pt x="232" y="306"/>
                  </a:lnTo>
                  <a:lnTo>
                    <a:pt x="234" y="308"/>
                  </a:lnTo>
                  <a:lnTo>
                    <a:pt x="236" y="310"/>
                  </a:lnTo>
                  <a:lnTo>
                    <a:pt x="236" y="310"/>
                  </a:lnTo>
                  <a:lnTo>
                    <a:pt x="236" y="312"/>
                  </a:lnTo>
                  <a:lnTo>
                    <a:pt x="238" y="312"/>
                  </a:lnTo>
                  <a:lnTo>
                    <a:pt x="240" y="312"/>
                  </a:lnTo>
                  <a:lnTo>
                    <a:pt x="242" y="314"/>
                  </a:lnTo>
                  <a:lnTo>
                    <a:pt x="244" y="314"/>
                  </a:lnTo>
                  <a:lnTo>
                    <a:pt x="246" y="314"/>
                  </a:lnTo>
                  <a:lnTo>
                    <a:pt x="248" y="314"/>
                  </a:lnTo>
                  <a:lnTo>
                    <a:pt x="250" y="312"/>
                  </a:lnTo>
                  <a:lnTo>
                    <a:pt x="252" y="312"/>
                  </a:lnTo>
                  <a:lnTo>
                    <a:pt x="252" y="312"/>
                  </a:lnTo>
                  <a:lnTo>
                    <a:pt x="254" y="312"/>
                  </a:lnTo>
                  <a:lnTo>
                    <a:pt x="254" y="310"/>
                  </a:lnTo>
                  <a:lnTo>
                    <a:pt x="254" y="310"/>
                  </a:lnTo>
                  <a:lnTo>
                    <a:pt x="256" y="308"/>
                  </a:lnTo>
                  <a:lnTo>
                    <a:pt x="256" y="308"/>
                  </a:lnTo>
                  <a:lnTo>
                    <a:pt x="256" y="304"/>
                  </a:lnTo>
                  <a:lnTo>
                    <a:pt x="258" y="302"/>
                  </a:lnTo>
                  <a:lnTo>
                    <a:pt x="258" y="300"/>
                  </a:lnTo>
                  <a:lnTo>
                    <a:pt x="258" y="298"/>
                  </a:lnTo>
                  <a:lnTo>
                    <a:pt x="258" y="296"/>
                  </a:lnTo>
                  <a:lnTo>
                    <a:pt x="258" y="292"/>
                  </a:lnTo>
                  <a:lnTo>
                    <a:pt x="258" y="290"/>
                  </a:lnTo>
                  <a:lnTo>
                    <a:pt x="256" y="288"/>
                  </a:lnTo>
                  <a:lnTo>
                    <a:pt x="256" y="286"/>
                  </a:lnTo>
                  <a:lnTo>
                    <a:pt x="256" y="286"/>
                  </a:lnTo>
                  <a:lnTo>
                    <a:pt x="256" y="286"/>
                  </a:lnTo>
                  <a:lnTo>
                    <a:pt x="254" y="284"/>
                  </a:lnTo>
                  <a:lnTo>
                    <a:pt x="254" y="284"/>
                  </a:lnTo>
                  <a:lnTo>
                    <a:pt x="254" y="284"/>
                  </a:lnTo>
                  <a:lnTo>
                    <a:pt x="252" y="284"/>
                  </a:lnTo>
                  <a:lnTo>
                    <a:pt x="252" y="284"/>
                  </a:lnTo>
                  <a:lnTo>
                    <a:pt x="250" y="284"/>
                  </a:lnTo>
                  <a:lnTo>
                    <a:pt x="246" y="284"/>
                  </a:lnTo>
                  <a:lnTo>
                    <a:pt x="246" y="284"/>
                  </a:lnTo>
                  <a:lnTo>
                    <a:pt x="244" y="284"/>
                  </a:lnTo>
                  <a:lnTo>
                    <a:pt x="244" y="282"/>
                  </a:lnTo>
                  <a:lnTo>
                    <a:pt x="242" y="282"/>
                  </a:lnTo>
                  <a:lnTo>
                    <a:pt x="240" y="280"/>
                  </a:lnTo>
                  <a:lnTo>
                    <a:pt x="240" y="278"/>
                  </a:lnTo>
                  <a:lnTo>
                    <a:pt x="238" y="278"/>
                  </a:lnTo>
                  <a:lnTo>
                    <a:pt x="238" y="276"/>
                  </a:lnTo>
                  <a:lnTo>
                    <a:pt x="238" y="274"/>
                  </a:lnTo>
                  <a:lnTo>
                    <a:pt x="238" y="272"/>
                  </a:lnTo>
                  <a:lnTo>
                    <a:pt x="236" y="270"/>
                  </a:lnTo>
                  <a:lnTo>
                    <a:pt x="236" y="268"/>
                  </a:lnTo>
                  <a:lnTo>
                    <a:pt x="236" y="264"/>
                  </a:lnTo>
                  <a:lnTo>
                    <a:pt x="236" y="262"/>
                  </a:lnTo>
                  <a:lnTo>
                    <a:pt x="238" y="258"/>
                  </a:lnTo>
                  <a:lnTo>
                    <a:pt x="238" y="254"/>
                  </a:lnTo>
                  <a:lnTo>
                    <a:pt x="238" y="248"/>
                  </a:lnTo>
                  <a:lnTo>
                    <a:pt x="240" y="242"/>
                  </a:lnTo>
                  <a:lnTo>
                    <a:pt x="240" y="238"/>
                  </a:lnTo>
                  <a:lnTo>
                    <a:pt x="242" y="232"/>
                  </a:lnTo>
                  <a:lnTo>
                    <a:pt x="244" y="230"/>
                  </a:lnTo>
                  <a:lnTo>
                    <a:pt x="244" y="228"/>
                  </a:lnTo>
                  <a:lnTo>
                    <a:pt x="246" y="224"/>
                  </a:lnTo>
                  <a:lnTo>
                    <a:pt x="246" y="224"/>
                  </a:lnTo>
                  <a:lnTo>
                    <a:pt x="248" y="222"/>
                  </a:lnTo>
                  <a:lnTo>
                    <a:pt x="248" y="222"/>
                  </a:lnTo>
                  <a:lnTo>
                    <a:pt x="250" y="222"/>
                  </a:lnTo>
                  <a:lnTo>
                    <a:pt x="254" y="220"/>
                  </a:lnTo>
                  <a:lnTo>
                    <a:pt x="256" y="220"/>
                  </a:lnTo>
                  <a:lnTo>
                    <a:pt x="256" y="220"/>
                  </a:lnTo>
                  <a:lnTo>
                    <a:pt x="258" y="218"/>
                  </a:lnTo>
                  <a:lnTo>
                    <a:pt x="258" y="218"/>
                  </a:lnTo>
                  <a:lnTo>
                    <a:pt x="260" y="218"/>
                  </a:lnTo>
                  <a:lnTo>
                    <a:pt x="260" y="216"/>
                  </a:lnTo>
                  <a:lnTo>
                    <a:pt x="260" y="216"/>
                  </a:lnTo>
                  <a:lnTo>
                    <a:pt x="260" y="212"/>
                  </a:lnTo>
                  <a:lnTo>
                    <a:pt x="262" y="210"/>
                  </a:lnTo>
                  <a:lnTo>
                    <a:pt x="262" y="208"/>
                  </a:lnTo>
                  <a:lnTo>
                    <a:pt x="262" y="206"/>
                  </a:lnTo>
                  <a:lnTo>
                    <a:pt x="262" y="204"/>
                  </a:lnTo>
                  <a:lnTo>
                    <a:pt x="262" y="202"/>
                  </a:lnTo>
                  <a:lnTo>
                    <a:pt x="262" y="200"/>
                  </a:lnTo>
                  <a:lnTo>
                    <a:pt x="262" y="196"/>
                  </a:lnTo>
                  <a:lnTo>
                    <a:pt x="262" y="194"/>
                  </a:lnTo>
                  <a:lnTo>
                    <a:pt x="262" y="192"/>
                  </a:lnTo>
                  <a:lnTo>
                    <a:pt x="260" y="190"/>
                  </a:lnTo>
                  <a:lnTo>
                    <a:pt x="260" y="186"/>
                  </a:lnTo>
                  <a:lnTo>
                    <a:pt x="258" y="182"/>
                  </a:lnTo>
                  <a:lnTo>
                    <a:pt x="258" y="178"/>
                  </a:lnTo>
                  <a:lnTo>
                    <a:pt x="256" y="176"/>
                  </a:lnTo>
                  <a:lnTo>
                    <a:pt x="256" y="174"/>
                  </a:lnTo>
                  <a:lnTo>
                    <a:pt x="256" y="172"/>
                  </a:lnTo>
                  <a:lnTo>
                    <a:pt x="256" y="172"/>
                  </a:lnTo>
                  <a:lnTo>
                    <a:pt x="256" y="168"/>
                  </a:lnTo>
                  <a:lnTo>
                    <a:pt x="258" y="164"/>
                  </a:lnTo>
                  <a:lnTo>
                    <a:pt x="258" y="162"/>
                  </a:lnTo>
                  <a:lnTo>
                    <a:pt x="258" y="160"/>
                  </a:lnTo>
                  <a:lnTo>
                    <a:pt x="256" y="160"/>
                  </a:lnTo>
                  <a:lnTo>
                    <a:pt x="256" y="158"/>
                  </a:lnTo>
                  <a:lnTo>
                    <a:pt x="256" y="154"/>
                  </a:lnTo>
                  <a:lnTo>
                    <a:pt x="254" y="150"/>
                  </a:lnTo>
                  <a:lnTo>
                    <a:pt x="252" y="150"/>
                  </a:lnTo>
                  <a:lnTo>
                    <a:pt x="250" y="148"/>
                  </a:lnTo>
                  <a:lnTo>
                    <a:pt x="248" y="146"/>
                  </a:lnTo>
                  <a:lnTo>
                    <a:pt x="248" y="146"/>
                  </a:lnTo>
                  <a:lnTo>
                    <a:pt x="248" y="146"/>
                  </a:lnTo>
                  <a:lnTo>
                    <a:pt x="248" y="144"/>
                  </a:lnTo>
                  <a:lnTo>
                    <a:pt x="248" y="144"/>
                  </a:lnTo>
                  <a:lnTo>
                    <a:pt x="248" y="142"/>
                  </a:lnTo>
                  <a:lnTo>
                    <a:pt x="248" y="138"/>
                  </a:lnTo>
                  <a:lnTo>
                    <a:pt x="248" y="136"/>
                  </a:lnTo>
                  <a:lnTo>
                    <a:pt x="250" y="132"/>
                  </a:lnTo>
                  <a:lnTo>
                    <a:pt x="250" y="130"/>
                  </a:lnTo>
                  <a:lnTo>
                    <a:pt x="250" y="130"/>
                  </a:lnTo>
                  <a:lnTo>
                    <a:pt x="246" y="130"/>
                  </a:lnTo>
                  <a:lnTo>
                    <a:pt x="244" y="132"/>
                  </a:lnTo>
                  <a:lnTo>
                    <a:pt x="244" y="132"/>
                  </a:lnTo>
                  <a:lnTo>
                    <a:pt x="242" y="132"/>
                  </a:lnTo>
                  <a:lnTo>
                    <a:pt x="242" y="132"/>
                  </a:lnTo>
                  <a:lnTo>
                    <a:pt x="242" y="130"/>
                  </a:lnTo>
                  <a:lnTo>
                    <a:pt x="240" y="130"/>
                  </a:lnTo>
                  <a:lnTo>
                    <a:pt x="240" y="130"/>
                  </a:lnTo>
                  <a:lnTo>
                    <a:pt x="240" y="128"/>
                  </a:lnTo>
                  <a:lnTo>
                    <a:pt x="240" y="126"/>
                  </a:lnTo>
                  <a:lnTo>
                    <a:pt x="240" y="126"/>
                  </a:lnTo>
                  <a:lnTo>
                    <a:pt x="240" y="124"/>
                  </a:lnTo>
                  <a:lnTo>
                    <a:pt x="240" y="124"/>
                  </a:lnTo>
                  <a:lnTo>
                    <a:pt x="240" y="122"/>
                  </a:lnTo>
                  <a:lnTo>
                    <a:pt x="242" y="122"/>
                  </a:lnTo>
                  <a:lnTo>
                    <a:pt x="242" y="120"/>
                  </a:lnTo>
                  <a:lnTo>
                    <a:pt x="244" y="120"/>
                  </a:lnTo>
                  <a:lnTo>
                    <a:pt x="246" y="118"/>
                  </a:lnTo>
                  <a:lnTo>
                    <a:pt x="246" y="118"/>
                  </a:lnTo>
                  <a:lnTo>
                    <a:pt x="246" y="118"/>
                  </a:lnTo>
                  <a:lnTo>
                    <a:pt x="246" y="116"/>
                  </a:lnTo>
                  <a:lnTo>
                    <a:pt x="246" y="116"/>
                  </a:lnTo>
                  <a:lnTo>
                    <a:pt x="246" y="114"/>
                  </a:lnTo>
                  <a:lnTo>
                    <a:pt x="246" y="114"/>
                  </a:lnTo>
                  <a:lnTo>
                    <a:pt x="246" y="112"/>
                  </a:lnTo>
                  <a:lnTo>
                    <a:pt x="244" y="110"/>
                  </a:lnTo>
                  <a:lnTo>
                    <a:pt x="244" y="110"/>
                  </a:lnTo>
                  <a:lnTo>
                    <a:pt x="244" y="108"/>
                  </a:lnTo>
                  <a:lnTo>
                    <a:pt x="244" y="108"/>
                  </a:lnTo>
                  <a:lnTo>
                    <a:pt x="244" y="108"/>
                  </a:lnTo>
                  <a:lnTo>
                    <a:pt x="244" y="108"/>
                  </a:lnTo>
                  <a:lnTo>
                    <a:pt x="246" y="106"/>
                  </a:lnTo>
                  <a:lnTo>
                    <a:pt x="246" y="106"/>
                  </a:lnTo>
                  <a:lnTo>
                    <a:pt x="248" y="106"/>
                  </a:lnTo>
                  <a:lnTo>
                    <a:pt x="250" y="104"/>
                  </a:lnTo>
                  <a:lnTo>
                    <a:pt x="252" y="104"/>
                  </a:lnTo>
                  <a:lnTo>
                    <a:pt x="254" y="104"/>
                  </a:lnTo>
                  <a:lnTo>
                    <a:pt x="254" y="98"/>
                  </a:lnTo>
                  <a:lnTo>
                    <a:pt x="254" y="94"/>
                  </a:lnTo>
                  <a:lnTo>
                    <a:pt x="254" y="88"/>
                  </a:lnTo>
                  <a:lnTo>
                    <a:pt x="254" y="82"/>
                  </a:lnTo>
                  <a:lnTo>
                    <a:pt x="254" y="80"/>
                  </a:lnTo>
                  <a:lnTo>
                    <a:pt x="254" y="76"/>
                  </a:lnTo>
                  <a:lnTo>
                    <a:pt x="254" y="74"/>
                  </a:lnTo>
                  <a:lnTo>
                    <a:pt x="256" y="72"/>
                  </a:lnTo>
                  <a:lnTo>
                    <a:pt x="256" y="70"/>
                  </a:lnTo>
                  <a:lnTo>
                    <a:pt x="256" y="68"/>
                  </a:lnTo>
                  <a:lnTo>
                    <a:pt x="258" y="68"/>
                  </a:lnTo>
                  <a:lnTo>
                    <a:pt x="258" y="68"/>
                  </a:lnTo>
                  <a:lnTo>
                    <a:pt x="258" y="66"/>
                  </a:lnTo>
                  <a:lnTo>
                    <a:pt x="260" y="66"/>
                  </a:lnTo>
                  <a:lnTo>
                    <a:pt x="262" y="66"/>
                  </a:lnTo>
                  <a:lnTo>
                    <a:pt x="264" y="64"/>
                  </a:lnTo>
                  <a:lnTo>
                    <a:pt x="268" y="64"/>
                  </a:lnTo>
                  <a:lnTo>
                    <a:pt x="270" y="62"/>
                  </a:lnTo>
                  <a:lnTo>
                    <a:pt x="272" y="62"/>
                  </a:lnTo>
                  <a:lnTo>
                    <a:pt x="276" y="60"/>
                  </a:lnTo>
                  <a:lnTo>
                    <a:pt x="278" y="60"/>
                  </a:lnTo>
                  <a:lnTo>
                    <a:pt x="280" y="60"/>
                  </a:lnTo>
                  <a:lnTo>
                    <a:pt x="280" y="58"/>
                  </a:lnTo>
                  <a:lnTo>
                    <a:pt x="280" y="58"/>
                  </a:lnTo>
                  <a:lnTo>
                    <a:pt x="282" y="58"/>
                  </a:lnTo>
                  <a:lnTo>
                    <a:pt x="282" y="56"/>
                  </a:lnTo>
                  <a:lnTo>
                    <a:pt x="282" y="54"/>
                  </a:lnTo>
                  <a:lnTo>
                    <a:pt x="282" y="54"/>
                  </a:lnTo>
                  <a:lnTo>
                    <a:pt x="282" y="52"/>
                  </a:lnTo>
                  <a:lnTo>
                    <a:pt x="282" y="50"/>
                  </a:lnTo>
                  <a:lnTo>
                    <a:pt x="282" y="50"/>
                  </a:lnTo>
                  <a:lnTo>
                    <a:pt x="282" y="50"/>
                  </a:lnTo>
                  <a:lnTo>
                    <a:pt x="282" y="48"/>
                  </a:lnTo>
                  <a:lnTo>
                    <a:pt x="280" y="48"/>
                  </a:lnTo>
                  <a:lnTo>
                    <a:pt x="280" y="48"/>
                  </a:lnTo>
                  <a:lnTo>
                    <a:pt x="278" y="48"/>
                  </a:lnTo>
                  <a:lnTo>
                    <a:pt x="276" y="48"/>
                  </a:lnTo>
                  <a:lnTo>
                    <a:pt x="276" y="48"/>
                  </a:lnTo>
                  <a:lnTo>
                    <a:pt x="274" y="48"/>
                  </a:lnTo>
                  <a:lnTo>
                    <a:pt x="274" y="48"/>
                  </a:lnTo>
                  <a:lnTo>
                    <a:pt x="272" y="48"/>
                  </a:lnTo>
                  <a:lnTo>
                    <a:pt x="272" y="48"/>
                  </a:lnTo>
                  <a:lnTo>
                    <a:pt x="272" y="48"/>
                  </a:lnTo>
                  <a:lnTo>
                    <a:pt x="272" y="46"/>
                  </a:lnTo>
                  <a:lnTo>
                    <a:pt x="272" y="46"/>
                  </a:lnTo>
                  <a:lnTo>
                    <a:pt x="272" y="44"/>
                  </a:lnTo>
                  <a:lnTo>
                    <a:pt x="272" y="42"/>
                  </a:lnTo>
                  <a:lnTo>
                    <a:pt x="272" y="42"/>
                  </a:lnTo>
                  <a:lnTo>
                    <a:pt x="272" y="40"/>
                  </a:lnTo>
                  <a:lnTo>
                    <a:pt x="272" y="36"/>
                  </a:lnTo>
                  <a:lnTo>
                    <a:pt x="270" y="30"/>
                  </a:lnTo>
                  <a:lnTo>
                    <a:pt x="270" y="24"/>
                  </a:lnTo>
                  <a:lnTo>
                    <a:pt x="268" y="22"/>
                  </a:lnTo>
                  <a:lnTo>
                    <a:pt x="268" y="22"/>
                  </a:lnTo>
                  <a:lnTo>
                    <a:pt x="268" y="20"/>
                  </a:lnTo>
                  <a:lnTo>
                    <a:pt x="268" y="20"/>
                  </a:lnTo>
                  <a:lnTo>
                    <a:pt x="266" y="20"/>
                  </a:lnTo>
                  <a:lnTo>
                    <a:pt x="266" y="20"/>
                  </a:lnTo>
                  <a:lnTo>
                    <a:pt x="264" y="20"/>
                  </a:lnTo>
                  <a:lnTo>
                    <a:pt x="262" y="20"/>
                  </a:lnTo>
                  <a:lnTo>
                    <a:pt x="260" y="18"/>
                  </a:lnTo>
                  <a:lnTo>
                    <a:pt x="260" y="18"/>
                  </a:lnTo>
                  <a:lnTo>
                    <a:pt x="258" y="18"/>
                  </a:lnTo>
                  <a:lnTo>
                    <a:pt x="258" y="16"/>
                  </a:lnTo>
                  <a:lnTo>
                    <a:pt x="256" y="14"/>
                  </a:lnTo>
                  <a:lnTo>
                    <a:pt x="256" y="12"/>
                  </a:lnTo>
                  <a:lnTo>
                    <a:pt x="254" y="12"/>
                  </a:lnTo>
                  <a:lnTo>
                    <a:pt x="254" y="10"/>
                  </a:lnTo>
                  <a:lnTo>
                    <a:pt x="252" y="10"/>
                  </a:lnTo>
                  <a:lnTo>
                    <a:pt x="250" y="10"/>
                  </a:lnTo>
                  <a:lnTo>
                    <a:pt x="248" y="10"/>
                  </a:lnTo>
                  <a:lnTo>
                    <a:pt x="246" y="10"/>
                  </a:lnTo>
                  <a:lnTo>
                    <a:pt x="244" y="10"/>
                  </a:lnTo>
                  <a:lnTo>
                    <a:pt x="242" y="10"/>
                  </a:lnTo>
                  <a:lnTo>
                    <a:pt x="238" y="10"/>
                  </a:lnTo>
                  <a:lnTo>
                    <a:pt x="232" y="10"/>
                  </a:lnTo>
                  <a:lnTo>
                    <a:pt x="230" y="10"/>
                  </a:lnTo>
                  <a:lnTo>
                    <a:pt x="228" y="10"/>
                  </a:lnTo>
                  <a:lnTo>
                    <a:pt x="226" y="10"/>
                  </a:lnTo>
                  <a:lnTo>
                    <a:pt x="224" y="10"/>
                  </a:lnTo>
                  <a:lnTo>
                    <a:pt x="222" y="8"/>
                  </a:lnTo>
                  <a:lnTo>
                    <a:pt x="220" y="8"/>
                  </a:lnTo>
                  <a:lnTo>
                    <a:pt x="220" y="8"/>
                  </a:lnTo>
                  <a:lnTo>
                    <a:pt x="220" y="6"/>
                  </a:lnTo>
                  <a:lnTo>
                    <a:pt x="218" y="4"/>
                  </a:lnTo>
                  <a:lnTo>
                    <a:pt x="216" y="2"/>
                  </a:lnTo>
                  <a:lnTo>
                    <a:pt x="216" y="0"/>
                  </a:lnTo>
                  <a:lnTo>
                    <a:pt x="216" y="0"/>
                  </a:lnTo>
                  <a:lnTo>
                    <a:pt x="214" y="0"/>
                  </a:lnTo>
                  <a:lnTo>
                    <a:pt x="214" y="0"/>
                  </a:lnTo>
                  <a:lnTo>
                    <a:pt x="212" y="0"/>
                  </a:lnTo>
                  <a:lnTo>
                    <a:pt x="208" y="0"/>
                  </a:lnTo>
                  <a:lnTo>
                    <a:pt x="208" y="0"/>
                  </a:lnTo>
                  <a:lnTo>
                    <a:pt x="206" y="0"/>
                  </a:lnTo>
                  <a:lnTo>
                    <a:pt x="204" y="0"/>
                  </a:lnTo>
                  <a:lnTo>
                    <a:pt x="198" y="2"/>
                  </a:lnTo>
                  <a:lnTo>
                    <a:pt x="194" y="2"/>
                  </a:lnTo>
                  <a:lnTo>
                    <a:pt x="192" y="4"/>
                  </a:lnTo>
                  <a:lnTo>
                    <a:pt x="190" y="4"/>
                  </a:lnTo>
                  <a:lnTo>
                    <a:pt x="188" y="4"/>
                  </a:lnTo>
                  <a:lnTo>
                    <a:pt x="188" y="2"/>
                  </a:lnTo>
                  <a:lnTo>
                    <a:pt x="184" y="2"/>
                  </a:lnTo>
                  <a:lnTo>
                    <a:pt x="182" y="2"/>
                  </a:lnTo>
                  <a:lnTo>
                    <a:pt x="180" y="0"/>
                  </a:lnTo>
                  <a:lnTo>
                    <a:pt x="180" y="0"/>
                  </a:lnTo>
                  <a:lnTo>
                    <a:pt x="178" y="0"/>
                  </a:lnTo>
                  <a:lnTo>
                    <a:pt x="178" y="0"/>
                  </a:lnTo>
                  <a:lnTo>
                    <a:pt x="178" y="2"/>
                  </a:lnTo>
                  <a:lnTo>
                    <a:pt x="178" y="2"/>
                  </a:lnTo>
                  <a:lnTo>
                    <a:pt x="176" y="2"/>
                  </a:lnTo>
                  <a:lnTo>
                    <a:pt x="176" y="4"/>
                  </a:lnTo>
                  <a:lnTo>
                    <a:pt x="176" y="6"/>
                  </a:lnTo>
                  <a:lnTo>
                    <a:pt x="176" y="6"/>
                  </a:lnTo>
                  <a:lnTo>
                    <a:pt x="176" y="6"/>
                  </a:lnTo>
                  <a:lnTo>
                    <a:pt x="176" y="8"/>
                  </a:lnTo>
                  <a:lnTo>
                    <a:pt x="174" y="8"/>
                  </a:lnTo>
                  <a:lnTo>
                    <a:pt x="174" y="8"/>
                  </a:lnTo>
                  <a:lnTo>
                    <a:pt x="172" y="8"/>
                  </a:lnTo>
                  <a:lnTo>
                    <a:pt x="170" y="8"/>
                  </a:lnTo>
                  <a:lnTo>
                    <a:pt x="168" y="10"/>
                  </a:lnTo>
                  <a:lnTo>
                    <a:pt x="166" y="8"/>
                  </a:lnTo>
                  <a:lnTo>
                    <a:pt x="162" y="8"/>
                  </a:lnTo>
                  <a:lnTo>
                    <a:pt x="156" y="8"/>
                  </a:lnTo>
                  <a:lnTo>
                    <a:pt x="154" y="8"/>
                  </a:lnTo>
                  <a:lnTo>
                    <a:pt x="152" y="8"/>
                  </a:lnTo>
                  <a:lnTo>
                    <a:pt x="150" y="8"/>
                  </a:lnTo>
                  <a:lnTo>
                    <a:pt x="148" y="8"/>
                  </a:lnTo>
                  <a:lnTo>
                    <a:pt x="148" y="10"/>
                  </a:lnTo>
                  <a:lnTo>
                    <a:pt x="146" y="10"/>
                  </a:lnTo>
                  <a:lnTo>
                    <a:pt x="146" y="10"/>
                  </a:lnTo>
                  <a:lnTo>
                    <a:pt x="146" y="12"/>
                  </a:lnTo>
                  <a:lnTo>
                    <a:pt x="146" y="14"/>
                  </a:lnTo>
                  <a:lnTo>
                    <a:pt x="144" y="16"/>
                  </a:lnTo>
                  <a:lnTo>
                    <a:pt x="144" y="16"/>
                  </a:lnTo>
                  <a:lnTo>
                    <a:pt x="144" y="16"/>
                  </a:lnTo>
                  <a:lnTo>
                    <a:pt x="144" y="16"/>
                  </a:lnTo>
                  <a:lnTo>
                    <a:pt x="142" y="18"/>
                  </a:lnTo>
                  <a:lnTo>
                    <a:pt x="140" y="18"/>
                  </a:lnTo>
                  <a:lnTo>
                    <a:pt x="138" y="18"/>
                  </a:lnTo>
                  <a:lnTo>
                    <a:pt x="138" y="20"/>
                  </a:lnTo>
                  <a:lnTo>
                    <a:pt x="136" y="20"/>
                  </a:lnTo>
                  <a:lnTo>
                    <a:pt x="132" y="20"/>
                  </a:lnTo>
                  <a:lnTo>
                    <a:pt x="128" y="20"/>
                  </a:lnTo>
                  <a:lnTo>
                    <a:pt x="126" y="20"/>
                  </a:lnTo>
                  <a:lnTo>
                    <a:pt x="124" y="20"/>
                  </a:lnTo>
                  <a:lnTo>
                    <a:pt x="122" y="20"/>
                  </a:lnTo>
                  <a:lnTo>
                    <a:pt x="122" y="20"/>
                  </a:lnTo>
                  <a:lnTo>
                    <a:pt x="120" y="20"/>
                  </a:lnTo>
                  <a:lnTo>
                    <a:pt x="118" y="18"/>
                  </a:lnTo>
                  <a:lnTo>
                    <a:pt x="118" y="18"/>
                  </a:lnTo>
                  <a:lnTo>
                    <a:pt x="118" y="18"/>
                  </a:lnTo>
                  <a:lnTo>
                    <a:pt x="118" y="16"/>
                  </a:lnTo>
                  <a:lnTo>
                    <a:pt x="116" y="16"/>
                  </a:lnTo>
                  <a:lnTo>
                    <a:pt x="116" y="14"/>
                  </a:lnTo>
                  <a:lnTo>
                    <a:pt x="116" y="12"/>
                  </a:lnTo>
                  <a:lnTo>
                    <a:pt x="114" y="10"/>
                  </a:lnTo>
                  <a:lnTo>
                    <a:pt x="114" y="8"/>
                  </a:lnTo>
                  <a:lnTo>
                    <a:pt x="114" y="8"/>
                  </a:lnTo>
                  <a:lnTo>
                    <a:pt x="112" y="8"/>
                  </a:lnTo>
                  <a:lnTo>
                    <a:pt x="110" y="6"/>
                  </a:lnTo>
                  <a:lnTo>
                    <a:pt x="110" y="6"/>
                  </a:lnTo>
                  <a:lnTo>
                    <a:pt x="108" y="6"/>
                  </a:lnTo>
                  <a:lnTo>
                    <a:pt x="106" y="6"/>
                  </a:lnTo>
                  <a:lnTo>
                    <a:pt x="106" y="4"/>
                  </a:lnTo>
                  <a:lnTo>
                    <a:pt x="104" y="6"/>
                  </a:lnTo>
                  <a:lnTo>
                    <a:pt x="104" y="6"/>
                  </a:lnTo>
                  <a:lnTo>
                    <a:pt x="104" y="6"/>
                  </a:lnTo>
                  <a:lnTo>
                    <a:pt x="102" y="6"/>
                  </a:lnTo>
                  <a:lnTo>
                    <a:pt x="102" y="8"/>
                  </a:lnTo>
                  <a:lnTo>
                    <a:pt x="102" y="8"/>
                  </a:lnTo>
                  <a:lnTo>
                    <a:pt x="100" y="12"/>
                  </a:lnTo>
                  <a:lnTo>
                    <a:pt x="100" y="12"/>
                  </a:lnTo>
                  <a:lnTo>
                    <a:pt x="98" y="14"/>
                  </a:lnTo>
                  <a:lnTo>
                    <a:pt x="96" y="14"/>
                  </a:lnTo>
                  <a:lnTo>
                    <a:pt x="94" y="16"/>
                  </a:lnTo>
                  <a:lnTo>
                    <a:pt x="92" y="16"/>
                  </a:lnTo>
                  <a:lnTo>
                    <a:pt x="92" y="16"/>
                  </a:lnTo>
                  <a:lnTo>
                    <a:pt x="88" y="20"/>
                  </a:lnTo>
                  <a:lnTo>
                    <a:pt x="86" y="22"/>
                  </a:lnTo>
                  <a:lnTo>
                    <a:pt x="86" y="22"/>
                  </a:lnTo>
                  <a:lnTo>
                    <a:pt x="90" y="22"/>
                  </a:lnTo>
                  <a:lnTo>
                    <a:pt x="92" y="22"/>
                  </a:lnTo>
                  <a:lnTo>
                    <a:pt x="94" y="24"/>
                  </a:lnTo>
                  <a:lnTo>
                    <a:pt x="94" y="24"/>
                  </a:lnTo>
                  <a:lnTo>
                    <a:pt x="94" y="24"/>
                  </a:lnTo>
                  <a:lnTo>
                    <a:pt x="94" y="24"/>
                  </a:lnTo>
                  <a:lnTo>
                    <a:pt x="96" y="26"/>
                  </a:lnTo>
                  <a:lnTo>
                    <a:pt x="96" y="26"/>
                  </a:lnTo>
                  <a:lnTo>
                    <a:pt x="96" y="28"/>
                  </a:lnTo>
                  <a:lnTo>
                    <a:pt x="96" y="28"/>
                  </a:lnTo>
                  <a:lnTo>
                    <a:pt x="96" y="32"/>
                  </a:lnTo>
                  <a:lnTo>
                    <a:pt x="94" y="34"/>
                  </a:lnTo>
                  <a:lnTo>
                    <a:pt x="94" y="36"/>
                  </a:lnTo>
                  <a:lnTo>
                    <a:pt x="94" y="40"/>
                  </a:lnTo>
                  <a:lnTo>
                    <a:pt x="92" y="42"/>
                  </a:lnTo>
                  <a:lnTo>
                    <a:pt x="92" y="44"/>
                  </a:lnTo>
                  <a:lnTo>
                    <a:pt x="90" y="44"/>
                  </a:lnTo>
                  <a:lnTo>
                    <a:pt x="90" y="44"/>
                  </a:lnTo>
                  <a:lnTo>
                    <a:pt x="90" y="46"/>
                  </a:lnTo>
                  <a:lnTo>
                    <a:pt x="88" y="46"/>
                  </a:lnTo>
                  <a:lnTo>
                    <a:pt x="88" y="46"/>
                  </a:lnTo>
                  <a:lnTo>
                    <a:pt x="86" y="48"/>
                  </a:lnTo>
                  <a:lnTo>
                    <a:pt x="86" y="50"/>
                  </a:lnTo>
                  <a:lnTo>
                    <a:pt x="86" y="52"/>
                  </a:lnTo>
                  <a:lnTo>
                    <a:pt x="86" y="54"/>
                  </a:lnTo>
                  <a:lnTo>
                    <a:pt x="84" y="58"/>
                  </a:lnTo>
                  <a:lnTo>
                    <a:pt x="84" y="60"/>
                  </a:lnTo>
                  <a:lnTo>
                    <a:pt x="86" y="64"/>
                  </a:lnTo>
                  <a:lnTo>
                    <a:pt x="86" y="70"/>
                  </a:lnTo>
                  <a:lnTo>
                    <a:pt x="86" y="76"/>
                  </a:lnTo>
                  <a:lnTo>
                    <a:pt x="86" y="82"/>
                  </a:lnTo>
                  <a:lnTo>
                    <a:pt x="86" y="86"/>
                  </a:lnTo>
                  <a:lnTo>
                    <a:pt x="86" y="88"/>
                  </a:lnTo>
                  <a:lnTo>
                    <a:pt x="86" y="90"/>
                  </a:lnTo>
                  <a:lnTo>
                    <a:pt x="86" y="94"/>
                  </a:lnTo>
                  <a:lnTo>
                    <a:pt x="84" y="94"/>
                  </a:lnTo>
                  <a:lnTo>
                    <a:pt x="84" y="96"/>
                  </a:lnTo>
                  <a:lnTo>
                    <a:pt x="82" y="98"/>
                  </a:lnTo>
                  <a:lnTo>
                    <a:pt x="82" y="100"/>
                  </a:lnTo>
                  <a:lnTo>
                    <a:pt x="82" y="100"/>
                  </a:lnTo>
                  <a:lnTo>
                    <a:pt x="80" y="102"/>
                  </a:lnTo>
                  <a:lnTo>
                    <a:pt x="78" y="104"/>
                  </a:lnTo>
                  <a:lnTo>
                    <a:pt x="76" y="104"/>
                  </a:lnTo>
                  <a:lnTo>
                    <a:pt x="76" y="106"/>
                  </a:lnTo>
                  <a:lnTo>
                    <a:pt x="76" y="106"/>
                  </a:lnTo>
                  <a:lnTo>
                    <a:pt x="76" y="108"/>
                  </a:lnTo>
                  <a:lnTo>
                    <a:pt x="76" y="110"/>
                  </a:lnTo>
                  <a:lnTo>
                    <a:pt x="76" y="114"/>
                  </a:lnTo>
                  <a:lnTo>
                    <a:pt x="76" y="116"/>
                  </a:lnTo>
                  <a:lnTo>
                    <a:pt x="76" y="118"/>
                  </a:lnTo>
                  <a:lnTo>
                    <a:pt x="76" y="122"/>
                  </a:lnTo>
                  <a:lnTo>
                    <a:pt x="76" y="122"/>
                  </a:lnTo>
                  <a:lnTo>
                    <a:pt x="76" y="124"/>
                  </a:lnTo>
                  <a:lnTo>
                    <a:pt x="74" y="124"/>
                  </a:lnTo>
                  <a:lnTo>
                    <a:pt x="74" y="126"/>
                  </a:lnTo>
                  <a:lnTo>
                    <a:pt x="74" y="126"/>
                  </a:lnTo>
                  <a:lnTo>
                    <a:pt x="74" y="126"/>
                  </a:lnTo>
                  <a:lnTo>
                    <a:pt x="72" y="126"/>
                  </a:lnTo>
                  <a:lnTo>
                    <a:pt x="70" y="126"/>
                  </a:lnTo>
                  <a:lnTo>
                    <a:pt x="68" y="126"/>
                  </a:lnTo>
                  <a:lnTo>
                    <a:pt x="66" y="126"/>
                  </a:lnTo>
                  <a:lnTo>
                    <a:pt x="66" y="126"/>
                  </a:lnTo>
                  <a:lnTo>
                    <a:pt x="64" y="126"/>
                  </a:lnTo>
                  <a:lnTo>
                    <a:pt x="64" y="126"/>
                  </a:lnTo>
                  <a:lnTo>
                    <a:pt x="64" y="126"/>
                  </a:lnTo>
                  <a:lnTo>
                    <a:pt x="62" y="128"/>
                  </a:lnTo>
                  <a:lnTo>
                    <a:pt x="62" y="128"/>
                  </a:lnTo>
                  <a:lnTo>
                    <a:pt x="62" y="130"/>
                  </a:lnTo>
                  <a:lnTo>
                    <a:pt x="62" y="132"/>
                  </a:lnTo>
                  <a:lnTo>
                    <a:pt x="62" y="132"/>
                  </a:lnTo>
                  <a:lnTo>
                    <a:pt x="62" y="134"/>
                  </a:lnTo>
                  <a:lnTo>
                    <a:pt x="62" y="138"/>
                  </a:lnTo>
                  <a:lnTo>
                    <a:pt x="62" y="142"/>
                  </a:lnTo>
                  <a:lnTo>
                    <a:pt x="62" y="144"/>
                  </a:lnTo>
                  <a:lnTo>
                    <a:pt x="62" y="146"/>
                  </a:lnTo>
                  <a:lnTo>
                    <a:pt x="62" y="148"/>
                  </a:lnTo>
                  <a:lnTo>
                    <a:pt x="62" y="148"/>
                  </a:lnTo>
                  <a:lnTo>
                    <a:pt x="62" y="150"/>
                  </a:lnTo>
                  <a:lnTo>
                    <a:pt x="62" y="150"/>
                  </a:lnTo>
                  <a:lnTo>
                    <a:pt x="60" y="150"/>
                  </a:lnTo>
                  <a:lnTo>
                    <a:pt x="60" y="152"/>
                  </a:lnTo>
                  <a:lnTo>
                    <a:pt x="58" y="152"/>
                  </a:lnTo>
                  <a:lnTo>
                    <a:pt x="56" y="152"/>
                  </a:lnTo>
                  <a:lnTo>
                    <a:pt x="54" y="154"/>
                  </a:lnTo>
                  <a:lnTo>
                    <a:pt x="52" y="154"/>
                  </a:lnTo>
                  <a:lnTo>
                    <a:pt x="50" y="154"/>
                  </a:lnTo>
                  <a:lnTo>
                    <a:pt x="48" y="156"/>
                  </a:lnTo>
                  <a:lnTo>
                    <a:pt x="46" y="156"/>
                  </a:lnTo>
                  <a:lnTo>
                    <a:pt x="46" y="156"/>
                  </a:lnTo>
                  <a:lnTo>
                    <a:pt x="46" y="156"/>
                  </a:lnTo>
                  <a:lnTo>
                    <a:pt x="46" y="158"/>
                  </a:lnTo>
                  <a:lnTo>
                    <a:pt x="44" y="158"/>
                  </a:lnTo>
                  <a:lnTo>
                    <a:pt x="44" y="160"/>
                  </a:lnTo>
                  <a:lnTo>
                    <a:pt x="44" y="160"/>
                  </a:lnTo>
                  <a:lnTo>
                    <a:pt x="42" y="162"/>
                  </a:lnTo>
                  <a:lnTo>
                    <a:pt x="42" y="162"/>
                  </a:lnTo>
                  <a:lnTo>
                    <a:pt x="40" y="162"/>
                  </a:lnTo>
                  <a:lnTo>
                    <a:pt x="38" y="162"/>
                  </a:lnTo>
                  <a:lnTo>
                    <a:pt x="38" y="162"/>
                  </a:lnTo>
                  <a:lnTo>
                    <a:pt x="36" y="162"/>
                  </a:lnTo>
                  <a:lnTo>
                    <a:pt x="34" y="162"/>
                  </a:lnTo>
                  <a:lnTo>
                    <a:pt x="32" y="162"/>
                  </a:lnTo>
                  <a:lnTo>
                    <a:pt x="30" y="160"/>
                  </a:lnTo>
                  <a:lnTo>
                    <a:pt x="30" y="160"/>
                  </a:lnTo>
                  <a:lnTo>
                    <a:pt x="28" y="158"/>
                  </a:lnTo>
                  <a:lnTo>
                    <a:pt x="26" y="158"/>
                  </a:lnTo>
                  <a:lnTo>
                    <a:pt x="24" y="156"/>
                  </a:lnTo>
                  <a:lnTo>
                    <a:pt x="24" y="156"/>
                  </a:lnTo>
                  <a:lnTo>
                    <a:pt x="22" y="156"/>
                  </a:lnTo>
                  <a:lnTo>
                    <a:pt x="22" y="158"/>
                  </a:lnTo>
                  <a:lnTo>
                    <a:pt x="20" y="158"/>
                  </a:lnTo>
                  <a:lnTo>
                    <a:pt x="20" y="158"/>
                  </a:lnTo>
                  <a:lnTo>
                    <a:pt x="16" y="160"/>
                  </a:lnTo>
                  <a:lnTo>
                    <a:pt x="14" y="162"/>
                  </a:lnTo>
                  <a:lnTo>
                    <a:pt x="10" y="162"/>
                  </a:lnTo>
                  <a:lnTo>
                    <a:pt x="8" y="164"/>
                  </a:lnTo>
                  <a:lnTo>
                    <a:pt x="6" y="164"/>
                  </a:lnTo>
                  <a:lnTo>
                    <a:pt x="4" y="166"/>
                  </a:lnTo>
                  <a:lnTo>
                    <a:pt x="0" y="166"/>
                  </a:lnTo>
                  <a:lnTo>
                    <a:pt x="4" y="172"/>
                  </a:lnTo>
                  <a:lnTo>
                    <a:pt x="4" y="172"/>
                  </a:lnTo>
                  <a:lnTo>
                    <a:pt x="6" y="172"/>
                  </a:lnTo>
                  <a:lnTo>
                    <a:pt x="6" y="172"/>
                  </a:lnTo>
                  <a:lnTo>
                    <a:pt x="6" y="17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9" name="Freeform 397">
              <a:extLst>
                <a:ext uri="{FF2B5EF4-FFF2-40B4-BE49-F238E27FC236}">
                  <a16:creationId xmlns:a16="http://schemas.microsoft.com/office/drawing/2014/main" id="{FDD6F173-5831-4A63-AA50-426185CEA33C}"/>
                </a:ext>
              </a:extLst>
            </p:cNvPr>
            <p:cNvSpPr>
              <a:spLocks/>
            </p:cNvSpPr>
            <p:nvPr/>
          </p:nvSpPr>
          <p:spPr bwMode="auto">
            <a:xfrm>
              <a:off x="4570593" y="4504181"/>
              <a:ext cx="488445" cy="543872"/>
            </a:xfrm>
            <a:custGeom>
              <a:avLst/>
              <a:gdLst>
                <a:gd name="T0" fmla="*/ 0 w 282"/>
                <a:gd name="T1" fmla="*/ 176 h 314"/>
                <a:gd name="T2" fmla="*/ 26 w 282"/>
                <a:gd name="T3" fmla="*/ 186 h 314"/>
                <a:gd name="T4" fmla="*/ 56 w 282"/>
                <a:gd name="T5" fmla="*/ 178 h 314"/>
                <a:gd name="T6" fmla="*/ 72 w 282"/>
                <a:gd name="T7" fmla="*/ 188 h 314"/>
                <a:gd name="T8" fmla="*/ 76 w 282"/>
                <a:gd name="T9" fmla="*/ 208 h 314"/>
                <a:gd name="T10" fmla="*/ 82 w 282"/>
                <a:gd name="T11" fmla="*/ 218 h 314"/>
                <a:gd name="T12" fmla="*/ 96 w 282"/>
                <a:gd name="T13" fmla="*/ 222 h 314"/>
                <a:gd name="T14" fmla="*/ 110 w 282"/>
                <a:gd name="T15" fmla="*/ 216 h 314"/>
                <a:gd name="T16" fmla="*/ 112 w 282"/>
                <a:gd name="T17" fmla="*/ 200 h 314"/>
                <a:gd name="T18" fmla="*/ 120 w 282"/>
                <a:gd name="T19" fmla="*/ 200 h 314"/>
                <a:gd name="T20" fmla="*/ 126 w 282"/>
                <a:gd name="T21" fmla="*/ 214 h 314"/>
                <a:gd name="T22" fmla="*/ 140 w 282"/>
                <a:gd name="T23" fmla="*/ 208 h 314"/>
                <a:gd name="T24" fmla="*/ 146 w 282"/>
                <a:gd name="T25" fmla="*/ 232 h 314"/>
                <a:gd name="T26" fmla="*/ 150 w 282"/>
                <a:gd name="T27" fmla="*/ 264 h 314"/>
                <a:gd name="T28" fmla="*/ 170 w 282"/>
                <a:gd name="T29" fmla="*/ 268 h 314"/>
                <a:gd name="T30" fmla="*/ 190 w 282"/>
                <a:gd name="T31" fmla="*/ 272 h 314"/>
                <a:gd name="T32" fmla="*/ 196 w 282"/>
                <a:gd name="T33" fmla="*/ 288 h 314"/>
                <a:gd name="T34" fmla="*/ 204 w 282"/>
                <a:gd name="T35" fmla="*/ 280 h 314"/>
                <a:gd name="T36" fmla="*/ 216 w 282"/>
                <a:gd name="T37" fmla="*/ 276 h 314"/>
                <a:gd name="T38" fmla="*/ 222 w 282"/>
                <a:gd name="T39" fmla="*/ 286 h 314"/>
                <a:gd name="T40" fmla="*/ 230 w 282"/>
                <a:gd name="T41" fmla="*/ 300 h 314"/>
                <a:gd name="T42" fmla="*/ 244 w 282"/>
                <a:gd name="T43" fmla="*/ 314 h 314"/>
                <a:gd name="T44" fmla="*/ 256 w 282"/>
                <a:gd name="T45" fmla="*/ 304 h 314"/>
                <a:gd name="T46" fmla="*/ 254 w 282"/>
                <a:gd name="T47" fmla="*/ 284 h 314"/>
                <a:gd name="T48" fmla="*/ 240 w 282"/>
                <a:gd name="T49" fmla="*/ 280 h 314"/>
                <a:gd name="T50" fmla="*/ 238 w 282"/>
                <a:gd name="T51" fmla="*/ 254 h 314"/>
                <a:gd name="T52" fmla="*/ 250 w 282"/>
                <a:gd name="T53" fmla="*/ 222 h 314"/>
                <a:gd name="T54" fmla="*/ 262 w 282"/>
                <a:gd name="T55" fmla="*/ 208 h 314"/>
                <a:gd name="T56" fmla="*/ 258 w 282"/>
                <a:gd name="T57" fmla="*/ 178 h 314"/>
                <a:gd name="T58" fmla="*/ 256 w 282"/>
                <a:gd name="T59" fmla="*/ 154 h 314"/>
                <a:gd name="T60" fmla="*/ 248 w 282"/>
                <a:gd name="T61" fmla="*/ 136 h 314"/>
                <a:gd name="T62" fmla="*/ 240 w 282"/>
                <a:gd name="T63" fmla="*/ 130 h 314"/>
                <a:gd name="T64" fmla="*/ 246 w 282"/>
                <a:gd name="T65" fmla="*/ 118 h 314"/>
                <a:gd name="T66" fmla="*/ 244 w 282"/>
                <a:gd name="T67" fmla="*/ 108 h 314"/>
                <a:gd name="T68" fmla="*/ 254 w 282"/>
                <a:gd name="T69" fmla="*/ 82 h 314"/>
                <a:gd name="T70" fmla="*/ 262 w 282"/>
                <a:gd name="T71" fmla="*/ 66 h 314"/>
                <a:gd name="T72" fmla="*/ 282 w 282"/>
                <a:gd name="T73" fmla="*/ 56 h 314"/>
                <a:gd name="T74" fmla="*/ 276 w 282"/>
                <a:gd name="T75" fmla="*/ 48 h 314"/>
                <a:gd name="T76" fmla="*/ 272 w 282"/>
                <a:gd name="T77" fmla="*/ 42 h 314"/>
                <a:gd name="T78" fmla="*/ 264 w 282"/>
                <a:gd name="T79" fmla="*/ 20 h 314"/>
                <a:gd name="T80" fmla="*/ 250 w 282"/>
                <a:gd name="T81" fmla="*/ 10 h 314"/>
                <a:gd name="T82" fmla="*/ 222 w 282"/>
                <a:gd name="T83" fmla="*/ 8 h 314"/>
                <a:gd name="T84" fmla="*/ 208 w 282"/>
                <a:gd name="T85" fmla="*/ 0 h 314"/>
                <a:gd name="T86" fmla="*/ 182 w 282"/>
                <a:gd name="T87" fmla="*/ 2 h 314"/>
                <a:gd name="T88" fmla="*/ 176 w 282"/>
                <a:gd name="T89" fmla="*/ 6 h 314"/>
                <a:gd name="T90" fmla="*/ 152 w 282"/>
                <a:gd name="T91" fmla="*/ 8 h 314"/>
                <a:gd name="T92" fmla="*/ 144 w 282"/>
                <a:gd name="T93" fmla="*/ 16 h 314"/>
                <a:gd name="T94" fmla="*/ 122 w 282"/>
                <a:gd name="T95" fmla="*/ 20 h 314"/>
                <a:gd name="T96" fmla="*/ 114 w 282"/>
                <a:gd name="T97" fmla="*/ 8 h 314"/>
                <a:gd name="T98" fmla="*/ 102 w 282"/>
                <a:gd name="T99" fmla="*/ 8 h 314"/>
                <a:gd name="T100" fmla="*/ 86 w 282"/>
                <a:gd name="T101" fmla="*/ 22 h 314"/>
                <a:gd name="T102" fmla="*/ 96 w 282"/>
                <a:gd name="T103" fmla="*/ 32 h 314"/>
                <a:gd name="T104" fmla="*/ 86 w 282"/>
                <a:gd name="T105" fmla="*/ 48 h 314"/>
                <a:gd name="T106" fmla="*/ 86 w 282"/>
                <a:gd name="T107" fmla="*/ 88 h 314"/>
                <a:gd name="T108" fmla="*/ 76 w 282"/>
                <a:gd name="T109" fmla="*/ 106 h 314"/>
                <a:gd name="T110" fmla="*/ 74 w 282"/>
                <a:gd name="T111" fmla="*/ 126 h 314"/>
                <a:gd name="T112" fmla="*/ 62 w 282"/>
                <a:gd name="T113" fmla="*/ 128 h 314"/>
                <a:gd name="T114" fmla="*/ 62 w 282"/>
                <a:gd name="T115" fmla="*/ 148 h 314"/>
                <a:gd name="T116" fmla="*/ 46 w 282"/>
                <a:gd name="T117" fmla="*/ 156 h 314"/>
                <a:gd name="T118" fmla="*/ 38 w 282"/>
                <a:gd name="T119" fmla="*/ 162 h 314"/>
                <a:gd name="T120" fmla="*/ 22 w 282"/>
                <a:gd name="T121" fmla="*/ 158 h 314"/>
                <a:gd name="T122" fmla="*/ 4 w 282"/>
                <a:gd name="T123" fmla="*/ 17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314">
                  <a:moveTo>
                    <a:pt x="6" y="172"/>
                  </a:moveTo>
                  <a:lnTo>
                    <a:pt x="6" y="172"/>
                  </a:lnTo>
                  <a:lnTo>
                    <a:pt x="6" y="172"/>
                  </a:lnTo>
                  <a:lnTo>
                    <a:pt x="6" y="172"/>
                  </a:lnTo>
                  <a:lnTo>
                    <a:pt x="6" y="174"/>
                  </a:lnTo>
                  <a:lnTo>
                    <a:pt x="4" y="174"/>
                  </a:lnTo>
                  <a:lnTo>
                    <a:pt x="4" y="174"/>
                  </a:lnTo>
                  <a:lnTo>
                    <a:pt x="2" y="174"/>
                  </a:lnTo>
                  <a:lnTo>
                    <a:pt x="2" y="176"/>
                  </a:lnTo>
                  <a:lnTo>
                    <a:pt x="0" y="176"/>
                  </a:lnTo>
                  <a:lnTo>
                    <a:pt x="0" y="176"/>
                  </a:lnTo>
                  <a:lnTo>
                    <a:pt x="0" y="178"/>
                  </a:lnTo>
                  <a:lnTo>
                    <a:pt x="0" y="180"/>
                  </a:lnTo>
                  <a:lnTo>
                    <a:pt x="0" y="182"/>
                  </a:lnTo>
                  <a:lnTo>
                    <a:pt x="2" y="182"/>
                  </a:lnTo>
                  <a:lnTo>
                    <a:pt x="4" y="184"/>
                  </a:lnTo>
                  <a:lnTo>
                    <a:pt x="6" y="184"/>
                  </a:lnTo>
                  <a:lnTo>
                    <a:pt x="12" y="184"/>
                  </a:lnTo>
                  <a:lnTo>
                    <a:pt x="16" y="184"/>
                  </a:lnTo>
                  <a:lnTo>
                    <a:pt x="20" y="186"/>
                  </a:lnTo>
                  <a:lnTo>
                    <a:pt x="22" y="186"/>
                  </a:lnTo>
                  <a:lnTo>
                    <a:pt x="26" y="186"/>
                  </a:lnTo>
                  <a:lnTo>
                    <a:pt x="28" y="184"/>
                  </a:lnTo>
                  <a:lnTo>
                    <a:pt x="28" y="184"/>
                  </a:lnTo>
                  <a:lnTo>
                    <a:pt x="30" y="184"/>
                  </a:lnTo>
                  <a:lnTo>
                    <a:pt x="34" y="182"/>
                  </a:lnTo>
                  <a:lnTo>
                    <a:pt x="38" y="180"/>
                  </a:lnTo>
                  <a:lnTo>
                    <a:pt x="40" y="180"/>
                  </a:lnTo>
                  <a:lnTo>
                    <a:pt x="42" y="180"/>
                  </a:lnTo>
                  <a:lnTo>
                    <a:pt x="46" y="180"/>
                  </a:lnTo>
                  <a:lnTo>
                    <a:pt x="48" y="178"/>
                  </a:lnTo>
                  <a:lnTo>
                    <a:pt x="52" y="178"/>
                  </a:lnTo>
                  <a:lnTo>
                    <a:pt x="56" y="178"/>
                  </a:lnTo>
                  <a:lnTo>
                    <a:pt x="60" y="180"/>
                  </a:lnTo>
                  <a:lnTo>
                    <a:pt x="62" y="180"/>
                  </a:lnTo>
                  <a:lnTo>
                    <a:pt x="64" y="180"/>
                  </a:lnTo>
                  <a:lnTo>
                    <a:pt x="66" y="180"/>
                  </a:lnTo>
                  <a:lnTo>
                    <a:pt x="66" y="182"/>
                  </a:lnTo>
                  <a:lnTo>
                    <a:pt x="68" y="182"/>
                  </a:lnTo>
                  <a:lnTo>
                    <a:pt x="70" y="182"/>
                  </a:lnTo>
                  <a:lnTo>
                    <a:pt x="70" y="184"/>
                  </a:lnTo>
                  <a:lnTo>
                    <a:pt x="70" y="184"/>
                  </a:lnTo>
                  <a:lnTo>
                    <a:pt x="72" y="186"/>
                  </a:lnTo>
                  <a:lnTo>
                    <a:pt x="72" y="188"/>
                  </a:lnTo>
                  <a:lnTo>
                    <a:pt x="72" y="190"/>
                  </a:lnTo>
                  <a:lnTo>
                    <a:pt x="72" y="190"/>
                  </a:lnTo>
                  <a:lnTo>
                    <a:pt x="72" y="194"/>
                  </a:lnTo>
                  <a:lnTo>
                    <a:pt x="72" y="198"/>
                  </a:lnTo>
                  <a:lnTo>
                    <a:pt x="72" y="202"/>
                  </a:lnTo>
                  <a:lnTo>
                    <a:pt x="74" y="204"/>
                  </a:lnTo>
                  <a:lnTo>
                    <a:pt x="74" y="204"/>
                  </a:lnTo>
                  <a:lnTo>
                    <a:pt x="74" y="206"/>
                  </a:lnTo>
                  <a:lnTo>
                    <a:pt x="74" y="206"/>
                  </a:lnTo>
                  <a:lnTo>
                    <a:pt x="76" y="208"/>
                  </a:lnTo>
                  <a:lnTo>
                    <a:pt x="76" y="208"/>
                  </a:lnTo>
                  <a:lnTo>
                    <a:pt x="78" y="208"/>
                  </a:lnTo>
                  <a:lnTo>
                    <a:pt x="80" y="208"/>
                  </a:lnTo>
                  <a:lnTo>
                    <a:pt x="80" y="210"/>
                  </a:lnTo>
                  <a:lnTo>
                    <a:pt x="82" y="210"/>
                  </a:lnTo>
                  <a:lnTo>
                    <a:pt x="82" y="210"/>
                  </a:lnTo>
                  <a:lnTo>
                    <a:pt x="82" y="210"/>
                  </a:lnTo>
                  <a:lnTo>
                    <a:pt x="82" y="212"/>
                  </a:lnTo>
                  <a:lnTo>
                    <a:pt x="82" y="212"/>
                  </a:lnTo>
                  <a:lnTo>
                    <a:pt x="82" y="214"/>
                  </a:lnTo>
                  <a:lnTo>
                    <a:pt x="82" y="216"/>
                  </a:lnTo>
                  <a:lnTo>
                    <a:pt x="82" y="218"/>
                  </a:lnTo>
                  <a:lnTo>
                    <a:pt x="82" y="218"/>
                  </a:lnTo>
                  <a:lnTo>
                    <a:pt x="82" y="218"/>
                  </a:lnTo>
                  <a:lnTo>
                    <a:pt x="82" y="218"/>
                  </a:lnTo>
                  <a:lnTo>
                    <a:pt x="84" y="220"/>
                  </a:lnTo>
                  <a:lnTo>
                    <a:pt x="84" y="220"/>
                  </a:lnTo>
                  <a:lnTo>
                    <a:pt x="86" y="220"/>
                  </a:lnTo>
                  <a:lnTo>
                    <a:pt x="88" y="222"/>
                  </a:lnTo>
                  <a:lnTo>
                    <a:pt x="90" y="222"/>
                  </a:lnTo>
                  <a:lnTo>
                    <a:pt x="92" y="222"/>
                  </a:lnTo>
                  <a:lnTo>
                    <a:pt x="94" y="222"/>
                  </a:lnTo>
                  <a:lnTo>
                    <a:pt x="96" y="222"/>
                  </a:lnTo>
                  <a:lnTo>
                    <a:pt x="98" y="222"/>
                  </a:lnTo>
                  <a:lnTo>
                    <a:pt x="100" y="222"/>
                  </a:lnTo>
                  <a:lnTo>
                    <a:pt x="102" y="222"/>
                  </a:lnTo>
                  <a:lnTo>
                    <a:pt x="102" y="220"/>
                  </a:lnTo>
                  <a:lnTo>
                    <a:pt x="104" y="220"/>
                  </a:lnTo>
                  <a:lnTo>
                    <a:pt x="106" y="220"/>
                  </a:lnTo>
                  <a:lnTo>
                    <a:pt x="108" y="220"/>
                  </a:lnTo>
                  <a:lnTo>
                    <a:pt x="108" y="218"/>
                  </a:lnTo>
                  <a:lnTo>
                    <a:pt x="108" y="218"/>
                  </a:lnTo>
                  <a:lnTo>
                    <a:pt x="110" y="218"/>
                  </a:lnTo>
                  <a:lnTo>
                    <a:pt x="110" y="216"/>
                  </a:lnTo>
                  <a:lnTo>
                    <a:pt x="110" y="216"/>
                  </a:lnTo>
                  <a:lnTo>
                    <a:pt x="110" y="212"/>
                  </a:lnTo>
                  <a:lnTo>
                    <a:pt x="110" y="210"/>
                  </a:lnTo>
                  <a:lnTo>
                    <a:pt x="110" y="208"/>
                  </a:lnTo>
                  <a:lnTo>
                    <a:pt x="108" y="206"/>
                  </a:lnTo>
                  <a:lnTo>
                    <a:pt x="110" y="204"/>
                  </a:lnTo>
                  <a:lnTo>
                    <a:pt x="110" y="202"/>
                  </a:lnTo>
                  <a:lnTo>
                    <a:pt x="110" y="202"/>
                  </a:lnTo>
                  <a:lnTo>
                    <a:pt x="110" y="202"/>
                  </a:lnTo>
                  <a:lnTo>
                    <a:pt x="110" y="200"/>
                  </a:lnTo>
                  <a:lnTo>
                    <a:pt x="112" y="200"/>
                  </a:lnTo>
                  <a:lnTo>
                    <a:pt x="112" y="198"/>
                  </a:lnTo>
                  <a:lnTo>
                    <a:pt x="114" y="198"/>
                  </a:lnTo>
                  <a:lnTo>
                    <a:pt x="114" y="196"/>
                  </a:lnTo>
                  <a:lnTo>
                    <a:pt x="116" y="196"/>
                  </a:lnTo>
                  <a:lnTo>
                    <a:pt x="116" y="196"/>
                  </a:lnTo>
                  <a:lnTo>
                    <a:pt x="116" y="196"/>
                  </a:lnTo>
                  <a:lnTo>
                    <a:pt x="118" y="196"/>
                  </a:lnTo>
                  <a:lnTo>
                    <a:pt x="118" y="198"/>
                  </a:lnTo>
                  <a:lnTo>
                    <a:pt x="118" y="198"/>
                  </a:lnTo>
                  <a:lnTo>
                    <a:pt x="118" y="200"/>
                  </a:lnTo>
                  <a:lnTo>
                    <a:pt x="120" y="200"/>
                  </a:lnTo>
                  <a:lnTo>
                    <a:pt x="120" y="202"/>
                  </a:lnTo>
                  <a:lnTo>
                    <a:pt x="120" y="206"/>
                  </a:lnTo>
                  <a:lnTo>
                    <a:pt x="120" y="208"/>
                  </a:lnTo>
                  <a:lnTo>
                    <a:pt x="122" y="210"/>
                  </a:lnTo>
                  <a:lnTo>
                    <a:pt x="122" y="212"/>
                  </a:lnTo>
                  <a:lnTo>
                    <a:pt x="122" y="212"/>
                  </a:lnTo>
                  <a:lnTo>
                    <a:pt x="124" y="214"/>
                  </a:lnTo>
                  <a:lnTo>
                    <a:pt x="124" y="214"/>
                  </a:lnTo>
                  <a:lnTo>
                    <a:pt x="124" y="214"/>
                  </a:lnTo>
                  <a:lnTo>
                    <a:pt x="124" y="214"/>
                  </a:lnTo>
                  <a:lnTo>
                    <a:pt x="126" y="214"/>
                  </a:lnTo>
                  <a:lnTo>
                    <a:pt x="126" y="212"/>
                  </a:lnTo>
                  <a:lnTo>
                    <a:pt x="128" y="212"/>
                  </a:lnTo>
                  <a:lnTo>
                    <a:pt x="128" y="210"/>
                  </a:lnTo>
                  <a:lnTo>
                    <a:pt x="130" y="210"/>
                  </a:lnTo>
                  <a:lnTo>
                    <a:pt x="130" y="210"/>
                  </a:lnTo>
                  <a:lnTo>
                    <a:pt x="132" y="208"/>
                  </a:lnTo>
                  <a:lnTo>
                    <a:pt x="134" y="208"/>
                  </a:lnTo>
                  <a:lnTo>
                    <a:pt x="136" y="208"/>
                  </a:lnTo>
                  <a:lnTo>
                    <a:pt x="138" y="208"/>
                  </a:lnTo>
                  <a:lnTo>
                    <a:pt x="138" y="208"/>
                  </a:lnTo>
                  <a:lnTo>
                    <a:pt x="140" y="208"/>
                  </a:lnTo>
                  <a:lnTo>
                    <a:pt x="140" y="208"/>
                  </a:lnTo>
                  <a:lnTo>
                    <a:pt x="142" y="210"/>
                  </a:lnTo>
                  <a:lnTo>
                    <a:pt x="142" y="210"/>
                  </a:lnTo>
                  <a:lnTo>
                    <a:pt x="144" y="212"/>
                  </a:lnTo>
                  <a:lnTo>
                    <a:pt x="144" y="214"/>
                  </a:lnTo>
                  <a:lnTo>
                    <a:pt x="146" y="216"/>
                  </a:lnTo>
                  <a:lnTo>
                    <a:pt x="146" y="218"/>
                  </a:lnTo>
                  <a:lnTo>
                    <a:pt x="146" y="220"/>
                  </a:lnTo>
                  <a:lnTo>
                    <a:pt x="146" y="224"/>
                  </a:lnTo>
                  <a:lnTo>
                    <a:pt x="146" y="228"/>
                  </a:lnTo>
                  <a:lnTo>
                    <a:pt x="146" y="232"/>
                  </a:lnTo>
                  <a:lnTo>
                    <a:pt x="146" y="242"/>
                  </a:lnTo>
                  <a:lnTo>
                    <a:pt x="146" y="250"/>
                  </a:lnTo>
                  <a:lnTo>
                    <a:pt x="146" y="252"/>
                  </a:lnTo>
                  <a:lnTo>
                    <a:pt x="146" y="256"/>
                  </a:lnTo>
                  <a:lnTo>
                    <a:pt x="146" y="256"/>
                  </a:lnTo>
                  <a:lnTo>
                    <a:pt x="146" y="258"/>
                  </a:lnTo>
                  <a:lnTo>
                    <a:pt x="146" y="260"/>
                  </a:lnTo>
                  <a:lnTo>
                    <a:pt x="146" y="262"/>
                  </a:lnTo>
                  <a:lnTo>
                    <a:pt x="148" y="262"/>
                  </a:lnTo>
                  <a:lnTo>
                    <a:pt x="148" y="264"/>
                  </a:lnTo>
                  <a:lnTo>
                    <a:pt x="150" y="264"/>
                  </a:lnTo>
                  <a:lnTo>
                    <a:pt x="150" y="266"/>
                  </a:lnTo>
                  <a:lnTo>
                    <a:pt x="152" y="266"/>
                  </a:lnTo>
                  <a:lnTo>
                    <a:pt x="152" y="268"/>
                  </a:lnTo>
                  <a:lnTo>
                    <a:pt x="154" y="268"/>
                  </a:lnTo>
                  <a:lnTo>
                    <a:pt x="156" y="268"/>
                  </a:lnTo>
                  <a:lnTo>
                    <a:pt x="156" y="268"/>
                  </a:lnTo>
                  <a:lnTo>
                    <a:pt x="158" y="270"/>
                  </a:lnTo>
                  <a:lnTo>
                    <a:pt x="160" y="270"/>
                  </a:lnTo>
                  <a:lnTo>
                    <a:pt x="162" y="270"/>
                  </a:lnTo>
                  <a:lnTo>
                    <a:pt x="166" y="270"/>
                  </a:lnTo>
                  <a:lnTo>
                    <a:pt x="170" y="268"/>
                  </a:lnTo>
                  <a:lnTo>
                    <a:pt x="172" y="268"/>
                  </a:lnTo>
                  <a:lnTo>
                    <a:pt x="174" y="268"/>
                  </a:lnTo>
                  <a:lnTo>
                    <a:pt x="180" y="268"/>
                  </a:lnTo>
                  <a:lnTo>
                    <a:pt x="182" y="268"/>
                  </a:lnTo>
                  <a:lnTo>
                    <a:pt x="184" y="270"/>
                  </a:lnTo>
                  <a:lnTo>
                    <a:pt x="186" y="270"/>
                  </a:lnTo>
                  <a:lnTo>
                    <a:pt x="188" y="270"/>
                  </a:lnTo>
                  <a:lnTo>
                    <a:pt x="188" y="270"/>
                  </a:lnTo>
                  <a:lnTo>
                    <a:pt x="188" y="272"/>
                  </a:lnTo>
                  <a:lnTo>
                    <a:pt x="188" y="272"/>
                  </a:lnTo>
                  <a:lnTo>
                    <a:pt x="190" y="272"/>
                  </a:lnTo>
                  <a:lnTo>
                    <a:pt x="190" y="274"/>
                  </a:lnTo>
                  <a:lnTo>
                    <a:pt x="190" y="276"/>
                  </a:lnTo>
                  <a:lnTo>
                    <a:pt x="190" y="278"/>
                  </a:lnTo>
                  <a:lnTo>
                    <a:pt x="190" y="280"/>
                  </a:lnTo>
                  <a:lnTo>
                    <a:pt x="192" y="282"/>
                  </a:lnTo>
                  <a:lnTo>
                    <a:pt x="192" y="284"/>
                  </a:lnTo>
                  <a:lnTo>
                    <a:pt x="192" y="286"/>
                  </a:lnTo>
                  <a:lnTo>
                    <a:pt x="192" y="286"/>
                  </a:lnTo>
                  <a:lnTo>
                    <a:pt x="192" y="286"/>
                  </a:lnTo>
                  <a:lnTo>
                    <a:pt x="194" y="286"/>
                  </a:lnTo>
                  <a:lnTo>
                    <a:pt x="196" y="288"/>
                  </a:lnTo>
                  <a:lnTo>
                    <a:pt x="196" y="288"/>
                  </a:lnTo>
                  <a:lnTo>
                    <a:pt x="198" y="288"/>
                  </a:lnTo>
                  <a:lnTo>
                    <a:pt x="198" y="288"/>
                  </a:lnTo>
                  <a:lnTo>
                    <a:pt x="200" y="288"/>
                  </a:lnTo>
                  <a:lnTo>
                    <a:pt x="200" y="288"/>
                  </a:lnTo>
                  <a:lnTo>
                    <a:pt x="200" y="288"/>
                  </a:lnTo>
                  <a:lnTo>
                    <a:pt x="200" y="286"/>
                  </a:lnTo>
                  <a:lnTo>
                    <a:pt x="202" y="286"/>
                  </a:lnTo>
                  <a:lnTo>
                    <a:pt x="202" y="284"/>
                  </a:lnTo>
                  <a:lnTo>
                    <a:pt x="202" y="282"/>
                  </a:lnTo>
                  <a:lnTo>
                    <a:pt x="204" y="280"/>
                  </a:lnTo>
                  <a:lnTo>
                    <a:pt x="204" y="280"/>
                  </a:lnTo>
                  <a:lnTo>
                    <a:pt x="204" y="280"/>
                  </a:lnTo>
                  <a:lnTo>
                    <a:pt x="204" y="278"/>
                  </a:lnTo>
                  <a:lnTo>
                    <a:pt x="206" y="278"/>
                  </a:lnTo>
                  <a:lnTo>
                    <a:pt x="208" y="278"/>
                  </a:lnTo>
                  <a:lnTo>
                    <a:pt x="210" y="276"/>
                  </a:lnTo>
                  <a:lnTo>
                    <a:pt x="212" y="276"/>
                  </a:lnTo>
                  <a:lnTo>
                    <a:pt x="212" y="276"/>
                  </a:lnTo>
                  <a:lnTo>
                    <a:pt x="214" y="276"/>
                  </a:lnTo>
                  <a:lnTo>
                    <a:pt x="214" y="276"/>
                  </a:lnTo>
                  <a:lnTo>
                    <a:pt x="216" y="276"/>
                  </a:lnTo>
                  <a:lnTo>
                    <a:pt x="216" y="278"/>
                  </a:lnTo>
                  <a:lnTo>
                    <a:pt x="216" y="278"/>
                  </a:lnTo>
                  <a:lnTo>
                    <a:pt x="216" y="280"/>
                  </a:lnTo>
                  <a:lnTo>
                    <a:pt x="216" y="282"/>
                  </a:lnTo>
                  <a:lnTo>
                    <a:pt x="216" y="282"/>
                  </a:lnTo>
                  <a:lnTo>
                    <a:pt x="218" y="282"/>
                  </a:lnTo>
                  <a:lnTo>
                    <a:pt x="218" y="284"/>
                  </a:lnTo>
                  <a:lnTo>
                    <a:pt x="218" y="284"/>
                  </a:lnTo>
                  <a:lnTo>
                    <a:pt x="220" y="284"/>
                  </a:lnTo>
                  <a:lnTo>
                    <a:pt x="220" y="284"/>
                  </a:lnTo>
                  <a:lnTo>
                    <a:pt x="222" y="286"/>
                  </a:lnTo>
                  <a:lnTo>
                    <a:pt x="224" y="286"/>
                  </a:lnTo>
                  <a:lnTo>
                    <a:pt x="226" y="288"/>
                  </a:lnTo>
                  <a:lnTo>
                    <a:pt x="228" y="288"/>
                  </a:lnTo>
                  <a:lnTo>
                    <a:pt x="228" y="288"/>
                  </a:lnTo>
                  <a:lnTo>
                    <a:pt x="228" y="288"/>
                  </a:lnTo>
                  <a:lnTo>
                    <a:pt x="228" y="290"/>
                  </a:lnTo>
                  <a:lnTo>
                    <a:pt x="228" y="290"/>
                  </a:lnTo>
                  <a:lnTo>
                    <a:pt x="230" y="292"/>
                  </a:lnTo>
                  <a:lnTo>
                    <a:pt x="230" y="294"/>
                  </a:lnTo>
                  <a:lnTo>
                    <a:pt x="230" y="296"/>
                  </a:lnTo>
                  <a:lnTo>
                    <a:pt x="230" y="300"/>
                  </a:lnTo>
                  <a:lnTo>
                    <a:pt x="230" y="302"/>
                  </a:lnTo>
                  <a:lnTo>
                    <a:pt x="232" y="304"/>
                  </a:lnTo>
                  <a:lnTo>
                    <a:pt x="232" y="306"/>
                  </a:lnTo>
                  <a:lnTo>
                    <a:pt x="234" y="308"/>
                  </a:lnTo>
                  <a:lnTo>
                    <a:pt x="236" y="310"/>
                  </a:lnTo>
                  <a:lnTo>
                    <a:pt x="236" y="310"/>
                  </a:lnTo>
                  <a:lnTo>
                    <a:pt x="236" y="312"/>
                  </a:lnTo>
                  <a:lnTo>
                    <a:pt x="238" y="312"/>
                  </a:lnTo>
                  <a:lnTo>
                    <a:pt x="240" y="312"/>
                  </a:lnTo>
                  <a:lnTo>
                    <a:pt x="242" y="314"/>
                  </a:lnTo>
                  <a:lnTo>
                    <a:pt x="244" y="314"/>
                  </a:lnTo>
                  <a:lnTo>
                    <a:pt x="246" y="314"/>
                  </a:lnTo>
                  <a:lnTo>
                    <a:pt x="248" y="314"/>
                  </a:lnTo>
                  <a:lnTo>
                    <a:pt x="250" y="312"/>
                  </a:lnTo>
                  <a:lnTo>
                    <a:pt x="252" y="312"/>
                  </a:lnTo>
                  <a:lnTo>
                    <a:pt x="252" y="312"/>
                  </a:lnTo>
                  <a:lnTo>
                    <a:pt x="254" y="312"/>
                  </a:lnTo>
                  <a:lnTo>
                    <a:pt x="254" y="310"/>
                  </a:lnTo>
                  <a:lnTo>
                    <a:pt x="254" y="310"/>
                  </a:lnTo>
                  <a:lnTo>
                    <a:pt x="256" y="308"/>
                  </a:lnTo>
                  <a:lnTo>
                    <a:pt x="256" y="308"/>
                  </a:lnTo>
                  <a:lnTo>
                    <a:pt x="256" y="304"/>
                  </a:lnTo>
                  <a:lnTo>
                    <a:pt x="258" y="302"/>
                  </a:lnTo>
                  <a:lnTo>
                    <a:pt x="258" y="300"/>
                  </a:lnTo>
                  <a:lnTo>
                    <a:pt x="258" y="298"/>
                  </a:lnTo>
                  <a:lnTo>
                    <a:pt x="258" y="296"/>
                  </a:lnTo>
                  <a:lnTo>
                    <a:pt x="258" y="292"/>
                  </a:lnTo>
                  <a:lnTo>
                    <a:pt x="258" y="290"/>
                  </a:lnTo>
                  <a:lnTo>
                    <a:pt x="256" y="288"/>
                  </a:lnTo>
                  <a:lnTo>
                    <a:pt x="256" y="286"/>
                  </a:lnTo>
                  <a:lnTo>
                    <a:pt x="256" y="286"/>
                  </a:lnTo>
                  <a:lnTo>
                    <a:pt x="256" y="286"/>
                  </a:lnTo>
                  <a:lnTo>
                    <a:pt x="254" y="284"/>
                  </a:lnTo>
                  <a:lnTo>
                    <a:pt x="254" y="284"/>
                  </a:lnTo>
                  <a:lnTo>
                    <a:pt x="254" y="284"/>
                  </a:lnTo>
                  <a:lnTo>
                    <a:pt x="252" y="284"/>
                  </a:lnTo>
                  <a:lnTo>
                    <a:pt x="252" y="284"/>
                  </a:lnTo>
                  <a:lnTo>
                    <a:pt x="250" y="284"/>
                  </a:lnTo>
                  <a:lnTo>
                    <a:pt x="246" y="284"/>
                  </a:lnTo>
                  <a:lnTo>
                    <a:pt x="246" y="284"/>
                  </a:lnTo>
                  <a:lnTo>
                    <a:pt x="244" y="284"/>
                  </a:lnTo>
                  <a:lnTo>
                    <a:pt x="244" y="282"/>
                  </a:lnTo>
                  <a:lnTo>
                    <a:pt x="242" y="282"/>
                  </a:lnTo>
                  <a:lnTo>
                    <a:pt x="240" y="280"/>
                  </a:lnTo>
                  <a:lnTo>
                    <a:pt x="240" y="278"/>
                  </a:lnTo>
                  <a:lnTo>
                    <a:pt x="238" y="278"/>
                  </a:lnTo>
                  <a:lnTo>
                    <a:pt x="238" y="276"/>
                  </a:lnTo>
                  <a:lnTo>
                    <a:pt x="238" y="274"/>
                  </a:lnTo>
                  <a:lnTo>
                    <a:pt x="238" y="272"/>
                  </a:lnTo>
                  <a:lnTo>
                    <a:pt x="236" y="270"/>
                  </a:lnTo>
                  <a:lnTo>
                    <a:pt x="236" y="268"/>
                  </a:lnTo>
                  <a:lnTo>
                    <a:pt x="236" y="264"/>
                  </a:lnTo>
                  <a:lnTo>
                    <a:pt x="236" y="262"/>
                  </a:lnTo>
                  <a:lnTo>
                    <a:pt x="238" y="258"/>
                  </a:lnTo>
                  <a:lnTo>
                    <a:pt x="238" y="254"/>
                  </a:lnTo>
                  <a:lnTo>
                    <a:pt x="238" y="248"/>
                  </a:lnTo>
                  <a:lnTo>
                    <a:pt x="240" y="242"/>
                  </a:lnTo>
                  <a:lnTo>
                    <a:pt x="240" y="238"/>
                  </a:lnTo>
                  <a:lnTo>
                    <a:pt x="242" y="232"/>
                  </a:lnTo>
                  <a:lnTo>
                    <a:pt x="244" y="230"/>
                  </a:lnTo>
                  <a:lnTo>
                    <a:pt x="244" y="228"/>
                  </a:lnTo>
                  <a:lnTo>
                    <a:pt x="246" y="224"/>
                  </a:lnTo>
                  <a:lnTo>
                    <a:pt x="246" y="224"/>
                  </a:lnTo>
                  <a:lnTo>
                    <a:pt x="248" y="222"/>
                  </a:lnTo>
                  <a:lnTo>
                    <a:pt x="248" y="222"/>
                  </a:lnTo>
                  <a:lnTo>
                    <a:pt x="250" y="222"/>
                  </a:lnTo>
                  <a:lnTo>
                    <a:pt x="254" y="220"/>
                  </a:lnTo>
                  <a:lnTo>
                    <a:pt x="256" y="220"/>
                  </a:lnTo>
                  <a:lnTo>
                    <a:pt x="256" y="220"/>
                  </a:lnTo>
                  <a:lnTo>
                    <a:pt x="258" y="218"/>
                  </a:lnTo>
                  <a:lnTo>
                    <a:pt x="258" y="218"/>
                  </a:lnTo>
                  <a:lnTo>
                    <a:pt x="260" y="218"/>
                  </a:lnTo>
                  <a:lnTo>
                    <a:pt x="260" y="216"/>
                  </a:lnTo>
                  <a:lnTo>
                    <a:pt x="260" y="216"/>
                  </a:lnTo>
                  <a:lnTo>
                    <a:pt x="260" y="212"/>
                  </a:lnTo>
                  <a:lnTo>
                    <a:pt x="262" y="210"/>
                  </a:lnTo>
                  <a:lnTo>
                    <a:pt x="262" y="208"/>
                  </a:lnTo>
                  <a:lnTo>
                    <a:pt x="262" y="206"/>
                  </a:lnTo>
                  <a:lnTo>
                    <a:pt x="262" y="204"/>
                  </a:lnTo>
                  <a:lnTo>
                    <a:pt x="262" y="202"/>
                  </a:lnTo>
                  <a:lnTo>
                    <a:pt x="262" y="200"/>
                  </a:lnTo>
                  <a:lnTo>
                    <a:pt x="262" y="196"/>
                  </a:lnTo>
                  <a:lnTo>
                    <a:pt x="262" y="194"/>
                  </a:lnTo>
                  <a:lnTo>
                    <a:pt x="262" y="192"/>
                  </a:lnTo>
                  <a:lnTo>
                    <a:pt x="260" y="190"/>
                  </a:lnTo>
                  <a:lnTo>
                    <a:pt x="260" y="186"/>
                  </a:lnTo>
                  <a:lnTo>
                    <a:pt x="258" y="182"/>
                  </a:lnTo>
                  <a:lnTo>
                    <a:pt x="258" y="178"/>
                  </a:lnTo>
                  <a:lnTo>
                    <a:pt x="256" y="176"/>
                  </a:lnTo>
                  <a:lnTo>
                    <a:pt x="256" y="174"/>
                  </a:lnTo>
                  <a:lnTo>
                    <a:pt x="256" y="172"/>
                  </a:lnTo>
                  <a:lnTo>
                    <a:pt x="256" y="172"/>
                  </a:lnTo>
                  <a:lnTo>
                    <a:pt x="256" y="168"/>
                  </a:lnTo>
                  <a:lnTo>
                    <a:pt x="258" y="164"/>
                  </a:lnTo>
                  <a:lnTo>
                    <a:pt x="258" y="162"/>
                  </a:lnTo>
                  <a:lnTo>
                    <a:pt x="258" y="160"/>
                  </a:lnTo>
                  <a:lnTo>
                    <a:pt x="256" y="160"/>
                  </a:lnTo>
                  <a:lnTo>
                    <a:pt x="256" y="158"/>
                  </a:lnTo>
                  <a:lnTo>
                    <a:pt x="256" y="154"/>
                  </a:lnTo>
                  <a:lnTo>
                    <a:pt x="254" y="150"/>
                  </a:lnTo>
                  <a:lnTo>
                    <a:pt x="252" y="150"/>
                  </a:lnTo>
                  <a:lnTo>
                    <a:pt x="250" y="148"/>
                  </a:lnTo>
                  <a:lnTo>
                    <a:pt x="248" y="146"/>
                  </a:lnTo>
                  <a:lnTo>
                    <a:pt x="248" y="146"/>
                  </a:lnTo>
                  <a:lnTo>
                    <a:pt x="248" y="146"/>
                  </a:lnTo>
                  <a:lnTo>
                    <a:pt x="248" y="144"/>
                  </a:lnTo>
                  <a:lnTo>
                    <a:pt x="248" y="144"/>
                  </a:lnTo>
                  <a:lnTo>
                    <a:pt x="248" y="142"/>
                  </a:lnTo>
                  <a:lnTo>
                    <a:pt x="248" y="138"/>
                  </a:lnTo>
                  <a:lnTo>
                    <a:pt x="248" y="136"/>
                  </a:lnTo>
                  <a:lnTo>
                    <a:pt x="250" y="132"/>
                  </a:lnTo>
                  <a:lnTo>
                    <a:pt x="250" y="130"/>
                  </a:lnTo>
                  <a:lnTo>
                    <a:pt x="250" y="130"/>
                  </a:lnTo>
                  <a:lnTo>
                    <a:pt x="246" y="130"/>
                  </a:lnTo>
                  <a:lnTo>
                    <a:pt x="244" y="132"/>
                  </a:lnTo>
                  <a:lnTo>
                    <a:pt x="244" y="132"/>
                  </a:lnTo>
                  <a:lnTo>
                    <a:pt x="242" y="132"/>
                  </a:lnTo>
                  <a:lnTo>
                    <a:pt x="242" y="132"/>
                  </a:lnTo>
                  <a:lnTo>
                    <a:pt x="242" y="130"/>
                  </a:lnTo>
                  <a:lnTo>
                    <a:pt x="240" y="130"/>
                  </a:lnTo>
                  <a:lnTo>
                    <a:pt x="240" y="130"/>
                  </a:lnTo>
                  <a:lnTo>
                    <a:pt x="240" y="128"/>
                  </a:lnTo>
                  <a:lnTo>
                    <a:pt x="240" y="126"/>
                  </a:lnTo>
                  <a:lnTo>
                    <a:pt x="240" y="126"/>
                  </a:lnTo>
                  <a:lnTo>
                    <a:pt x="240" y="124"/>
                  </a:lnTo>
                  <a:lnTo>
                    <a:pt x="240" y="124"/>
                  </a:lnTo>
                  <a:lnTo>
                    <a:pt x="240" y="122"/>
                  </a:lnTo>
                  <a:lnTo>
                    <a:pt x="242" y="122"/>
                  </a:lnTo>
                  <a:lnTo>
                    <a:pt x="242" y="120"/>
                  </a:lnTo>
                  <a:lnTo>
                    <a:pt x="244" y="120"/>
                  </a:lnTo>
                  <a:lnTo>
                    <a:pt x="246" y="118"/>
                  </a:lnTo>
                  <a:lnTo>
                    <a:pt x="246" y="118"/>
                  </a:lnTo>
                  <a:lnTo>
                    <a:pt x="246" y="118"/>
                  </a:lnTo>
                  <a:lnTo>
                    <a:pt x="246" y="116"/>
                  </a:lnTo>
                  <a:lnTo>
                    <a:pt x="246" y="116"/>
                  </a:lnTo>
                  <a:lnTo>
                    <a:pt x="246" y="114"/>
                  </a:lnTo>
                  <a:lnTo>
                    <a:pt x="246" y="114"/>
                  </a:lnTo>
                  <a:lnTo>
                    <a:pt x="246" y="112"/>
                  </a:lnTo>
                  <a:lnTo>
                    <a:pt x="244" y="110"/>
                  </a:lnTo>
                  <a:lnTo>
                    <a:pt x="244" y="110"/>
                  </a:lnTo>
                  <a:lnTo>
                    <a:pt x="244" y="108"/>
                  </a:lnTo>
                  <a:lnTo>
                    <a:pt x="244" y="108"/>
                  </a:lnTo>
                  <a:lnTo>
                    <a:pt x="244" y="108"/>
                  </a:lnTo>
                  <a:lnTo>
                    <a:pt x="244" y="108"/>
                  </a:lnTo>
                  <a:lnTo>
                    <a:pt x="246" y="106"/>
                  </a:lnTo>
                  <a:lnTo>
                    <a:pt x="246" y="106"/>
                  </a:lnTo>
                  <a:lnTo>
                    <a:pt x="248" y="106"/>
                  </a:lnTo>
                  <a:lnTo>
                    <a:pt x="250" y="104"/>
                  </a:lnTo>
                  <a:lnTo>
                    <a:pt x="252" y="104"/>
                  </a:lnTo>
                  <a:lnTo>
                    <a:pt x="254" y="104"/>
                  </a:lnTo>
                  <a:lnTo>
                    <a:pt x="254" y="98"/>
                  </a:lnTo>
                  <a:lnTo>
                    <a:pt x="254" y="94"/>
                  </a:lnTo>
                  <a:lnTo>
                    <a:pt x="254" y="88"/>
                  </a:lnTo>
                  <a:lnTo>
                    <a:pt x="254" y="82"/>
                  </a:lnTo>
                  <a:lnTo>
                    <a:pt x="254" y="80"/>
                  </a:lnTo>
                  <a:lnTo>
                    <a:pt x="254" y="76"/>
                  </a:lnTo>
                  <a:lnTo>
                    <a:pt x="254" y="74"/>
                  </a:lnTo>
                  <a:lnTo>
                    <a:pt x="256" y="72"/>
                  </a:lnTo>
                  <a:lnTo>
                    <a:pt x="256" y="70"/>
                  </a:lnTo>
                  <a:lnTo>
                    <a:pt x="256" y="68"/>
                  </a:lnTo>
                  <a:lnTo>
                    <a:pt x="258" y="68"/>
                  </a:lnTo>
                  <a:lnTo>
                    <a:pt x="258" y="68"/>
                  </a:lnTo>
                  <a:lnTo>
                    <a:pt x="258" y="66"/>
                  </a:lnTo>
                  <a:lnTo>
                    <a:pt x="260" y="66"/>
                  </a:lnTo>
                  <a:lnTo>
                    <a:pt x="262" y="66"/>
                  </a:lnTo>
                  <a:lnTo>
                    <a:pt x="264" y="64"/>
                  </a:lnTo>
                  <a:lnTo>
                    <a:pt x="268" y="64"/>
                  </a:lnTo>
                  <a:lnTo>
                    <a:pt x="270" y="62"/>
                  </a:lnTo>
                  <a:lnTo>
                    <a:pt x="272" y="62"/>
                  </a:lnTo>
                  <a:lnTo>
                    <a:pt x="276" y="60"/>
                  </a:lnTo>
                  <a:lnTo>
                    <a:pt x="278" y="60"/>
                  </a:lnTo>
                  <a:lnTo>
                    <a:pt x="280" y="60"/>
                  </a:lnTo>
                  <a:lnTo>
                    <a:pt x="280" y="58"/>
                  </a:lnTo>
                  <a:lnTo>
                    <a:pt x="280" y="58"/>
                  </a:lnTo>
                  <a:lnTo>
                    <a:pt x="282" y="58"/>
                  </a:lnTo>
                  <a:lnTo>
                    <a:pt x="282" y="56"/>
                  </a:lnTo>
                  <a:lnTo>
                    <a:pt x="282" y="54"/>
                  </a:lnTo>
                  <a:lnTo>
                    <a:pt x="282" y="54"/>
                  </a:lnTo>
                  <a:lnTo>
                    <a:pt x="282" y="52"/>
                  </a:lnTo>
                  <a:lnTo>
                    <a:pt x="282" y="50"/>
                  </a:lnTo>
                  <a:lnTo>
                    <a:pt x="282" y="50"/>
                  </a:lnTo>
                  <a:lnTo>
                    <a:pt x="282" y="50"/>
                  </a:lnTo>
                  <a:lnTo>
                    <a:pt x="282" y="48"/>
                  </a:lnTo>
                  <a:lnTo>
                    <a:pt x="280" y="48"/>
                  </a:lnTo>
                  <a:lnTo>
                    <a:pt x="280" y="48"/>
                  </a:lnTo>
                  <a:lnTo>
                    <a:pt x="278" y="48"/>
                  </a:lnTo>
                  <a:lnTo>
                    <a:pt x="276" y="48"/>
                  </a:lnTo>
                  <a:lnTo>
                    <a:pt x="276" y="48"/>
                  </a:lnTo>
                  <a:lnTo>
                    <a:pt x="274" y="48"/>
                  </a:lnTo>
                  <a:lnTo>
                    <a:pt x="274" y="48"/>
                  </a:lnTo>
                  <a:lnTo>
                    <a:pt x="272" y="48"/>
                  </a:lnTo>
                  <a:lnTo>
                    <a:pt x="272" y="48"/>
                  </a:lnTo>
                  <a:lnTo>
                    <a:pt x="272" y="48"/>
                  </a:lnTo>
                  <a:lnTo>
                    <a:pt x="272" y="46"/>
                  </a:lnTo>
                  <a:lnTo>
                    <a:pt x="272" y="46"/>
                  </a:lnTo>
                  <a:lnTo>
                    <a:pt x="272" y="44"/>
                  </a:lnTo>
                  <a:lnTo>
                    <a:pt x="272" y="42"/>
                  </a:lnTo>
                  <a:lnTo>
                    <a:pt x="272" y="42"/>
                  </a:lnTo>
                  <a:lnTo>
                    <a:pt x="272" y="40"/>
                  </a:lnTo>
                  <a:lnTo>
                    <a:pt x="272" y="36"/>
                  </a:lnTo>
                  <a:lnTo>
                    <a:pt x="270" y="30"/>
                  </a:lnTo>
                  <a:lnTo>
                    <a:pt x="270" y="24"/>
                  </a:lnTo>
                  <a:lnTo>
                    <a:pt x="268" y="22"/>
                  </a:lnTo>
                  <a:lnTo>
                    <a:pt x="268" y="22"/>
                  </a:lnTo>
                  <a:lnTo>
                    <a:pt x="268" y="20"/>
                  </a:lnTo>
                  <a:lnTo>
                    <a:pt x="268" y="20"/>
                  </a:lnTo>
                  <a:lnTo>
                    <a:pt x="266" y="20"/>
                  </a:lnTo>
                  <a:lnTo>
                    <a:pt x="266" y="20"/>
                  </a:lnTo>
                  <a:lnTo>
                    <a:pt x="264" y="20"/>
                  </a:lnTo>
                  <a:lnTo>
                    <a:pt x="262" y="20"/>
                  </a:lnTo>
                  <a:lnTo>
                    <a:pt x="260" y="18"/>
                  </a:lnTo>
                  <a:lnTo>
                    <a:pt x="260" y="18"/>
                  </a:lnTo>
                  <a:lnTo>
                    <a:pt x="258" y="18"/>
                  </a:lnTo>
                  <a:lnTo>
                    <a:pt x="258" y="16"/>
                  </a:lnTo>
                  <a:lnTo>
                    <a:pt x="256" y="14"/>
                  </a:lnTo>
                  <a:lnTo>
                    <a:pt x="256" y="12"/>
                  </a:lnTo>
                  <a:lnTo>
                    <a:pt x="254" y="12"/>
                  </a:lnTo>
                  <a:lnTo>
                    <a:pt x="254" y="10"/>
                  </a:lnTo>
                  <a:lnTo>
                    <a:pt x="252" y="10"/>
                  </a:lnTo>
                  <a:lnTo>
                    <a:pt x="250" y="10"/>
                  </a:lnTo>
                  <a:lnTo>
                    <a:pt x="248" y="10"/>
                  </a:lnTo>
                  <a:lnTo>
                    <a:pt x="246" y="10"/>
                  </a:lnTo>
                  <a:lnTo>
                    <a:pt x="244" y="10"/>
                  </a:lnTo>
                  <a:lnTo>
                    <a:pt x="242" y="10"/>
                  </a:lnTo>
                  <a:lnTo>
                    <a:pt x="238" y="10"/>
                  </a:lnTo>
                  <a:lnTo>
                    <a:pt x="232" y="10"/>
                  </a:lnTo>
                  <a:lnTo>
                    <a:pt x="230" y="10"/>
                  </a:lnTo>
                  <a:lnTo>
                    <a:pt x="228" y="10"/>
                  </a:lnTo>
                  <a:lnTo>
                    <a:pt x="226" y="10"/>
                  </a:lnTo>
                  <a:lnTo>
                    <a:pt x="224" y="10"/>
                  </a:lnTo>
                  <a:lnTo>
                    <a:pt x="222" y="8"/>
                  </a:lnTo>
                  <a:lnTo>
                    <a:pt x="220" y="8"/>
                  </a:lnTo>
                  <a:lnTo>
                    <a:pt x="220" y="8"/>
                  </a:lnTo>
                  <a:lnTo>
                    <a:pt x="220" y="6"/>
                  </a:lnTo>
                  <a:lnTo>
                    <a:pt x="218" y="4"/>
                  </a:lnTo>
                  <a:lnTo>
                    <a:pt x="216" y="2"/>
                  </a:lnTo>
                  <a:lnTo>
                    <a:pt x="216" y="0"/>
                  </a:lnTo>
                  <a:lnTo>
                    <a:pt x="216" y="0"/>
                  </a:lnTo>
                  <a:lnTo>
                    <a:pt x="214" y="0"/>
                  </a:lnTo>
                  <a:lnTo>
                    <a:pt x="214" y="0"/>
                  </a:lnTo>
                  <a:lnTo>
                    <a:pt x="212" y="0"/>
                  </a:lnTo>
                  <a:lnTo>
                    <a:pt x="208" y="0"/>
                  </a:lnTo>
                  <a:lnTo>
                    <a:pt x="208" y="0"/>
                  </a:lnTo>
                  <a:lnTo>
                    <a:pt x="206" y="0"/>
                  </a:lnTo>
                  <a:lnTo>
                    <a:pt x="204" y="0"/>
                  </a:lnTo>
                  <a:lnTo>
                    <a:pt x="198" y="2"/>
                  </a:lnTo>
                  <a:lnTo>
                    <a:pt x="194" y="2"/>
                  </a:lnTo>
                  <a:lnTo>
                    <a:pt x="192" y="4"/>
                  </a:lnTo>
                  <a:lnTo>
                    <a:pt x="190" y="4"/>
                  </a:lnTo>
                  <a:lnTo>
                    <a:pt x="188" y="4"/>
                  </a:lnTo>
                  <a:lnTo>
                    <a:pt x="188" y="2"/>
                  </a:lnTo>
                  <a:lnTo>
                    <a:pt x="184" y="2"/>
                  </a:lnTo>
                  <a:lnTo>
                    <a:pt x="182" y="2"/>
                  </a:lnTo>
                  <a:lnTo>
                    <a:pt x="180" y="0"/>
                  </a:lnTo>
                  <a:lnTo>
                    <a:pt x="180" y="0"/>
                  </a:lnTo>
                  <a:lnTo>
                    <a:pt x="178" y="0"/>
                  </a:lnTo>
                  <a:lnTo>
                    <a:pt x="178" y="0"/>
                  </a:lnTo>
                  <a:lnTo>
                    <a:pt x="178" y="2"/>
                  </a:lnTo>
                  <a:lnTo>
                    <a:pt x="178" y="2"/>
                  </a:lnTo>
                  <a:lnTo>
                    <a:pt x="176" y="2"/>
                  </a:lnTo>
                  <a:lnTo>
                    <a:pt x="176" y="4"/>
                  </a:lnTo>
                  <a:lnTo>
                    <a:pt x="176" y="6"/>
                  </a:lnTo>
                  <a:lnTo>
                    <a:pt x="176" y="6"/>
                  </a:lnTo>
                  <a:lnTo>
                    <a:pt x="176" y="6"/>
                  </a:lnTo>
                  <a:lnTo>
                    <a:pt x="176" y="8"/>
                  </a:lnTo>
                  <a:lnTo>
                    <a:pt x="174" y="8"/>
                  </a:lnTo>
                  <a:lnTo>
                    <a:pt x="174" y="8"/>
                  </a:lnTo>
                  <a:lnTo>
                    <a:pt x="172" y="8"/>
                  </a:lnTo>
                  <a:lnTo>
                    <a:pt x="170" y="8"/>
                  </a:lnTo>
                  <a:lnTo>
                    <a:pt x="168" y="10"/>
                  </a:lnTo>
                  <a:lnTo>
                    <a:pt x="166" y="8"/>
                  </a:lnTo>
                  <a:lnTo>
                    <a:pt x="162" y="8"/>
                  </a:lnTo>
                  <a:lnTo>
                    <a:pt x="156" y="8"/>
                  </a:lnTo>
                  <a:lnTo>
                    <a:pt x="154" y="8"/>
                  </a:lnTo>
                  <a:lnTo>
                    <a:pt x="152" y="8"/>
                  </a:lnTo>
                  <a:lnTo>
                    <a:pt x="150" y="8"/>
                  </a:lnTo>
                  <a:lnTo>
                    <a:pt x="148" y="8"/>
                  </a:lnTo>
                  <a:lnTo>
                    <a:pt x="148" y="10"/>
                  </a:lnTo>
                  <a:lnTo>
                    <a:pt x="146" y="10"/>
                  </a:lnTo>
                  <a:lnTo>
                    <a:pt x="146" y="10"/>
                  </a:lnTo>
                  <a:lnTo>
                    <a:pt x="146" y="12"/>
                  </a:lnTo>
                  <a:lnTo>
                    <a:pt x="146" y="14"/>
                  </a:lnTo>
                  <a:lnTo>
                    <a:pt x="144" y="16"/>
                  </a:lnTo>
                  <a:lnTo>
                    <a:pt x="144" y="16"/>
                  </a:lnTo>
                  <a:lnTo>
                    <a:pt x="144" y="16"/>
                  </a:lnTo>
                  <a:lnTo>
                    <a:pt x="144" y="16"/>
                  </a:lnTo>
                  <a:lnTo>
                    <a:pt x="142" y="18"/>
                  </a:lnTo>
                  <a:lnTo>
                    <a:pt x="140" y="18"/>
                  </a:lnTo>
                  <a:lnTo>
                    <a:pt x="138" y="18"/>
                  </a:lnTo>
                  <a:lnTo>
                    <a:pt x="138" y="20"/>
                  </a:lnTo>
                  <a:lnTo>
                    <a:pt x="136" y="20"/>
                  </a:lnTo>
                  <a:lnTo>
                    <a:pt x="132" y="20"/>
                  </a:lnTo>
                  <a:lnTo>
                    <a:pt x="128" y="20"/>
                  </a:lnTo>
                  <a:lnTo>
                    <a:pt x="126" y="20"/>
                  </a:lnTo>
                  <a:lnTo>
                    <a:pt x="124" y="20"/>
                  </a:lnTo>
                  <a:lnTo>
                    <a:pt x="122" y="20"/>
                  </a:lnTo>
                  <a:lnTo>
                    <a:pt x="122" y="20"/>
                  </a:lnTo>
                  <a:lnTo>
                    <a:pt x="120" y="20"/>
                  </a:lnTo>
                  <a:lnTo>
                    <a:pt x="118" y="18"/>
                  </a:lnTo>
                  <a:lnTo>
                    <a:pt x="118" y="18"/>
                  </a:lnTo>
                  <a:lnTo>
                    <a:pt x="118" y="18"/>
                  </a:lnTo>
                  <a:lnTo>
                    <a:pt x="118" y="16"/>
                  </a:lnTo>
                  <a:lnTo>
                    <a:pt x="116" y="16"/>
                  </a:lnTo>
                  <a:lnTo>
                    <a:pt x="116" y="14"/>
                  </a:lnTo>
                  <a:lnTo>
                    <a:pt x="116" y="12"/>
                  </a:lnTo>
                  <a:lnTo>
                    <a:pt x="114" y="10"/>
                  </a:lnTo>
                  <a:lnTo>
                    <a:pt x="114" y="8"/>
                  </a:lnTo>
                  <a:lnTo>
                    <a:pt x="114" y="8"/>
                  </a:lnTo>
                  <a:lnTo>
                    <a:pt x="112" y="8"/>
                  </a:lnTo>
                  <a:lnTo>
                    <a:pt x="110" y="6"/>
                  </a:lnTo>
                  <a:lnTo>
                    <a:pt x="110" y="6"/>
                  </a:lnTo>
                  <a:lnTo>
                    <a:pt x="108" y="6"/>
                  </a:lnTo>
                  <a:lnTo>
                    <a:pt x="106" y="6"/>
                  </a:lnTo>
                  <a:lnTo>
                    <a:pt x="106" y="4"/>
                  </a:lnTo>
                  <a:lnTo>
                    <a:pt x="104" y="6"/>
                  </a:lnTo>
                  <a:lnTo>
                    <a:pt x="104" y="6"/>
                  </a:lnTo>
                  <a:lnTo>
                    <a:pt x="104" y="6"/>
                  </a:lnTo>
                  <a:lnTo>
                    <a:pt x="102" y="6"/>
                  </a:lnTo>
                  <a:lnTo>
                    <a:pt x="102" y="8"/>
                  </a:lnTo>
                  <a:lnTo>
                    <a:pt x="102" y="8"/>
                  </a:lnTo>
                  <a:lnTo>
                    <a:pt x="100" y="12"/>
                  </a:lnTo>
                  <a:lnTo>
                    <a:pt x="100" y="12"/>
                  </a:lnTo>
                  <a:lnTo>
                    <a:pt x="98" y="14"/>
                  </a:lnTo>
                  <a:lnTo>
                    <a:pt x="96" y="14"/>
                  </a:lnTo>
                  <a:lnTo>
                    <a:pt x="94" y="16"/>
                  </a:lnTo>
                  <a:lnTo>
                    <a:pt x="92" y="16"/>
                  </a:lnTo>
                  <a:lnTo>
                    <a:pt x="92" y="16"/>
                  </a:lnTo>
                  <a:lnTo>
                    <a:pt x="88" y="20"/>
                  </a:lnTo>
                  <a:lnTo>
                    <a:pt x="86" y="22"/>
                  </a:lnTo>
                  <a:lnTo>
                    <a:pt x="86" y="22"/>
                  </a:lnTo>
                  <a:lnTo>
                    <a:pt x="90" y="22"/>
                  </a:lnTo>
                  <a:lnTo>
                    <a:pt x="92" y="22"/>
                  </a:lnTo>
                  <a:lnTo>
                    <a:pt x="94" y="24"/>
                  </a:lnTo>
                  <a:lnTo>
                    <a:pt x="94" y="24"/>
                  </a:lnTo>
                  <a:lnTo>
                    <a:pt x="94" y="24"/>
                  </a:lnTo>
                  <a:lnTo>
                    <a:pt x="94" y="24"/>
                  </a:lnTo>
                  <a:lnTo>
                    <a:pt x="96" y="26"/>
                  </a:lnTo>
                  <a:lnTo>
                    <a:pt x="96" y="26"/>
                  </a:lnTo>
                  <a:lnTo>
                    <a:pt x="96" y="28"/>
                  </a:lnTo>
                  <a:lnTo>
                    <a:pt x="96" y="28"/>
                  </a:lnTo>
                  <a:lnTo>
                    <a:pt x="96" y="32"/>
                  </a:lnTo>
                  <a:lnTo>
                    <a:pt x="94" y="34"/>
                  </a:lnTo>
                  <a:lnTo>
                    <a:pt x="94" y="36"/>
                  </a:lnTo>
                  <a:lnTo>
                    <a:pt x="94" y="40"/>
                  </a:lnTo>
                  <a:lnTo>
                    <a:pt x="92" y="42"/>
                  </a:lnTo>
                  <a:lnTo>
                    <a:pt x="92" y="44"/>
                  </a:lnTo>
                  <a:lnTo>
                    <a:pt x="90" y="44"/>
                  </a:lnTo>
                  <a:lnTo>
                    <a:pt x="90" y="44"/>
                  </a:lnTo>
                  <a:lnTo>
                    <a:pt x="90" y="46"/>
                  </a:lnTo>
                  <a:lnTo>
                    <a:pt x="88" y="46"/>
                  </a:lnTo>
                  <a:lnTo>
                    <a:pt x="88" y="46"/>
                  </a:lnTo>
                  <a:lnTo>
                    <a:pt x="86" y="48"/>
                  </a:lnTo>
                  <a:lnTo>
                    <a:pt x="86" y="50"/>
                  </a:lnTo>
                  <a:lnTo>
                    <a:pt x="86" y="52"/>
                  </a:lnTo>
                  <a:lnTo>
                    <a:pt x="86" y="54"/>
                  </a:lnTo>
                  <a:lnTo>
                    <a:pt x="84" y="58"/>
                  </a:lnTo>
                  <a:lnTo>
                    <a:pt x="84" y="60"/>
                  </a:lnTo>
                  <a:lnTo>
                    <a:pt x="86" y="64"/>
                  </a:lnTo>
                  <a:lnTo>
                    <a:pt x="86" y="70"/>
                  </a:lnTo>
                  <a:lnTo>
                    <a:pt x="86" y="76"/>
                  </a:lnTo>
                  <a:lnTo>
                    <a:pt x="86" y="82"/>
                  </a:lnTo>
                  <a:lnTo>
                    <a:pt x="86" y="86"/>
                  </a:lnTo>
                  <a:lnTo>
                    <a:pt x="86" y="88"/>
                  </a:lnTo>
                  <a:lnTo>
                    <a:pt x="86" y="90"/>
                  </a:lnTo>
                  <a:lnTo>
                    <a:pt x="86" y="94"/>
                  </a:lnTo>
                  <a:lnTo>
                    <a:pt x="84" y="94"/>
                  </a:lnTo>
                  <a:lnTo>
                    <a:pt x="84" y="96"/>
                  </a:lnTo>
                  <a:lnTo>
                    <a:pt x="82" y="98"/>
                  </a:lnTo>
                  <a:lnTo>
                    <a:pt x="82" y="100"/>
                  </a:lnTo>
                  <a:lnTo>
                    <a:pt x="82" y="100"/>
                  </a:lnTo>
                  <a:lnTo>
                    <a:pt x="80" y="102"/>
                  </a:lnTo>
                  <a:lnTo>
                    <a:pt x="78" y="104"/>
                  </a:lnTo>
                  <a:lnTo>
                    <a:pt x="76" y="104"/>
                  </a:lnTo>
                  <a:lnTo>
                    <a:pt x="76" y="106"/>
                  </a:lnTo>
                  <a:lnTo>
                    <a:pt x="76" y="106"/>
                  </a:lnTo>
                  <a:lnTo>
                    <a:pt x="76" y="108"/>
                  </a:lnTo>
                  <a:lnTo>
                    <a:pt x="76" y="110"/>
                  </a:lnTo>
                  <a:lnTo>
                    <a:pt x="76" y="114"/>
                  </a:lnTo>
                  <a:lnTo>
                    <a:pt x="76" y="116"/>
                  </a:lnTo>
                  <a:lnTo>
                    <a:pt x="76" y="118"/>
                  </a:lnTo>
                  <a:lnTo>
                    <a:pt x="76" y="122"/>
                  </a:lnTo>
                  <a:lnTo>
                    <a:pt x="76" y="122"/>
                  </a:lnTo>
                  <a:lnTo>
                    <a:pt x="76" y="124"/>
                  </a:lnTo>
                  <a:lnTo>
                    <a:pt x="74" y="124"/>
                  </a:lnTo>
                  <a:lnTo>
                    <a:pt x="74" y="126"/>
                  </a:lnTo>
                  <a:lnTo>
                    <a:pt x="74" y="126"/>
                  </a:lnTo>
                  <a:lnTo>
                    <a:pt x="74" y="126"/>
                  </a:lnTo>
                  <a:lnTo>
                    <a:pt x="72" y="126"/>
                  </a:lnTo>
                  <a:lnTo>
                    <a:pt x="70" y="126"/>
                  </a:lnTo>
                  <a:lnTo>
                    <a:pt x="68" y="126"/>
                  </a:lnTo>
                  <a:lnTo>
                    <a:pt x="66" y="126"/>
                  </a:lnTo>
                  <a:lnTo>
                    <a:pt x="66" y="126"/>
                  </a:lnTo>
                  <a:lnTo>
                    <a:pt x="64" y="126"/>
                  </a:lnTo>
                  <a:lnTo>
                    <a:pt x="64" y="126"/>
                  </a:lnTo>
                  <a:lnTo>
                    <a:pt x="64" y="126"/>
                  </a:lnTo>
                  <a:lnTo>
                    <a:pt x="62" y="128"/>
                  </a:lnTo>
                  <a:lnTo>
                    <a:pt x="62" y="128"/>
                  </a:lnTo>
                  <a:lnTo>
                    <a:pt x="62" y="130"/>
                  </a:lnTo>
                  <a:lnTo>
                    <a:pt x="62" y="132"/>
                  </a:lnTo>
                  <a:lnTo>
                    <a:pt x="62" y="132"/>
                  </a:lnTo>
                  <a:lnTo>
                    <a:pt x="62" y="134"/>
                  </a:lnTo>
                  <a:lnTo>
                    <a:pt x="62" y="138"/>
                  </a:lnTo>
                  <a:lnTo>
                    <a:pt x="62" y="142"/>
                  </a:lnTo>
                  <a:lnTo>
                    <a:pt x="62" y="144"/>
                  </a:lnTo>
                  <a:lnTo>
                    <a:pt x="62" y="146"/>
                  </a:lnTo>
                  <a:lnTo>
                    <a:pt x="62" y="148"/>
                  </a:lnTo>
                  <a:lnTo>
                    <a:pt x="62" y="148"/>
                  </a:lnTo>
                  <a:lnTo>
                    <a:pt x="62" y="150"/>
                  </a:lnTo>
                  <a:lnTo>
                    <a:pt x="62" y="150"/>
                  </a:lnTo>
                  <a:lnTo>
                    <a:pt x="60" y="150"/>
                  </a:lnTo>
                  <a:lnTo>
                    <a:pt x="60" y="152"/>
                  </a:lnTo>
                  <a:lnTo>
                    <a:pt x="58" y="152"/>
                  </a:lnTo>
                  <a:lnTo>
                    <a:pt x="56" y="152"/>
                  </a:lnTo>
                  <a:lnTo>
                    <a:pt x="54" y="154"/>
                  </a:lnTo>
                  <a:lnTo>
                    <a:pt x="52" y="154"/>
                  </a:lnTo>
                  <a:lnTo>
                    <a:pt x="50" y="154"/>
                  </a:lnTo>
                  <a:lnTo>
                    <a:pt x="48" y="156"/>
                  </a:lnTo>
                  <a:lnTo>
                    <a:pt x="46" y="156"/>
                  </a:lnTo>
                  <a:lnTo>
                    <a:pt x="46" y="156"/>
                  </a:lnTo>
                  <a:lnTo>
                    <a:pt x="46" y="156"/>
                  </a:lnTo>
                  <a:lnTo>
                    <a:pt x="46" y="158"/>
                  </a:lnTo>
                  <a:lnTo>
                    <a:pt x="44" y="158"/>
                  </a:lnTo>
                  <a:lnTo>
                    <a:pt x="44" y="160"/>
                  </a:lnTo>
                  <a:lnTo>
                    <a:pt x="44" y="160"/>
                  </a:lnTo>
                  <a:lnTo>
                    <a:pt x="42" y="162"/>
                  </a:lnTo>
                  <a:lnTo>
                    <a:pt x="42" y="162"/>
                  </a:lnTo>
                  <a:lnTo>
                    <a:pt x="40" y="162"/>
                  </a:lnTo>
                  <a:lnTo>
                    <a:pt x="38" y="162"/>
                  </a:lnTo>
                  <a:lnTo>
                    <a:pt x="38" y="162"/>
                  </a:lnTo>
                  <a:lnTo>
                    <a:pt x="36" y="162"/>
                  </a:lnTo>
                  <a:lnTo>
                    <a:pt x="34" y="162"/>
                  </a:lnTo>
                  <a:lnTo>
                    <a:pt x="32" y="162"/>
                  </a:lnTo>
                  <a:lnTo>
                    <a:pt x="30" y="160"/>
                  </a:lnTo>
                  <a:lnTo>
                    <a:pt x="30" y="160"/>
                  </a:lnTo>
                  <a:lnTo>
                    <a:pt x="28" y="158"/>
                  </a:lnTo>
                  <a:lnTo>
                    <a:pt x="26" y="158"/>
                  </a:lnTo>
                  <a:lnTo>
                    <a:pt x="24" y="156"/>
                  </a:lnTo>
                  <a:lnTo>
                    <a:pt x="24" y="156"/>
                  </a:lnTo>
                  <a:lnTo>
                    <a:pt x="22" y="156"/>
                  </a:lnTo>
                  <a:lnTo>
                    <a:pt x="22" y="158"/>
                  </a:lnTo>
                  <a:lnTo>
                    <a:pt x="20" y="158"/>
                  </a:lnTo>
                  <a:lnTo>
                    <a:pt x="20" y="158"/>
                  </a:lnTo>
                  <a:lnTo>
                    <a:pt x="16" y="160"/>
                  </a:lnTo>
                  <a:lnTo>
                    <a:pt x="14" y="162"/>
                  </a:lnTo>
                  <a:lnTo>
                    <a:pt x="10" y="162"/>
                  </a:lnTo>
                  <a:lnTo>
                    <a:pt x="8" y="164"/>
                  </a:lnTo>
                  <a:lnTo>
                    <a:pt x="6" y="164"/>
                  </a:lnTo>
                  <a:lnTo>
                    <a:pt x="4" y="166"/>
                  </a:lnTo>
                  <a:lnTo>
                    <a:pt x="0" y="166"/>
                  </a:lnTo>
                  <a:lnTo>
                    <a:pt x="4" y="172"/>
                  </a:lnTo>
                  <a:lnTo>
                    <a:pt x="4" y="172"/>
                  </a:lnTo>
                  <a:lnTo>
                    <a:pt x="6" y="172"/>
                  </a:lnTo>
                  <a:lnTo>
                    <a:pt x="6" y="172"/>
                  </a:lnTo>
                  <a:lnTo>
                    <a:pt x="6" y="17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0" name="Freeform 398">
              <a:extLst>
                <a:ext uri="{FF2B5EF4-FFF2-40B4-BE49-F238E27FC236}">
                  <a16:creationId xmlns:a16="http://schemas.microsoft.com/office/drawing/2014/main" id="{A1BEAFF8-C863-4C45-BEEF-C4F04E5E9491}"/>
                </a:ext>
              </a:extLst>
            </p:cNvPr>
            <p:cNvSpPr>
              <a:spLocks/>
            </p:cNvSpPr>
            <p:nvPr/>
          </p:nvSpPr>
          <p:spPr bwMode="auto">
            <a:xfrm>
              <a:off x="4556736" y="4812490"/>
              <a:ext cx="315238" cy="356807"/>
            </a:xfrm>
            <a:custGeom>
              <a:avLst/>
              <a:gdLst>
                <a:gd name="T0" fmla="*/ 24 w 182"/>
                <a:gd name="T1" fmla="*/ 6 h 206"/>
                <a:gd name="T2" fmla="*/ 42 w 182"/>
                <a:gd name="T3" fmla="*/ 4 h 206"/>
                <a:gd name="T4" fmla="*/ 64 w 182"/>
                <a:gd name="T5" fmla="*/ 0 h 206"/>
                <a:gd name="T6" fmla="*/ 78 w 182"/>
                <a:gd name="T7" fmla="*/ 4 h 206"/>
                <a:gd name="T8" fmla="*/ 80 w 182"/>
                <a:gd name="T9" fmla="*/ 16 h 206"/>
                <a:gd name="T10" fmla="*/ 84 w 182"/>
                <a:gd name="T11" fmla="*/ 30 h 206"/>
                <a:gd name="T12" fmla="*/ 90 w 182"/>
                <a:gd name="T13" fmla="*/ 32 h 206"/>
                <a:gd name="T14" fmla="*/ 90 w 182"/>
                <a:gd name="T15" fmla="*/ 40 h 206"/>
                <a:gd name="T16" fmla="*/ 100 w 182"/>
                <a:gd name="T17" fmla="*/ 44 h 206"/>
                <a:gd name="T18" fmla="*/ 112 w 182"/>
                <a:gd name="T19" fmla="*/ 42 h 206"/>
                <a:gd name="T20" fmla="*/ 118 w 182"/>
                <a:gd name="T21" fmla="*/ 38 h 206"/>
                <a:gd name="T22" fmla="*/ 118 w 182"/>
                <a:gd name="T23" fmla="*/ 24 h 206"/>
                <a:gd name="T24" fmla="*/ 124 w 182"/>
                <a:gd name="T25" fmla="*/ 18 h 206"/>
                <a:gd name="T26" fmla="*/ 126 w 182"/>
                <a:gd name="T27" fmla="*/ 22 h 206"/>
                <a:gd name="T28" fmla="*/ 130 w 182"/>
                <a:gd name="T29" fmla="*/ 36 h 206"/>
                <a:gd name="T30" fmla="*/ 136 w 182"/>
                <a:gd name="T31" fmla="*/ 32 h 206"/>
                <a:gd name="T32" fmla="*/ 146 w 182"/>
                <a:gd name="T33" fmla="*/ 30 h 206"/>
                <a:gd name="T34" fmla="*/ 152 w 182"/>
                <a:gd name="T35" fmla="*/ 38 h 206"/>
                <a:gd name="T36" fmla="*/ 154 w 182"/>
                <a:gd name="T37" fmla="*/ 72 h 206"/>
                <a:gd name="T38" fmla="*/ 154 w 182"/>
                <a:gd name="T39" fmla="*/ 84 h 206"/>
                <a:gd name="T40" fmla="*/ 162 w 182"/>
                <a:gd name="T41" fmla="*/ 90 h 206"/>
                <a:gd name="T42" fmla="*/ 180 w 182"/>
                <a:gd name="T43" fmla="*/ 90 h 206"/>
                <a:gd name="T44" fmla="*/ 180 w 182"/>
                <a:gd name="T45" fmla="*/ 118 h 206"/>
                <a:gd name="T46" fmla="*/ 176 w 182"/>
                <a:gd name="T47" fmla="*/ 126 h 206"/>
                <a:gd name="T48" fmla="*/ 164 w 182"/>
                <a:gd name="T49" fmla="*/ 124 h 206"/>
                <a:gd name="T50" fmla="*/ 162 w 182"/>
                <a:gd name="T51" fmla="*/ 118 h 206"/>
                <a:gd name="T52" fmla="*/ 156 w 182"/>
                <a:gd name="T53" fmla="*/ 116 h 206"/>
                <a:gd name="T54" fmla="*/ 154 w 182"/>
                <a:gd name="T55" fmla="*/ 120 h 206"/>
                <a:gd name="T56" fmla="*/ 152 w 182"/>
                <a:gd name="T57" fmla="*/ 126 h 206"/>
                <a:gd name="T58" fmla="*/ 144 w 182"/>
                <a:gd name="T59" fmla="*/ 126 h 206"/>
                <a:gd name="T60" fmla="*/ 140 w 182"/>
                <a:gd name="T61" fmla="*/ 136 h 206"/>
                <a:gd name="T62" fmla="*/ 144 w 182"/>
                <a:gd name="T63" fmla="*/ 166 h 206"/>
                <a:gd name="T64" fmla="*/ 146 w 182"/>
                <a:gd name="T65" fmla="*/ 182 h 206"/>
                <a:gd name="T66" fmla="*/ 156 w 182"/>
                <a:gd name="T67" fmla="*/ 192 h 206"/>
                <a:gd name="T68" fmla="*/ 128 w 182"/>
                <a:gd name="T69" fmla="*/ 204 h 206"/>
                <a:gd name="T70" fmla="*/ 100 w 182"/>
                <a:gd name="T71" fmla="*/ 202 h 206"/>
                <a:gd name="T72" fmla="*/ 94 w 182"/>
                <a:gd name="T73" fmla="*/ 194 h 206"/>
                <a:gd name="T74" fmla="*/ 82 w 182"/>
                <a:gd name="T75" fmla="*/ 192 h 206"/>
                <a:gd name="T76" fmla="*/ 50 w 182"/>
                <a:gd name="T77" fmla="*/ 194 h 206"/>
                <a:gd name="T78" fmla="*/ 26 w 182"/>
                <a:gd name="T79" fmla="*/ 190 h 206"/>
                <a:gd name="T80" fmla="*/ 14 w 182"/>
                <a:gd name="T81" fmla="*/ 184 h 206"/>
                <a:gd name="T82" fmla="*/ 0 w 182"/>
                <a:gd name="T83" fmla="*/ 188 h 206"/>
                <a:gd name="T84" fmla="*/ 0 w 182"/>
                <a:gd name="T85" fmla="*/ 164 h 206"/>
                <a:gd name="T86" fmla="*/ 16 w 182"/>
                <a:gd name="T87" fmla="*/ 136 h 206"/>
                <a:gd name="T88" fmla="*/ 26 w 182"/>
                <a:gd name="T89" fmla="*/ 114 h 206"/>
                <a:gd name="T90" fmla="*/ 32 w 182"/>
                <a:gd name="T91" fmla="*/ 112 h 206"/>
                <a:gd name="T92" fmla="*/ 36 w 182"/>
                <a:gd name="T93" fmla="*/ 102 h 206"/>
                <a:gd name="T94" fmla="*/ 32 w 182"/>
                <a:gd name="T95" fmla="*/ 90 h 206"/>
                <a:gd name="T96" fmla="*/ 24 w 182"/>
                <a:gd name="T97" fmla="*/ 70 h 206"/>
                <a:gd name="T98" fmla="*/ 22 w 182"/>
                <a:gd name="T99" fmla="*/ 42 h 206"/>
                <a:gd name="T100" fmla="*/ 14 w 182"/>
                <a:gd name="T101" fmla="*/ 36 h 206"/>
                <a:gd name="T102" fmla="*/ 12 w 182"/>
                <a:gd name="T103" fmla="*/ 26 h 206"/>
                <a:gd name="T104" fmla="*/ 14 w 182"/>
                <a:gd name="T105" fmla="*/ 14 h 206"/>
                <a:gd name="T106" fmla="*/ 8 w 182"/>
                <a:gd name="T107" fmla="*/ 12 h 206"/>
                <a:gd name="T108" fmla="*/ 4 w 182"/>
                <a:gd name="T109" fmla="*/ 1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2" h="206">
                  <a:moveTo>
                    <a:pt x="8" y="4"/>
                  </a:moveTo>
                  <a:lnTo>
                    <a:pt x="8" y="4"/>
                  </a:lnTo>
                  <a:lnTo>
                    <a:pt x="10" y="4"/>
                  </a:lnTo>
                  <a:lnTo>
                    <a:pt x="12" y="6"/>
                  </a:lnTo>
                  <a:lnTo>
                    <a:pt x="14" y="6"/>
                  </a:lnTo>
                  <a:lnTo>
                    <a:pt x="18" y="6"/>
                  </a:lnTo>
                  <a:lnTo>
                    <a:pt x="24" y="6"/>
                  </a:lnTo>
                  <a:lnTo>
                    <a:pt x="28" y="6"/>
                  </a:lnTo>
                  <a:lnTo>
                    <a:pt x="30" y="8"/>
                  </a:lnTo>
                  <a:lnTo>
                    <a:pt x="32" y="6"/>
                  </a:lnTo>
                  <a:lnTo>
                    <a:pt x="36" y="6"/>
                  </a:lnTo>
                  <a:lnTo>
                    <a:pt x="36" y="6"/>
                  </a:lnTo>
                  <a:lnTo>
                    <a:pt x="38" y="6"/>
                  </a:lnTo>
                  <a:lnTo>
                    <a:pt x="42" y="4"/>
                  </a:lnTo>
                  <a:lnTo>
                    <a:pt x="46" y="2"/>
                  </a:lnTo>
                  <a:lnTo>
                    <a:pt x="48" y="2"/>
                  </a:lnTo>
                  <a:lnTo>
                    <a:pt x="50" y="2"/>
                  </a:lnTo>
                  <a:lnTo>
                    <a:pt x="52" y="0"/>
                  </a:lnTo>
                  <a:lnTo>
                    <a:pt x="56" y="0"/>
                  </a:lnTo>
                  <a:lnTo>
                    <a:pt x="60" y="0"/>
                  </a:lnTo>
                  <a:lnTo>
                    <a:pt x="64" y="0"/>
                  </a:lnTo>
                  <a:lnTo>
                    <a:pt x="68" y="2"/>
                  </a:lnTo>
                  <a:lnTo>
                    <a:pt x="70" y="2"/>
                  </a:lnTo>
                  <a:lnTo>
                    <a:pt x="72" y="2"/>
                  </a:lnTo>
                  <a:lnTo>
                    <a:pt x="74" y="2"/>
                  </a:lnTo>
                  <a:lnTo>
                    <a:pt x="74" y="2"/>
                  </a:lnTo>
                  <a:lnTo>
                    <a:pt x="76" y="4"/>
                  </a:lnTo>
                  <a:lnTo>
                    <a:pt x="78" y="4"/>
                  </a:lnTo>
                  <a:lnTo>
                    <a:pt x="78" y="6"/>
                  </a:lnTo>
                  <a:lnTo>
                    <a:pt x="78" y="6"/>
                  </a:lnTo>
                  <a:lnTo>
                    <a:pt x="78" y="8"/>
                  </a:lnTo>
                  <a:lnTo>
                    <a:pt x="80" y="10"/>
                  </a:lnTo>
                  <a:lnTo>
                    <a:pt x="80" y="10"/>
                  </a:lnTo>
                  <a:lnTo>
                    <a:pt x="80" y="12"/>
                  </a:lnTo>
                  <a:lnTo>
                    <a:pt x="80" y="16"/>
                  </a:lnTo>
                  <a:lnTo>
                    <a:pt x="80" y="20"/>
                  </a:lnTo>
                  <a:lnTo>
                    <a:pt x="80" y="24"/>
                  </a:lnTo>
                  <a:lnTo>
                    <a:pt x="80" y="26"/>
                  </a:lnTo>
                  <a:lnTo>
                    <a:pt x="82" y="26"/>
                  </a:lnTo>
                  <a:lnTo>
                    <a:pt x="82" y="28"/>
                  </a:lnTo>
                  <a:lnTo>
                    <a:pt x="82" y="28"/>
                  </a:lnTo>
                  <a:lnTo>
                    <a:pt x="84" y="30"/>
                  </a:lnTo>
                  <a:lnTo>
                    <a:pt x="84" y="30"/>
                  </a:lnTo>
                  <a:lnTo>
                    <a:pt x="86" y="30"/>
                  </a:lnTo>
                  <a:lnTo>
                    <a:pt x="88" y="30"/>
                  </a:lnTo>
                  <a:lnTo>
                    <a:pt x="88" y="30"/>
                  </a:lnTo>
                  <a:lnTo>
                    <a:pt x="88" y="32"/>
                  </a:lnTo>
                  <a:lnTo>
                    <a:pt x="90" y="32"/>
                  </a:lnTo>
                  <a:lnTo>
                    <a:pt x="90" y="32"/>
                  </a:lnTo>
                  <a:lnTo>
                    <a:pt x="90" y="34"/>
                  </a:lnTo>
                  <a:lnTo>
                    <a:pt x="90" y="34"/>
                  </a:lnTo>
                  <a:lnTo>
                    <a:pt x="90" y="36"/>
                  </a:lnTo>
                  <a:lnTo>
                    <a:pt x="90" y="38"/>
                  </a:lnTo>
                  <a:lnTo>
                    <a:pt x="90" y="38"/>
                  </a:lnTo>
                  <a:lnTo>
                    <a:pt x="90" y="40"/>
                  </a:lnTo>
                  <a:lnTo>
                    <a:pt x="90" y="40"/>
                  </a:lnTo>
                  <a:lnTo>
                    <a:pt x="90" y="40"/>
                  </a:lnTo>
                  <a:lnTo>
                    <a:pt x="92" y="42"/>
                  </a:lnTo>
                  <a:lnTo>
                    <a:pt x="92" y="42"/>
                  </a:lnTo>
                  <a:lnTo>
                    <a:pt x="94" y="42"/>
                  </a:lnTo>
                  <a:lnTo>
                    <a:pt x="96" y="44"/>
                  </a:lnTo>
                  <a:lnTo>
                    <a:pt x="98" y="44"/>
                  </a:lnTo>
                  <a:lnTo>
                    <a:pt x="100" y="44"/>
                  </a:lnTo>
                  <a:lnTo>
                    <a:pt x="102" y="44"/>
                  </a:lnTo>
                  <a:lnTo>
                    <a:pt x="104" y="44"/>
                  </a:lnTo>
                  <a:lnTo>
                    <a:pt x="106" y="44"/>
                  </a:lnTo>
                  <a:lnTo>
                    <a:pt x="106" y="44"/>
                  </a:lnTo>
                  <a:lnTo>
                    <a:pt x="108" y="44"/>
                  </a:lnTo>
                  <a:lnTo>
                    <a:pt x="110" y="42"/>
                  </a:lnTo>
                  <a:lnTo>
                    <a:pt x="112" y="42"/>
                  </a:lnTo>
                  <a:lnTo>
                    <a:pt x="114" y="42"/>
                  </a:lnTo>
                  <a:lnTo>
                    <a:pt x="114" y="42"/>
                  </a:lnTo>
                  <a:lnTo>
                    <a:pt x="116" y="40"/>
                  </a:lnTo>
                  <a:lnTo>
                    <a:pt x="116" y="40"/>
                  </a:lnTo>
                  <a:lnTo>
                    <a:pt x="116" y="38"/>
                  </a:lnTo>
                  <a:lnTo>
                    <a:pt x="116" y="38"/>
                  </a:lnTo>
                  <a:lnTo>
                    <a:pt x="118" y="38"/>
                  </a:lnTo>
                  <a:lnTo>
                    <a:pt x="118" y="34"/>
                  </a:lnTo>
                  <a:lnTo>
                    <a:pt x="116" y="32"/>
                  </a:lnTo>
                  <a:lnTo>
                    <a:pt x="116" y="30"/>
                  </a:lnTo>
                  <a:lnTo>
                    <a:pt x="116" y="28"/>
                  </a:lnTo>
                  <a:lnTo>
                    <a:pt x="116" y="26"/>
                  </a:lnTo>
                  <a:lnTo>
                    <a:pt x="116" y="24"/>
                  </a:lnTo>
                  <a:lnTo>
                    <a:pt x="118" y="24"/>
                  </a:lnTo>
                  <a:lnTo>
                    <a:pt x="118" y="24"/>
                  </a:lnTo>
                  <a:lnTo>
                    <a:pt x="118" y="22"/>
                  </a:lnTo>
                  <a:lnTo>
                    <a:pt x="120" y="20"/>
                  </a:lnTo>
                  <a:lnTo>
                    <a:pt x="120" y="20"/>
                  </a:lnTo>
                  <a:lnTo>
                    <a:pt x="122" y="20"/>
                  </a:lnTo>
                  <a:lnTo>
                    <a:pt x="122" y="18"/>
                  </a:lnTo>
                  <a:lnTo>
                    <a:pt x="124" y="18"/>
                  </a:lnTo>
                  <a:lnTo>
                    <a:pt x="124" y="18"/>
                  </a:lnTo>
                  <a:lnTo>
                    <a:pt x="124" y="18"/>
                  </a:lnTo>
                  <a:lnTo>
                    <a:pt x="124" y="18"/>
                  </a:lnTo>
                  <a:lnTo>
                    <a:pt x="126" y="20"/>
                  </a:lnTo>
                  <a:lnTo>
                    <a:pt x="126" y="20"/>
                  </a:lnTo>
                  <a:lnTo>
                    <a:pt x="126" y="22"/>
                  </a:lnTo>
                  <a:lnTo>
                    <a:pt x="126" y="22"/>
                  </a:lnTo>
                  <a:lnTo>
                    <a:pt x="128" y="24"/>
                  </a:lnTo>
                  <a:lnTo>
                    <a:pt x="128" y="26"/>
                  </a:lnTo>
                  <a:lnTo>
                    <a:pt x="128" y="30"/>
                  </a:lnTo>
                  <a:lnTo>
                    <a:pt x="130" y="32"/>
                  </a:lnTo>
                  <a:lnTo>
                    <a:pt x="130" y="34"/>
                  </a:lnTo>
                  <a:lnTo>
                    <a:pt x="130" y="34"/>
                  </a:lnTo>
                  <a:lnTo>
                    <a:pt x="130" y="36"/>
                  </a:lnTo>
                  <a:lnTo>
                    <a:pt x="132" y="36"/>
                  </a:lnTo>
                  <a:lnTo>
                    <a:pt x="132" y="36"/>
                  </a:lnTo>
                  <a:lnTo>
                    <a:pt x="132" y="36"/>
                  </a:lnTo>
                  <a:lnTo>
                    <a:pt x="134" y="36"/>
                  </a:lnTo>
                  <a:lnTo>
                    <a:pt x="134" y="34"/>
                  </a:lnTo>
                  <a:lnTo>
                    <a:pt x="134" y="34"/>
                  </a:lnTo>
                  <a:lnTo>
                    <a:pt x="136" y="32"/>
                  </a:lnTo>
                  <a:lnTo>
                    <a:pt x="138" y="32"/>
                  </a:lnTo>
                  <a:lnTo>
                    <a:pt x="138" y="32"/>
                  </a:lnTo>
                  <a:lnTo>
                    <a:pt x="140" y="30"/>
                  </a:lnTo>
                  <a:lnTo>
                    <a:pt x="142" y="30"/>
                  </a:lnTo>
                  <a:lnTo>
                    <a:pt x="144" y="30"/>
                  </a:lnTo>
                  <a:lnTo>
                    <a:pt x="146" y="30"/>
                  </a:lnTo>
                  <a:lnTo>
                    <a:pt x="146" y="30"/>
                  </a:lnTo>
                  <a:lnTo>
                    <a:pt x="148" y="30"/>
                  </a:lnTo>
                  <a:lnTo>
                    <a:pt x="148" y="30"/>
                  </a:lnTo>
                  <a:lnTo>
                    <a:pt x="150" y="32"/>
                  </a:lnTo>
                  <a:lnTo>
                    <a:pt x="150" y="32"/>
                  </a:lnTo>
                  <a:lnTo>
                    <a:pt x="150" y="34"/>
                  </a:lnTo>
                  <a:lnTo>
                    <a:pt x="152" y="36"/>
                  </a:lnTo>
                  <a:lnTo>
                    <a:pt x="152" y="38"/>
                  </a:lnTo>
                  <a:lnTo>
                    <a:pt x="154" y="40"/>
                  </a:lnTo>
                  <a:lnTo>
                    <a:pt x="154" y="42"/>
                  </a:lnTo>
                  <a:lnTo>
                    <a:pt x="154" y="46"/>
                  </a:lnTo>
                  <a:lnTo>
                    <a:pt x="154" y="50"/>
                  </a:lnTo>
                  <a:lnTo>
                    <a:pt x="154" y="54"/>
                  </a:lnTo>
                  <a:lnTo>
                    <a:pt x="154" y="64"/>
                  </a:lnTo>
                  <a:lnTo>
                    <a:pt x="154" y="72"/>
                  </a:lnTo>
                  <a:lnTo>
                    <a:pt x="154" y="74"/>
                  </a:lnTo>
                  <a:lnTo>
                    <a:pt x="154" y="78"/>
                  </a:lnTo>
                  <a:lnTo>
                    <a:pt x="154" y="80"/>
                  </a:lnTo>
                  <a:lnTo>
                    <a:pt x="154" y="80"/>
                  </a:lnTo>
                  <a:lnTo>
                    <a:pt x="154" y="82"/>
                  </a:lnTo>
                  <a:lnTo>
                    <a:pt x="154" y="84"/>
                  </a:lnTo>
                  <a:lnTo>
                    <a:pt x="154" y="84"/>
                  </a:lnTo>
                  <a:lnTo>
                    <a:pt x="156" y="86"/>
                  </a:lnTo>
                  <a:lnTo>
                    <a:pt x="156" y="86"/>
                  </a:lnTo>
                  <a:lnTo>
                    <a:pt x="158" y="88"/>
                  </a:lnTo>
                  <a:lnTo>
                    <a:pt x="160" y="88"/>
                  </a:lnTo>
                  <a:lnTo>
                    <a:pt x="160" y="90"/>
                  </a:lnTo>
                  <a:lnTo>
                    <a:pt x="162" y="90"/>
                  </a:lnTo>
                  <a:lnTo>
                    <a:pt x="162" y="90"/>
                  </a:lnTo>
                  <a:lnTo>
                    <a:pt x="164" y="92"/>
                  </a:lnTo>
                  <a:lnTo>
                    <a:pt x="164" y="92"/>
                  </a:lnTo>
                  <a:lnTo>
                    <a:pt x="168" y="92"/>
                  </a:lnTo>
                  <a:lnTo>
                    <a:pt x="170" y="92"/>
                  </a:lnTo>
                  <a:lnTo>
                    <a:pt x="172" y="92"/>
                  </a:lnTo>
                  <a:lnTo>
                    <a:pt x="178" y="92"/>
                  </a:lnTo>
                  <a:lnTo>
                    <a:pt x="180" y="90"/>
                  </a:lnTo>
                  <a:lnTo>
                    <a:pt x="180" y="96"/>
                  </a:lnTo>
                  <a:lnTo>
                    <a:pt x="180" y="100"/>
                  </a:lnTo>
                  <a:lnTo>
                    <a:pt x="182" y="106"/>
                  </a:lnTo>
                  <a:lnTo>
                    <a:pt x="182" y="108"/>
                  </a:lnTo>
                  <a:lnTo>
                    <a:pt x="182" y="112"/>
                  </a:lnTo>
                  <a:lnTo>
                    <a:pt x="182" y="114"/>
                  </a:lnTo>
                  <a:lnTo>
                    <a:pt x="180" y="118"/>
                  </a:lnTo>
                  <a:lnTo>
                    <a:pt x="180" y="120"/>
                  </a:lnTo>
                  <a:lnTo>
                    <a:pt x="180" y="122"/>
                  </a:lnTo>
                  <a:lnTo>
                    <a:pt x="178" y="124"/>
                  </a:lnTo>
                  <a:lnTo>
                    <a:pt x="178" y="124"/>
                  </a:lnTo>
                  <a:lnTo>
                    <a:pt x="178" y="124"/>
                  </a:lnTo>
                  <a:lnTo>
                    <a:pt x="178" y="126"/>
                  </a:lnTo>
                  <a:lnTo>
                    <a:pt x="176" y="126"/>
                  </a:lnTo>
                  <a:lnTo>
                    <a:pt x="176" y="126"/>
                  </a:lnTo>
                  <a:lnTo>
                    <a:pt x="174" y="126"/>
                  </a:lnTo>
                  <a:lnTo>
                    <a:pt x="172" y="126"/>
                  </a:lnTo>
                  <a:lnTo>
                    <a:pt x="170" y="126"/>
                  </a:lnTo>
                  <a:lnTo>
                    <a:pt x="168" y="126"/>
                  </a:lnTo>
                  <a:lnTo>
                    <a:pt x="166" y="126"/>
                  </a:lnTo>
                  <a:lnTo>
                    <a:pt x="164" y="124"/>
                  </a:lnTo>
                  <a:lnTo>
                    <a:pt x="164" y="124"/>
                  </a:lnTo>
                  <a:lnTo>
                    <a:pt x="164" y="124"/>
                  </a:lnTo>
                  <a:lnTo>
                    <a:pt x="164" y="124"/>
                  </a:lnTo>
                  <a:lnTo>
                    <a:pt x="162" y="122"/>
                  </a:lnTo>
                  <a:lnTo>
                    <a:pt x="162" y="120"/>
                  </a:lnTo>
                  <a:lnTo>
                    <a:pt x="162" y="120"/>
                  </a:lnTo>
                  <a:lnTo>
                    <a:pt x="162" y="118"/>
                  </a:lnTo>
                  <a:lnTo>
                    <a:pt x="160" y="116"/>
                  </a:lnTo>
                  <a:lnTo>
                    <a:pt x="160" y="116"/>
                  </a:lnTo>
                  <a:lnTo>
                    <a:pt x="160" y="116"/>
                  </a:lnTo>
                  <a:lnTo>
                    <a:pt x="160" y="116"/>
                  </a:lnTo>
                  <a:lnTo>
                    <a:pt x="158" y="116"/>
                  </a:lnTo>
                  <a:lnTo>
                    <a:pt x="156" y="116"/>
                  </a:lnTo>
                  <a:lnTo>
                    <a:pt x="156" y="116"/>
                  </a:lnTo>
                  <a:lnTo>
                    <a:pt x="154" y="116"/>
                  </a:lnTo>
                  <a:lnTo>
                    <a:pt x="154" y="116"/>
                  </a:lnTo>
                  <a:lnTo>
                    <a:pt x="154" y="118"/>
                  </a:lnTo>
                  <a:lnTo>
                    <a:pt x="154" y="118"/>
                  </a:lnTo>
                  <a:lnTo>
                    <a:pt x="154" y="118"/>
                  </a:lnTo>
                  <a:lnTo>
                    <a:pt x="154" y="120"/>
                  </a:lnTo>
                  <a:lnTo>
                    <a:pt x="154" y="120"/>
                  </a:lnTo>
                  <a:lnTo>
                    <a:pt x="154" y="122"/>
                  </a:lnTo>
                  <a:lnTo>
                    <a:pt x="154" y="124"/>
                  </a:lnTo>
                  <a:lnTo>
                    <a:pt x="154" y="124"/>
                  </a:lnTo>
                  <a:lnTo>
                    <a:pt x="154" y="124"/>
                  </a:lnTo>
                  <a:lnTo>
                    <a:pt x="154" y="124"/>
                  </a:lnTo>
                  <a:lnTo>
                    <a:pt x="154" y="126"/>
                  </a:lnTo>
                  <a:lnTo>
                    <a:pt x="152" y="126"/>
                  </a:lnTo>
                  <a:lnTo>
                    <a:pt x="152" y="126"/>
                  </a:lnTo>
                  <a:lnTo>
                    <a:pt x="150" y="126"/>
                  </a:lnTo>
                  <a:lnTo>
                    <a:pt x="148" y="126"/>
                  </a:lnTo>
                  <a:lnTo>
                    <a:pt x="148" y="126"/>
                  </a:lnTo>
                  <a:lnTo>
                    <a:pt x="146" y="126"/>
                  </a:lnTo>
                  <a:lnTo>
                    <a:pt x="144" y="126"/>
                  </a:lnTo>
                  <a:lnTo>
                    <a:pt x="144" y="126"/>
                  </a:lnTo>
                  <a:lnTo>
                    <a:pt x="144" y="126"/>
                  </a:lnTo>
                  <a:lnTo>
                    <a:pt x="144" y="126"/>
                  </a:lnTo>
                  <a:lnTo>
                    <a:pt x="142" y="128"/>
                  </a:lnTo>
                  <a:lnTo>
                    <a:pt x="142" y="130"/>
                  </a:lnTo>
                  <a:lnTo>
                    <a:pt x="142" y="132"/>
                  </a:lnTo>
                  <a:lnTo>
                    <a:pt x="142" y="134"/>
                  </a:lnTo>
                  <a:lnTo>
                    <a:pt x="140" y="136"/>
                  </a:lnTo>
                  <a:lnTo>
                    <a:pt x="140" y="140"/>
                  </a:lnTo>
                  <a:lnTo>
                    <a:pt x="142" y="142"/>
                  </a:lnTo>
                  <a:lnTo>
                    <a:pt x="142" y="144"/>
                  </a:lnTo>
                  <a:lnTo>
                    <a:pt x="142" y="150"/>
                  </a:lnTo>
                  <a:lnTo>
                    <a:pt x="142" y="156"/>
                  </a:lnTo>
                  <a:lnTo>
                    <a:pt x="144" y="162"/>
                  </a:lnTo>
                  <a:lnTo>
                    <a:pt x="144" y="166"/>
                  </a:lnTo>
                  <a:lnTo>
                    <a:pt x="144" y="172"/>
                  </a:lnTo>
                  <a:lnTo>
                    <a:pt x="144" y="176"/>
                  </a:lnTo>
                  <a:lnTo>
                    <a:pt x="144" y="176"/>
                  </a:lnTo>
                  <a:lnTo>
                    <a:pt x="144" y="178"/>
                  </a:lnTo>
                  <a:lnTo>
                    <a:pt x="146" y="178"/>
                  </a:lnTo>
                  <a:lnTo>
                    <a:pt x="146" y="180"/>
                  </a:lnTo>
                  <a:lnTo>
                    <a:pt x="146" y="182"/>
                  </a:lnTo>
                  <a:lnTo>
                    <a:pt x="148" y="184"/>
                  </a:lnTo>
                  <a:lnTo>
                    <a:pt x="150" y="186"/>
                  </a:lnTo>
                  <a:lnTo>
                    <a:pt x="152" y="186"/>
                  </a:lnTo>
                  <a:lnTo>
                    <a:pt x="154" y="188"/>
                  </a:lnTo>
                  <a:lnTo>
                    <a:pt x="154" y="190"/>
                  </a:lnTo>
                  <a:lnTo>
                    <a:pt x="156" y="192"/>
                  </a:lnTo>
                  <a:lnTo>
                    <a:pt x="156" y="192"/>
                  </a:lnTo>
                  <a:lnTo>
                    <a:pt x="156" y="194"/>
                  </a:lnTo>
                  <a:lnTo>
                    <a:pt x="156" y="194"/>
                  </a:lnTo>
                  <a:lnTo>
                    <a:pt x="156" y="196"/>
                  </a:lnTo>
                  <a:lnTo>
                    <a:pt x="156" y="200"/>
                  </a:lnTo>
                  <a:lnTo>
                    <a:pt x="140" y="206"/>
                  </a:lnTo>
                  <a:lnTo>
                    <a:pt x="136" y="206"/>
                  </a:lnTo>
                  <a:lnTo>
                    <a:pt x="128" y="204"/>
                  </a:lnTo>
                  <a:lnTo>
                    <a:pt x="126" y="204"/>
                  </a:lnTo>
                  <a:lnTo>
                    <a:pt x="120" y="204"/>
                  </a:lnTo>
                  <a:lnTo>
                    <a:pt x="112" y="204"/>
                  </a:lnTo>
                  <a:lnTo>
                    <a:pt x="108" y="204"/>
                  </a:lnTo>
                  <a:lnTo>
                    <a:pt x="104" y="204"/>
                  </a:lnTo>
                  <a:lnTo>
                    <a:pt x="102" y="202"/>
                  </a:lnTo>
                  <a:lnTo>
                    <a:pt x="100" y="202"/>
                  </a:lnTo>
                  <a:lnTo>
                    <a:pt x="98" y="202"/>
                  </a:lnTo>
                  <a:lnTo>
                    <a:pt x="98" y="200"/>
                  </a:lnTo>
                  <a:lnTo>
                    <a:pt x="96" y="200"/>
                  </a:lnTo>
                  <a:lnTo>
                    <a:pt x="96" y="200"/>
                  </a:lnTo>
                  <a:lnTo>
                    <a:pt x="96" y="196"/>
                  </a:lnTo>
                  <a:lnTo>
                    <a:pt x="94" y="196"/>
                  </a:lnTo>
                  <a:lnTo>
                    <a:pt x="94" y="194"/>
                  </a:lnTo>
                  <a:lnTo>
                    <a:pt x="94" y="194"/>
                  </a:lnTo>
                  <a:lnTo>
                    <a:pt x="92" y="192"/>
                  </a:lnTo>
                  <a:lnTo>
                    <a:pt x="90" y="192"/>
                  </a:lnTo>
                  <a:lnTo>
                    <a:pt x="88" y="192"/>
                  </a:lnTo>
                  <a:lnTo>
                    <a:pt x="86" y="192"/>
                  </a:lnTo>
                  <a:lnTo>
                    <a:pt x="84" y="192"/>
                  </a:lnTo>
                  <a:lnTo>
                    <a:pt x="82" y="192"/>
                  </a:lnTo>
                  <a:lnTo>
                    <a:pt x="80" y="192"/>
                  </a:lnTo>
                  <a:lnTo>
                    <a:pt x="74" y="192"/>
                  </a:lnTo>
                  <a:lnTo>
                    <a:pt x="64" y="194"/>
                  </a:lnTo>
                  <a:lnTo>
                    <a:pt x="60" y="194"/>
                  </a:lnTo>
                  <a:lnTo>
                    <a:pt x="58" y="194"/>
                  </a:lnTo>
                  <a:lnTo>
                    <a:pt x="56" y="194"/>
                  </a:lnTo>
                  <a:lnTo>
                    <a:pt x="50" y="194"/>
                  </a:lnTo>
                  <a:lnTo>
                    <a:pt x="42" y="194"/>
                  </a:lnTo>
                  <a:lnTo>
                    <a:pt x="40" y="192"/>
                  </a:lnTo>
                  <a:lnTo>
                    <a:pt x="36" y="192"/>
                  </a:lnTo>
                  <a:lnTo>
                    <a:pt x="32" y="192"/>
                  </a:lnTo>
                  <a:lnTo>
                    <a:pt x="30" y="192"/>
                  </a:lnTo>
                  <a:lnTo>
                    <a:pt x="28" y="190"/>
                  </a:lnTo>
                  <a:lnTo>
                    <a:pt x="26" y="190"/>
                  </a:lnTo>
                  <a:lnTo>
                    <a:pt x="22" y="188"/>
                  </a:lnTo>
                  <a:lnTo>
                    <a:pt x="20" y="186"/>
                  </a:lnTo>
                  <a:lnTo>
                    <a:pt x="18" y="186"/>
                  </a:lnTo>
                  <a:lnTo>
                    <a:pt x="16" y="184"/>
                  </a:lnTo>
                  <a:lnTo>
                    <a:pt x="16" y="184"/>
                  </a:lnTo>
                  <a:lnTo>
                    <a:pt x="14" y="184"/>
                  </a:lnTo>
                  <a:lnTo>
                    <a:pt x="14" y="184"/>
                  </a:lnTo>
                  <a:lnTo>
                    <a:pt x="14" y="184"/>
                  </a:lnTo>
                  <a:lnTo>
                    <a:pt x="10" y="186"/>
                  </a:lnTo>
                  <a:lnTo>
                    <a:pt x="8" y="186"/>
                  </a:lnTo>
                  <a:lnTo>
                    <a:pt x="6" y="188"/>
                  </a:lnTo>
                  <a:lnTo>
                    <a:pt x="2" y="190"/>
                  </a:lnTo>
                  <a:lnTo>
                    <a:pt x="0" y="190"/>
                  </a:lnTo>
                  <a:lnTo>
                    <a:pt x="0" y="188"/>
                  </a:lnTo>
                  <a:lnTo>
                    <a:pt x="0" y="180"/>
                  </a:lnTo>
                  <a:lnTo>
                    <a:pt x="0" y="176"/>
                  </a:lnTo>
                  <a:lnTo>
                    <a:pt x="0" y="172"/>
                  </a:lnTo>
                  <a:lnTo>
                    <a:pt x="0" y="168"/>
                  </a:lnTo>
                  <a:lnTo>
                    <a:pt x="0" y="166"/>
                  </a:lnTo>
                  <a:lnTo>
                    <a:pt x="0" y="166"/>
                  </a:lnTo>
                  <a:lnTo>
                    <a:pt x="0" y="164"/>
                  </a:lnTo>
                  <a:lnTo>
                    <a:pt x="2" y="162"/>
                  </a:lnTo>
                  <a:lnTo>
                    <a:pt x="2" y="158"/>
                  </a:lnTo>
                  <a:lnTo>
                    <a:pt x="6" y="154"/>
                  </a:lnTo>
                  <a:lnTo>
                    <a:pt x="8" y="150"/>
                  </a:lnTo>
                  <a:lnTo>
                    <a:pt x="12" y="144"/>
                  </a:lnTo>
                  <a:lnTo>
                    <a:pt x="14" y="140"/>
                  </a:lnTo>
                  <a:lnTo>
                    <a:pt x="16" y="136"/>
                  </a:lnTo>
                  <a:lnTo>
                    <a:pt x="18" y="132"/>
                  </a:lnTo>
                  <a:lnTo>
                    <a:pt x="20" y="128"/>
                  </a:lnTo>
                  <a:lnTo>
                    <a:pt x="22" y="122"/>
                  </a:lnTo>
                  <a:lnTo>
                    <a:pt x="24" y="118"/>
                  </a:lnTo>
                  <a:lnTo>
                    <a:pt x="24" y="116"/>
                  </a:lnTo>
                  <a:lnTo>
                    <a:pt x="24" y="116"/>
                  </a:lnTo>
                  <a:lnTo>
                    <a:pt x="26" y="114"/>
                  </a:lnTo>
                  <a:lnTo>
                    <a:pt x="26" y="114"/>
                  </a:lnTo>
                  <a:lnTo>
                    <a:pt x="26" y="112"/>
                  </a:lnTo>
                  <a:lnTo>
                    <a:pt x="26" y="112"/>
                  </a:lnTo>
                  <a:lnTo>
                    <a:pt x="28" y="112"/>
                  </a:lnTo>
                  <a:lnTo>
                    <a:pt x="30" y="112"/>
                  </a:lnTo>
                  <a:lnTo>
                    <a:pt x="32" y="112"/>
                  </a:lnTo>
                  <a:lnTo>
                    <a:pt x="32" y="112"/>
                  </a:lnTo>
                  <a:lnTo>
                    <a:pt x="32" y="112"/>
                  </a:lnTo>
                  <a:lnTo>
                    <a:pt x="32" y="110"/>
                  </a:lnTo>
                  <a:lnTo>
                    <a:pt x="34" y="110"/>
                  </a:lnTo>
                  <a:lnTo>
                    <a:pt x="34" y="108"/>
                  </a:lnTo>
                  <a:lnTo>
                    <a:pt x="34" y="106"/>
                  </a:lnTo>
                  <a:lnTo>
                    <a:pt x="36" y="104"/>
                  </a:lnTo>
                  <a:lnTo>
                    <a:pt x="36" y="102"/>
                  </a:lnTo>
                  <a:lnTo>
                    <a:pt x="36" y="100"/>
                  </a:lnTo>
                  <a:lnTo>
                    <a:pt x="36" y="98"/>
                  </a:lnTo>
                  <a:lnTo>
                    <a:pt x="36" y="96"/>
                  </a:lnTo>
                  <a:lnTo>
                    <a:pt x="36" y="96"/>
                  </a:lnTo>
                  <a:lnTo>
                    <a:pt x="36" y="94"/>
                  </a:lnTo>
                  <a:lnTo>
                    <a:pt x="34" y="92"/>
                  </a:lnTo>
                  <a:lnTo>
                    <a:pt x="32" y="90"/>
                  </a:lnTo>
                  <a:lnTo>
                    <a:pt x="32" y="88"/>
                  </a:lnTo>
                  <a:lnTo>
                    <a:pt x="28" y="84"/>
                  </a:lnTo>
                  <a:lnTo>
                    <a:pt x="28" y="82"/>
                  </a:lnTo>
                  <a:lnTo>
                    <a:pt x="26" y="80"/>
                  </a:lnTo>
                  <a:lnTo>
                    <a:pt x="26" y="78"/>
                  </a:lnTo>
                  <a:lnTo>
                    <a:pt x="26" y="76"/>
                  </a:lnTo>
                  <a:lnTo>
                    <a:pt x="24" y="70"/>
                  </a:lnTo>
                  <a:lnTo>
                    <a:pt x="24" y="62"/>
                  </a:lnTo>
                  <a:lnTo>
                    <a:pt x="22" y="58"/>
                  </a:lnTo>
                  <a:lnTo>
                    <a:pt x="22" y="56"/>
                  </a:lnTo>
                  <a:lnTo>
                    <a:pt x="22" y="50"/>
                  </a:lnTo>
                  <a:lnTo>
                    <a:pt x="22" y="48"/>
                  </a:lnTo>
                  <a:lnTo>
                    <a:pt x="22" y="44"/>
                  </a:lnTo>
                  <a:lnTo>
                    <a:pt x="22" y="42"/>
                  </a:lnTo>
                  <a:lnTo>
                    <a:pt x="22" y="42"/>
                  </a:lnTo>
                  <a:lnTo>
                    <a:pt x="22" y="40"/>
                  </a:lnTo>
                  <a:lnTo>
                    <a:pt x="20" y="40"/>
                  </a:lnTo>
                  <a:lnTo>
                    <a:pt x="20" y="38"/>
                  </a:lnTo>
                  <a:lnTo>
                    <a:pt x="20" y="38"/>
                  </a:lnTo>
                  <a:lnTo>
                    <a:pt x="16" y="38"/>
                  </a:lnTo>
                  <a:lnTo>
                    <a:pt x="14" y="36"/>
                  </a:lnTo>
                  <a:lnTo>
                    <a:pt x="14" y="36"/>
                  </a:lnTo>
                  <a:lnTo>
                    <a:pt x="14" y="36"/>
                  </a:lnTo>
                  <a:lnTo>
                    <a:pt x="12" y="34"/>
                  </a:lnTo>
                  <a:lnTo>
                    <a:pt x="12" y="32"/>
                  </a:lnTo>
                  <a:lnTo>
                    <a:pt x="12" y="32"/>
                  </a:lnTo>
                  <a:lnTo>
                    <a:pt x="12" y="30"/>
                  </a:lnTo>
                  <a:lnTo>
                    <a:pt x="12" y="26"/>
                  </a:lnTo>
                  <a:lnTo>
                    <a:pt x="14" y="24"/>
                  </a:lnTo>
                  <a:lnTo>
                    <a:pt x="14" y="20"/>
                  </a:lnTo>
                  <a:lnTo>
                    <a:pt x="14" y="18"/>
                  </a:lnTo>
                  <a:lnTo>
                    <a:pt x="14" y="18"/>
                  </a:lnTo>
                  <a:lnTo>
                    <a:pt x="14" y="16"/>
                  </a:lnTo>
                  <a:lnTo>
                    <a:pt x="14" y="14"/>
                  </a:lnTo>
                  <a:lnTo>
                    <a:pt x="14" y="14"/>
                  </a:lnTo>
                  <a:lnTo>
                    <a:pt x="14" y="12"/>
                  </a:lnTo>
                  <a:lnTo>
                    <a:pt x="12" y="12"/>
                  </a:lnTo>
                  <a:lnTo>
                    <a:pt x="12" y="12"/>
                  </a:lnTo>
                  <a:lnTo>
                    <a:pt x="12" y="12"/>
                  </a:lnTo>
                  <a:lnTo>
                    <a:pt x="10" y="12"/>
                  </a:lnTo>
                  <a:lnTo>
                    <a:pt x="8" y="12"/>
                  </a:lnTo>
                  <a:lnTo>
                    <a:pt x="8" y="12"/>
                  </a:lnTo>
                  <a:lnTo>
                    <a:pt x="6" y="12"/>
                  </a:lnTo>
                  <a:lnTo>
                    <a:pt x="6" y="12"/>
                  </a:lnTo>
                  <a:lnTo>
                    <a:pt x="6" y="12"/>
                  </a:lnTo>
                  <a:lnTo>
                    <a:pt x="4" y="12"/>
                  </a:lnTo>
                  <a:lnTo>
                    <a:pt x="4" y="12"/>
                  </a:lnTo>
                  <a:lnTo>
                    <a:pt x="4" y="12"/>
                  </a:lnTo>
                  <a:lnTo>
                    <a:pt x="4" y="10"/>
                  </a:lnTo>
                  <a:lnTo>
                    <a:pt x="6" y="8"/>
                  </a:lnTo>
                  <a:lnTo>
                    <a:pt x="6" y="8"/>
                  </a:lnTo>
                  <a:lnTo>
                    <a:pt x="8" y="4"/>
                  </a:lnTo>
                  <a:lnTo>
                    <a:pt x="8" y="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1" name="Freeform 399">
              <a:extLst>
                <a:ext uri="{FF2B5EF4-FFF2-40B4-BE49-F238E27FC236}">
                  <a16:creationId xmlns:a16="http://schemas.microsoft.com/office/drawing/2014/main" id="{CA73B797-0E4E-4947-853E-4DAA07E669C9}"/>
                </a:ext>
              </a:extLst>
            </p:cNvPr>
            <p:cNvSpPr>
              <a:spLocks/>
            </p:cNvSpPr>
            <p:nvPr/>
          </p:nvSpPr>
          <p:spPr bwMode="auto">
            <a:xfrm>
              <a:off x="4556736" y="4812490"/>
              <a:ext cx="315238" cy="356807"/>
            </a:xfrm>
            <a:custGeom>
              <a:avLst/>
              <a:gdLst>
                <a:gd name="T0" fmla="*/ 24 w 182"/>
                <a:gd name="T1" fmla="*/ 6 h 206"/>
                <a:gd name="T2" fmla="*/ 42 w 182"/>
                <a:gd name="T3" fmla="*/ 4 h 206"/>
                <a:gd name="T4" fmla="*/ 64 w 182"/>
                <a:gd name="T5" fmla="*/ 0 h 206"/>
                <a:gd name="T6" fmla="*/ 78 w 182"/>
                <a:gd name="T7" fmla="*/ 4 h 206"/>
                <a:gd name="T8" fmla="*/ 80 w 182"/>
                <a:gd name="T9" fmla="*/ 16 h 206"/>
                <a:gd name="T10" fmla="*/ 84 w 182"/>
                <a:gd name="T11" fmla="*/ 30 h 206"/>
                <a:gd name="T12" fmla="*/ 90 w 182"/>
                <a:gd name="T13" fmla="*/ 32 h 206"/>
                <a:gd name="T14" fmla="*/ 90 w 182"/>
                <a:gd name="T15" fmla="*/ 40 h 206"/>
                <a:gd name="T16" fmla="*/ 100 w 182"/>
                <a:gd name="T17" fmla="*/ 44 h 206"/>
                <a:gd name="T18" fmla="*/ 112 w 182"/>
                <a:gd name="T19" fmla="*/ 42 h 206"/>
                <a:gd name="T20" fmla="*/ 118 w 182"/>
                <a:gd name="T21" fmla="*/ 38 h 206"/>
                <a:gd name="T22" fmla="*/ 118 w 182"/>
                <a:gd name="T23" fmla="*/ 24 h 206"/>
                <a:gd name="T24" fmla="*/ 124 w 182"/>
                <a:gd name="T25" fmla="*/ 18 h 206"/>
                <a:gd name="T26" fmla="*/ 126 w 182"/>
                <a:gd name="T27" fmla="*/ 22 h 206"/>
                <a:gd name="T28" fmla="*/ 130 w 182"/>
                <a:gd name="T29" fmla="*/ 36 h 206"/>
                <a:gd name="T30" fmla="*/ 136 w 182"/>
                <a:gd name="T31" fmla="*/ 32 h 206"/>
                <a:gd name="T32" fmla="*/ 146 w 182"/>
                <a:gd name="T33" fmla="*/ 30 h 206"/>
                <a:gd name="T34" fmla="*/ 152 w 182"/>
                <a:gd name="T35" fmla="*/ 38 h 206"/>
                <a:gd name="T36" fmla="*/ 154 w 182"/>
                <a:gd name="T37" fmla="*/ 72 h 206"/>
                <a:gd name="T38" fmla="*/ 154 w 182"/>
                <a:gd name="T39" fmla="*/ 84 h 206"/>
                <a:gd name="T40" fmla="*/ 162 w 182"/>
                <a:gd name="T41" fmla="*/ 90 h 206"/>
                <a:gd name="T42" fmla="*/ 180 w 182"/>
                <a:gd name="T43" fmla="*/ 90 h 206"/>
                <a:gd name="T44" fmla="*/ 180 w 182"/>
                <a:gd name="T45" fmla="*/ 118 h 206"/>
                <a:gd name="T46" fmla="*/ 176 w 182"/>
                <a:gd name="T47" fmla="*/ 126 h 206"/>
                <a:gd name="T48" fmla="*/ 164 w 182"/>
                <a:gd name="T49" fmla="*/ 124 h 206"/>
                <a:gd name="T50" fmla="*/ 162 w 182"/>
                <a:gd name="T51" fmla="*/ 118 h 206"/>
                <a:gd name="T52" fmla="*/ 156 w 182"/>
                <a:gd name="T53" fmla="*/ 116 h 206"/>
                <a:gd name="T54" fmla="*/ 154 w 182"/>
                <a:gd name="T55" fmla="*/ 120 h 206"/>
                <a:gd name="T56" fmla="*/ 152 w 182"/>
                <a:gd name="T57" fmla="*/ 126 h 206"/>
                <a:gd name="T58" fmla="*/ 144 w 182"/>
                <a:gd name="T59" fmla="*/ 126 h 206"/>
                <a:gd name="T60" fmla="*/ 140 w 182"/>
                <a:gd name="T61" fmla="*/ 136 h 206"/>
                <a:gd name="T62" fmla="*/ 144 w 182"/>
                <a:gd name="T63" fmla="*/ 166 h 206"/>
                <a:gd name="T64" fmla="*/ 146 w 182"/>
                <a:gd name="T65" fmla="*/ 182 h 206"/>
                <a:gd name="T66" fmla="*/ 156 w 182"/>
                <a:gd name="T67" fmla="*/ 192 h 206"/>
                <a:gd name="T68" fmla="*/ 128 w 182"/>
                <a:gd name="T69" fmla="*/ 204 h 206"/>
                <a:gd name="T70" fmla="*/ 100 w 182"/>
                <a:gd name="T71" fmla="*/ 202 h 206"/>
                <a:gd name="T72" fmla="*/ 94 w 182"/>
                <a:gd name="T73" fmla="*/ 194 h 206"/>
                <a:gd name="T74" fmla="*/ 82 w 182"/>
                <a:gd name="T75" fmla="*/ 192 h 206"/>
                <a:gd name="T76" fmla="*/ 50 w 182"/>
                <a:gd name="T77" fmla="*/ 194 h 206"/>
                <a:gd name="T78" fmla="*/ 26 w 182"/>
                <a:gd name="T79" fmla="*/ 190 h 206"/>
                <a:gd name="T80" fmla="*/ 14 w 182"/>
                <a:gd name="T81" fmla="*/ 184 h 206"/>
                <a:gd name="T82" fmla="*/ 0 w 182"/>
                <a:gd name="T83" fmla="*/ 188 h 206"/>
                <a:gd name="T84" fmla="*/ 0 w 182"/>
                <a:gd name="T85" fmla="*/ 164 h 206"/>
                <a:gd name="T86" fmla="*/ 16 w 182"/>
                <a:gd name="T87" fmla="*/ 136 h 206"/>
                <a:gd name="T88" fmla="*/ 26 w 182"/>
                <a:gd name="T89" fmla="*/ 114 h 206"/>
                <a:gd name="T90" fmla="*/ 32 w 182"/>
                <a:gd name="T91" fmla="*/ 112 h 206"/>
                <a:gd name="T92" fmla="*/ 36 w 182"/>
                <a:gd name="T93" fmla="*/ 102 h 206"/>
                <a:gd name="T94" fmla="*/ 32 w 182"/>
                <a:gd name="T95" fmla="*/ 90 h 206"/>
                <a:gd name="T96" fmla="*/ 24 w 182"/>
                <a:gd name="T97" fmla="*/ 70 h 206"/>
                <a:gd name="T98" fmla="*/ 22 w 182"/>
                <a:gd name="T99" fmla="*/ 42 h 206"/>
                <a:gd name="T100" fmla="*/ 14 w 182"/>
                <a:gd name="T101" fmla="*/ 36 h 206"/>
                <a:gd name="T102" fmla="*/ 12 w 182"/>
                <a:gd name="T103" fmla="*/ 26 h 206"/>
                <a:gd name="T104" fmla="*/ 14 w 182"/>
                <a:gd name="T105" fmla="*/ 14 h 206"/>
                <a:gd name="T106" fmla="*/ 8 w 182"/>
                <a:gd name="T107" fmla="*/ 12 h 206"/>
                <a:gd name="T108" fmla="*/ 4 w 182"/>
                <a:gd name="T109" fmla="*/ 1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2" h="206">
                  <a:moveTo>
                    <a:pt x="8" y="4"/>
                  </a:moveTo>
                  <a:lnTo>
                    <a:pt x="8" y="4"/>
                  </a:lnTo>
                  <a:lnTo>
                    <a:pt x="10" y="4"/>
                  </a:lnTo>
                  <a:lnTo>
                    <a:pt x="12" y="6"/>
                  </a:lnTo>
                  <a:lnTo>
                    <a:pt x="14" y="6"/>
                  </a:lnTo>
                  <a:lnTo>
                    <a:pt x="18" y="6"/>
                  </a:lnTo>
                  <a:lnTo>
                    <a:pt x="24" y="6"/>
                  </a:lnTo>
                  <a:lnTo>
                    <a:pt x="28" y="6"/>
                  </a:lnTo>
                  <a:lnTo>
                    <a:pt x="30" y="8"/>
                  </a:lnTo>
                  <a:lnTo>
                    <a:pt x="32" y="6"/>
                  </a:lnTo>
                  <a:lnTo>
                    <a:pt x="36" y="6"/>
                  </a:lnTo>
                  <a:lnTo>
                    <a:pt x="36" y="6"/>
                  </a:lnTo>
                  <a:lnTo>
                    <a:pt x="38" y="6"/>
                  </a:lnTo>
                  <a:lnTo>
                    <a:pt x="42" y="4"/>
                  </a:lnTo>
                  <a:lnTo>
                    <a:pt x="46" y="2"/>
                  </a:lnTo>
                  <a:lnTo>
                    <a:pt x="48" y="2"/>
                  </a:lnTo>
                  <a:lnTo>
                    <a:pt x="50" y="2"/>
                  </a:lnTo>
                  <a:lnTo>
                    <a:pt x="52" y="0"/>
                  </a:lnTo>
                  <a:lnTo>
                    <a:pt x="56" y="0"/>
                  </a:lnTo>
                  <a:lnTo>
                    <a:pt x="60" y="0"/>
                  </a:lnTo>
                  <a:lnTo>
                    <a:pt x="64" y="0"/>
                  </a:lnTo>
                  <a:lnTo>
                    <a:pt x="68" y="2"/>
                  </a:lnTo>
                  <a:lnTo>
                    <a:pt x="70" y="2"/>
                  </a:lnTo>
                  <a:lnTo>
                    <a:pt x="72" y="2"/>
                  </a:lnTo>
                  <a:lnTo>
                    <a:pt x="74" y="2"/>
                  </a:lnTo>
                  <a:lnTo>
                    <a:pt x="74" y="2"/>
                  </a:lnTo>
                  <a:lnTo>
                    <a:pt x="76" y="4"/>
                  </a:lnTo>
                  <a:lnTo>
                    <a:pt x="78" y="4"/>
                  </a:lnTo>
                  <a:lnTo>
                    <a:pt x="78" y="6"/>
                  </a:lnTo>
                  <a:lnTo>
                    <a:pt x="78" y="6"/>
                  </a:lnTo>
                  <a:lnTo>
                    <a:pt x="78" y="8"/>
                  </a:lnTo>
                  <a:lnTo>
                    <a:pt x="80" y="10"/>
                  </a:lnTo>
                  <a:lnTo>
                    <a:pt x="80" y="10"/>
                  </a:lnTo>
                  <a:lnTo>
                    <a:pt x="80" y="12"/>
                  </a:lnTo>
                  <a:lnTo>
                    <a:pt x="80" y="16"/>
                  </a:lnTo>
                  <a:lnTo>
                    <a:pt x="80" y="20"/>
                  </a:lnTo>
                  <a:lnTo>
                    <a:pt x="80" y="24"/>
                  </a:lnTo>
                  <a:lnTo>
                    <a:pt x="80" y="26"/>
                  </a:lnTo>
                  <a:lnTo>
                    <a:pt x="82" y="26"/>
                  </a:lnTo>
                  <a:lnTo>
                    <a:pt x="82" y="28"/>
                  </a:lnTo>
                  <a:lnTo>
                    <a:pt x="82" y="28"/>
                  </a:lnTo>
                  <a:lnTo>
                    <a:pt x="84" y="30"/>
                  </a:lnTo>
                  <a:lnTo>
                    <a:pt x="84" y="30"/>
                  </a:lnTo>
                  <a:lnTo>
                    <a:pt x="86" y="30"/>
                  </a:lnTo>
                  <a:lnTo>
                    <a:pt x="88" y="30"/>
                  </a:lnTo>
                  <a:lnTo>
                    <a:pt x="88" y="30"/>
                  </a:lnTo>
                  <a:lnTo>
                    <a:pt x="88" y="32"/>
                  </a:lnTo>
                  <a:lnTo>
                    <a:pt x="90" y="32"/>
                  </a:lnTo>
                  <a:lnTo>
                    <a:pt x="90" y="32"/>
                  </a:lnTo>
                  <a:lnTo>
                    <a:pt x="90" y="34"/>
                  </a:lnTo>
                  <a:lnTo>
                    <a:pt x="90" y="34"/>
                  </a:lnTo>
                  <a:lnTo>
                    <a:pt x="90" y="36"/>
                  </a:lnTo>
                  <a:lnTo>
                    <a:pt x="90" y="38"/>
                  </a:lnTo>
                  <a:lnTo>
                    <a:pt x="90" y="38"/>
                  </a:lnTo>
                  <a:lnTo>
                    <a:pt x="90" y="40"/>
                  </a:lnTo>
                  <a:lnTo>
                    <a:pt x="90" y="40"/>
                  </a:lnTo>
                  <a:lnTo>
                    <a:pt x="90" y="40"/>
                  </a:lnTo>
                  <a:lnTo>
                    <a:pt x="92" y="42"/>
                  </a:lnTo>
                  <a:lnTo>
                    <a:pt x="92" y="42"/>
                  </a:lnTo>
                  <a:lnTo>
                    <a:pt x="94" y="42"/>
                  </a:lnTo>
                  <a:lnTo>
                    <a:pt x="96" y="44"/>
                  </a:lnTo>
                  <a:lnTo>
                    <a:pt x="98" y="44"/>
                  </a:lnTo>
                  <a:lnTo>
                    <a:pt x="100" y="44"/>
                  </a:lnTo>
                  <a:lnTo>
                    <a:pt x="102" y="44"/>
                  </a:lnTo>
                  <a:lnTo>
                    <a:pt x="104" y="44"/>
                  </a:lnTo>
                  <a:lnTo>
                    <a:pt x="106" y="44"/>
                  </a:lnTo>
                  <a:lnTo>
                    <a:pt x="106" y="44"/>
                  </a:lnTo>
                  <a:lnTo>
                    <a:pt x="108" y="44"/>
                  </a:lnTo>
                  <a:lnTo>
                    <a:pt x="110" y="42"/>
                  </a:lnTo>
                  <a:lnTo>
                    <a:pt x="112" y="42"/>
                  </a:lnTo>
                  <a:lnTo>
                    <a:pt x="114" y="42"/>
                  </a:lnTo>
                  <a:lnTo>
                    <a:pt x="114" y="42"/>
                  </a:lnTo>
                  <a:lnTo>
                    <a:pt x="116" y="40"/>
                  </a:lnTo>
                  <a:lnTo>
                    <a:pt x="116" y="40"/>
                  </a:lnTo>
                  <a:lnTo>
                    <a:pt x="116" y="38"/>
                  </a:lnTo>
                  <a:lnTo>
                    <a:pt x="116" y="38"/>
                  </a:lnTo>
                  <a:lnTo>
                    <a:pt x="118" y="38"/>
                  </a:lnTo>
                  <a:lnTo>
                    <a:pt x="118" y="34"/>
                  </a:lnTo>
                  <a:lnTo>
                    <a:pt x="116" y="32"/>
                  </a:lnTo>
                  <a:lnTo>
                    <a:pt x="116" y="30"/>
                  </a:lnTo>
                  <a:lnTo>
                    <a:pt x="116" y="28"/>
                  </a:lnTo>
                  <a:lnTo>
                    <a:pt x="116" y="26"/>
                  </a:lnTo>
                  <a:lnTo>
                    <a:pt x="116" y="24"/>
                  </a:lnTo>
                  <a:lnTo>
                    <a:pt x="118" y="24"/>
                  </a:lnTo>
                  <a:lnTo>
                    <a:pt x="118" y="24"/>
                  </a:lnTo>
                  <a:lnTo>
                    <a:pt x="118" y="22"/>
                  </a:lnTo>
                  <a:lnTo>
                    <a:pt x="120" y="20"/>
                  </a:lnTo>
                  <a:lnTo>
                    <a:pt x="120" y="20"/>
                  </a:lnTo>
                  <a:lnTo>
                    <a:pt x="122" y="20"/>
                  </a:lnTo>
                  <a:lnTo>
                    <a:pt x="122" y="18"/>
                  </a:lnTo>
                  <a:lnTo>
                    <a:pt x="124" y="18"/>
                  </a:lnTo>
                  <a:lnTo>
                    <a:pt x="124" y="18"/>
                  </a:lnTo>
                  <a:lnTo>
                    <a:pt x="124" y="18"/>
                  </a:lnTo>
                  <a:lnTo>
                    <a:pt x="124" y="18"/>
                  </a:lnTo>
                  <a:lnTo>
                    <a:pt x="126" y="20"/>
                  </a:lnTo>
                  <a:lnTo>
                    <a:pt x="126" y="20"/>
                  </a:lnTo>
                  <a:lnTo>
                    <a:pt x="126" y="22"/>
                  </a:lnTo>
                  <a:lnTo>
                    <a:pt x="126" y="22"/>
                  </a:lnTo>
                  <a:lnTo>
                    <a:pt x="128" y="24"/>
                  </a:lnTo>
                  <a:lnTo>
                    <a:pt x="128" y="26"/>
                  </a:lnTo>
                  <a:lnTo>
                    <a:pt x="128" y="30"/>
                  </a:lnTo>
                  <a:lnTo>
                    <a:pt x="130" y="32"/>
                  </a:lnTo>
                  <a:lnTo>
                    <a:pt x="130" y="34"/>
                  </a:lnTo>
                  <a:lnTo>
                    <a:pt x="130" y="34"/>
                  </a:lnTo>
                  <a:lnTo>
                    <a:pt x="130" y="36"/>
                  </a:lnTo>
                  <a:lnTo>
                    <a:pt x="132" y="36"/>
                  </a:lnTo>
                  <a:lnTo>
                    <a:pt x="132" y="36"/>
                  </a:lnTo>
                  <a:lnTo>
                    <a:pt x="132" y="36"/>
                  </a:lnTo>
                  <a:lnTo>
                    <a:pt x="134" y="36"/>
                  </a:lnTo>
                  <a:lnTo>
                    <a:pt x="134" y="34"/>
                  </a:lnTo>
                  <a:lnTo>
                    <a:pt x="134" y="34"/>
                  </a:lnTo>
                  <a:lnTo>
                    <a:pt x="136" y="32"/>
                  </a:lnTo>
                  <a:lnTo>
                    <a:pt x="138" y="32"/>
                  </a:lnTo>
                  <a:lnTo>
                    <a:pt x="138" y="32"/>
                  </a:lnTo>
                  <a:lnTo>
                    <a:pt x="140" y="30"/>
                  </a:lnTo>
                  <a:lnTo>
                    <a:pt x="142" y="30"/>
                  </a:lnTo>
                  <a:lnTo>
                    <a:pt x="144" y="30"/>
                  </a:lnTo>
                  <a:lnTo>
                    <a:pt x="146" y="30"/>
                  </a:lnTo>
                  <a:lnTo>
                    <a:pt x="146" y="30"/>
                  </a:lnTo>
                  <a:lnTo>
                    <a:pt x="148" y="30"/>
                  </a:lnTo>
                  <a:lnTo>
                    <a:pt x="148" y="30"/>
                  </a:lnTo>
                  <a:lnTo>
                    <a:pt x="150" y="32"/>
                  </a:lnTo>
                  <a:lnTo>
                    <a:pt x="150" y="32"/>
                  </a:lnTo>
                  <a:lnTo>
                    <a:pt x="150" y="34"/>
                  </a:lnTo>
                  <a:lnTo>
                    <a:pt x="152" y="36"/>
                  </a:lnTo>
                  <a:lnTo>
                    <a:pt x="152" y="38"/>
                  </a:lnTo>
                  <a:lnTo>
                    <a:pt x="154" y="40"/>
                  </a:lnTo>
                  <a:lnTo>
                    <a:pt x="154" y="42"/>
                  </a:lnTo>
                  <a:lnTo>
                    <a:pt x="154" y="46"/>
                  </a:lnTo>
                  <a:lnTo>
                    <a:pt x="154" y="50"/>
                  </a:lnTo>
                  <a:lnTo>
                    <a:pt x="154" y="54"/>
                  </a:lnTo>
                  <a:lnTo>
                    <a:pt x="154" y="64"/>
                  </a:lnTo>
                  <a:lnTo>
                    <a:pt x="154" y="72"/>
                  </a:lnTo>
                  <a:lnTo>
                    <a:pt x="154" y="74"/>
                  </a:lnTo>
                  <a:lnTo>
                    <a:pt x="154" y="78"/>
                  </a:lnTo>
                  <a:lnTo>
                    <a:pt x="154" y="80"/>
                  </a:lnTo>
                  <a:lnTo>
                    <a:pt x="154" y="80"/>
                  </a:lnTo>
                  <a:lnTo>
                    <a:pt x="154" y="82"/>
                  </a:lnTo>
                  <a:lnTo>
                    <a:pt x="154" y="84"/>
                  </a:lnTo>
                  <a:lnTo>
                    <a:pt x="154" y="84"/>
                  </a:lnTo>
                  <a:lnTo>
                    <a:pt x="156" y="86"/>
                  </a:lnTo>
                  <a:lnTo>
                    <a:pt x="156" y="86"/>
                  </a:lnTo>
                  <a:lnTo>
                    <a:pt x="158" y="88"/>
                  </a:lnTo>
                  <a:lnTo>
                    <a:pt x="160" y="88"/>
                  </a:lnTo>
                  <a:lnTo>
                    <a:pt x="160" y="90"/>
                  </a:lnTo>
                  <a:lnTo>
                    <a:pt x="162" y="90"/>
                  </a:lnTo>
                  <a:lnTo>
                    <a:pt x="162" y="90"/>
                  </a:lnTo>
                  <a:lnTo>
                    <a:pt x="164" y="92"/>
                  </a:lnTo>
                  <a:lnTo>
                    <a:pt x="164" y="92"/>
                  </a:lnTo>
                  <a:lnTo>
                    <a:pt x="168" y="92"/>
                  </a:lnTo>
                  <a:lnTo>
                    <a:pt x="170" y="92"/>
                  </a:lnTo>
                  <a:lnTo>
                    <a:pt x="172" y="92"/>
                  </a:lnTo>
                  <a:lnTo>
                    <a:pt x="178" y="92"/>
                  </a:lnTo>
                  <a:lnTo>
                    <a:pt x="180" y="90"/>
                  </a:lnTo>
                  <a:lnTo>
                    <a:pt x="180" y="96"/>
                  </a:lnTo>
                  <a:lnTo>
                    <a:pt x="180" y="100"/>
                  </a:lnTo>
                  <a:lnTo>
                    <a:pt x="182" y="106"/>
                  </a:lnTo>
                  <a:lnTo>
                    <a:pt x="182" y="108"/>
                  </a:lnTo>
                  <a:lnTo>
                    <a:pt x="182" y="112"/>
                  </a:lnTo>
                  <a:lnTo>
                    <a:pt x="182" y="114"/>
                  </a:lnTo>
                  <a:lnTo>
                    <a:pt x="180" y="118"/>
                  </a:lnTo>
                  <a:lnTo>
                    <a:pt x="180" y="120"/>
                  </a:lnTo>
                  <a:lnTo>
                    <a:pt x="180" y="122"/>
                  </a:lnTo>
                  <a:lnTo>
                    <a:pt x="178" y="124"/>
                  </a:lnTo>
                  <a:lnTo>
                    <a:pt x="178" y="124"/>
                  </a:lnTo>
                  <a:lnTo>
                    <a:pt x="178" y="124"/>
                  </a:lnTo>
                  <a:lnTo>
                    <a:pt x="178" y="126"/>
                  </a:lnTo>
                  <a:lnTo>
                    <a:pt x="176" y="126"/>
                  </a:lnTo>
                  <a:lnTo>
                    <a:pt x="176" y="126"/>
                  </a:lnTo>
                  <a:lnTo>
                    <a:pt x="174" y="126"/>
                  </a:lnTo>
                  <a:lnTo>
                    <a:pt x="172" y="126"/>
                  </a:lnTo>
                  <a:lnTo>
                    <a:pt x="170" y="126"/>
                  </a:lnTo>
                  <a:lnTo>
                    <a:pt x="168" y="126"/>
                  </a:lnTo>
                  <a:lnTo>
                    <a:pt x="166" y="126"/>
                  </a:lnTo>
                  <a:lnTo>
                    <a:pt x="164" y="124"/>
                  </a:lnTo>
                  <a:lnTo>
                    <a:pt x="164" y="124"/>
                  </a:lnTo>
                  <a:lnTo>
                    <a:pt x="164" y="124"/>
                  </a:lnTo>
                  <a:lnTo>
                    <a:pt x="164" y="124"/>
                  </a:lnTo>
                  <a:lnTo>
                    <a:pt x="162" y="122"/>
                  </a:lnTo>
                  <a:lnTo>
                    <a:pt x="162" y="120"/>
                  </a:lnTo>
                  <a:lnTo>
                    <a:pt x="162" y="120"/>
                  </a:lnTo>
                  <a:lnTo>
                    <a:pt x="162" y="118"/>
                  </a:lnTo>
                  <a:lnTo>
                    <a:pt x="160" y="116"/>
                  </a:lnTo>
                  <a:lnTo>
                    <a:pt x="160" y="116"/>
                  </a:lnTo>
                  <a:lnTo>
                    <a:pt x="160" y="116"/>
                  </a:lnTo>
                  <a:lnTo>
                    <a:pt x="160" y="116"/>
                  </a:lnTo>
                  <a:lnTo>
                    <a:pt x="158" y="116"/>
                  </a:lnTo>
                  <a:lnTo>
                    <a:pt x="156" y="116"/>
                  </a:lnTo>
                  <a:lnTo>
                    <a:pt x="156" y="116"/>
                  </a:lnTo>
                  <a:lnTo>
                    <a:pt x="154" y="116"/>
                  </a:lnTo>
                  <a:lnTo>
                    <a:pt x="154" y="116"/>
                  </a:lnTo>
                  <a:lnTo>
                    <a:pt x="154" y="118"/>
                  </a:lnTo>
                  <a:lnTo>
                    <a:pt x="154" y="118"/>
                  </a:lnTo>
                  <a:lnTo>
                    <a:pt x="154" y="118"/>
                  </a:lnTo>
                  <a:lnTo>
                    <a:pt x="154" y="120"/>
                  </a:lnTo>
                  <a:lnTo>
                    <a:pt x="154" y="120"/>
                  </a:lnTo>
                  <a:lnTo>
                    <a:pt x="154" y="122"/>
                  </a:lnTo>
                  <a:lnTo>
                    <a:pt x="154" y="124"/>
                  </a:lnTo>
                  <a:lnTo>
                    <a:pt x="154" y="124"/>
                  </a:lnTo>
                  <a:lnTo>
                    <a:pt x="154" y="124"/>
                  </a:lnTo>
                  <a:lnTo>
                    <a:pt x="154" y="124"/>
                  </a:lnTo>
                  <a:lnTo>
                    <a:pt x="154" y="126"/>
                  </a:lnTo>
                  <a:lnTo>
                    <a:pt x="152" y="126"/>
                  </a:lnTo>
                  <a:lnTo>
                    <a:pt x="152" y="126"/>
                  </a:lnTo>
                  <a:lnTo>
                    <a:pt x="150" y="126"/>
                  </a:lnTo>
                  <a:lnTo>
                    <a:pt x="148" y="126"/>
                  </a:lnTo>
                  <a:lnTo>
                    <a:pt x="148" y="126"/>
                  </a:lnTo>
                  <a:lnTo>
                    <a:pt x="146" y="126"/>
                  </a:lnTo>
                  <a:lnTo>
                    <a:pt x="144" y="126"/>
                  </a:lnTo>
                  <a:lnTo>
                    <a:pt x="144" y="126"/>
                  </a:lnTo>
                  <a:lnTo>
                    <a:pt x="144" y="126"/>
                  </a:lnTo>
                  <a:lnTo>
                    <a:pt x="144" y="126"/>
                  </a:lnTo>
                  <a:lnTo>
                    <a:pt x="142" y="128"/>
                  </a:lnTo>
                  <a:lnTo>
                    <a:pt x="142" y="130"/>
                  </a:lnTo>
                  <a:lnTo>
                    <a:pt x="142" y="132"/>
                  </a:lnTo>
                  <a:lnTo>
                    <a:pt x="142" y="134"/>
                  </a:lnTo>
                  <a:lnTo>
                    <a:pt x="140" y="136"/>
                  </a:lnTo>
                  <a:lnTo>
                    <a:pt x="140" y="140"/>
                  </a:lnTo>
                  <a:lnTo>
                    <a:pt x="142" y="142"/>
                  </a:lnTo>
                  <a:lnTo>
                    <a:pt x="142" y="144"/>
                  </a:lnTo>
                  <a:lnTo>
                    <a:pt x="142" y="150"/>
                  </a:lnTo>
                  <a:lnTo>
                    <a:pt x="142" y="156"/>
                  </a:lnTo>
                  <a:lnTo>
                    <a:pt x="144" y="162"/>
                  </a:lnTo>
                  <a:lnTo>
                    <a:pt x="144" y="166"/>
                  </a:lnTo>
                  <a:lnTo>
                    <a:pt x="144" y="172"/>
                  </a:lnTo>
                  <a:lnTo>
                    <a:pt x="144" y="176"/>
                  </a:lnTo>
                  <a:lnTo>
                    <a:pt x="144" y="176"/>
                  </a:lnTo>
                  <a:lnTo>
                    <a:pt x="144" y="178"/>
                  </a:lnTo>
                  <a:lnTo>
                    <a:pt x="146" y="178"/>
                  </a:lnTo>
                  <a:lnTo>
                    <a:pt x="146" y="180"/>
                  </a:lnTo>
                  <a:lnTo>
                    <a:pt x="146" y="182"/>
                  </a:lnTo>
                  <a:lnTo>
                    <a:pt x="148" y="184"/>
                  </a:lnTo>
                  <a:lnTo>
                    <a:pt x="150" y="186"/>
                  </a:lnTo>
                  <a:lnTo>
                    <a:pt x="152" y="186"/>
                  </a:lnTo>
                  <a:lnTo>
                    <a:pt x="154" y="188"/>
                  </a:lnTo>
                  <a:lnTo>
                    <a:pt x="154" y="190"/>
                  </a:lnTo>
                  <a:lnTo>
                    <a:pt x="156" y="192"/>
                  </a:lnTo>
                  <a:lnTo>
                    <a:pt x="156" y="192"/>
                  </a:lnTo>
                  <a:lnTo>
                    <a:pt x="156" y="194"/>
                  </a:lnTo>
                  <a:lnTo>
                    <a:pt x="156" y="194"/>
                  </a:lnTo>
                  <a:lnTo>
                    <a:pt x="156" y="196"/>
                  </a:lnTo>
                  <a:lnTo>
                    <a:pt x="156" y="200"/>
                  </a:lnTo>
                  <a:lnTo>
                    <a:pt x="140" y="206"/>
                  </a:lnTo>
                  <a:lnTo>
                    <a:pt x="136" y="206"/>
                  </a:lnTo>
                  <a:lnTo>
                    <a:pt x="128" y="204"/>
                  </a:lnTo>
                  <a:lnTo>
                    <a:pt x="126" y="204"/>
                  </a:lnTo>
                  <a:lnTo>
                    <a:pt x="120" y="204"/>
                  </a:lnTo>
                  <a:lnTo>
                    <a:pt x="112" y="204"/>
                  </a:lnTo>
                  <a:lnTo>
                    <a:pt x="108" y="204"/>
                  </a:lnTo>
                  <a:lnTo>
                    <a:pt x="104" y="204"/>
                  </a:lnTo>
                  <a:lnTo>
                    <a:pt x="102" y="202"/>
                  </a:lnTo>
                  <a:lnTo>
                    <a:pt x="100" y="202"/>
                  </a:lnTo>
                  <a:lnTo>
                    <a:pt x="98" y="202"/>
                  </a:lnTo>
                  <a:lnTo>
                    <a:pt x="98" y="200"/>
                  </a:lnTo>
                  <a:lnTo>
                    <a:pt x="96" y="200"/>
                  </a:lnTo>
                  <a:lnTo>
                    <a:pt x="96" y="200"/>
                  </a:lnTo>
                  <a:lnTo>
                    <a:pt x="96" y="196"/>
                  </a:lnTo>
                  <a:lnTo>
                    <a:pt x="94" y="196"/>
                  </a:lnTo>
                  <a:lnTo>
                    <a:pt x="94" y="194"/>
                  </a:lnTo>
                  <a:lnTo>
                    <a:pt x="94" y="194"/>
                  </a:lnTo>
                  <a:lnTo>
                    <a:pt x="92" y="192"/>
                  </a:lnTo>
                  <a:lnTo>
                    <a:pt x="90" y="192"/>
                  </a:lnTo>
                  <a:lnTo>
                    <a:pt x="88" y="192"/>
                  </a:lnTo>
                  <a:lnTo>
                    <a:pt x="86" y="192"/>
                  </a:lnTo>
                  <a:lnTo>
                    <a:pt x="84" y="192"/>
                  </a:lnTo>
                  <a:lnTo>
                    <a:pt x="82" y="192"/>
                  </a:lnTo>
                  <a:lnTo>
                    <a:pt x="80" y="192"/>
                  </a:lnTo>
                  <a:lnTo>
                    <a:pt x="74" y="192"/>
                  </a:lnTo>
                  <a:lnTo>
                    <a:pt x="64" y="194"/>
                  </a:lnTo>
                  <a:lnTo>
                    <a:pt x="60" y="194"/>
                  </a:lnTo>
                  <a:lnTo>
                    <a:pt x="58" y="194"/>
                  </a:lnTo>
                  <a:lnTo>
                    <a:pt x="56" y="194"/>
                  </a:lnTo>
                  <a:lnTo>
                    <a:pt x="50" y="194"/>
                  </a:lnTo>
                  <a:lnTo>
                    <a:pt x="42" y="194"/>
                  </a:lnTo>
                  <a:lnTo>
                    <a:pt x="40" y="192"/>
                  </a:lnTo>
                  <a:lnTo>
                    <a:pt x="36" y="192"/>
                  </a:lnTo>
                  <a:lnTo>
                    <a:pt x="32" y="192"/>
                  </a:lnTo>
                  <a:lnTo>
                    <a:pt x="30" y="192"/>
                  </a:lnTo>
                  <a:lnTo>
                    <a:pt x="28" y="190"/>
                  </a:lnTo>
                  <a:lnTo>
                    <a:pt x="26" y="190"/>
                  </a:lnTo>
                  <a:lnTo>
                    <a:pt x="22" y="188"/>
                  </a:lnTo>
                  <a:lnTo>
                    <a:pt x="20" y="186"/>
                  </a:lnTo>
                  <a:lnTo>
                    <a:pt x="18" y="186"/>
                  </a:lnTo>
                  <a:lnTo>
                    <a:pt x="16" y="184"/>
                  </a:lnTo>
                  <a:lnTo>
                    <a:pt x="16" y="184"/>
                  </a:lnTo>
                  <a:lnTo>
                    <a:pt x="14" y="184"/>
                  </a:lnTo>
                  <a:lnTo>
                    <a:pt x="14" y="184"/>
                  </a:lnTo>
                  <a:lnTo>
                    <a:pt x="14" y="184"/>
                  </a:lnTo>
                  <a:lnTo>
                    <a:pt x="10" y="186"/>
                  </a:lnTo>
                  <a:lnTo>
                    <a:pt x="8" y="186"/>
                  </a:lnTo>
                  <a:lnTo>
                    <a:pt x="6" y="188"/>
                  </a:lnTo>
                  <a:lnTo>
                    <a:pt x="2" y="190"/>
                  </a:lnTo>
                  <a:lnTo>
                    <a:pt x="0" y="190"/>
                  </a:lnTo>
                  <a:lnTo>
                    <a:pt x="0" y="188"/>
                  </a:lnTo>
                  <a:lnTo>
                    <a:pt x="0" y="180"/>
                  </a:lnTo>
                  <a:lnTo>
                    <a:pt x="0" y="176"/>
                  </a:lnTo>
                  <a:lnTo>
                    <a:pt x="0" y="172"/>
                  </a:lnTo>
                  <a:lnTo>
                    <a:pt x="0" y="168"/>
                  </a:lnTo>
                  <a:lnTo>
                    <a:pt x="0" y="166"/>
                  </a:lnTo>
                  <a:lnTo>
                    <a:pt x="0" y="166"/>
                  </a:lnTo>
                  <a:lnTo>
                    <a:pt x="0" y="164"/>
                  </a:lnTo>
                  <a:lnTo>
                    <a:pt x="2" y="162"/>
                  </a:lnTo>
                  <a:lnTo>
                    <a:pt x="2" y="158"/>
                  </a:lnTo>
                  <a:lnTo>
                    <a:pt x="6" y="154"/>
                  </a:lnTo>
                  <a:lnTo>
                    <a:pt x="8" y="150"/>
                  </a:lnTo>
                  <a:lnTo>
                    <a:pt x="12" y="144"/>
                  </a:lnTo>
                  <a:lnTo>
                    <a:pt x="14" y="140"/>
                  </a:lnTo>
                  <a:lnTo>
                    <a:pt x="16" y="136"/>
                  </a:lnTo>
                  <a:lnTo>
                    <a:pt x="18" y="132"/>
                  </a:lnTo>
                  <a:lnTo>
                    <a:pt x="20" y="128"/>
                  </a:lnTo>
                  <a:lnTo>
                    <a:pt x="22" y="122"/>
                  </a:lnTo>
                  <a:lnTo>
                    <a:pt x="24" y="118"/>
                  </a:lnTo>
                  <a:lnTo>
                    <a:pt x="24" y="116"/>
                  </a:lnTo>
                  <a:lnTo>
                    <a:pt x="24" y="116"/>
                  </a:lnTo>
                  <a:lnTo>
                    <a:pt x="26" y="114"/>
                  </a:lnTo>
                  <a:lnTo>
                    <a:pt x="26" y="114"/>
                  </a:lnTo>
                  <a:lnTo>
                    <a:pt x="26" y="112"/>
                  </a:lnTo>
                  <a:lnTo>
                    <a:pt x="26" y="112"/>
                  </a:lnTo>
                  <a:lnTo>
                    <a:pt x="28" y="112"/>
                  </a:lnTo>
                  <a:lnTo>
                    <a:pt x="30" y="112"/>
                  </a:lnTo>
                  <a:lnTo>
                    <a:pt x="32" y="112"/>
                  </a:lnTo>
                  <a:lnTo>
                    <a:pt x="32" y="112"/>
                  </a:lnTo>
                  <a:lnTo>
                    <a:pt x="32" y="112"/>
                  </a:lnTo>
                  <a:lnTo>
                    <a:pt x="32" y="110"/>
                  </a:lnTo>
                  <a:lnTo>
                    <a:pt x="34" y="110"/>
                  </a:lnTo>
                  <a:lnTo>
                    <a:pt x="34" y="108"/>
                  </a:lnTo>
                  <a:lnTo>
                    <a:pt x="34" y="106"/>
                  </a:lnTo>
                  <a:lnTo>
                    <a:pt x="36" y="104"/>
                  </a:lnTo>
                  <a:lnTo>
                    <a:pt x="36" y="102"/>
                  </a:lnTo>
                  <a:lnTo>
                    <a:pt x="36" y="100"/>
                  </a:lnTo>
                  <a:lnTo>
                    <a:pt x="36" y="98"/>
                  </a:lnTo>
                  <a:lnTo>
                    <a:pt x="36" y="96"/>
                  </a:lnTo>
                  <a:lnTo>
                    <a:pt x="36" y="96"/>
                  </a:lnTo>
                  <a:lnTo>
                    <a:pt x="36" y="94"/>
                  </a:lnTo>
                  <a:lnTo>
                    <a:pt x="34" y="92"/>
                  </a:lnTo>
                  <a:lnTo>
                    <a:pt x="32" y="90"/>
                  </a:lnTo>
                  <a:lnTo>
                    <a:pt x="32" y="88"/>
                  </a:lnTo>
                  <a:lnTo>
                    <a:pt x="28" y="84"/>
                  </a:lnTo>
                  <a:lnTo>
                    <a:pt x="28" y="82"/>
                  </a:lnTo>
                  <a:lnTo>
                    <a:pt x="26" y="80"/>
                  </a:lnTo>
                  <a:lnTo>
                    <a:pt x="26" y="78"/>
                  </a:lnTo>
                  <a:lnTo>
                    <a:pt x="26" y="76"/>
                  </a:lnTo>
                  <a:lnTo>
                    <a:pt x="24" y="70"/>
                  </a:lnTo>
                  <a:lnTo>
                    <a:pt x="24" y="62"/>
                  </a:lnTo>
                  <a:lnTo>
                    <a:pt x="22" y="58"/>
                  </a:lnTo>
                  <a:lnTo>
                    <a:pt x="22" y="56"/>
                  </a:lnTo>
                  <a:lnTo>
                    <a:pt x="22" y="50"/>
                  </a:lnTo>
                  <a:lnTo>
                    <a:pt x="22" y="48"/>
                  </a:lnTo>
                  <a:lnTo>
                    <a:pt x="22" y="44"/>
                  </a:lnTo>
                  <a:lnTo>
                    <a:pt x="22" y="42"/>
                  </a:lnTo>
                  <a:lnTo>
                    <a:pt x="22" y="42"/>
                  </a:lnTo>
                  <a:lnTo>
                    <a:pt x="22" y="40"/>
                  </a:lnTo>
                  <a:lnTo>
                    <a:pt x="20" y="40"/>
                  </a:lnTo>
                  <a:lnTo>
                    <a:pt x="20" y="38"/>
                  </a:lnTo>
                  <a:lnTo>
                    <a:pt x="20" y="38"/>
                  </a:lnTo>
                  <a:lnTo>
                    <a:pt x="16" y="38"/>
                  </a:lnTo>
                  <a:lnTo>
                    <a:pt x="14" y="36"/>
                  </a:lnTo>
                  <a:lnTo>
                    <a:pt x="14" y="36"/>
                  </a:lnTo>
                  <a:lnTo>
                    <a:pt x="14" y="36"/>
                  </a:lnTo>
                  <a:lnTo>
                    <a:pt x="12" y="34"/>
                  </a:lnTo>
                  <a:lnTo>
                    <a:pt x="12" y="32"/>
                  </a:lnTo>
                  <a:lnTo>
                    <a:pt x="12" y="32"/>
                  </a:lnTo>
                  <a:lnTo>
                    <a:pt x="12" y="30"/>
                  </a:lnTo>
                  <a:lnTo>
                    <a:pt x="12" y="26"/>
                  </a:lnTo>
                  <a:lnTo>
                    <a:pt x="14" y="24"/>
                  </a:lnTo>
                  <a:lnTo>
                    <a:pt x="14" y="20"/>
                  </a:lnTo>
                  <a:lnTo>
                    <a:pt x="14" y="18"/>
                  </a:lnTo>
                  <a:lnTo>
                    <a:pt x="14" y="18"/>
                  </a:lnTo>
                  <a:lnTo>
                    <a:pt x="14" y="16"/>
                  </a:lnTo>
                  <a:lnTo>
                    <a:pt x="14" y="14"/>
                  </a:lnTo>
                  <a:lnTo>
                    <a:pt x="14" y="14"/>
                  </a:lnTo>
                  <a:lnTo>
                    <a:pt x="14" y="12"/>
                  </a:lnTo>
                  <a:lnTo>
                    <a:pt x="12" y="12"/>
                  </a:lnTo>
                  <a:lnTo>
                    <a:pt x="12" y="12"/>
                  </a:lnTo>
                  <a:lnTo>
                    <a:pt x="12" y="12"/>
                  </a:lnTo>
                  <a:lnTo>
                    <a:pt x="10" y="12"/>
                  </a:lnTo>
                  <a:lnTo>
                    <a:pt x="8" y="12"/>
                  </a:lnTo>
                  <a:lnTo>
                    <a:pt x="8" y="12"/>
                  </a:lnTo>
                  <a:lnTo>
                    <a:pt x="6" y="12"/>
                  </a:lnTo>
                  <a:lnTo>
                    <a:pt x="6" y="12"/>
                  </a:lnTo>
                  <a:lnTo>
                    <a:pt x="6" y="12"/>
                  </a:lnTo>
                  <a:lnTo>
                    <a:pt x="4" y="12"/>
                  </a:lnTo>
                  <a:lnTo>
                    <a:pt x="4" y="12"/>
                  </a:lnTo>
                  <a:lnTo>
                    <a:pt x="4" y="12"/>
                  </a:lnTo>
                  <a:lnTo>
                    <a:pt x="4" y="10"/>
                  </a:lnTo>
                  <a:lnTo>
                    <a:pt x="6" y="8"/>
                  </a:lnTo>
                  <a:lnTo>
                    <a:pt x="6" y="8"/>
                  </a:lnTo>
                  <a:lnTo>
                    <a:pt x="8" y="4"/>
                  </a:lnTo>
                  <a:lnTo>
                    <a:pt x="8" y="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2" name="Freeform 400">
              <a:extLst>
                <a:ext uri="{FF2B5EF4-FFF2-40B4-BE49-F238E27FC236}">
                  <a16:creationId xmlns:a16="http://schemas.microsoft.com/office/drawing/2014/main" id="{63BA58B5-043F-4A43-8245-BD3B13EBC024}"/>
                </a:ext>
              </a:extLst>
            </p:cNvPr>
            <p:cNvSpPr>
              <a:spLocks/>
            </p:cNvSpPr>
            <p:nvPr/>
          </p:nvSpPr>
          <p:spPr bwMode="auto">
            <a:xfrm>
              <a:off x="5111000" y="4511109"/>
              <a:ext cx="200921" cy="263275"/>
            </a:xfrm>
            <a:custGeom>
              <a:avLst/>
              <a:gdLst>
                <a:gd name="T0" fmla="*/ 78 w 116"/>
                <a:gd name="T1" fmla="*/ 148 h 152"/>
                <a:gd name="T2" fmla="*/ 64 w 116"/>
                <a:gd name="T3" fmla="*/ 142 h 152"/>
                <a:gd name="T4" fmla="*/ 62 w 116"/>
                <a:gd name="T5" fmla="*/ 138 h 152"/>
                <a:gd name="T6" fmla="*/ 60 w 116"/>
                <a:gd name="T7" fmla="*/ 132 h 152"/>
                <a:gd name="T8" fmla="*/ 60 w 116"/>
                <a:gd name="T9" fmla="*/ 128 h 152"/>
                <a:gd name="T10" fmla="*/ 56 w 116"/>
                <a:gd name="T11" fmla="*/ 126 h 152"/>
                <a:gd name="T12" fmla="*/ 46 w 116"/>
                <a:gd name="T13" fmla="*/ 124 h 152"/>
                <a:gd name="T14" fmla="*/ 40 w 116"/>
                <a:gd name="T15" fmla="*/ 118 h 152"/>
                <a:gd name="T16" fmla="*/ 26 w 116"/>
                <a:gd name="T17" fmla="*/ 106 h 152"/>
                <a:gd name="T18" fmla="*/ 18 w 116"/>
                <a:gd name="T19" fmla="*/ 98 h 152"/>
                <a:gd name="T20" fmla="*/ 10 w 116"/>
                <a:gd name="T21" fmla="*/ 98 h 152"/>
                <a:gd name="T22" fmla="*/ 4 w 116"/>
                <a:gd name="T23" fmla="*/ 98 h 152"/>
                <a:gd name="T24" fmla="*/ 2 w 116"/>
                <a:gd name="T25" fmla="*/ 96 h 152"/>
                <a:gd name="T26" fmla="*/ 0 w 116"/>
                <a:gd name="T27" fmla="*/ 88 h 152"/>
                <a:gd name="T28" fmla="*/ 2 w 116"/>
                <a:gd name="T29" fmla="*/ 76 h 152"/>
                <a:gd name="T30" fmla="*/ 8 w 116"/>
                <a:gd name="T31" fmla="*/ 64 h 152"/>
                <a:gd name="T32" fmla="*/ 12 w 116"/>
                <a:gd name="T33" fmla="*/ 54 h 152"/>
                <a:gd name="T34" fmla="*/ 12 w 116"/>
                <a:gd name="T35" fmla="*/ 38 h 152"/>
                <a:gd name="T36" fmla="*/ 10 w 116"/>
                <a:gd name="T37" fmla="*/ 28 h 152"/>
                <a:gd name="T38" fmla="*/ 4 w 116"/>
                <a:gd name="T39" fmla="*/ 16 h 152"/>
                <a:gd name="T40" fmla="*/ 30 w 116"/>
                <a:gd name="T41" fmla="*/ 0 h 152"/>
                <a:gd name="T42" fmla="*/ 40 w 116"/>
                <a:gd name="T43" fmla="*/ 4 h 152"/>
                <a:gd name="T44" fmla="*/ 48 w 116"/>
                <a:gd name="T45" fmla="*/ 8 h 152"/>
                <a:gd name="T46" fmla="*/ 52 w 116"/>
                <a:gd name="T47" fmla="*/ 14 h 152"/>
                <a:gd name="T48" fmla="*/ 52 w 116"/>
                <a:gd name="T49" fmla="*/ 20 h 152"/>
                <a:gd name="T50" fmla="*/ 54 w 116"/>
                <a:gd name="T51" fmla="*/ 24 h 152"/>
                <a:gd name="T52" fmla="*/ 62 w 116"/>
                <a:gd name="T53" fmla="*/ 26 h 152"/>
                <a:gd name="T54" fmla="*/ 72 w 116"/>
                <a:gd name="T55" fmla="*/ 26 h 152"/>
                <a:gd name="T56" fmla="*/ 80 w 116"/>
                <a:gd name="T57" fmla="*/ 24 h 152"/>
                <a:gd name="T58" fmla="*/ 86 w 116"/>
                <a:gd name="T59" fmla="*/ 20 h 152"/>
                <a:gd name="T60" fmla="*/ 84 w 116"/>
                <a:gd name="T61" fmla="*/ 14 h 152"/>
                <a:gd name="T62" fmla="*/ 88 w 116"/>
                <a:gd name="T63" fmla="*/ 12 h 152"/>
                <a:gd name="T64" fmla="*/ 98 w 116"/>
                <a:gd name="T65" fmla="*/ 12 h 152"/>
                <a:gd name="T66" fmla="*/ 106 w 116"/>
                <a:gd name="T67" fmla="*/ 14 h 152"/>
                <a:gd name="T68" fmla="*/ 110 w 116"/>
                <a:gd name="T69" fmla="*/ 18 h 152"/>
                <a:gd name="T70" fmla="*/ 112 w 116"/>
                <a:gd name="T71" fmla="*/ 26 h 152"/>
                <a:gd name="T72" fmla="*/ 108 w 116"/>
                <a:gd name="T73" fmla="*/ 32 h 152"/>
                <a:gd name="T74" fmla="*/ 104 w 116"/>
                <a:gd name="T75" fmla="*/ 40 h 152"/>
                <a:gd name="T76" fmla="*/ 102 w 116"/>
                <a:gd name="T77" fmla="*/ 54 h 152"/>
                <a:gd name="T78" fmla="*/ 102 w 116"/>
                <a:gd name="T79" fmla="*/ 72 h 152"/>
                <a:gd name="T80" fmla="*/ 102 w 116"/>
                <a:gd name="T81" fmla="*/ 90 h 152"/>
                <a:gd name="T82" fmla="*/ 106 w 116"/>
                <a:gd name="T83" fmla="*/ 102 h 152"/>
                <a:gd name="T84" fmla="*/ 110 w 116"/>
                <a:gd name="T85" fmla="*/ 106 h 152"/>
                <a:gd name="T86" fmla="*/ 108 w 116"/>
                <a:gd name="T87" fmla="*/ 112 h 152"/>
                <a:gd name="T88" fmla="*/ 104 w 116"/>
                <a:gd name="T89" fmla="*/ 118 h 152"/>
                <a:gd name="T90" fmla="*/ 102 w 116"/>
                <a:gd name="T91" fmla="*/ 124 h 152"/>
                <a:gd name="T92" fmla="*/ 94 w 116"/>
                <a:gd name="T93" fmla="*/ 130 h 152"/>
                <a:gd name="T94" fmla="*/ 90 w 116"/>
                <a:gd name="T95" fmla="*/ 134 h 152"/>
                <a:gd name="T96" fmla="*/ 88 w 116"/>
                <a:gd name="T97" fmla="*/ 14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6" h="152">
                  <a:moveTo>
                    <a:pt x="84" y="152"/>
                  </a:moveTo>
                  <a:lnTo>
                    <a:pt x="84" y="152"/>
                  </a:lnTo>
                  <a:lnTo>
                    <a:pt x="80" y="150"/>
                  </a:lnTo>
                  <a:lnTo>
                    <a:pt x="78" y="148"/>
                  </a:lnTo>
                  <a:lnTo>
                    <a:pt x="74" y="148"/>
                  </a:lnTo>
                  <a:lnTo>
                    <a:pt x="70" y="146"/>
                  </a:lnTo>
                  <a:lnTo>
                    <a:pt x="66" y="144"/>
                  </a:lnTo>
                  <a:lnTo>
                    <a:pt x="64" y="142"/>
                  </a:lnTo>
                  <a:lnTo>
                    <a:pt x="64" y="140"/>
                  </a:lnTo>
                  <a:lnTo>
                    <a:pt x="62" y="140"/>
                  </a:lnTo>
                  <a:lnTo>
                    <a:pt x="62" y="140"/>
                  </a:lnTo>
                  <a:lnTo>
                    <a:pt x="62" y="138"/>
                  </a:lnTo>
                  <a:lnTo>
                    <a:pt x="62" y="138"/>
                  </a:lnTo>
                  <a:lnTo>
                    <a:pt x="60" y="136"/>
                  </a:lnTo>
                  <a:lnTo>
                    <a:pt x="60" y="134"/>
                  </a:lnTo>
                  <a:lnTo>
                    <a:pt x="60" y="132"/>
                  </a:lnTo>
                  <a:lnTo>
                    <a:pt x="60" y="132"/>
                  </a:lnTo>
                  <a:lnTo>
                    <a:pt x="60" y="130"/>
                  </a:lnTo>
                  <a:lnTo>
                    <a:pt x="60" y="128"/>
                  </a:lnTo>
                  <a:lnTo>
                    <a:pt x="60" y="128"/>
                  </a:lnTo>
                  <a:lnTo>
                    <a:pt x="60" y="128"/>
                  </a:lnTo>
                  <a:lnTo>
                    <a:pt x="60" y="126"/>
                  </a:lnTo>
                  <a:lnTo>
                    <a:pt x="58" y="126"/>
                  </a:lnTo>
                  <a:lnTo>
                    <a:pt x="56" y="126"/>
                  </a:lnTo>
                  <a:lnTo>
                    <a:pt x="54" y="124"/>
                  </a:lnTo>
                  <a:lnTo>
                    <a:pt x="52" y="124"/>
                  </a:lnTo>
                  <a:lnTo>
                    <a:pt x="48" y="124"/>
                  </a:lnTo>
                  <a:lnTo>
                    <a:pt x="46" y="124"/>
                  </a:lnTo>
                  <a:lnTo>
                    <a:pt x="44" y="122"/>
                  </a:lnTo>
                  <a:lnTo>
                    <a:pt x="42" y="122"/>
                  </a:lnTo>
                  <a:lnTo>
                    <a:pt x="42" y="120"/>
                  </a:lnTo>
                  <a:lnTo>
                    <a:pt x="40" y="118"/>
                  </a:lnTo>
                  <a:lnTo>
                    <a:pt x="38" y="118"/>
                  </a:lnTo>
                  <a:lnTo>
                    <a:pt x="34" y="114"/>
                  </a:lnTo>
                  <a:lnTo>
                    <a:pt x="30" y="110"/>
                  </a:lnTo>
                  <a:lnTo>
                    <a:pt x="26" y="106"/>
                  </a:lnTo>
                  <a:lnTo>
                    <a:pt x="22" y="102"/>
                  </a:lnTo>
                  <a:lnTo>
                    <a:pt x="20" y="102"/>
                  </a:lnTo>
                  <a:lnTo>
                    <a:pt x="18" y="100"/>
                  </a:lnTo>
                  <a:lnTo>
                    <a:pt x="18" y="98"/>
                  </a:lnTo>
                  <a:lnTo>
                    <a:pt x="16" y="98"/>
                  </a:lnTo>
                  <a:lnTo>
                    <a:pt x="14" y="98"/>
                  </a:lnTo>
                  <a:lnTo>
                    <a:pt x="12" y="98"/>
                  </a:lnTo>
                  <a:lnTo>
                    <a:pt x="10" y="98"/>
                  </a:lnTo>
                  <a:lnTo>
                    <a:pt x="8" y="98"/>
                  </a:lnTo>
                  <a:lnTo>
                    <a:pt x="6" y="98"/>
                  </a:lnTo>
                  <a:lnTo>
                    <a:pt x="6" y="98"/>
                  </a:lnTo>
                  <a:lnTo>
                    <a:pt x="4" y="98"/>
                  </a:lnTo>
                  <a:lnTo>
                    <a:pt x="4" y="98"/>
                  </a:lnTo>
                  <a:lnTo>
                    <a:pt x="4" y="98"/>
                  </a:lnTo>
                  <a:lnTo>
                    <a:pt x="2" y="96"/>
                  </a:lnTo>
                  <a:lnTo>
                    <a:pt x="2" y="96"/>
                  </a:lnTo>
                  <a:lnTo>
                    <a:pt x="2" y="94"/>
                  </a:lnTo>
                  <a:lnTo>
                    <a:pt x="0" y="92"/>
                  </a:lnTo>
                  <a:lnTo>
                    <a:pt x="0" y="90"/>
                  </a:lnTo>
                  <a:lnTo>
                    <a:pt x="0" y="88"/>
                  </a:lnTo>
                  <a:lnTo>
                    <a:pt x="0" y="86"/>
                  </a:lnTo>
                  <a:lnTo>
                    <a:pt x="0" y="84"/>
                  </a:lnTo>
                  <a:lnTo>
                    <a:pt x="2" y="80"/>
                  </a:lnTo>
                  <a:lnTo>
                    <a:pt x="2" y="76"/>
                  </a:lnTo>
                  <a:lnTo>
                    <a:pt x="2" y="74"/>
                  </a:lnTo>
                  <a:lnTo>
                    <a:pt x="4" y="72"/>
                  </a:lnTo>
                  <a:lnTo>
                    <a:pt x="4" y="70"/>
                  </a:lnTo>
                  <a:lnTo>
                    <a:pt x="8" y="64"/>
                  </a:lnTo>
                  <a:lnTo>
                    <a:pt x="10" y="60"/>
                  </a:lnTo>
                  <a:lnTo>
                    <a:pt x="10" y="58"/>
                  </a:lnTo>
                  <a:lnTo>
                    <a:pt x="12" y="56"/>
                  </a:lnTo>
                  <a:lnTo>
                    <a:pt x="12" y="54"/>
                  </a:lnTo>
                  <a:lnTo>
                    <a:pt x="12" y="50"/>
                  </a:lnTo>
                  <a:lnTo>
                    <a:pt x="12" y="46"/>
                  </a:lnTo>
                  <a:lnTo>
                    <a:pt x="12" y="42"/>
                  </a:lnTo>
                  <a:lnTo>
                    <a:pt x="12" y="38"/>
                  </a:lnTo>
                  <a:lnTo>
                    <a:pt x="12" y="34"/>
                  </a:lnTo>
                  <a:lnTo>
                    <a:pt x="12" y="32"/>
                  </a:lnTo>
                  <a:lnTo>
                    <a:pt x="12" y="28"/>
                  </a:lnTo>
                  <a:lnTo>
                    <a:pt x="10" y="28"/>
                  </a:lnTo>
                  <a:lnTo>
                    <a:pt x="10" y="24"/>
                  </a:lnTo>
                  <a:lnTo>
                    <a:pt x="8" y="22"/>
                  </a:lnTo>
                  <a:lnTo>
                    <a:pt x="6" y="20"/>
                  </a:lnTo>
                  <a:lnTo>
                    <a:pt x="4" y="16"/>
                  </a:lnTo>
                  <a:lnTo>
                    <a:pt x="2" y="14"/>
                  </a:lnTo>
                  <a:lnTo>
                    <a:pt x="22" y="0"/>
                  </a:lnTo>
                  <a:lnTo>
                    <a:pt x="24" y="0"/>
                  </a:lnTo>
                  <a:lnTo>
                    <a:pt x="30" y="0"/>
                  </a:lnTo>
                  <a:lnTo>
                    <a:pt x="34" y="2"/>
                  </a:lnTo>
                  <a:lnTo>
                    <a:pt x="36" y="2"/>
                  </a:lnTo>
                  <a:lnTo>
                    <a:pt x="38" y="2"/>
                  </a:lnTo>
                  <a:lnTo>
                    <a:pt x="40" y="4"/>
                  </a:lnTo>
                  <a:lnTo>
                    <a:pt x="42" y="4"/>
                  </a:lnTo>
                  <a:lnTo>
                    <a:pt x="44" y="6"/>
                  </a:lnTo>
                  <a:lnTo>
                    <a:pt x="46" y="8"/>
                  </a:lnTo>
                  <a:lnTo>
                    <a:pt x="48" y="8"/>
                  </a:lnTo>
                  <a:lnTo>
                    <a:pt x="50" y="10"/>
                  </a:lnTo>
                  <a:lnTo>
                    <a:pt x="50" y="12"/>
                  </a:lnTo>
                  <a:lnTo>
                    <a:pt x="52" y="12"/>
                  </a:lnTo>
                  <a:lnTo>
                    <a:pt x="52" y="14"/>
                  </a:lnTo>
                  <a:lnTo>
                    <a:pt x="52" y="16"/>
                  </a:lnTo>
                  <a:lnTo>
                    <a:pt x="52" y="18"/>
                  </a:lnTo>
                  <a:lnTo>
                    <a:pt x="52" y="20"/>
                  </a:lnTo>
                  <a:lnTo>
                    <a:pt x="52" y="20"/>
                  </a:lnTo>
                  <a:lnTo>
                    <a:pt x="52" y="22"/>
                  </a:lnTo>
                  <a:lnTo>
                    <a:pt x="52" y="22"/>
                  </a:lnTo>
                  <a:lnTo>
                    <a:pt x="54" y="22"/>
                  </a:lnTo>
                  <a:lnTo>
                    <a:pt x="54" y="24"/>
                  </a:lnTo>
                  <a:lnTo>
                    <a:pt x="56" y="24"/>
                  </a:lnTo>
                  <a:lnTo>
                    <a:pt x="58" y="24"/>
                  </a:lnTo>
                  <a:lnTo>
                    <a:pt x="60" y="26"/>
                  </a:lnTo>
                  <a:lnTo>
                    <a:pt x="62" y="26"/>
                  </a:lnTo>
                  <a:lnTo>
                    <a:pt x="64" y="26"/>
                  </a:lnTo>
                  <a:lnTo>
                    <a:pt x="68" y="26"/>
                  </a:lnTo>
                  <a:lnTo>
                    <a:pt x="70" y="26"/>
                  </a:lnTo>
                  <a:lnTo>
                    <a:pt x="72" y="26"/>
                  </a:lnTo>
                  <a:lnTo>
                    <a:pt x="74" y="24"/>
                  </a:lnTo>
                  <a:lnTo>
                    <a:pt x="76" y="24"/>
                  </a:lnTo>
                  <a:lnTo>
                    <a:pt x="78" y="24"/>
                  </a:lnTo>
                  <a:lnTo>
                    <a:pt x="80" y="24"/>
                  </a:lnTo>
                  <a:lnTo>
                    <a:pt x="82" y="22"/>
                  </a:lnTo>
                  <a:lnTo>
                    <a:pt x="84" y="22"/>
                  </a:lnTo>
                  <a:lnTo>
                    <a:pt x="86" y="20"/>
                  </a:lnTo>
                  <a:lnTo>
                    <a:pt x="86" y="20"/>
                  </a:lnTo>
                  <a:lnTo>
                    <a:pt x="86" y="20"/>
                  </a:lnTo>
                  <a:lnTo>
                    <a:pt x="86" y="18"/>
                  </a:lnTo>
                  <a:lnTo>
                    <a:pt x="84" y="16"/>
                  </a:lnTo>
                  <a:lnTo>
                    <a:pt x="84" y="14"/>
                  </a:lnTo>
                  <a:lnTo>
                    <a:pt x="86" y="14"/>
                  </a:lnTo>
                  <a:lnTo>
                    <a:pt x="86" y="14"/>
                  </a:lnTo>
                  <a:lnTo>
                    <a:pt x="86" y="12"/>
                  </a:lnTo>
                  <a:lnTo>
                    <a:pt x="88" y="12"/>
                  </a:lnTo>
                  <a:lnTo>
                    <a:pt x="88" y="12"/>
                  </a:lnTo>
                  <a:lnTo>
                    <a:pt x="92" y="12"/>
                  </a:lnTo>
                  <a:lnTo>
                    <a:pt x="94" y="12"/>
                  </a:lnTo>
                  <a:lnTo>
                    <a:pt x="98" y="12"/>
                  </a:lnTo>
                  <a:lnTo>
                    <a:pt x="100" y="12"/>
                  </a:lnTo>
                  <a:lnTo>
                    <a:pt x="102" y="12"/>
                  </a:lnTo>
                  <a:lnTo>
                    <a:pt x="104" y="12"/>
                  </a:lnTo>
                  <a:lnTo>
                    <a:pt x="106" y="14"/>
                  </a:lnTo>
                  <a:lnTo>
                    <a:pt x="106" y="14"/>
                  </a:lnTo>
                  <a:lnTo>
                    <a:pt x="108" y="16"/>
                  </a:lnTo>
                  <a:lnTo>
                    <a:pt x="108" y="18"/>
                  </a:lnTo>
                  <a:lnTo>
                    <a:pt x="110" y="18"/>
                  </a:lnTo>
                  <a:lnTo>
                    <a:pt x="112" y="20"/>
                  </a:lnTo>
                  <a:lnTo>
                    <a:pt x="114" y="22"/>
                  </a:lnTo>
                  <a:lnTo>
                    <a:pt x="116" y="22"/>
                  </a:lnTo>
                  <a:lnTo>
                    <a:pt x="112" y="26"/>
                  </a:lnTo>
                  <a:lnTo>
                    <a:pt x="110" y="28"/>
                  </a:lnTo>
                  <a:lnTo>
                    <a:pt x="110" y="28"/>
                  </a:lnTo>
                  <a:lnTo>
                    <a:pt x="108" y="30"/>
                  </a:lnTo>
                  <a:lnTo>
                    <a:pt x="108" y="32"/>
                  </a:lnTo>
                  <a:lnTo>
                    <a:pt x="106" y="34"/>
                  </a:lnTo>
                  <a:lnTo>
                    <a:pt x="104" y="36"/>
                  </a:lnTo>
                  <a:lnTo>
                    <a:pt x="104" y="38"/>
                  </a:lnTo>
                  <a:lnTo>
                    <a:pt x="104" y="40"/>
                  </a:lnTo>
                  <a:lnTo>
                    <a:pt x="104" y="42"/>
                  </a:lnTo>
                  <a:lnTo>
                    <a:pt x="102" y="46"/>
                  </a:lnTo>
                  <a:lnTo>
                    <a:pt x="102" y="50"/>
                  </a:lnTo>
                  <a:lnTo>
                    <a:pt x="102" y="54"/>
                  </a:lnTo>
                  <a:lnTo>
                    <a:pt x="102" y="58"/>
                  </a:lnTo>
                  <a:lnTo>
                    <a:pt x="102" y="62"/>
                  </a:lnTo>
                  <a:lnTo>
                    <a:pt x="102" y="66"/>
                  </a:lnTo>
                  <a:lnTo>
                    <a:pt x="102" y="72"/>
                  </a:lnTo>
                  <a:lnTo>
                    <a:pt x="102" y="76"/>
                  </a:lnTo>
                  <a:lnTo>
                    <a:pt x="102" y="80"/>
                  </a:lnTo>
                  <a:lnTo>
                    <a:pt x="102" y="84"/>
                  </a:lnTo>
                  <a:lnTo>
                    <a:pt x="102" y="90"/>
                  </a:lnTo>
                  <a:lnTo>
                    <a:pt x="104" y="92"/>
                  </a:lnTo>
                  <a:lnTo>
                    <a:pt x="104" y="96"/>
                  </a:lnTo>
                  <a:lnTo>
                    <a:pt x="106" y="100"/>
                  </a:lnTo>
                  <a:lnTo>
                    <a:pt x="106" y="102"/>
                  </a:lnTo>
                  <a:lnTo>
                    <a:pt x="108" y="102"/>
                  </a:lnTo>
                  <a:lnTo>
                    <a:pt x="108" y="104"/>
                  </a:lnTo>
                  <a:lnTo>
                    <a:pt x="108" y="104"/>
                  </a:lnTo>
                  <a:lnTo>
                    <a:pt x="110" y="106"/>
                  </a:lnTo>
                  <a:lnTo>
                    <a:pt x="112" y="106"/>
                  </a:lnTo>
                  <a:lnTo>
                    <a:pt x="110" y="108"/>
                  </a:lnTo>
                  <a:lnTo>
                    <a:pt x="108" y="110"/>
                  </a:lnTo>
                  <a:lnTo>
                    <a:pt x="108" y="112"/>
                  </a:lnTo>
                  <a:lnTo>
                    <a:pt x="106" y="112"/>
                  </a:lnTo>
                  <a:lnTo>
                    <a:pt x="106" y="114"/>
                  </a:lnTo>
                  <a:lnTo>
                    <a:pt x="106" y="114"/>
                  </a:lnTo>
                  <a:lnTo>
                    <a:pt x="104" y="118"/>
                  </a:lnTo>
                  <a:lnTo>
                    <a:pt x="104" y="120"/>
                  </a:lnTo>
                  <a:lnTo>
                    <a:pt x="102" y="122"/>
                  </a:lnTo>
                  <a:lnTo>
                    <a:pt x="102" y="122"/>
                  </a:lnTo>
                  <a:lnTo>
                    <a:pt x="102" y="124"/>
                  </a:lnTo>
                  <a:lnTo>
                    <a:pt x="100" y="124"/>
                  </a:lnTo>
                  <a:lnTo>
                    <a:pt x="96" y="126"/>
                  </a:lnTo>
                  <a:lnTo>
                    <a:pt x="96" y="128"/>
                  </a:lnTo>
                  <a:lnTo>
                    <a:pt x="94" y="130"/>
                  </a:lnTo>
                  <a:lnTo>
                    <a:pt x="92" y="130"/>
                  </a:lnTo>
                  <a:lnTo>
                    <a:pt x="92" y="132"/>
                  </a:lnTo>
                  <a:lnTo>
                    <a:pt x="90" y="132"/>
                  </a:lnTo>
                  <a:lnTo>
                    <a:pt x="90" y="134"/>
                  </a:lnTo>
                  <a:lnTo>
                    <a:pt x="90" y="136"/>
                  </a:lnTo>
                  <a:lnTo>
                    <a:pt x="90" y="140"/>
                  </a:lnTo>
                  <a:lnTo>
                    <a:pt x="90" y="140"/>
                  </a:lnTo>
                  <a:lnTo>
                    <a:pt x="88" y="142"/>
                  </a:lnTo>
                  <a:lnTo>
                    <a:pt x="88" y="144"/>
                  </a:lnTo>
                  <a:lnTo>
                    <a:pt x="86" y="148"/>
                  </a:lnTo>
                  <a:lnTo>
                    <a:pt x="84" y="15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3" name="Freeform 401">
              <a:extLst>
                <a:ext uri="{FF2B5EF4-FFF2-40B4-BE49-F238E27FC236}">
                  <a16:creationId xmlns:a16="http://schemas.microsoft.com/office/drawing/2014/main" id="{B380344D-2DC7-408F-BE76-F0139DA5959D}"/>
                </a:ext>
              </a:extLst>
            </p:cNvPr>
            <p:cNvSpPr>
              <a:spLocks/>
            </p:cNvSpPr>
            <p:nvPr/>
          </p:nvSpPr>
          <p:spPr bwMode="auto">
            <a:xfrm>
              <a:off x="5111000" y="4511109"/>
              <a:ext cx="200921" cy="263275"/>
            </a:xfrm>
            <a:custGeom>
              <a:avLst/>
              <a:gdLst>
                <a:gd name="T0" fmla="*/ 78 w 116"/>
                <a:gd name="T1" fmla="*/ 148 h 152"/>
                <a:gd name="T2" fmla="*/ 64 w 116"/>
                <a:gd name="T3" fmla="*/ 142 h 152"/>
                <a:gd name="T4" fmla="*/ 62 w 116"/>
                <a:gd name="T5" fmla="*/ 138 h 152"/>
                <a:gd name="T6" fmla="*/ 60 w 116"/>
                <a:gd name="T7" fmla="*/ 132 h 152"/>
                <a:gd name="T8" fmla="*/ 60 w 116"/>
                <a:gd name="T9" fmla="*/ 128 h 152"/>
                <a:gd name="T10" fmla="*/ 56 w 116"/>
                <a:gd name="T11" fmla="*/ 126 h 152"/>
                <a:gd name="T12" fmla="*/ 46 w 116"/>
                <a:gd name="T13" fmla="*/ 124 h 152"/>
                <a:gd name="T14" fmla="*/ 40 w 116"/>
                <a:gd name="T15" fmla="*/ 118 h 152"/>
                <a:gd name="T16" fmla="*/ 26 w 116"/>
                <a:gd name="T17" fmla="*/ 106 h 152"/>
                <a:gd name="T18" fmla="*/ 18 w 116"/>
                <a:gd name="T19" fmla="*/ 98 h 152"/>
                <a:gd name="T20" fmla="*/ 10 w 116"/>
                <a:gd name="T21" fmla="*/ 98 h 152"/>
                <a:gd name="T22" fmla="*/ 4 w 116"/>
                <a:gd name="T23" fmla="*/ 98 h 152"/>
                <a:gd name="T24" fmla="*/ 2 w 116"/>
                <a:gd name="T25" fmla="*/ 96 h 152"/>
                <a:gd name="T26" fmla="*/ 0 w 116"/>
                <a:gd name="T27" fmla="*/ 88 h 152"/>
                <a:gd name="T28" fmla="*/ 2 w 116"/>
                <a:gd name="T29" fmla="*/ 76 h 152"/>
                <a:gd name="T30" fmla="*/ 8 w 116"/>
                <a:gd name="T31" fmla="*/ 64 h 152"/>
                <a:gd name="T32" fmla="*/ 12 w 116"/>
                <a:gd name="T33" fmla="*/ 54 h 152"/>
                <a:gd name="T34" fmla="*/ 12 w 116"/>
                <a:gd name="T35" fmla="*/ 38 h 152"/>
                <a:gd name="T36" fmla="*/ 10 w 116"/>
                <a:gd name="T37" fmla="*/ 28 h 152"/>
                <a:gd name="T38" fmla="*/ 4 w 116"/>
                <a:gd name="T39" fmla="*/ 16 h 152"/>
                <a:gd name="T40" fmla="*/ 30 w 116"/>
                <a:gd name="T41" fmla="*/ 0 h 152"/>
                <a:gd name="T42" fmla="*/ 40 w 116"/>
                <a:gd name="T43" fmla="*/ 4 h 152"/>
                <a:gd name="T44" fmla="*/ 48 w 116"/>
                <a:gd name="T45" fmla="*/ 8 h 152"/>
                <a:gd name="T46" fmla="*/ 52 w 116"/>
                <a:gd name="T47" fmla="*/ 14 h 152"/>
                <a:gd name="T48" fmla="*/ 52 w 116"/>
                <a:gd name="T49" fmla="*/ 20 h 152"/>
                <a:gd name="T50" fmla="*/ 54 w 116"/>
                <a:gd name="T51" fmla="*/ 24 h 152"/>
                <a:gd name="T52" fmla="*/ 62 w 116"/>
                <a:gd name="T53" fmla="*/ 26 h 152"/>
                <a:gd name="T54" fmla="*/ 72 w 116"/>
                <a:gd name="T55" fmla="*/ 26 h 152"/>
                <a:gd name="T56" fmla="*/ 80 w 116"/>
                <a:gd name="T57" fmla="*/ 24 h 152"/>
                <a:gd name="T58" fmla="*/ 86 w 116"/>
                <a:gd name="T59" fmla="*/ 20 h 152"/>
                <a:gd name="T60" fmla="*/ 84 w 116"/>
                <a:gd name="T61" fmla="*/ 14 h 152"/>
                <a:gd name="T62" fmla="*/ 88 w 116"/>
                <a:gd name="T63" fmla="*/ 12 h 152"/>
                <a:gd name="T64" fmla="*/ 98 w 116"/>
                <a:gd name="T65" fmla="*/ 12 h 152"/>
                <a:gd name="T66" fmla="*/ 106 w 116"/>
                <a:gd name="T67" fmla="*/ 14 h 152"/>
                <a:gd name="T68" fmla="*/ 110 w 116"/>
                <a:gd name="T69" fmla="*/ 18 h 152"/>
                <a:gd name="T70" fmla="*/ 112 w 116"/>
                <a:gd name="T71" fmla="*/ 26 h 152"/>
                <a:gd name="T72" fmla="*/ 108 w 116"/>
                <a:gd name="T73" fmla="*/ 32 h 152"/>
                <a:gd name="T74" fmla="*/ 104 w 116"/>
                <a:gd name="T75" fmla="*/ 40 h 152"/>
                <a:gd name="T76" fmla="*/ 102 w 116"/>
                <a:gd name="T77" fmla="*/ 54 h 152"/>
                <a:gd name="T78" fmla="*/ 102 w 116"/>
                <a:gd name="T79" fmla="*/ 72 h 152"/>
                <a:gd name="T80" fmla="*/ 102 w 116"/>
                <a:gd name="T81" fmla="*/ 90 h 152"/>
                <a:gd name="T82" fmla="*/ 106 w 116"/>
                <a:gd name="T83" fmla="*/ 102 h 152"/>
                <a:gd name="T84" fmla="*/ 110 w 116"/>
                <a:gd name="T85" fmla="*/ 106 h 152"/>
                <a:gd name="T86" fmla="*/ 108 w 116"/>
                <a:gd name="T87" fmla="*/ 112 h 152"/>
                <a:gd name="T88" fmla="*/ 104 w 116"/>
                <a:gd name="T89" fmla="*/ 118 h 152"/>
                <a:gd name="T90" fmla="*/ 102 w 116"/>
                <a:gd name="T91" fmla="*/ 124 h 152"/>
                <a:gd name="T92" fmla="*/ 94 w 116"/>
                <a:gd name="T93" fmla="*/ 130 h 152"/>
                <a:gd name="T94" fmla="*/ 90 w 116"/>
                <a:gd name="T95" fmla="*/ 134 h 152"/>
                <a:gd name="T96" fmla="*/ 88 w 116"/>
                <a:gd name="T97" fmla="*/ 14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6" h="152">
                  <a:moveTo>
                    <a:pt x="84" y="152"/>
                  </a:moveTo>
                  <a:lnTo>
                    <a:pt x="84" y="152"/>
                  </a:lnTo>
                  <a:lnTo>
                    <a:pt x="80" y="150"/>
                  </a:lnTo>
                  <a:lnTo>
                    <a:pt x="78" y="148"/>
                  </a:lnTo>
                  <a:lnTo>
                    <a:pt x="74" y="148"/>
                  </a:lnTo>
                  <a:lnTo>
                    <a:pt x="70" y="146"/>
                  </a:lnTo>
                  <a:lnTo>
                    <a:pt x="66" y="144"/>
                  </a:lnTo>
                  <a:lnTo>
                    <a:pt x="64" y="142"/>
                  </a:lnTo>
                  <a:lnTo>
                    <a:pt x="64" y="140"/>
                  </a:lnTo>
                  <a:lnTo>
                    <a:pt x="62" y="140"/>
                  </a:lnTo>
                  <a:lnTo>
                    <a:pt x="62" y="140"/>
                  </a:lnTo>
                  <a:lnTo>
                    <a:pt x="62" y="138"/>
                  </a:lnTo>
                  <a:lnTo>
                    <a:pt x="62" y="138"/>
                  </a:lnTo>
                  <a:lnTo>
                    <a:pt x="60" y="136"/>
                  </a:lnTo>
                  <a:lnTo>
                    <a:pt x="60" y="134"/>
                  </a:lnTo>
                  <a:lnTo>
                    <a:pt x="60" y="132"/>
                  </a:lnTo>
                  <a:lnTo>
                    <a:pt x="60" y="132"/>
                  </a:lnTo>
                  <a:lnTo>
                    <a:pt x="60" y="130"/>
                  </a:lnTo>
                  <a:lnTo>
                    <a:pt x="60" y="128"/>
                  </a:lnTo>
                  <a:lnTo>
                    <a:pt x="60" y="128"/>
                  </a:lnTo>
                  <a:lnTo>
                    <a:pt x="60" y="128"/>
                  </a:lnTo>
                  <a:lnTo>
                    <a:pt x="60" y="126"/>
                  </a:lnTo>
                  <a:lnTo>
                    <a:pt x="58" y="126"/>
                  </a:lnTo>
                  <a:lnTo>
                    <a:pt x="56" y="126"/>
                  </a:lnTo>
                  <a:lnTo>
                    <a:pt x="54" y="124"/>
                  </a:lnTo>
                  <a:lnTo>
                    <a:pt x="52" y="124"/>
                  </a:lnTo>
                  <a:lnTo>
                    <a:pt x="48" y="124"/>
                  </a:lnTo>
                  <a:lnTo>
                    <a:pt x="46" y="124"/>
                  </a:lnTo>
                  <a:lnTo>
                    <a:pt x="44" y="122"/>
                  </a:lnTo>
                  <a:lnTo>
                    <a:pt x="42" y="122"/>
                  </a:lnTo>
                  <a:lnTo>
                    <a:pt x="42" y="120"/>
                  </a:lnTo>
                  <a:lnTo>
                    <a:pt x="40" y="118"/>
                  </a:lnTo>
                  <a:lnTo>
                    <a:pt x="38" y="118"/>
                  </a:lnTo>
                  <a:lnTo>
                    <a:pt x="34" y="114"/>
                  </a:lnTo>
                  <a:lnTo>
                    <a:pt x="30" y="110"/>
                  </a:lnTo>
                  <a:lnTo>
                    <a:pt x="26" y="106"/>
                  </a:lnTo>
                  <a:lnTo>
                    <a:pt x="22" y="102"/>
                  </a:lnTo>
                  <a:lnTo>
                    <a:pt x="20" y="102"/>
                  </a:lnTo>
                  <a:lnTo>
                    <a:pt x="18" y="100"/>
                  </a:lnTo>
                  <a:lnTo>
                    <a:pt x="18" y="98"/>
                  </a:lnTo>
                  <a:lnTo>
                    <a:pt x="16" y="98"/>
                  </a:lnTo>
                  <a:lnTo>
                    <a:pt x="14" y="98"/>
                  </a:lnTo>
                  <a:lnTo>
                    <a:pt x="12" y="98"/>
                  </a:lnTo>
                  <a:lnTo>
                    <a:pt x="10" y="98"/>
                  </a:lnTo>
                  <a:lnTo>
                    <a:pt x="8" y="98"/>
                  </a:lnTo>
                  <a:lnTo>
                    <a:pt x="6" y="98"/>
                  </a:lnTo>
                  <a:lnTo>
                    <a:pt x="6" y="98"/>
                  </a:lnTo>
                  <a:lnTo>
                    <a:pt x="4" y="98"/>
                  </a:lnTo>
                  <a:lnTo>
                    <a:pt x="4" y="98"/>
                  </a:lnTo>
                  <a:lnTo>
                    <a:pt x="4" y="98"/>
                  </a:lnTo>
                  <a:lnTo>
                    <a:pt x="2" y="96"/>
                  </a:lnTo>
                  <a:lnTo>
                    <a:pt x="2" y="96"/>
                  </a:lnTo>
                  <a:lnTo>
                    <a:pt x="2" y="94"/>
                  </a:lnTo>
                  <a:lnTo>
                    <a:pt x="0" y="92"/>
                  </a:lnTo>
                  <a:lnTo>
                    <a:pt x="0" y="90"/>
                  </a:lnTo>
                  <a:lnTo>
                    <a:pt x="0" y="88"/>
                  </a:lnTo>
                  <a:lnTo>
                    <a:pt x="0" y="86"/>
                  </a:lnTo>
                  <a:lnTo>
                    <a:pt x="0" y="84"/>
                  </a:lnTo>
                  <a:lnTo>
                    <a:pt x="2" y="80"/>
                  </a:lnTo>
                  <a:lnTo>
                    <a:pt x="2" y="76"/>
                  </a:lnTo>
                  <a:lnTo>
                    <a:pt x="2" y="74"/>
                  </a:lnTo>
                  <a:lnTo>
                    <a:pt x="4" y="72"/>
                  </a:lnTo>
                  <a:lnTo>
                    <a:pt x="4" y="70"/>
                  </a:lnTo>
                  <a:lnTo>
                    <a:pt x="8" y="64"/>
                  </a:lnTo>
                  <a:lnTo>
                    <a:pt x="10" y="60"/>
                  </a:lnTo>
                  <a:lnTo>
                    <a:pt x="10" y="58"/>
                  </a:lnTo>
                  <a:lnTo>
                    <a:pt x="12" y="56"/>
                  </a:lnTo>
                  <a:lnTo>
                    <a:pt x="12" y="54"/>
                  </a:lnTo>
                  <a:lnTo>
                    <a:pt x="12" y="50"/>
                  </a:lnTo>
                  <a:lnTo>
                    <a:pt x="12" y="46"/>
                  </a:lnTo>
                  <a:lnTo>
                    <a:pt x="12" y="42"/>
                  </a:lnTo>
                  <a:lnTo>
                    <a:pt x="12" y="38"/>
                  </a:lnTo>
                  <a:lnTo>
                    <a:pt x="12" y="34"/>
                  </a:lnTo>
                  <a:lnTo>
                    <a:pt x="12" y="32"/>
                  </a:lnTo>
                  <a:lnTo>
                    <a:pt x="12" y="28"/>
                  </a:lnTo>
                  <a:lnTo>
                    <a:pt x="10" y="28"/>
                  </a:lnTo>
                  <a:lnTo>
                    <a:pt x="10" y="24"/>
                  </a:lnTo>
                  <a:lnTo>
                    <a:pt x="8" y="22"/>
                  </a:lnTo>
                  <a:lnTo>
                    <a:pt x="6" y="20"/>
                  </a:lnTo>
                  <a:lnTo>
                    <a:pt x="4" y="16"/>
                  </a:lnTo>
                  <a:lnTo>
                    <a:pt x="2" y="14"/>
                  </a:lnTo>
                  <a:lnTo>
                    <a:pt x="22" y="0"/>
                  </a:lnTo>
                  <a:lnTo>
                    <a:pt x="24" y="0"/>
                  </a:lnTo>
                  <a:lnTo>
                    <a:pt x="30" y="0"/>
                  </a:lnTo>
                  <a:lnTo>
                    <a:pt x="34" y="2"/>
                  </a:lnTo>
                  <a:lnTo>
                    <a:pt x="36" y="2"/>
                  </a:lnTo>
                  <a:lnTo>
                    <a:pt x="38" y="2"/>
                  </a:lnTo>
                  <a:lnTo>
                    <a:pt x="40" y="4"/>
                  </a:lnTo>
                  <a:lnTo>
                    <a:pt x="42" y="4"/>
                  </a:lnTo>
                  <a:lnTo>
                    <a:pt x="44" y="6"/>
                  </a:lnTo>
                  <a:lnTo>
                    <a:pt x="46" y="8"/>
                  </a:lnTo>
                  <a:lnTo>
                    <a:pt x="48" y="8"/>
                  </a:lnTo>
                  <a:lnTo>
                    <a:pt x="50" y="10"/>
                  </a:lnTo>
                  <a:lnTo>
                    <a:pt x="50" y="12"/>
                  </a:lnTo>
                  <a:lnTo>
                    <a:pt x="52" y="12"/>
                  </a:lnTo>
                  <a:lnTo>
                    <a:pt x="52" y="14"/>
                  </a:lnTo>
                  <a:lnTo>
                    <a:pt x="52" y="16"/>
                  </a:lnTo>
                  <a:lnTo>
                    <a:pt x="52" y="18"/>
                  </a:lnTo>
                  <a:lnTo>
                    <a:pt x="52" y="20"/>
                  </a:lnTo>
                  <a:lnTo>
                    <a:pt x="52" y="20"/>
                  </a:lnTo>
                  <a:lnTo>
                    <a:pt x="52" y="22"/>
                  </a:lnTo>
                  <a:lnTo>
                    <a:pt x="52" y="22"/>
                  </a:lnTo>
                  <a:lnTo>
                    <a:pt x="54" y="22"/>
                  </a:lnTo>
                  <a:lnTo>
                    <a:pt x="54" y="24"/>
                  </a:lnTo>
                  <a:lnTo>
                    <a:pt x="56" y="24"/>
                  </a:lnTo>
                  <a:lnTo>
                    <a:pt x="58" y="24"/>
                  </a:lnTo>
                  <a:lnTo>
                    <a:pt x="60" y="26"/>
                  </a:lnTo>
                  <a:lnTo>
                    <a:pt x="62" y="26"/>
                  </a:lnTo>
                  <a:lnTo>
                    <a:pt x="64" y="26"/>
                  </a:lnTo>
                  <a:lnTo>
                    <a:pt x="68" y="26"/>
                  </a:lnTo>
                  <a:lnTo>
                    <a:pt x="70" y="26"/>
                  </a:lnTo>
                  <a:lnTo>
                    <a:pt x="72" y="26"/>
                  </a:lnTo>
                  <a:lnTo>
                    <a:pt x="74" y="24"/>
                  </a:lnTo>
                  <a:lnTo>
                    <a:pt x="76" y="24"/>
                  </a:lnTo>
                  <a:lnTo>
                    <a:pt x="78" y="24"/>
                  </a:lnTo>
                  <a:lnTo>
                    <a:pt x="80" y="24"/>
                  </a:lnTo>
                  <a:lnTo>
                    <a:pt x="82" y="22"/>
                  </a:lnTo>
                  <a:lnTo>
                    <a:pt x="84" y="22"/>
                  </a:lnTo>
                  <a:lnTo>
                    <a:pt x="86" y="20"/>
                  </a:lnTo>
                  <a:lnTo>
                    <a:pt x="86" y="20"/>
                  </a:lnTo>
                  <a:lnTo>
                    <a:pt x="86" y="20"/>
                  </a:lnTo>
                  <a:lnTo>
                    <a:pt x="86" y="18"/>
                  </a:lnTo>
                  <a:lnTo>
                    <a:pt x="84" y="16"/>
                  </a:lnTo>
                  <a:lnTo>
                    <a:pt x="84" y="14"/>
                  </a:lnTo>
                  <a:lnTo>
                    <a:pt x="86" y="14"/>
                  </a:lnTo>
                  <a:lnTo>
                    <a:pt x="86" y="14"/>
                  </a:lnTo>
                  <a:lnTo>
                    <a:pt x="86" y="12"/>
                  </a:lnTo>
                  <a:lnTo>
                    <a:pt x="88" y="12"/>
                  </a:lnTo>
                  <a:lnTo>
                    <a:pt x="88" y="12"/>
                  </a:lnTo>
                  <a:lnTo>
                    <a:pt x="92" y="12"/>
                  </a:lnTo>
                  <a:lnTo>
                    <a:pt x="94" y="12"/>
                  </a:lnTo>
                  <a:lnTo>
                    <a:pt x="98" y="12"/>
                  </a:lnTo>
                  <a:lnTo>
                    <a:pt x="100" y="12"/>
                  </a:lnTo>
                  <a:lnTo>
                    <a:pt x="102" y="12"/>
                  </a:lnTo>
                  <a:lnTo>
                    <a:pt x="104" y="12"/>
                  </a:lnTo>
                  <a:lnTo>
                    <a:pt x="106" y="14"/>
                  </a:lnTo>
                  <a:lnTo>
                    <a:pt x="106" y="14"/>
                  </a:lnTo>
                  <a:lnTo>
                    <a:pt x="108" y="16"/>
                  </a:lnTo>
                  <a:lnTo>
                    <a:pt x="108" y="18"/>
                  </a:lnTo>
                  <a:lnTo>
                    <a:pt x="110" y="18"/>
                  </a:lnTo>
                  <a:lnTo>
                    <a:pt x="112" y="20"/>
                  </a:lnTo>
                  <a:lnTo>
                    <a:pt x="114" y="22"/>
                  </a:lnTo>
                  <a:lnTo>
                    <a:pt x="116" y="22"/>
                  </a:lnTo>
                  <a:lnTo>
                    <a:pt x="112" y="26"/>
                  </a:lnTo>
                  <a:lnTo>
                    <a:pt x="110" y="28"/>
                  </a:lnTo>
                  <a:lnTo>
                    <a:pt x="110" y="28"/>
                  </a:lnTo>
                  <a:lnTo>
                    <a:pt x="108" y="30"/>
                  </a:lnTo>
                  <a:lnTo>
                    <a:pt x="108" y="32"/>
                  </a:lnTo>
                  <a:lnTo>
                    <a:pt x="106" y="34"/>
                  </a:lnTo>
                  <a:lnTo>
                    <a:pt x="104" y="36"/>
                  </a:lnTo>
                  <a:lnTo>
                    <a:pt x="104" y="38"/>
                  </a:lnTo>
                  <a:lnTo>
                    <a:pt x="104" y="40"/>
                  </a:lnTo>
                  <a:lnTo>
                    <a:pt x="104" y="42"/>
                  </a:lnTo>
                  <a:lnTo>
                    <a:pt x="102" y="46"/>
                  </a:lnTo>
                  <a:lnTo>
                    <a:pt x="102" y="50"/>
                  </a:lnTo>
                  <a:lnTo>
                    <a:pt x="102" y="54"/>
                  </a:lnTo>
                  <a:lnTo>
                    <a:pt x="102" y="58"/>
                  </a:lnTo>
                  <a:lnTo>
                    <a:pt x="102" y="62"/>
                  </a:lnTo>
                  <a:lnTo>
                    <a:pt x="102" y="66"/>
                  </a:lnTo>
                  <a:lnTo>
                    <a:pt x="102" y="72"/>
                  </a:lnTo>
                  <a:lnTo>
                    <a:pt x="102" y="76"/>
                  </a:lnTo>
                  <a:lnTo>
                    <a:pt x="102" y="80"/>
                  </a:lnTo>
                  <a:lnTo>
                    <a:pt x="102" y="84"/>
                  </a:lnTo>
                  <a:lnTo>
                    <a:pt x="102" y="90"/>
                  </a:lnTo>
                  <a:lnTo>
                    <a:pt x="104" y="92"/>
                  </a:lnTo>
                  <a:lnTo>
                    <a:pt x="104" y="96"/>
                  </a:lnTo>
                  <a:lnTo>
                    <a:pt x="106" y="100"/>
                  </a:lnTo>
                  <a:lnTo>
                    <a:pt x="106" y="102"/>
                  </a:lnTo>
                  <a:lnTo>
                    <a:pt x="108" y="102"/>
                  </a:lnTo>
                  <a:lnTo>
                    <a:pt x="108" y="104"/>
                  </a:lnTo>
                  <a:lnTo>
                    <a:pt x="108" y="104"/>
                  </a:lnTo>
                  <a:lnTo>
                    <a:pt x="110" y="106"/>
                  </a:lnTo>
                  <a:lnTo>
                    <a:pt x="112" y="106"/>
                  </a:lnTo>
                  <a:lnTo>
                    <a:pt x="110" y="108"/>
                  </a:lnTo>
                  <a:lnTo>
                    <a:pt x="108" y="110"/>
                  </a:lnTo>
                  <a:lnTo>
                    <a:pt x="108" y="112"/>
                  </a:lnTo>
                  <a:lnTo>
                    <a:pt x="106" y="112"/>
                  </a:lnTo>
                  <a:lnTo>
                    <a:pt x="106" y="114"/>
                  </a:lnTo>
                  <a:lnTo>
                    <a:pt x="106" y="114"/>
                  </a:lnTo>
                  <a:lnTo>
                    <a:pt x="104" y="118"/>
                  </a:lnTo>
                  <a:lnTo>
                    <a:pt x="104" y="120"/>
                  </a:lnTo>
                  <a:lnTo>
                    <a:pt x="102" y="122"/>
                  </a:lnTo>
                  <a:lnTo>
                    <a:pt x="102" y="122"/>
                  </a:lnTo>
                  <a:lnTo>
                    <a:pt x="102" y="124"/>
                  </a:lnTo>
                  <a:lnTo>
                    <a:pt x="100" y="124"/>
                  </a:lnTo>
                  <a:lnTo>
                    <a:pt x="96" y="126"/>
                  </a:lnTo>
                  <a:lnTo>
                    <a:pt x="96" y="128"/>
                  </a:lnTo>
                  <a:lnTo>
                    <a:pt x="94" y="130"/>
                  </a:lnTo>
                  <a:lnTo>
                    <a:pt x="92" y="130"/>
                  </a:lnTo>
                  <a:lnTo>
                    <a:pt x="92" y="132"/>
                  </a:lnTo>
                  <a:lnTo>
                    <a:pt x="90" y="132"/>
                  </a:lnTo>
                  <a:lnTo>
                    <a:pt x="90" y="134"/>
                  </a:lnTo>
                  <a:lnTo>
                    <a:pt x="90" y="136"/>
                  </a:lnTo>
                  <a:lnTo>
                    <a:pt x="90" y="140"/>
                  </a:lnTo>
                  <a:lnTo>
                    <a:pt x="90" y="140"/>
                  </a:lnTo>
                  <a:lnTo>
                    <a:pt x="88" y="142"/>
                  </a:lnTo>
                  <a:lnTo>
                    <a:pt x="88" y="144"/>
                  </a:lnTo>
                  <a:lnTo>
                    <a:pt x="86" y="148"/>
                  </a:lnTo>
                  <a:lnTo>
                    <a:pt x="84" y="15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4" name="Freeform 402">
              <a:extLst>
                <a:ext uri="{FF2B5EF4-FFF2-40B4-BE49-F238E27FC236}">
                  <a16:creationId xmlns:a16="http://schemas.microsoft.com/office/drawing/2014/main" id="{A141C83B-3B53-44CA-B448-446505C7F3A2}"/>
                </a:ext>
              </a:extLst>
            </p:cNvPr>
            <p:cNvSpPr>
              <a:spLocks/>
            </p:cNvSpPr>
            <p:nvPr/>
          </p:nvSpPr>
          <p:spPr bwMode="auto">
            <a:xfrm>
              <a:off x="5287672" y="4296332"/>
              <a:ext cx="270204" cy="401841"/>
            </a:xfrm>
            <a:custGeom>
              <a:avLst/>
              <a:gdLst>
                <a:gd name="T0" fmla="*/ 36 w 156"/>
                <a:gd name="T1" fmla="*/ 42 h 232"/>
                <a:gd name="T2" fmla="*/ 50 w 156"/>
                <a:gd name="T3" fmla="*/ 58 h 232"/>
                <a:gd name="T4" fmla="*/ 58 w 156"/>
                <a:gd name="T5" fmla="*/ 66 h 232"/>
                <a:gd name="T6" fmla="*/ 64 w 156"/>
                <a:gd name="T7" fmla="*/ 66 h 232"/>
                <a:gd name="T8" fmla="*/ 74 w 156"/>
                <a:gd name="T9" fmla="*/ 64 h 232"/>
                <a:gd name="T10" fmla="*/ 80 w 156"/>
                <a:gd name="T11" fmla="*/ 66 h 232"/>
                <a:gd name="T12" fmla="*/ 88 w 156"/>
                <a:gd name="T13" fmla="*/ 72 h 232"/>
                <a:gd name="T14" fmla="*/ 92 w 156"/>
                <a:gd name="T15" fmla="*/ 76 h 232"/>
                <a:gd name="T16" fmla="*/ 90 w 156"/>
                <a:gd name="T17" fmla="*/ 80 h 232"/>
                <a:gd name="T18" fmla="*/ 88 w 156"/>
                <a:gd name="T19" fmla="*/ 84 h 232"/>
                <a:gd name="T20" fmla="*/ 78 w 156"/>
                <a:gd name="T21" fmla="*/ 90 h 232"/>
                <a:gd name="T22" fmla="*/ 76 w 156"/>
                <a:gd name="T23" fmla="*/ 92 h 232"/>
                <a:gd name="T24" fmla="*/ 76 w 156"/>
                <a:gd name="T25" fmla="*/ 102 h 232"/>
                <a:gd name="T26" fmla="*/ 74 w 156"/>
                <a:gd name="T27" fmla="*/ 110 h 232"/>
                <a:gd name="T28" fmla="*/ 70 w 156"/>
                <a:gd name="T29" fmla="*/ 118 h 232"/>
                <a:gd name="T30" fmla="*/ 60 w 156"/>
                <a:gd name="T31" fmla="*/ 126 h 232"/>
                <a:gd name="T32" fmla="*/ 52 w 156"/>
                <a:gd name="T33" fmla="*/ 130 h 232"/>
                <a:gd name="T34" fmla="*/ 38 w 156"/>
                <a:gd name="T35" fmla="*/ 132 h 232"/>
                <a:gd name="T36" fmla="*/ 28 w 156"/>
                <a:gd name="T37" fmla="*/ 132 h 232"/>
                <a:gd name="T38" fmla="*/ 24 w 156"/>
                <a:gd name="T39" fmla="*/ 132 h 232"/>
                <a:gd name="T40" fmla="*/ 18 w 156"/>
                <a:gd name="T41" fmla="*/ 140 h 232"/>
                <a:gd name="T42" fmla="*/ 8 w 156"/>
                <a:gd name="T43" fmla="*/ 152 h 232"/>
                <a:gd name="T44" fmla="*/ 4 w 156"/>
                <a:gd name="T45" fmla="*/ 158 h 232"/>
                <a:gd name="T46" fmla="*/ 0 w 156"/>
                <a:gd name="T47" fmla="*/ 166 h 232"/>
                <a:gd name="T48" fmla="*/ 0 w 156"/>
                <a:gd name="T49" fmla="*/ 182 h 232"/>
                <a:gd name="T50" fmla="*/ 0 w 156"/>
                <a:gd name="T51" fmla="*/ 200 h 232"/>
                <a:gd name="T52" fmla="*/ 2 w 156"/>
                <a:gd name="T53" fmla="*/ 218 h 232"/>
                <a:gd name="T54" fmla="*/ 4 w 156"/>
                <a:gd name="T55" fmla="*/ 228 h 232"/>
                <a:gd name="T56" fmla="*/ 10 w 156"/>
                <a:gd name="T57" fmla="*/ 232 h 232"/>
                <a:gd name="T58" fmla="*/ 22 w 156"/>
                <a:gd name="T59" fmla="*/ 216 h 232"/>
                <a:gd name="T60" fmla="*/ 28 w 156"/>
                <a:gd name="T61" fmla="*/ 202 h 232"/>
                <a:gd name="T62" fmla="*/ 36 w 156"/>
                <a:gd name="T63" fmla="*/ 196 h 232"/>
                <a:gd name="T64" fmla="*/ 46 w 156"/>
                <a:gd name="T65" fmla="*/ 190 h 232"/>
                <a:gd name="T66" fmla="*/ 68 w 156"/>
                <a:gd name="T67" fmla="*/ 170 h 232"/>
                <a:gd name="T68" fmla="*/ 94 w 156"/>
                <a:gd name="T69" fmla="*/ 144 h 232"/>
                <a:gd name="T70" fmla="*/ 110 w 156"/>
                <a:gd name="T71" fmla="*/ 128 h 232"/>
                <a:gd name="T72" fmla="*/ 116 w 156"/>
                <a:gd name="T73" fmla="*/ 116 h 232"/>
                <a:gd name="T74" fmla="*/ 120 w 156"/>
                <a:gd name="T75" fmla="*/ 106 h 232"/>
                <a:gd name="T76" fmla="*/ 124 w 156"/>
                <a:gd name="T77" fmla="*/ 88 h 232"/>
                <a:gd name="T78" fmla="*/ 130 w 156"/>
                <a:gd name="T79" fmla="*/ 68 h 232"/>
                <a:gd name="T80" fmla="*/ 138 w 156"/>
                <a:gd name="T81" fmla="*/ 58 h 232"/>
                <a:gd name="T82" fmla="*/ 146 w 156"/>
                <a:gd name="T83" fmla="*/ 48 h 232"/>
                <a:gd name="T84" fmla="*/ 148 w 156"/>
                <a:gd name="T85" fmla="*/ 34 h 232"/>
                <a:gd name="T86" fmla="*/ 154 w 156"/>
                <a:gd name="T87" fmla="*/ 28 h 232"/>
                <a:gd name="T88" fmla="*/ 156 w 156"/>
                <a:gd name="T89" fmla="*/ 24 h 232"/>
                <a:gd name="T90" fmla="*/ 156 w 156"/>
                <a:gd name="T91" fmla="*/ 20 h 232"/>
                <a:gd name="T92" fmla="*/ 150 w 156"/>
                <a:gd name="T93" fmla="*/ 16 h 232"/>
                <a:gd name="T94" fmla="*/ 144 w 156"/>
                <a:gd name="T95" fmla="*/ 6 h 232"/>
                <a:gd name="T96" fmla="*/ 138 w 156"/>
                <a:gd name="T97" fmla="*/ 0 h 232"/>
                <a:gd name="T98" fmla="*/ 134 w 156"/>
                <a:gd name="T99" fmla="*/ 0 h 232"/>
                <a:gd name="T100" fmla="*/ 130 w 156"/>
                <a:gd name="T101" fmla="*/ 2 h 232"/>
                <a:gd name="T102" fmla="*/ 124 w 156"/>
                <a:gd name="T103" fmla="*/ 12 h 232"/>
                <a:gd name="T104" fmla="*/ 118 w 156"/>
                <a:gd name="T105" fmla="*/ 14 h 232"/>
                <a:gd name="T106" fmla="*/ 108 w 156"/>
                <a:gd name="T107" fmla="*/ 16 h 232"/>
                <a:gd name="T108" fmla="*/ 100 w 156"/>
                <a:gd name="T109" fmla="*/ 18 h 232"/>
                <a:gd name="T110" fmla="*/ 88 w 156"/>
                <a:gd name="T111" fmla="*/ 26 h 232"/>
                <a:gd name="T112" fmla="*/ 82 w 156"/>
                <a:gd name="T113" fmla="*/ 28 h 232"/>
                <a:gd name="T114" fmla="*/ 68 w 156"/>
                <a:gd name="T115" fmla="*/ 28 h 232"/>
                <a:gd name="T116" fmla="*/ 54 w 156"/>
                <a:gd name="T117" fmla="*/ 26 h 232"/>
                <a:gd name="T118" fmla="*/ 24 w 156"/>
                <a:gd name="T119" fmla="*/ 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6" h="232">
                  <a:moveTo>
                    <a:pt x="24" y="32"/>
                  </a:moveTo>
                  <a:lnTo>
                    <a:pt x="24" y="32"/>
                  </a:lnTo>
                  <a:lnTo>
                    <a:pt x="30" y="36"/>
                  </a:lnTo>
                  <a:lnTo>
                    <a:pt x="36" y="42"/>
                  </a:lnTo>
                  <a:lnTo>
                    <a:pt x="38" y="44"/>
                  </a:lnTo>
                  <a:lnTo>
                    <a:pt x="42" y="48"/>
                  </a:lnTo>
                  <a:lnTo>
                    <a:pt x="48" y="56"/>
                  </a:lnTo>
                  <a:lnTo>
                    <a:pt x="50" y="58"/>
                  </a:lnTo>
                  <a:lnTo>
                    <a:pt x="54" y="62"/>
                  </a:lnTo>
                  <a:lnTo>
                    <a:pt x="56" y="64"/>
                  </a:lnTo>
                  <a:lnTo>
                    <a:pt x="58" y="64"/>
                  </a:lnTo>
                  <a:lnTo>
                    <a:pt x="58" y="66"/>
                  </a:lnTo>
                  <a:lnTo>
                    <a:pt x="60" y="66"/>
                  </a:lnTo>
                  <a:lnTo>
                    <a:pt x="60" y="66"/>
                  </a:lnTo>
                  <a:lnTo>
                    <a:pt x="62" y="66"/>
                  </a:lnTo>
                  <a:lnTo>
                    <a:pt x="64" y="66"/>
                  </a:lnTo>
                  <a:lnTo>
                    <a:pt x="66" y="66"/>
                  </a:lnTo>
                  <a:lnTo>
                    <a:pt x="68" y="66"/>
                  </a:lnTo>
                  <a:lnTo>
                    <a:pt x="72" y="66"/>
                  </a:lnTo>
                  <a:lnTo>
                    <a:pt x="74" y="64"/>
                  </a:lnTo>
                  <a:lnTo>
                    <a:pt x="76" y="64"/>
                  </a:lnTo>
                  <a:lnTo>
                    <a:pt x="76" y="64"/>
                  </a:lnTo>
                  <a:lnTo>
                    <a:pt x="78" y="64"/>
                  </a:lnTo>
                  <a:lnTo>
                    <a:pt x="80" y="66"/>
                  </a:lnTo>
                  <a:lnTo>
                    <a:pt x="82" y="68"/>
                  </a:lnTo>
                  <a:lnTo>
                    <a:pt x="84" y="68"/>
                  </a:lnTo>
                  <a:lnTo>
                    <a:pt x="86" y="70"/>
                  </a:lnTo>
                  <a:lnTo>
                    <a:pt x="88" y="72"/>
                  </a:lnTo>
                  <a:lnTo>
                    <a:pt x="90" y="74"/>
                  </a:lnTo>
                  <a:lnTo>
                    <a:pt x="90" y="74"/>
                  </a:lnTo>
                  <a:lnTo>
                    <a:pt x="90" y="76"/>
                  </a:lnTo>
                  <a:lnTo>
                    <a:pt x="92" y="76"/>
                  </a:lnTo>
                  <a:lnTo>
                    <a:pt x="92" y="78"/>
                  </a:lnTo>
                  <a:lnTo>
                    <a:pt x="92" y="78"/>
                  </a:lnTo>
                  <a:lnTo>
                    <a:pt x="92" y="80"/>
                  </a:lnTo>
                  <a:lnTo>
                    <a:pt x="90" y="80"/>
                  </a:lnTo>
                  <a:lnTo>
                    <a:pt x="90" y="82"/>
                  </a:lnTo>
                  <a:lnTo>
                    <a:pt x="90" y="82"/>
                  </a:lnTo>
                  <a:lnTo>
                    <a:pt x="88" y="84"/>
                  </a:lnTo>
                  <a:lnTo>
                    <a:pt x="88" y="84"/>
                  </a:lnTo>
                  <a:lnTo>
                    <a:pt x="84" y="86"/>
                  </a:lnTo>
                  <a:lnTo>
                    <a:pt x="82" y="88"/>
                  </a:lnTo>
                  <a:lnTo>
                    <a:pt x="80" y="88"/>
                  </a:lnTo>
                  <a:lnTo>
                    <a:pt x="78" y="90"/>
                  </a:lnTo>
                  <a:lnTo>
                    <a:pt x="78" y="90"/>
                  </a:lnTo>
                  <a:lnTo>
                    <a:pt x="78" y="90"/>
                  </a:lnTo>
                  <a:lnTo>
                    <a:pt x="76" y="92"/>
                  </a:lnTo>
                  <a:lnTo>
                    <a:pt x="76" y="92"/>
                  </a:lnTo>
                  <a:lnTo>
                    <a:pt x="76" y="94"/>
                  </a:lnTo>
                  <a:lnTo>
                    <a:pt x="76" y="96"/>
                  </a:lnTo>
                  <a:lnTo>
                    <a:pt x="76" y="98"/>
                  </a:lnTo>
                  <a:lnTo>
                    <a:pt x="76" y="102"/>
                  </a:lnTo>
                  <a:lnTo>
                    <a:pt x="76" y="104"/>
                  </a:lnTo>
                  <a:lnTo>
                    <a:pt x="74" y="108"/>
                  </a:lnTo>
                  <a:lnTo>
                    <a:pt x="74" y="110"/>
                  </a:lnTo>
                  <a:lnTo>
                    <a:pt x="74" y="110"/>
                  </a:lnTo>
                  <a:lnTo>
                    <a:pt x="74" y="112"/>
                  </a:lnTo>
                  <a:lnTo>
                    <a:pt x="72" y="114"/>
                  </a:lnTo>
                  <a:lnTo>
                    <a:pt x="72" y="116"/>
                  </a:lnTo>
                  <a:lnTo>
                    <a:pt x="70" y="118"/>
                  </a:lnTo>
                  <a:lnTo>
                    <a:pt x="68" y="120"/>
                  </a:lnTo>
                  <a:lnTo>
                    <a:pt x="66" y="122"/>
                  </a:lnTo>
                  <a:lnTo>
                    <a:pt x="62" y="124"/>
                  </a:lnTo>
                  <a:lnTo>
                    <a:pt x="60" y="126"/>
                  </a:lnTo>
                  <a:lnTo>
                    <a:pt x="58" y="126"/>
                  </a:lnTo>
                  <a:lnTo>
                    <a:pt x="56" y="128"/>
                  </a:lnTo>
                  <a:lnTo>
                    <a:pt x="54" y="128"/>
                  </a:lnTo>
                  <a:lnTo>
                    <a:pt x="52" y="130"/>
                  </a:lnTo>
                  <a:lnTo>
                    <a:pt x="50" y="130"/>
                  </a:lnTo>
                  <a:lnTo>
                    <a:pt x="44" y="132"/>
                  </a:lnTo>
                  <a:lnTo>
                    <a:pt x="40" y="132"/>
                  </a:lnTo>
                  <a:lnTo>
                    <a:pt x="38" y="132"/>
                  </a:lnTo>
                  <a:lnTo>
                    <a:pt x="36" y="132"/>
                  </a:lnTo>
                  <a:lnTo>
                    <a:pt x="32" y="132"/>
                  </a:lnTo>
                  <a:lnTo>
                    <a:pt x="30" y="132"/>
                  </a:lnTo>
                  <a:lnTo>
                    <a:pt x="28" y="132"/>
                  </a:lnTo>
                  <a:lnTo>
                    <a:pt x="26" y="132"/>
                  </a:lnTo>
                  <a:lnTo>
                    <a:pt x="26" y="132"/>
                  </a:lnTo>
                  <a:lnTo>
                    <a:pt x="24" y="132"/>
                  </a:lnTo>
                  <a:lnTo>
                    <a:pt x="24" y="132"/>
                  </a:lnTo>
                  <a:lnTo>
                    <a:pt x="24" y="134"/>
                  </a:lnTo>
                  <a:lnTo>
                    <a:pt x="22" y="136"/>
                  </a:lnTo>
                  <a:lnTo>
                    <a:pt x="20" y="138"/>
                  </a:lnTo>
                  <a:lnTo>
                    <a:pt x="18" y="140"/>
                  </a:lnTo>
                  <a:lnTo>
                    <a:pt x="14" y="146"/>
                  </a:lnTo>
                  <a:lnTo>
                    <a:pt x="14" y="148"/>
                  </a:lnTo>
                  <a:lnTo>
                    <a:pt x="10" y="150"/>
                  </a:lnTo>
                  <a:lnTo>
                    <a:pt x="8" y="152"/>
                  </a:lnTo>
                  <a:lnTo>
                    <a:pt x="6" y="154"/>
                  </a:lnTo>
                  <a:lnTo>
                    <a:pt x="6" y="154"/>
                  </a:lnTo>
                  <a:lnTo>
                    <a:pt x="4" y="156"/>
                  </a:lnTo>
                  <a:lnTo>
                    <a:pt x="4" y="158"/>
                  </a:lnTo>
                  <a:lnTo>
                    <a:pt x="2" y="162"/>
                  </a:lnTo>
                  <a:lnTo>
                    <a:pt x="2" y="162"/>
                  </a:lnTo>
                  <a:lnTo>
                    <a:pt x="2" y="164"/>
                  </a:lnTo>
                  <a:lnTo>
                    <a:pt x="0" y="166"/>
                  </a:lnTo>
                  <a:lnTo>
                    <a:pt x="0" y="170"/>
                  </a:lnTo>
                  <a:lnTo>
                    <a:pt x="0" y="174"/>
                  </a:lnTo>
                  <a:lnTo>
                    <a:pt x="0" y="178"/>
                  </a:lnTo>
                  <a:lnTo>
                    <a:pt x="0" y="182"/>
                  </a:lnTo>
                  <a:lnTo>
                    <a:pt x="0" y="186"/>
                  </a:lnTo>
                  <a:lnTo>
                    <a:pt x="0" y="192"/>
                  </a:lnTo>
                  <a:lnTo>
                    <a:pt x="0" y="196"/>
                  </a:lnTo>
                  <a:lnTo>
                    <a:pt x="0" y="200"/>
                  </a:lnTo>
                  <a:lnTo>
                    <a:pt x="0" y="206"/>
                  </a:lnTo>
                  <a:lnTo>
                    <a:pt x="0" y="210"/>
                  </a:lnTo>
                  <a:lnTo>
                    <a:pt x="0" y="214"/>
                  </a:lnTo>
                  <a:lnTo>
                    <a:pt x="2" y="218"/>
                  </a:lnTo>
                  <a:lnTo>
                    <a:pt x="2" y="222"/>
                  </a:lnTo>
                  <a:lnTo>
                    <a:pt x="4" y="224"/>
                  </a:lnTo>
                  <a:lnTo>
                    <a:pt x="4" y="226"/>
                  </a:lnTo>
                  <a:lnTo>
                    <a:pt x="4" y="228"/>
                  </a:lnTo>
                  <a:lnTo>
                    <a:pt x="6" y="228"/>
                  </a:lnTo>
                  <a:lnTo>
                    <a:pt x="6" y="228"/>
                  </a:lnTo>
                  <a:lnTo>
                    <a:pt x="8" y="230"/>
                  </a:lnTo>
                  <a:lnTo>
                    <a:pt x="10" y="232"/>
                  </a:lnTo>
                  <a:lnTo>
                    <a:pt x="14" y="226"/>
                  </a:lnTo>
                  <a:lnTo>
                    <a:pt x="18" y="220"/>
                  </a:lnTo>
                  <a:lnTo>
                    <a:pt x="22" y="216"/>
                  </a:lnTo>
                  <a:lnTo>
                    <a:pt x="22" y="216"/>
                  </a:lnTo>
                  <a:lnTo>
                    <a:pt x="22" y="214"/>
                  </a:lnTo>
                  <a:lnTo>
                    <a:pt x="26" y="208"/>
                  </a:lnTo>
                  <a:lnTo>
                    <a:pt x="28" y="204"/>
                  </a:lnTo>
                  <a:lnTo>
                    <a:pt x="28" y="202"/>
                  </a:lnTo>
                  <a:lnTo>
                    <a:pt x="30" y="202"/>
                  </a:lnTo>
                  <a:lnTo>
                    <a:pt x="32" y="200"/>
                  </a:lnTo>
                  <a:lnTo>
                    <a:pt x="34" y="198"/>
                  </a:lnTo>
                  <a:lnTo>
                    <a:pt x="36" y="196"/>
                  </a:lnTo>
                  <a:lnTo>
                    <a:pt x="38" y="196"/>
                  </a:lnTo>
                  <a:lnTo>
                    <a:pt x="42" y="192"/>
                  </a:lnTo>
                  <a:lnTo>
                    <a:pt x="44" y="192"/>
                  </a:lnTo>
                  <a:lnTo>
                    <a:pt x="46" y="190"/>
                  </a:lnTo>
                  <a:lnTo>
                    <a:pt x="50" y="188"/>
                  </a:lnTo>
                  <a:lnTo>
                    <a:pt x="52" y="184"/>
                  </a:lnTo>
                  <a:lnTo>
                    <a:pt x="60" y="178"/>
                  </a:lnTo>
                  <a:lnTo>
                    <a:pt x="68" y="170"/>
                  </a:lnTo>
                  <a:lnTo>
                    <a:pt x="74" y="164"/>
                  </a:lnTo>
                  <a:lnTo>
                    <a:pt x="80" y="158"/>
                  </a:lnTo>
                  <a:lnTo>
                    <a:pt x="88" y="152"/>
                  </a:lnTo>
                  <a:lnTo>
                    <a:pt x="94" y="144"/>
                  </a:lnTo>
                  <a:lnTo>
                    <a:pt x="98" y="142"/>
                  </a:lnTo>
                  <a:lnTo>
                    <a:pt x="100" y="138"/>
                  </a:lnTo>
                  <a:lnTo>
                    <a:pt x="104" y="134"/>
                  </a:lnTo>
                  <a:lnTo>
                    <a:pt x="110" y="128"/>
                  </a:lnTo>
                  <a:lnTo>
                    <a:pt x="112" y="124"/>
                  </a:lnTo>
                  <a:lnTo>
                    <a:pt x="114" y="122"/>
                  </a:lnTo>
                  <a:lnTo>
                    <a:pt x="116" y="118"/>
                  </a:lnTo>
                  <a:lnTo>
                    <a:pt x="116" y="116"/>
                  </a:lnTo>
                  <a:lnTo>
                    <a:pt x="118" y="114"/>
                  </a:lnTo>
                  <a:lnTo>
                    <a:pt x="118" y="112"/>
                  </a:lnTo>
                  <a:lnTo>
                    <a:pt x="118" y="110"/>
                  </a:lnTo>
                  <a:lnTo>
                    <a:pt x="120" y="106"/>
                  </a:lnTo>
                  <a:lnTo>
                    <a:pt x="120" y="102"/>
                  </a:lnTo>
                  <a:lnTo>
                    <a:pt x="122" y="94"/>
                  </a:lnTo>
                  <a:lnTo>
                    <a:pt x="122" y="90"/>
                  </a:lnTo>
                  <a:lnTo>
                    <a:pt x="124" y="88"/>
                  </a:lnTo>
                  <a:lnTo>
                    <a:pt x="124" y="82"/>
                  </a:lnTo>
                  <a:lnTo>
                    <a:pt x="128" y="76"/>
                  </a:lnTo>
                  <a:lnTo>
                    <a:pt x="130" y="70"/>
                  </a:lnTo>
                  <a:lnTo>
                    <a:pt x="130" y="68"/>
                  </a:lnTo>
                  <a:lnTo>
                    <a:pt x="132" y="66"/>
                  </a:lnTo>
                  <a:lnTo>
                    <a:pt x="134" y="64"/>
                  </a:lnTo>
                  <a:lnTo>
                    <a:pt x="134" y="62"/>
                  </a:lnTo>
                  <a:lnTo>
                    <a:pt x="138" y="58"/>
                  </a:lnTo>
                  <a:lnTo>
                    <a:pt x="142" y="54"/>
                  </a:lnTo>
                  <a:lnTo>
                    <a:pt x="144" y="52"/>
                  </a:lnTo>
                  <a:lnTo>
                    <a:pt x="144" y="50"/>
                  </a:lnTo>
                  <a:lnTo>
                    <a:pt x="146" y="48"/>
                  </a:lnTo>
                  <a:lnTo>
                    <a:pt x="146" y="46"/>
                  </a:lnTo>
                  <a:lnTo>
                    <a:pt x="146" y="40"/>
                  </a:lnTo>
                  <a:lnTo>
                    <a:pt x="148" y="36"/>
                  </a:lnTo>
                  <a:lnTo>
                    <a:pt x="148" y="34"/>
                  </a:lnTo>
                  <a:lnTo>
                    <a:pt x="150" y="32"/>
                  </a:lnTo>
                  <a:lnTo>
                    <a:pt x="150" y="32"/>
                  </a:lnTo>
                  <a:lnTo>
                    <a:pt x="152" y="30"/>
                  </a:lnTo>
                  <a:lnTo>
                    <a:pt x="154" y="28"/>
                  </a:lnTo>
                  <a:lnTo>
                    <a:pt x="156" y="26"/>
                  </a:lnTo>
                  <a:lnTo>
                    <a:pt x="156" y="26"/>
                  </a:lnTo>
                  <a:lnTo>
                    <a:pt x="156" y="24"/>
                  </a:lnTo>
                  <a:lnTo>
                    <a:pt x="156" y="24"/>
                  </a:lnTo>
                  <a:lnTo>
                    <a:pt x="156" y="24"/>
                  </a:lnTo>
                  <a:lnTo>
                    <a:pt x="156" y="22"/>
                  </a:lnTo>
                  <a:lnTo>
                    <a:pt x="156" y="22"/>
                  </a:lnTo>
                  <a:lnTo>
                    <a:pt x="156" y="20"/>
                  </a:lnTo>
                  <a:lnTo>
                    <a:pt x="154" y="20"/>
                  </a:lnTo>
                  <a:lnTo>
                    <a:pt x="154" y="18"/>
                  </a:lnTo>
                  <a:lnTo>
                    <a:pt x="150" y="16"/>
                  </a:lnTo>
                  <a:lnTo>
                    <a:pt x="150" y="16"/>
                  </a:lnTo>
                  <a:lnTo>
                    <a:pt x="148" y="14"/>
                  </a:lnTo>
                  <a:lnTo>
                    <a:pt x="146" y="12"/>
                  </a:lnTo>
                  <a:lnTo>
                    <a:pt x="146" y="10"/>
                  </a:lnTo>
                  <a:lnTo>
                    <a:pt x="144" y="6"/>
                  </a:lnTo>
                  <a:lnTo>
                    <a:pt x="142" y="4"/>
                  </a:lnTo>
                  <a:lnTo>
                    <a:pt x="140" y="2"/>
                  </a:lnTo>
                  <a:lnTo>
                    <a:pt x="140" y="0"/>
                  </a:lnTo>
                  <a:lnTo>
                    <a:pt x="138" y="0"/>
                  </a:lnTo>
                  <a:lnTo>
                    <a:pt x="138" y="0"/>
                  </a:lnTo>
                  <a:lnTo>
                    <a:pt x="136" y="0"/>
                  </a:lnTo>
                  <a:lnTo>
                    <a:pt x="136" y="0"/>
                  </a:lnTo>
                  <a:lnTo>
                    <a:pt x="134" y="0"/>
                  </a:lnTo>
                  <a:lnTo>
                    <a:pt x="134" y="0"/>
                  </a:lnTo>
                  <a:lnTo>
                    <a:pt x="134" y="2"/>
                  </a:lnTo>
                  <a:lnTo>
                    <a:pt x="132" y="2"/>
                  </a:lnTo>
                  <a:lnTo>
                    <a:pt x="130" y="2"/>
                  </a:lnTo>
                  <a:lnTo>
                    <a:pt x="130" y="6"/>
                  </a:lnTo>
                  <a:lnTo>
                    <a:pt x="128" y="8"/>
                  </a:lnTo>
                  <a:lnTo>
                    <a:pt x="126" y="10"/>
                  </a:lnTo>
                  <a:lnTo>
                    <a:pt x="124" y="12"/>
                  </a:lnTo>
                  <a:lnTo>
                    <a:pt x="122" y="12"/>
                  </a:lnTo>
                  <a:lnTo>
                    <a:pt x="122" y="14"/>
                  </a:lnTo>
                  <a:lnTo>
                    <a:pt x="120" y="14"/>
                  </a:lnTo>
                  <a:lnTo>
                    <a:pt x="118" y="14"/>
                  </a:lnTo>
                  <a:lnTo>
                    <a:pt x="116" y="14"/>
                  </a:lnTo>
                  <a:lnTo>
                    <a:pt x="114" y="14"/>
                  </a:lnTo>
                  <a:lnTo>
                    <a:pt x="110" y="16"/>
                  </a:lnTo>
                  <a:lnTo>
                    <a:pt x="108" y="16"/>
                  </a:lnTo>
                  <a:lnTo>
                    <a:pt x="106" y="16"/>
                  </a:lnTo>
                  <a:lnTo>
                    <a:pt x="104" y="16"/>
                  </a:lnTo>
                  <a:lnTo>
                    <a:pt x="104" y="16"/>
                  </a:lnTo>
                  <a:lnTo>
                    <a:pt x="100" y="18"/>
                  </a:lnTo>
                  <a:lnTo>
                    <a:pt x="96" y="22"/>
                  </a:lnTo>
                  <a:lnTo>
                    <a:pt x="94" y="22"/>
                  </a:lnTo>
                  <a:lnTo>
                    <a:pt x="92" y="24"/>
                  </a:lnTo>
                  <a:lnTo>
                    <a:pt x="88" y="26"/>
                  </a:lnTo>
                  <a:lnTo>
                    <a:pt x="86" y="28"/>
                  </a:lnTo>
                  <a:lnTo>
                    <a:pt x="86" y="28"/>
                  </a:lnTo>
                  <a:lnTo>
                    <a:pt x="84" y="28"/>
                  </a:lnTo>
                  <a:lnTo>
                    <a:pt x="82" y="28"/>
                  </a:lnTo>
                  <a:lnTo>
                    <a:pt x="80" y="28"/>
                  </a:lnTo>
                  <a:lnTo>
                    <a:pt x="76" y="28"/>
                  </a:lnTo>
                  <a:lnTo>
                    <a:pt x="72" y="28"/>
                  </a:lnTo>
                  <a:lnTo>
                    <a:pt x="68" y="28"/>
                  </a:lnTo>
                  <a:lnTo>
                    <a:pt x="62" y="28"/>
                  </a:lnTo>
                  <a:lnTo>
                    <a:pt x="60" y="26"/>
                  </a:lnTo>
                  <a:lnTo>
                    <a:pt x="56" y="26"/>
                  </a:lnTo>
                  <a:lnTo>
                    <a:pt x="54" y="26"/>
                  </a:lnTo>
                  <a:lnTo>
                    <a:pt x="52" y="24"/>
                  </a:lnTo>
                  <a:lnTo>
                    <a:pt x="46" y="22"/>
                  </a:lnTo>
                  <a:lnTo>
                    <a:pt x="40" y="20"/>
                  </a:lnTo>
                  <a:lnTo>
                    <a:pt x="24" y="3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5" name="Freeform 403">
              <a:extLst>
                <a:ext uri="{FF2B5EF4-FFF2-40B4-BE49-F238E27FC236}">
                  <a16:creationId xmlns:a16="http://schemas.microsoft.com/office/drawing/2014/main" id="{EADB721D-05F2-48E9-9561-4B87597684FB}"/>
                </a:ext>
              </a:extLst>
            </p:cNvPr>
            <p:cNvSpPr>
              <a:spLocks/>
            </p:cNvSpPr>
            <p:nvPr/>
          </p:nvSpPr>
          <p:spPr bwMode="auto">
            <a:xfrm>
              <a:off x="5287672" y="4296332"/>
              <a:ext cx="270204" cy="401841"/>
            </a:xfrm>
            <a:custGeom>
              <a:avLst/>
              <a:gdLst>
                <a:gd name="T0" fmla="*/ 36 w 156"/>
                <a:gd name="T1" fmla="*/ 42 h 232"/>
                <a:gd name="T2" fmla="*/ 50 w 156"/>
                <a:gd name="T3" fmla="*/ 58 h 232"/>
                <a:gd name="T4" fmla="*/ 58 w 156"/>
                <a:gd name="T5" fmla="*/ 66 h 232"/>
                <a:gd name="T6" fmla="*/ 64 w 156"/>
                <a:gd name="T7" fmla="*/ 66 h 232"/>
                <a:gd name="T8" fmla="*/ 74 w 156"/>
                <a:gd name="T9" fmla="*/ 64 h 232"/>
                <a:gd name="T10" fmla="*/ 80 w 156"/>
                <a:gd name="T11" fmla="*/ 66 h 232"/>
                <a:gd name="T12" fmla="*/ 88 w 156"/>
                <a:gd name="T13" fmla="*/ 72 h 232"/>
                <a:gd name="T14" fmla="*/ 92 w 156"/>
                <a:gd name="T15" fmla="*/ 76 h 232"/>
                <a:gd name="T16" fmla="*/ 90 w 156"/>
                <a:gd name="T17" fmla="*/ 80 h 232"/>
                <a:gd name="T18" fmla="*/ 88 w 156"/>
                <a:gd name="T19" fmla="*/ 84 h 232"/>
                <a:gd name="T20" fmla="*/ 78 w 156"/>
                <a:gd name="T21" fmla="*/ 90 h 232"/>
                <a:gd name="T22" fmla="*/ 76 w 156"/>
                <a:gd name="T23" fmla="*/ 92 h 232"/>
                <a:gd name="T24" fmla="*/ 76 w 156"/>
                <a:gd name="T25" fmla="*/ 102 h 232"/>
                <a:gd name="T26" fmla="*/ 74 w 156"/>
                <a:gd name="T27" fmla="*/ 110 h 232"/>
                <a:gd name="T28" fmla="*/ 70 w 156"/>
                <a:gd name="T29" fmla="*/ 118 h 232"/>
                <a:gd name="T30" fmla="*/ 60 w 156"/>
                <a:gd name="T31" fmla="*/ 126 h 232"/>
                <a:gd name="T32" fmla="*/ 52 w 156"/>
                <a:gd name="T33" fmla="*/ 130 h 232"/>
                <a:gd name="T34" fmla="*/ 38 w 156"/>
                <a:gd name="T35" fmla="*/ 132 h 232"/>
                <a:gd name="T36" fmla="*/ 28 w 156"/>
                <a:gd name="T37" fmla="*/ 132 h 232"/>
                <a:gd name="T38" fmla="*/ 24 w 156"/>
                <a:gd name="T39" fmla="*/ 132 h 232"/>
                <a:gd name="T40" fmla="*/ 18 w 156"/>
                <a:gd name="T41" fmla="*/ 140 h 232"/>
                <a:gd name="T42" fmla="*/ 8 w 156"/>
                <a:gd name="T43" fmla="*/ 152 h 232"/>
                <a:gd name="T44" fmla="*/ 4 w 156"/>
                <a:gd name="T45" fmla="*/ 158 h 232"/>
                <a:gd name="T46" fmla="*/ 0 w 156"/>
                <a:gd name="T47" fmla="*/ 166 h 232"/>
                <a:gd name="T48" fmla="*/ 0 w 156"/>
                <a:gd name="T49" fmla="*/ 182 h 232"/>
                <a:gd name="T50" fmla="*/ 0 w 156"/>
                <a:gd name="T51" fmla="*/ 200 h 232"/>
                <a:gd name="T52" fmla="*/ 2 w 156"/>
                <a:gd name="T53" fmla="*/ 218 h 232"/>
                <a:gd name="T54" fmla="*/ 4 w 156"/>
                <a:gd name="T55" fmla="*/ 228 h 232"/>
                <a:gd name="T56" fmla="*/ 10 w 156"/>
                <a:gd name="T57" fmla="*/ 232 h 232"/>
                <a:gd name="T58" fmla="*/ 22 w 156"/>
                <a:gd name="T59" fmla="*/ 216 h 232"/>
                <a:gd name="T60" fmla="*/ 28 w 156"/>
                <a:gd name="T61" fmla="*/ 202 h 232"/>
                <a:gd name="T62" fmla="*/ 36 w 156"/>
                <a:gd name="T63" fmla="*/ 196 h 232"/>
                <a:gd name="T64" fmla="*/ 46 w 156"/>
                <a:gd name="T65" fmla="*/ 190 h 232"/>
                <a:gd name="T66" fmla="*/ 68 w 156"/>
                <a:gd name="T67" fmla="*/ 170 h 232"/>
                <a:gd name="T68" fmla="*/ 94 w 156"/>
                <a:gd name="T69" fmla="*/ 144 h 232"/>
                <a:gd name="T70" fmla="*/ 110 w 156"/>
                <a:gd name="T71" fmla="*/ 128 h 232"/>
                <a:gd name="T72" fmla="*/ 116 w 156"/>
                <a:gd name="T73" fmla="*/ 116 h 232"/>
                <a:gd name="T74" fmla="*/ 120 w 156"/>
                <a:gd name="T75" fmla="*/ 106 h 232"/>
                <a:gd name="T76" fmla="*/ 124 w 156"/>
                <a:gd name="T77" fmla="*/ 88 h 232"/>
                <a:gd name="T78" fmla="*/ 130 w 156"/>
                <a:gd name="T79" fmla="*/ 68 h 232"/>
                <a:gd name="T80" fmla="*/ 138 w 156"/>
                <a:gd name="T81" fmla="*/ 58 h 232"/>
                <a:gd name="T82" fmla="*/ 146 w 156"/>
                <a:gd name="T83" fmla="*/ 48 h 232"/>
                <a:gd name="T84" fmla="*/ 148 w 156"/>
                <a:gd name="T85" fmla="*/ 34 h 232"/>
                <a:gd name="T86" fmla="*/ 154 w 156"/>
                <a:gd name="T87" fmla="*/ 28 h 232"/>
                <a:gd name="T88" fmla="*/ 156 w 156"/>
                <a:gd name="T89" fmla="*/ 24 h 232"/>
                <a:gd name="T90" fmla="*/ 156 w 156"/>
                <a:gd name="T91" fmla="*/ 20 h 232"/>
                <a:gd name="T92" fmla="*/ 150 w 156"/>
                <a:gd name="T93" fmla="*/ 16 h 232"/>
                <a:gd name="T94" fmla="*/ 144 w 156"/>
                <a:gd name="T95" fmla="*/ 6 h 232"/>
                <a:gd name="T96" fmla="*/ 138 w 156"/>
                <a:gd name="T97" fmla="*/ 0 h 232"/>
                <a:gd name="T98" fmla="*/ 134 w 156"/>
                <a:gd name="T99" fmla="*/ 0 h 232"/>
                <a:gd name="T100" fmla="*/ 130 w 156"/>
                <a:gd name="T101" fmla="*/ 2 h 232"/>
                <a:gd name="T102" fmla="*/ 124 w 156"/>
                <a:gd name="T103" fmla="*/ 12 h 232"/>
                <a:gd name="T104" fmla="*/ 118 w 156"/>
                <a:gd name="T105" fmla="*/ 14 h 232"/>
                <a:gd name="T106" fmla="*/ 108 w 156"/>
                <a:gd name="T107" fmla="*/ 16 h 232"/>
                <a:gd name="T108" fmla="*/ 100 w 156"/>
                <a:gd name="T109" fmla="*/ 18 h 232"/>
                <a:gd name="T110" fmla="*/ 88 w 156"/>
                <a:gd name="T111" fmla="*/ 26 h 232"/>
                <a:gd name="T112" fmla="*/ 82 w 156"/>
                <a:gd name="T113" fmla="*/ 28 h 232"/>
                <a:gd name="T114" fmla="*/ 68 w 156"/>
                <a:gd name="T115" fmla="*/ 28 h 232"/>
                <a:gd name="T116" fmla="*/ 54 w 156"/>
                <a:gd name="T117" fmla="*/ 26 h 232"/>
                <a:gd name="T118" fmla="*/ 24 w 156"/>
                <a:gd name="T119" fmla="*/ 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6" h="232">
                  <a:moveTo>
                    <a:pt x="24" y="32"/>
                  </a:moveTo>
                  <a:lnTo>
                    <a:pt x="24" y="32"/>
                  </a:lnTo>
                  <a:lnTo>
                    <a:pt x="30" y="36"/>
                  </a:lnTo>
                  <a:lnTo>
                    <a:pt x="36" y="42"/>
                  </a:lnTo>
                  <a:lnTo>
                    <a:pt x="38" y="44"/>
                  </a:lnTo>
                  <a:lnTo>
                    <a:pt x="42" y="48"/>
                  </a:lnTo>
                  <a:lnTo>
                    <a:pt x="48" y="56"/>
                  </a:lnTo>
                  <a:lnTo>
                    <a:pt x="50" y="58"/>
                  </a:lnTo>
                  <a:lnTo>
                    <a:pt x="54" y="62"/>
                  </a:lnTo>
                  <a:lnTo>
                    <a:pt x="56" y="64"/>
                  </a:lnTo>
                  <a:lnTo>
                    <a:pt x="58" y="64"/>
                  </a:lnTo>
                  <a:lnTo>
                    <a:pt x="58" y="66"/>
                  </a:lnTo>
                  <a:lnTo>
                    <a:pt x="60" y="66"/>
                  </a:lnTo>
                  <a:lnTo>
                    <a:pt x="60" y="66"/>
                  </a:lnTo>
                  <a:lnTo>
                    <a:pt x="62" y="66"/>
                  </a:lnTo>
                  <a:lnTo>
                    <a:pt x="64" y="66"/>
                  </a:lnTo>
                  <a:lnTo>
                    <a:pt x="66" y="66"/>
                  </a:lnTo>
                  <a:lnTo>
                    <a:pt x="68" y="66"/>
                  </a:lnTo>
                  <a:lnTo>
                    <a:pt x="72" y="66"/>
                  </a:lnTo>
                  <a:lnTo>
                    <a:pt x="74" y="64"/>
                  </a:lnTo>
                  <a:lnTo>
                    <a:pt x="76" y="64"/>
                  </a:lnTo>
                  <a:lnTo>
                    <a:pt x="76" y="64"/>
                  </a:lnTo>
                  <a:lnTo>
                    <a:pt x="78" y="64"/>
                  </a:lnTo>
                  <a:lnTo>
                    <a:pt x="80" y="66"/>
                  </a:lnTo>
                  <a:lnTo>
                    <a:pt x="82" y="68"/>
                  </a:lnTo>
                  <a:lnTo>
                    <a:pt x="84" y="68"/>
                  </a:lnTo>
                  <a:lnTo>
                    <a:pt x="86" y="70"/>
                  </a:lnTo>
                  <a:lnTo>
                    <a:pt x="88" y="72"/>
                  </a:lnTo>
                  <a:lnTo>
                    <a:pt x="90" y="74"/>
                  </a:lnTo>
                  <a:lnTo>
                    <a:pt x="90" y="74"/>
                  </a:lnTo>
                  <a:lnTo>
                    <a:pt x="90" y="76"/>
                  </a:lnTo>
                  <a:lnTo>
                    <a:pt x="92" y="76"/>
                  </a:lnTo>
                  <a:lnTo>
                    <a:pt x="92" y="78"/>
                  </a:lnTo>
                  <a:lnTo>
                    <a:pt x="92" y="78"/>
                  </a:lnTo>
                  <a:lnTo>
                    <a:pt x="92" y="80"/>
                  </a:lnTo>
                  <a:lnTo>
                    <a:pt x="90" y="80"/>
                  </a:lnTo>
                  <a:lnTo>
                    <a:pt x="90" y="82"/>
                  </a:lnTo>
                  <a:lnTo>
                    <a:pt x="90" y="82"/>
                  </a:lnTo>
                  <a:lnTo>
                    <a:pt x="88" y="84"/>
                  </a:lnTo>
                  <a:lnTo>
                    <a:pt x="88" y="84"/>
                  </a:lnTo>
                  <a:lnTo>
                    <a:pt x="84" y="86"/>
                  </a:lnTo>
                  <a:lnTo>
                    <a:pt x="82" y="88"/>
                  </a:lnTo>
                  <a:lnTo>
                    <a:pt x="80" y="88"/>
                  </a:lnTo>
                  <a:lnTo>
                    <a:pt x="78" y="90"/>
                  </a:lnTo>
                  <a:lnTo>
                    <a:pt x="78" y="90"/>
                  </a:lnTo>
                  <a:lnTo>
                    <a:pt x="78" y="90"/>
                  </a:lnTo>
                  <a:lnTo>
                    <a:pt x="76" y="92"/>
                  </a:lnTo>
                  <a:lnTo>
                    <a:pt x="76" y="92"/>
                  </a:lnTo>
                  <a:lnTo>
                    <a:pt x="76" y="94"/>
                  </a:lnTo>
                  <a:lnTo>
                    <a:pt x="76" y="96"/>
                  </a:lnTo>
                  <a:lnTo>
                    <a:pt x="76" y="98"/>
                  </a:lnTo>
                  <a:lnTo>
                    <a:pt x="76" y="102"/>
                  </a:lnTo>
                  <a:lnTo>
                    <a:pt x="76" y="104"/>
                  </a:lnTo>
                  <a:lnTo>
                    <a:pt x="74" y="108"/>
                  </a:lnTo>
                  <a:lnTo>
                    <a:pt x="74" y="110"/>
                  </a:lnTo>
                  <a:lnTo>
                    <a:pt x="74" y="110"/>
                  </a:lnTo>
                  <a:lnTo>
                    <a:pt x="74" y="112"/>
                  </a:lnTo>
                  <a:lnTo>
                    <a:pt x="72" y="114"/>
                  </a:lnTo>
                  <a:lnTo>
                    <a:pt x="72" y="116"/>
                  </a:lnTo>
                  <a:lnTo>
                    <a:pt x="70" y="118"/>
                  </a:lnTo>
                  <a:lnTo>
                    <a:pt x="68" y="120"/>
                  </a:lnTo>
                  <a:lnTo>
                    <a:pt x="66" y="122"/>
                  </a:lnTo>
                  <a:lnTo>
                    <a:pt x="62" y="124"/>
                  </a:lnTo>
                  <a:lnTo>
                    <a:pt x="60" y="126"/>
                  </a:lnTo>
                  <a:lnTo>
                    <a:pt x="58" y="126"/>
                  </a:lnTo>
                  <a:lnTo>
                    <a:pt x="56" y="128"/>
                  </a:lnTo>
                  <a:lnTo>
                    <a:pt x="54" y="128"/>
                  </a:lnTo>
                  <a:lnTo>
                    <a:pt x="52" y="130"/>
                  </a:lnTo>
                  <a:lnTo>
                    <a:pt x="50" y="130"/>
                  </a:lnTo>
                  <a:lnTo>
                    <a:pt x="44" y="132"/>
                  </a:lnTo>
                  <a:lnTo>
                    <a:pt x="40" y="132"/>
                  </a:lnTo>
                  <a:lnTo>
                    <a:pt x="38" y="132"/>
                  </a:lnTo>
                  <a:lnTo>
                    <a:pt x="36" y="132"/>
                  </a:lnTo>
                  <a:lnTo>
                    <a:pt x="32" y="132"/>
                  </a:lnTo>
                  <a:lnTo>
                    <a:pt x="30" y="132"/>
                  </a:lnTo>
                  <a:lnTo>
                    <a:pt x="28" y="132"/>
                  </a:lnTo>
                  <a:lnTo>
                    <a:pt x="26" y="132"/>
                  </a:lnTo>
                  <a:lnTo>
                    <a:pt x="26" y="132"/>
                  </a:lnTo>
                  <a:lnTo>
                    <a:pt x="24" y="132"/>
                  </a:lnTo>
                  <a:lnTo>
                    <a:pt x="24" y="132"/>
                  </a:lnTo>
                  <a:lnTo>
                    <a:pt x="24" y="134"/>
                  </a:lnTo>
                  <a:lnTo>
                    <a:pt x="22" y="136"/>
                  </a:lnTo>
                  <a:lnTo>
                    <a:pt x="20" y="138"/>
                  </a:lnTo>
                  <a:lnTo>
                    <a:pt x="18" y="140"/>
                  </a:lnTo>
                  <a:lnTo>
                    <a:pt x="14" y="146"/>
                  </a:lnTo>
                  <a:lnTo>
                    <a:pt x="14" y="148"/>
                  </a:lnTo>
                  <a:lnTo>
                    <a:pt x="10" y="150"/>
                  </a:lnTo>
                  <a:lnTo>
                    <a:pt x="8" y="152"/>
                  </a:lnTo>
                  <a:lnTo>
                    <a:pt x="6" y="154"/>
                  </a:lnTo>
                  <a:lnTo>
                    <a:pt x="6" y="154"/>
                  </a:lnTo>
                  <a:lnTo>
                    <a:pt x="4" y="156"/>
                  </a:lnTo>
                  <a:lnTo>
                    <a:pt x="4" y="158"/>
                  </a:lnTo>
                  <a:lnTo>
                    <a:pt x="2" y="162"/>
                  </a:lnTo>
                  <a:lnTo>
                    <a:pt x="2" y="162"/>
                  </a:lnTo>
                  <a:lnTo>
                    <a:pt x="2" y="164"/>
                  </a:lnTo>
                  <a:lnTo>
                    <a:pt x="0" y="166"/>
                  </a:lnTo>
                  <a:lnTo>
                    <a:pt x="0" y="170"/>
                  </a:lnTo>
                  <a:lnTo>
                    <a:pt x="0" y="174"/>
                  </a:lnTo>
                  <a:lnTo>
                    <a:pt x="0" y="178"/>
                  </a:lnTo>
                  <a:lnTo>
                    <a:pt x="0" y="182"/>
                  </a:lnTo>
                  <a:lnTo>
                    <a:pt x="0" y="186"/>
                  </a:lnTo>
                  <a:lnTo>
                    <a:pt x="0" y="192"/>
                  </a:lnTo>
                  <a:lnTo>
                    <a:pt x="0" y="196"/>
                  </a:lnTo>
                  <a:lnTo>
                    <a:pt x="0" y="200"/>
                  </a:lnTo>
                  <a:lnTo>
                    <a:pt x="0" y="206"/>
                  </a:lnTo>
                  <a:lnTo>
                    <a:pt x="0" y="210"/>
                  </a:lnTo>
                  <a:lnTo>
                    <a:pt x="0" y="214"/>
                  </a:lnTo>
                  <a:lnTo>
                    <a:pt x="2" y="218"/>
                  </a:lnTo>
                  <a:lnTo>
                    <a:pt x="2" y="222"/>
                  </a:lnTo>
                  <a:lnTo>
                    <a:pt x="4" y="224"/>
                  </a:lnTo>
                  <a:lnTo>
                    <a:pt x="4" y="226"/>
                  </a:lnTo>
                  <a:lnTo>
                    <a:pt x="4" y="228"/>
                  </a:lnTo>
                  <a:lnTo>
                    <a:pt x="6" y="228"/>
                  </a:lnTo>
                  <a:lnTo>
                    <a:pt x="6" y="228"/>
                  </a:lnTo>
                  <a:lnTo>
                    <a:pt x="8" y="230"/>
                  </a:lnTo>
                  <a:lnTo>
                    <a:pt x="10" y="232"/>
                  </a:lnTo>
                  <a:lnTo>
                    <a:pt x="14" y="226"/>
                  </a:lnTo>
                  <a:lnTo>
                    <a:pt x="18" y="220"/>
                  </a:lnTo>
                  <a:lnTo>
                    <a:pt x="22" y="216"/>
                  </a:lnTo>
                  <a:lnTo>
                    <a:pt x="22" y="216"/>
                  </a:lnTo>
                  <a:lnTo>
                    <a:pt x="22" y="214"/>
                  </a:lnTo>
                  <a:lnTo>
                    <a:pt x="26" y="208"/>
                  </a:lnTo>
                  <a:lnTo>
                    <a:pt x="28" y="204"/>
                  </a:lnTo>
                  <a:lnTo>
                    <a:pt x="28" y="202"/>
                  </a:lnTo>
                  <a:lnTo>
                    <a:pt x="30" y="202"/>
                  </a:lnTo>
                  <a:lnTo>
                    <a:pt x="32" y="200"/>
                  </a:lnTo>
                  <a:lnTo>
                    <a:pt x="34" y="198"/>
                  </a:lnTo>
                  <a:lnTo>
                    <a:pt x="36" y="196"/>
                  </a:lnTo>
                  <a:lnTo>
                    <a:pt x="38" y="196"/>
                  </a:lnTo>
                  <a:lnTo>
                    <a:pt x="42" y="192"/>
                  </a:lnTo>
                  <a:lnTo>
                    <a:pt x="44" y="192"/>
                  </a:lnTo>
                  <a:lnTo>
                    <a:pt x="46" y="190"/>
                  </a:lnTo>
                  <a:lnTo>
                    <a:pt x="50" y="188"/>
                  </a:lnTo>
                  <a:lnTo>
                    <a:pt x="52" y="184"/>
                  </a:lnTo>
                  <a:lnTo>
                    <a:pt x="60" y="178"/>
                  </a:lnTo>
                  <a:lnTo>
                    <a:pt x="68" y="170"/>
                  </a:lnTo>
                  <a:lnTo>
                    <a:pt x="74" y="164"/>
                  </a:lnTo>
                  <a:lnTo>
                    <a:pt x="80" y="158"/>
                  </a:lnTo>
                  <a:lnTo>
                    <a:pt x="88" y="152"/>
                  </a:lnTo>
                  <a:lnTo>
                    <a:pt x="94" y="144"/>
                  </a:lnTo>
                  <a:lnTo>
                    <a:pt x="98" y="142"/>
                  </a:lnTo>
                  <a:lnTo>
                    <a:pt x="100" y="138"/>
                  </a:lnTo>
                  <a:lnTo>
                    <a:pt x="104" y="134"/>
                  </a:lnTo>
                  <a:lnTo>
                    <a:pt x="110" y="128"/>
                  </a:lnTo>
                  <a:lnTo>
                    <a:pt x="112" y="124"/>
                  </a:lnTo>
                  <a:lnTo>
                    <a:pt x="114" y="122"/>
                  </a:lnTo>
                  <a:lnTo>
                    <a:pt x="116" y="118"/>
                  </a:lnTo>
                  <a:lnTo>
                    <a:pt x="116" y="116"/>
                  </a:lnTo>
                  <a:lnTo>
                    <a:pt x="118" y="114"/>
                  </a:lnTo>
                  <a:lnTo>
                    <a:pt x="118" y="112"/>
                  </a:lnTo>
                  <a:lnTo>
                    <a:pt x="118" y="110"/>
                  </a:lnTo>
                  <a:lnTo>
                    <a:pt x="120" y="106"/>
                  </a:lnTo>
                  <a:lnTo>
                    <a:pt x="120" y="102"/>
                  </a:lnTo>
                  <a:lnTo>
                    <a:pt x="122" y="94"/>
                  </a:lnTo>
                  <a:lnTo>
                    <a:pt x="122" y="90"/>
                  </a:lnTo>
                  <a:lnTo>
                    <a:pt x="124" y="88"/>
                  </a:lnTo>
                  <a:lnTo>
                    <a:pt x="124" y="82"/>
                  </a:lnTo>
                  <a:lnTo>
                    <a:pt x="128" y="76"/>
                  </a:lnTo>
                  <a:lnTo>
                    <a:pt x="130" y="70"/>
                  </a:lnTo>
                  <a:lnTo>
                    <a:pt x="130" y="68"/>
                  </a:lnTo>
                  <a:lnTo>
                    <a:pt x="132" y="66"/>
                  </a:lnTo>
                  <a:lnTo>
                    <a:pt x="134" y="64"/>
                  </a:lnTo>
                  <a:lnTo>
                    <a:pt x="134" y="62"/>
                  </a:lnTo>
                  <a:lnTo>
                    <a:pt x="138" y="58"/>
                  </a:lnTo>
                  <a:lnTo>
                    <a:pt x="142" y="54"/>
                  </a:lnTo>
                  <a:lnTo>
                    <a:pt x="144" y="52"/>
                  </a:lnTo>
                  <a:lnTo>
                    <a:pt x="144" y="50"/>
                  </a:lnTo>
                  <a:lnTo>
                    <a:pt x="146" y="48"/>
                  </a:lnTo>
                  <a:lnTo>
                    <a:pt x="146" y="46"/>
                  </a:lnTo>
                  <a:lnTo>
                    <a:pt x="146" y="40"/>
                  </a:lnTo>
                  <a:lnTo>
                    <a:pt x="148" y="36"/>
                  </a:lnTo>
                  <a:lnTo>
                    <a:pt x="148" y="34"/>
                  </a:lnTo>
                  <a:lnTo>
                    <a:pt x="150" y="32"/>
                  </a:lnTo>
                  <a:lnTo>
                    <a:pt x="150" y="32"/>
                  </a:lnTo>
                  <a:lnTo>
                    <a:pt x="152" y="30"/>
                  </a:lnTo>
                  <a:lnTo>
                    <a:pt x="154" y="28"/>
                  </a:lnTo>
                  <a:lnTo>
                    <a:pt x="156" y="26"/>
                  </a:lnTo>
                  <a:lnTo>
                    <a:pt x="156" y="26"/>
                  </a:lnTo>
                  <a:lnTo>
                    <a:pt x="156" y="24"/>
                  </a:lnTo>
                  <a:lnTo>
                    <a:pt x="156" y="24"/>
                  </a:lnTo>
                  <a:lnTo>
                    <a:pt x="156" y="24"/>
                  </a:lnTo>
                  <a:lnTo>
                    <a:pt x="156" y="22"/>
                  </a:lnTo>
                  <a:lnTo>
                    <a:pt x="156" y="22"/>
                  </a:lnTo>
                  <a:lnTo>
                    <a:pt x="156" y="20"/>
                  </a:lnTo>
                  <a:lnTo>
                    <a:pt x="154" y="20"/>
                  </a:lnTo>
                  <a:lnTo>
                    <a:pt x="154" y="18"/>
                  </a:lnTo>
                  <a:lnTo>
                    <a:pt x="150" y="16"/>
                  </a:lnTo>
                  <a:lnTo>
                    <a:pt x="150" y="16"/>
                  </a:lnTo>
                  <a:lnTo>
                    <a:pt x="148" y="14"/>
                  </a:lnTo>
                  <a:lnTo>
                    <a:pt x="146" y="12"/>
                  </a:lnTo>
                  <a:lnTo>
                    <a:pt x="146" y="10"/>
                  </a:lnTo>
                  <a:lnTo>
                    <a:pt x="144" y="6"/>
                  </a:lnTo>
                  <a:lnTo>
                    <a:pt x="142" y="4"/>
                  </a:lnTo>
                  <a:lnTo>
                    <a:pt x="140" y="2"/>
                  </a:lnTo>
                  <a:lnTo>
                    <a:pt x="140" y="0"/>
                  </a:lnTo>
                  <a:lnTo>
                    <a:pt x="138" y="0"/>
                  </a:lnTo>
                  <a:lnTo>
                    <a:pt x="138" y="0"/>
                  </a:lnTo>
                  <a:lnTo>
                    <a:pt x="136" y="0"/>
                  </a:lnTo>
                  <a:lnTo>
                    <a:pt x="136" y="0"/>
                  </a:lnTo>
                  <a:lnTo>
                    <a:pt x="134" y="0"/>
                  </a:lnTo>
                  <a:lnTo>
                    <a:pt x="134" y="0"/>
                  </a:lnTo>
                  <a:lnTo>
                    <a:pt x="134" y="2"/>
                  </a:lnTo>
                  <a:lnTo>
                    <a:pt x="132" y="2"/>
                  </a:lnTo>
                  <a:lnTo>
                    <a:pt x="130" y="2"/>
                  </a:lnTo>
                  <a:lnTo>
                    <a:pt x="130" y="6"/>
                  </a:lnTo>
                  <a:lnTo>
                    <a:pt x="128" y="8"/>
                  </a:lnTo>
                  <a:lnTo>
                    <a:pt x="126" y="10"/>
                  </a:lnTo>
                  <a:lnTo>
                    <a:pt x="124" y="12"/>
                  </a:lnTo>
                  <a:lnTo>
                    <a:pt x="122" y="12"/>
                  </a:lnTo>
                  <a:lnTo>
                    <a:pt x="122" y="14"/>
                  </a:lnTo>
                  <a:lnTo>
                    <a:pt x="120" y="14"/>
                  </a:lnTo>
                  <a:lnTo>
                    <a:pt x="118" y="14"/>
                  </a:lnTo>
                  <a:lnTo>
                    <a:pt x="116" y="14"/>
                  </a:lnTo>
                  <a:lnTo>
                    <a:pt x="114" y="14"/>
                  </a:lnTo>
                  <a:lnTo>
                    <a:pt x="110" y="16"/>
                  </a:lnTo>
                  <a:lnTo>
                    <a:pt x="108" y="16"/>
                  </a:lnTo>
                  <a:lnTo>
                    <a:pt x="106" y="16"/>
                  </a:lnTo>
                  <a:lnTo>
                    <a:pt x="104" y="16"/>
                  </a:lnTo>
                  <a:lnTo>
                    <a:pt x="104" y="16"/>
                  </a:lnTo>
                  <a:lnTo>
                    <a:pt x="100" y="18"/>
                  </a:lnTo>
                  <a:lnTo>
                    <a:pt x="96" y="22"/>
                  </a:lnTo>
                  <a:lnTo>
                    <a:pt x="94" y="22"/>
                  </a:lnTo>
                  <a:lnTo>
                    <a:pt x="92" y="24"/>
                  </a:lnTo>
                  <a:lnTo>
                    <a:pt x="88" y="26"/>
                  </a:lnTo>
                  <a:lnTo>
                    <a:pt x="86" y="28"/>
                  </a:lnTo>
                  <a:lnTo>
                    <a:pt x="86" y="28"/>
                  </a:lnTo>
                  <a:lnTo>
                    <a:pt x="84" y="28"/>
                  </a:lnTo>
                  <a:lnTo>
                    <a:pt x="82" y="28"/>
                  </a:lnTo>
                  <a:lnTo>
                    <a:pt x="80" y="28"/>
                  </a:lnTo>
                  <a:lnTo>
                    <a:pt x="76" y="28"/>
                  </a:lnTo>
                  <a:lnTo>
                    <a:pt x="72" y="28"/>
                  </a:lnTo>
                  <a:lnTo>
                    <a:pt x="68" y="28"/>
                  </a:lnTo>
                  <a:lnTo>
                    <a:pt x="62" y="28"/>
                  </a:lnTo>
                  <a:lnTo>
                    <a:pt x="60" y="26"/>
                  </a:lnTo>
                  <a:lnTo>
                    <a:pt x="56" y="26"/>
                  </a:lnTo>
                  <a:lnTo>
                    <a:pt x="54" y="26"/>
                  </a:lnTo>
                  <a:lnTo>
                    <a:pt x="52" y="24"/>
                  </a:lnTo>
                  <a:lnTo>
                    <a:pt x="46" y="22"/>
                  </a:lnTo>
                  <a:lnTo>
                    <a:pt x="40" y="20"/>
                  </a:lnTo>
                  <a:lnTo>
                    <a:pt x="24" y="3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6" name="Freeform 404">
              <a:extLst>
                <a:ext uri="{FF2B5EF4-FFF2-40B4-BE49-F238E27FC236}">
                  <a16:creationId xmlns:a16="http://schemas.microsoft.com/office/drawing/2014/main" id="{B20E18D0-09A0-422C-A4E0-194C508257D9}"/>
                </a:ext>
              </a:extLst>
            </p:cNvPr>
            <p:cNvSpPr>
              <a:spLocks/>
            </p:cNvSpPr>
            <p:nvPr/>
          </p:nvSpPr>
          <p:spPr bwMode="auto">
            <a:xfrm>
              <a:off x="4501310" y="3665856"/>
              <a:ext cx="384521" cy="457268"/>
            </a:xfrm>
            <a:custGeom>
              <a:avLst/>
              <a:gdLst>
                <a:gd name="T0" fmla="*/ 38 w 222"/>
                <a:gd name="T1" fmla="*/ 10 h 264"/>
                <a:gd name="T2" fmla="*/ 56 w 222"/>
                <a:gd name="T3" fmla="*/ 10 h 264"/>
                <a:gd name="T4" fmla="*/ 76 w 222"/>
                <a:gd name="T5" fmla="*/ 14 h 264"/>
                <a:gd name="T6" fmla="*/ 82 w 222"/>
                <a:gd name="T7" fmla="*/ 18 h 264"/>
                <a:gd name="T8" fmla="*/ 84 w 222"/>
                <a:gd name="T9" fmla="*/ 28 h 264"/>
                <a:gd name="T10" fmla="*/ 94 w 222"/>
                <a:gd name="T11" fmla="*/ 30 h 264"/>
                <a:gd name="T12" fmla="*/ 106 w 222"/>
                <a:gd name="T13" fmla="*/ 30 h 264"/>
                <a:gd name="T14" fmla="*/ 108 w 222"/>
                <a:gd name="T15" fmla="*/ 34 h 264"/>
                <a:gd name="T16" fmla="*/ 110 w 222"/>
                <a:gd name="T17" fmla="*/ 40 h 264"/>
                <a:gd name="T18" fmla="*/ 126 w 222"/>
                <a:gd name="T19" fmla="*/ 44 h 264"/>
                <a:gd name="T20" fmla="*/ 140 w 222"/>
                <a:gd name="T21" fmla="*/ 48 h 264"/>
                <a:gd name="T22" fmla="*/ 144 w 222"/>
                <a:gd name="T23" fmla="*/ 46 h 264"/>
                <a:gd name="T24" fmla="*/ 146 w 222"/>
                <a:gd name="T25" fmla="*/ 36 h 264"/>
                <a:gd name="T26" fmla="*/ 146 w 222"/>
                <a:gd name="T27" fmla="*/ 22 h 264"/>
                <a:gd name="T28" fmla="*/ 152 w 222"/>
                <a:gd name="T29" fmla="*/ 14 h 264"/>
                <a:gd name="T30" fmla="*/ 162 w 222"/>
                <a:gd name="T31" fmla="*/ 2 h 264"/>
                <a:gd name="T32" fmla="*/ 170 w 222"/>
                <a:gd name="T33" fmla="*/ 0 h 264"/>
                <a:gd name="T34" fmla="*/ 180 w 222"/>
                <a:gd name="T35" fmla="*/ 2 h 264"/>
                <a:gd name="T36" fmla="*/ 190 w 222"/>
                <a:gd name="T37" fmla="*/ 12 h 264"/>
                <a:gd name="T38" fmla="*/ 198 w 222"/>
                <a:gd name="T39" fmla="*/ 18 h 264"/>
                <a:gd name="T40" fmla="*/ 212 w 222"/>
                <a:gd name="T41" fmla="*/ 16 h 264"/>
                <a:gd name="T42" fmla="*/ 220 w 222"/>
                <a:gd name="T43" fmla="*/ 20 h 264"/>
                <a:gd name="T44" fmla="*/ 222 w 222"/>
                <a:gd name="T45" fmla="*/ 26 h 264"/>
                <a:gd name="T46" fmla="*/ 220 w 222"/>
                <a:gd name="T47" fmla="*/ 218 h 264"/>
                <a:gd name="T48" fmla="*/ 220 w 222"/>
                <a:gd name="T49" fmla="*/ 234 h 264"/>
                <a:gd name="T50" fmla="*/ 216 w 222"/>
                <a:gd name="T51" fmla="*/ 238 h 264"/>
                <a:gd name="T52" fmla="*/ 208 w 222"/>
                <a:gd name="T53" fmla="*/ 238 h 264"/>
                <a:gd name="T54" fmla="*/ 208 w 222"/>
                <a:gd name="T55" fmla="*/ 250 h 264"/>
                <a:gd name="T56" fmla="*/ 204 w 222"/>
                <a:gd name="T57" fmla="*/ 264 h 264"/>
                <a:gd name="T58" fmla="*/ 192 w 222"/>
                <a:gd name="T59" fmla="*/ 258 h 264"/>
                <a:gd name="T60" fmla="*/ 172 w 222"/>
                <a:gd name="T61" fmla="*/ 242 h 264"/>
                <a:gd name="T62" fmla="*/ 150 w 222"/>
                <a:gd name="T63" fmla="*/ 232 h 264"/>
                <a:gd name="T64" fmla="*/ 144 w 222"/>
                <a:gd name="T65" fmla="*/ 226 h 264"/>
                <a:gd name="T66" fmla="*/ 138 w 222"/>
                <a:gd name="T67" fmla="*/ 216 h 264"/>
                <a:gd name="T68" fmla="*/ 126 w 222"/>
                <a:gd name="T69" fmla="*/ 214 h 264"/>
                <a:gd name="T70" fmla="*/ 112 w 222"/>
                <a:gd name="T71" fmla="*/ 212 h 264"/>
                <a:gd name="T72" fmla="*/ 110 w 222"/>
                <a:gd name="T73" fmla="*/ 204 h 264"/>
                <a:gd name="T74" fmla="*/ 106 w 222"/>
                <a:gd name="T75" fmla="*/ 198 h 264"/>
                <a:gd name="T76" fmla="*/ 96 w 222"/>
                <a:gd name="T77" fmla="*/ 196 h 264"/>
                <a:gd name="T78" fmla="*/ 94 w 222"/>
                <a:gd name="T79" fmla="*/ 190 h 264"/>
                <a:gd name="T80" fmla="*/ 88 w 222"/>
                <a:gd name="T81" fmla="*/ 188 h 264"/>
                <a:gd name="T82" fmla="*/ 70 w 222"/>
                <a:gd name="T83" fmla="*/ 184 h 264"/>
                <a:gd name="T84" fmla="*/ 56 w 222"/>
                <a:gd name="T85" fmla="*/ 184 h 264"/>
                <a:gd name="T86" fmla="*/ 52 w 222"/>
                <a:gd name="T87" fmla="*/ 178 h 264"/>
                <a:gd name="T88" fmla="*/ 48 w 222"/>
                <a:gd name="T89" fmla="*/ 174 h 264"/>
                <a:gd name="T90" fmla="*/ 34 w 222"/>
                <a:gd name="T91" fmla="*/ 176 h 264"/>
                <a:gd name="T92" fmla="*/ 30 w 222"/>
                <a:gd name="T93" fmla="*/ 160 h 264"/>
                <a:gd name="T94" fmla="*/ 22 w 222"/>
                <a:gd name="T95" fmla="*/ 158 h 264"/>
                <a:gd name="T96" fmla="*/ 8 w 222"/>
                <a:gd name="T97" fmla="*/ 156 h 264"/>
                <a:gd name="T98" fmla="*/ 0 w 222"/>
                <a:gd name="T99" fmla="*/ 150 h 264"/>
                <a:gd name="T100" fmla="*/ 0 w 222"/>
                <a:gd name="T101" fmla="*/ 136 h 264"/>
                <a:gd name="T102" fmla="*/ 2 w 222"/>
                <a:gd name="T103" fmla="*/ 46 h 264"/>
                <a:gd name="T104" fmla="*/ 18 w 222"/>
                <a:gd name="T105" fmla="*/ 26 h 264"/>
                <a:gd name="T106" fmla="*/ 26 w 222"/>
                <a:gd name="T107" fmla="*/ 24 h 264"/>
                <a:gd name="T108" fmla="*/ 28 w 222"/>
                <a:gd name="T109" fmla="*/ 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2" h="264">
                  <a:moveTo>
                    <a:pt x="26" y="2"/>
                  </a:moveTo>
                  <a:lnTo>
                    <a:pt x="26" y="2"/>
                  </a:lnTo>
                  <a:lnTo>
                    <a:pt x="32" y="4"/>
                  </a:lnTo>
                  <a:lnTo>
                    <a:pt x="36" y="8"/>
                  </a:lnTo>
                  <a:lnTo>
                    <a:pt x="38" y="8"/>
                  </a:lnTo>
                  <a:lnTo>
                    <a:pt x="38" y="10"/>
                  </a:lnTo>
                  <a:lnTo>
                    <a:pt x="40" y="10"/>
                  </a:lnTo>
                  <a:lnTo>
                    <a:pt x="40" y="10"/>
                  </a:lnTo>
                  <a:lnTo>
                    <a:pt x="44" y="10"/>
                  </a:lnTo>
                  <a:lnTo>
                    <a:pt x="48" y="10"/>
                  </a:lnTo>
                  <a:lnTo>
                    <a:pt x="52" y="10"/>
                  </a:lnTo>
                  <a:lnTo>
                    <a:pt x="56" y="10"/>
                  </a:lnTo>
                  <a:lnTo>
                    <a:pt x="60" y="12"/>
                  </a:lnTo>
                  <a:lnTo>
                    <a:pt x="64" y="12"/>
                  </a:lnTo>
                  <a:lnTo>
                    <a:pt x="70" y="12"/>
                  </a:lnTo>
                  <a:lnTo>
                    <a:pt x="72" y="12"/>
                  </a:lnTo>
                  <a:lnTo>
                    <a:pt x="74" y="12"/>
                  </a:lnTo>
                  <a:lnTo>
                    <a:pt x="76" y="14"/>
                  </a:lnTo>
                  <a:lnTo>
                    <a:pt x="78" y="14"/>
                  </a:lnTo>
                  <a:lnTo>
                    <a:pt x="80" y="14"/>
                  </a:lnTo>
                  <a:lnTo>
                    <a:pt x="80" y="16"/>
                  </a:lnTo>
                  <a:lnTo>
                    <a:pt x="80" y="16"/>
                  </a:lnTo>
                  <a:lnTo>
                    <a:pt x="82" y="16"/>
                  </a:lnTo>
                  <a:lnTo>
                    <a:pt x="82" y="18"/>
                  </a:lnTo>
                  <a:lnTo>
                    <a:pt x="82" y="20"/>
                  </a:lnTo>
                  <a:lnTo>
                    <a:pt x="82" y="22"/>
                  </a:lnTo>
                  <a:lnTo>
                    <a:pt x="84" y="24"/>
                  </a:lnTo>
                  <a:lnTo>
                    <a:pt x="84" y="26"/>
                  </a:lnTo>
                  <a:lnTo>
                    <a:pt x="84" y="26"/>
                  </a:lnTo>
                  <a:lnTo>
                    <a:pt x="84" y="28"/>
                  </a:lnTo>
                  <a:lnTo>
                    <a:pt x="84" y="28"/>
                  </a:lnTo>
                  <a:lnTo>
                    <a:pt x="86" y="28"/>
                  </a:lnTo>
                  <a:lnTo>
                    <a:pt x="86" y="28"/>
                  </a:lnTo>
                  <a:lnTo>
                    <a:pt x="88" y="30"/>
                  </a:lnTo>
                  <a:lnTo>
                    <a:pt x="90" y="30"/>
                  </a:lnTo>
                  <a:lnTo>
                    <a:pt x="94" y="30"/>
                  </a:lnTo>
                  <a:lnTo>
                    <a:pt x="96" y="30"/>
                  </a:lnTo>
                  <a:lnTo>
                    <a:pt x="100" y="30"/>
                  </a:lnTo>
                  <a:lnTo>
                    <a:pt x="102" y="30"/>
                  </a:lnTo>
                  <a:lnTo>
                    <a:pt x="104" y="30"/>
                  </a:lnTo>
                  <a:lnTo>
                    <a:pt x="104" y="30"/>
                  </a:lnTo>
                  <a:lnTo>
                    <a:pt x="106" y="30"/>
                  </a:lnTo>
                  <a:lnTo>
                    <a:pt x="108" y="30"/>
                  </a:lnTo>
                  <a:lnTo>
                    <a:pt x="108" y="32"/>
                  </a:lnTo>
                  <a:lnTo>
                    <a:pt x="108" y="32"/>
                  </a:lnTo>
                  <a:lnTo>
                    <a:pt x="108" y="32"/>
                  </a:lnTo>
                  <a:lnTo>
                    <a:pt x="108" y="32"/>
                  </a:lnTo>
                  <a:lnTo>
                    <a:pt x="108" y="34"/>
                  </a:lnTo>
                  <a:lnTo>
                    <a:pt x="108" y="34"/>
                  </a:lnTo>
                  <a:lnTo>
                    <a:pt x="108" y="38"/>
                  </a:lnTo>
                  <a:lnTo>
                    <a:pt x="108" y="38"/>
                  </a:lnTo>
                  <a:lnTo>
                    <a:pt x="108" y="38"/>
                  </a:lnTo>
                  <a:lnTo>
                    <a:pt x="110" y="40"/>
                  </a:lnTo>
                  <a:lnTo>
                    <a:pt x="110" y="40"/>
                  </a:lnTo>
                  <a:lnTo>
                    <a:pt x="112" y="40"/>
                  </a:lnTo>
                  <a:lnTo>
                    <a:pt x="112" y="40"/>
                  </a:lnTo>
                  <a:lnTo>
                    <a:pt x="116" y="42"/>
                  </a:lnTo>
                  <a:lnTo>
                    <a:pt x="118" y="42"/>
                  </a:lnTo>
                  <a:lnTo>
                    <a:pt x="124" y="42"/>
                  </a:lnTo>
                  <a:lnTo>
                    <a:pt x="126" y="44"/>
                  </a:lnTo>
                  <a:lnTo>
                    <a:pt x="128" y="44"/>
                  </a:lnTo>
                  <a:lnTo>
                    <a:pt x="130" y="44"/>
                  </a:lnTo>
                  <a:lnTo>
                    <a:pt x="132" y="44"/>
                  </a:lnTo>
                  <a:lnTo>
                    <a:pt x="136" y="46"/>
                  </a:lnTo>
                  <a:lnTo>
                    <a:pt x="138" y="48"/>
                  </a:lnTo>
                  <a:lnTo>
                    <a:pt x="140" y="48"/>
                  </a:lnTo>
                  <a:lnTo>
                    <a:pt x="140" y="48"/>
                  </a:lnTo>
                  <a:lnTo>
                    <a:pt x="142" y="48"/>
                  </a:lnTo>
                  <a:lnTo>
                    <a:pt x="142" y="48"/>
                  </a:lnTo>
                  <a:lnTo>
                    <a:pt x="142" y="48"/>
                  </a:lnTo>
                  <a:lnTo>
                    <a:pt x="144" y="46"/>
                  </a:lnTo>
                  <a:lnTo>
                    <a:pt x="144" y="46"/>
                  </a:lnTo>
                  <a:lnTo>
                    <a:pt x="144" y="46"/>
                  </a:lnTo>
                  <a:lnTo>
                    <a:pt x="146" y="42"/>
                  </a:lnTo>
                  <a:lnTo>
                    <a:pt x="146" y="42"/>
                  </a:lnTo>
                  <a:lnTo>
                    <a:pt x="146" y="40"/>
                  </a:lnTo>
                  <a:lnTo>
                    <a:pt x="146" y="40"/>
                  </a:lnTo>
                  <a:lnTo>
                    <a:pt x="146" y="36"/>
                  </a:lnTo>
                  <a:lnTo>
                    <a:pt x="146" y="34"/>
                  </a:lnTo>
                  <a:lnTo>
                    <a:pt x="146" y="30"/>
                  </a:lnTo>
                  <a:lnTo>
                    <a:pt x="146" y="28"/>
                  </a:lnTo>
                  <a:lnTo>
                    <a:pt x="146" y="24"/>
                  </a:lnTo>
                  <a:lnTo>
                    <a:pt x="146" y="22"/>
                  </a:lnTo>
                  <a:lnTo>
                    <a:pt x="146" y="22"/>
                  </a:lnTo>
                  <a:lnTo>
                    <a:pt x="146" y="20"/>
                  </a:lnTo>
                  <a:lnTo>
                    <a:pt x="146" y="20"/>
                  </a:lnTo>
                  <a:lnTo>
                    <a:pt x="148" y="18"/>
                  </a:lnTo>
                  <a:lnTo>
                    <a:pt x="148" y="18"/>
                  </a:lnTo>
                  <a:lnTo>
                    <a:pt x="150" y="16"/>
                  </a:lnTo>
                  <a:lnTo>
                    <a:pt x="152" y="14"/>
                  </a:lnTo>
                  <a:lnTo>
                    <a:pt x="154" y="12"/>
                  </a:lnTo>
                  <a:lnTo>
                    <a:pt x="156" y="10"/>
                  </a:lnTo>
                  <a:lnTo>
                    <a:pt x="158" y="8"/>
                  </a:lnTo>
                  <a:lnTo>
                    <a:pt x="158" y="6"/>
                  </a:lnTo>
                  <a:lnTo>
                    <a:pt x="160" y="4"/>
                  </a:lnTo>
                  <a:lnTo>
                    <a:pt x="162" y="2"/>
                  </a:lnTo>
                  <a:lnTo>
                    <a:pt x="162" y="2"/>
                  </a:lnTo>
                  <a:lnTo>
                    <a:pt x="164" y="0"/>
                  </a:lnTo>
                  <a:lnTo>
                    <a:pt x="164" y="0"/>
                  </a:lnTo>
                  <a:lnTo>
                    <a:pt x="166" y="0"/>
                  </a:lnTo>
                  <a:lnTo>
                    <a:pt x="168" y="0"/>
                  </a:lnTo>
                  <a:lnTo>
                    <a:pt x="170" y="0"/>
                  </a:lnTo>
                  <a:lnTo>
                    <a:pt x="172" y="0"/>
                  </a:lnTo>
                  <a:lnTo>
                    <a:pt x="174" y="0"/>
                  </a:lnTo>
                  <a:lnTo>
                    <a:pt x="176" y="0"/>
                  </a:lnTo>
                  <a:lnTo>
                    <a:pt x="178" y="0"/>
                  </a:lnTo>
                  <a:lnTo>
                    <a:pt x="178" y="0"/>
                  </a:lnTo>
                  <a:lnTo>
                    <a:pt x="180" y="2"/>
                  </a:lnTo>
                  <a:lnTo>
                    <a:pt x="180" y="2"/>
                  </a:lnTo>
                  <a:lnTo>
                    <a:pt x="182" y="4"/>
                  </a:lnTo>
                  <a:lnTo>
                    <a:pt x="184" y="6"/>
                  </a:lnTo>
                  <a:lnTo>
                    <a:pt x="186" y="8"/>
                  </a:lnTo>
                  <a:lnTo>
                    <a:pt x="188" y="10"/>
                  </a:lnTo>
                  <a:lnTo>
                    <a:pt x="190" y="12"/>
                  </a:lnTo>
                  <a:lnTo>
                    <a:pt x="192" y="14"/>
                  </a:lnTo>
                  <a:lnTo>
                    <a:pt x="194" y="16"/>
                  </a:lnTo>
                  <a:lnTo>
                    <a:pt x="194" y="16"/>
                  </a:lnTo>
                  <a:lnTo>
                    <a:pt x="196" y="16"/>
                  </a:lnTo>
                  <a:lnTo>
                    <a:pt x="196" y="18"/>
                  </a:lnTo>
                  <a:lnTo>
                    <a:pt x="198" y="18"/>
                  </a:lnTo>
                  <a:lnTo>
                    <a:pt x="200" y="16"/>
                  </a:lnTo>
                  <a:lnTo>
                    <a:pt x="202" y="16"/>
                  </a:lnTo>
                  <a:lnTo>
                    <a:pt x="206" y="16"/>
                  </a:lnTo>
                  <a:lnTo>
                    <a:pt x="208" y="16"/>
                  </a:lnTo>
                  <a:lnTo>
                    <a:pt x="208" y="16"/>
                  </a:lnTo>
                  <a:lnTo>
                    <a:pt x="212" y="16"/>
                  </a:lnTo>
                  <a:lnTo>
                    <a:pt x="214" y="16"/>
                  </a:lnTo>
                  <a:lnTo>
                    <a:pt x="216" y="18"/>
                  </a:lnTo>
                  <a:lnTo>
                    <a:pt x="218" y="18"/>
                  </a:lnTo>
                  <a:lnTo>
                    <a:pt x="218" y="18"/>
                  </a:lnTo>
                  <a:lnTo>
                    <a:pt x="220" y="20"/>
                  </a:lnTo>
                  <a:lnTo>
                    <a:pt x="220" y="20"/>
                  </a:lnTo>
                  <a:lnTo>
                    <a:pt x="220" y="20"/>
                  </a:lnTo>
                  <a:lnTo>
                    <a:pt x="222" y="22"/>
                  </a:lnTo>
                  <a:lnTo>
                    <a:pt x="222" y="22"/>
                  </a:lnTo>
                  <a:lnTo>
                    <a:pt x="222" y="22"/>
                  </a:lnTo>
                  <a:lnTo>
                    <a:pt x="222" y="24"/>
                  </a:lnTo>
                  <a:lnTo>
                    <a:pt x="222" y="26"/>
                  </a:lnTo>
                  <a:lnTo>
                    <a:pt x="220" y="28"/>
                  </a:lnTo>
                  <a:lnTo>
                    <a:pt x="220" y="34"/>
                  </a:lnTo>
                  <a:lnTo>
                    <a:pt x="220" y="34"/>
                  </a:lnTo>
                  <a:lnTo>
                    <a:pt x="220" y="210"/>
                  </a:lnTo>
                  <a:lnTo>
                    <a:pt x="220" y="214"/>
                  </a:lnTo>
                  <a:lnTo>
                    <a:pt x="220" y="218"/>
                  </a:lnTo>
                  <a:lnTo>
                    <a:pt x="222" y="222"/>
                  </a:lnTo>
                  <a:lnTo>
                    <a:pt x="222" y="226"/>
                  </a:lnTo>
                  <a:lnTo>
                    <a:pt x="222" y="228"/>
                  </a:lnTo>
                  <a:lnTo>
                    <a:pt x="220" y="230"/>
                  </a:lnTo>
                  <a:lnTo>
                    <a:pt x="220" y="232"/>
                  </a:lnTo>
                  <a:lnTo>
                    <a:pt x="220" y="234"/>
                  </a:lnTo>
                  <a:lnTo>
                    <a:pt x="220" y="234"/>
                  </a:lnTo>
                  <a:lnTo>
                    <a:pt x="218" y="236"/>
                  </a:lnTo>
                  <a:lnTo>
                    <a:pt x="218" y="236"/>
                  </a:lnTo>
                  <a:lnTo>
                    <a:pt x="218" y="236"/>
                  </a:lnTo>
                  <a:lnTo>
                    <a:pt x="216" y="238"/>
                  </a:lnTo>
                  <a:lnTo>
                    <a:pt x="216" y="238"/>
                  </a:lnTo>
                  <a:lnTo>
                    <a:pt x="214" y="238"/>
                  </a:lnTo>
                  <a:lnTo>
                    <a:pt x="212" y="238"/>
                  </a:lnTo>
                  <a:lnTo>
                    <a:pt x="210" y="238"/>
                  </a:lnTo>
                  <a:lnTo>
                    <a:pt x="210" y="238"/>
                  </a:lnTo>
                  <a:lnTo>
                    <a:pt x="210" y="238"/>
                  </a:lnTo>
                  <a:lnTo>
                    <a:pt x="208" y="238"/>
                  </a:lnTo>
                  <a:lnTo>
                    <a:pt x="208" y="240"/>
                  </a:lnTo>
                  <a:lnTo>
                    <a:pt x="208" y="242"/>
                  </a:lnTo>
                  <a:lnTo>
                    <a:pt x="208" y="244"/>
                  </a:lnTo>
                  <a:lnTo>
                    <a:pt x="208" y="244"/>
                  </a:lnTo>
                  <a:lnTo>
                    <a:pt x="208" y="248"/>
                  </a:lnTo>
                  <a:lnTo>
                    <a:pt x="208" y="250"/>
                  </a:lnTo>
                  <a:lnTo>
                    <a:pt x="208" y="254"/>
                  </a:lnTo>
                  <a:lnTo>
                    <a:pt x="210" y="258"/>
                  </a:lnTo>
                  <a:lnTo>
                    <a:pt x="210" y="262"/>
                  </a:lnTo>
                  <a:lnTo>
                    <a:pt x="212" y="264"/>
                  </a:lnTo>
                  <a:lnTo>
                    <a:pt x="208" y="264"/>
                  </a:lnTo>
                  <a:lnTo>
                    <a:pt x="204" y="264"/>
                  </a:lnTo>
                  <a:lnTo>
                    <a:pt x="202" y="264"/>
                  </a:lnTo>
                  <a:lnTo>
                    <a:pt x="202" y="264"/>
                  </a:lnTo>
                  <a:lnTo>
                    <a:pt x="200" y="264"/>
                  </a:lnTo>
                  <a:lnTo>
                    <a:pt x="198" y="262"/>
                  </a:lnTo>
                  <a:lnTo>
                    <a:pt x="196" y="260"/>
                  </a:lnTo>
                  <a:lnTo>
                    <a:pt x="192" y="258"/>
                  </a:lnTo>
                  <a:lnTo>
                    <a:pt x="190" y="254"/>
                  </a:lnTo>
                  <a:lnTo>
                    <a:pt x="182" y="250"/>
                  </a:lnTo>
                  <a:lnTo>
                    <a:pt x="180" y="246"/>
                  </a:lnTo>
                  <a:lnTo>
                    <a:pt x="178" y="244"/>
                  </a:lnTo>
                  <a:lnTo>
                    <a:pt x="176" y="244"/>
                  </a:lnTo>
                  <a:lnTo>
                    <a:pt x="172" y="242"/>
                  </a:lnTo>
                  <a:lnTo>
                    <a:pt x="168" y="240"/>
                  </a:lnTo>
                  <a:lnTo>
                    <a:pt x="164" y="238"/>
                  </a:lnTo>
                  <a:lnTo>
                    <a:pt x="162" y="238"/>
                  </a:lnTo>
                  <a:lnTo>
                    <a:pt x="156" y="234"/>
                  </a:lnTo>
                  <a:lnTo>
                    <a:pt x="152" y="232"/>
                  </a:lnTo>
                  <a:lnTo>
                    <a:pt x="150" y="232"/>
                  </a:lnTo>
                  <a:lnTo>
                    <a:pt x="148" y="230"/>
                  </a:lnTo>
                  <a:lnTo>
                    <a:pt x="146" y="230"/>
                  </a:lnTo>
                  <a:lnTo>
                    <a:pt x="146" y="228"/>
                  </a:lnTo>
                  <a:lnTo>
                    <a:pt x="144" y="228"/>
                  </a:lnTo>
                  <a:lnTo>
                    <a:pt x="144" y="228"/>
                  </a:lnTo>
                  <a:lnTo>
                    <a:pt x="144" y="226"/>
                  </a:lnTo>
                  <a:lnTo>
                    <a:pt x="142" y="222"/>
                  </a:lnTo>
                  <a:lnTo>
                    <a:pt x="140" y="220"/>
                  </a:lnTo>
                  <a:lnTo>
                    <a:pt x="140" y="218"/>
                  </a:lnTo>
                  <a:lnTo>
                    <a:pt x="138" y="216"/>
                  </a:lnTo>
                  <a:lnTo>
                    <a:pt x="138" y="216"/>
                  </a:lnTo>
                  <a:lnTo>
                    <a:pt x="138" y="216"/>
                  </a:lnTo>
                  <a:lnTo>
                    <a:pt x="136" y="214"/>
                  </a:lnTo>
                  <a:lnTo>
                    <a:pt x="136" y="214"/>
                  </a:lnTo>
                  <a:lnTo>
                    <a:pt x="134" y="214"/>
                  </a:lnTo>
                  <a:lnTo>
                    <a:pt x="132" y="214"/>
                  </a:lnTo>
                  <a:lnTo>
                    <a:pt x="128" y="214"/>
                  </a:lnTo>
                  <a:lnTo>
                    <a:pt x="126" y="214"/>
                  </a:lnTo>
                  <a:lnTo>
                    <a:pt x="122" y="214"/>
                  </a:lnTo>
                  <a:lnTo>
                    <a:pt x="118" y="214"/>
                  </a:lnTo>
                  <a:lnTo>
                    <a:pt x="116" y="214"/>
                  </a:lnTo>
                  <a:lnTo>
                    <a:pt x="114" y="212"/>
                  </a:lnTo>
                  <a:lnTo>
                    <a:pt x="114" y="212"/>
                  </a:lnTo>
                  <a:lnTo>
                    <a:pt x="112" y="212"/>
                  </a:lnTo>
                  <a:lnTo>
                    <a:pt x="112" y="212"/>
                  </a:lnTo>
                  <a:lnTo>
                    <a:pt x="112" y="210"/>
                  </a:lnTo>
                  <a:lnTo>
                    <a:pt x="112" y="210"/>
                  </a:lnTo>
                  <a:lnTo>
                    <a:pt x="110" y="208"/>
                  </a:lnTo>
                  <a:lnTo>
                    <a:pt x="110" y="206"/>
                  </a:lnTo>
                  <a:lnTo>
                    <a:pt x="110" y="204"/>
                  </a:lnTo>
                  <a:lnTo>
                    <a:pt x="108" y="202"/>
                  </a:lnTo>
                  <a:lnTo>
                    <a:pt x="108" y="200"/>
                  </a:lnTo>
                  <a:lnTo>
                    <a:pt x="108" y="200"/>
                  </a:lnTo>
                  <a:lnTo>
                    <a:pt x="108" y="198"/>
                  </a:lnTo>
                  <a:lnTo>
                    <a:pt x="108" y="198"/>
                  </a:lnTo>
                  <a:lnTo>
                    <a:pt x="106" y="198"/>
                  </a:lnTo>
                  <a:lnTo>
                    <a:pt x="104" y="198"/>
                  </a:lnTo>
                  <a:lnTo>
                    <a:pt x="102" y="198"/>
                  </a:lnTo>
                  <a:lnTo>
                    <a:pt x="102" y="196"/>
                  </a:lnTo>
                  <a:lnTo>
                    <a:pt x="100" y="196"/>
                  </a:lnTo>
                  <a:lnTo>
                    <a:pt x="98" y="196"/>
                  </a:lnTo>
                  <a:lnTo>
                    <a:pt x="96" y="196"/>
                  </a:lnTo>
                  <a:lnTo>
                    <a:pt x="96" y="196"/>
                  </a:lnTo>
                  <a:lnTo>
                    <a:pt x="96" y="194"/>
                  </a:lnTo>
                  <a:lnTo>
                    <a:pt x="94" y="194"/>
                  </a:lnTo>
                  <a:lnTo>
                    <a:pt x="94" y="194"/>
                  </a:lnTo>
                  <a:lnTo>
                    <a:pt x="94" y="192"/>
                  </a:lnTo>
                  <a:lnTo>
                    <a:pt x="94" y="190"/>
                  </a:lnTo>
                  <a:lnTo>
                    <a:pt x="94" y="190"/>
                  </a:lnTo>
                  <a:lnTo>
                    <a:pt x="94" y="188"/>
                  </a:lnTo>
                  <a:lnTo>
                    <a:pt x="94" y="188"/>
                  </a:lnTo>
                  <a:lnTo>
                    <a:pt x="92" y="188"/>
                  </a:lnTo>
                  <a:lnTo>
                    <a:pt x="90" y="188"/>
                  </a:lnTo>
                  <a:lnTo>
                    <a:pt x="88" y="188"/>
                  </a:lnTo>
                  <a:lnTo>
                    <a:pt x="86" y="188"/>
                  </a:lnTo>
                  <a:lnTo>
                    <a:pt x="82" y="188"/>
                  </a:lnTo>
                  <a:lnTo>
                    <a:pt x="80" y="188"/>
                  </a:lnTo>
                  <a:lnTo>
                    <a:pt x="76" y="186"/>
                  </a:lnTo>
                  <a:lnTo>
                    <a:pt x="74" y="184"/>
                  </a:lnTo>
                  <a:lnTo>
                    <a:pt x="70" y="184"/>
                  </a:lnTo>
                  <a:lnTo>
                    <a:pt x="70" y="184"/>
                  </a:lnTo>
                  <a:lnTo>
                    <a:pt x="66" y="184"/>
                  </a:lnTo>
                  <a:lnTo>
                    <a:pt x="62" y="184"/>
                  </a:lnTo>
                  <a:lnTo>
                    <a:pt x="60" y="184"/>
                  </a:lnTo>
                  <a:lnTo>
                    <a:pt x="58" y="184"/>
                  </a:lnTo>
                  <a:lnTo>
                    <a:pt x="56" y="184"/>
                  </a:lnTo>
                  <a:lnTo>
                    <a:pt x="56" y="184"/>
                  </a:lnTo>
                  <a:lnTo>
                    <a:pt x="54" y="182"/>
                  </a:lnTo>
                  <a:lnTo>
                    <a:pt x="54" y="182"/>
                  </a:lnTo>
                  <a:lnTo>
                    <a:pt x="54" y="182"/>
                  </a:lnTo>
                  <a:lnTo>
                    <a:pt x="54" y="180"/>
                  </a:lnTo>
                  <a:lnTo>
                    <a:pt x="52" y="178"/>
                  </a:lnTo>
                  <a:lnTo>
                    <a:pt x="52" y="176"/>
                  </a:lnTo>
                  <a:lnTo>
                    <a:pt x="52" y="176"/>
                  </a:lnTo>
                  <a:lnTo>
                    <a:pt x="52" y="176"/>
                  </a:lnTo>
                  <a:lnTo>
                    <a:pt x="52" y="174"/>
                  </a:lnTo>
                  <a:lnTo>
                    <a:pt x="50" y="174"/>
                  </a:lnTo>
                  <a:lnTo>
                    <a:pt x="48" y="174"/>
                  </a:lnTo>
                  <a:lnTo>
                    <a:pt x="48" y="174"/>
                  </a:lnTo>
                  <a:lnTo>
                    <a:pt x="44" y="174"/>
                  </a:lnTo>
                  <a:lnTo>
                    <a:pt x="42" y="174"/>
                  </a:lnTo>
                  <a:lnTo>
                    <a:pt x="38" y="174"/>
                  </a:lnTo>
                  <a:lnTo>
                    <a:pt x="36" y="174"/>
                  </a:lnTo>
                  <a:lnTo>
                    <a:pt x="34" y="176"/>
                  </a:lnTo>
                  <a:lnTo>
                    <a:pt x="34" y="174"/>
                  </a:lnTo>
                  <a:lnTo>
                    <a:pt x="32" y="168"/>
                  </a:lnTo>
                  <a:lnTo>
                    <a:pt x="32" y="166"/>
                  </a:lnTo>
                  <a:lnTo>
                    <a:pt x="32" y="164"/>
                  </a:lnTo>
                  <a:lnTo>
                    <a:pt x="32" y="162"/>
                  </a:lnTo>
                  <a:lnTo>
                    <a:pt x="30" y="160"/>
                  </a:lnTo>
                  <a:lnTo>
                    <a:pt x="30" y="160"/>
                  </a:lnTo>
                  <a:lnTo>
                    <a:pt x="30" y="160"/>
                  </a:lnTo>
                  <a:lnTo>
                    <a:pt x="28" y="160"/>
                  </a:lnTo>
                  <a:lnTo>
                    <a:pt x="28" y="158"/>
                  </a:lnTo>
                  <a:lnTo>
                    <a:pt x="26" y="158"/>
                  </a:lnTo>
                  <a:lnTo>
                    <a:pt x="22" y="158"/>
                  </a:lnTo>
                  <a:lnTo>
                    <a:pt x="20" y="158"/>
                  </a:lnTo>
                  <a:lnTo>
                    <a:pt x="16" y="158"/>
                  </a:lnTo>
                  <a:lnTo>
                    <a:pt x="12" y="158"/>
                  </a:lnTo>
                  <a:lnTo>
                    <a:pt x="12" y="158"/>
                  </a:lnTo>
                  <a:lnTo>
                    <a:pt x="10" y="158"/>
                  </a:lnTo>
                  <a:lnTo>
                    <a:pt x="8" y="156"/>
                  </a:lnTo>
                  <a:lnTo>
                    <a:pt x="8" y="156"/>
                  </a:lnTo>
                  <a:lnTo>
                    <a:pt x="6" y="156"/>
                  </a:lnTo>
                  <a:lnTo>
                    <a:pt x="6" y="156"/>
                  </a:lnTo>
                  <a:lnTo>
                    <a:pt x="4" y="154"/>
                  </a:lnTo>
                  <a:lnTo>
                    <a:pt x="2" y="150"/>
                  </a:lnTo>
                  <a:lnTo>
                    <a:pt x="0" y="150"/>
                  </a:lnTo>
                  <a:lnTo>
                    <a:pt x="0" y="148"/>
                  </a:lnTo>
                  <a:lnTo>
                    <a:pt x="0" y="148"/>
                  </a:lnTo>
                  <a:lnTo>
                    <a:pt x="0" y="146"/>
                  </a:lnTo>
                  <a:lnTo>
                    <a:pt x="0" y="142"/>
                  </a:lnTo>
                  <a:lnTo>
                    <a:pt x="0" y="140"/>
                  </a:lnTo>
                  <a:lnTo>
                    <a:pt x="0" y="136"/>
                  </a:lnTo>
                  <a:lnTo>
                    <a:pt x="0" y="132"/>
                  </a:lnTo>
                  <a:lnTo>
                    <a:pt x="0" y="120"/>
                  </a:lnTo>
                  <a:lnTo>
                    <a:pt x="0" y="106"/>
                  </a:lnTo>
                  <a:lnTo>
                    <a:pt x="0" y="90"/>
                  </a:lnTo>
                  <a:lnTo>
                    <a:pt x="0" y="74"/>
                  </a:lnTo>
                  <a:lnTo>
                    <a:pt x="2" y="46"/>
                  </a:lnTo>
                  <a:lnTo>
                    <a:pt x="2" y="34"/>
                  </a:lnTo>
                  <a:lnTo>
                    <a:pt x="8" y="30"/>
                  </a:lnTo>
                  <a:lnTo>
                    <a:pt x="14" y="28"/>
                  </a:lnTo>
                  <a:lnTo>
                    <a:pt x="16" y="26"/>
                  </a:lnTo>
                  <a:lnTo>
                    <a:pt x="18" y="26"/>
                  </a:lnTo>
                  <a:lnTo>
                    <a:pt x="18" y="26"/>
                  </a:lnTo>
                  <a:lnTo>
                    <a:pt x="20" y="26"/>
                  </a:lnTo>
                  <a:lnTo>
                    <a:pt x="22" y="26"/>
                  </a:lnTo>
                  <a:lnTo>
                    <a:pt x="22" y="26"/>
                  </a:lnTo>
                  <a:lnTo>
                    <a:pt x="24" y="26"/>
                  </a:lnTo>
                  <a:lnTo>
                    <a:pt x="24" y="24"/>
                  </a:lnTo>
                  <a:lnTo>
                    <a:pt x="26" y="24"/>
                  </a:lnTo>
                  <a:lnTo>
                    <a:pt x="26" y="22"/>
                  </a:lnTo>
                  <a:lnTo>
                    <a:pt x="26" y="22"/>
                  </a:lnTo>
                  <a:lnTo>
                    <a:pt x="26" y="20"/>
                  </a:lnTo>
                  <a:lnTo>
                    <a:pt x="26" y="16"/>
                  </a:lnTo>
                  <a:lnTo>
                    <a:pt x="28" y="12"/>
                  </a:lnTo>
                  <a:lnTo>
                    <a:pt x="28" y="8"/>
                  </a:lnTo>
                  <a:lnTo>
                    <a:pt x="28" y="4"/>
                  </a:lnTo>
                  <a:lnTo>
                    <a:pt x="26"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7" name="Freeform 405">
              <a:extLst>
                <a:ext uri="{FF2B5EF4-FFF2-40B4-BE49-F238E27FC236}">
                  <a16:creationId xmlns:a16="http://schemas.microsoft.com/office/drawing/2014/main" id="{81C65512-5652-4B7B-9516-F01A7333AF83}"/>
                </a:ext>
              </a:extLst>
            </p:cNvPr>
            <p:cNvSpPr>
              <a:spLocks/>
            </p:cNvSpPr>
            <p:nvPr/>
          </p:nvSpPr>
          <p:spPr bwMode="auto">
            <a:xfrm>
              <a:off x="4501310" y="3665856"/>
              <a:ext cx="384521" cy="457268"/>
            </a:xfrm>
            <a:custGeom>
              <a:avLst/>
              <a:gdLst>
                <a:gd name="T0" fmla="*/ 38 w 222"/>
                <a:gd name="T1" fmla="*/ 10 h 264"/>
                <a:gd name="T2" fmla="*/ 56 w 222"/>
                <a:gd name="T3" fmla="*/ 10 h 264"/>
                <a:gd name="T4" fmla="*/ 76 w 222"/>
                <a:gd name="T5" fmla="*/ 14 h 264"/>
                <a:gd name="T6" fmla="*/ 82 w 222"/>
                <a:gd name="T7" fmla="*/ 18 h 264"/>
                <a:gd name="T8" fmla="*/ 84 w 222"/>
                <a:gd name="T9" fmla="*/ 28 h 264"/>
                <a:gd name="T10" fmla="*/ 94 w 222"/>
                <a:gd name="T11" fmla="*/ 30 h 264"/>
                <a:gd name="T12" fmla="*/ 106 w 222"/>
                <a:gd name="T13" fmla="*/ 30 h 264"/>
                <a:gd name="T14" fmla="*/ 108 w 222"/>
                <a:gd name="T15" fmla="*/ 34 h 264"/>
                <a:gd name="T16" fmla="*/ 110 w 222"/>
                <a:gd name="T17" fmla="*/ 40 h 264"/>
                <a:gd name="T18" fmla="*/ 126 w 222"/>
                <a:gd name="T19" fmla="*/ 44 h 264"/>
                <a:gd name="T20" fmla="*/ 140 w 222"/>
                <a:gd name="T21" fmla="*/ 48 h 264"/>
                <a:gd name="T22" fmla="*/ 144 w 222"/>
                <a:gd name="T23" fmla="*/ 46 h 264"/>
                <a:gd name="T24" fmla="*/ 146 w 222"/>
                <a:gd name="T25" fmla="*/ 36 h 264"/>
                <a:gd name="T26" fmla="*/ 146 w 222"/>
                <a:gd name="T27" fmla="*/ 22 h 264"/>
                <a:gd name="T28" fmla="*/ 152 w 222"/>
                <a:gd name="T29" fmla="*/ 14 h 264"/>
                <a:gd name="T30" fmla="*/ 162 w 222"/>
                <a:gd name="T31" fmla="*/ 2 h 264"/>
                <a:gd name="T32" fmla="*/ 170 w 222"/>
                <a:gd name="T33" fmla="*/ 0 h 264"/>
                <a:gd name="T34" fmla="*/ 180 w 222"/>
                <a:gd name="T35" fmla="*/ 2 h 264"/>
                <a:gd name="T36" fmla="*/ 190 w 222"/>
                <a:gd name="T37" fmla="*/ 12 h 264"/>
                <a:gd name="T38" fmla="*/ 198 w 222"/>
                <a:gd name="T39" fmla="*/ 18 h 264"/>
                <a:gd name="T40" fmla="*/ 212 w 222"/>
                <a:gd name="T41" fmla="*/ 16 h 264"/>
                <a:gd name="T42" fmla="*/ 220 w 222"/>
                <a:gd name="T43" fmla="*/ 20 h 264"/>
                <a:gd name="T44" fmla="*/ 222 w 222"/>
                <a:gd name="T45" fmla="*/ 26 h 264"/>
                <a:gd name="T46" fmla="*/ 220 w 222"/>
                <a:gd name="T47" fmla="*/ 218 h 264"/>
                <a:gd name="T48" fmla="*/ 220 w 222"/>
                <a:gd name="T49" fmla="*/ 234 h 264"/>
                <a:gd name="T50" fmla="*/ 216 w 222"/>
                <a:gd name="T51" fmla="*/ 238 h 264"/>
                <a:gd name="T52" fmla="*/ 208 w 222"/>
                <a:gd name="T53" fmla="*/ 238 h 264"/>
                <a:gd name="T54" fmla="*/ 208 w 222"/>
                <a:gd name="T55" fmla="*/ 250 h 264"/>
                <a:gd name="T56" fmla="*/ 204 w 222"/>
                <a:gd name="T57" fmla="*/ 264 h 264"/>
                <a:gd name="T58" fmla="*/ 192 w 222"/>
                <a:gd name="T59" fmla="*/ 258 h 264"/>
                <a:gd name="T60" fmla="*/ 172 w 222"/>
                <a:gd name="T61" fmla="*/ 242 h 264"/>
                <a:gd name="T62" fmla="*/ 150 w 222"/>
                <a:gd name="T63" fmla="*/ 232 h 264"/>
                <a:gd name="T64" fmla="*/ 144 w 222"/>
                <a:gd name="T65" fmla="*/ 226 h 264"/>
                <a:gd name="T66" fmla="*/ 138 w 222"/>
                <a:gd name="T67" fmla="*/ 216 h 264"/>
                <a:gd name="T68" fmla="*/ 126 w 222"/>
                <a:gd name="T69" fmla="*/ 214 h 264"/>
                <a:gd name="T70" fmla="*/ 112 w 222"/>
                <a:gd name="T71" fmla="*/ 212 h 264"/>
                <a:gd name="T72" fmla="*/ 110 w 222"/>
                <a:gd name="T73" fmla="*/ 204 h 264"/>
                <a:gd name="T74" fmla="*/ 106 w 222"/>
                <a:gd name="T75" fmla="*/ 198 h 264"/>
                <a:gd name="T76" fmla="*/ 96 w 222"/>
                <a:gd name="T77" fmla="*/ 196 h 264"/>
                <a:gd name="T78" fmla="*/ 94 w 222"/>
                <a:gd name="T79" fmla="*/ 190 h 264"/>
                <a:gd name="T80" fmla="*/ 88 w 222"/>
                <a:gd name="T81" fmla="*/ 188 h 264"/>
                <a:gd name="T82" fmla="*/ 70 w 222"/>
                <a:gd name="T83" fmla="*/ 184 h 264"/>
                <a:gd name="T84" fmla="*/ 56 w 222"/>
                <a:gd name="T85" fmla="*/ 184 h 264"/>
                <a:gd name="T86" fmla="*/ 52 w 222"/>
                <a:gd name="T87" fmla="*/ 178 h 264"/>
                <a:gd name="T88" fmla="*/ 48 w 222"/>
                <a:gd name="T89" fmla="*/ 174 h 264"/>
                <a:gd name="T90" fmla="*/ 34 w 222"/>
                <a:gd name="T91" fmla="*/ 176 h 264"/>
                <a:gd name="T92" fmla="*/ 30 w 222"/>
                <a:gd name="T93" fmla="*/ 160 h 264"/>
                <a:gd name="T94" fmla="*/ 22 w 222"/>
                <a:gd name="T95" fmla="*/ 158 h 264"/>
                <a:gd name="T96" fmla="*/ 8 w 222"/>
                <a:gd name="T97" fmla="*/ 156 h 264"/>
                <a:gd name="T98" fmla="*/ 0 w 222"/>
                <a:gd name="T99" fmla="*/ 150 h 264"/>
                <a:gd name="T100" fmla="*/ 0 w 222"/>
                <a:gd name="T101" fmla="*/ 136 h 264"/>
                <a:gd name="T102" fmla="*/ 2 w 222"/>
                <a:gd name="T103" fmla="*/ 46 h 264"/>
                <a:gd name="T104" fmla="*/ 18 w 222"/>
                <a:gd name="T105" fmla="*/ 26 h 264"/>
                <a:gd name="T106" fmla="*/ 26 w 222"/>
                <a:gd name="T107" fmla="*/ 24 h 264"/>
                <a:gd name="T108" fmla="*/ 28 w 222"/>
                <a:gd name="T109" fmla="*/ 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2" h="264">
                  <a:moveTo>
                    <a:pt x="26" y="2"/>
                  </a:moveTo>
                  <a:lnTo>
                    <a:pt x="26" y="2"/>
                  </a:lnTo>
                  <a:lnTo>
                    <a:pt x="32" y="4"/>
                  </a:lnTo>
                  <a:lnTo>
                    <a:pt x="36" y="8"/>
                  </a:lnTo>
                  <a:lnTo>
                    <a:pt x="38" y="8"/>
                  </a:lnTo>
                  <a:lnTo>
                    <a:pt x="38" y="10"/>
                  </a:lnTo>
                  <a:lnTo>
                    <a:pt x="40" y="10"/>
                  </a:lnTo>
                  <a:lnTo>
                    <a:pt x="40" y="10"/>
                  </a:lnTo>
                  <a:lnTo>
                    <a:pt x="44" y="10"/>
                  </a:lnTo>
                  <a:lnTo>
                    <a:pt x="48" y="10"/>
                  </a:lnTo>
                  <a:lnTo>
                    <a:pt x="52" y="10"/>
                  </a:lnTo>
                  <a:lnTo>
                    <a:pt x="56" y="10"/>
                  </a:lnTo>
                  <a:lnTo>
                    <a:pt x="60" y="12"/>
                  </a:lnTo>
                  <a:lnTo>
                    <a:pt x="64" y="12"/>
                  </a:lnTo>
                  <a:lnTo>
                    <a:pt x="70" y="12"/>
                  </a:lnTo>
                  <a:lnTo>
                    <a:pt x="72" y="12"/>
                  </a:lnTo>
                  <a:lnTo>
                    <a:pt x="74" y="12"/>
                  </a:lnTo>
                  <a:lnTo>
                    <a:pt x="76" y="14"/>
                  </a:lnTo>
                  <a:lnTo>
                    <a:pt x="78" y="14"/>
                  </a:lnTo>
                  <a:lnTo>
                    <a:pt x="80" y="14"/>
                  </a:lnTo>
                  <a:lnTo>
                    <a:pt x="80" y="16"/>
                  </a:lnTo>
                  <a:lnTo>
                    <a:pt x="80" y="16"/>
                  </a:lnTo>
                  <a:lnTo>
                    <a:pt x="82" y="16"/>
                  </a:lnTo>
                  <a:lnTo>
                    <a:pt x="82" y="18"/>
                  </a:lnTo>
                  <a:lnTo>
                    <a:pt x="82" y="20"/>
                  </a:lnTo>
                  <a:lnTo>
                    <a:pt x="82" y="22"/>
                  </a:lnTo>
                  <a:lnTo>
                    <a:pt x="84" y="24"/>
                  </a:lnTo>
                  <a:lnTo>
                    <a:pt x="84" y="26"/>
                  </a:lnTo>
                  <a:lnTo>
                    <a:pt x="84" y="26"/>
                  </a:lnTo>
                  <a:lnTo>
                    <a:pt x="84" y="28"/>
                  </a:lnTo>
                  <a:lnTo>
                    <a:pt x="84" y="28"/>
                  </a:lnTo>
                  <a:lnTo>
                    <a:pt x="86" y="28"/>
                  </a:lnTo>
                  <a:lnTo>
                    <a:pt x="86" y="28"/>
                  </a:lnTo>
                  <a:lnTo>
                    <a:pt x="88" y="30"/>
                  </a:lnTo>
                  <a:lnTo>
                    <a:pt x="90" y="30"/>
                  </a:lnTo>
                  <a:lnTo>
                    <a:pt x="94" y="30"/>
                  </a:lnTo>
                  <a:lnTo>
                    <a:pt x="96" y="30"/>
                  </a:lnTo>
                  <a:lnTo>
                    <a:pt x="100" y="30"/>
                  </a:lnTo>
                  <a:lnTo>
                    <a:pt x="102" y="30"/>
                  </a:lnTo>
                  <a:lnTo>
                    <a:pt x="104" y="30"/>
                  </a:lnTo>
                  <a:lnTo>
                    <a:pt x="104" y="30"/>
                  </a:lnTo>
                  <a:lnTo>
                    <a:pt x="106" y="30"/>
                  </a:lnTo>
                  <a:lnTo>
                    <a:pt x="108" y="30"/>
                  </a:lnTo>
                  <a:lnTo>
                    <a:pt x="108" y="32"/>
                  </a:lnTo>
                  <a:lnTo>
                    <a:pt x="108" y="32"/>
                  </a:lnTo>
                  <a:lnTo>
                    <a:pt x="108" y="32"/>
                  </a:lnTo>
                  <a:lnTo>
                    <a:pt x="108" y="32"/>
                  </a:lnTo>
                  <a:lnTo>
                    <a:pt x="108" y="34"/>
                  </a:lnTo>
                  <a:lnTo>
                    <a:pt x="108" y="34"/>
                  </a:lnTo>
                  <a:lnTo>
                    <a:pt x="108" y="38"/>
                  </a:lnTo>
                  <a:lnTo>
                    <a:pt x="108" y="38"/>
                  </a:lnTo>
                  <a:lnTo>
                    <a:pt x="108" y="38"/>
                  </a:lnTo>
                  <a:lnTo>
                    <a:pt x="110" y="40"/>
                  </a:lnTo>
                  <a:lnTo>
                    <a:pt x="110" y="40"/>
                  </a:lnTo>
                  <a:lnTo>
                    <a:pt x="112" y="40"/>
                  </a:lnTo>
                  <a:lnTo>
                    <a:pt x="112" y="40"/>
                  </a:lnTo>
                  <a:lnTo>
                    <a:pt x="116" y="42"/>
                  </a:lnTo>
                  <a:lnTo>
                    <a:pt x="118" y="42"/>
                  </a:lnTo>
                  <a:lnTo>
                    <a:pt x="124" y="42"/>
                  </a:lnTo>
                  <a:lnTo>
                    <a:pt x="126" y="44"/>
                  </a:lnTo>
                  <a:lnTo>
                    <a:pt x="128" y="44"/>
                  </a:lnTo>
                  <a:lnTo>
                    <a:pt x="130" y="44"/>
                  </a:lnTo>
                  <a:lnTo>
                    <a:pt x="132" y="44"/>
                  </a:lnTo>
                  <a:lnTo>
                    <a:pt x="136" y="46"/>
                  </a:lnTo>
                  <a:lnTo>
                    <a:pt x="138" y="48"/>
                  </a:lnTo>
                  <a:lnTo>
                    <a:pt x="140" y="48"/>
                  </a:lnTo>
                  <a:lnTo>
                    <a:pt x="140" y="48"/>
                  </a:lnTo>
                  <a:lnTo>
                    <a:pt x="142" y="48"/>
                  </a:lnTo>
                  <a:lnTo>
                    <a:pt x="142" y="48"/>
                  </a:lnTo>
                  <a:lnTo>
                    <a:pt x="142" y="48"/>
                  </a:lnTo>
                  <a:lnTo>
                    <a:pt x="144" y="46"/>
                  </a:lnTo>
                  <a:lnTo>
                    <a:pt x="144" y="46"/>
                  </a:lnTo>
                  <a:lnTo>
                    <a:pt x="144" y="46"/>
                  </a:lnTo>
                  <a:lnTo>
                    <a:pt x="146" y="42"/>
                  </a:lnTo>
                  <a:lnTo>
                    <a:pt x="146" y="42"/>
                  </a:lnTo>
                  <a:lnTo>
                    <a:pt x="146" y="40"/>
                  </a:lnTo>
                  <a:lnTo>
                    <a:pt x="146" y="40"/>
                  </a:lnTo>
                  <a:lnTo>
                    <a:pt x="146" y="36"/>
                  </a:lnTo>
                  <a:lnTo>
                    <a:pt x="146" y="34"/>
                  </a:lnTo>
                  <a:lnTo>
                    <a:pt x="146" y="30"/>
                  </a:lnTo>
                  <a:lnTo>
                    <a:pt x="146" y="28"/>
                  </a:lnTo>
                  <a:lnTo>
                    <a:pt x="146" y="24"/>
                  </a:lnTo>
                  <a:lnTo>
                    <a:pt x="146" y="22"/>
                  </a:lnTo>
                  <a:lnTo>
                    <a:pt x="146" y="22"/>
                  </a:lnTo>
                  <a:lnTo>
                    <a:pt x="146" y="20"/>
                  </a:lnTo>
                  <a:lnTo>
                    <a:pt x="146" y="20"/>
                  </a:lnTo>
                  <a:lnTo>
                    <a:pt x="148" y="18"/>
                  </a:lnTo>
                  <a:lnTo>
                    <a:pt x="148" y="18"/>
                  </a:lnTo>
                  <a:lnTo>
                    <a:pt x="150" y="16"/>
                  </a:lnTo>
                  <a:lnTo>
                    <a:pt x="152" y="14"/>
                  </a:lnTo>
                  <a:lnTo>
                    <a:pt x="154" y="12"/>
                  </a:lnTo>
                  <a:lnTo>
                    <a:pt x="156" y="10"/>
                  </a:lnTo>
                  <a:lnTo>
                    <a:pt x="158" y="8"/>
                  </a:lnTo>
                  <a:lnTo>
                    <a:pt x="158" y="6"/>
                  </a:lnTo>
                  <a:lnTo>
                    <a:pt x="160" y="4"/>
                  </a:lnTo>
                  <a:lnTo>
                    <a:pt x="162" y="2"/>
                  </a:lnTo>
                  <a:lnTo>
                    <a:pt x="162" y="2"/>
                  </a:lnTo>
                  <a:lnTo>
                    <a:pt x="164" y="0"/>
                  </a:lnTo>
                  <a:lnTo>
                    <a:pt x="164" y="0"/>
                  </a:lnTo>
                  <a:lnTo>
                    <a:pt x="166" y="0"/>
                  </a:lnTo>
                  <a:lnTo>
                    <a:pt x="168" y="0"/>
                  </a:lnTo>
                  <a:lnTo>
                    <a:pt x="170" y="0"/>
                  </a:lnTo>
                  <a:lnTo>
                    <a:pt x="172" y="0"/>
                  </a:lnTo>
                  <a:lnTo>
                    <a:pt x="174" y="0"/>
                  </a:lnTo>
                  <a:lnTo>
                    <a:pt x="176" y="0"/>
                  </a:lnTo>
                  <a:lnTo>
                    <a:pt x="178" y="0"/>
                  </a:lnTo>
                  <a:lnTo>
                    <a:pt x="178" y="0"/>
                  </a:lnTo>
                  <a:lnTo>
                    <a:pt x="180" y="2"/>
                  </a:lnTo>
                  <a:lnTo>
                    <a:pt x="180" y="2"/>
                  </a:lnTo>
                  <a:lnTo>
                    <a:pt x="182" y="4"/>
                  </a:lnTo>
                  <a:lnTo>
                    <a:pt x="184" y="6"/>
                  </a:lnTo>
                  <a:lnTo>
                    <a:pt x="186" y="8"/>
                  </a:lnTo>
                  <a:lnTo>
                    <a:pt x="188" y="10"/>
                  </a:lnTo>
                  <a:lnTo>
                    <a:pt x="190" y="12"/>
                  </a:lnTo>
                  <a:lnTo>
                    <a:pt x="192" y="14"/>
                  </a:lnTo>
                  <a:lnTo>
                    <a:pt x="194" y="16"/>
                  </a:lnTo>
                  <a:lnTo>
                    <a:pt x="194" y="16"/>
                  </a:lnTo>
                  <a:lnTo>
                    <a:pt x="196" y="16"/>
                  </a:lnTo>
                  <a:lnTo>
                    <a:pt x="196" y="18"/>
                  </a:lnTo>
                  <a:lnTo>
                    <a:pt x="198" y="18"/>
                  </a:lnTo>
                  <a:lnTo>
                    <a:pt x="200" y="16"/>
                  </a:lnTo>
                  <a:lnTo>
                    <a:pt x="202" y="16"/>
                  </a:lnTo>
                  <a:lnTo>
                    <a:pt x="206" y="16"/>
                  </a:lnTo>
                  <a:lnTo>
                    <a:pt x="208" y="16"/>
                  </a:lnTo>
                  <a:lnTo>
                    <a:pt x="208" y="16"/>
                  </a:lnTo>
                  <a:lnTo>
                    <a:pt x="212" y="16"/>
                  </a:lnTo>
                  <a:lnTo>
                    <a:pt x="214" y="16"/>
                  </a:lnTo>
                  <a:lnTo>
                    <a:pt x="216" y="18"/>
                  </a:lnTo>
                  <a:lnTo>
                    <a:pt x="218" y="18"/>
                  </a:lnTo>
                  <a:lnTo>
                    <a:pt x="218" y="18"/>
                  </a:lnTo>
                  <a:lnTo>
                    <a:pt x="220" y="20"/>
                  </a:lnTo>
                  <a:lnTo>
                    <a:pt x="220" y="20"/>
                  </a:lnTo>
                  <a:lnTo>
                    <a:pt x="220" y="20"/>
                  </a:lnTo>
                  <a:lnTo>
                    <a:pt x="222" y="22"/>
                  </a:lnTo>
                  <a:lnTo>
                    <a:pt x="222" y="22"/>
                  </a:lnTo>
                  <a:lnTo>
                    <a:pt x="222" y="22"/>
                  </a:lnTo>
                  <a:lnTo>
                    <a:pt x="222" y="24"/>
                  </a:lnTo>
                  <a:lnTo>
                    <a:pt x="222" y="26"/>
                  </a:lnTo>
                  <a:lnTo>
                    <a:pt x="220" y="28"/>
                  </a:lnTo>
                  <a:lnTo>
                    <a:pt x="220" y="34"/>
                  </a:lnTo>
                  <a:lnTo>
                    <a:pt x="220" y="34"/>
                  </a:lnTo>
                  <a:lnTo>
                    <a:pt x="220" y="210"/>
                  </a:lnTo>
                  <a:lnTo>
                    <a:pt x="220" y="214"/>
                  </a:lnTo>
                  <a:lnTo>
                    <a:pt x="220" y="218"/>
                  </a:lnTo>
                  <a:lnTo>
                    <a:pt x="222" y="222"/>
                  </a:lnTo>
                  <a:lnTo>
                    <a:pt x="222" y="226"/>
                  </a:lnTo>
                  <a:lnTo>
                    <a:pt x="222" y="228"/>
                  </a:lnTo>
                  <a:lnTo>
                    <a:pt x="220" y="230"/>
                  </a:lnTo>
                  <a:lnTo>
                    <a:pt x="220" y="232"/>
                  </a:lnTo>
                  <a:lnTo>
                    <a:pt x="220" y="234"/>
                  </a:lnTo>
                  <a:lnTo>
                    <a:pt x="220" y="234"/>
                  </a:lnTo>
                  <a:lnTo>
                    <a:pt x="218" y="236"/>
                  </a:lnTo>
                  <a:lnTo>
                    <a:pt x="218" y="236"/>
                  </a:lnTo>
                  <a:lnTo>
                    <a:pt x="218" y="236"/>
                  </a:lnTo>
                  <a:lnTo>
                    <a:pt x="216" y="238"/>
                  </a:lnTo>
                  <a:lnTo>
                    <a:pt x="216" y="238"/>
                  </a:lnTo>
                  <a:lnTo>
                    <a:pt x="214" y="238"/>
                  </a:lnTo>
                  <a:lnTo>
                    <a:pt x="212" y="238"/>
                  </a:lnTo>
                  <a:lnTo>
                    <a:pt x="210" y="238"/>
                  </a:lnTo>
                  <a:lnTo>
                    <a:pt x="210" y="238"/>
                  </a:lnTo>
                  <a:lnTo>
                    <a:pt x="210" y="238"/>
                  </a:lnTo>
                  <a:lnTo>
                    <a:pt x="208" y="238"/>
                  </a:lnTo>
                  <a:lnTo>
                    <a:pt x="208" y="240"/>
                  </a:lnTo>
                  <a:lnTo>
                    <a:pt x="208" y="242"/>
                  </a:lnTo>
                  <a:lnTo>
                    <a:pt x="208" y="244"/>
                  </a:lnTo>
                  <a:lnTo>
                    <a:pt x="208" y="244"/>
                  </a:lnTo>
                  <a:lnTo>
                    <a:pt x="208" y="248"/>
                  </a:lnTo>
                  <a:lnTo>
                    <a:pt x="208" y="250"/>
                  </a:lnTo>
                  <a:lnTo>
                    <a:pt x="208" y="254"/>
                  </a:lnTo>
                  <a:lnTo>
                    <a:pt x="210" y="258"/>
                  </a:lnTo>
                  <a:lnTo>
                    <a:pt x="210" y="262"/>
                  </a:lnTo>
                  <a:lnTo>
                    <a:pt x="212" y="264"/>
                  </a:lnTo>
                  <a:lnTo>
                    <a:pt x="208" y="264"/>
                  </a:lnTo>
                  <a:lnTo>
                    <a:pt x="204" y="264"/>
                  </a:lnTo>
                  <a:lnTo>
                    <a:pt x="202" y="264"/>
                  </a:lnTo>
                  <a:lnTo>
                    <a:pt x="202" y="264"/>
                  </a:lnTo>
                  <a:lnTo>
                    <a:pt x="200" y="264"/>
                  </a:lnTo>
                  <a:lnTo>
                    <a:pt x="198" y="262"/>
                  </a:lnTo>
                  <a:lnTo>
                    <a:pt x="196" y="260"/>
                  </a:lnTo>
                  <a:lnTo>
                    <a:pt x="192" y="258"/>
                  </a:lnTo>
                  <a:lnTo>
                    <a:pt x="190" y="254"/>
                  </a:lnTo>
                  <a:lnTo>
                    <a:pt x="182" y="250"/>
                  </a:lnTo>
                  <a:lnTo>
                    <a:pt x="180" y="246"/>
                  </a:lnTo>
                  <a:lnTo>
                    <a:pt x="178" y="244"/>
                  </a:lnTo>
                  <a:lnTo>
                    <a:pt x="176" y="244"/>
                  </a:lnTo>
                  <a:lnTo>
                    <a:pt x="172" y="242"/>
                  </a:lnTo>
                  <a:lnTo>
                    <a:pt x="168" y="240"/>
                  </a:lnTo>
                  <a:lnTo>
                    <a:pt x="164" y="238"/>
                  </a:lnTo>
                  <a:lnTo>
                    <a:pt x="162" y="238"/>
                  </a:lnTo>
                  <a:lnTo>
                    <a:pt x="156" y="234"/>
                  </a:lnTo>
                  <a:lnTo>
                    <a:pt x="152" y="232"/>
                  </a:lnTo>
                  <a:lnTo>
                    <a:pt x="150" y="232"/>
                  </a:lnTo>
                  <a:lnTo>
                    <a:pt x="148" y="230"/>
                  </a:lnTo>
                  <a:lnTo>
                    <a:pt x="146" y="230"/>
                  </a:lnTo>
                  <a:lnTo>
                    <a:pt x="146" y="228"/>
                  </a:lnTo>
                  <a:lnTo>
                    <a:pt x="144" y="228"/>
                  </a:lnTo>
                  <a:lnTo>
                    <a:pt x="144" y="228"/>
                  </a:lnTo>
                  <a:lnTo>
                    <a:pt x="144" y="226"/>
                  </a:lnTo>
                  <a:lnTo>
                    <a:pt x="142" y="222"/>
                  </a:lnTo>
                  <a:lnTo>
                    <a:pt x="140" y="220"/>
                  </a:lnTo>
                  <a:lnTo>
                    <a:pt x="140" y="218"/>
                  </a:lnTo>
                  <a:lnTo>
                    <a:pt x="138" y="216"/>
                  </a:lnTo>
                  <a:lnTo>
                    <a:pt x="138" y="216"/>
                  </a:lnTo>
                  <a:lnTo>
                    <a:pt x="138" y="216"/>
                  </a:lnTo>
                  <a:lnTo>
                    <a:pt x="136" y="214"/>
                  </a:lnTo>
                  <a:lnTo>
                    <a:pt x="136" y="214"/>
                  </a:lnTo>
                  <a:lnTo>
                    <a:pt x="134" y="214"/>
                  </a:lnTo>
                  <a:lnTo>
                    <a:pt x="132" y="214"/>
                  </a:lnTo>
                  <a:lnTo>
                    <a:pt x="128" y="214"/>
                  </a:lnTo>
                  <a:lnTo>
                    <a:pt x="126" y="214"/>
                  </a:lnTo>
                  <a:lnTo>
                    <a:pt x="122" y="214"/>
                  </a:lnTo>
                  <a:lnTo>
                    <a:pt x="118" y="214"/>
                  </a:lnTo>
                  <a:lnTo>
                    <a:pt x="116" y="214"/>
                  </a:lnTo>
                  <a:lnTo>
                    <a:pt x="114" y="212"/>
                  </a:lnTo>
                  <a:lnTo>
                    <a:pt x="114" y="212"/>
                  </a:lnTo>
                  <a:lnTo>
                    <a:pt x="112" y="212"/>
                  </a:lnTo>
                  <a:lnTo>
                    <a:pt x="112" y="212"/>
                  </a:lnTo>
                  <a:lnTo>
                    <a:pt x="112" y="210"/>
                  </a:lnTo>
                  <a:lnTo>
                    <a:pt x="112" y="210"/>
                  </a:lnTo>
                  <a:lnTo>
                    <a:pt x="110" y="208"/>
                  </a:lnTo>
                  <a:lnTo>
                    <a:pt x="110" y="206"/>
                  </a:lnTo>
                  <a:lnTo>
                    <a:pt x="110" y="204"/>
                  </a:lnTo>
                  <a:lnTo>
                    <a:pt x="108" y="202"/>
                  </a:lnTo>
                  <a:lnTo>
                    <a:pt x="108" y="200"/>
                  </a:lnTo>
                  <a:lnTo>
                    <a:pt x="108" y="200"/>
                  </a:lnTo>
                  <a:lnTo>
                    <a:pt x="108" y="198"/>
                  </a:lnTo>
                  <a:lnTo>
                    <a:pt x="108" y="198"/>
                  </a:lnTo>
                  <a:lnTo>
                    <a:pt x="106" y="198"/>
                  </a:lnTo>
                  <a:lnTo>
                    <a:pt x="104" y="198"/>
                  </a:lnTo>
                  <a:lnTo>
                    <a:pt x="102" y="198"/>
                  </a:lnTo>
                  <a:lnTo>
                    <a:pt x="102" y="196"/>
                  </a:lnTo>
                  <a:lnTo>
                    <a:pt x="100" y="196"/>
                  </a:lnTo>
                  <a:lnTo>
                    <a:pt x="98" y="196"/>
                  </a:lnTo>
                  <a:lnTo>
                    <a:pt x="96" y="196"/>
                  </a:lnTo>
                  <a:lnTo>
                    <a:pt x="96" y="196"/>
                  </a:lnTo>
                  <a:lnTo>
                    <a:pt x="96" y="194"/>
                  </a:lnTo>
                  <a:lnTo>
                    <a:pt x="94" y="194"/>
                  </a:lnTo>
                  <a:lnTo>
                    <a:pt x="94" y="194"/>
                  </a:lnTo>
                  <a:lnTo>
                    <a:pt x="94" y="192"/>
                  </a:lnTo>
                  <a:lnTo>
                    <a:pt x="94" y="190"/>
                  </a:lnTo>
                  <a:lnTo>
                    <a:pt x="94" y="190"/>
                  </a:lnTo>
                  <a:lnTo>
                    <a:pt x="94" y="188"/>
                  </a:lnTo>
                  <a:lnTo>
                    <a:pt x="94" y="188"/>
                  </a:lnTo>
                  <a:lnTo>
                    <a:pt x="92" y="188"/>
                  </a:lnTo>
                  <a:lnTo>
                    <a:pt x="90" y="188"/>
                  </a:lnTo>
                  <a:lnTo>
                    <a:pt x="88" y="188"/>
                  </a:lnTo>
                  <a:lnTo>
                    <a:pt x="86" y="188"/>
                  </a:lnTo>
                  <a:lnTo>
                    <a:pt x="82" y="188"/>
                  </a:lnTo>
                  <a:lnTo>
                    <a:pt x="80" y="188"/>
                  </a:lnTo>
                  <a:lnTo>
                    <a:pt x="76" y="186"/>
                  </a:lnTo>
                  <a:lnTo>
                    <a:pt x="74" y="184"/>
                  </a:lnTo>
                  <a:lnTo>
                    <a:pt x="70" y="184"/>
                  </a:lnTo>
                  <a:lnTo>
                    <a:pt x="70" y="184"/>
                  </a:lnTo>
                  <a:lnTo>
                    <a:pt x="66" y="184"/>
                  </a:lnTo>
                  <a:lnTo>
                    <a:pt x="62" y="184"/>
                  </a:lnTo>
                  <a:lnTo>
                    <a:pt x="60" y="184"/>
                  </a:lnTo>
                  <a:lnTo>
                    <a:pt x="58" y="184"/>
                  </a:lnTo>
                  <a:lnTo>
                    <a:pt x="56" y="184"/>
                  </a:lnTo>
                  <a:lnTo>
                    <a:pt x="56" y="184"/>
                  </a:lnTo>
                  <a:lnTo>
                    <a:pt x="54" y="182"/>
                  </a:lnTo>
                  <a:lnTo>
                    <a:pt x="54" y="182"/>
                  </a:lnTo>
                  <a:lnTo>
                    <a:pt x="54" y="182"/>
                  </a:lnTo>
                  <a:lnTo>
                    <a:pt x="54" y="180"/>
                  </a:lnTo>
                  <a:lnTo>
                    <a:pt x="52" y="178"/>
                  </a:lnTo>
                  <a:lnTo>
                    <a:pt x="52" y="176"/>
                  </a:lnTo>
                  <a:lnTo>
                    <a:pt x="52" y="176"/>
                  </a:lnTo>
                  <a:lnTo>
                    <a:pt x="52" y="176"/>
                  </a:lnTo>
                  <a:lnTo>
                    <a:pt x="52" y="174"/>
                  </a:lnTo>
                  <a:lnTo>
                    <a:pt x="50" y="174"/>
                  </a:lnTo>
                  <a:lnTo>
                    <a:pt x="48" y="174"/>
                  </a:lnTo>
                  <a:lnTo>
                    <a:pt x="48" y="174"/>
                  </a:lnTo>
                  <a:lnTo>
                    <a:pt x="44" y="174"/>
                  </a:lnTo>
                  <a:lnTo>
                    <a:pt x="42" y="174"/>
                  </a:lnTo>
                  <a:lnTo>
                    <a:pt x="38" y="174"/>
                  </a:lnTo>
                  <a:lnTo>
                    <a:pt x="36" y="174"/>
                  </a:lnTo>
                  <a:lnTo>
                    <a:pt x="34" y="176"/>
                  </a:lnTo>
                  <a:lnTo>
                    <a:pt x="34" y="174"/>
                  </a:lnTo>
                  <a:lnTo>
                    <a:pt x="32" y="168"/>
                  </a:lnTo>
                  <a:lnTo>
                    <a:pt x="32" y="166"/>
                  </a:lnTo>
                  <a:lnTo>
                    <a:pt x="32" y="164"/>
                  </a:lnTo>
                  <a:lnTo>
                    <a:pt x="32" y="162"/>
                  </a:lnTo>
                  <a:lnTo>
                    <a:pt x="30" y="160"/>
                  </a:lnTo>
                  <a:lnTo>
                    <a:pt x="30" y="160"/>
                  </a:lnTo>
                  <a:lnTo>
                    <a:pt x="30" y="160"/>
                  </a:lnTo>
                  <a:lnTo>
                    <a:pt x="28" y="160"/>
                  </a:lnTo>
                  <a:lnTo>
                    <a:pt x="28" y="158"/>
                  </a:lnTo>
                  <a:lnTo>
                    <a:pt x="26" y="158"/>
                  </a:lnTo>
                  <a:lnTo>
                    <a:pt x="22" y="158"/>
                  </a:lnTo>
                  <a:lnTo>
                    <a:pt x="20" y="158"/>
                  </a:lnTo>
                  <a:lnTo>
                    <a:pt x="16" y="158"/>
                  </a:lnTo>
                  <a:lnTo>
                    <a:pt x="12" y="158"/>
                  </a:lnTo>
                  <a:lnTo>
                    <a:pt x="12" y="158"/>
                  </a:lnTo>
                  <a:lnTo>
                    <a:pt x="10" y="158"/>
                  </a:lnTo>
                  <a:lnTo>
                    <a:pt x="8" y="156"/>
                  </a:lnTo>
                  <a:lnTo>
                    <a:pt x="8" y="156"/>
                  </a:lnTo>
                  <a:lnTo>
                    <a:pt x="6" y="156"/>
                  </a:lnTo>
                  <a:lnTo>
                    <a:pt x="6" y="156"/>
                  </a:lnTo>
                  <a:lnTo>
                    <a:pt x="4" y="154"/>
                  </a:lnTo>
                  <a:lnTo>
                    <a:pt x="2" y="150"/>
                  </a:lnTo>
                  <a:lnTo>
                    <a:pt x="0" y="150"/>
                  </a:lnTo>
                  <a:lnTo>
                    <a:pt x="0" y="148"/>
                  </a:lnTo>
                  <a:lnTo>
                    <a:pt x="0" y="148"/>
                  </a:lnTo>
                  <a:lnTo>
                    <a:pt x="0" y="146"/>
                  </a:lnTo>
                  <a:lnTo>
                    <a:pt x="0" y="142"/>
                  </a:lnTo>
                  <a:lnTo>
                    <a:pt x="0" y="140"/>
                  </a:lnTo>
                  <a:lnTo>
                    <a:pt x="0" y="136"/>
                  </a:lnTo>
                  <a:lnTo>
                    <a:pt x="0" y="132"/>
                  </a:lnTo>
                  <a:lnTo>
                    <a:pt x="0" y="120"/>
                  </a:lnTo>
                  <a:lnTo>
                    <a:pt x="0" y="106"/>
                  </a:lnTo>
                  <a:lnTo>
                    <a:pt x="0" y="90"/>
                  </a:lnTo>
                  <a:lnTo>
                    <a:pt x="0" y="74"/>
                  </a:lnTo>
                  <a:lnTo>
                    <a:pt x="2" y="46"/>
                  </a:lnTo>
                  <a:lnTo>
                    <a:pt x="2" y="34"/>
                  </a:lnTo>
                  <a:lnTo>
                    <a:pt x="8" y="30"/>
                  </a:lnTo>
                  <a:lnTo>
                    <a:pt x="14" y="28"/>
                  </a:lnTo>
                  <a:lnTo>
                    <a:pt x="16" y="26"/>
                  </a:lnTo>
                  <a:lnTo>
                    <a:pt x="18" y="26"/>
                  </a:lnTo>
                  <a:lnTo>
                    <a:pt x="18" y="26"/>
                  </a:lnTo>
                  <a:lnTo>
                    <a:pt x="20" y="26"/>
                  </a:lnTo>
                  <a:lnTo>
                    <a:pt x="22" y="26"/>
                  </a:lnTo>
                  <a:lnTo>
                    <a:pt x="22" y="26"/>
                  </a:lnTo>
                  <a:lnTo>
                    <a:pt x="24" y="26"/>
                  </a:lnTo>
                  <a:lnTo>
                    <a:pt x="24" y="24"/>
                  </a:lnTo>
                  <a:lnTo>
                    <a:pt x="26" y="24"/>
                  </a:lnTo>
                  <a:lnTo>
                    <a:pt x="26" y="22"/>
                  </a:lnTo>
                  <a:lnTo>
                    <a:pt x="26" y="22"/>
                  </a:lnTo>
                  <a:lnTo>
                    <a:pt x="26" y="20"/>
                  </a:lnTo>
                  <a:lnTo>
                    <a:pt x="26" y="16"/>
                  </a:lnTo>
                  <a:lnTo>
                    <a:pt x="28" y="12"/>
                  </a:lnTo>
                  <a:lnTo>
                    <a:pt x="28" y="8"/>
                  </a:lnTo>
                  <a:lnTo>
                    <a:pt x="28" y="4"/>
                  </a:lnTo>
                  <a:lnTo>
                    <a:pt x="26"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8" name="Freeform 406">
              <a:extLst>
                <a:ext uri="{FF2B5EF4-FFF2-40B4-BE49-F238E27FC236}">
                  <a16:creationId xmlns:a16="http://schemas.microsoft.com/office/drawing/2014/main" id="{AD291B38-F664-4A03-908A-D50076135D21}"/>
                </a:ext>
              </a:extLst>
            </p:cNvPr>
            <p:cNvSpPr>
              <a:spLocks/>
            </p:cNvSpPr>
            <p:nvPr/>
          </p:nvSpPr>
          <p:spPr bwMode="auto">
            <a:xfrm>
              <a:off x="4501310" y="3665856"/>
              <a:ext cx="384521" cy="457268"/>
            </a:xfrm>
            <a:custGeom>
              <a:avLst/>
              <a:gdLst>
                <a:gd name="T0" fmla="*/ 38 w 222"/>
                <a:gd name="T1" fmla="*/ 10 h 264"/>
                <a:gd name="T2" fmla="*/ 56 w 222"/>
                <a:gd name="T3" fmla="*/ 10 h 264"/>
                <a:gd name="T4" fmla="*/ 76 w 222"/>
                <a:gd name="T5" fmla="*/ 14 h 264"/>
                <a:gd name="T6" fmla="*/ 82 w 222"/>
                <a:gd name="T7" fmla="*/ 18 h 264"/>
                <a:gd name="T8" fmla="*/ 84 w 222"/>
                <a:gd name="T9" fmla="*/ 28 h 264"/>
                <a:gd name="T10" fmla="*/ 94 w 222"/>
                <a:gd name="T11" fmla="*/ 30 h 264"/>
                <a:gd name="T12" fmla="*/ 106 w 222"/>
                <a:gd name="T13" fmla="*/ 30 h 264"/>
                <a:gd name="T14" fmla="*/ 108 w 222"/>
                <a:gd name="T15" fmla="*/ 34 h 264"/>
                <a:gd name="T16" fmla="*/ 110 w 222"/>
                <a:gd name="T17" fmla="*/ 40 h 264"/>
                <a:gd name="T18" fmla="*/ 126 w 222"/>
                <a:gd name="T19" fmla="*/ 44 h 264"/>
                <a:gd name="T20" fmla="*/ 140 w 222"/>
                <a:gd name="T21" fmla="*/ 48 h 264"/>
                <a:gd name="T22" fmla="*/ 144 w 222"/>
                <a:gd name="T23" fmla="*/ 46 h 264"/>
                <a:gd name="T24" fmla="*/ 146 w 222"/>
                <a:gd name="T25" fmla="*/ 36 h 264"/>
                <a:gd name="T26" fmla="*/ 146 w 222"/>
                <a:gd name="T27" fmla="*/ 22 h 264"/>
                <a:gd name="T28" fmla="*/ 152 w 222"/>
                <a:gd name="T29" fmla="*/ 14 h 264"/>
                <a:gd name="T30" fmla="*/ 162 w 222"/>
                <a:gd name="T31" fmla="*/ 2 h 264"/>
                <a:gd name="T32" fmla="*/ 170 w 222"/>
                <a:gd name="T33" fmla="*/ 0 h 264"/>
                <a:gd name="T34" fmla="*/ 180 w 222"/>
                <a:gd name="T35" fmla="*/ 2 h 264"/>
                <a:gd name="T36" fmla="*/ 190 w 222"/>
                <a:gd name="T37" fmla="*/ 12 h 264"/>
                <a:gd name="T38" fmla="*/ 198 w 222"/>
                <a:gd name="T39" fmla="*/ 18 h 264"/>
                <a:gd name="T40" fmla="*/ 212 w 222"/>
                <a:gd name="T41" fmla="*/ 16 h 264"/>
                <a:gd name="T42" fmla="*/ 220 w 222"/>
                <a:gd name="T43" fmla="*/ 20 h 264"/>
                <a:gd name="T44" fmla="*/ 222 w 222"/>
                <a:gd name="T45" fmla="*/ 26 h 264"/>
                <a:gd name="T46" fmla="*/ 220 w 222"/>
                <a:gd name="T47" fmla="*/ 218 h 264"/>
                <a:gd name="T48" fmla="*/ 220 w 222"/>
                <a:gd name="T49" fmla="*/ 234 h 264"/>
                <a:gd name="T50" fmla="*/ 216 w 222"/>
                <a:gd name="T51" fmla="*/ 238 h 264"/>
                <a:gd name="T52" fmla="*/ 208 w 222"/>
                <a:gd name="T53" fmla="*/ 238 h 264"/>
                <a:gd name="T54" fmla="*/ 208 w 222"/>
                <a:gd name="T55" fmla="*/ 250 h 264"/>
                <a:gd name="T56" fmla="*/ 204 w 222"/>
                <a:gd name="T57" fmla="*/ 264 h 264"/>
                <a:gd name="T58" fmla="*/ 192 w 222"/>
                <a:gd name="T59" fmla="*/ 258 h 264"/>
                <a:gd name="T60" fmla="*/ 172 w 222"/>
                <a:gd name="T61" fmla="*/ 242 h 264"/>
                <a:gd name="T62" fmla="*/ 150 w 222"/>
                <a:gd name="T63" fmla="*/ 232 h 264"/>
                <a:gd name="T64" fmla="*/ 144 w 222"/>
                <a:gd name="T65" fmla="*/ 226 h 264"/>
                <a:gd name="T66" fmla="*/ 138 w 222"/>
                <a:gd name="T67" fmla="*/ 216 h 264"/>
                <a:gd name="T68" fmla="*/ 126 w 222"/>
                <a:gd name="T69" fmla="*/ 214 h 264"/>
                <a:gd name="T70" fmla="*/ 112 w 222"/>
                <a:gd name="T71" fmla="*/ 212 h 264"/>
                <a:gd name="T72" fmla="*/ 110 w 222"/>
                <a:gd name="T73" fmla="*/ 204 h 264"/>
                <a:gd name="T74" fmla="*/ 106 w 222"/>
                <a:gd name="T75" fmla="*/ 198 h 264"/>
                <a:gd name="T76" fmla="*/ 96 w 222"/>
                <a:gd name="T77" fmla="*/ 196 h 264"/>
                <a:gd name="T78" fmla="*/ 94 w 222"/>
                <a:gd name="T79" fmla="*/ 190 h 264"/>
                <a:gd name="T80" fmla="*/ 88 w 222"/>
                <a:gd name="T81" fmla="*/ 188 h 264"/>
                <a:gd name="T82" fmla="*/ 70 w 222"/>
                <a:gd name="T83" fmla="*/ 184 h 264"/>
                <a:gd name="T84" fmla="*/ 56 w 222"/>
                <a:gd name="T85" fmla="*/ 184 h 264"/>
                <a:gd name="T86" fmla="*/ 52 w 222"/>
                <a:gd name="T87" fmla="*/ 178 h 264"/>
                <a:gd name="T88" fmla="*/ 48 w 222"/>
                <a:gd name="T89" fmla="*/ 174 h 264"/>
                <a:gd name="T90" fmla="*/ 34 w 222"/>
                <a:gd name="T91" fmla="*/ 176 h 264"/>
                <a:gd name="T92" fmla="*/ 30 w 222"/>
                <a:gd name="T93" fmla="*/ 160 h 264"/>
                <a:gd name="T94" fmla="*/ 22 w 222"/>
                <a:gd name="T95" fmla="*/ 158 h 264"/>
                <a:gd name="T96" fmla="*/ 8 w 222"/>
                <a:gd name="T97" fmla="*/ 156 h 264"/>
                <a:gd name="T98" fmla="*/ 0 w 222"/>
                <a:gd name="T99" fmla="*/ 150 h 264"/>
                <a:gd name="T100" fmla="*/ 0 w 222"/>
                <a:gd name="T101" fmla="*/ 136 h 264"/>
                <a:gd name="T102" fmla="*/ 2 w 222"/>
                <a:gd name="T103" fmla="*/ 46 h 264"/>
                <a:gd name="T104" fmla="*/ 18 w 222"/>
                <a:gd name="T105" fmla="*/ 26 h 264"/>
                <a:gd name="T106" fmla="*/ 26 w 222"/>
                <a:gd name="T107" fmla="*/ 24 h 264"/>
                <a:gd name="T108" fmla="*/ 28 w 222"/>
                <a:gd name="T109" fmla="*/ 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2" h="264">
                  <a:moveTo>
                    <a:pt x="26" y="2"/>
                  </a:moveTo>
                  <a:lnTo>
                    <a:pt x="26" y="2"/>
                  </a:lnTo>
                  <a:lnTo>
                    <a:pt x="32" y="4"/>
                  </a:lnTo>
                  <a:lnTo>
                    <a:pt x="36" y="8"/>
                  </a:lnTo>
                  <a:lnTo>
                    <a:pt x="38" y="8"/>
                  </a:lnTo>
                  <a:lnTo>
                    <a:pt x="38" y="10"/>
                  </a:lnTo>
                  <a:lnTo>
                    <a:pt x="40" y="10"/>
                  </a:lnTo>
                  <a:lnTo>
                    <a:pt x="40" y="10"/>
                  </a:lnTo>
                  <a:lnTo>
                    <a:pt x="44" y="10"/>
                  </a:lnTo>
                  <a:lnTo>
                    <a:pt x="48" y="10"/>
                  </a:lnTo>
                  <a:lnTo>
                    <a:pt x="52" y="10"/>
                  </a:lnTo>
                  <a:lnTo>
                    <a:pt x="56" y="10"/>
                  </a:lnTo>
                  <a:lnTo>
                    <a:pt x="60" y="12"/>
                  </a:lnTo>
                  <a:lnTo>
                    <a:pt x="64" y="12"/>
                  </a:lnTo>
                  <a:lnTo>
                    <a:pt x="70" y="12"/>
                  </a:lnTo>
                  <a:lnTo>
                    <a:pt x="72" y="12"/>
                  </a:lnTo>
                  <a:lnTo>
                    <a:pt x="74" y="12"/>
                  </a:lnTo>
                  <a:lnTo>
                    <a:pt x="76" y="14"/>
                  </a:lnTo>
                  <a:lnTo>
                    <a:pt x="78" y="14"/>
                  </a:lnTo>
                  <a:lnTo>
                    <a:pt x="80" y="14"/>
                  </a:lnTo>
                  <a:lnTo>
                    <a:pt x="80" y="16"/>
                  </a:lnTo>
                  <a:lnTo>
                    <a:pt x="80" y="16"/>
                  </a:lnTo>
                  <a:lnTo>
                    <a:pt x="82" y="16"/>
                  </a:lnTo>
                  <a:lnTo>
                    <a:pt x="82" y="18"/>
                  </a:lnTo>
                  <a:lnTo>
                    <a:pt x="82" y="20"/>
                  </a:lnTo>
                  <a:lnTo>
                    <a:pt x="82" y="22"/>
                  </a:lnTo>
                  <a:lnTo>
                    <a:pt x="84" y="24"/>
                  </a:lnTo>
                  <a:lnTo>
                    <a:pt x="84" y="26"/>
                  </a:lnTo>
                  <a:lnTo>
                    <a:pt x="84" y="26"/>
                  </a:lnTo>
                  <a:lnTo>
                    <a:pt x="84" y="28"/>
                  </a:lnTo>
                  <a:lnTo>
                    <a:pt x="84" y="28"/>
                  </a:lnTo>
                  <a:lnTo>
                    <a:pt x="86" y="28"/>
                  </a:lnTo>
                  <a:lnTo>
                    <a:pt x="86" y="28"/>
                  </a:lnTo>
                  <a:lnTo>
                    <a:pt x="88" y="30"/>
                  </a:lnTo>
                  <a:lnTo>
                    <a:pt x="90" y="30"/>
                  </a:lnTo>
                  <a:lnTo>
                    <a:pt x="94" y="30"/>
                  </a:lnTo>
                  <a:lnTo>
                    <a:pt x="96" y="30"/>
                  </a:lnTo>
                  <a:lnTo>
                    <a:pt x="100" y="30"/>
                  </a:lnTo>
                  <a:lnTo>
                    <a:pt x="102" y="30"/>
                  </a:lnTo>
                  <a:lnTo>
                    <a:pt x="104" y="30"/>
                  </a:lnTo>
                  <a:lnTo>
                    <a:pt x="104" y="30"/>
                  </a:lnTo>
                  <a:lnTo>
                    <a:pt x="106" y="30"/>
                  </a:lnTo>
                  <a:lnTo>
                    <a:pt x="108" y="30"/>
                  </a:lnTo>
                  <a:lnTo>
                    <a:pt x="108" y="32"/>
                  </a:lnTo>
                  <a:lnTo>
                    <a:pt x="108" y="32"/>
                  </a:lnTo>
                  <a:lnTo>
                    <a:pt x="108" y="32"/>
                  </a:lnTo>
                  <a:lnTo>
                    <a:pt x="108" y="32"/>
                  </a:lnTo>
                  <a:lnTo>
                    <a:pt x="108" y="34"/>
                  </a:lnTo>
                  <a:lnTo>
                    <a:pt x="108" y="34"/>
                  </a:lnTo>
                  <a:lnTo>
                    <a:pt x="108" y="38"/>
                  </a:lnTo>
                  <a:lnTo>
                    <a:pt x="108" y="38"/>
                  </a:lnTo>
                  <a:lnTo>
                    <a:pt x="108" y="38"/>
                  </a:lnTo>
                  <a:lnTo>
                    <a:pt x="110" y="40"/>
                  </a:lnTo>
                  <a:lnTo>
                    <a:pt x="110" y="40"/>
                  </a:lnTo>
                  <a:lnTo>
                    <a:pt x="112" y="40"/>
                  </a:lnTo>
                  <a:lnTo>
                    <a:pt x="112" y="40"/>
                  </a:lnTo>
                  <a:lnTo>
                    <a:pt x="116" y="42"/>
                  </a:lnTo>
                  <a:lnTo>
                    <a:pt x="118" y="42"/>
                  </a:lnTo>
                  <a:lnTo>
                    <a:pt x="124" y="42"/>
                  </a:lnTo>
                  <a:lnTo>
                    <a:pt x="126" y="44"/>
                  </a:lnTo>
                  <a:lnTo>
                    <a:pt x="128" y="44"/>
                  </a:lnTo>
                  <a:lnTo>
                    <a:pt x="130" y="44"/>
                  </a:lnTo>
                  <a:lnTo>
                    <a:pt x="132" y="44"/>
                  </a:lnTo>
                  <a:lnTo>
                    <a:pt x="136" y="46"/>
                  </a:lnTo>
                  <a:lnTo>
                    <a:pt x="138" y="48"/>
                  </a:lnTo>
                  <a:lnTo>
                    <a:pt x="140" y="48"/>
                  </a:lnTo>
                  <a:lnTo>
                    <a:pt x="140" y="48"/>
                  </a:lnTo>
                  <a:lnTo>
                    <a:pt x="142" y="48"/>
                  </a:lnTo>
                  <a:lnTo>
                    <a:pt x="142" y="48"/>
                  </a:lnTo>
                  <a:lnTo>
                    <a:pt x="142" y="48"/>
                  </a:lnTo>
                  <a:lnTo>
                    <a:pt x="144" y="46"/>
                  </a:lnTo>
                  <a:lnTo>
                    <a:pt x="144" y="46"/>
                  </a:lnTo>
                  <a:lnTo>
                    <a:pt x="144" y="46"/>
                  </a:lnTo>
                  <a:lnTo>
                    <a:pt x="146" y="42"/>
                  </a:lnTo>
                  <a:lnTo>
                    <a:pt x="146" y="42"/>
                  </a:lnTo>
                  <a:lnTo>
                    <a:pt x="146" y="40"/>
                  </a:lnTo>
                  <a:lnTo>
                    <a:pt x="146" y="40"/>
                  </a:lnTo>
                  <a:lnTo>
                    <a:pt x="146" y="36"/>
                  </a:lnTo>
                  <a:lnTo>
                    <a:pt x="146" y="34"/>
                  </a:lnTo>
                  <a:lnTo>
                    <a:pt x="146" y="30"/>
                  </a:lnTo>
                  <a:lnTo>
                    <a:pt x="146" y="28"/>
                  </a:lnTo>
                  <a:lnTo>
                    <a:pt x="146" y="24"/>
                  </a:lnTo>
                  <a:lnTo>
                    <a:pt x="146" y="22"/>
                  </a:lnTo>
                  <a:lnTo>
                    <a:pt x="146" y="22"/>
                  </a:lnTo>
                  <a:lnTo>
                    <a:pt x="146" y="20"/>
                  </a:lnTo>
                  <a:lnTo>
                    <a:pt x="146" y="20"/>
                  </a:lnTo>
                  <a:lnTo>
                    <a:pt x="148" y="18"/>
                  </a:lnTo>
                  <a:lnTo>
                    <a:pt x="148" y="18"/>
                  </a:lnTo>
                  <a:lnTo>
                    <a:pt x="150" y="16"/>
                  </a:lnTo>
                  <a:lnTo>
                    <a:pt x="152" y="14"/>
                  </a:lnTo>
                  <a:lnTo>
                    <a:pt x="154" y="12"/>
                  </a:lnTo>
                  <a:lnTo>
                    <a:pt x="156" y="10"/>
                  </a:lnTo>
                  <a:lnTo>
                    <a:pt x="158" y="8"/>
                  </a:lnTo>
                  <a:lnTo>
                    <a:pt x="158" y="6"/>
                  </a:lnTo>
                  <a:lnTo>
                    <a:pt x="160" y="4"/>
                  </a:lnTo>
                  <a:lnTo>
                    <a:pt x="162" y="2"/>
                  </a:lnTo>
                  <a:lnTo>
                    <a:pt x="162" y="2"/>
                  </a:lnTo>
                  <a:lnTo>
                    <a:pt x="164" y="0"/>
                  </a:lnTo>
                  <a:lnTo>
                    <a:pt x="164" y="0"/>
                  </a:lnTo>
                  <a:lnTo>
                    <a:pt x="166" y="0"/>
                  </a:lnTo>
                  <a:lnTo>
                    <a:pt x="168" y="0"/>
                  </a:lnTo>
                  <a:lnTo>
                    <a:pt x="170" y="0"/>
                  </a:lnTo>
                  <a:lnTo>
                    <a:pt x="172" y="0"/>
                  </a:lnTo>
                  <a:lnTo>
                    <a:pt x="174" y="0"/>
                  </a:lnTo>
                  <a:lnTo>
                    <a:pt x="176" y="0"/>
                  </a:lnTo>
                  <a:lnTo>
                    <a:pt x="178" y="0"/>
                  </a:lnTo>
                  <a:lnTo>
                    <a:pt x="178" y="0"/>
                  </a:lnTo>
                  <a:lnTo>
                    <a:pt x="180" y="2"/>
                  </a:lnTo>
                  <a:lnTo>
                    <a:pt x="180" y="2"/>
                  </a:lnTo>
                  <a:lnTo>
                    <a:pt x="182" y="4"/>
                  </a:lnTo>
                  <a:lnTo>
                    <a:pt x="184" y="6"/>
                  </a:lnTo>
                  <a:lnTo>
                    <a:pt x="186" y="8"/>
                  </a:lnTo>
                  <a:lnTo>
                    <a:pt x="188" y="10"/>
                  </a:lnTo>
                  <a:lnTo>
                    <a:pt x="190" y="12"/>
                  </a:lnTo>
                  <a:lnTo>
                    <a:pt x="192" y="14"/>
                  </a:lnTo>
                  <a:lnTo>
                    <a:pt x="194" y="16"/>
                  </a:lnTo>
                  <a:lnTo>
                    <a:pt x="194" y="16"/>
                  </a:lnTo>
                  <a:lnTo>
                    <a:pt x="196" y="16"/>
                  </a:lnTo>
                  <a:lnTo>
                    <a:pt x="196" y="18"/>
                  </a:lnTo>
                  <a:lnTo>
                    <a:pt x="198" y="18"/>
                  </a:lnTo>
                  <a:lnTo>
                    <a:pt x="200" y="16"/>
                  </a:lnTo>
                  <a:lnTo>
                    <a:pt x="202" y="16"/>
                  </a:lnTo>
                  <a:lnTo>
                    <a:pt x="206" y="16"/>
                  </a:lnTo>
                  <a:lnTo>
                    <a:pt x="208" y="16"/>
                  </a:lnTo>
                  <a:lnTo>
                    <a:pt x="208" y="16"/>
                  </a:lnTo>
                  <a:lnTo>
                    <a:pt x="212" y="16"/>
                  </a:lnTo>
                  <a:lnTo>
                    <a:pt x="214" y="16"/>
                  </a:lnTo>
                  <a:lnTo>
                    <a:pt x="216" y="18"/>
                  </a:lnTo>
                  <a:lnTo>
                    <a:pt x="218" y="18"/>
                  </a:lnTo>
                  <a:lnTo>
                    <a:pt x="218" y="18"/>
                  </a:lnTo>
                  <a:lnTo>
                    <a:pt x="220" y="20"/>
                  </a:lnTo>
                  <a:lnTo>
                    <a:pt x="220" y="20"/>
                  </a:lnTo>
                  <a:lnTo>
                    <a:pt x="220" y="20"/>
                  </a:lnTo>
                  <a:lnTo>
                    <a:pt x="222" y="22"/>
                  </a:lnTo>
                  <a:lnTo>
                    <a:pt x="222" y="22"/>
                  </a:lnTo>
                  <a:lnTo>
                    <a:pt x="222" y="22"/>
                  </a:lnTo>
                  <a:lnTo>
                    <a:pt x="222" y="24"/>
                  </a:lnTo>
                  <a:lnTo>
                    <a:pt x="222" y="26"/>
                  </a:lnTo>
                  <a:lnTo>
                    <a:pt x="220" y="28"/>
                  </a:lnTo>
                  <a:lnTo>
                    <a:pt x="220" y="34"/>
                  </a:lnTo>
                  <a:lnTo>
                    <a:pt x="220" y="34"/>
                  </a:lnTo>
                  <a:lnTo>
                    <a:pt x="220" y="210"/>
                  </a:lnTo>
                  <a:lnTo>
                    <a:pt x="220" y="214"/>
                  </a:lnTo>
                  <a:lnTo>
                    <a:pt x="220" y="218"/>
                  </a:lnTo>
                  <a:lnTo>
                    <a:pt x="222" y="222"/>
                  </a:lnTo>
                  <a:lnTo>
                    <a:pt x="222" y="226"/>
                  </a:lnTo>
                  <a:lnTo>
                    <a:pt x="222" y="228"/>
                  </a:lnTo>
                  <a:lnTo>
                    <a:pt x="220" y="230"/>
                  </a:lnTo>
                  <a:lnTo>
                    <a:pt x="220" y="232"/>
                  </a:lnTo>
                  <a:lnTo>
                    <a:pt x="220" y="234"/>
                  </a:lnTo>
                  <a:lnTo>
                    <a:pt x="220" y="234"/>
                  </a:lnTo>
                  <a:lnTo>
                    <a:pt x="218" y="236"/>
                  </a:lnTo>
                  <a:lnTo>
                    <a:pt x="218" y="236"/>
                  </a:lnTo>
                  <a:lnTo>
                    <a:pt x="218" y="236"/>
                  </a:lnTo>
                  <a:lnTo>
                    <a:pt x="216" y="238"/>
                  </a:lnTo>
                  <a:lnTo>
                    <a:pt x="216" y="238"/>
                  </a:lnTo>
                  <a:lnTo>
                    <a:pt x="214" y="238"/>
                  </a:lnTo>
                  <a:lnTo>
                    <a:pt x="212" y="238"/>
                  </a:lnTo>
                  <a:lnTo>
                    <a:pt x="210" y="238"/>
                  </a:lnTo>
                  <a:lnTo>
                    <a:pt x="210" y="238"/>
                  </a:lnTo>
                  <a:lnTo>
                    <a:pt x="210" y="238"/>
                  </a:lnTo>
                  <a:lnTo>
                    <a:pt x="208" y="238"/>
                  </a:lnTo>
                  <a:lnTo>
                    <a:pt x="208" y="240"/>
                  </a:lnTo>
                  <a:lnTo>
                    <a:pt x="208" y="242"/>
                  </a:lnTo>
                  <a:lnTo>
                    <a:pt x="208" y="244"/>
                  </a:lnTo>
                  <a:lnTo>
                    <a:pt x="208" y="244"/>
                  </a:lnTo>
                  <a:lnTo>
                    <a:pt x="208" y="248"/>
                  </a:lnTo>
                  <a:lnTo>
                    <a:pt x="208" y="250"/>
                  </a:lnTo>
                  <a:lnTo>
                    <a:pt x="208" y="254"/>
                  </a:lnTo>
                  <a:lnTo>
                    <a:pt x="210" y="258"/>
                  </a:lnTo>
                  <a:lnTo>
                    <a:pt x="210" y="262"/>
                  </a:lnTo>
                  <a:lnTo>
                    <a:pt x="212" y="264"/>
                  </a:lnTo>
                  <a:lnTo>
                    <a:pt x="208" y="264"/>
                  </a:lnTo>
                  <a:lnTo>
                    <a:pt x="204" y="264"/>
                  </a:lnTo>
                  <a:lnTo>
                    <a:pt x="202" y="264"/>
                  </a:lnTo>
                  <a:lnTo>
                    <a:pt x="202" y="264"/>
                  </a:lnTo>
                  <a:lnTo>
                    <a:pt x="200" y="264"/>
                  </a:lnTo>
                  <a:lnTo>
                    <a:pt x="198" y="262"/>
                  </a:lnTo>
                  <a:lnTo>
                    <a:pt x="196" y="260"/>
                  </a:lnTo>
                  <a:lnTo>
                    <a:pt x="192" y="258"/>
                  </a:lnTo>
                  <a:lnTo>
                    <a:pt x="190" y="254"/>
                  </a:lnTo>
                  <a:lnTo>
                    <a:pt x="182" y="250"/>
                  </a:lnTo>
                  <a:lnTo>
                    <a:pt x="180" y="246"/>
                  </a:lnTo>
                  <a:lnTo>
                    <a:pt x="178" y="244"/>
                  </a:lnTo>
                  <a:lnTo>
                    <a:pt x="176" y="244"/>
                  </a:lnTo>
                  <a:lnTo>
                    <a:pt x="172" y="242"/>
                  </a:lnTo>
                  <a:lnTo>
                    <a:pt x="168" y="240"/>
                  </a:lnTo>
                  <a:lnTo>
                    <a:pt x="164" y="238"/>
                  </a:lnTo>
                  <a:lnTo>
                    <a:pt x="162" y="238"/>
                  </a:lnTo>
                  <a:lnTo>
                    <a:pt x="156" y="234"/>
                  </a:lnTo>
                  <a:lnTo>
                    <a:pt x="152" y="232"/>
                  </a:lnTo>
                  <a:lnTo>
                    <a:pt x="150" y="232"/>
                  </a:lnTo>
                  <a:lnTo>
                    <a:pt x="148" y="230"/>
                  </a:lnTo>
                  <a:lnTo>
                    <a:pt x="146" y="230"/>
                  </a:lnTo>
                  <a:lnTo>
                    <a:pt x="146" y="228"/>
                  </a:lnTo>
                  <a:lnTo>
                    <a:pt x="144" y="228"/>
                  </a:lnTo>
                  <a:lnTo>
                    <a:pt x="144" y="228"/>
                  </a:lnTo>
                  <a:lnTo>
                    <a:pt x="144" y="226"/>
                  </a:lnTo>
                  <a:lnTo>
                    <a:pt x="142" y="222"/>
                  </a:lnTo>
                  <a:lnTo>
                    <a:pt x="140" y="220"/>
                  </a:lnTo>
                  <a:lnTo>
                    <a:pt x="140" y="218"/>
                  </a:lnTo>
                  <a:lnTo>
                    <a:pt x="138" y="216"/>
                  </a:lnTo>
                  <a:lnTo>
                    <a:pt x="138" y="216"/>
                  </a:lnTo>
                  <a:lnTo>
                    <a:pt x="138" y="216"/>
                  </a:lnTo>
                  <a:lnTo>
                    <a:pt x="136" y="214"/>
                  </a:lnTo>
                  <a:lnTo>
                    <a:pt x="136" y="214"/>
                  </a:lnTo>
                  <a:lnTo>
                    <a:pt x="134" y="214"/>
                  </a:lnTo>
                  <a:lnTo>
                    <a:pt x="132" y="214"/>
                  </a:lnTo>
                  <a:lnTo>
                    <a:pt x="128" y="214"/>
                  </a:lnTo>
                  <a:lnTo>
                    <a:pt x="126" y="214"/>
                  </a:lnTo>
                  <a:lnTo>
                    <a:pt x="122" y="214"/>
                  </a:lnTo>
                  <a:lnTo>
                    <a:pt x="118" y="214"/>
                  </a:lnTo>
                  <a:lnTo>
                    <a:pt x="116" y="214"/>
                  </a:lnTo>
                  <a:lnTo>
                    <a:pt x="114" y="212"/>
                  </a:lnTo>
                  <a:lnTo>
                    <a:pt x="114" y="212"/>
                  </a:lnTo>
                  <a:lnTo>
                    <a:pt x="112" y="212"/>
                  </a:lnTo>
                  <a:lnTo>
                    <a:pt x="112" y="212"/>
                  </a:lnTo>
                  <a:lnTo>
                    <a:pt x="112" y="210"/>
                  </a:lnTo>
                  <a:lnTo>
                    <a:pt x="112" y="210"/>
                  </a:lnTo>
                  <a:lnTo>
                    <a:pt x="110" y="208"/>
                  </a:lnTo>
                  <a:lnTo>
                    <a:pt x="110" y="206"/>
                  </a:lnTo>
                  <a:lnTo>
                    <a:pt x="110" y="204"/>
                  </a:lnTo>
                  <a:lnTo>
                    <a:pt x="108" y="202"/>
                  </a:lnTo>
                  <a:lnTo>
                    <a:pt x="108" y="200"/>
                  </a:lnTo>
                  <a:lnTo>
                    <a:pt x="108" y="200"/>
                  </a:lnTo>
                  <a:lnTo>
                    <a:pt x="108" y="198"/>
                  </a:lnTo>
                  <a:lnTo>
                    <a:pt x="108" y="198"/>
                  </a:lnTo>
                  <a:lnTo>
                    <a:pt x="106" y="198"/>
                  </a:lnTo>
                  <a:lnTo>
                    <a:pt x="104" y="198"/>
                  </a:lnTo>
                  <a:lnTo>
                    <a:pt x="102" y="198"/>
                  </a:lnTo>
                  <a:lnTo>
                    <a:pt x="102" y="196"/>
                  </a:lnTo>
                  <a:lnTo>
                    <a:pt x="100" y="196"/>
                  </a:lnTo>
                  <a:lnTo>
                    <a:pt x="98" y="196"/>
                  </a:lnTo>
                  <a:lnTo>
                    <a:pt x="96" y="196"/>
                  </a:lnTo>
                  <a:lnTo>
                    <a:pt x="96" y="196"/>
                  </a:lnTo>
                  <a:lnTo>
                    <a:pt x="96" y="194"/>
                  </a:lnTo>
                  <a:lnTo>
                    <a:pt x="94" y="194"/>
                  </a:lnTo>
                  <a:lnTo>
                    <a:pt x="94" y="194"/>
                  </a:lnTo>
                  <a:lnTo>
                    <a:pt x="94" y="192"/>
                  </a:lnTo>
                  <a:lnTo>
                    <a:pt x="94" y="190"/>
                  </a:lnTo>
                  <a:lnTo>
                    <a:pt x="94" y="190"/>
                  </a:lnTo>
                  <a:lnTo>
                    <a:pt x="94" y="188"/>
                  </a:lnTo>
                  <a:lnTo>
                    <a:pt x="94" y="188"/>
                  </a:lnTo>
                  <a:lnTo>
                    <a:pt x="92" y="188"/>
                  </a:lnTo>
                  <a:lnTo>
                    <a:pt x="90" y="188"/>
                  </a:lnTo>
                  <a:lnTo>
                    <a:pt x="88" y="188"/>
                  </a:lnTo>
                  <a:lnTo>
                    <a:pt x="86" y="188"/>
                  </a:lnTo>
                  <a:lnTo>
                    <a:pt x="82" y="188"/>
                  </a:lnTo>
                  <a:lnTo>
                    <a:pt x="80" y="188"/>
                  </a:lnTo>
                  <a:lnTo>
                    <a:pt x="76" y="186"/>
                  </a:lnTo>
                  <a:lnTo>
                    <a:pt x="74" y="184"/>
                  </a:lnTo>
                  <a:lnTo>
                    <a:pt x="70" y="184"/>
                  </a:lnTo>
                  <a:lnTo>
                    <a:pt x="70" y="184"/>
                  </a:lnTo>
                  <a:lnTo>
                    <a:pt x="66" y="184"/>
                  </a:lnTo>
                  <a:lnTo>
                    <a:pt x="62" y="184"/>
                  </a:lnTo>
                  <a:lnTo>
                    <a:pt x="60" y="184"/>
                  </a:lnTo>
                  <a:lnTo>
                    <a:pt x="58" y="184"/>
                  </a:lnTo>
                  <a:lnTo>
                    <a:pt x="56" y="184"/>
                  </a:lnTo>
                  <a:lnTo>
                    <a:pt x="56" y="184"/>
                  </a:lnTo>
                  <a:lnTo>
                    <a:pt x="54" y="182"/>
                  </a:lnTo>
                  <a:lnTo>
                    <a:pt x="54" y="182"/>
                  </a:lnTo>
                  <a:lnTo>
                    <a:pt x="54" y="182"/>
                  </a:lnTo>
                  <a:lnTo>
                    <a:pt x="54" y="180"/>
                  </a:lnTo>
                  <a:lnTo>
                    <a:pt x="52" y="178"/>
                  </a:lnTo>
                  <a:lnTo>
                    <a:pt x="52" y="176"/>
                  </a:lnTo>
                  <a:lnTo>
                    <a:pt x="52" y="176"/>
                  </a:lnTo>
                  <a:lnTo>
                    <a:pt x="52" y="176"/>
                  </a:lnTo>
                  <a:lnTo>
                    <a:pt x="52" y="174"/>
                  </a:lnTo>
                  <a:lnTo>
                    <a:pt x="50" y="174"/>
                  </a:lnTo>
                  <a:lnTo>
                    <a:pt x="48" y="174"/>
                  </a:lnTo>
                  <a:lnTo>
                    <a:pt x="48" y="174"/>
                  </a:lnTo>
                  <a:lnTo>
                    <a:pt x="44" y="174"/>
                  </a:lnTo>
                  <a:lnTo>
                    <a:pt x="42" y="174"/>
                  </a:lnTo>
                  <a:lnTo>
                    <a:pt x="38" y="174"/>
                  </a:lnTo>
                  <a:lnTo>
                    <a:pt x="36" y="174"/>
                  </a:lnTo>
                  <a:lnTo>
                    <a:pt x="34" y="176"/>
                  </a:lnTo>
                  <a:lnTo>
                    <a:pt x="34" y="174"/>
                  </a:lnTo>
                  <a:lnTo>
                    <a:pt x="32" y="168"/>
                  </a:lnTo>
                  <a:lnTo>
                    <a:pt x="32" y="166"/>
                  </a:lnTo>
                  <a:lnTo>
                    <a:pt x="32" y="164"/>
                  </a:lnTo>
                  <a:lnTo>
                    <a:pt x="32" y="162"/>
                  </a:lnTo>
                  <a:lnTo>
                    <a:pt x="30" y="160"/>
                  </a:lnTo>
                  <a:lnTo>
                    <a:pt x="30" y="160"/>
                  </a:lnTo>
                  <a:lnTo>
                    <a:pt x="30" y="160"/>
                  </a:lnTo>
                  <a:lnTo>
                    <a:pt x="28" y="160"/>
                  </a:lnTo>
                  <a:lnTo>
                    <a:pt x="28" y="158"/>
                  </a:lnTo>
                  <a:lnTo>
                    <a:pt x="26" y="158"/>
                  </a:lnTo>
                  <a:lnTo>
                    <a:pt x="22" y="158"/>
                  </a:lnTo>
                  <a:lnTo>
                    <a:pt x="20" y="158"/>
                  </a:lnTo>
                  <a:lnTo>
                    <a:pt x="16" y="158"/>
                  </a:lnTo>
                  <a:lnTo>
                    <a:pt x="12" y="158"/>
                  </a:lnTo>
                  <a:lnTo>
                    <a:pt x="12" y="158"/>
                  </a:lnTo>
                  <a:lnTo>
                    <a:pt x="10" y="158"/>
                  </a:lnTo>
                  <a:lnTo>
                    <a:pt x="8" y="156"/>
                  </a:lnTo>
                  <a:lnTo>
                    <a:pt x="8" y="156"/>
                  </a:lnTo>
                  <a:lnTo>
                    <a:pt x="6" y="156"/>
                  </a:lnTo>
                  <a:lnTo>
                    <a:pt x="6" y="156"/>
                  </a:lnTo>
                  <a:lnTo>
                    <a:pt x="4" y="154"/>
                  </a:lnTo>
                  <a:lnTo>
                    <a:pt x="2" y="150"/>
                  </a:lnTo>
                  <a:lnTo>
                    <a:pt x="0" y="150"/>
                  </a:lnTo>
                  <a:lnTo>
                    <a:pt x="0" y="148"/>
                  </a:lnTo>
                  <a:lnTo>
                    <a:pt x="0" y="148"/>
                  </a:lnTo>
                  <a:lnTo>
                    <a:pt x="0" y="146"/>
                  </a:lnTo>
                  <a:lnTo>
                    <a:pt x="0" y="142"/>
                  </a:lnTo>
                  <a:lnTo>
                    <a:pt x="0" y="140"/>
                  </a:lnTo>
                  <a:lnTo>
                    <a:pt x="0" y="136"/>
                  </a:lnTo>
                  <a:lnTo>
                    <a:pt x="0" y="132"/>
                  </a:lnTo>
                  <a:lnTo>
                    <a:pt x="0" y="120"/>
                  </a:lnTo>
                  <a:lnTo>
                    <a:pt x="0" y="106"/>
                  </a:lnTo>
                  <a:lnTo>
                    <a:pt x="0" y="90"/>
                  </a:lnTo>
                  <a:lnTo>
                    <a:pt x="0" y="74"/>
                  </a:lnTo>
                  <a:lnTo>
                    <a:pt x="2" y="46"/>
                  </a:lnTo>
                  <a:lnTo>
                    <a:pt x="2" y="34"/>
                  </a:lnTo>
                  <a:lnTo>
                    <a:pt x="8" y="30"/>
                  </a:lnTo>
                  <a:lnTo>
                    <a:pt x="14" y="28"/>
                  </a:lnTo>
                  <a:lnTo>
                    <a:pt x="16" y="26"/>
                  </a:lnTo>
                  <a:lnTo>
                    <a:pt x="18" y="26"/>
                  </a:lnTo>
                  <a:lnTo>
                    <a:pt x="18" y="26"/>
                  </a:lnTo>
                  <a:lnTo>
                    <a:pt x="20" y="26"/>
                  </a:lnTo>
                  <a:lnTo>
                    <a:pt x="22" y="26"/>
                  </a:lnTo>
                  <a:lnTo>
                    <a:pt x="22" y="26"/>
                  </a:lnTo>
                  <a:lnTo>
                    <a:pt x="24" y="26"/>
                  </a:lnTo>
                  <a:lnTo>
                    <a:pt x="24" y="24"/>
                  </a:lnTo>
                  <a:lnTo>
                    <a:pt x="26" y="24"/>
                  </a:lnTo>
                  <a:lnTo>
                    <a:pt x="26" y="22"/>
                  </a:lnTo>
                  <a:lnTo>
                    <a:pt x="26" y="22"/>
                  </a:lnTo>
                  <a:lnTo>
                    <a:pt x="26" y="20"/>
                  </a:lnTo>
                  <a:lnTo>
                    <a:pt x="26" y="16"/>
                  </a:lnTo>
                  <a:lnTo>
                    <a:pt x="28" y="12"/>
                  </a:lnTo>
                  <a:lnTo>
                    <a:pt x="28" y="8"/>
                  </a:lnTo>
                  <a:lnTo>
                    <a:pt x="28" y="4"/>
                  </a:lnTo>
                  <a:lnTo>
                    <a:pt x="26"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9" name="Freeform 408">
              <a:extLst>
                <a:ext uri="{FF2B5EF4-FFF2-40B4-BE49-F238E27FC236}">
                  <a16:creationId xmlns:a16="http://schemas.microsoft.com/office/drawing/2014/main" id="{13B7B0BE-453C-4D79-876E-606ADBDB1B0F}"/>
                </a:ext>
              </a:extLst>
            </p:cNvPr>
            <p:cNvSpPr>
              <a:spLocks/>
            </p:cNvSpPr>
            <p:nvPr/>
          </p:nvSpPr>
          <p:spPr bwMode="auto">
            <a:xfrm>
              <a:off x="4501310" y="3665856"/>
              <a:ext cx="384521" cy="457268"/>
            </a:xfrm>
            <a:custGeom>
              <a:avLst/>
              <a:gdLst>
                <a:gd name="T0" fmla="*/ 38 w 222"/>
                <a:gd name="T1" fmla="*/ 10 h 264"/>
                <a:gd name="T2" fmla="*/ 56 w 222"/>
                <a:gd name="T3" fmla="*/ 10 h 264"/>
                <a:gd name="T4" fmla="*/ 76 w 222"/>
                <a:gd name="T5" fmla="*/ 14 h 264"/>
                <a:gd name="T6" fmla="*/ 82 w 222"/>
                <a:gd name="T7" fmla="*/ 18 h 264"/>
                <a:gd name="T8" fmla="*/ 84 w 222"/>
                <a:gd name="T9" fmla="*/ 28 h 264"/>
                <a:gd name="T10" fmla="*/ 94 w 222"/>
                <a:gd name="T11" fmla="*/ 30 h 264"/>
                <a:gd name="T12" fmla="*/ 106 w 222"/>
                <a:gd name="T13" fmla="*/ 30 h 264"/>
                <a:gd name="T14" fmla="*/ 108 w 222"/>
                <a:gd name="T15" fmla="*/ 34 h 264"/>
                <a:gd name="T16" fmla="*/ 110 w 222"/>
                <a:gd name="T17" fmla="*/ 40 h 264"/>
                <a:gd name="T18" fmla="*/ 126 w 222"/>
                <a:gd name="T19" fmla="*/ 44 h 264"/>
                <a:gd name="T20" fmla="*/ 140 w 222"/>
                <a:gd name="T21" fmla="*/ 48 h 264"/>
                <a:gd name="T22" fmla="*/ 144 w 222"/>
                <a:gd name="T23" fmla="*/ 46 h 264"/>
                <a:gd name="T24" fmla="*/ 146 w 222"/>
                <a:gd name="T25" fmla="*/ 36 h 264"/>
                <a:gd name="T26" fmla="*/ 146 w 222"/>
                <a:gd name="T27" fmla="*/ 22 h 264"/>
                <a:gd name="T28" fmla="*/ 152 w 222"/>
                <a:gd name="T29" fmla="*/ 14 h 264"/>
                <a:gd name="T30" fmla="*/ 162 w 222"/>
                <a:gd name="T31" fmla="*/ 2 h 264"/>
                <a:gd name="T32" fmla="*/ 170 w 222"/>
                <a:gd name="T33" fmla="*/ 0 h 264"/>
                <a:gd name="T34" fmla="*/ 180 w 222"/>
                <a:gd name="T35" fmla="*/ 2 h 264"/>
                <a:gd name="T36" fmla="*/ 190 w 222"/>
                <a:gd name="T37" fmla="*/ 12 h 264"/>
                <a:gd name="T38" fmla="*/ 198 w 222"/>
                <a:gd name="T39" fmla="*/ 18 h 264"/>
                <a:gd name="T40" fmla="*/ 212 w 222"/>
                <a:gd name="T41" fmla="*/ 16 h 264"/>
                <a:gd name="T42" fmla="*/ 220 w 222"/>
                <a:gd name="T43" fmla="*/ 20 h 264"/>
                <a:gd name="T44" fmla="*/ 222 w 222"/>
                <a:gd name="T45" fmla="*/ 26 h 264"/>
                <a:gd name="T46" fmla="*/ 220 w 222"/>
                <a:gd name="T47" fmla="*/ 218 h 264"/>
                <a:gd name="T48" fmla="*/ 220 w 222"/>
                <a:gd name="T49" fmla="*/ 234 h 264"/>
                <a:gd name="T50" fmla="*/ 216 w 222"/>
                <a:gd name="T51" fmla="*/ 238 h 264"/>
                <a:gd name="T52" fmla="*/ 208 w 222"/>
                <a:gd name="T53" fmla="*/ 238 h 264"/>
                <a:gd name="T54" fmla="*/ 208 w 222"/>
                <a:gd name="T55" fmla="*/ 250 h 264"/>
                <a:gd name="T56" fmla="*/ 204 w 222"/>
                <a:gd name="T57" fmla="*/ 264 h 264"/>
                <a:gd name="T58" fmla="*/ 192 w 222"/>
                <a:gd name="T59" fmla="*/ 258 h 264"/>
                <a:gd name="T60" fmla="*/ 172 w 222"/>
                <a:gd name="T61" fmla="*/ 242 h 264"/>
                <a:gd name="T62" fmla="*/ 150 w 222"/>
                <a:gd name="T63" fmla="*/ 232 h 264"/>
                <a:gd name="T64" fmla="*/ 144 w 222"/>
                <a:gd name="T65" fmla="*/ 226 h 264"/>
                <a:gd name="T66" fmla="*/ 138 w 222"/>
                <a:gd name="T67" fmla="*/ 216 h 264"/>
                <a:gd name="T68" fmla="*/ 126 w 222"/>
                <a:gd name="T69" fmla="*/ 214 h 264"/>
                <a:gd name="T70" fmla="*/ 112 w 222"/>
                <a:gd name="T71" fmla="*/ 212 h 264"/>
                <a:gd name="T72" fmla="*/ 110 w 222"/>
                <a:gd name="T73" fmla="*/ 204 h 264"/>
                <a:gd name="T74" fmla="*/ 106 w 222"/>
                <a:gd name="T75" fmla="*/ 198 h 264"/>
                <a:gd name="T76" fmla="*/ 96 w 222"/>
                <a:gd name="T77" fmla="*/ 196 h 264"/>
                <a:gd name="T78" fmla="*/ 94 w 222"/>
                <a:gd name="T79" fmla="*/ 190 h 264"/>
                <a:gd name="T80" fmla="*/ 88 w 222"/>
                <a:gd name="T81" fmla="*/ 188 h 264"/>
                <a:gd name="T82" fmla="*/ 70 w 222"/>
                <a:gd name="T83" fmla="*/ 184 h 264"/>
                <a:gd name="T84" fmla="*/ 56 w 222"/>
                <a:gd name="T85" fmla="*/ 184 h 264"/>
                <a:gd name="T86" fmla="*/ 52 w 222"/>
                <a:gd name="T87" fmla="*/ 178 h 264"/>
                <a:gd name="T88" fmla="*/ 48 w 222"/>
                <a:gd name="T89" fmla="*/ 174 h 264"/>
                <a:gd name="T90" fmla="*/ 34 w 222"/>
                <a:gd name="T91" fmla="*/ 176 h 264"/>
                <a:gd name="T92" fmla="*/ 30 w 222"/>
                <a:gd name="T93" fmla="*/ 160 h 264"/>
                <a:gd name="T94" fmla="*/ 22 w 222"/>
                <a:gd name="T95" fmla="*/ 158 h 264"/>
                <a:gd name="T96" fmla="*/ 8 w 222"/>
                <a:gd name="T97" fmla="*/ 156 h 264"/>
                <a:gd name="T98" fmla="*/ 0 w 222"/>
                <a:gd name="T99" fmla="*/ 150 h 264"/>
                <a:gd name="T100" fmla="*/ 0 w 222"/>
                <a:gd name="T101" fmla="*/ 136 h 264"/>
                <a:gd name="T102" fmla="*/ 2 w 222"/>
                <a:gd name="T103" fmla="*/ 46 h 264"/>
                <a:gd name="T104" fmla="*/ 18 w 222"/>
                <a:gd name="T105" fmla="*/ 26 h 264"/>
                <a:gd name="T106" fmla="*/ 26 w 222"/>
                <a:gd name="T107" fmla="*/ 24 h 264"/>
                <a:gd name="T108" fmla="*/ 28 w 222"/>
                <a:gd name="T109" fmla="*/ 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2" h="264">
                  <a:moveTo>
                    <a:pt x="26" y="2"/>
                  </a:moveTo>
                  <a:lnTo>
                    <a:pt x="26" y="2"/>
                  </a:lnTo>
                  <a:lnTo>
                    <a:pt x="32" y="4"/>
                  </a:lnTo>
                  <a:lnTo>
                    <a:pt x="36" y="8"/>
                  </a:lnTo>
                  <a:lnTo>
                    <a:pt x="38" y="8"/>
                  </a:lnTo>
                  <a:lnTo>
                    <a:pt x="38" y="10"/>
                  </a:lnTo>
                  <a:lnTo>
                    <a:pt x="40" y="10"/>
                  </a:lnTo>
                  <a:lnTo>
                    <a:pt x="40" y="10"/>
                  </a:lnTo>
                  <a:lnTo>
                    <a:pt x="44" y="10"/>
                  </a:lnTo>
                  <a:lnTo>
                    <a:pt x="48" y="10"/>
                  </a:lnTo>
                  <a:lnTo>
                    <a:pt x="52" y="10"/>
                  </a:lnTo>
                  <a:lnTo>
                    <a:pt x="56" y="10"/>
                  </a:lnTo>
                  <a:lnTo>
                    <a:pt x="60" y="12"/>
                  </a:lnTo>
                  <a:lnTo>
                    <a:pt x="64" y="12"/>
                  </a:lnTo>
                  <a:lnTo>
                    <a:pt x="70" y="12"/>
                  </a:lnTo>
                  <a:lnTo>
                    <a:pt x="72" y="12"/>
                  </a:lnTo>
                  <a:lnTo>
                    <a:pt x="74" y="12"/>
                  </a:lnTo>
                  <a:lnTo>
                    <a:pt x="76" y="14"/>
                  </a:lnTo>
                  <a:lnTo>
                    <a:pt x="78" y="14"/>
                  </a:lnTo>
                  <a:lnTo>
                    <a:pt x="80" y="14"/>
                  </a:lnTo>
                  <a:lnTo>
                    <a:pt x="80" y="16"/>
                  </a:lnTo>
                  <a:lnTo>
                    <a:pt x="80" y="16"/>
                  </a:lnTo>
                  <a:lnTo>
                    <a:pt x="82" y="16"/>
                  </a:lnTo>
                  <a:lnTo>
                    <a:pt x="82" y="18"/>
                  </a:lnTo>
                  <a:lnTo>
                    <a:pt x="82" y="20"/>
                  </a:lnTo>
                  <a:lnTo>
                    <a:pt x="82" y="22"/>
                  </a:lnTo>
                  <a:lnTo>
                    <a:pt x="84" y="24"/>
                  </a:lnTo>
                  <a:lnTo>
                    <a:pt x="84" y="26"/>
                  </a:lnTo>
                  <a:lnTo>
                    <a:pt x="84" y="26"/>
                  </a:lnTo>
                  <a:lnTo>
                    <a:pt x="84" y="28"/>
                  </a:lnTo>
                  <a:lnTo>
                    <a:pt x="84" y="28"/>
                  </a:lnTo>
                  <a:lnTo>
                    <a:pt x="86" y="28"/>
                  </a:lnTo>
                  <a:lnTo>
                    <a:pt x="86" y="28"/>
                  </a:lnTo>
                  <a:lnTo>
                    <a:pt x="88" y="30"/>
                  </a:lnTo>
                  <a:lnTo>
                    <a:pt x="90" y="30"/>
                  </a:lnTo>
                  <a:lnTo>
                    <a:pt x="94" y="30"/>
                  </a:lnTo>
                  <a:lnTo>
                    <a:pt x="96" y="30"/>
                  </a:lnTo>
                  <a:lnTo>
                    <a:pt x="100" y="30"/>
                  </a:lnTo>
                  <a:lnTo>
                    <a:pt x="102" y="30"/>
                  </a:lnTo>
                  <a:lnTo>
                    <a:pt x="104" y="30"/>
                  </a:lnTo>
                  <a:lnTo>
                    <a:pt x="104" y="30"/>
                  </a:lnTo>
                  <a:lnTo>
                    <a:pt x="106" y="30"/>
                  </a:lnTo>
                  <a:lnTo>
                    <a:pt x="108" y="30"/>
                  </a:lnTo>
                  <a:lnTo>
                    <a:pt x="108" y="32"/>
                  </a:lnTo>
                  <a:lnTo>
                    <a:pt x="108" y="32"/>
                  </a:lnTo>
                  <a:lnTo>
                    <a:pt x="108" y="32"/>
                  </a:lnTo>
                  <a:lnTo>
                    <a:pt x="108" y="32"/>
                  </a:lnTo>
                  <a:lnTo>
                    <a:pt x="108" y="34"/>
                  </a:lnTo>
                  <a:lnTo>
                    <a:pt x="108" y="34"/>
                  </a:lnTo>
                  <a:lnTo>
                    <a:pt x="108" y="38"/>
                  </a:lnTo>
                  <a:lnTo>
                    <a:pt x="108" y="38"/>
                  </a:lnTo>
                  <a:lnTo>
                    <a:pt x="108" y="38"/>
                  </a:lnTo>
                  <a:lnTo>
                    <a:pt x="110" y="40"/>
                  </a:lnTo>
                  <a:lnTo>
                    <a:pt x="110" y="40"/>
                  </a:lnTo>
                  <a:lnTo>
                    <a:pt x="112" y="40"/>
                  </a:lnTo>
                  <a:lnTo>
                    <a:pt x="112" y="40"/>
                  </a:lnTo>
                  <a:lnTo>
                    <a:pt x="116" y="42"/>
                  </a:lnTo>
                  <a:lnTo>
                    <a:pt x="118" y="42"/>
                  </a:lnTo>
                  <a:lnTo>
                    <a:pt x="124" y="42"/>
                  </a:lnTo>
                  <a:lnTo>
                    <a:pt x="126" y="44"/>
                  </a:lnTo>
                  <a:lnTo>
                    <a:pt x="128" y="44"/>
                  </a:lnTo>
                  <a:lnTo>
                    <a:pt x="130" y="44"/>
                  </a:lnTo>
                  <a:lnTo>
                    <a:pt x="132" y="44"/>
                  </a:lnTo>
                  <a:lnTo>
                    <a:pt x="136" y="46"/>
                  </a:lnTo>
                  <a:lnTo>
                    <a:pt x="138" y="48"/>
                  </a:lnTo>
                  <a:lnTo>
                    <a:pt x="140" y="48"/>
                  </a:lnTo>
                  <a:lnTo>
                    <a:pt x="140" y="48"/>
                  </a:lnTo>
                  <a:lnTo>
                    <a:pt x="142" y="48"/>
                  </a:lnTo>
                  <a:lnTo>
                    <a:pt x="142" y="48"/>
                  </a:lnTo>
                  <a:lnTo>
                    <a:pt x="142" y="48"/>
                  </a:lnTo>
                  <a:lnTo>
                    <a:pt x="144" y="46"/>
                  </a:lnTo>
                  <a:lnTo>
                    <a:pt x="144" y="46"/>
                  </a:lnTo>
                  <a:lnTo>
                    <a:pt x="144" y="46"/>
                  </a:lnTo>
                  <a:lnTo>
                    <a:pt x="146" y="42"/>
                  </a:lnTo>
                  <a:lnTo>
                    <a:pt x="146" y="42"/>
                  </a:lnTo>
                  <a:lnTo>
                    <a:pt x="146" y="40"/>
                  </a:lnTo>
                  <a:lnTo>
                    <a:pt x="146" y="40"/>
                  </a:lnTo>
                  <a:lnTo>
                    <a:pt x="146" y="36"/>
                  </a:lnTo>
                  <a:lnTo>
                    <a:pt x="146" y="34"/>
                  </a:lnTo>
                  <a:lnTo>
                    <a:pt x="146" y="30"/>
                  </a:lnTo>
                  <a:lnTo>
                    <a:pt x="146" y="28"/>
                  </a:lnTo>
                  <a:lnTo>
                    <a:pt x="146" y="24"/>
                  </a:lnTo>
                  <a:lnTo>
                    <a:pt x="146" y="22"/>
                  </a:lnTo>
                  <a:lnTo>
                    <a:pt x="146" y="22"/>
                  </a:lnTo>
                  <a:lnTo>
                    <a:pt x="146" y="20"/>
                  </a:lnTo>
                  <a:lnTo>
                    <a:pt x="146" y="20"/>
                  </a:lnTo>
                  <a:lnTo>
                    <a:pt x="148" y="18"/>
                  </a:lnTo>
                  <a:lnTo>
                    <a:pt x="148" y="18"/>
                  </a:lnTo>
                  <a:lnTo>
                    <a:pt x="150" y="16"/>
                  </a:lnTo>
                  <a:lnTo>
                    <a:pt x="152" y="14"/>
                  </a:lnTo>
                  <a:lnTo>
                    <a:pt x="154" y="12"/>
                  </a:lnTo>
                  <a:lnTo>
                    <a:pt x="156" y="10"/>
                  </a:lnTo>
                  <a:lnTo>
                    <a:pt x="158" y="8"/>
                  </a:lnTo>
                  <a:lnTo>
                    <a:pt x="158" y="6"/>
                  </a:lnTo>
                  <a:lnTo>
                    <a:pt x="160" y="4"/>
                  </a:lnTo>
                  <a:lnTo>
                    <a:pt x="162" y="2"/>
                  </a:lnTo>
                  <a:lnTo>
                    <a:pt x="162" y="2"/>
                  </a:lnTo>
                  <a:lnTo>
                    <a:pt x="164" y="0"/>
                  </a:lnTo>
                  <a:lnTo>
                    <a:pt x="164" y="0"/>
                  </a:lnTo>
                  <a:lnTo>
                    <a:pt x="166" y="0"/>
                  </a:lnTo>
                  <a:lnTo>
                    <a:pt x="168" y="0"/>
                  </a:lnTo>
                  <a:lnTo>
                    <a:pt x="170" y="0"/>
                  </a:lnTo>
                  <a:lnTo>
                    <a:pt x="172" y="0"/>
                  </a:lnTo>
                  <a:lnTo>
                    <a:pt x="174" y="0"/>
                  </a:lnTo>
                  <a:lnTo>
                    <a:pt x="176" y="0"/>
                  </a:lnTo>
                  <a:lnTo>
                    <a:pt x="178" y="0"/>
                  </a:lnTo>
                  <a:lnTo>
                    <a:pt x="178" y="0"/>
                  </a:lnTo>
                  <a:lnTo>
                    <a:pt x="180" y="2"/>
                  </a:lnTo>
                  <a:lnTo>
                    <a:pt x="180" y="2"/>
                  </a:lnTo>
                  <a:lnTo>
                    <a:pt x="182" y="4"/>
                  </a:lnTo>
                  <a:lnTo>
                    <a:pt x="184" y="6"/>
                  </a:lnTo>
                  <a:lnTo>
                    <a:pt x="186" y="8"/>
                  </a:lnTo>
                  <a:lnTo>
                    <a:pt x="188" y="10"/>
                  </a:lnTo>
                  <a:lnTo>
                    <a:pt x="190" y="12"/>
                  </a:lnTo>
                  <a:lnTo>
                    <a:pt x="192" y="14"/>
                  </a:lnTo>
                  <a:lnTo>
                    <a:pt x="194" y="16"/>
                  </a:lnTo>
                  <a:lnTo>
                    <a:pt x="194" y="16"/>
                  </a:lnTo>
                  <a:lnTo>
                    <a:pt x="196" y="16"/>
                  </a:lnTo>
                  <a:lnTo>
                    <a:pt x="196" y="18"/>
                  </a:lnTo>
                  <a:lnTo>
                    <a:pt x="198" y="18"/>
                  </a:lnTo>
                  <a:lnTo>
                    <a:pt x="200" y="16"/>
                  </a:lnTo>
                  <a:lnTo>
                    <a:pt x="202" y="16"/>
                  </a:lnTo>
                  <a:lnTo>
                    <a:pt x="206" y="16"/>
                  </a:lnTo>
                  <a:lnTo>
                    <a:pt x="208" y="16"/>
                  </a:lnTo>
                  <a:lnTo>
                    <a:pt x="208" y="16"/>
                  </a:lnTo>
                  <a:lnTo>
                    <a:pt x="212" y="16"/>
                  </a:lnTo>
                  <a:lnTo>
                    <a:pt x="214" y="16"/>
                  </a:lnTo>
                  <a:lnTo>
                    <a:pt x="216" y="18"/>
                  </a:lnTo>
                  <a:lnTo>
                    <a:pt x="218" y="18"/>
                  </a:lnTo>
                  <a:lnTo>
                    <a:pt x="218" y="18"/>
                  </a:lnTo>
                  <a:lnTo>
                    <a:pt x="220" y="20"/>
                  </a:lnTo>
                  <a:lnTo>
                    <a:pt x="220" y="20"/>
                  </a:lnTo>
                  <a:lnTo>
                    <a:pt x="220" y="20"/>
                  </a:lnTo>
                  <a:lnTo>
                    <a:pt x="222" y="22"/>
                  </a:lnTo>
                  <a:lnTo>
                    <a:pt x="222" y="22"/>
                  </a:lnTo>
                  <a:lnTo>
                    <a:pt x="222" y="22"/>
                  </a:lnTo>
                  <a:lnTo>
                    <a:pt x="222" y="24"/>
                  </a:lnTo>
                  <a:lnTo>
                    <a:pt x="222" y="26"/>
                  </a:lnTo>
                  <a:lnTo>
                    <a:pt x="220" y="28"/>
                  </a:lnTo>
                  <a:lnTo>
                    <a:pt x="220" y="34"/>
                  </a:lnTo>
                  <a:lnTo>
                    <a:pt x="220" y="34"/>
                  </a:lnTo>
                  <a:lnTo>
                    <a:pt x="220" y="210"/>
                  </a:lnTo>
                  <a:lnTo>
                    <a:pt x="220" y="214"/>
                  </a:lnTo>
                  <a:lnTo>
                    <a:pt x="220" y="218"/>
                  </a:lnTo>
                  <a:lnTo>
                    <a:pt x="222" y="222"/>
                  </a:lnTo>
                  <a:lnTo>
                    <a:pt x="222" y="226"/>
                  </a:lnTo>
                  <a:lnTo>
                    <a:pt x="222" y="228"/>
                  </a:lnTo>
                  <a:lnTo>
                    <a:pt x="220" y="230"/>
                  </a:lnTo>
                  <a:lnTo>
                    <a:pt x="220" y="232"/>
                  </a:lnTo>
                  <a:lnTo>
                    <a:pt x="220" y="234"/>
                  </a:lnTo>
                  <a:lnTo>
                    <a:pt x="220" y="234"/>
                  </a:lnTo>
                  <a:lnTo>
                    <a:pt x="218" y="236"/>
                  </a:lnTo>
                  <a:lnTo>
                    <a:pt x="218" y="236"/>
                  </a:lnTo>
                  <a:lnTo>
                    <a:pt x="218" y="236"/>
                  </a:lnTo>
                  <a:lnTo>
                    <a:pt x="216" y="238"/>
                  </a:lnTo>
                  <a:lnTo>
                    <a:pt x="216" y="238"/>
                  </a:lnTo>
                  <a:lnTo>
                    <a:pt x="214" y="238"/>
                  </a:lnTo>
                  <a:lnTo>
                    <a:pt x="212" y="238"/>
                  </a:lnTo>
                  <a:lnTo>
                    <a:pt x="210" y="238"/>
                  </a:lnTo>
                  <a:lnTo>
                    <a:pt x="210" y="238"/>
                  </a:lnTo>
                  <a:lnTo>
                    <a:pt x="210" y="238"/>
                  </a:lnTo>
                  <a:lnTo>
                    <a:pt x="208" y="238"/>
                  </a:lnTo>
                  <a:lnTo>
                    <a:pt x="208" y="240"/>
                  </a:lnTo>
                  <a:lnTo>
                    <a:pt x="208" y="242"/>
                  </a:lnTo>
                  <a:lnTo>
                    <a:pt x="208" y="244"/>
                  </a:lnTo>
                  <a:lnTo>
                    <a:pt x="208" y="244"/>
                  </a:lnTo>
                  <a:lnTo>
                    <a:pt x="208" y="248"/>
                  </a:lnTo>
                  <a:lnTo>
                    <a:pt x="208" y="250"/>
                  </a:lnTo>
                  <a:lnTo>
                    <a:pt x="208" y="254"/>
                  </a:lnTo>
                  <a:lnTo>
                    <a:pt x="210" y="258"/>
                  </a:lnTo>
                  <a:lnTo>
                    <a:pt x="210" y="262"/>
                  </a:lnTo>
                  <a:lnTo>
                    <a:pt x="212" y="264"/>
                  </a:lnTo>
                  <a:lnTo>
                    <a:pt x="208" y="264"/>
                  </a:lnTo>
                  <a:lnTo>
                    <a:pt x="204" y="264"/>
                  </a:lnTo>
                  <a:lnTo>
                    <a:pt x="202" y="264"/>
                  </a:lnTo>
                  <a:lnTo>
                    <a:pt x="202" y="264"/>
                  </a:lnTo>
                  <a:lnTo>
                    <a:pt x="200" y="264"/>
                  </a:lnTo>
                  <a:lnTo>
                    <a:pt x="198" y="262"/>
                  </a:lnTo>
                  <a:lnTo>
                    <a:pt x="196" y="260"/>
                  </a:lnTo>
                  <a:lnTo>
                    <a:pt x="192" y="258"/>
                  </a:lnTo>
                  <a:lnTo>
                    <a:pt x="190" y="254"/>
                  </a:lnTo>
                  <a:lnTo>
                    <a:pt x="182" y="250"/>
                  </a:lnTo>
                  <a:lnTo>
                    <a:pt x="180" y="246"/>
                  </a:lnTo>
                  <a:lnTo>
                    <a:pt x="178" y="244"/>
                  </a:lnTo>
                  <a:lnTo>
                    <a:pt x="176" y="244"/>
                  </a:lnTo>
                  <a:lnTo>
                    <a:pt x="172" y="242"/>
                  </a:lnTo>
                  <a:lnTo>
                    <a:pt x="168" y="240"/>
                  </a:lnTo>
                  <a:lnTo>
                    <a:pt x="164" y="238"/>
                  </a:lnTo>
                  <a:lnTo>
                    <a:pt x="162" y="238"/>
                  </a:lnTo>
                  <a:lnTo>
                    <a:pt x="156" y="234"/>
                  </a:lnTo>
                  <a:lnTo>
                    <a:pt x="152" y="232"/>
                  </a:lnTo>
                  <a:lnTo>
                    <a:pt x="150" y="232"/>
                  </a:lnTo>
                  <a:lnTo>
                    <a:pt x="148" y="230"/>
                  </a:lnTo>
                  <a:lnTo>
                    <a:pt x="146" y="230"/>
                  </a:lnTo>
                  <a:lnTo>
                    <a:pt x="146" y="228"/>
                  </a:lnTo>
                  <a:lnTo>
                    <a:pt x="144" y="228"/>
                  </a:lnTo>
                  <a:lnTo>
                    <a:pt x="144" y="228"/>
                  </a:lnTo>
                  <a:lnTo>
                    <a:pt x="144" y="226"/>
                  </a:lnTo>
                  <a:lnTo>
                    <a:pt x="142" y="222"/>
                  </a:lnTo>
                  <a:lnTo>
                    <a:pt x="140" y="220"/>
                  </a:lnTo>
                  <a:lnTo>
                    <a:pt x="140" y="218"/>
                  </a:lnTo>
                  <a:lnTo>
                    <a:pt x="138" y="216"/>
                  </a:lnTo>
                  <a:lnTo>
                    <a:pt x="138" y="216"/>
                  </a:lnTo>
                  <a:lnTo>
                    <a:pt x="138" y="216"/>
                  </a:lnTo>
                  <a:lnTo>
                    <a:pt x="136" y="214"/>
                  </a:lnTo>
                  <a:lnTo>
                    <a:pt x="136" y="214"/>
                  </a:lnTo>
                  <a:lnTo>
                    <a:pt x="134" y="214"/>
                  </a:lnTo>
                  <a:lnTo>
                    <a:pt x="132" y="214"/>
                  </a:lnTo>
                  <a:lnTo>
                    <a:pt x="128" y="214"/>
                  </a:lnTo>
                  <a:lnTo>
                    <a:pt x="126" y="214"/>
                  </a:lnTo>
                  <a:lnTo>
                    <a:pt x="122" y="214"/>
                  </a:lnTo>
                  <a:lnTo>
                    <a:pt x="118" y="214"/>
                  </a:lnTo>
                  <a:lnTo>
                    <a:pt x="116" y="214"/>
                  </a:lnTo>
                  <a:lnTo>
                    <a:pt x="114" y="212"/>
                  </a:lnTo>
                  <a:lnTo>
                    <a:pt x="114" y="212"/>
                  </a:lnTo>
                  <a:lnTo>
                    <a:pt x="112" y="212"/>
                  </a:lnTo>
                  <a:lnTo>
                    <a:pt x="112" y="212"/>
                  </a:lnTo>
                  <a:lnTo>
                    <a:pt x="112" y="210"/>
                  </a:lnTo>
                  <a:lnTo>
                    <a:pt x="112" y="210"/>
                  </a:lnTo>
                  <a:lnTo>
                    <a:pt x="110" y="208"/>
                  </a:lnTo>
                  <a:lnTo>
                    <a:pt x="110" y="206"/>
                  </a:lnTo>
                  <a:lnTo>
                    <a:pt x="110" y="204"/>
                  </a:lnTo>
                  <a:lnTo>
                    <a:pt x="108" y="202"/>
                  </a:lnTo>
                  <a:lnTo>
                    <a:pt x="108" y="200"/>
                  </a:lnTo>
                  <a:lnTo>
                    <a:pt x="108" y="200"/>
                  </a:lnTo>
                  <a:lnTo>
                    <a:pt x="108" y="198"/>
                  </a:lnTo>
                  <a:lnTo>
                    <a:pt x="108" y="198"/>
                  </a:lnTo>
                  <a:lnTo>
                    <a:pt x="106" y="198"/>
                  </a:lnTo>
                  <a:lnTo>
                    <a:pt x="104" y="198"/>
                  </a:lnTo>
                  <a:lnTo>
                    <a:pt x="102" y="198"/>
                  </a:lnTo>
                  <a:lnTo>
                    <a:pt x="102" y="196"/>
                  </a:lnTo>
                  <a:lnTo>
                    <a:pt x="100" y="196"/>
                  </a:lnTo>
                  <a:lnTo>
                    <a:pt x="98" y="196"/>
                  </a:lnTo>
                  <a:lnTo>
                    <a:pt x="96" y="196"/>
                  </a:lnTo>
                  <a:lnTo>
                    <a:pt x="96" y="196"/>
                  </a:lnTo>
                  <a:lnTo>
                    <a:pt x="96" y="194"/>
                  </a:lnTo>
                  <a:lnTo>
                    <a:pt x="94" y="194"/>
                  </a:lnTo>
                  <a:lnTo>
                    <a:pt x="94" y="194"/>
                  </a:lnTo>
                  <a:lnTo>
                    <a:pt x="94" y="192"/>
                  </a:lnTo>
                  <a:lnTo>
                    <a:pt x="94" y="190"/>
                  </a:lnTo>
                  <a:lnTo>
                    <a:pt x="94" y="190"/>
                  </a:lnTo>
                  <a:lnTo>
                    <a:pt x="94" y="188"/>
                  </a:lnTo>
                  <a:lnTo>
                    <a:pt x="94" y="188"/>
                  </a:lnTo>
                  <a:lnTo>
                    <a:pt x="92" y="188"/>
                  </a:lnTo>
                  <a:lnTo>
                    <a:pt x="90" y="188"/>
                  </a:lnTo>
                  <a:lnTo>
                    <a:pt x="88" y="188"/>
                  </a:lnTo>
                  <a:lnTo>
                    <a:pt x="86" y="188"/>
                  </a:lnTo>
                  <a:lnTo>
                    <a:pt x="82" y="188"/>
                  </a:lnTo>
                  <a:lnTo>
                    <a:pt x="80" y="188"/>
                  </a:lnTo>
                  <a:lnTo>
                    <a:pt x="76" y="186"/>
                  </a:lnTo>
                  <a:lnTo>
                    <a:pt x="74" y="184"/>
                  </a:lnTo>
                  <a:lnTo>
                    <a:pt x="70" y="184"/>
                  </a:lnTo>
                  <a:lnTo>
                    <a:pt x="70" y="184"/>
                  </a:lnTo>
                  <a:lnTo>
                    <a:pt x="66" y="184"/>
                  </a:lnTo>
                  <a:lnTo>
                    <a:pt x="62" y="184"/>
                  </a:lnTo>
                  <a:lnTo>
                    <a:pt x="60" y="184"/>
                  </a:lnTo>
                  <a:lnTo>
                    <a:pt x="58" y="184"/>
                  </a:lnTo>
                  <a:lnTo>
                    <a:pt x="56" y="184"/>
                  </a:lnTo>
                  <a:lnTo>
                    <a:pt x="56" y="184"/>
                  </a:lnTo>
                  <a:lnTo>
                    <a:pt x="54" y="182"/>
                  </a:lnTo>
                  <a:lnTo>
                    <a:pt x="54" y="182"/>
                  </a:lnTo>
                  <a:lnTo>
                    <a:pt x="54" y="182"/>
                  </a:lnTo>
                  <a:lnTo>
                    <a:pt x="54" y="180"/>
                  </a:lnTo>
                  <a:lnTo>
                    <a:pt x="52" y="178"/>
                  </a:lnTo>
                  <a:lnTo>
                    <a:pt x="52" y="176"/>
                  </a:lnTo>
                  <a:lnTo>
                    <a:pt x="52" y="176"/>
                  </a:lnTo>
                  <a:lnTo>
                    <a:pt x="52" y="176"/>
                  </a:lnTo>
                  <a:lnTo>
                    <a:pt x="52" y="174"/>
                  </a:lnTo>
                  <a:lnTo>
                    <a:pt x="50" y="174"/>
                  </a:lnTo>
                  <a:lnTo>
                    <a:pt x="48" y="174"/>
                  </a:lnTo>
                  <a:lnTo>
                    <a:pt x="48" y="174"/>
                  </a:lnTo>
                  <a:lnTo>
                    <a:pt x="44" y="174"/>
                  </a:lnTo>
                  <a:lnTo>
                    <a:pt x="42" y="174"/>
                  </a:lnTo>
                  <a:lnTo>
                    <a:pt x="38" y="174"/>
                  </a:lnTo>
                  <a:lnTo>
                    <a:pt x="36" y="174"/>
                  </a:lnTo>
                  <a:lnTo>
                    <a:pt x="34" y="176"/>
                  </a:lnTo>
                  <a:lnTo>
                    <a:pt x="34" y="174"/>
                  </a:lnTo>
                  <a:lnTo>
                    <a:pt x="32" y="168"/>
                  </a:lnTo>
                  <a:lnTo>
                    <a:pt x="32" y="166"/>
                  </a:lnTo>
                  <a:lnTo>
                    <a:pt x="32" y="164"/>
                  </a:lnTo>
                  <a:lnTo>
                    <a:pt x="32" y="162"/>
                  </a:lnTo>
                  <a:lnTo>
                    <a:pt x="30" y="160"/>
                  </a:lnTo>
                  <a:lnTo>
                    <a:pt x="30" y="160"/>
                  </a:lnTo>
                  <a:lnTo>
                    <a:pt x="30" y="160"/>
                  </a:lnTo>
                  <a:lnTo>
                    <a:pt x="28" y="160"/>
                  </a:lnTo>
                  <a:lnTo>
                    <a:pt x="28" y="158"/>
                  </a:lnTo>
                  <a:lnTo>
                    <a:pt x="26" y="158"/>
                  </a:lnTo>
                  <a:lnTo>
                    <a:pt x="22" y="158"/>
                  </a:lnTo>
                  <a:lnTo>
                    <a:pt x="20" y="158"/>
                  </a:lnTo>
                  <a:lnTo>
                    <a:pt x="16" y="158"/>
                  </a:lnTo>
                  <a:lnTo>
                    <a:pt x="12" y="158"/>
                  </a:lnTo>
                  <a:lnTo>
                    <a:pt x="12" y="158"/>
                  </a:lnTo>
                  <a:lnTo>
                    <a:pt x="10" y="158"/>
                  </a:lnTo>
                  <a:lnTo>
                    <a:pt x="8" y="156"/>
                  </a:lnTo>
                  <a:lnTo>
                    <a:pt x="8" y="156"/>
                  </a:lnTo>
                  <a:lnTo>
                    <a:pt x="6" y="156"/>
                  </a:lnTo>
                  <a:lnTo>
                    <a:pt x="6" y="156"/>
                  </a:lnTo>
                  <a:lnTo>
                    <a:pt x="4" y="154"/>
                  </a:lnTo>
                  <a:lnTo>
                    <a:pt x="2" y="150"/>
                  </a:lnTo>
                  <a:lnTo>
                    <a:pt x="0" y="150"/>
                  </a:lnTo>
                  <a:lnTo>
                    <a:pt x="0" y="148"/>
                  </a:lnTo>
                  <a:lnTo>
                    <a:pt x="0" y="148"/>
                  </a:lnTo>
                  <a:lnTo>
                    <a:pt x="0" y="146"/>
                  </a:lnTo>
                  <a:lnTo>
                    <a:pt x="0" y="142"/>
                  </a:lnTo>
                  <a:lnTo>
                    <a:pt x="0" y="140"/>
                  </a:lnTo>
                  <a:lnTo>
                    <a:pt x="0" y="136"/>
                  </a:lnTo>
                  <a:lnTo>
                    <a:pt x="0" y="132"/>
                  </a:lnTo>
                  <a:lnTo>
                    <a:pt x="0" y="120"/>
                  </a:lnTo>
                  <a:lnTo>
                    <a:pt x="0" y="106"/>
                  </a:lnTo>
                  <a:lnTo>
                    <a:pt x="0" y="90"/>
                  </a:lnTo>
                  <a:lnTo>
                    <a:pt x="0" y="74"/>
                  </a:lnTo>
                  <a:lnTo>
                    <a:pt x="2" y="46"/>
                  </a:lnTo>
                  <a:lnTo>
                    <a:pt x="2" y="34"/>
                  </a:lnTo>
                  <a:lnTo>
                    <a:pt x="8" y="30"/>
                  </a:lnTo>
                  <a:lnTo>
                    <a:pt x="14" y="28"/>
                  </a:lnTo>
                  <a:lnTo>
                    <a:pt x="16" y="26"/>
                  </a:lnTo>
                  <a:lnTo>
                    <a:pt x="18" y="26"/>
                  </a:lnTo>
                  <a:lnTo>
                    <a:pt x="18" y="26"/>
                  </a:lnTo>
                  <a:lnTo>
                    <a:pt x="20" y="26"/>
                  </a:lnTo>
                  <a:lnTo>
                    <a:pt x="22" y="26"/>
                  </a:lnTo>
                  <a:lnTo>
                    <a:pt x="22" y="26"/>
                  </a:lnTo>
                  <a:lnTo>
                    <a:pt x="24" y="26"/>
                  </a:lnTo>
                  <a:lnTo>
                    <a:pt x="24" y="24"/>
                  </a:lnTo>
                  <a:lnTo>
                    <a:pt x="26" y="24"/>
                  </a:lnTo>
                  <a:lnTo>
                    <a:pt x="26" y="22"/>
                  </a:lnTo>
                  <a:lnTo>
                    <a:pt x="26" y="22"/>
                  </a:lnTo>
                  <a:lnTo>
                    <a:pt x="26" y="20"/>
                  </a:lnTo>
                  <a:lnTo>
                    <a:pt x="26" y="16"/>
                  </a:lnTo>
                  <a:lnTo>
                    <a:pt x="28" y="12"/>
                  </a:lnTo>
                  <a:lnTo>
                    <a:pt x="28" y="8"/>
                  </a:lnTo>
                  <a:lnTo>
                    <a:pt x="28" y="4"/>
                  </a:lnTo>
                  <a:lnTo>
                    <a:pt x="26" y="2"/>
                  </a:lnTo>
                </a:path>
              </a:pathLst>
            </a:custGeom>
            <a:grp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0" name="Freeform 409">
              <a:extLst>
                <a:ext uri="{FF2B5EF4-FFF2-40B4-BE49-F238E27FC236}">
                  <a16:creationId xmlns:a16="http://schemas.microsoft.com/office/drawing/2014/main" id="{46636283-4EAE-4C78-8169-FF9E25778C7A}"/>
                </a:ext>
              </a:extLst>
            </p:cNvPr>
            <p:cNvSpPr>
              <a:spLocks/>
            </p:cNvSpPr>
            <p:nvPr/>
          </p:nvSpPr>
          <p:spPr bwMode="auto">
            <a:xfrm>
              <a:off x="4501310" y="3665856"/>
              <a:ext cx="384521" cy="457268"/>
            </a:xfrm>
            <a:custGeom>
              <a:avLst/>
              <a:gdLst>
                <a:gd name="T0" fmla="*/ 38 w 222"/>
                <a:gd name="T1" fmla="*/ 10 h 264"/>
                <a:gd name="T2" fmla="*/ 56 w 222"/>
                <a:gd name="T3" fmla="*/ 10 h 264"/>
                <a:gd name="T4" fmla="*/ 76 w 222"/>
                <a:gd name="T5" fmla="*/ 14 h 264"/>
                <a:gd name="T6" fmla="*/ 82 w 222"/>
                <a:gd name="T7" fmla="*/ 18 h 264"/>
                <a:gd name="T8" fmla="*/ 84 w 222"/>
                <a:gd name="T9" fmla="*/ 28 h 264"/>
                <a:gd name="T10" fmla="*/ 94 w 222"/>
                <a:gd name="T11" fmla="*/ 30 h 264"/>
                <a:gd name="T12" fmla="*/ 106 w 222"/>
                <a:gd name="T13" fmla="*/ 30 h 264"/>
                <a:gd name="T14" fmla="*/ 108 w 222"/>
                <a:gd name="T15" fmla="*/ 34 h 264"/>
                <a:gd name="T16" fmla="*/ 110 w 222"/>
                <a:gd name="T17" fmla="*/ 40 h 264"/>
                <a:gd name="T18" fmla="*/ 126 w 222"/>
                <a:gd name="T19" fmla="*/ 44 h 264"/>
                <a:gd name="T20" fmla="*/ 140 w 222"/>
                <a:gd name="T21" fmla="*/ 48 h 264"/>
                <a:gd name="T22" fmla="*/ 144 w 222"/>
                <a:gd name="T23" fmla="*/ 46 h 264"/>
                <a:gd name="T24" fmla="*/ 146 w 222"/>
                <a:gd name="T25" fmla="*/ 36 h 264"/>
                <a:gd name="T26" fmla="*/ 146 w 222"/>
                <a:gd name="T27" fmla="*/ 22 h 264"/>
                <a:gd name="T28" fmla="*/ 152 w 222"/>
                <a:gd name="T29" fmla="*/ 14 h 264"/>
                <a:gd name="T30" fmla="*/ 162 w 222"/>
                <a:gd name="T31" fmla="*/ 2 h 264"/>
                <a:gd name="T32" fmla="*/ 170 w 222"/>
                <a:gd name="T33" fmla="*/ 0 h 264"/>
                <a:gd name="T34" fmla="*/ 180 w 222"/>
                <a:gd name="T35" fmla="*/ 2 h 264"/>
                <a:gd name="T36" fmla="*/ 190 w 222"/>
                <a:gd name="T37" fmla="*/ 12 h 264"/>
                <a:gd name="T38" fmla="*/ 198 w 222"/>
                <a:gd name="T39" fmla="*/ 18 h 264"/>
                <a:gd name="T40" fmla="*/ 212 w 222"/>
                <a:gd name="T41" fmla="*/ 16 h 264"/>
                <a:gd name="T42" fmla="*/ 220 w 222"/>
                <a:gd name="T43" fmla="*/ 20 h 264"/>
                <a:gd name="T44" fmla="*/ 222 w 222"/>
                <a:gd name="T45" fmla="*/ 26 h 264"/>
                <a:gd name="T46" fmla="*/ 220 w 222"/>
                <a:gd name="T47" fmla="*/ 218 h 264"/>
                <a:gd name="T48" fmla="*/ 220 w 222"/>
                <a:gd name="T49" fmla="*/ 234 h 264"/>
                <a:gd name="T50" fmla="*/ 216 w 222"/>
                <a:gd name="T51" fmla="*/ 238 h 264"/>
                <a:gd name="T52" fmla="*/ 208 w 222"/>
                <a:gd name="T53" fmla="*/ 238 h 264"/>
                <a:gd name="T54" fmla="*/ 208 w 222"/>
                <a:gd name="T55" fmla="*/ 250 h 264"/>
                <a:gd name="T56" fmla="*/ 204 w 222"/>
                <a:gd name="T57" fmla="*/ 264 h 264"/>
                <a:gd name="T58" fmla="*/ 192 w 222"/>
                <a:gd name="T59" fmla="*/ 258 h 264"/>
                <a:gd name="T60" fmla="*/ 172 w 222"/>
                <a:gd name="T61" fmla="*/ 242 h 264"/>
                <a:gd name="T62" fmla="*/ 150 w 222"/>
                <a:gd name="T63" fmla="*/ 232 h 264"/>
                <a:gd name="T64" fmla="*/ 144 w 222"/>
                <a:gd name="T65" fmla="*/ 226 h 264"/>
                <a:gd name="T66" fmla="*/ 138 w 222"/>
                <a:gd name="T67" fmla="*/ 216 h 264"/>
                <a:gd name="T68" fmla="*/ 126 w 222"/>
                <a:gd name="T69" fmla="*/ 214 h 264"/>
                <a:gd name="T70" fmla="*/ 112 w 222"/>
                <a:gd name="T71" fmla="*/ 212 h 264"/>
                <a:gd name="T72" fmla="*/ 110 w 222"/>
                <a:gd name="T73" fmla="*/ 204 h 264"/>
                <a:gd name="T74" fmla="*/ 106 w 222"/>
                <a:gd name="T75" fmla="*/ 198 h 264"/>
                <a:gd name="T76" fmla="*/ 96 w 222"/>
                <a:gd name="T77" fmla="*/ 196 h 264"/>
                <a:gd name="T78" fmla="*/ 94 w 222"/>
                <a:gd name="T79" fmla="*/ 190 h 264"/>
                <a:gd name="T80" fmla="*/ 88 w 222"/>
                <a:gd name="T81" fmla="*/ 188 h 264"/>
                <a:gd name="T82" fmla="*/ 70 w 222"/>
                <a:gd name="T83" fmla="*/ 184 h 264"/>
                <a:gd name="T84" fmla="*/ 56 w 222"/>
                <a:gd name="T85" fmla="*/ 184 h 264"/>
                <a:gd name="T86" fmla="*/ 52 w 222"/>
                <a:gd name="T87" fmla="*/ 178 h 264"/>
                <a:gd name="T88" fmla="*/ 48 w 222"/>
                <a:gd name="T89" fmla="*/ 174 h 264"/>
                <a:gd name="T90" fmla="*/ 34 w 222"/>
                <a:gd name="T91" fmla="*/ 176 h 264"/>
                <a:gd name="T92" fmla="*/ 30 w 222"/>
                <a:gd name="T93" fmla="*/ 160 h 264"/>
                <a:gd name="T94" fmla="*/ 22 w 222"/>
                <a:gd name="T95" fmla="*/ 158 h 264"/>
                <a:gd name="T96" fmla="*/ 8 w 222"/>
                <a:gd name="T97" fmla="*/ 156 h 264"/>
                <a:gd name="T98" fmla="*/ 0 w 222"/>
                <a:gd name="T99" fmla="*/ 150 h 264"/>
                <a:gd name="T100" fmla="*/ 0 w 222"/>
                <a:gd name="T101" fmla="*/ 136 h 264"/>
                <a:gd name="T102" fmla="*/ 2 w 222"/>
                <a:gd name="T103" fmla="*/ 46 h 264"/>
                <a:gd name="T104" fmla="*/ 18 w 222"/>
                <a:gd name="T105" fmla="*/ 26 h 264"/>
                <a:gd name="T106" fmla="*/ 26 w 222"/>
                <a:gd name="T107" fmla="*/ 24 h 264"/>
                <a:gd name="T108" fmla="*/ 28 w 222"/>
                <a:gd name="T109" fmla="*/ 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2" h="264">
                  <a:moveTo>
                    <a:pt x="26" y="2"/>
                  </a:moveTo>
                  <a:lnTo>
                    <a:pt x="26" y="2"/>
                  </a:lnTo>
                  <a:lnTo>
                    <a:pt x="32" y="4"/>
                  </a:lnTo>
                  <a:lnTo>
                    <a:pt x="36" y="8"/>
                  </a:lnTo>
                  <a:lnTo>
                    <a:pt x="38" y="8"/>
                  </a:lnTo>
                  <a:lnTo>
                    <a:pt x="38" y="10"/>
                  </a:lnTo>
                  <a:lnTo>
                    <a:pt x="40" y="10"/>
                  </a:lnTo>
                  <a:lnTo>
                    <a:pt x="40" y="10"/>
                  </a:lnTo>
                  <a:lnTo>
                    <a:pt x="44" y="10"/>
                  </a:lnTo>
                  <a:lnTo>
                    <a:pt x="48" y="10"/>
                  </a:lnTo>
                  <a:lnTo>
                    <a:pt x="52" y="10"/>
                  </a:lnTo>
                  <a:lnTo>
                    <a:pt x="56" y="10"/>
                  </a:lnTo>
                  <a:lnTo>
                    <a:pt x="60" y="12"/>
                  </a:lnTo>
                  <a:lnTo>
                    <a:pt x="64" y="12"/>
                  </a:lnTo>
                  <a:lnTo>
                    <a:pt x="70" y="12"/>
                  </a:lnTo>
                  <a:lnTo>
                    <a:pt x="72" y="12"/>
                  </a:lnTo>
                  <a:lnTo>
                    <a:pt x="74" y="12"/>
                  </a:lnTo>
                  <a:lnTo>
                    <a:pt x="76" y="14"/>
                  </a:lnTo>
                  <a:lnTo>
                    <a:pt x="78" y="14"/>
                  </a:lnTo>
                  <a:lnTo>
                    <a:pt x="80" y="14"/>
                  </a:lnTo>
                  <a:lnTo>
                    <a:pt x="80" y="16"/>
                  </a:lnTo>
                  <a:lnTo>
                    <a:pt x="80" y="16"/>
                  </a:lnTo>
                  <a:lnTo>
                    <a:pt x="82" y="16"/>
                  </a:lnTo>
                  <a:lnTo>
                    <a:pt x="82" y="18"/>
                  </a:lnTo>
                  <a:lnTo>
                    <a:pt x="82" y="20"/>
                  </a:lnTo>
                  <a:lnTo>
                    <a:pt x="82" y="22"/>
                  </a:lnTo>
                  <a:lnTo>
                    <a:pt x="84" y="24"/>
                  </a:lnTo>
                  <a:lnTo>
                    <a:pt x="84" y="26"/>
                  </a:lnTo>
                  <a:lnTo>
                    <a:pt x="84" y="26"/>
                  </a:lnTo>
                  <a:lnTo>
                    <a:pt x="84" y="28"/>
                  </a:lnTo>
                  <a:lnTo>
                    <a:pt x="84" y="28"/>
                  </a:lnTo>
                  <a:lnTo>
                    <a:pt x="86" y="28"/>
                  </a:lnTo>
                  <a:lnTo>
                    <a:pt x="86" y="28"/>
                  </a:lnTo>
                  <a:lnTo>
                    <a:pt x="88" y="30"/>
                  </a:lnTo>
                  <a:lnTo>
                    <a:pt x="90" y="30"/>
                  </a:lnTo>
                  <a:lnTo>
                    <a:pt x="94" y="30"/>
                  </a:lnTo>
                  <a:lnTo>
                    <a:pt x="96" y="30"/>
                  </a:lnTo>
                  <a:lnTo>
                    <a:pt x="100" y="30"/>
                  </a:lnTo>
                  <a:lnTo>
                    <a:pt x="102" y="30"/>
                  </a:lnTo>
                  <a:lnTo>
                    <a:pt x="104" y="30"/>
                  </a:lnTo>
                  <a:lnTo>
                    <a:pt x="104" y="30"/>
                  </a:lnTo>
                  <a:lnTo>
                    <a:pt x="106" y="30"/>
                  </a:lnTo>
                  <a:lnTo>
                    <a:pt x="108" y="30"/>
                  </a:lnTo>
                  <a:lnTo>
                    <a:pt x="108" y="32"/>
                  </a:lnTo>
                  <a:lnTo>
                    <a:pt x="108" y="32"/>
                  </a:lnTo>
                  <a:lnTo>
                    <a:pt x="108" y="32"/>
                  </a:lnTo>
                  <a:lnTo>
                    <a:pt x="108" y="32"/>
                  </a:lnTo>
                  <a:lnTo>
                    <a:pt x="108" y="34"/>
                  </a:lnTo>
                  <a:lnTo>
                    <a:pt x="108" y="34"/>
                  </a:lnTo>
                  <a:lnTo>
                    <a:pt x="108" y="38"/>
                  </a:lnTo>
                  <a:lnTo>
                    <a:pt x="108" y="38"/>
                  </a:lnTo>
                  <a:lnTo>
                    <a:pt x="108" y="38"/>
                  </a:lnTo>
                  <a:lnTo>
                    <a:pt x="110" y="40"/>
                  </a:lnTo>
                  <a:lnTo>
                    <a:pt x="110" y="40"/>
                  </a:lnTo>
                  <a:lnTo>
                    <a:pt x="112" y="40"/>
                  </a:lnTo>
                  <a:lnTo>
                    <a:pt x="112" y="40"/>
                  </a:lnTo>
                  <a:lnTo>
                    <a:pt x="116" y="42"/>
                  </a:lnTo>
                  <a:lnTo>
                    <a:pt x="118" y="42"/>
                  </a:lnTo>
                  <a:lnTo>
                    <a:pt x="124" y="42"/>
                  </a:lnTo>
                  <a:lnTo>
                    <a:pt x="126" y="44"/>
                  </a:lnTo>
                  <a:lnTo>
                    <a:pt x="128" y="44"/>
                  </a:lnTo>
                  <a:lnTo>
                    <a:pt x="130" y="44"/>
                  </a:lnTo>
                  <a:lnTo>
                    <a:pt x="132" y="44"/>
                  </a:lnTo>
                  <a:lnTo>
                    <a:pt x="136" y="46"/>
                  </a:lnTo>
                  <a:lnTo>
                    <a:pt x="138" y="48"/>
                  </a:lnTo>
                  <a:lnTo>
                    <a:pt x="140" y="48"/>
                  </a:lnTo>
                  <a:lnTo>
                    <a:pt x="140" y="48"/>
                  </a:lnTo>
                  <a:lnTo>
                    <a:pt x="142" y="48"/>
                  </a:lnTo>
                  <a:lnTo>
                    <a:pt x="142" y="48"/>
                  </a:lnTo>
                  <a:lnTo>
                    <a:pt x="142" y="48"/>
                  </a:lnTo>
                  <a:lnTo>
                    <a:pt x="144" y="46"/>
                  </a:lnTo>
                  <a:lnTo>
                    <a:pt x="144" y="46"/>
                  </a:lnTo>
                  <a:lnTo>
                    <a:pt x="144" y="46"/>
                  </a:lnTo>
                  <a:lnTo>
                    <a:pt x="146" y="42"/>
                  </a:lnTo>
                  <a:lnTo>
                    <a:pt x="146" y="42"/>
                  </a:lnTo>
                  <a:lnTo>
                    <a:pt x="146" y="40"/>
                  </a:lnTo>
                  <a:lnTo>
                    <a:pt x="146" y="40"/>
                  </a:lnTo>
                  <a:lnTo>
                    <a:pt x="146" y="36"/>
                  </a:lnTo>
                  <a:lnTo>
                    <a:pt x="146" y="34"/>
                  </a:lnTo>
                  <a:lnTo>
                    <a:pt x="146" y="30"/>
                  </a:lnTo>
                  <a:lnTo>
                    <a:pt x="146" y="28"/>
                  </a:lnTo>
                  <a:lnTo>
                    <a:pt x="146" y="24"/>
                  </a:lnTo>
                  <a:lnTo>
                    <a:pt x="146" y="22"/>
                  </a:lnTo>
                  <a:lnTo>
                    <a:pt x="146" y="22"/>
                  </a:lnTo>
                  <a:lnTo>
                    <a:pt x="146" y="20"/>
                  </a:lnTo>
                  <a:lnTo>
                    <a:pt x="146" y="20"/>
                  </a:lnTo>
                  <a:lnTo>
                    <a:pt x="148" y="18"/>
                  </a:lnTo>
                  <a:lnTo>
                    <a:pt x="148" y="18"/>
                  </a:lnTo>
                  <a:lnTo>
                    <a:pt x="150" y="16"/>
                  </a:lnTo>
                  <a:lnTo>
                    <a:pt x="152" y="14"/>
                  </a:lnTo>
                  <a:lnTo>
                    <a:pt x="154" y="12"/>
                  </a:lnTo>
                  <a:lnTo>
                    <a:pt x="156" y="10"/>
                  </a:lnTo>
                  <a:lnTo>
                    <a:pt x="158" y="8"/>
                  </a:lnTo>
                  <a:lnTo>
                    <a:pt x="158" y="6"/>
                  </a:lnTo>
                  <a:lnTo>
                    <a:pt x="160" y="4"/>
                  </a:lnTo>
                  <a:lnTo>
                    <a:pt x="162" y="2"/>
                  </a:lnTo>
                  <a:lnTo>
                    <a:pt x="162" y="2"/>
                  </a:lnTo>
                  <a:lnTo>
                    <a:pt x="164" y="0"/>
                  </a:lnTo>
                  <a:lnTo>
                    <a:pt x="164" y="0"/>
                  </a:lnTo>
                  <a:lnTo>
                    <a:pt x="166" y="0"/>
                  </a:lnTo>
                  <a:lnTo>
                    <a:pt x="168" y="0"/>
                  </a:lnTo>
                  <a:lnTo>
                    <a:pt x="170" y="0"/>
                  </a:lnTo>
                  <a:lnTo>
                    <a:pt x="172" y="0"/>
                  </a:lnTo>
                  <a:lnTo>
                    <a:pt x="174" y="0"/>
                  </a:lnTo>
                  <a:lnTo>
                    <a:pt x="176" y="0"/>
                  </a:lnTo>
                  <a:lnTo>
                    <a:pt x="178" y="0"/>
                  </a:lnTo>
                  <a:lnTo>
                    <a:pt x="178" y="0"/>
                  </a:lnTo>
                  <a:lnTo>
                    <a:pt x="180" y="2"/>
                  </a:lnTo>
                  <a:lnTo>
                    <a:pt x="180" y="2"/>
                  </a:lnTo>
                  <a:lnTo>
                    <a:pt x="182" y="4"/>
                  </a:lnTo>
                  <a:lnTo>
                    <a:pt x="184" y="6"/>
                  </a:lnTo>
                  <a:lnTo>
                    <a:pt x="186" y="8"/>
                  </a:lnTo>
                  <a:lnTo>
                    <a:pt x="188" y="10"/>
                  </a:lnTo>
                  <a:lnTo>
                    <a:pt x="190" y="12"/>
                  </a:lnTo>
                  <a:lnTo>
                    <a:pt x="192" y="14"/>
                  </a:lnTo>
                  <a:lnTo>
                    <a:pt x="194" y="16"/>
                  </a:lnTo>
                  <a:lnTo>
                    <a:pt x="194" y="16"/>
                  </a:lnTo>
                  <a:lnTo>
                    <a:pt x="196" y="16"/>
                  </a:lnTo>
                  <a:lnTo>
                    <a:pt x="196" y="18"/>
                  </a:lnTo>
                  <a:lnTo>
                    <a:pt x="198" y="18"/>
                  </a:lnTo>
                  <a:lnTo>
                    <a:pt x="200" y="16"/>
                  </a:lnTo>
                  <a:lnTo>
                    <a:pt x="202" y="16"/>
                  </a:lnTo>
                  <a:lnTo>
                    <a:pt x="206" y="16"/>
                  </a:lnTo>
                  <a:lnTo>
                    <a:pt x="208" y="16"/>
                  </a:lnTo>
                  <a:lnTo>
                    <a:pt x="208" y="16"/>
                  </a:lnTo>
                  <a:lnTo>
                    <a:pt x="212" y="16"/>
                  </a:lnTo>
                  <a:lnTo>
                    <a:pt x="214" y="16"/>
                  </a:lnTo>
                  <a:lnTo>
                    <a:pt x="216" y="18"/>
                  </a:lnTo>
                  <a:lnTo>
                    <a:pt x="218" y="18"/>
                  </a:lnTo>
                  <a:lnTo>
                    <a:pt x="218" y="18"/>
                  </a:lnTo>
                  <a:lnTo>
                    <a:pt x="220" y="20"/>
                  </a:lnTo>
                  <a:lnTo>
                    <a:pt x="220" y="20"/>
                  </a:lnTo>
                  <a:lnTo>
                    <a:pt x="220" y="20"/>
                  </a:lnTo>
                  <a:lnTo>
                    <a:pt x="222" y="22"/>
                  </a:lnTo>
                  <a:lnTo>
                    <a:pt x="222" y="22"/>
                  </a:lnTo>
                  <a:lnTo>
                    <a:pt x="222" y="22"/>
                  </a:lnTo>
                  <a:lnTo>
                    <a:pt x="222" y="24"/>
                  </a:lnTo>
                  <a:lnTo>
                    <a:pt x="222" y="26"/>
                  </a:lnTo>
                  <a:lnTo>
                    <a:pt x="220" y="28"/>
                  </a:lnTo>
                  <a:lnTo>
                    <a:pt x="220" y="34"/>
                  </a:lnTo>
                  <a:lnTo>
                    <a:pt x="220" y="34"/>
                  </a:lnTo>
                  <a:lnTo>
                    <a:pt x="220" y="210"/>
                  </a:lnTo>
                  <a:lnTo>
                    <a:pt x="220" y="214"/>
                  </a:lnTo>
                  <a:lnTo>
                    <a:pt x="220" y="218"/>
                  </a:lnTo>
                  <a:lnTo>
                    <a:pt x="222" y="222"/>
                  </a:lnTo>
                  <a:lnTo>
                    <a:pt x="222" y="226"/>
                  </a:lnTo>
                  <a:lnTo>
                    <a:pt x="222" y="228"/>
                  </a:lnTo>
                  <a:lnTo>
                    <a:pt x="220" y="230"/>
                  </a:lnTo>
                  <a:lnTo>
                    <a:pt x="220" y="232"/>
                  </a:lnTo>
                  <a:lnTo>
                    <a:pt x="220" y="234"/>
                  </a:lnTo>
                  <a:lnTo>
                    <a:pt x="220" y="234"/>
                  </a:lnTo>
                  <a:lnTo>
                    <a:pt x="218" y="236"/>
                  </a:lnTo>
                  <a:lnTo>
                    <a:pt x="218" y="236"/>
                  </a:lnTo>
                  <a:lnTo>
                    <a:pt x="218" y="236"/>
                  </a:lnTo>
                  <a:lnTo>
                    <a:pt x="216" y="238"/>
                  </a:lnTo>
                  <a:lnTo>
                    <a:pt x="216" y="238"/>
                  </a:lnTo>
                  <a:lnTo>
                    <a:pt x="214" y="238"/>
                  </a:lnTo>
                  <a:lnTo>
                    <a:pt x="212" y="238"/>
                  </a:lnTo>
                  <a:lnTo>
                    <a:pt x="210" y="238"/>
                  </a:lnTo>
                  <a:lnTo>
                    <a:pt x="210" y="238"/>
                  </a:lnTo>
                  <a:lnTo>
                    <a:pt x="210" y="238"/>
                  </a:lnTo>
                  <a:lnTo>
                    <a:pt x="208" y="238"/>
                  </a:lnTo>
                  <a:lnTo>
                    <a:pt x="208" y="240"/>
                  </a:lnTo>
                  <a:lnTo>
                    <a:pt x="208" y="242"/>
                  </a:lnTo>
                  <a:lnTo>
                    <a:pt x="208" y="244"/>
                  </a:lnTo>
                  <a:lnTo>
                    <a:pt x="208" y="244"/>
                  </a:lnTo>
                  <a:lnTo>
                    <a:pt x="208" y="248"/>
                  </a:lnTo>
                  <a:lnTo>
                    <a:pt x="208" y="250"/>
                  </a:lnTo>
                  <a:lnTo>
                    <a:pt x="208" y="254"/>
                  </a:lnTo>
                  <a:lnTo>
                    <a:pt x="210" y="258"/>
                  </a:lnTo>
                  <a:lnTo>
                    <a:pt x="210" y="262"/>
                  </a:lnTo>
                  <a:lnTo>
                    <a:pt x="212" y="264"/>
                  </a:lnTo>
                  <a:lnTo>
                    <a:pt x="208" y="264"/>
                  </a:lnTo>
                  <a:lnTo>
                    <a:pt x="204" y="264"/>
                  </a:lnTo>
                  <a:lnTo>
                    <a:pt x="202" y="264"/>
                  </a:lnTo>
                  <a:lnTo>
                    <a:pt x="202" y="264"/>
                  </a:lnTo>
                  <a:lnTo>
                    <a:pt x="200" y="264"/>
                  </a:lnTo>
                  <a:lnTo>
                    <a:pt x="198" y="262"/>
                  </a:lnTo>
                  <a:lnTo>
                    <a:pt x="196" y="260"/>
                  </a:lnTo>
                  <a:lnTo>
                    <a:pt x="192" y="258"/>
                  </a:lnTo>
                  <a:lnTo>
                    <a:pt x="190" y="254"/>
                  </a:lnTo>
                  <a:lnTo>
                    <a:pt x="182" y="250"/>
                  </a:lnTo>
                  <a:lnTo>
                    <a:pt x="180" y="246"/>
                  </a:lnTo>
                  <a:lnTo>
                    <a:pt x="178" y="244"/>
                  </a:lnTo>
                  <a:lnTo>
                    <a:pt x="176" y="244"/>
                  </a:lnTo>
                  <a:lnTo>
                    <a:pt x="172" y="242"/>
                  </a:lnTo>
                  <a:lnTo>
                    <a:pt x="168" y="240"/>
                  </a:lnTo>
                  <a:lnTo>
                    <a:pt x="164" y="238"/>
                  </a:lnTo>
                  <a:lnTo>
                    <a:pt x="162" y="238"/>
                  </a:lnTo>
                  <a:lnTo>
                    <a:pt x="156" y="234"/>
                  </a:lnTo>
                  <a:lnTo>
                    <a:pt x="152" y="232"/>
                  </a:lnTo>
                  <a:lnTo>
                    <a:pt x="150" y="232"/>
                  </a:lnTo>
                  <a:lnTo>
                    <a:pt x="148" y="230"/>
                  </a:lnTo>
                  <a:lnTo>
                    <a:pt x="146" y="230"/>
                  </a:lnTo>
                  <a:lnTo>
                    <a:pt x="146" y="228"/>
                  </a:lnTo>
                  <a:lnTo>
                    <a:pt x="144" y="228"/>
                  </a:lnTo>
                  <a:lnTo>
                    <a:pt x="144" y="228"/>
                  </a:lnTo>
                  <a:lnTo>
                    <a:pt x="144" y="226"/>
                  </a:lnTo>
                  <a:lnTo>
                    <a:pt x="142" y="222"/>
                  </a:lnTo>
                  <a:lnTo>
                    <a:pt x="140" y="220"/>
                  </a:lnTo>
                  <a:lnTo>
                    <a:pt x="140" y="218"/>
                  </a:lnTo>
                  <a:lnTo>
                    <a:pt x="138" y="216"/>
                  </a:lnTo>
                  <a:lnTo>
                    <a:pt x="138" y="216"/>
                  </a:lnTo>
                  <a:lnTo>
                    <a:pt x="138" y="216"/>
                  </a:lnTo>
                  <a:lnTo>
                    <a:pt x="136" y="214"/>
                  </a:lnTo>
                  <a:lnTo>
                    <a:pt x="136" y="214"/>
                  </a:lnTo>
                  <a:lnTo>
                    <a:pt x="134" y="214"/>
                  </a:lnTo>
                  <a:lnTo>
                    <a:pt x="132" y="214"/>
                  </a:lnTo>
                  <a:lnTo>
                    <a:pt x="128" y="214"/>
                  </a:lnTo>
                  <a:lnTo>
                    <a:pt x="126" y="214"/>
                  </a:lnTo>
                  <a:lnTo>
                    <a:pt x="122" y="214"/>
                  </a:lnTo>
                  <a:lnTo>
                    <a:pt x="118" y="214"/>
                  </a:lnTo>
                  <a:lnTo>
                    <a:pt x="116" y="214"/>
                  </a:lnTo>
                  <a:lnTo>
                    <a:pt x="114" y="212"/>
                  </a:lnTo>
                  <a:lnTo>
                    <a:pt x="114" y="212"/>
                  </a:lnTo>
                  <a:lnTo>
                    <a:pt x="112" y="212"/>
                  </a:lnTo>
                  <a:lnTo>
                    <a:pt x="112" y="212"/>
                  </a:lnTo>
                  <a:lnTo>
                    <a:pt x="112" y="210"/>
                  </a:lnTo>
                  <a:lnTo>
                    <a:pt x="112" y="210"/>
                  </a:lnTo>
                  <a:lnTo>
                    <a:pt x="110" y="208"/>
                  </a:lnTo>
                  <a:lnTo>
                    <a:pt x="110" y="206"/>
                  </a:lnTo>
                  <a:lnTo>
                    <a:pt x="110" y="204"/>
                  </a:lnTo>
                  <a:lnTo>
                    <a:pt x="108" y="202"/>
                  </a:lnTo>
                  <a:lnTo>
                    <a:pt x="108" y="200"/>
                  </a:lnTo>
                  <a:lnTo>
                    <a:pt x="108" y="200"/>
                  </a:lnTo>
                  <a:lnTo>
                    <a:pt x="108" y="198"/>
                  </a:lnTo>
                  <a:lnTo>
                    <a:pt x="108" y="198"/>
                  </a:lnTo>
                  <a:lnTo>
                    <a:pt x="106" y="198"/>
                  </a:lnTo>
                  <a:lnTo>
                    <a:pt x="104" y="198"/>
                  </a:lnTo>
                  <a:lnTo>
                    <a:pt x="102" y="198"/>
                  </a:lnTo>
                  <a:lnTo>
                    <a:pt x="102" y="196"/>
                  </a:lnTo>
                  <a:lnTo>
                    <a:pt x="100" y="196"/>
                  </a:lnTo>
                  <a:lnTo>
                    <a:pt x="98" y="196"/>
                  </a:lnTo>
                  <a:lnTo>
                    <a:pt x="96" y="196"/>
                  </a:lnTo>
                  <a:lnTo>
                    <a:pt x="96" y="196"/>
                  </a:lnTo>
                  <a:lnTo>
                    <a:pt x="96" y="194"/>
                  </a:lnTo>
                  <a:lnTo>
                    <a:pt x="94" y="194"/>
                  </a:lnTo>
                  <a:lnTo>
                    <a:pt x="94" y="194"/>
                  </a:lnTo>
                  <a:lnTo>
                    <a:pt x="94" y="192"/>
                  </a:lnTo>
                  <a:lnTo>
                    <a:pt x="94" y="190"/>
                  </a:lnTo>
                  <a:lnTo>
                    <a:pt x="94" y="190"/>
                  </a:lnTo>
                  <a:lnTo>
                    <a:pt x="94" y="188"/>
                  </a:lnTo>
                  <a:lnTo>
                    <a:pt x="94" y="188"/>
                  </a:lnTo>
                  <a:lnTo>
                    <a:pt x="92" y="188"/>
                  </a:lnTo>
                  <a:lnTo>
                    <a:pt x="90" y="188"/>
                  </a:lnTo>
                  <a:lnTo>
                    <a:pt x="88" y="188"/>
                  </a:lnTo>
                  <a:lnTo>
                    <a:pt x="86" y="188"/>
                  </a:lnTo>
                  <a:lnTo>
                    <a:pt x="82" y="188"/>
                  </a:lnTo>
                  <a:lnTo>
                    <a:pt x="80" y="188"/>
                  </a:lnTo>
                  <a:lnTo>
                    <a:pt x="76" y="186"/>
                  </a:lnTo>
                  <a:lnTo>
                    <a:pt x="74" y="184"/>
                  </a:lnTo>
                  <a:lnTo>
                    <a:pt x="70" y="184"/>
                  </a:lnTo>
                  <a:lnTo>
                    <a:pt x="70" y="184"/>
                  </a:lnTo>
                  <a:lnTo>
                    <a:pt x="66" y="184"/>
                  </a:lnTo>
                  <a:lnTo>
                    <a:pt x="62" y="184"/>
                  </a:lnTo>
                  <a:lnTo>
                    <a:pt x="60" y="184"/>
                  </a:lnTo>
                  <a:lnTo>
                    <a:pt x="58" y="184"/>
                  </a:lnTo>
                  <a:lnTo>
                    <a:pt x="56" y="184"/>
                  </a:lnTo>
                  <a:lnTo>
                    <a:pt x="56" y="184"/>
                  </a:lnTo>
                  <a:lnTo>
                    <a:pt x="54" y="182"/>
                  </a:lnTo>
                  <a:lnTo>
                    <a:pt x="54" y="182"/>
                  </a:lnTo>
                  <a:lnTo>
                    <a:pt x="54" y="182"/>
                  </a:lnTo>
                  <a:lnTo>
                    <a:pt x="54" y="180"/>
                  </a:lnTo>
                  <a:lnTo>
                    <a:pt x="52" y="178"/>
                  </a:lnTo>
                  <a:lnTo>
                    <a:pt x="52" y="176"/>
                  </a:lnTo>
                  <a:lnTo>
                    <a:pt x="52" y="176"/>
                  </a:lnTo>
                  <a:lnTo>
                    <a:pt x="52" y="176"/>
                  </a:lnTo>
                  <a:lnTo>
                    <a:pt x="52" y="174"/>
                  </a:lnTo>
                  <a:lnTo>
                    <a:pt x="50" y="174"/>
                  </a:lnTo>
                  <a:lnTo>
                    <a:pt x="48" y="174"/>
                  </a:lnTo>
                  <a:lnTo>
                    <a:pt x="48" y="174"/>
                  </a:lnTo>
                  <a:lnTo>
                    <a:pt x="44" y="174"/>
                  </a:lnTo>
                  <a:lnTo>
                    <a:pt x="42" y="174"/>
                  </a:lnTo>
                  <a:lnTo>
                    <a:pt x="38" y="174"/>
                  </a:lnTo>
                  <a:lnTo>
                    <a:pt x="36" y="174"/>
                  </a:lnTo>
                  <a:lnTo>
                    <a:pt x="34" y="176"/>
                  </a:lnTo>
                  <a:lnTo>
                    <a:pt x="34" y="174"/>
                  </a:lnTo>
                  <a:lnTo>
                    <a:pt x="32" y="168"/>
                  </a:lnTo>
                  <a:lnTo>
                    <a:pt x="32" y="166"/>
                  </a:lnTo>
                  <a:lnTo>
                    <a:pt x="32" y="164"/>
                  </a:lnTo>
                  <a:lnTo>
                    <a:pt x="32" y="162"/>
                  </a:lnTo>
                  <a:lnTo>
                    <a:pt x="30" y="160"/>
                  </a:lnTo>
                  <a:lnTo>
                    <a:pt x="30" y="160"/>
                  </a:lnTo>
                  <a:lnTo>
                    <a:pt x="30" y="160"/>
                  </a:lnTo>
                  <a:lnTo>
                    <a:pt x="28" y="160"/>
                  </a:lnTo>
                  <a:lnTo>
                    <a:pt x="28" y="158"/>
                  </a:lnTo>
                  <a:lnTo>
                    <a:pt x="26" y="158"/>
                  </a:lnTo>
                  <a:lnTo>
                    <a:pt x="22" y="158"/>
                  </a:lnTo>
                  <a:lnTo>
                    <a:pt x="20" y="158"/>
                  </a:lnTo>
                  <a:lnTo>
                    <a:pt x="16" y="158"/>
                  </a:lnTo>
                  <a:lnTo>
                    <a:pt x="12" y="158"/>
                  </a:lnTo>
                  <a:lnTo>
                    <a:pt x="12" y="158"/>
                  </a:lnTo>
                  <a:lnTo>
                    <a:pt x="10" y="158"/>
                  </a:lnTo>
                  <a:lnTo>
                    <a:pt x="8" y="156"/>
                  </a:lnTo>
                  <a:lnTo>
                    <a:pt x="8" y="156"/>
                  </a:lnTo>
                  <a:lnTo>
                    <a:pt x="6" y="156"/>
                  </a:lnTo>
                  <a:lnTo>
                    <a:pt x="6" y="156"/>
                  </a:lnTo>
                  <a:lnTo>
                    <a:pt x="4" y="154"/>
                  </a:lnTo>
                  <a:lnTo>
                    <a:pt x="2" y="150"/>
                  </a:lnTo>
                  <a:lnTo>
                    <a:pt x="0" y="150"/>
                  </a:lnTo>
                  <a:lnTo>
                    <a:pt x="0" y="148"/>
                  </a:lnTo>
                  <a:lnTo>
                    <a:pt x="0" y="148"/>
                  </a:lnTo>
                  <a:lnTo>
                    <a:pt x="0" y="146"/>
                  </a:lnTo>
                  <a:lnTo>
                    <a:pt x="0" y="142"/>
                  </a:lnTo>
                  <a:lnTo>
                    <a:pt x="0" y="140"/>
                  </a:lnTo>
                  <a:lnTo>
                    <a:pt x="0" y="136"/>
                  </a:lnTo>
                  <a:lnTo>
                    <a:pt x="0" y="132"/>
                  </a:lnTo>
                  <a:lnTo>
                    <a:pt x="0" y="120"/>
                  </a:lnTo>
                  <a:lnTo>
                    <a:pt x="0" y="106"/>
                  </a:lnTo>
                  <a:lnTo>
                    <a:pt x="0" y="90"/>
                  </a:lnTo>
                  <a:lnTo>
                    <a:pt x="0" y="74"/>
                  </a:lnTo>
                  <a:lnTo>
                    <a:pt x="2" y="46"/>
                  </a:lnTo>
                  <a:lnTo>
                    <a:pt x="2" y="34"/>
                  </a:lnTo>
                  <a:lnTo>
                    <a:pt x="8" y="30"/>
                  </a:lnTo>
                  <a:lnTo>
                    <a:pt x="14" y="28"/>
                  </a:lnTo>
                  <a:lnTo>
                    <a:pt x="16" y="26"/>
                  </a:lnTo>
                  <a:lnTo>
                    <a:pt x="18" y="26"/>
                  </a:lnTo>
                  <a:lnTo>
                    <a:pt x="18" y="26"/>
                  </a:lnTo>
                  <a:lnTo>
                    <a:pt x="20" y="26"/>
                  </a:lnTo>
                  <a:lnTo>
                    <a:pt x="22" y="26"/>
                  </a:lnTo>
                  <a:lnTo>
                    <a:pt x="22" y="26"/>
                  </a:lnTo>
                  <a:lnTo>
                    <a:pt x="24" y="26"/>
                  </a:lnTo>
                  <a:lnTo>
                    <a:pt x="24" y="24"/>
                  </a:lnTo>
                  <a:lnTo>
                    <a:pt x="26" y="24"/>
                  </a:lnTo>
                  <a:lnTo>
                    <a:pt x="26" y="22"/>
                  </a:lnTo>
                  <a:lnTo>
                    <a:pt x="26" y="22"/>
                  </a:lnTo>
                  <a:lnTo>
                    <a:pt x="26" y="20"/>
                  </a:lnTo>
                  <a:lnTo>
                    <a:pt x="26" y="16"/>
                  </a:lnTo>
                  <a:lnTo>
                    <a:pt x="28" y="12"/>
                  </a:lnTo>
                  <a:lnTo>
                    <a:pt x="28" y="8"/>
                  </a:lnTo>
                  <a:lnTo>
                    <a:pt x="28" y="4"/>
                  </a:lnTo>
                  <a:lnTo>
                    <a:pt x="26" y="2"/>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1" name="Freeform 410">
              <a:extLst>
                <a:ext uri="{FF2B5EF4-FFF2-40B4-BE49-F238E27FC236}">
                  <a16:creationId xmlns:a16="http://schemas.microsoft.com/office/drawing/2014/main" id="{5E17E745-7A91-46D5-8B52-26D6EBFB8D58}"/>
                </a:ext>
              </a:extLst>
            </p:cNvPr>
            <p:cNvSpPr>
              <a:spLocks/>
            </p:cNvSpPr>
            <p:nvPr/>
          </p:nvSpPr>
          <p:spPr bwMode="auto">
            <a:xfrm>
              <a:off x="4806155" y="3988022"/>
              <a:ext cx="381057" cy="557728"/>
            </a:xfrm>
            <a:custGeom>
              <a:avLst/>
              <a:gdLst>
                <a:gd name="T0" fmla="*/ 38 w 220"/>
                <a:gd name="T1" fmla="*/ 112 h 322"/>
                <a:gd name="T2" fmla="*/ 32 w 220"/>
                <a:gd name="T3" fmla="*/ 122 h 322"/>
                <a:gd name="T4" fmla="*/ 20 w 220"/>
                <a:gd name="T5" fmla="*/ 132 h 322"/>
                <a:gd name="T6" fmla="*/ 14 w 220"/>
                <a:gd name="T7" fmla="*/ 156 h 322"/>
                <a:gd name="T8" fmla="*/ 4 w 220"/>
                <a:gd name="T9" fmla="*/ 156 h 322"/>
                <a:gd name="T10" fmla="*/ 0 w 220"/>
                <a:gd name="T11" fmla="*/ 164 h 322"/>
                <a:gd name="T12" fmla="*/ 8 w 220"/>
                <a:gd name="T13" fmla="*/ 170 h 322"/>
                <a:gd name="T14" fmla="*/ 12 w 220"/>
                <a:gd name="T15" fmla="*/ 178 h 322"/>
                <a:gd name="T16" fmla="*/ 20 w 220"/>
                <a:gd name="T17" fmla="*/ 184 h 322"/>
                <a:gd name="T18" fmla="*/ 18 w 220"/>
                <a:gd name="T19" fmla="*/ 194 h 322"/>
                <a:gd name="T20" fmla="*/ 22 w 220"/>
                <a:gd name="T21" fmla="*/ 206 h 322"/>
                <a:gd name="T22" fmla="*/ 32 w 220"/>
                <a:gd name="T23" fmla="*/ 224 h 322"/>
                <a:gd name="T24" fmla="*/ 32 w 220"/>
                <a:gd name="T25" fmla="*/ 236 h 322"/>
                <a:gd name="T26" fmla="*/ 36 w 220"/>
                <a:gd name="T27" fmla="*/ 244 h 322"/>
                <a:gd name="T28" fmla="*/ 44 w 220"/>
                <a:gd name="T29" fmla="*/ 244 h 322"/>
                <a:gd name="T30" fmla="*/ 50 w 220"/>
                <a:gd name="T31" fmla="*/ 250 h 322"/>
                <a:gd name="T32" fmla="*/ 52 w 220"/>
                <a:gd name="T33" fmla="*/ 260 h 322"/>
                <a:gd name="T34" fmla="*/ 64 w 220"/>
                <a:gd name="T35" fmla="*/ 262 h 322"/>
                <a:gd name="T36" fmla="*/ 66 w 220"/>
                <a:gd name="T37" fmla="*/ 276 h 322"/>
                <a:gd name="T38" fmla="*/ 76 w 220"/>
                <a:gd name="T39" fmla="*/ 280 h 322"/>
                <a:gd name="T40" fmla="*/ 82 w 220"/>
                <a:gd name="T41" fmla="*/ 292 h 322"/>
                <a:gd name="T42" fmla="*/ 82 w 220"/>
                <a:gd name="T43" fmla="*/ 302 h 322"/>
                <a:gd name="T44" fmla="*/ 94 w 220"/>
                <a:gd name="T45" fmla="*/ 308 h 322"/>
                <a:gd name="T46" fmla="*/ 118 w 220"/>
                <a:gd name="T47" fmla="*/ 308 h 322"/>
                <a:gd name="T48" fmla="*/ 128 w 220"/>
                <a:gd name="T49" fmla="*/ 316 h 322"/>
                <a:gd name="T50" fmla="*/ 148 w 220"/>
                <a:gd name="T51" fmla="*/ 320 h 322"/>
                <a:gd name="T52" fmla="*/ 180 w 220"/>
                <a:gd name="T53" fmla="*/ 316 h 322"/>
                <a:gd name="T54" fmla="*/ 198 w 220"/>
                <a:gd name="T55" fmla="*/ 286 h 322"/>
                <a:gd name="T56" fmla="*/ 182 w 220"/>
                <a:gd name="T57" fmla="*/ 272 h 322"/>
                <a:gd name="T58" fmla="*/ 182 w 220"/>
                <a:gd name="T59" fmla="*/ 260 h 322"/>
                <a:gd name="T60" fmla="*/ 172 w 220"/>
                <a:gd name="T61" fmla="*/ 256 h 322"/>
                <a:gd name="T62" fmla="*/ 164 w 220"/>
                <a:gd name="T63" fmla="*/ 244 h 322"/>
                <a:gd name="T64" fmla="*/ 176 w 220"/>
                <a:gd name="T65" fmla="*/ 242 h 322"/>
                <a:gd name="T66" fmla="*/ 182 w 220"/>
                <a:gd name="T67" fmla="*/ 236 h 322"/>
                <a:gd name="T68" fmla="*/ 184 w 220"/>
                <a:gd name="T69" fmla="*/ 210 h 322"/>
                <a:gd name="T70" fmla="*/ 192 w 220"/>
                <a:gd name="T71" fmla="*/ 210 h 322"/>
                <a:gd name="T72" fmla="*/ 198 w 220"/>
                <a:gd name="T73" fmla="*/ 206 h 322"/>
                <a:gd name="T74" fmla="*/ 196 w 220"/>
                <a:gd name="T75" fmla="*/ 180 h 322"/>
                <a:gd name="T76" fmla="*/ 204 w 220"/>
                <a:gd name="T77" fmla="*/ 174 h 322"/>
                <a:gd name="T78" fmla="*/ 218 w 220"/>
                <a:gd name="T79" fmla="*/ 168 h 322"/>
                <a:gd name="T80" fmla="*/ 220 w 220"/>
                <a:gd name="T81" fmla="*/ 144 h 322"/>
                <a:gd name="T82" fmla="*/ 212 w 220"/>
                <a:gd name="T83" fmla="*/ 132 h 322"/>
                <a:gd name="T84" fmla="*/ 204 w 220"/>
                <a:gd name="T85" fmla="*/ 126 h 322"/>
                <a:gd name="T86" fmla="*/ 208 w 220"/>
                <a:gd name="T87" fmla="*/ 118 h 322"/>
                <a:gd name="T88" fmla="*/ 218 w 220"/>
                <a:gd name="T89" fmla="*/ 120 h 322"/>
                <a:gd name="T90" fmla="*/ 216 w 220"/>
                <a:gd name="T91" fmla="*/ 106 h 322"/>
                <a:gd name="T92" fmla="*/ 210 w 220"/>
                <a:gd name="T93" fmla="*/ 78 h 322"/>
                <a:gd name="T94" fmla="*/ 220 w 220"/>
                <a:gd name="T95" fmla="*/ 46 h 322"/>
                <a:gd name="T96" fmla="*/ 212 w 220"/>
                <a:gd name="T97" fmla="*/ 16 h 322"/>
                <a:gd name="T98" fmla="*/ 190 w 220"/>
                <a:gd name="T99" fmla="*/ 2 h 322"/>
                <a:gd name="T100" fmla="*/ 168 w 220"/>
                <a:gd name="T101" fmla="*/ 20 h 322"/>
                <a:gd name="T102" fmla="*/ 160 w 220"/>
                <a:gd name="T103" fmla="*/ 12 h 322"/>
                <a:gd name="T104" fmla="*/ 118 w 220"/>
                <a:gd name="T105" fmla="*/ 6 h 322"/>
                <a:gd name="T106" fmla="*/ 64 w 220"/>
                <a:gd name="T107" fmla="*/ 12 h 322"/>
                <a:gd name="T108" fmla="*/ 46 w 220"/>
                <a:gd name="T109" fmla="*/ 32 h 322"/>
                <a:gd name="T110" fmla="*/ 42 w 220"/>
                <a:gd name="T111" fmla="*/ 50 h 322"/>
                <a:gd name="T112" fmla="*/ 32 w 220"/>
                <a:gd name="T113" fmla="*/ 52 h 322"/>
                <a:gd name="T114" fmla="*/ 34 w 220"/>
                <a:gd name="T115" fmla="*/ 7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0" h="322">
                  <a:moveTo>
                    <a:pt x="36" y="78"/>
                  </a:moveTo>
                  <a:lnTo>
                    <a:pt x="36" y="78"/>
                  </a:lnTo>
                  <a:lnTo>
                    <a:pt x="36" y="84"/>
                  </a:lnTo>
                  <a:lnTo>
                    <a:pt x="36" y="90"/>
                  </a:lnTo>
                  <a:lnTo>
                    <a:pt x="38" y="98"/>
                  </a:lnTo>
                  <a:lnTo>
                    <a:pt x="38" y="100"/>
                  </a:lnTo>
                  <a:lnTo>
                    <a:pt x="38" y="104"/>
                  </a:lnTo>
                  <a:lnTo>
                    <a:pt x="38" y="108"/>
                  </a:lnTo>
                  <a:lnTo>
                    <a:pt x="38" y="112"/>
                  </a:lnTo>
                  <a:lnTo>
                    <a:pt x="36" y="114"/>
                  </a:lnTo>
                  <a:lnTo>
                    <a:pt x="36" y="118"/>
                  </a:lnTo>
                  <a:lnTo>
                    <a:pt x="36" y="118"/>
                  </a:lnTo>
                  <a:lnTo>
                    <a:pt x="36" y="120"/>
                  </a:lnTo>
                  <a:lnTo>
                    <a:pt x="34" y="120"/>
                  </a:lnTo>
                  <a:lnTo>
                    <a:pt x="34" y="122"/>
                  </a:lnTo>
                  <a:lnTo>
                    <a:pt x="34" y="122"/>
                  </a:lnTo>
                  <a:lnTo>
                    <a:pt x="34" y="122"/>
                  </a:lnTo>
                  <a:lnTo>
                    <a:pt x="32" y="122"/>
                  </a:lnTo>
                  <a:lnTo>
                    <a:pt x="32" y="124"/>
                  </a:lnTo>
                  <a:lnTo>
                    <a:pt x="30" y="124"/>
                  </a:lnTo>
                  <a:lnTo>
                    <a:pt x="26" y="124"/>
                  </a:lnTo>
                  <a:lnTo>
                    <a:pt x="26" y="124"/>
                  </a:lnTo>
                  <a:lnTo>
                    <a:pt x="24" y="124"/>
                  </a:lnTo>
                  <a:lnTo>
                    <a:pt x="24" y="126"/>
                  </a:lnTo>
                  <a:lnTo>
                    <a:pt x="22" y="128"/>
                  </a:lnTo>
                  <a:lnTo>
                    <a:pt x="20" y="130"/>
                  </a:lnTo>
                  <a:lnTo>
                    <a:pt x="20" y="132"/>
                  </a:lnTo>
                  <a:lnTo>
                    <a:pt x="18" y="138"/>
                  </a:lnTo>
                  <a:lnTo>
                    <a:pt x="16" y="142"/>
                  </a:lnTo>
                  <a:lnTo>
                    <a:pt x="16" y="142"/>
                  </a:lnTo>
                  <a:lnTo>
                    <a:pt x="16" y="144"/>
                  </a:lnTo>
                  <a:lnTo>
                    <a:pt x="14" y="150"/>
                  </a:lnTo>
                  <a:lnTo>
                    <a:pt x="14" y="152"/>
                  </a:lnTo>
                  <a:lnTo>
                    <a:pt x="14" y="154"/>
                  </a:lnTo>
                  <a:lnTo>
                    <a:pt x="14" y="154"/>
                  </a:lnTo>
                  <a:lnTo>
                    <a:pt x="14" y="156"/>
                  </a:lnTo>
                  <a:lnTo>
                    <a:pt x="12" y="156"/>
                  </a:lnTo>
                  <a:lnTo>
                    <a:pt x="12" y="156"/>
                  </a:lnTo>
                  <a:lnTo>
                    <a:pt x="12" y="156"/>
                  </a:lnTo>
                  <a:lnTo>
                    <a:pt x="12" y="156"/>
                  </a:lnTo>
                  <a:lnTo>
                    <a:pt x="10" y="156"/>
                  </a:lnTo>
                  <a:lnTo>
                    <a:pt x="8" y="156"/>
                  </a:lnTo>
                  <a:lnTo>
                    <a:pt x="6" y="156"/>
                  </a:lnTo>
                  <a:lnTo>
                    <a:pt x="6" y="156"/>
                  </a:lnTo>
                  <a:lnTo>
                    <a:pt x="4" y="156"/>
                  </a:lnTo>
                  <a:lnTo>
                    <a:pt x="2" y="156"/>
                  </a:lnTo>
                  <a:lnTo>
                    <a:pt x="2" y="156"/>
                  </a:lnTo>
                  <a:lnTo>
                    <a:pt x="2" y="156"/>
                  </a:lnTo>
                  <a:lnTo>
                    <a:pt x="0" y="158"/>
                  </a:lnTo>
                  <a:lnTo>
                    <a:pt x="0" y="158"/>
                  </a:lnTo>
                  <a:lnTo>
                    <a:pt x="0" y="160"/>
                  </a:lnTo>
                  <a:lnTo>
                    <a:pt x="0" y="162"/>
                  </a:lnTo>
                  <a:lnTo>
                    <a:pt x="0" y="162"/>
                  </a:lnTo>
                  <a:lnTo>
                    <a:pt x="0" y="164"/>
                  </a:lnTo>
                  <a:lnTo>
                    <a:pt x="0" y="166"/>
                  </a:lnTo>
                  <a:lnTo>
                    <a:pt x="0" y="166"/>
                  </a:lnTo>
                  <a:lnTo>
                    <a:pt x="0" y="166"/>
                  </a:lnTo>
                  <a:lnTo>
                    <a:pt x="2" y="168"/>
                  </a:lnTo>
                  <a:lnTo>
                    <a:pt x="2" y="168"/>
                  </a:lnTo>
                  <a:lnTo>
                    <a:pt x="4" y="168"/>
                  </a:lnTo>
                  <a:lnTo>
                    <a:pt x="6" y="168"/>
                  </a:lnTo>
                  <a:lnTo>
                    <a:pt x="8" y="170"/>
                  </a:lnTo>
                  <a:lnTo>
                    <a:pt x="8" y="170"/>
                  </a:lnTo>
                  <a:lnTo>
                    <a:pt x="10" y="170"/>
                  </a:lnTo>
                  <a:lnTo>
                    <a:pt x="10" y="170"/>
                  </a:lnTo>
                  <a:lnTo>
                    <a:pt x="10" y="170"/>
                  </a:lnTo>
                  <a:lnTo>
                    <a:pt x="12" y="172"/>
                  </a:lnTo>
                  <a:lnTo>
                    <a:pt x="12" y="172"/>
                  </a:lnTo>
                  <a:lnTo>
                    <a:pt x="12" y="174"/>
                  </a:lnTo>
                  <a:lnTo>
                    <a:pt x="12" y="174"/>
                  </a:lnTo>
                  <a:lnTo>
                    <a:pt x="12" y="176"/>
                  </a:lnTo>
                  <a:lnTo>
                    <a:pt x="12" y="178"/>
                  </a:lnTo>
                  <a:lnTo>
                    <a:pt x="12" y="180"/>
                  </a:lnTo>
                  <a:lnTo>
                    <a:pt x="14" y="182"/>
                  </a:lnTo>
                  <a:lnTo>
                    <a:pt x="14" y="182"/>
                  </a:lnTo>
                  <a:lnTo>
                    <a:pt x="14" y="182"/>
                  </a:lnTo>
                  <a:lnTo>
                    <a:pt x="14" y="182"/>
                  </a:lnTo>
                  <a:lnTo>
                    <a:pt x="14" y="184"/>
                  </a:lnTo>
                  <a:lnTo>
                    <a:pt x="16" y="184"/>
                  </a:lnTo>
                  <a:lnTo>
                    <a:pt x="18" y="184"/>
                  </a:lnTo>
                  <a:lnTo>
                    <a:pt x="20" y="184"/>
                  </a:lnTo>
                  <a:lnTo>
                    <a:pt x="20" y="186"/>
                  </a:lnTo>
                  <a:lnTo>
                    <a:pt x="20" y="186"/>
                  </a:lnTo>
                  <a:lnTo>
                    <a:pt x="20" y="186"/>
                  </a:lnTo>
                  <a:lnTo>
                    <a:pt x="20" y="188"/>
                  </a:lnTo>
                  <a:lnTo>
                    <a:pt x="20" y="190"/>
                  </a:lnTo>
                  <a:lnTo>
                    <a:pt x="20" y="192"/>
                  </a:lnTo>
                  <a:lnTo>
                    <a:pt x="20" y="192"/>
                  </a:lnTo>
                  <a:lnTo>
                    <a:pt x="20" y="194"/>
                  </a:lnTo>
                  <a:lnTo>
                    <a:pt x="18" y="194"/>
                  </a:lnTo>
                  <a:lnTo>
                    <a:pt x="18" y="196"/>
                  </a:lnTo>
                  <a:lnTo>
                    <a:pt x="18" y="196"/>
                  </a:lnTo>
                  <a:lnTo>
                    <a:pt x="18" y="198"/>
                  </a:lnTo>
                  <a:lnTo>
                    <a:pt x="18" y="198"/>
                  </a:lnTo>
                  <a:lnTo>
                    <a:pt x="18" y="198"/>
                  </a:lnTo>
                  <a:lnTo>
                    <a:pt x="18" y="200"/>
                  </a:lnTo>
                  <a:lnTo>
                    <a:pt x="20" y="202"/>
                  </a:lnTo>
                  <a:lnTo>
                    <a:pt x="20" y="202"/>
                  </a:lnTo>
                  <a:lnTo>
                    <a:pt x="22" y="206"/>
                  </a:lnTo>
                  <a:lnTo>
                    <a:pt x="24" y="206"/>
                  </a:lnTo>
                  <a:lnTo>
                    <a:pt x="24" y="208"/>
                  </a:lnTo>
                  <a:lnTo>
                    <a:pt x="26" y="212"/>
                  </a:lnTo>
                  <a:lnTo>
                    <a:pt x="28" y="216"/>
                  </a:lnTo>
                  <a:lnTo>
                    <a:pt x="30" y="216"/>
                  </a:lnTo>
                  <a:lnTo>
                    <a:pt x="30" y="218"/>
                  </a:lnTo>
                  <a:lnTo>
                    <a:pt x="30" y="220"/>
                  </a:lnTo>
                  <a:lnTo>
                    <a:pt x="32" y="222"/>
                  </a:lnTo>
                  <a:lnTo>
                    <a:pt x="32" y="224"/>
                  </a:lnTo>
                  <a:lnTo>
                    <a:pt x="30" y="226"/>
                  </a:lnTo>
                  <a:lnTo>
                    <a:pt x="30" y="228"/>
                  </a:lnTo>
                  <a:lnTo>
                    <a:pt x="30" y="230"/>
                  </a:lnTo>
                  <a:lnTo>
                    <a:pt x="30" y="232"/>
                  </a:lnTo>
                  <a:lnTo>
                    <a:pt x="30" y="234"/>
                  </a:lnTo>
                  <a:lnTo>
                    <a:pt x="30" y="234"/>
                  </a:lnTo>
                  <a:lnTo>
                    <a:pt x="30" y="234"/>
                  </a:lnTo>
                  <a:lnTo>
                    <a:pt x="30" y="236"/>
                  </a:lnTo>
                  <a:lnTo>
                    <a:pt x="32" y="236"/>
                  </a:lnTo>
                  <a:lnTo>
                    <a:pt x="32" y="236"/>
                  </a:lnTo>
                  <a:lnTo>
                    <a:pt x="34" y="238"/>
                  </a:lnTo>
                  <a:lnTo>
                    <a:pt x="36" y="238"/>
                  </a:lnTo>
                  <a:lnTo>
                    <a:pt x="36" y="238"/>
                  </a:lnTo>
                  <a:lnTo>
                    <a:pt x="36" y="238"/>
                  </a:lnTo>
                  <a:lnTo>
                    <a:pt x="36" y="240"/>
                  </a:lnTo>
                  <a:lnTo>
                    <a:pt x="36" y="242"/>
                  </a:lnTo>
                  <a:lnTo>
                    <a:pt x="36" y="244"/>
                  </a:lnTo>
                  <a:lnTo>
                    <a:pt x="36" y="244"/>
                  </a:lnTo>
                  <a:lnTo>
                    <a:pt x="36" y="246"/>
                  </a:lnTo>
                  <a:lnTo>
                    <a:pt x="38" y="246"/>
                  </a:lnTo>
                  <a:lnTo>
                    <a:pt x="38" y="246"/>
                  </a:lnTo>
                  <a:lnTo>
                    <a:pt x="38" y="246"/>
                  </a:lnTo>
                  <a:lnTo>
                    <a:pt x="38" y="246"/>
                  </a:lnTo>
                  <a:lnTo>
                    <a:pt x="40" y="246"/>
                  </a:lnTo>
                  <a:lnTo>
                    <a:pt x="42" y="246"/>
                  </a:lnTo>
                  <a:lnTo>
                    <a:pt x="42" y="246"/>
                  </a:lnTo>
                  <a:lnTo>
                    <a:pt x="44" y="244"/>
                  </a:lnTo>
                  <a:lnTo>
                    <a:pt x="46" y="244"/>
                  </a:lnTo>
                  <a:lnTo>
                    <a:pt x="46" y="244"/>
                  </a:lnTo>
                  <a:lnTo>
                    <a:pt x="48" y="244"/>
                  </a:lnTo>
                  <a:lnTo>
                    <a:pt x="48" y="244"/>
                  </a:lnTo>
                  <a:lnTo>
                    <a:pt x="48" y="244"/>
                  </a:lnTo>
                  <a:lnTo>
                    <a:pt x="48" y="246"/>
                  </a:lnTo>
                  <a:lnTo>
                    <a:pt x="48" y="246"/>
                  </a:lnTo>
                  <a:lnTo>
                    <a:pt x="48" y="248"/>
                  </a:lnTo>
                  <a:lnTo>
                    <a:pt x="50" y="250"/>
                  </a:lnTo>
                  <a:lnTo>
                    <a:pt x="50" y="252"/>
                  </a:lnTo>
                  <a:lnTo>
                    <a:pt x="50" y="254"/>
                  </a:lnTo>
                  <a:lnTo>
                    <a:pt x="50" y="256"/>
                  </a:lnTo>
                  <a:lnTo>
                    <a:pt x="50" y="256"/>
                  </a:lnTo>
                  <a:lnTo>
                    <a:pt x="50" y="258"/>
                  </a:lnTo>
                  <a:lnTo>
                    <a:pt x="50" y="258"/>
                  </a:lnTo>
                  <a:lnTo>
                    <a:pt x="52" y="258"/>
                  </a:lnTo>
                  <a:lnTo>
                    <a:pt x="52" y="258"/>
                  </a:lnTo>
                  <a:lnTo>
                    <a:pt x="52" y="260"/>
                  </a:lnTo>
                  <a:lnTo>
                    <a:pt x="54" y="260"/>
                  </a:lnTo>
                  <a:lnTo>
                    <a:pt x="56" y="260"/>
                  </a:lnTo>
                  <a:lnTo>
                    <a:pt x="58" y="260"/>
                  </a:lnTo>
                  <a:lnTo>
                    <a:pt x="60" y="260"/>
                  </a:lnTo>
                  <a:lnTo>
                    <a:pt x="62" y="260"/>
                  </a:lnTo>
                  <a:lnTo>
                    <a:pt x="64" y="260"/>
                  </a:lnTo>
                  <a:lnTo>
                    <a:pt x="64" y="260"/>
                  </a:lnTo>
                  <a:lnTo>
                    <a:pt x="64" y="260"/>
                  </a:lnTo>
                  <a:lnTo>
                    <a:pt x="64" y="262"/>
                  </a:lnTo>
                  <a:lnTo>
                    <a:pt x="66" y="262"/>
                  </a:lnTo>
                  <a:lnTo>
                    <a:pt x="66" y="264"/>
                  </a:lnTo>
                  <a:lnTo>
                    <a:pt x="66" y="264"/>
                  </a:lnTo>
                  <a:lnTo>
                    <a:pt x="66" y="266"/>
                  </a:lnTo>
                  <a:lnTo>
                    <a:pt x="66" y="268"/>
                  </a:lnTo>
                  <a:lnTo>
                    <a:pt x="66" y="272"/>
                  </a:lnTo>
                  <a:lnTo>
                    <a:pt x="66" y="274"/>
                  </a:lnTo>
                  <a:lnTo>
                    <a:pt x="66" y="274"/>
                  </a:lnTo>
                  <a:lnTo>
                    <a:pt x="66" y="276"/>
                  </a:lnTo>
                  <a:lnTo>
                    <a:pt x="66" y="276"/>
                  </a:lnTo>
                  <a:lnTo>
                    <a:pt x="68" y="278"/>
                  </a:lnTo>
                  <a:lnTo>
                    <a:pt x="68" y="278"/>
                  </a:lnTo>
                  <a:lnTo>
                    <a:pt x="68" y="278"/>
                  </a:lnTo>
                  <a:lnTo>
                    <a:pt x="70" y="278"/>
                  </a:lnTo>
                  <a:lnTo>
                    <a:pt x="70" y="278"/>
                  </a:lnTo>
                  <a:lnTo>
                    <a:pt x="74" y="280"/>
                  </a:lnTo>
                  <a:lnTo>
                    <a:pt x="74" y="280"/>
                  </a:lnTo>
                  <a:lnTo>
                    <a:pt x="76" y="280"/>
                  </a:lnTo>
                  <a:lnTo>
                    <a:pt x="76" y="280"/>
                  </a:lnTo>
                  <a:lnTo>
                    <a:pt x="76" y="282"/>
                  </a:lnTo>
                  <a:lnTo>
                    <a:pt x="78" y="284"/>
                  </a:lnTo>
                  <a:lnTo>
                    <a:pt x="80" y="286"/>
                  </a:lnTo>
                  <a:lnTo>
                    <a:pt x="80" y="288"/>
                  </a:lnTo>
                  <a:lnTo>
                    <a:pt x="82" y="290"/>
                  </a:lnTo>
                  <a:lnTo>
                    <a:pt x="82" y="290"/>
                  </a:lnTo>
                  <a:lnTo>
                    <a:pt x="82" y="290"/>
                  </a:lnTo>
                  <a:lnTo>
                    <a:pt x="82" y="292"/>
                  </a:lnTo>
                  <a:lnTo>
                    <a:pt x="82" y="292"/>
                  </a:lnTo>
                  <a:lnTo>
                    <a:pt x="80" y="294"/>
                  </a:lnTo>
                  <a:lnTo>
                    <a:pt x="80" y="296"/>
                  </a:lnTo>
                  <a:lnTo>
                    <a:pt x="80" y="296"/>
                  </a:lnTo>
                  <a:lnTo>
                    <a:pt x="80" y="298"/>
                  </a:lnTo>
                  <a:lnTo>
                    <a:pt x="80" y="298"/>
                  </a:lnTo>
                  <a:lnTo>
                    <a:pt x="80" y="300"/>
                  </a:lnTo>
                  <a:lnTo>
                    <a:pt x="82" y="300"/>
                  </a:lnTo>
                  <a:lnTo>
                    <a:pt x="82" y="302"/>
                  </a:lnTo>
                  <a:lnTo>
                    <a:pt x="82" y="304"/>
                  </a:lnTo>
                  <a:lnTo>
                    <a:pt x="84" y="304"/>
                  </a:lnTo>
                  <a:lnTo>
                    <a:pt x="84" y="304"/>
                  </a:lnTo>
                  <a:lnTo>
                    <a:pt x="86" y="306"/>
                  </a:lnTo>
                  <a:lnTo>
                    <a:pt x="86" y="306"/>
                  </a:lnTo>
                  <a:lnTo>
                    <a:pt x="88" y="306"/>
                  </a:lnTo>
                  <a:lnTo>
                    <a:pt x="90" y="308"/>
                  </a:lnTo>
                  <a:lnTo>
                    <a:pt x="92" y="308"/>
                  </a:lnTo>
                  <a:lnTo>
                    <a:pt x="94" y="308"/>
                  </a:lnTo>
                  <a:lnTo>
                    <a:pt x="98" y="308"/>
                  </a:lnTo>
                  <a:lnTo>
                    <a:pt x="102" y="306"/>
                  </a:lnTo>
                  <a:lnTo>
                    <a:pt x="106" y="306"/>
                  </a:lnTo>
                  <a:lnTo>
                    <a:pt x="110" y="306"/>
                  </a:lnTo>
                  <a:lnTo>
                    <a:pt x="112" y="306"/>
                  </a:lnTo>
                  <a:lnTo>
                    <a:pt x="114" y="306"/>
                  </a:lnTo>
                  <a:lnTo>
                    <a:pt x="116" y="308"/>
                  </a:lnTo>
                  <a:lnTo>
                    <a:pt x="118" y="308"/>
                  </a:lnTo>
                  <a:lnTo>
                    <a:pt x="118" y="308"/>
                  </a:lnTo>
                  <a:lnTo>
                    <a:pt x="120" y="308"/>
                  </a:lnTo>
                  <a:lnTo>
                    <a:pt x="120" y="310"/>
                  </a:lnTo>
                  <a:lnTo>
                    <a:pt x="122" y="312"/>
                  </a:lnTo>
                  <a:lnTo>
                    <a:pt x="122" y="314"/>
                  </a:lnTo>
                  <a:lnTo>
                    <a:pt x="124" y="316"/>
                  </a:lnTo>
                  <a:lnTo>
                    <a:pt x="124" y="316"/>
                  </a:lnTo>
                  <a:lnTo>
                    <a:pt x="124" y="316"/>
                  </a:lnTo>
                  <a:lnTo>
                    <a:pt x="126" y="316"/>
                  </a:lnTo>
                  <a:lnTo>
                    <a:pt x="128" y="316"/>
                  </a:lnTo>
                  <a:lnTo>
                    <a:pt x="130" y="316"/>
                  </a:lnTo>
                  <a:lnTo>
                    <a:pt x="132" y="318"/>
                  </a:lnTo>
                  <a:lnTo>
                    <a:pt x="132" y="318"/>
                  </a:lnTo>
                  <a:lnTo>
                    <a:pt x="134" y="318"/>
                  </a:lnTo>
                  <a:lnTo>
                    <a:pt x="134" y="318"/>
                  </a:lnTo>
                  <a:lnTo>
                    <a:pt x="134" y="320"/>
                  </a:lnTo>
                  <a:lnTo>
                    <a:pt x="134" y="320"/>
                  </a:lnTo>
                  <a:lnTo>
                    <a:pt x="140" y="320"/>
                  </a:lnTo>
                  <a:lnTo>
                    <a:pt x="148" y="320"/>
                  </a:lnTo>
                  <a:lnTo>
                    <a:pt x="152" y="320"/>
                  </a:lnTo>
                  <a:lnTo>
                    <a:pt x="156" y="322"/>
                  </a:lnTo>
                  <a:lnTo>
                    <a:pt x="160" y="322"/>
                  </a:lnTo>
                  <a:lnTo>
                    <a:pt x="162" y="322"/>
                  </a:lnTo>
                  <a:lnTo>
                    <a:pt x="164" y="322"/>
                  </a:lnTo>
                  <a:lnTo>
                    <a:pt x="166" y="322"/>
                  </a:lnTo>
                  <a:lnTo>
                    <a:pt x="168" y="320"/>
                  </a:lnTo>
                  <a:lnTo>
                    <a:pt x="174" y="318"/>
                  </a:lnTo>
                  <a:lnTo>
                    <a:pt x="180" y="316"/>
                  </a:lnTo>
                  <a:lnTo>
                    <a:pt x="200" y="300"/>
                  </a:lnTo>
                  <a:lnTo>
                    <a:pt x="200" y="298"/>
                  </a:lnTo>
                  <a:lnTo>
                    <a:pt x="200" y="294"/>
                  </a:lnTo>
                  <a:lnTo>
                    <a:pt x="200" y="292"/>
                  </a:lnTo>
                  <a:lnTo>
                    <a:pt x="200" y="292"/>
                  </a:lnTo>
                  <a:lnTo>
                    <a:pt x="200" y="290"/>
                  </a:lnTo>
                  <a:lnTo>
                    <a:pt x="200" y="288"/>
                  </a:lnTo>
                  <a:lnTo>
                    <a:pt x="198" y="288"/>
                  </a:lnTo>
                  <a:lnTo>
                    <a:pt x="198" y="286"/>
                  </a:lnTo>
                  <a:lnTo>
                    <a:pt x="196" y="282"/>
                  </a:lnTo>
                  <a:lnTo>
                    <a:pt x="194" y="280"/>
                  </a:lnTo>
                  <a:lnTo>
                    <a:pt x="192" y="280"/>
                  </a:lnTo>
                  <a:lnTo>
                    <a:pt x="192" y="278"/>
                  </a:lnTo>
                  <a:lnTo>
                    <a:pt x="188" y="276"/>
                  </a:lnTo>
                  <a:lnTo>
                    <a:pt x="186" y="276"/>
                  </a:lnTo>
                  <a:lnTo>
                    <a:pt x="184" y="274"/>
                  </a:lnTo>
                  <a:lnTo>
                    <a:pt x="182" y="272"/>
                  </a:lnTo>
                  <a:lnTo>
                    <a:pt x="182" y="272"/>
                  </a:lnTo>
                  <a:lnTo>
                    <a:pt x="182" y="272"/>
                  </a:lnTo>
                  <a:lnTo>
                    <a:pt x="182" y="270"/>
                  </a:lnTo>
                  <a:lnTo>
                    <a:pt x="182" y="270"/>
                  </a:lnTo>
                  <a:lnTo>
                    <a:pt x="182" y="268"/>
                  </a:lnTo>
                  <a:lnTo>
                    <a:pt x="182" y="266"/>
                  </a:lnTo>
                  <a:lnTo>
                    <a:pt x="182" y="264"/>
                  </a:lnTo>
                  <a:lnTo>
                    <a:pt x="182" y="262"/>
                  </a:lnTo>
                  <a:lnTo>
                    <a:pt x="182" y="260"/>
                  </a:lnTo>
                  <a:lnTo>
                    <a:pt x="182" y="260"/>
                  </a:lnTo>
                  <a:lnTo>
                    <a:pt x="180" y="260"/>
                  </a:lnTo>
                  <a:lnTo>
                    <a:pt x="180" y="260"/>
                  </a:lnTo>
                  <a:lnTo>
                    <a:pt x="180" y="258"/>
                  </a:lnTo>
                  <a:lnTo>
                    <a:pt x="178" y="258"/>
                  </a:lnTo>
                  <a:lnTo>
                    <a:pt x="178" y="258"/>
                  </a:lnTo>
                  <a:lnTo>
                    <a:pt x="176" y="258"/>
                  </a:lnTo>
                  <a:lnTo>
                    <a:pt x="174" y="258"/>
                  </a:lnTo>
                  <a:lnTo>
                    <a:pt x="174" y="258"/>
                  </a:lnTo>
                  <a:lnTo>
                    <a:pt x="172" y="256"/>
                  </a:lnTo>
                  <a:lnTo>
                    <a:pt x="170" y="256"/>
                  </a:lnTo>
                  <a:lnTo>
                    <a:pt x="168" y="254"/>
                  </a:lnTo>
                  <a:lnTo>
                    <a:pt x="168" y="250"/>
                  </a:lnTo>
                  <a:lnTo>
                    <a:pt x="166" y="248"/>
                  </a:lnTo>
                  <a:lnTo>
                    <a:pt x="166" y="248"/>
                  </a:lnTo>
                  <a:lnTo>
                    <a:pt x="166" y="246"/>
                  </a:lnTo>
                  <a:lnTo>
                    <a:pt x="164" y="246"/>
                  </a:lnTo>
                  <a:lnTo>
                    <a:pt x="164" y="244"/>
                  </a:lnTo>
                  <a:lnTo>
                    <a:pt x="164" y="244"/>
                  </a:lnTo>
                  <a:lnTo>
                    <a:pt x="166" y="244"/>
                  </a:lnTo>
                  <a:lnTo>
                    <a:pt x="166" y="242"/>
                  </a:lnTo>
                  <a:lnTo>
                    <a:pt x="166" y="242"/>
                  </a:lnTo>
                  <a:lnTo>
                    <a:pt x="168" y="242"/>
                  </a:lnTo>
                  <a:lnTo>
                    <a:pt x="168" y="242"/>
                  </a:lnTo>
                  <a:lnTo>
                    <a:pt x="170" y="242"/>
                  </a:lnTo>
                  <a:lnTo>
                    <a:pt x="172" y="242"/>
                  </a:lnTo>
                  <a:lnTo>
                    <a:pt x="174" y="242"/>
                  </a:lnTo>
                  <a:lnTo>
                    <a:pt x="176" y="242"/>
                  </a:lnTo>
                  <a:lnTo>
                    <a:pt x="178" y="242"/>
                  </a:lnTo>
                  <a:lnTo>
                    <a:pt x="178" y="242"/>
                  </a:lnTo>
                  <a:lnTo>
                    <a:pt x="180" y="242"/>
                  </a:lnTo>
                  <a:lnTo>
                    <a:pt x="180" y="242"/>
                  </a:lnTo>
                  <a:lnTo>
                    <a:pt x="180" y="242"/>
                  </a:lnTo>
                  <a:lnTo>
                    <a:pt x="182" y="240"/>
                  </a:lnTo>
                  <a:lnTo>
                    <a:pt x="182" y="240"/>
                  </a:lnTo>
                  <a:lnTo>
                    <a:pt x="182" y="238"/>
                  </a:lnTo>
                  <a:lnTo>
                    <a:pt x="182" y="236"/>
                  </a:lnTo>
                  <a:lnTo>
                    <a:pt x="182" y="234"/>
                  </a:lnTo>
                  <a:lnTo>
                    <a:pt x="182" y="230"/>
                  </a:lnTo>
                  <a:lnTo>
                    <a:pt x="182" y="226"/>
                  </a:lnTo>
                  <a:lnTo>
                    <a:pt x="182" y="220"/>
                  </a:lnTo>
                  <a:lnTo>
                    <a:pt x="182" y="218"/>
                  </a:lnTo>
                  <a:lnTo>
                    <a:pt x="182" y="216"/>
                  </a:lnTo>
                  <a:lnTo>
                    <a:pt x="182" y="214"/>
                  </a:lnTo>
                  <a:lnTo>
                    <a:pt x="182" y="212"/>
                  </a:lnTo>
                  <a:lnTo>
                    <a:pt x="184" y="210"/>
                  </a:lnTo>
                  <a:lnTo>
                    <a:pt x="184" y="210"/>
                  </a:lnTo>
                  <a:lnTo>
                    <a:pt x="184" y="210"/>
                  </a:lnTo>
                  <a:lnTo>
                    <a:pt x="184" y="208"/>
                  </a:lnTo>
                  <a:lnTo>
                    <a:pt x="186" y="208"/>
                  </a:lnTo>
                  <a:lnTo>
                    <a:pt x="186" y="208"/>
                  </a:lnTo>
                  <a:lnTo>
                    <a:pt x="186" y="208"/>
                  </a:lnTo>
                  <a:lnTo>
                    <a:pt x="188" y="208"/>
                  </a:lnTo>
                  <a:lnTo>
                    <a:pt x="190" y="208"/>
                  </a:lnTo>
                  <a:lnTo>
                    <a:pt x="192" y="210"/>
                  </a:lnTo>
                  <a:lnTo>
                    <a:pt x="194" y="210"/>
                  </a:lnTo>
                  <a:lnTo>
                    <a:pt x="194" y="210"/>
                  </a:lnTo>
                  <a:lnTo>
                    <a:pt x="196" y="210"/>
                  </a:lnTo>
                  <a:lnTo>
                    <a:pt x="196" y="208"/>
                  </a:lnTo>
                  <a:lnTo>
                    <a:pt x="196" y="208"/>
                  </a:lnTo>
                  <a:lnTo>
                    <a:pt x="196" y="208"/>
                  </a:lnTo>
                  <a:lnTo>
                    <a:pt x="196" y="208"/>
                  </a:lnTo>
                  <a:lnTo>
                    <a:pt x="198" y="206"/>
                  </a:lnTo>
                  <a:lnTo>
                    <a:pt x="198" y="206"/>
                  </a:lnTo>
                  <a:lnTo>
                    <a:pt x="198" y="204"/>
                  </a:lnTo>
                  <a:lnTo>
                    <a:pt x="198" y="202"/>
                  </a:lnTo>
                  <a:lnTo>
                    <a:pt x="198" y="200"/>
                  </a:lnTo>
                  <a:lnTo>
                    <a:pt x="198" y="198"/>
                  </a:lnTo>
                  <a:lnTo>
                    <a:pt x="198" y="192"/>
                  </a:lnTo>
                  <a:lnTo>
                    <a:pt x="196" y="188"/>
                  </a:lnTo>
                  <a:lnTo>
                    <a:pt x="196" y="184"/>
                  </a:lnTo>
                  <a:lnTo>
                    <a:pt x="196" y="182"/>
                  </a:lnTo>
                  <a:lnTo>
                    <a:pt x="196" y="180"/>
                  </a:lnTo>
                  <a:lnTo>
                    <a:pt x="198" y="178"/>
                  </a:lnTo>
                  <a:lnTo>
                    <a:pt x="198" y="176"/>
                  </a:lnTo>
                  <a:lnTo>
                    <a:pt x="198" y="176"/>
                  </a:lnTo>
                  <a:lnTo>
                    <a:pt x="198" y="176"/>
                  </a:lnTo>
                  <a:lnTo>
                    <a:pt x="200" y="174"/>
                  </a:lnTo>
                  <a:lnTo>
                    <a:pt x="200" y="174"/>
                  </a:lnTo>
                  <a:lnTo>
                    <a:pt x="202" y="174"/>
                  </a:lnTo>
                  <a:lnTo>
                    <a:pt x="202" y="174"/>
                  </a:lnTo>
                  <a:lnTo>
                    <a:pt x="204" y="174"/>
                  </a:lnTo>
                  <a:lnTo>
                    <a:pt x="208" y="174"/>
                  </a:lnTo>
                  <a:lnTo>
                    <a:pt x="210" y="174"/>
                  </a:lnTo>
                  <a:lnTo>
                    <a:pt x="214" y="174"/>
                  </a:lnTo>
                  <a:lnTo>
                    <a:pt x="214" y="174"/>
                  </a:lnTo>
                  <a:lnTo>
                    <a:pt x="216" y="174"/>
                  </a:lnTo>
                  <a:lnTo>
                    <a:pt x="216" y="172"/>
                  </a:lnTo>
                  <a:lnTo>
                    <a:pt x="216" y="172"/>
                  </a:lnTo>
                  <a:lnTo>
                    <a:pt x="218" y="170"/>
                  </a:lnTo>
                  <a:lnTo>
                    <a:pt x="218" y="168"/>
                  </a:lnTo>
                  <a:lnTo>
                    <a:pt x="220" y="166"/>
                  </a:lnTo>
                  <a:lnTo>
                    <a:pt x="220" y="164"/>
                  </a:lnTo>
                  <a:lnTo>
                    <a:pt x="220" y="162"/>
                  </a:lnTo>
                  <a:lnTo>
                    <a:pt x="220" y="158"/>
                  </a:lnTo>
                  <a:lnTo>
                    <a:pt x="220" y="156"/>
                  </a:lnTo>
                  <a:lnTo>
                    <a:pt x="220" y="152"/>
                  </a:lnTo>
                  <a:lnTo>
                    <a:pt x="220" y="150"/>
                  </a:lnTo>
                  <a:lnTo>
                    <a:pt x="220" y="146"/>
                  </a:lnTo>
                  <a:lnTo>
                    <a:pt x="220" y="144"/>
                  </a:lnTo>
                  <a:lnTo>
                    <a:pt x="218" y="140"/>
                  </a:lnTo>
                  <a:lnTo>
                    <a:pt x="218" y="138"/>
                  </a:lnTo>
                  <a:lnTo>
                    <a:pt x="218" y="136"/>
                  </a:lnTo>
                  <a:lnTo>
                    <a:pt x="216" y="134"/>
                  </a:lnTo>
                  <a:lnTo>
                    <a:pt x="214" y="132"/>
                  </a:lnTo>
                  <a:lnTo>
                    <a:pt x="214" y="132"/>
                  </a:lnTo>
                  <a:lnTo>
                    <a:pt x="214" y="132"/>
                  </a:lnTo>
                  <a:lnTo>
                    <a:pt x="212" y="132"/>
                  </a:lnTo>
                  <a:lnTo>
                    <a:pt x="212" y="132"/>
                  </a:lnTo>
                  <a:lnTo>
                    <a:pt x="210" y="132"/>
                  </a:lnTo>
                  <a:lnTo>
                    <a:pt x="208" y="132"/>
                  </a:lnTo>
                  <a:lnTo>
                    <a:pt x="206" y="130"/>
                  </a:lnTo>
                  <a:lnTo>
                    <a:pt x="206" y="130"/>
                  </a:lnTo>
                  <a:lnTo>
                    <a:pt x="206" y="130"/>
                  </a:lnTo>
                  <a:lnTo>
                    <a:pt x="204" y="130"/>
                  </a:lnTo>
                  <a:lnTo>
                    <a:pt x="204" y="128"/>
                  </a:lnTo>
                  <a:lnTo>
                    <a:pt x="204" y="128"/>
                  </a:lnTo>
                  <a:lnTo>
                    <a:pt x="204" y="126"/>
                  </a:lnTo>
                  <a:lnTo>
                    <a:pt x="204" y="124"/>
                  </a:lnTo>
                  <a:lnTo>
                    <a:pt x="204" y="122"/>
                  </a:lnTo>
                  <a:lnTo>
                    <a:pt x="204" y="120"/>
                  </a:lnTo>
                  <a:lnTo>
                    <a:pt x="204" y="120"/>
                  </a:lnTo>
                  <a:lnTo>
                    <a:pt x="206" y="118"/>
                  </a:lnTo>
                  <a:lnTo>
                    <a:pt x="206" y="118"/>
                  </a:lnTo>
                  <a:lnTo>
                    <a:pt x="206" y="118"/>
                  </a:lnTo>
                  <a:lnTo>
                    <a:pt x="206" y="118"/>
                  </a:lnTo>
                  <a:lnTo>
                    <a:pt x="208" y="118"/>
                  </a:lnTo>
                  <a:lnTo>
                    <a:pt x="208" y="118"/>
                  </a:lnTo>
                  <a:lnTo>
                    <a:pt x="210" y="118"/>
                  </a:lnTo>
                  <a:lnTo>
                    <a:pt x="212" y="118"/>
                  </a:lnTo>
                  <a:lnTo>
                    <a:pt x="214" y="120"/>
                  </a:lnTo>
                  <a:lnTo>
                    <a:pt x="216" y="120"/>
                  </a:lnTo>
                  <a:lnTo>
                    <a:pt x="216" y="120"/>
                  </a:lnTo>
                  <a:lnTo>
                    <a:pt x="218" y="120"/>
                  </a:lnTo>
                  <a:lnTo>
                    <a:pt x="218" y="120"/>
                  </a:lnTo>
                  <a:lnTo>
                    <a:pt x="218" y="120"/>
                  </a:lnTo>
                  <a:lnTo>
                    <a:pt x="218" y="118"/>
                  </a:lnTo>
                  <a:lnTo>
                    <a:pt x="220" y="118"/>
                  </a:lnTo>
                  <a:lnTo>
                    <a:pt x="220" y="118"/>
                  </a:lnTo>
                  <a:lnTo>
                    <a:pt x="220" y="116"/>
                  </a:lnTo>
                  <a:lnTo>
                    <a:pt x="220" y="116"/>
                  </a:lnTo>
                  <a:lnTo>
                    <a:pt x="220" y="114"/>
                  </a:lnTo>
                  <a:lnTo>
                    <a:pt x="218" y="110"/>
                  </a:lnTo>
                  <a:lnTo>
                    <a:pt x="218" y="108"/>
                  </a:lnTo>
                  <a:lnTo>
                    <a:pt x="216" y="106"/>
                  </a:lnTo>
                  <a:lnTo>
                    <a:pt x="216" y="104"/>
                  </a:lnTo>
                  <a:lnTo>
                    <a:pt x="214" y="100"/>
                  </a:lnTo>
                  <a:lnTo>
                    <a:pt x="212" y="96"/>
                  </a:lnTo>
                  <a:lnTo>
                    <a:pt x="212" y="94"/>
                  </a:lnTo>
                  <a:lnTo>
                    <a:pt x="212" y="92"/>
                  </a:lnTo>
                  <a:lnTo>
                    <a:pt x="212" y="88"/>
                  </a:lnTo>
                  <a:lnTo>
                    <a:pt x="210" y="84"/>
                  </a:lnTo>
                  <a:lnTo>
                    <a:pt x="210" y="80"/>
                  </a:lnTo>
                  <a:lnTo>
                    <a:pt x="210" y="78"/>
                  </a:lnTo>
                  <a:lnTo>
                    <a:pt x="210" y="76"/>
                  </a:lnTo>
                  <a:lnTo>
                    <a:pt x="210" y="74"/>
                  </a:lnTo>
                  <a:lnTo>
                    <a:pt x="210" y="72"/>
                  </a:lnTo>
                  <a:lnTo>
                    <a:pt x="212" y="70"/>
                  </a:lnTo>
                  <a:lnTo>
                    <a:pt x="212" y="66"/>
                  </a:lnTo>
                  <a:lnTo>
                    <a:pt x="214" y="62"/>
                  </a:lnTo>
                  <a:lnTo>
                    <a:pt x="216" y="58"/>
                  </a:lnTo>
                  <a:lnTo>
                    <a:pt x="220" y="50"/>
                  </a:lnTo>
                  <a:lnTo>
                    <a:pt x="220" y="46"/>
                  </a:lnTo>
                  <a:lnTo>
                    <a:pt x="220" y="40"/>
                  </a:lnTo>
                  <a:lnTo>
                    <a:pt x="220" y="36"/>
                  </a:lnTo>
                  <a:lnTo>
                    <a:pt x="220" y="34"/>
                  </a:lnTo>
                  <a:lnTo>
                    <a:pt x="220" y="32"/>
                  </a:lnTo>
                  <a:lnTo>
                    <a:pt x="218" y="28"/>
                  </a:lnTo>
                  <a:lnTo>
                    <a:pt x="216" y="24"/>
                  </a:lnTo>
                  <a:lnTo>
                    <a:pt x="216" y="20"/>
                  </a:lnTo>
                  <a:lnTo>
                    <a:pt x="214" y="18"/>
                  </a:lnTo>
                  <a:lnTo>
                    <a:pt x="212" y="16"/>
                  </a:lnTo>
                  <a:lnTo>
                    <a:pt x="212" y="14"/>
                  </a:lnTo>
                  <a:lnTo>
                    <a:pt x="212" y="14"/>
                  </a:lnTo>
                  <a:lnTo>
                    <a:pt x="210" y="12"/>
                  </a:lnTo>
                  <a:lnTo>
                    <a:pt x="208" y="10"/>
                  </a:lnTo>
                  <a:lnTo>
                    <a:pt x="204" y="8"/>
                  </a:lnTo>
                  <a:lnTo>
                    <a:pt x="200" y="6"/>
                  </a:lnTo>
                  <a:lnTo>
                    <a:pt x="196" y="2"/>
                  </a:lnTo>
                  <a:lnTo>
                    <a:pt x="192" y="0"/>
                  </a:lnTo>
                  <a:lnTo>
                    <a:pt x="190" y="2"/>
                  </a:lnTo>
                  <a:lnTo>
                    <a:pt x="188" y="6"/>
                  </a:lnTo>
                  <a:lnTo>
                    <a:pt x="184" y="10"/>
                  </a:lnTo>
                  <a:lnTo>
                    <a:pt x="180" y="14"/>
                  </a:lnTo>
                  <a:lnTo>
                    <a:pt x="178" y="16"/>
                  </a:lnTo>
                  <a:lnTo>
                    <a:pt x="176" y="16"/>
                  </a:lnTo>
                  <a:lnTo>
                    <a:pt x="174" y="18"/>
                  </a:lnTo>
                  <a:lnTo>
                    <a:pt x="172" y="18"/>
                  </a:lnTo>
                  <a:lnTo>
                    <a:pt x="170" y="20"/>
                  </a:lnTo>
                  <a:lnTo>
                    <a:pt x="168" y="20"/>
                  </a:lnTo>
                  <a:lnTo>
                    <a:pt x="168" y="20"/>
                  </a:lnTo>
                  <a:lnTo>
                    <a:pt x="168" y="20"/>
                  </a:lnTo>
                  <a:lnTo>
                    <a:pt x="166" y="20"/>
                  </a:lnTo>
                  <a:lnTo>
                    <a:pt x="166" y="18"/>
                  </a:lnTo>
                  <a:lnTo>
                    <a:pt x="164" y="18"/>
                  </a:lnTo>
                  <a:lnTo>
                    <a:pt x="164" y="16"/>
                  </a:lnTo>
                  <a:lnTo>
                    <a:pt x="162" y="14"/>
                  </a:lnTo>
                  <a:lnTo>
                    <a:pt x="160" y="12"/>
                  </a:lnTo>
                  <a:lnTo>
                    <a:pt x="160" y="12"/>
                  </a:lnTo>
                  <a:lnTo>
                    <a:pt x="158" y="12"/>
                  </a:lnTo>
                  <a:lnTo>
                    <a:pt x="156" y="12"/>
                  </a:lnTo>
                  <a:lnTo>
                    <a:pt x="154" y="10"/>
                  </a:lnTo>
                  <a:lnTo>
                    <a:pt x="150" y="10"/>
                  </a:lnTo>
                  <a:lnTo>
                    <a:pt x="144" y="8"/>
                  </a:lnTo>
                  <a:lnTo>
                    <a:pt x="138" y="8"/>
                  </a:lnTo>
                  <a:lnTo>
                    <a:pt x="132" y="8"/>
                  </a:lnTo>
                  <a:lnTo>
                    <a:pt x="126" y="6"/>
                  </a:lnTo>
                  <a:lnTo>
                    <a:pt x="118" y="6"/>
                  </a:lnTo>
                  <a:lnTo>
                    <a:pt x="112" y="6"/>
                  </a:lnTo>
                  <a:lnTo>
                    <a:pt x="106" y="6"/>
                  </a:lnTo>
                  <a:lnTo>
                    <a:pt x="98" y="6"/>
                  </a:lnTo>
                  <a:lnTo>
                    <a:pt x="92" y="8"/>
                  </a:lnTo>
                  <a:lnTo>
                    <a:pt x="86" y="8"/>
                  </a:lnTo>
                  <a:lnTo>
                    <a:pt x="80" y="8"/>
                  </a:lnTo>
                  <a:lnTo>
                    <a:pt x="74" y="10"/>
                  </a:lnTo>
                  <a:lnTo>
                    <a:pt x="70" y="10"/>
                  </a:lnTo>
                  <a:lnTo>
                    <a:pt x="64" y="12"/>
                  </a:lnTo>
                  <a:lnTo>
                    <a:pt x="64" y="12"/>
                  </a:lnTo>
                  <a:lnTo>
                    <a:pt x="62" y="14"/>
                  </a:lnTo>
                  <a:lnTo>
                    <a:pt x="58" y="16"/>
                  </a:lnTo>
                  <a:lnTo>
                    <a:pt x="56" y="18"/>
                  </a:lnTo>
                  <a:lnTo>
                    <a:pt x="54" y="20"/>
                  </a:lnTo>
                  <a:lnTo>
                    <a:pt x="48" y="22"/>
                  </a:lnTo>
                  <a:lnTo>
                    <a:pt x="44" y="24"/>
                  </a:lnTo>
                  <a:lnTo>
                    <a:pt x="44" y="28"/>
                  </a:lnTo>
                  <a:lnTo>
                    <a:pt x="46" y="32"/>
                  </a:lnTo>
                  <a:lnTo>
                    <a:pt x="46" y="36"/>
                  </a:lnTo>
                  <a:lnTo>
                    <a:pt x="46" y="40"/>
                  </a:lnTo>
                  <a:lnTo>
                    <a:pt x="46" y="42"/>
                  </a:lnTo>
                  <a:lnTo>
                    <a:pt x="44" y="44"/>
                  </a:lnTo>
                  <a:lnTo>
                    <a:pt x="44" y="46"/>
                  </a:lnTo>
                  <a:lnTo>
                    <a:pt x="44" y="48"/>
                  </a:lnTo>
                  <a:lnTo>
                    <a:pt x="44" y="48"/>
                  </a:lnTo>
                  <a:lnTo>
                    <a:pt x="42" y="50"/>
                  </a:lnTo>
                  <a:lnTo>
                    <a:pt x="42" y="50"/>
                  </a:lnTo>
                  <a:lnTo>
                    <a:pt x="42" y="50"/>
                  </a:lnTo>
                  <a:lnTo>
                    <a:pt x="42" y="50"/>
                  </a:lnTo>
                  <a:lnTo>
                    <a:pt x="40" y="52"/>
                  </a:lnTo>
                  <a:lnTo>
                    <a:pt x="38" y="52"/>
                  </a:lnTo>
                  <a:lnTo>
                    <a:pt x="36" y="52"/>
                  </a:lnTo>
                  <a:lnTo>
                    <a:pt x="36" y="52"/>
                  </a:lnTo>
                  <a:lnTo>
                    <a:pt x="34" y="52"/>
                  </a:lnTo>
                  <a:lnTo>
                    <a:pt x="34" y="52"/>
                  </a:lnTo>
                  <a:lnTo>
                    <a:pt x="32" y="52"/>
                  </a:lnTo>
                  <a:lnTo>
                    <a:pt x="32" y="54"/>
                  </a:lnTo>
                  <a:lnTo>
                    <a:pt x="32" y="56"/>
                  </a:lnTo>
                  <a:lnTo>
                    <a:pt x="32" y="58"/>
                  </a:lnTo>
                  <a:lnTo>
                    <a:pt x="32" y="58"/>
                  </a:lnTo>
                  <a:lnTo>
                    <a:pt x="32" y="62"/>
                  </a:lnTo>
                  <a:lnTo>
                    <a:pt x="32" y="64"/>
                  </a:lnTo>
                  <a:lnTo>
                    <a:pt x="32" y="68"/>
                  </a:lnTo>
                  <a:lnTo>
                    <a:pt x="34" y="72"/>
                  </a:lnTo>
                  <a:lnTo>
                    <a:pt x="34" y="76"/>
                  </a:lnTo>
                  <a:lnTo>
                    <a:pt x="36" y="7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2" name="Freeform 411">
              <a:extLst>
                <a:ext uri="{FF2B5EF4-FFF2-40B4-BE49-F238E27FC236}">
                  <a16:creationId xmlns:a16="http://schemas.microsoft.com/office/drawing/2014/main" id="{3CFB88A3-CFE3-44CF-BAC5-337BFAE295A4}"/>
                </a:ext>
              </a:extLst>
            </p:cNvPr>
            <p:cNvSpPr>
              <a:spLocks/>
            </p:cNvSpPr>
            <p:nvPr/>
          </p:nvSpPr>
          <p:spPr bwMode="auto">
            <a:xfrm>
              <a:off x="4806155" y="3988022"/>
              <a:ext cx="381057" cy="557728"/>
            </a:xfrm>
            <a:custGeom>
              <a:avLst/>
              <a:gdLst>
                <a:gd name="T0" fmla="*/ 38 w 220"/>
                <a:gd name="T1" fmla="*/ 112 h 322"/>
                <a:gd name="T2" fmla="*/ 32 w 220"/>
                <a:gd name="T3" fmla="*/ 122 h 322"/>
                <a:gd name="T4" fmla="*/ 20 w 220"/>
                <a:gd name="T5" fmla="*/ 132 h 322"/>
                <a:gd name="T6" fmla="*/ 14 w 220"/>
                <a:gd name="T7" fmla="*/ 156 h 322"/>
                <a:gd name="T8" fmla="*/ 4 w 220"/>
                <a:gd name="T9" fmla="*/ 156 h 322"/>
                <a:gd name="T10" fmla="*/ 0 w 220"/>
                <a:gd name="T11" fmla="*/ 164 h 322"/>
                <a:gd name="T12" fmla="*/ 8 w 220"/>
                <a:gd name="T13" fmla="*/ 170 h 322"/>
                <a:gd name="T14" fmla="*/ 12 w 220"/>
                <a:gd name="T15" fmla="*/ 178 h 322"/>
                <a:gd name="T16" fmla="*/ 20 w 220"/>
                <a:gd name="T17" fmla="*/ 184 h 322"/>
                <a:gd name="T18" fmla="*/ 18 w 220"/>
                <a:gd name="T19" fmla="*/ 194 h 322"/>
                <a:gd name="T20" fmla="*/ 22 w 220"/>
                <a:gd name="T21" fmla="*/ 206 h 322"/>
                <a:gd name="T22" fmla="*/ 32 w 220"/>
                <a:gd name="T23" fmla="*/ 224 h 322"/>
                <a:gd name="T24" fmla="*/ 32 w 220"/>
                <a:gd name="T25" fmla="*/ 236 h 322"/>
                <a:gd name="T26" fmla="*/ 36 w 220"/>
                <a:gd name="T27" fmla="*/ 244 h 322"/>
                <a:gd name="T28" fmla="*/ 44 w 220"/>
                <a:gd name="T29" fmla="*/ 244 h 322"/>
                <a:gd name="T30" fmla="*/ 50 w 220"/>
                <a:gd name="T31" fmla="*/ 250 h 322"/>
                <a:gd name="T32" fmla="*/ 52 w 220"/>
                <a:gd name="T33" fmla="*/ 260 h 322"/>
                <a:gd name="T34" fmla="*/ 64 w 220"/>
                <a:gd name="T35" fmla="*/ 262 h 322"/>
                <a:gd name="T36" fmla="*/ 66 w 220"/>
                <a:gd name="T37" fmla="*/ 276 h 322"/>
                <a:gd name="T38" fmla="*/ 76 w 220"/>
                <a:gd name="T39" fmla="*/ 280 h 322"/>
                <a:gd name="T40" fmla="*/ 82 w 220"/>
                <a:gd name="T41" fmla="*/ 292 h 322"/>
                <a:gd name="T42" fmla="*/ 82 w 220"/>
                <a:gd name="T43" fmla="*/ 302 h 322"/>
                <a:gd name="T44" fmla="*/ 94 w 220"/>
                <a:gd name="T45" fmla="*/ 308 h 322"/>
                <a:gd name="T46" fmla="*/ 118 w 220"/>
                <a:gd name="T47" fmla="*/ 308 h 322"/>
                <a:gd name="T48" fmla="*/ 128 w 220"/>
                <a:gd name="T49" fmla="*/ 316 h 322"/>
                <a:gd name="T50" fmla="*/ 148 w 220"/>
                <a:gd name="T51" fmla="*/ 320 h 322"/>
                <a:gd name="T52" fmla="*/ 180 w 220"/>
                <a:gd name="T53" fmla="*/ 316 h 322"/>
                <a:gd name="T54" fmla="*/ 198 w 220"/>
                <a:gd name="T55" fmla="*/ 286 h 322"/>
                <a:gd name="T56" fmla="*/ 182 w 220"/>
                <a:gd name="T57" fmla="*/ 272 h 322"/>
                <a:gd name="T58" fmla="*/ 182 w 220"/>
                <a:gd name="T59" fmla="*/ 260 h 322"/>
                <a:gd name="T60" fmla="*/ 172 w 220"/>
                <a:gd name="T61" fmla="*/ 256 h 322"/>
                <a:gd name="T62" fmla="*/ 164 w 220"/>
                <a:gd name="T63" fmla="*/ 244 h 322"/>
                <a:gd name="T64" fmla="*/ 176 w 220"/>
                <a:gd name="T65" fmla="*/ 242 h 322"/>
                <a:gd name="T66" fmla="*/ 182 w 220"/>
                <a:gd name="T67" fmla="*/ 236 h 322"/>
                <a:gd name="T68" fmla="*/ 184 w 220"/>
                <a:gd name="T69" fmla="*/ 210 h 322"/>
                <a:gd name="T70" fmla="*/ 192 w 220"/>
                <a:gd name="T71" fmla="*/ 210 h 322"/>
                <a:gd name="T72" fmla="*/ 198 w 220"/>
                <a:gd name="T73" fmla="*/ 206 h 322"/>
                <a:gd name="T74" fmla="*/ 196 w 220"/>
                <a:gd name="T75" fmla="*/ 180 h 322"/>
                <a:gd name="T76" fmla="*/ 204 w 220"/>
                <a:gd name="T77" fmla="*/ 174 h 322"/>
                <a:gd name="T78" fmla="*/ 218 w 220"/>
                <a:gd name="T79" fmla="*/ 168 h 322"/>
                <a:gd name="T80" fmla="*/ 220 w 220"/>
                <a:gd name="T81" fmla="*/ 144 h 322"/>
                <a:gd name="T82" fmla="*/ 212 w 220"/>
                <a:gd name="T83" fmla="*/ 132 h 322"/>
                <a:gd name="T84" fmla="*/ 204 w 220"/>
                <a:gd name="T85" fmla="*/ 126 h 322"/>
                <a:gd name="T86" fmla="*/ 208 w 220"/>
                <a:gd name="T87" fmla="*/ 118 h 322"/>
                <a:gd name="T88" fmla="*/ 218 w 220"/>
                <a:gd name="T89" fmla="*/ 120 h 322"/>
                <a:gd name="T90" fmla="*/ 216 w 220"/>
                <a:gd name="T91" fmla="*/ 106 h 322"/>
                <a:gd name="T92" fmla="*/ 210 w 220"/>
                <a:gd name="T93" fmla="*/ 78 h 322"/>
                <a:gd name="T94" fmla="*/ 220 w 220"/>
                <a:gd name="T95" fmla="*/ 46 h 322"/>
                <a:gd name="T96" fmla="*/ 212 w 220"/>
                <a:gd name="T97" fmla="*/ 16 h 322"/>
                <a:gd name="T98" fmla="*/ 190 w 220"/>
                <a:gd name="T99" fmla="*/ 2 h 322"/>
                <a:gd name="T100" fmla="*/ 168 w 220"/>
                <a:gd name="T101" fmla="*/ 20 h 322"/>
                <a:gd name="T102" fmla="*/ 160 w 220"/>
                <a:gd name="T103" fmla="*/ 12 h 322"/>
                <a:gd name="T104" fmla="*/ 118 w 220"/>
                <a:gd name="T105" fmla="*/ 6 h 322"/>
                <a:gd name="T106" fmla="*/ 64 w 220"/>
                <a:gd name="T107" fmla="*/ 12 h 322"/>
                <a:gd name="T108" fmla="*/ 46 w 220"/>
                <a:gd name="T109" fmla="*/ 32 h 322"/>
                <a:gd name="T110" fmla="*/ 42 w 220"/>
                <a:gd name="T111" fmla="*/ 50 h 322"/>
                <a:gd name="T112" fmla="*/ 32 w 220"/>
                <a:gd name="T113" fmla="*/ 52 h 322"/>
                <a:gd name="T114" fmla="*/ 34 w 220"/>
                <a:gd name="T115" fmla="*/ 7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0" h="322">
                  <a:moveTo>
                    <a:pt x="36" y="78"/>
                  </a:moveTo>
                  <a:lnTo>
                    <a:pt x="36" y="78"/>
                  </a:lnTo>
                  <a:lnTo>
                    <a:pt x="36" y="84"/>
                  </a:lnTo>
                  <a:lnTo>
                    <a:pt x="36" y="90"/>
                  </a:lnTo>
                  <a:lnTo>
                    <a:pt x="38" y="98"/>
                  </a:lnTo>
                  <a:lnTo>
                    <a:pt x="38" y="100"/>
                  </a:lnTo>
                  <a:lnTo>
                    <a:pt x="38" y="104"/>
                  </a:lnTo>
                  <a:lnTo>
                    <a:pt x="38" y="108"/>
                  </a:lnTo>
                  <a:lnTo>
                    <a:pt x="38" y="112"/>
                  </a:lnTo>
                  <a:lnTo>
                    <a:pt x="36" y="114"/>
                  </a:lnTo>
                  <a:lnTo>
                    <a:pt x="36" y="118"/>
                  </a:lnTo>
                  <a:lnTo>
                    <a:pt x="36" y="118"/>
                  </a:lnTo>
                  <a:lnTo>
                    <a:pt x="36" y="120"/>
                  </a:lnTo>
                  <a:lnTo>
                    <a:pt x="34" y="120"/>
                  </a:lnTo>
                  <a:lnTo>
                    <a:pt x="34" y="122"/>
                  </a:lnTo>
                  <a:lnTo>
                    <a:pt x="34" y="122"/>
                  </a:lnTo>
                  <a:lnTo>
                    <a:pt x="34" y="122"/>
                  </a:lnTo>
                  <a:lnTo>
                    <a:pt x="32" y="122"/>
                  </a:lnTo>
                  <a:lnTo>
                    <a:pt x="32" y="124"/>
                  </a:lnTo>
                  <a:lnTo>
                    <a:pt x="30" y="124"/>
                  </a:lnTo>
                  <a:lnTo>
                    <a:pt x="26" y="124"/>
                  </a:lnTo>
                  <a:lnTo>
                    <a:pt x="26" y="124"/>
                  </a:lnTo>
                  <a:lnTo>
                    <a:pt x="24" y="124"/>
                  </a:lnTo>
                  <a:lnTo>
                    <a:pt x="24" y="126"/>
                  </a:lnTo>
                  <a:lnTo>
                    <a:pt x="22" y="128"/>
                  </a:lnTo>
                  <a:lnTo>
                    <a:pt x="20" y="130"/>
                  </a:lnTo>
                  <a:lnTo>
                    <a:pt x="20" y="132"/>
                  </a:lnTo>
                  <a:lnTo>
                    <a:pt x="18" y="138"/>
                  </a:lnTo>
                  <a:lnTo>
                    <a:pt x="16" y="142"/>
                  </a:lnTo>
                  <a:lnTo>
                    <a:pt x="16" y="142"/>
                  </a:lnTo>
                  <a:lnTo>
                    <a:pt x="16" y="144"/>
                  </a:lnTo>
                  <a:lnTo>
                    <a:pt x="14" y="150"/>
                  </a:lnTo>
                  <a:lnTo>
                    <a:pt x="14" y="152"/>
                  </a:lnTo>
                  <a:lnTo>
                    <a:pt x="14" y="154"/>
                  </a:lnTo>
                  <a:lnTo>
                    <a:pt x="14" y="154"/>
                  </a:lnTo>
                  <a:lnTo>
                    <a:pt x="14" y="156"/>
                  </a:lnTo>
                  <a:lnTo>
                    <a:pt x="12" y="156"/>
                  </a:lnTo>
                  <a:lnTo>
                    <a:pt x="12" y="156"/>
                  </a:lnTo>
                  <a:lnTo>
                    <a:pt x="12" y="156"/>
                  </a:lnTo>
                  <a:lnTo>
                    <a:pt x="12" y="156"/>
                  </a:lnTo>
                  <a:lnTo>
                    <a:pt x="10" y="156"/>
                  </a:lnTo>
                  <a:lnTo>
                    <a:pt x="8" y="156"/>
                  </a:lnTo>
                  <a:lnTo>
                    <a:pt x="6" y="156"/>
                  </a:lnTo>
                  <a:lnTo>
                    <a:pt x="6" y="156"/>
                  </a:lnTo>
                  <a:lnTo>
                    <a:pt x="4" y="156"/>
                  </a:lnTo>
                  <a:lnTo>
                    <a:pt x="2" y="156"/>
                  </a:lnTo>
                  <a:lnTo>
                    <a:pt x="2" y="156"/>
                  </a:lnTo>
                  <a:lnTo>
                    <a:pt x="2" y="156"/>
                  </a:lnTo>
                  <a:lnTo>
                    <a:pt x="0" y="158"/>
                  </a:lnTo>
                  <a:lnTo>
                    <a:pt x="0" y="158"/>
                  </a:lnTo>
                  <a:lnTo>
                    <a:pt x="0" y="160"/>
                  </a:lnTo>
                  <a:lnTo>
                    <a:pt x="0" y="162"/>
                  </a:lnTo>
                  <a:lnTo>
                    <a:pt x="0" y="162"/>
                  </a:lnTo>
                  <a:lnTo>
                    <a:pt x="0" y="164"/>
                  </a:lnTo>
                  <a:lnTo>
                    <a:pt x="0" y="166"/>
                  </a:lnTo>
                  <a:lnTo>
                    <a:pt x="0" y="166"/>
                  </a:lnTo>
                  <a:lnTo>
                    <a:pt x="0" y="166"/>
                  </a:lnTo>
                  <a:lnTo>
                    <a:pt x="2" y="168"/>
                  </a:lnTo>
                  <a:lnTo>
                    <a:pt x="2" y="168"/>
                  </a:lnTo>
                  <a:lnTo>
                    <a:pt x="4" y="168"/>
                  </a:lnTo>
                  <a:lnTo>
                    <a:pt x="6" y="168"/>
                  </a:lnTo>
                  <a:lnTo>
                    <a:pt x="8" y="170"/>
                  </a:lnTo>
                  <a:lnTo>
                    <a:pt x="8" y="170"/>
                  </a:lnTo>
                  <a:lnTo>
                    <a:pt x="10" y="170"/>
                  </a:lnTo>
                  <a:lnTo>
                    <a:pt x="10" y="170"/>
                  </a:lnTo>
                  <a:lnTo>
                    <a:pt x="10" y="170"/>
                  </a:lnTo>
                  <a:lnTo>
                    <a:pt x="12" y="172"/>
                  </a:lnTo>
                  <a:lnTo>
                    <a:pt x="12" y="172"/>
                  </a:lnTo>
                  <a:lnTo>
                    <a:pt x="12" y="174"/>
                  </a:lnTo>
                  <a:lnTo>
                    <a:pt x="12" y="174"/>
                  </a:lnTo>
                  <a:lnTo>
                    <a:pt x="12" y="176"/>
                  </a:lnTo>
                  <a:lnTo>
                    <a:pt x="12" y="178"/>
                  </a:lnTo>
                  <a:lnTo>
                    <a:pt x="12" y="180"/>
                  </a:lnTo>
                  <a:lnTo>
                    <a:pt x="14" y="182"/>
                  </a:lnTo>
                  <a:lnTo>
                    <a:pt x="14" y="182"/>
                  </a:lnTo>
                  <a:lnTo>
                    <a:pt x="14" y="182"/>
                  </a:lnTo>
                  <a:lnTo>
                    <a:pt x="14" y="182"/>
                  </a:lnTo>
                  <a:lnTo>
                    <a:pt x="14" y="184"/>
                  </a:lnTo>
                  <a:lnTo>
                    <a:pt x="16" y="184"/>
                  </a:lnTo>
                  <a:lnTo>
                    <a:pt x="18" y="184"/>
                  </a:lnTo>
                  <a:lnTo>
                    <a:pt x="20" y="184"/>
                  </a:lnTo>
                  <a:lnTo>
                    <a:pt x="20" y="186"/>
                  </a:lnTo>
                  <a:lnTo>
                    <a:pt x="20" y="186"/>
                  </a:lnTo>
                  <a:lnTo>
                    <a:pt x="20" y="186"/>
                  </a:lnTo>
                  <a:lnTo>
                    <a:pt x="20" y="188"/>
                  </a:lnTo>
                  <a:lnTo>
                    <a:pt x="20" y="190"/>
                  </a:lnTo>
                  <a:lnTo>
                    <a:pt x="20" y="192"/>
                  </a:lnTo>
                  <a:lnTo>
                    <a:pt x="20" y="192"/>
                  </a:lnTo>
                  <a:lnTo>
                    <a:pt x="20" y="194"/>
                  </a:lnTo>
                  <a:lnTo>
                    <a:pt x="18" y="194"/>
                  </a:lnTo>
                  <a:lnTo>
                    <a:pt x="18" y="196"/>
                  </a:lnTo>
                  <a:lnTo>
                    <a:pt x="18" y="196"/>
                  </a:lnTo>
                  <a:lnTo>
                    <a:pt x="18" y="198"/>
                  </a:lnTo>
                  <a:lnTo>
                    <a:pt x="18" y="198"/>
                  </a:lnTo>
                  <a:lnTo>
                    <a:pt x="18" y="198"/>
                  </a:lnTo>
                  <a:lnTo>
                    <a:pt x="18" y="200"/>
                  </a:lnTo>
                  <a:lnTo>
                    <a:pt x="20" y="202"/>
                  </a:lnTo>
                  <a:lnTo>
                    <a:pt x="20" y="202"/>
                  </a:lnTo>
                  <a:lnTo>
                    <a:pt x="22" y="206"/>
                  </a:lnTo>
                  <a:lnTo>
                    <a:pt x="24" y="206"/>
                  </a:lnTo>
                  <a:lnTo>
                    <a:pt x="24" y="208"/>
                  </a:lnTo>
                  <a:lnTo>
                    <a:pt x="26" y="212"/>
                  </a:lnTo>
                  <a:lnTo>
                    <a:pt x="28" y="216"/>
                  </a:lnTo>
                  <a:lnTo>
                    <a:pt x="30" y="216"/>
                  </a:lnTo>
                  <a:lnTo>
                    <a:pt x="30" y="218"/>
                  </a:lnTo>
                  <a:lnTo>
                    <a:pt x="30" y="220"/>
                  </a:lnTo>
                  <a:lnTo>
                    <a:pt x="32" y="222"/>
                  </a:lnTo>
                  <a:lnTo>
                    <a:pt x="32" y="224"/>
                  </a:lnTo>
                  <a:lnTo>
                    <a:pt x="30" y="226"/>
                  </a:lnTo>
                  <a:lnTo>
                    <a:pt x="30" y="228"/>
                  </a:lnTo>
                  <a:lnTo>
                    <a:pt x="30" y="230"/>
                  </a:lnTo>
                  <a:lnTo>
                    <a:pt x="30" y="232"/>
                  </a:lnTo>
                  <a:lnTo>
                    <a:pt x="30" y="234"/>
                  </a:lnTo>
                  <a:lnTo>
                    <a:pt x="30" y="234"/>
                  </a:lnTo>
                  <a:lnTo>
                    <a:pt x="30" y="234"/>
                  </a:lnTo>
                  <a:lnTo>
                    <a:pt x="30" y="236"/>
                  </a:lnTo>
                  <a:lnTo>
                    <a:pt x="32" y="236"/>
                  </a:lnTo>
                  <a:lnTo>
                    <a:pt x="32" y="236"/>
                  </a:lnTo>
                  <a:lnTo>
                    <a:pt x="34" y="238"/>
                  </a:lnTo>
                  <a:lnTo>
                    <a:pt x="36" y="238"/>
                  </a:lnTo>
                  <a:lnTo>
                    <a:pt x="36" y="238"/>
                  </a:lnTo>
                  <a:lnTo>
                    <a:pt x="36" y="238"/>
                  </a:lnTo>
                  <a:lnTo>
                    <a:pt x="36" y="240"/>
                  </a:lnTo>
                  <a:lnTo>
                    <a:pt x="36" y="242"/>
                  </a:lnTo>
                  <a:lnTo>
                    <a:pt x="36" y="244"/>
                  </a:lnTo>
                  <a:lnTo>
                    <a:pt x="36" y="244"/>
                  </a:lnTo>
                  <a:lnTo>
                    <a:pt x="36" y="246"/>
                  </a:lnTo>
                  <a:lnTo>
                    <a:pt x="38" y="246"/>
                  </a:lnTo>
                  <a:lnTo>
                    <a:pt x="38" y="246"/>
                  </a:lnTo>
                  <a:lnTo>
                    <a:pt x="38" y="246"/>
                  </a:lnTo>
                  <a:lnTo>
                    <a:pt x="38" y="246"/>
                  </a:lnTo>
                  <a:lnTo>
                    <a:pt x="40" y="246"/>
                  </a:lnTo>
                  <a:lnTo>
                    <a:pt x="42" y="246"/>
                  </a:lnTo>
                  <a:lnTo>
                    <a:pt x="42" y="246"/>
                  </a:lnTo>
                  <a:lnTo>
                    <a:pt x="44" y="244"/>
                  </a:lnTo>
                  <a:lnTo>
                    <a:pt x="46" y="244"/>
                  </a:lnTo>
                  <a:lnTo>
                    <a:pt x="46" y="244"/>
                  </a:lnTo>
                  <a:lnTo>
                    <a:pt x="48" y="244"/>
                  </a:lnTo>
                  <a:lnTo>
                    <a:pt x="48" y="244"/>
                  </a:lnTo>
                  <a:lnTo>
                    <a:pt x="48" y="244"/>
                  </a:lnTo>
                  <a:lnTo>
                    <a:pt x="48" y="246"/>
                  </a:lnTo>
                  <a:lnTo>
                    <a:pt x="48" y="246"/>
                  </a:lnTo>
                  <a:lnTo>
                    <a:pt x="48" y="248"/>
                  </a:lnTo>
                  <a:lnTo>
                    <a:pt x="50" y="250"/>
                  </a:lnTo>
                  <a:lnTo>
                    <a:pt x="50" y="252"/>
                  </a:lnTo>
                  <a:lnTo>
                    <a:pt x="50" y="254"/>
                  </a:lnTo>
                  <a:lnTo>
                    <a:pt x="50" y="256"/>
                  </a:lnTo>
                  <a:lnTo>
                    <a:pt x="50" y="256"/>
                  </a:lnTo>
                  <a:lnTo>
                    <a:pt x="50" y="258"/>
                  </a:lnTo>
                  <a:lnTo>
                    <a:pt x="50" y="258"/>
                  </a:lnTo>
                  <a:lnTo>
                    <a:pt x="52" y="258"/>
                  </a:lnTo>
                  <a:lnTo>
                    <a:pt x="52" y="258"/>
                  </a:lnTo>
                  <a:lnTo>
                    <a:pt x="52" y="260"/>
                  </a:lnTo>
                  <a:lnTo>
                    <a:pt x="54" y="260"/>
                  </a:lnTo>
                  <a:lnTo>
                    <a:pt x="56" y="260"/>
                  </a:lnTo>
                  <a:lnTo>
                    <a:pt x="58" y="260"/>
                  </a:lnTo>
                  <a:lnTo>
                    <a:pt x="60" y="260"/>
                  </a:lnTo>
                  <a:lnTo>
                    <a:pt x="62" y="260"/>
                  </a:lnTo>
                  <a:lnTo>
                    <a:pt x="64" y="260"/>
                  </a:lnTo>
                  <a:lnTo>
                    <a:pt x="64" y="260"/>
                  </a:lnTo>
                  <a:lnTo>
                    <a:pt x="64" y="260"/>
                  </a:lnTo>
                  <a:lnTo>
                    <a:pt x="64" y="262"/>
                  </a:lnTo>
                  <a:lnTo>
                    <a:pt x="66" y="262"/>
                  </a:lnTo>
                  <a:lnTo>
                    <a:pt x="66" y="264"/>
                  </a:lnTo>
                  <a:lnTo>
                    <a:pt x="66" y="264"/>
                  </a:lnTo>
                  <a:lnTo>
                    <a:pt x="66" y="266"/>
                  </a:lnTo>
                  <a:lnTo>
                    <a:pt x="66" y="268"/>
                  </a:lnTo>
                  <a:lnTo>
                    <a:pt x="66" y="272"/>
                  </a:lnTo>
                  <a:lnTo>
                    <a:pt x="66" y="274"/>
                  </a:lnTo>
                  <a:lnTo>
                    <a:pt x="66" y="274"/>
                  </a:lnTo>
                  <a:lnTo>
                    <a:pt x="66" y="276"/>
                  </a:lnTo>
                  <a:lnTo>
                    <a:pt x="66" y="276"/>
                  </a:lnTo>
                  <a:lnTo>
                    <a:pt x="68" y="278"/>
                  </a:lnTo>
                  <a:lnTo>
                    <a:pt x="68" y="278"/>
                  </a:lnTo>
                  <a:lnTo>
                    <a:pt x="68" y="278"/>
                  </a:lnTo>
                  <a:lnTo>
                    <a:pt x="70" y="278"/>
                  </a:lnTo>
                  <a:lnTo>
                    <a:pt x="70" y="278"/>
                  </a:lnTo>
                  <a:lnTo>
                    <a:pt x="74" y="280"/>
                  </a:lnTo>
                  <a:lnTo>
                    <a:pt x="74" y="280"/>
                  </a:lnTo>
                  <a:lnTo>
                    <a:pt x="76" y="280"/>
                  </a:lnTo>
                  <a:lnTo>
                    <a:pt x="76" y="280"/>
                  </a:lnTo>
                  <a:lnTo>
                    <a:pt x="76" y="282"/>
                  </a:lnTo>
                  <a:lnTo>
                    <a:pt x="78" y="284"/>
                  </a:lnTo>
                  <a:lnTo>
                    <a:pt x="80" y="286"/>
                  </a:lnTo>
                  <a:lnTo>
                    <a:pt x="80" y="288"/>
                  </a:lnTo>
                  <a:lnTo>
                    <a:pt x="82" y="290"/>
                  </a:lnTo>
                  <a:lnTo>
                    <a:pt x="82" y="290"/>
                  </a:lnTo>
                  <a:lnTo>
                    <a:pt x="82" y="290"/>
                  </a:lnTo>
                  <a:lnTo>
                    <a:pt x="82" y="292"/>
                  </a:lnTo>
                  <a:lnTo>
                    <a:pt x="82" y="292"/>
                  </a:lnTo>
                  <a:lnTo>
                    <a:pt x="80" y="294"/>
                  </a:lnTo>
                  <a:lnTo>
                    <a:pt x="80" y="296"/>
                  </a:lnTo>
                  <a:lnTo>
                    <a:pt x="80" y="296"/>
                  </a:lnTo>
                  <a:lnTo>
                    <a:pt x="80" y="298"/>
                  </a:lnTo>
                  <a:lnTo>
                    <a:pt x="80" y="298"/>
                  </a:lnTo>
                  <a:lnTo>
                    <a:pt x="80" y="300"/>
                  </a:lnTo>
                  <a:lnTo>
                    <a:pt x="82" y="300"/>
                  </a:lnTo>
                  <a:lnTo>
                    <a:pt x="82" y="302"/>
                  </a:lnTo>
                  <a:lnTo>
                    <a:pt x="82" y="304"/>
                  </a:lnTo>
                  <a:lnTo>
                    <a:pt x="84" y="304"/>
                  </a:lnTo>
                  <a:lnTo>
                    <a:pt x="84" y="304"/>
                  </a:lnTo>
                  <a:lnTo>
                    <a:pt x="86" y="306"/>
                  </a:lnTo>
                  <a:lnTo>
                    <a:pt x="86" y="306"/>
                  </a:lnTo>
                  <a:lnTo>
                    <a:pt x="88" y="306"/>
                  </a:lnTo>
                  <a:lnTo>
                    <a:pt x="90" y="308"/>
                  </a:lnTo>
                  <a:lnTo>
                    <a:pt x="92" y="308"/>
                  </a:lnTo>
                  <a:lnTo>
                    <a:pt x="94" y="308"/>
                  </a:lnTo>
                  <a:lnTo>
                    <a:pt x="98" y="308"/>
                  </a:lnTo>
                  <a:lnTo>
                    <a:pt x="102" y="306"/>
                  </a:lnTo>
                  <a:lnTo>
                    <a:pt x="106" y="306"/>
                  </a:lnTo>
                  <a:lnTo>
                    <a:pt x="110" y="306"/>
                  </a:lnTo>
                  <a:lnTo>
                    <a:pt x="112" y="306"/>
                  </a:lnTo>
                  <a:lnTo>
                    <a:pt x="114" y="306"/>
                  </a:lnTo>
                  <a:lnTo>
                    <a:pt x="116" y="308"/>
                  </a:lnTo>
                  <a:lnTo>
                    <a:pt x="118" y="308"/>
                  </a:lnTo>
                  <a:lnTo>
                    <a:pt x="118" y="308"/>
                  </a:lnTo>
                  <a:lnTo>
                    <a:pt x="120" y="308"/>
                  </a:lnTo>
                  <a:lnTo>
                    <a:pt x="120" y="310"/>
                  </a:lnTo>
                  <a:lnTo>
                    <a:pt x="122" y="312"/>
                  </a:lnTo>
                  <a:lnTo>
                    <a:pt x="122" y="314"/>
                  </a:lnTo>
                  <a:lnTo>
                    <a:pt x="124" y="316"/>
                  </a:lnTo>
                  <a:lnTo>
                    <a:pt x="124" y="316"/>
                  </a:lnTo>
                  <a:lnTo>
                    <a:pt x="124" y="316"/>
                  </a:lnTo>
                  <a:lnTo>
                    <a:pt x="126" y="316"/>
                  </a:lnTo>
                  <a:lnTo>
                    <a:pt x="128" y="316"/>
                  </a:lnTo>
                  <a:lnTo>
                    <a:pt x="130" y="316"/>
                  </a:lnTo>
                  <a:lnTo>
                    <a:pt x="132" y="318"/>
                  </a:lnTo>
                  <a:lnTo>
                    <a:pt x="132" y="318"/>
                  </a:lnTo>
                  <a:lnTo>
                    <a:pt x="134" y="318"/>
                  </a:lnTo>
                  <a:lnTo>
                    <a:pt x="134" y="318"/>
                  </a:lnTo>
                  <a:lnTo>
                    <a:pt x="134" y="320"/>
                  </a:lnTo>
                  <a:lnTo>
                    <a:pt x="134" y="320"/>
                  </a:lnTo>
                  <a:lnTo>
                    <a:pt x="140" y="320"/>
                  </a:lnTo>
                  <a:lnTo>
                    <a:pt x="148" y="320"/>
                  </a:lnTo>
                  <a:lnTo>
                    <a:pt x="152" y="320"/>
                  </a:lnTo>
                  <a:lnTo>
                    <a:pt x="156" y="322"/>
                  </a:lnTo>
                  <a:lnTo>
                    <a:pt x="160" y="322"/>
                  </a:lnTo>
                  <a:lnTo>
                    <a:pt x="162" y="322"/>
                  </a:lnTo>
                  <a:lnTo>
                    <a:pt x="164" y="322"/>
                  </a:lnTo>
                  <a:lnTo>
                    <a:pt x="166" y="322"/>
                  </a:lnTo>
                  <a:lnTo>
                    <a:pt x="168" y="320"/>
                  </a:lnTo>
                  <a:lnTo>
                    <a:pt x="174" y="318"/>
                  </a:lnTo>
                  <a:lnTo>
                    <a:pt x="180" y="316"/>
                  </a:lnTo>
                  <a:lnTo>
                    <a:pt x="200" y="300"/>
                  </a:lnTo>
                  <a:lnTo>
                    <a:pt x="200" y="298"/>
                  </a:lnTo>
                  <a:lnTo>
                    <a:pt x="200" y="294"/>
                  </a:lnTo>
                  <a:lnTo>
                    <a:pt x="200" y="292"/>
                  </a:lnTo>
                  <a:lnTo>
                    <a:pt x="200" y="292"/>
                  </a:lnTo>
                  <a:lnTo>
                    <a:pt x="200" y="290"/>
                  </a:lnTo>
                  <a:lnTo>
                    <a:pt x="200" y="288"/>
                  </a:lnTo>
                  <a:lnTo>
                    <a:pt x="198" y="288"/>
                  </a:lnTo>
                  <a:lnTo>
                    <a:pt x="198" y="286"/>
                  </a:lnTo>
                  <a:lnTo>
                    <a:pt x="196" y="282"/>
                  </a:lnTo>
                  <a:lnTo>
                    <a:pt x="194" y="280"/>
                  </a:lnTo>
                  <a:lnTo>
                    <a:pt x="192" y="280"/>
                  </a:lnTo>
                  <a:lnTo>
                    <a:pt x="192" y="278"/>
                  </a:lnTo>
                  <a:lnTo>
                    <a:pt x="188" y="276"/>
                  </a:lnTo>
                  <a:lnTo>
                    <a:pt x="186" y="276"/>
                  </a:lnTo>
                  <a:lnTo>
                    <a:pt x="184" y="274"/>
                  </a:lnTo>
                  <a:lnTo>
                    <a:pt x="182" y="272"/>
                  </a:lnTo>
                  <a:lnTo>
                    <a:pt x="182" y="272"/>
                  </a:lnTo>
                  <a:lnTo>
                    <a:pt x="182" y="272"/>
                  </a:lnTo>
                  <a:lnTo>
                    <a:pt x="182" y="270"/>
                  </a:lnTo>
                  <a:lnTo>
                    <a:pt x="182" y="270"/>
                  </a:lnTo>
                  <a:lnTo>
                    <a:pt x="182" y="268"/>
                  </a:lnTo>
                  <a:lnTo>
                    <a:pt x="182" y="266"/>
                  </a:lnTo>
                  <a:lnTo>
                    <a:pt x="182" y="264"/>
                  </a:lnTo>
                  <a:lnTo>
                    <a:pt x="182" y="262"/>
                  </a:lnTo>
                  <a:lnTo>
                    <a:pt x="182" y="260"/>
                  </a:lnTo>
                  <a:lnTo>
                    <a:pt x="182" y="260"/>
                  </a:lnTo>
                  <a:lnTo>
                    <a:pt x="180" y="260"/>
                  </a:lnTo>
                  <a:lnTo>
                    <a:pt x="180" y="260"/>
                  </a:lnTo>
                  <a:lnTo>
                    <a:pt x="180" y="258"/>
                  </a:lnTo>
                  <a:lnTo>
                    <a:pt x="178" y="258"/>
                  </a:lnTo>
                  <a:lnTo>
                    <a:pt x="178" y="258"/>
                  </a:lnTo>
                  <a:lnTo>
                    <a:pt x="176" y="258"/>
                  </a:lnTo>
                  <a:lnTo>
                    <a:pt x="174" y="258"/>
                  </a:lnTo>
                  <a:lnTo>
                    <a:pt x="174" y="258"/>
                  </a:lnTo>
                  <a:lnTo>
                    <a:pt x="172" y="256"/>
                  </a:lnTo>
                  <a:lnTo>
                    <a:pt x="170" y="256"/>
                  </a:lnTo>
                  <a:lnTo>
                    <a:pt x="168" y="254"/>
                  </a:lnTo>
                  <a:lnTo>
                    <a:pt x="168" y="250"/>
                  </a:lnTo>
                  <a:lnTo>
                    <a:pt x="166" y="248"/>
                  </a:lnTo>
                  <a:lnTo>
                    <a:pt x="166" y="248"/>
                  </a:lnTo>
                  <a:lnTo>
                    <a:pt x="166" y="246"/>
                  </a:lnTo>
                  <a:lnTo>
                    <a:pt x="164" y="246"/>
                  </a:lnTo>
                  <a:lnTo>
                    <a:pt x="164" y="244"/>
                  </a:lnTo>
                  <a:lnTo>
                    <a:pt x="164" y="244"/>
                  </a:lnTo>
                  <a:lnTo>
                    <a:pt x="166" y="244"/>
                  </a:lnTo>
                  <a:lnTo>
                    <a:pt x="166" y="242"/>
                  </a:lnTo>
                  <a:lnTo>
                    <a:pt x="166" y="242"/>
                  </a:lnTo>
                  <a:lnTo>
                    <a:pt x="168" y="242"/>
                  </a:lnTo>
                  <a:lnTo>
                    <a:pt x="168" y="242"/>
                  </a:lnTo>
                  <a:lnTo>
                    <a:pt x="170" y="242"/>
                  </a:lnTo>
                  <a:lnTo>
                    <a:pt x="172" y="242"/>
                  </a:lnTo>
                  <a:lnTo>
                    <a:pt x="174" y="242"/>
                  </a:lnTo>
                  <a:lnTo>
                    <a:pt x="176" y="242"/>
                  </a:lnTo>
                  <a:lnTo>
                    <a:pt x="178" y="242"/>
                  </a:lnTo>
                  <a:lnTo>
                    <a:pt x="178" y="242"/>
                  </a:lnTo>
                  <a:lnTo>
                    <a:pt x="180" y="242"/>
                  </a:lnTo>
                  <a:lnTo>
                    <a:pt x="180" y="242"/>
                  </a:lnTo>
                  <a:lnTo>
                    <a:pt x="180" y="242"/>
                  </a:lnTo>
                  <a:lnTo>
                    <a:pt x="182" y="240"/>
                  </a:lnTo>
                  <a:lnTo>
                    <a:pt x="182" y="240"/>
                  </a:lnTo>
                  <a:lnTo>
                    <a:pt x="182" y="238"/>
                  </a:lnTo>
                  <a:lnTo>
                    <a:pt x="182" y="236"/>
                  </a:lnTo>
                  <a:lnTo>
                    <a:pt x="182" y="234"/>
                  </a:lnTo>
                  <a:lnTo>
                    <a:pt x="182" y="230"/>
                  </a:lnTo>
                  <a:lnTo>
                    <a:pt x="182" y="226"/>
                  </a:lnTo>
                  <a:lnTo>
                    <a:pt x="182" y="220"/>
                  </a:lnTo>
                  <a:lnTo>
                    <a:pt x="182" y="218"/>
                  </a:lnTo>
                  <a:lnTo>
                    <a:pt x="182" y="216"/>
                  </a:lnTo>
                  <a:lnTo>
                    <a:pt x="182" y="214"/>
                  </a:lnTo>
                  <a:lnTo>
                    <a:pt x="182" y="212"/>
                  </a:lnTo>
                  <a:lnTo>
                    <a:pt x="184" y="210"/>
                  </a:lnTo>
                  <a:lnTo>
                    <a:pt x="184" y="210"/>
                  </a:lnTo>
                  <a:lnTo>
                    <a:pt x="184" y="210"/>
                  </a:lnTo>
                  <a:lnTo>
                    <a:pt x="184" y="208"/>
                  </a:lnTo>
                  <a:lnTo>
                    <a:pt x="186" y="208"/>
                  </a:lnTo>
                  <a:lnTo>
                    <a:pt x="186" y="208"/>
                  </a:lnTo>
                  <a:lnTo>
                    <a:pt x="186" y="208"/>
                  </a:lnTo>
                  <a:lnTo>
                    <a:pt x="188" y="208"/>
                  </a:lnTo>
                  <a:lnTo>
                    <a:pt x="190" y="208"/>
                  </a:lnTo>
                  <a:lnTo>
                    <a:pt x="192" y="210"/>
                  </a:lnTo>
                  <a:lnTo>
                    <a:pt x="194" y="210"/>
                  </a:lnTo>
                  <a:lnTo>
                    <a:pt x="194" y="210"/>
                  </a:lnTo>
                  <a:lnTo>
                    <a:pt x="196" y="210"/>
                  </a:lnTo>
                  <a:lnTo>
                    <a:pt x="196" y="208"/>
                  </a:lnTo>
                  <a:lnTo>
                    <a:pt x="196" y="208"/>
                  </a:lnTo>
                  <a:lnTo>
                    <a:pt x="196" y="208"/>
                  </a:lnTo>
                  <a:lnTo>
                    <a:pt x="196" y="208"/>
                  </a:lnTo>
                  <a:lnTo>
                    <a:pt x="198" y="206"/>
                  </a:lnTo>
                  <a:lnTo>
                    <a:pt x="198" y="206"/>
                  </a:lnTo>
                  <a:lnTo>
                    <a:pt x="198" y="204"/>
                  </a:lnTo>
                  <a:lnTo>
                    <a:pt x="198" y="202"/>
                  </a:lnTo>
                  <a:lnTo>
                    <a:pt x="198" y="200"/>
                  </a:lnTo>
                  <a:lnTo>
                    <a:pt x="198" y="198"/>
                  </a:lnTo>
                  <a:lnTo>
                    <a:pt x="198" y="192"/>
                  </a:lnTo>
                  <a:lnTo>
                    <a:pt x="196" y="188"/>
                  </a:lnTo>
                  <a:lnTo>
                    <a:pt x="196" y="184"/>
                  </a:lnTo>
                  <a:lnTo>
                    <a:pt x="196" y="182"/>
                  </a:lnTo>
                  <a:lnTo>
                    <a:pt x="196" y="180"/>
                  </a:lnTo>
                  <a:lnTo>
                    <a:pt x="198" y="178"/>
                  </a:lnTo>
                  <a:lnTo>
                    <a:pt x="198" y="176"/>
                  </a:lnTo>
                  <a:lnTo>
                    <a:pt x="198" y="176"/>
                  </a:lnTo>
                  <a:lnTo>
                    <a:pt x="198" y="176"/>
                  </a:lnTo>
                  <a:lnTo>
                    <a:pt x="200" y="174"/>
                  </a:lnTo>
                  <a:lnTo>
                    <a:pt x="200" y="174"/>
                  </a:lnTo>
                  <a:lnTo>
                    <a:pt x="202" y="174"/>
                  </a:lnTo>
                  <a:lnTo>
                    <a:pt x="202" y="174"/>
                  </a:lnTo>
                  <a:lnTo>
                    <a:pt x="204" y="174"/>
                  </a:lnTo>
                  <a:lnTo>
                    <a:pt x="208" y="174"/>
                  </a:lnTo>
                  <a:lnTo>
                    <a:pt x="210" y="174"/>
                  </a:lnTo>
                  <a:lnTo>
                    <a:pt x="214" y="174"/>
                  </a:lnTo>
                  <a:lnTo>
                    <a:pt x="214" y="174"/>
                  </a:lnTo>
                  <a:lnTo>
                    <a:pt x="216" y="174"/>
                  </a:lnTo>
                  <a:lnTo>
                    <a:pt x="216" y="172"/>
                  </a:lnTo>
                  <a:lnTo>
                    <a:pt x="216" y="172"/>
                  </a:lnTo>
                  <a:lnTo>
                    <a:pt x="218" y="170"/>
                  </a:lnTo>
                  <a:lnTo>
                    <a:pt x="218" y="168"/>
                  </a:lnTo>
                  <a:lnTo>
                    <a:pt x="220" y="166"/>
                  </a:lnTo>
                  <a:lnTo>
                    <a:pt x="220" y="164"/>
                  </a:lnTo>
                  <a:lnTo>
                    <a:pt x="220" y="162"/>
                  </a:lnTo>
                  <a:lnTo>
                    <a:pt x="220" y="158"/>
                  </a:lnTo>
                  <a:lnTo>
                    <a:pt x="220" y="156"/>
                  </a:lnTo>
                  <a:lnTo>
                    <a:pt x="220" y="152"/>
                  </a:lnTo>
                  <a:lnTo>
                    <a:pt x="220" y="150"/>
                  </a:lnTo>
                  <a:lnTo>
                    <a:pt x="220" y="146"/>
                  </a:lnTo>
                  <a:lnTo>
                    <a:pt x="220" y="144"/>
                  </a:lnTo>
                  <a:lnTo>
                    <a:pt x="218" y="140"/>
                  </a:lnTo>
                  <a:lnTo>
                    <a:pt x="218" y="138"/>
                  </a:lnTo>
                  <a:lnTo>
                    <a:pt x="218" y="136"/>
                  </a:lnTo>
                  <a:lnTo>
                    <a:pt x="216" y="134"/>
                  </a:lnTo>
                  <a:lnTo>
                    <a:pt x="214" y="132"/>
                  </a:lnTo>
                  <a:lnTo>
                    <a:pt x="214" y="132"/>
                  </a:lnTo>
                  <a:lnTo>
                    <a:pt x="214" y="132"/>
                  </a:lnTo>
                  <a:lnTo>
                    <a:pt x="212" y="132"/>
                  </a:lnTo>
                  <a:lnTo>
                    <a:pt x="212" y="132"/>
                  </a:lnTo>
                  <a:lnTo>
                    <a:pt x="210" y="132"/>
                  </a:lnTo>
                  <a:lnTo>
                    <a:pt x="208" y="132"/>
                  </a:lnTo>
                  <a:lnTo>
                    <a:pt x="206" y="130"/>
                  </a:lnTo>
                  <a:lnTo>
                    <a:pt x="206" y="130"/>
                  </a:lnTo>
                  <a:lnTo>
                    <a:pt x="206" y="130"/>
                  </a:lnTo>
                  <a:lnTo>
                    <a:pt x="204" y="130"/>
                  </a:lnTo>
                  <a:lnTo>
                    <a:pt x="204" y="128"/>
                  </a:lnTo>
                  <a:lnTo>
                    <a:pt x="204" y="128"/>
                  </a:lnTo>
                  <a:lnTo>
                    <a:pt x="204" y="126"/>
                  </a:lnTo>
                  <a:lnTo>
                    <a:pt x="204" y="124"/>
                  </a:lnTo>
                  <a:lnTo>
                    <a:pt x="204" y="122"/>
                  </a:lnTo>
                  <a:lnTo>
                    <a:pt x="204" y="120"/>
                  </a:lnTo>
                  <a:lnTo>
                    <a:pt x="204" y="120"/>
                  </a:lnTo>
                  <a:lnTo>
                    <a:pt x="206" y="118"/>
                  </a:lnTo>
                  <a:lnTo>
                    <a:pt x="206" y="118"/>
                  </a:lnTo>
                  <a:lnTo>
                    <a:pt x="206" y="118"/>
                  </a:lnTo>
                  <a:lnTo>
                    <a:pt x="206" y="118"/>
                  </a:lnTo>
                  <a:lnTo>
                    <a:pt x="208" y="118"/>
                  </a:lnTo>
                  <a:lnTo>
                    <a:pt x="208" y="118"/>
                  </a:lnTo>
                  <a:lnTo>
                    <a:pt x="210" y="118"/>
                  </a:lnTo>
                  <a:lnTo>
                    <a:pt x="212" y="118"/>
                  </a:lnTo>
                  <a:lnTo>
                    <a:pt x="214" y="120"/>
                  </a:lnTo>
                  <a:lnTo>
                    <a:pt x="216" y="120"/>
                  </a:lnTo>
                  <a:lnTo>
                    <a:pt x="216" y="120"/>
                  </a:lnTo>
                  <a:lnTo>
                    <a:pt x="218" y="120"/>
                  </a:lnTo>
                  <a:lnTo>
                    <a:pt x="218" y="120"/>
                  </a:lnTo>
                  <a:lnTo>
                    <a:pt x="218" y="120"/>
                  </a:lnTo>
                  <a:lnTo>
                    <a:pt x="218" y="118"/>
                  </a:lnTo>
                  <a:lnTo>
                    <a:pt x="220" y="118"/>
                  </a:lnTo>
                  <a:lnTo>
                    <a:pt x="220" y="118"/>
                  </a:lnTo>
                  <a:lnTo>
                    <a:pt x="220" y="116"/>
                  </a:lnTo>
                  <a:lnTo>
                    <a:pt x="220" y="116"/>
                  </a:lnTo>
                  <a:lnTo>
                    <a:pt x="220" y="114"/>
                  </a:lnTo>
                  <a:lnTo>
                    <a:pt x="218" y="110"/>
                  </a:lnTo>
                  <a:lnTo>
                    <a:pt x="218" y="108"/>
                  </a:lnTo>
                  <a:lnTo>
                    <a:pt x="216" y="106"/>
                  </a:lnTo>
                  <a:lnTo>
                    <a:pt x="216" y="104"/>
                  </a:lnTo>
                  <a:lnTo>
                    <a:pt x="214" y="100"/>
                  </a:lnTo>
                  <a:lnTo>
                    <a:pt x="212" y="96"/>
                  </a:lnTo>
                  <a:lnTo>
                    <a:pt x="212" y="94"/>
                  </a:lnTo>
                  <a:lnTo>
                    <a:pt x="212" y="92"/>
                  </a:lnTo>
                  <a:lnTo>
                    <a:pt x="212" y="88"/>
                  </a:lnTo>
                  <a:lnTo>
                    <a:pt x="210" y="84"/>
                  </a:lnTo>
                  <a:lnTo>
                    <a:pt x="210" y="80"/>
                  </a:lnTo>
                  <a:lnTo>
                    <a:pt x="210" y="78"/>
                  </a:lnTo>
                  <a:lnTo>
                    <a:pt x="210" y="76"/>
                  </a:lnTo>
                  <a:lnTo>
                    <a:pt x="210" y="74"/>
                  </a:lnTo>
                  <a:lnTo>
                    <a:pt x="210" y="72"/>
                  </a:lnTo>
                  <a:lnTo>
                    <a:pt x="212" y="70"/>
                  </a:lnTo>
                  <a:lnTo>
                    <a:pt x="212" y="66"/>
                  </a:lnTo>
                  <a:lnTo>
                    <a:pt x="214" y="62"/>
                  </a:lnTo>
                  <a:lnTo>
                    <a:pt x="216" y="58"/>
                  </a:lnTo>
                  <a:lnTo>
                    <a:pt x="220" y="50"/>
                  </a:lnTo>
                  <a:lnTo>
                    <a:pt x="220" y="46"/>
                  </a:lnTo>
                  <a:lnTo>
                    <a:pt x="220" y="40"/>
                  </a:lnTo>
                  <a:lnTo>
                    <a:pt x="220" y="36"/>
                  </a:lnTo>
                  <a:lnTo>
                    <a:pt x="220" y="34"/>
                  </a:lnTo>
                  <a:lnTo>
                    <a:pt x="220" y="32"/>
                  </a:lnTo>
                  <a:lnTo>
                    <a:pt x="218" y="28"/>
                  </a:lnTo>
                  <a:lnTo>
                    <a:pt x="216" y="24"/>
                  </a:lnTo>
                  <a:lnTo>
                    <a:pt x="216" y="20"/>
                  </a:lnTo>
                  <a:lnTo>
                    <a:pt x="214" y="18"/>
                  </a:lnTo>
                  <a:lnTo>
                    <a:pt x="212" y="16"/>
                  </a:lnTo>
                  <a:lnTo>
                    <a:pt x="212" y="14"/>
                  </a:lnTo>
                  <a:lnTo>
                    <a:pt x="212" y="14"/>
                  </a:lnTo>
                  <a:lnTo>
                    <a:pt x="210" y="12"/>
                  </a:lnTo>
                  <a:lnTo>
                    <a:pt x="208" y="10"/>
                  </a:lnTo>
                  <a:lnTo>
                    <a:pt x="204" y="8"/>
                  </a:lnTo>
                  <a:lnTo>
                    <a:pt x="200" y="6"/>
                  </a:lnTo>
                  <a:lnTo>
                    <a:pt x="196" y="2"/>
                  </a:lnTo>
                  <a:lnTo>
                    <a:pt x="192" y="0"/>
                  </a:lnTo>
                  <a:lnTo>
                    <a:pt x="190" y="2"/>
                  </a:lnTo>
                  <a:lnTo>
                    <a:pt x="188" y="6"/>
                  </a:lnTo>
                  <a:lnTo>
                    <a:pt x="184" y="10"/>
                  </a:lnTo>
                  <a:lnTo>
                    <a:pt x="180" y="14"/>
                  </a:lnTo>
                  <a:lnTo>
                    <a:pt x="178" y="16"/>
                  </a:lnTo>
                  <a:lnTo>
                    <a:pt x="176" y="16"/>
                  </a:lnTo>
                  <a:lnTo>
                    <a:pt x="174" y="18"/>
                  </a:lnTo>
                  <a:lnTo>
                    <a:pt x="172" y="18"/>
                  </a:lnTo>
                  <a:lnTo>
                    <a:pt x="170" y="20"/>
                  </a:lnTo>
                  <a:lnTo>
                    <a:pt x="168" y="20"/>
                  </a:lnTo>
                  <a:lnTo>
                    <a:pt x="168" y="20"/>
                  </a:lnTo>
                  <a:lnTo>
                    <a:pt x="168" y="20"/>
                  </a:lnTo>
                  <a:lnTo>
                    <a:pt x="166" y="20"/>
                  </a:lnTo>
                  <a:lnTo>
                    <a:pt x="166" y="18"/>
                  </a:lnTo>
                  <a:lnTo>
                    <a:pt x="164" y="18"/>
                  </a:lnTo>
                  <a:lnTo>
                    <a:pt x="164" y="16"/>
                  </a:lnTo>
                  <a:lnTo>
                    <a:pt x="162" y="14"/>
                  </a:lnTo>
                  <a:lnTo>
                    <a:pt x="160" y="12"/>
                  </a:lnTo>
                  <a:lnTo>
                    <a:pt x="160" y="12"/>
                  </a:lnTo>
                  <a:lnTo>
                    <a:pt x="158" y="12"/>
                  </a:lnTo>
                  <a:lnTo>
                    <a:pt x="156" y="12"/>
                  </a:lnTo>
                  <a:lnTo>
                    <a:pt x="154" y="10"/>
                  </a:lnTo>
                  <a:lnTo>
                    <a:pt x="150" y="10"/>
                  </a:lnTo>
                  <a:lnTo>
                    <a:pt x="144" y="8"/>
                  </a:lnTo>
                  <a:lnTo>
                    <a:pt x="138" y="8"/>
                  </a:lnTo>
                  <a:lnTo>
                    <a:pt x="132" y="8"/>
                  </a:lnTo>
                  <a:lnTo>
                    <a:pt x="126" y="6"/>
                  </a:lnTo>
                  <a:lnTo>
                    <a:pt x="118" y="6"/>
                  </a:lnTo>
                  <a:lnTo>
                    <a:pt x="112" y="6"/>
                  </a:lnTo>
                  <a:lnTo>
                    <a:pt x="106" y="6"/>
                  </a:lnTo>
                  <a:lnTo>
                    <a:pt x="98" y="6"/>
                  </a:lnTo>
                  <a:lnTo>
                    <a:pt x="92" y="8"/>
                  </a:lnTo>
                  <a:lnTo>
                    <a:pt x="86" y="8"/>
                  </a:lnTo>
                  <a:lnTo>
                    <a:pt x="80" y="8"/>
                  </a:lnTo>
                  <a:lnTo>
                    <a:pt x="74" y="10"/>
                  </a:lnTo>
                  <a:lnTo>
                    <a:pt x="70" y="10"/>
                  </a:lnTo>
                  <a:lnTo>
                    <a:pt x="64" y="12"/>
                  </a:lnTo>
                  <a:lnTo>
                    <a:pt x="64" y="12"/>
                  </a:lnTo>
                  <a:lnTo>
                    <a:pt x="62" y="14"/>
                  </a:lnTo>
                  <a:lnTo>
                    <a:pt x="58" y="16"/>
                  </a:lnTo>
                  <a:lnTo>
                    <a:pt x="56" y="18"/>
                  </a:lnTo>
                  <a:lnTo>
                    <a:pt x="54" y="20"/>
                  </a:lnTo>
                  <a:lnTo>
                    <a:pt x="48" y="22"/>
                  </a:lnTo>
                  <a:lnTo>
                    <a:pt x="44" y="24"/>
                  </a:lnTo>
                  <a:lnTo>
                    <a:pt x="44" y="28"/>
                  </a:lnTo>
                  <a:lnTo>
                    <a:pt x="46" y="32"/>
                  </a:lnTo>
                  <a:lnTo>
                    <a:pt x="46" y="36"/>
                  </a:lnTo>
                  <a:lnTo>
                    <a:pt x="46" y="40"/>
                  </a:lnTo>
                  <a:lnTo>
                    <a:pt x="46" y="42"/>
                  </a:lnTo>
                  <a:lnTo>
                    <a:pt x="44" y="44"/>
                  </a:lnTo>
                  <a:lnTo>
                    <a:pt x="44" y="46"/>
                  </a:lnTo>
                  <a:lnTo>
                    <a:pt x="44" y="48"/>
                  </a:lnTo>
                  <a:lnTo>
                    <a:pt x="44" y="48"/>
                  </a:lnTo>
                  <a:lnTo>
                    <a:pt x="42" y="50"/>
                  </a:lnTo>
                  <a:lnTo>
                    <a:pt x="42" y="50"/>
                  </a:lnTo>
                  <a:lnTo>
                    <a:pt x="42" y="50"/>
                  </a:lnTo>
                  <a:lnTo>
                    <a:pt x="42" y="50"/>
                  </a:lnTo>
                  <a:lnTo>
                    <a:pt x="40" y="52"/>
                  </a:lnTo>
                  <a:lnTo>
                    <a:pt x="38" y="52"/>
                  </a:lnTo>
                  <a:lnTo>
                    <a:pt x="36" y="52"/>
                  </a:lnTo>
                  <a:lnTo>
                    <a:pt x="36" y="52"/>
                  </a:lnTo>
                  <a:lnTo>
                    <a:pt x="34" y="52"/>
                  </a:lnTo>
                  <a:lnTo>
                    <a:pt x="34" y="52"/>
                  </a:lnTo>
                  <a:lnTo>
                    <a:pt x="32" y="52"/>
                  </a:lnTo>
                  <a:lnTo>
                    <a:pt x="32" y="54"/>
                  </a:lnTo>
                  <a:lnTo>
                    <a:pt x="32" y="56"/>
                  </a:lnTo>
                  <a:lnTo>
                    <a:pt x="32" y="58"/>
                  </a:lnTo>
                  <a:lnTo>
                    <a:pt x="32" y="58"/>
                  </a:lnTo>
                  <a:lnTo>
                    <a:pt x="32" y="62"/>
                  </a:lnTo>
                  <a:lnTo>
                    <a:pt x="32" y="64"/>
                  </a:lnTo>
                  <a:lnTo>
                    <a:pt x="32" y="68"/>
                  </a:lnTo>
                  <a:lnTo>
                    <a:pt x="34" y="72"/>
                  </a:lnTo>
                  <a:lnTo>
                    <a:pt x="34" y="76"/>
                  </a:lnTo>
                  <a:lnTo>
                    <a:pt x="36" y="7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3" name="Freeform 412">
              <a:extLst>
                <a:ext uri="{FF2B5EF4-FFF2-40B4-BE49-F238E27FC236}">
                  <a16:creationId xmlns:a16="http://schemas.microsoft.com/office/drawing/2014/main" id="{4DE31099-9A4E-482E-B3E8-231B79660731}"/>
                </a:ext>
              </a:extLst>
            </p:cNvPr>
            <p:cNvSpPr>
              <a:spLocks/>
            </p:cNvSpPr>
            <p:nvPr/>
          </p:nvSpPr>
          <p:spPr bwMode="auto">
            <a:xfrm>
              <a:off x="4477061" y="4583856"/>
              <a:ext cx="162815" cy="190528"/>
            </a:xfrm>
            <a:custGeom>
              <a:avLst/>
              <a:gdLst>
                <a:gd name="T0" fmla="*/ 60 w 94"/>
                <a:gd name="T1" fmla="*/ 0 h 110"/>
                <a:gd name="T2" fmla="*/ 48 w 94"/>
                <a:gd name="T3" fmla="*/ 0 h 110"/>
                <a:gd name="T4" fmla="*/ 42 w 94"/>
                <a:gd name="T5" fmla="*/ 4 h 110"/>
                <a:gd name="T6" fmla="*/ 38 w 94"/>
                <a:gd name="T7" fmla="*/ 8 h 110"/>
                <a:gd name="T8" fmla="*/ 38 w 94"/>
                <a:gd name="T9" fmla="*/ 16 h 110"/>
                <a:gd name="T10" fmla="*/ 36 w 94"/>
                <a:gd name="T11" fmla="*/ 24 h 110"/>
                <a:gd name="T12" fmla="*/ 34 w 94"/>
                <a:gd name="T13" fmla="*/ 26 h 110"/>
                <a:gd name="T14" fmla="*/ 28 w 94"/>
                <a:gd name="T15" fmla="*/ 28 h 110"/>
                <a:gd name="T16" fmla="*/ 20 w 94"/>
                <a:gd name="T17" fmla="*/ 28 h 110"/>
                <a:gd name="T18" fmla="*/ 16 w 94"/>
                <a:gd name="T19" fmla="*/ 24 h 110"/>
                <a:gd name="T20" fmla="*/ 16 w 94"/>
                <a:gd name="T21" fmla="*/ 34 h 110"/>
                <a:gd name="T22" fmla="*/ 16 w 94"/>
                <a:gd name="T23" fmla="*/ 42 h 110"/>
                <a:gd name="T24" fmla="*/ 14 w 94"/>
                <a:gd name="T25" fmla="*/ 44 h 110"/>
                <a:gd name="T26" fmla="*/ 4 w 94"/>
                <a:gd name="T27" fmla="*/ 48 h 110"/>
                <a:gd name="T28" fmla="*/ 2 w 94"/>
                <a:gd name="T29" fmla="*/ 50 h 110"/>
                <a:gd name="T30" fmla="*/ 2 w 94"/>
                <a:gd name="T31" fmla="*/ 52 h 110"/>
                <a:gd name="T32" fmla="*/ 4 w 94"/>
                <a:gd name="T33" fmla="*/ 54 h 110"/>
                <a:gd name="T34" fmla="*/ 8 w 94"/>
                <a:gd name="T35" fmla="*/ 56 h 110"/>
                <a:gd name="T36" fmla="*/ 8 w 94"/>
                <a:gd name="T37" fmla="*/ 62 h 110"/>
                <a:gd name="T38" fmla="*/ 8 w 94"/>
                <a:gd name="T39" fmla="*/ 68 h 110"/>
                <a:gd name="T40" fmla="*/ 10 w 94"/>
                <a:gd name="T41" fmla="*/ 74 h 110"/>
                <a:gd name="T42" fmla="*/ 22 w 94"/>
                <a:gd name="T43" fmla="*/ 82 h 110"/>
                <a:gd name="T44" fmla="*/ 32 w 94"/>
                <a:gd name="T45" fmla="*/ 94 h 110"/>
                <a:gd name="T46" fmla="*/ 48 w 94"/>
                <a:gd name="T47" fmla="*/ 106 h 110"/>
                <a:gd name="T48" fmla="*/ 54 w 94"/>
                <a:gd name="T49" fmla="*/ 96 h 110"/>
                <a:gd name="T50" fmla="*/ 56 w 94"/>
                <a:gd name="T51" fmla="*/ 90 h 110"/>
                <a:gd name="T52" fmla="*/ 54 w 94"/>
                <a:gd name="T53" fmla="*/ 88 h 110"/>
                <a:gd name="T54" fmla="*/ 48 w 94"/>
                <a:gd name="T55" fmla="*/ 86 h 110"/>
                <a:gd name="T56" fmla="*/ 46 w 94"/>
                <a:gd name="T57" fmla="*/ 80 h 110"/>
                <a:gd name="T58" fmla="*/ 48 w 94"/>
                <a:gd name="T59" fmla="*/ 76 h 110"/>
                <a:gd name="T60" fmla="*/ 50 w 94"/>
                <a:gd name="T61" fmla="*/ 74 h 110"/>
                <a:gd name="T62" fmla="*/ 60 w 94"/>
                <a:gd name="T63" fmla="*/ 70 h 110"/>
                <a:gd name="T64" fmla="*/ 64 w 94"/>
                <a:gd name="T65" fmla="*/ 70 h 110"/>
                <a:gd name="T66" fmla="*/ 68 w 94"/>
                <a:gd name="T67" fmla="*/ 74 h 110"/>
                <a:gd name="T68" fmla="*/ 72 w 94"/>
                <a:gd name="T69" fmla="*/ 80 h 110"/>
                <a:gd name="T70" fmla="*/ 74 w 94"/>
                <a:gd name="T71" fmla="*/ 80 h 110"/>
                <a:gd name="T72" fmla="*/ 80 w 94"/>
                <a:gd name="T73" fmla="*/ 78 h 110"/>
                <a:gd name="T74" fmla="*/ 88 w 94"/>
                <a:gd name="T75" fmla="*/ 72 h 110"/>
                <a:gd name="T76" fmla="*/ 92 w 94"/>
                <a:gd name="T77" fmla="*/ 64 h 110"/>
                <a:gd name="T78" fmla="*/ 94 w 94"/>
                <a:gd name="T79" fmla="*/ 58 h 110"/>
                <a:gd name="T80" fmla="*/ 92 w 94"/>
                <a:gd name="T81" fmla="*/ 50 h 110"/>
                <a:gd name="T82" fmla="*/ 90 w 94"/>
                <a:gd name="T83" fmla="*/ 46 h 110"/>
                <a:gd name="T84" fmla="*/ 84 w 94"/>
                <a:gd name="T85" fmla="*/ 40 h 110"/>
                <a:gd name="T86" fmla="*/ 80 w 94"/>
                <a:gd name="T87" fmla="*/ 32 h 110"/>
                <a:gd name="T88" fmla="*/ 80 w 94"/>
                <a:gd name="T89" fmla="*/ 28 h 110"/>
                <a:gd name="T90" fmla="*/ 82 w 94"/>
                <a:gd name="T91" fmla="*/ 22 h 110"/>
                <a:gd name="T92" fmla="*/ 82 w 94"/>
                <a:gd name="T93" fmla="*/ 18 h 110"/>
                <a:gd name="T94" fmla="*/ 80 w 94"/>
                <a:gd name="T95" fmla="*/ 14 h 110"/>
                <a:gd name="T96" fmla="*/ 76 w 94"/>
                <a:gd name="T97" fmla="*/ 12 h 110"/>
                <a:gd name="T98" fmla="*/ 70 w 94"/>
                <a:gd name="T99" fmla="*/ 12 h 110"/>
                <a:gd name="T100" fmla="*/ 70 w 94"/>
                <a:gd name="T101" fmla="*/ 12 h 110"/>
                <a:gd name="T102" fmla="*/ 68 w 94"/>
                <a:gd name="T103" fmla="*/ 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 h="110">
                  <a:moveTo>
                    <a:pt x="70" y="0"/>
                  </a:moveTo>
                  <a:lnTo>
                    <a:pt x="70" y="0"/>
                  </a:lnTo>
                  <a:lnTo>
                    <a:pt x="66" y="0"/>
                  </a:lnTo>
                  <a:lnTo>
                    <a:pt x="60" y="0"/>
                  </a:lnTo>
                  <a:lnTo>
                    <a:pt x="56" y="0"/>
                  </a:lnTo>
                  <a:lnTo>
                    <a:pt x="52" y="0"/>
                  </a:lnTo>
                  <a:lnTo>
                    <a:pt x="50" y="0"/>
                  </a:lnTo>
                  <a:lnTo>
                    <a:pt x="48" y="0"/>
                  </a:lnTo>
                  <a:lnTo>
                    <a:pt x="46" y="0"/>
                  </a:lnTo>
                  <a:lnTo>
                    <a:pt x="46" y="2"/>
                  </a:lnTo>
                  <a:lnTo>
                    <a:pt x="44" y="2"/>
                  </a:lnTo>
                  <a:lnTo>
                    <a:pt x="42" y="4"/>
                  </a:lnTo>
                  <a:lnTo>
                    <a:pt x="40" y="4"/>
                  </a:lnTo>
                  <a:lnTo>
                    <a:pt x="40" y="6"/>
                  </a:lnTo>
                  <a:lnTo>
                    <a:pt x="38" y="6"/>
                  </a:lnTo>
                  <a:lnTo>
                    <a:pt x="38" y="8"/>
                  </a:lnTo>
                  <a:lnTo>
                    <a:pt x="38" y="8"/>
                  </a:lnTo>
                  <a:lnTo>
                    <a:pt x="38" y="10"/>
                  </a:lnTo>
                  <a:lnTo>
                    <a:pt x="38" y="12"/>
                  </a:lnTo>
                  <a:lnTo>
                    <a:pt x="38" y="16"/>
                  </a:lnTo>
                  <a:lnTo>
                    <a:pt x="38" y="16"/>
                  </a:lnTo>
                  <a:lnTo>
                    <a:pt x="38" y="20"/>
                  </a:lnTo>
                  <a:lnTo>
                    <a:pt x="36" y="22"/>
                  </a:lnTo>
                  <a:lnTo>
                    <a:pt x="36" y="24"/>
                  </a:lnTo>
                  <a:lnTo>
                    <a:pt x="36" y="26"/>
                  </a:lnTo>
                  <a:lnTo>
                    <a:pt x="34" y="26"/>
                  </a:lnTo>
                  <a:lnTo>
                    <a:pt x="34" y="26"/>
                  </a:lnTo>
                  <a:lnTo>
                    <a:pt x="34" y="26"/>
                  </a:lnTo>
                  <a:lnTo>
                    <a:pt x="34" y="28"/>
                  </a:lnTo>
                  <a:lnTo>
                    <a:pt x="32" y="28"/>
                  </a:lnTo>
                  <a:lnTo>
                    <a:pt x="30" y="28"/>
                  </a:lnTo>
                  <a:lnTo>
                    <a:pt x="28" y="28"/>
                  </a:lnTo>
                  <a:lnTo>
                    <a:pt x="24" y="28"/>
                  </a:lnTo>
                  <a:lnTo>
                    <a:pt x="22" y="28"/>
                  </a:lnTo>
                  <a:lnTo>
                    <a:pt x="20" y="28"/>
                  </a:lnTo>
                  <a:lnTo>
                    <a:pt x="20" y="28"/>
                  </a:lnTo>
                  <a:lnTo>
                    <a:pt x="18" y="28"/>
                  </a:lnTo>
                  <a:lnTo>
                    <a:pt x="18" y="26"/>
                  </a:lnTo>
                  <a:lnTo>
                    <a:pt x="16" y="26"/>
                  </a:lnTo>
                  <a:lnTo>
                    <a:pt x="16" y="24"/>
                  </a:lnTo>
                  <a:lnTo>
                    <a:pt x="16" y="26"/>
                  </a:lnTo>
                  <a:lnTo>
                    <a:pt x="16" y="28"/>
                  </a:lnTo>
                  <a:lnTo>
                    <a:pt x="16" y="32"/>
                  </a:lnTo>
                  <a:lnTo>
                    <a:pt x="16" y="34"/>
                  </a:lnTo>
                  <a:lnTo>
                    <a:pt x="16" y="38"/>
                  </a:lnTo>
                  <a:lnTo>
                    <a:pt x="16" y="40"/>
                  </a:lnTo>
                  <a:lnTo>
                    <a:pt x="16" y="40"/>
                  </a:lnTo>
                  <a:lnTo>
                    <a:pt x="16" y="42"/>
                  </a:lnTo>
                  <a:lnTo>
                    <a:pt x="16" y="42"/>
                  </a:lnTo>
                  <a:lnTo>
                    <a:pt x="16" y="44"/>
                  </a:lnTo>
                  <a:lnTo>
                    <a:pt x="14" y="44"/>
                  </a:lnTo>
                  <a:lnTo>
                    <a:pt x="14" y="44"/>
                  </a:lnTo>
                  <a:lnTo>
                    <a:pt x="12" y="46"/>
                  </a:lnTo>
                  <a:lnTo>
                    <a:pt x="10" y="46"/>
                  </a:lnTo>
                  <a:lnTo>
                    <a:pt x="6" y="46"/>
                  </a:lnTo>
                  <a:lnTo>
                    <a:pt x="4" y="48"/>
                  </a:lnTo>
                  <a:lnTo>
                    <a:pt x="4" y="48"/>
                  </a:lnTo>
                  <a:lnTo>
                    <a:pt x="4" y="48"/>
                  </a:lnTo>
                  <a:lnTo>
                    <a:pt x="2" y="48"/>
                  </a:lnTo>
                  <a:lnTo>
                    <a:pt x="2" y="50"/>
                  </a:lnTo>
                  <a:lnTo>
                    <a:pt x="2" y="52"/>
                  </a:lnTo>
                  <a:lnTo>
                    <a:pt x="0" y="52"/>
                  </a:lnTo>
                  <a:lnTo>
                    <a:pt x="0" y="52"/>
                  </a:lnTo>
                  <a:lnTo>
                    <a:pt x="2" y="52"/>
                  </a:lnTo>
                  <a:lnTo>
                    <a:pt x="2" y="54"/>
                  </a:lnTo>
                  <a:lnTo>
                    <a:pt x="2" y="54"/>
                  </a:lnTo>
                  <a:lnTo>
                    <a:pt x="4" y="54"/>
                  </a:lnTo>
                  <a:lnTo>
                    <a:pt x="4" y="54"/>
                  </a:lnTo>
                  <a:lnTo>
                    <a:pt x="6" y="54"/>
                  </a:lnTo>
                  <a:lnTo>
                    <a:pt x="8" y="56"/>
                  </a:lnTo>
                  <a:lnTo>
                    <a:pt x="8" y="56"/>
                  </a:lnTo>
                  <a:lnTo>
                    <a:pt x="8" y="56"/>
                  </a:lnTo>
                  <a:lnTo>
                    <a:pt x="8" y="56"/>
                  </a:lnTo>
                  <a:lnTo>
                    <a:pt x="8" y="58"/>
                  </a:lnTo>
                  <a:lnTo>
                    <a:pt x="8" y="60"/>
                  </a:lnTo>
                  <a:lnTo>
                    <a:pt x="8" y="62"/>
                  </a:lnTo>
                  <a:lnTo>
                    <a:pt x="8" y="64"/>
                  </a:lnTo>
                  <a:lnTo>
                    <a:pt x="8" y="66"/>
                  </a:lnTo>
                  <a:lnTo>
                    <a:pt x="6" y="68"/>
                  </a:lnTo>
                  <a:lnTo>
                    <a:pt x="8" y="68"/>
                  </a:lnTo>
                  <a:lnTo>
                    <a:pt x="8" y="70"/>
                  </a:lnTo>
                  <a:lnTo>
                    <a:pt x="8" y="70"/>
                  </a:lnTo>
                  <a:lnTo>
                    <a:pt x="8" y="72"/>
                  </a:lnTo>
                  <a:lnTo>
                    <a:pt x="10" y="74"/>
                  </a:lnTo>
                  <a:lnTo>
                    <a:pt x="10" y="74"/>
                  </a:lnTo>
                  <a:lnTo>
                    <a:pt x="12" y="76"/>
                  </a:lnTo>
                  <a:lnTo>
                    <a:pt x="16" y="78"/>
                  </a:lnTo>
                  <a:lnTo>
                    <a:pt x="22" y="82"/>
                  </a:lnTo>
                  <a:lnTo>
                    <a:pt x="24" y="84"/>
                  </a:lnTo>
                  <a:lnTo>
                    <a:pt x="26" y="86"/>
                  </a:lnTo>
                  <a:lnTo>
                    <a:pt x="28" y="90"/>
                  </a:lnTo>
                  <a:lnTo>
                    <a:pt x="32" y="94"/>
                  </a:lnTo>
                  <a:lnTo>
                    <a:pt x="36" y="100"/>
                  </a:lnTo>
                  <a:lnTo>
                    <a:pt x="40" y="104"/>
                  </a:lnTo>
                  <a:lnTo>
                    <a:pt x="46" y="110"/>
                  </a:lnTo>
                  <a:lnTo>
                    <a:pt x="48" y="106"/>
                  </a:lnTo>
                  <a:lnTo>
                    <a:pt x="50" y="104"/>
                  </a:lnTo>
                  <a:lnTo>
                    <a:pt x="50" y="102"/>
                  </a:lnTo>
                  <a:lnTo>
                    <a:pt x="52" y="100"/>
                  </a:lnTo>
                  <a:lnTo>
                    <a:pt x="54" y="96"/>
                  </a:lnTo>
                  <a:lnTo>
                    <a:pt x="54" y="94"/>
                  </a:lnTo>
                  <a:lnTo>
                    <a:pt x="56" y="92"/>
                  </a:lnTo>
                  <a:lnTo>
                    <a:pt x="56" y="92"/>
                  </a:lnTo>
                  <a:lnTo>
                    <a:pt x="56" y="90"/>
                  </a:lnTo>
                  <a:lnTo>
                    <a:pt x="56" y="90"/>
                  </a:lnTo>
                  <a:lnTo>
                    <a:pt x="56" y="90"/>
                  </a:lnTo>
                  <a:lnTo>
                    <a:pt x="54" y="90"/>
                  </a:lnTo>
                  <a:lnTo>
                    <a:pt x="54" y="88"/>
                  </a:lnTo>
                  <a:lnTo>
                    <a:pt x="54" y="88"/>
                  </a:lnTo>
                  <a:lnTo>
                    <a:pt x="52" y="88"/>
                  </a:lnTo>
                  <a:lnTo>
                    <a:pt x="50" y="86"/>
                  </a:lnTo>
                  <a:lnTo>
                    <a:pt x="48" y="86"/>
                  </a:lnTo>
                  <a:lnTo>
                    <a:pt x="48" y="84"/>
                  </a:lnTo>
                  <a:lnTo>
                    <a:pt x="48" y="84"/>
                  </a:lnTo>
                  <a:lnTo>
                    <a:pt x="48" y="82"/>
                  </a:lnTo>
                  <a:lnTo>
                    <a:pt x="46" y="80"/>
                  </a:lnTo>
                  <a:lnTo>
                    <a:pt x="46" y="80"/>
                  </a:lnTo>
                  <a:lnTo>
                    <a:pt x="46" y="78"/>
                  </a:lnTo>
                  <a:lnTo>
                    <a:pt x="46" y="78"/>
                  </a:lnTo>
                  <a:lnTo>
                    <a:pt x="48" y="76"/>
                  </a:lnTo>
                  <a:lnTo>
                    <a:pt x="48" y="76"/>
                  </a:lnTo>
                  <a:lnTo>
                    <a:pt x="48" y="76"/>
                  </a:lnTo>
                  <a:lnTo>
                    <a:pt x="48" y="76"/>
                  </a:lnTo>
                  <a:lnTo>
                    <a:pt x="50" y="74"/>
                  </a:lnTo>
                  <a:lnTo>
                    <a:pt x="52" y="74"/>
                  </a:lnTo>
                  <a:lnTo>
                    <a:pt x="54" y="72"/>
                  </a:lnTo>
                  <a:lnTo>
                    <a:pt x="58" y="72"/>
                  </a:lnTo>
                  <a:lnTo>
                    <a:pt x="60" y="70"/>
                  </a:lnTo>
                  <a:lnTo>
                    <a:pt x="62" y="70"/>
                  </a:lnTo>
                  <a:lnTo>
                    <a:pt x="64" y="70"/>
                  </a:lnTo>
                  <a:lnTo>
                    <a:pt x="64" y="70"/>
                  </a:lnTo>
                  <a:lnTo>
                    <a:pt x="64" y="70"/>
                  </a:lnTo>
                  <a:lnTo>
                    <a:pt x="66" y="70"/>
                  </a:lnTo>
                  <a:lnTo>
                    <a:pt x="66" y="70"/>
                  </a:lnTo>
                  <a:lnTo>
                    <a:pt x="66" y="72"/>
                  </a:lnTo>
                  <a:lnTo>
                    <a:pt x="68" y="74"/>
                  </a:lnTo>
                  <a:lnTo>
                    <a:pt x="68" y="76"/>
                  </a:lnTo>
                  <a:lnTo>
                    <a:pt x="70" y="78"/>
                  </a:lnTo>
                  <a:lnTo>
                    <a:pt x="70" y="78"/>
                  </a:lnTo>
                  <a:lnTo>
                    <a:pt x="72" y="80"/>
                  </a:lnTo>
                  <a:lnTo>
                    <a:pt x="72" y="80"/>
                  </a:lnTo>
                  <a:lnTo>
                    <a:pt x="72" y="80"/>
                  </a:lnTo>
                  <a:lnTo>
                    <a:pt x="72" y="80"/>
                  </a:lnTo>
                  <a:lnTo>
                    <a:pt x="74" y="80"/>
                  </a:lnTo>
                  <a:lnTo>
                    <a:pt x="76" y="80"/>
                  </a:lnTo>
                  <a:lnTo>
                    <a:pt x="76" y="80"/>
                  </a:lnTo>
                  <a:lnTo>
                    <a:pt x="78" y="80"/>
                  </a:lnTo>
                  <a:lnTo>
                    <a:pt x="80" y="78"/>
                  </a:lnTo>
                  <a:lnTo>
                    <a:pt x="82" y="78"/>
                  </a:lnTo>
                  <a:lnTo>
                    <a:pt x="84" y="76"/>
                  </a:lnTo>
                  <a:lnTo>
                    <a:pt x="86" y="74"/>
                  </a:lnTo>
                  <a:lnTo>
                    <a:pt x="88" y="72"/>
                  </a:lnTo>
                  <a:lnTo>
                    <a:pt x="88" y="70"/>
                  </a:lnTo>
                  <a:lnTo>
                    <a:pt x="90" y="68"/>
                  </a:lnTo>
                  <a:lnTo>
                    <a:pt x="92" y="66"/>
                  </a:lnTo>
                  <a:lnTo>
                    <a:pt x="92" y="64"/>
                  </a:lnTo>
                  <a:lnTo>
                    <a:pt x="94" y="64"/>
                  </a:lnTo>
                  <a:lnTo>
                    <a:pt x="94" y="62"/>
                  </a:lnTo>
                  <a:lnTo>
                    <a:pt x="94" y="60"/>
                  </a:lnTo>
                  <a:lnTo>
                    <a:pt x="94" y="58"/>
                  </a:lnTo>
                  <a:lnTo>
                    <a:pt x="94" y="56"/>
                  </a:lnTo>
                  <a:lnTo>
                    <a:pt x="94" y="54"/>
                  </a:lnTo>
                  <a:lnTo>
                    <a:pt x="94" y="52"/>
                  </a:lnTo>
                  <a:lnTo>
                    <a:pt x="92" y="50"/>
                  </a:lnTo>
                  <a:lnTo>
                    <a:pt x="92" y="48"/>
                  </a:lnTo>
                  <a:lnTo>
                    <a:pt x="92" y="48"/>
                  </a:lnTo>
                  <a:lnTo>
                    <a:pt x="90" y="46"/>
                  </a:lnTo>
                  <a:lnTo>
                    <a:pt x="90" y="46"/>
                  </a:lnTo>
                  <a:lnTo>
                    <a:pt x="88" y="44"/>
                  </a:lnTo>
                  <a:lnTo>
                    <a:pt x="86" y="42"/>
                  </a:lnTo>
                  <a:lnTo>
                    <a:pt x="84" y="42"/>
                  </a:lnTo>
                  <a:lnTo>
                    <a:pt x="84" y="40"/>
                  </a:lnTo>
                  <a:lnTo>
                    <a:pt x="82" y="38"/>
                  </a:lnTo>
                  <a:lnTo>
                    <a:pt x="80" y="36"/>
                  </a:lnTo>
                  <a:lnTo>
                    <a:pt x="80" y="34"/>
                  </a:lnTo>
                  <a:lnTo>
                    <a:pt x="80" y="32"/>
                  </a:lnTo>
                  <a:lnTo>
                    <a:pt x="80" y="32"/>
                  </a:lnTo>
                  <a:lnTo>
                    <a:pt x="80" y="30"/>
                  </a:lnTo>
                  <a:lnTo>
                    <a:pt x="80" y="30"/>
                  </a:lnTo>
                  <a:lnTo>
                    <a:pt x="80" y="28"/>
                  </a:lnTo>
                  <a:lnTo>
                    <a:pt x="82" y="26"/>
                  </a:lnTo>
                  <a:lnTo>
                    <a:pt x="82" y="24"/>
                  </a:lnTo>
                  <a:lnTo>
                    <a:pt x="82" y="24"/>
                  </a:lnTo>
                  <a:lnTo>
                    <a:pt x="82" y="22"/>
                  </a:lnTo>
                  <a:lnTo>
                    <a:pt x="82" y="22"/>
                  </a:lnTo>
                  <a:lnTo>
                    <a:pt x="82" y="20"/>
                  </a:lnTo>
                  <a:lnTo>
                    <a:pt x="82" y="18"/>
                  </a:lnTo>
                  <a:lnTo>
                    <a:pt x="82" y="18"/>
                  </a:lnTo>
                  <a:lnTo>
                    <a:pt x="82" y="16"/>
                  </a:lnTo>
                  <a:lnTo>
                    <a:pt x="82" y="14"/>
                  </a:lnTo>
                  <a:lnTo>
                    <a:pt x="80" y="14"/>
                  </a:lnTo>
                  <a:lnTo>
                    <a:pt x="80" y="14"/>
                  </a:lnTo>
                  <a:lnTo>
                    <a:pt x="80" y="12"/>
                  </a:lnTo>
                  <a:lnTo>
                    <a:pt x="78" y="12"/>
                  </a:lnTo>
                  <a:lnTo>
                    <a:pt x="78" y="12"/>
                  </a:lnTo>
                  <a:lnTo>
                    <a:pt x="76" y="12"/>
                  </a:lnTo>
                  <a:lnTo>
                    <a:pt x="74" y="12"/>
                  </a:lnTo>
                  <a:lnTo>
                    <a:pt x="74" y="14"/>
                  </a:lnTo>
                  <a:lnTo>
                    <a:pt x="72" y="14"/>
                  </a:lnTo>
                  <a:lnTo>
                    <a:pt x="70" y="12"/>
                  </a:lnTo>
                  <a:lnTo>
                    <a:pt x="70" y="12"/>
                  </a:lnTo>
                  <a:lnTo>
                    <a:pt x="70" y="12"/>
                  </a:lnTo>
                  <a:lnTo>
                    <a:pt x="70" y="12"/>
                  </a:lnTo>
                  <a:lnTo>
                    <a:pt x="70" y="12"/>
                  </a:lnTo>
                  <a:lnTo>
                    <a:pt x="68" y="10"/>
                  </a:lnTo>
                  <a:lnTo>
                    <a:pt x="68" y="10"/>
                  </a:lnTo>
                  <a:lnTo>
                    <a:pt x="68" y="8"/>
                  </a:lnTo>
                  <a:lnTo>
                    <a:pt x="68" y="4"/>
                  </a:lnTo>
                  <a:lnTo>
                    <a:pt x="70" y="0"/>
                  </a:lnTo>
                  <a:lnTo>
                    <a:pt x="70"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4" name="Freeform 413">
              <a:extLst>
                <a:ext uri="{FF2B5EF4-FFF2-40B4-BE49-F238E27FC236}">
                  <a16:creationId xmlns:a16="http://schemas.microsoft.com/office/drawing/2014/main" id="{722BC505-2C7F-4A71-A162-7DF3606E64E8}"/>
                </a:ext>
              </a:extLst>
            </p:cNvPr>
            <p:cNvSpPr>
              <a:spLocks/>
            </p:cNvSpPr>
            <p:nvPr/>
          </p:nvSpPr>
          <p:spPr bwMode="auto">
            <a:xfrm>
              <a:off x="4477061" y="4583856"/>
              <a:ext cx="162815" cy="190528"/>
            </a:xfrm>
            <a:custGeom>
              <a:avLst/>
              <a:gdLst>
                <a:gd name="T0" fmla="*/ 60 w 94"/>
                <a:gd name="T1" fmla="*/ 0 h 110"/>
                <a:gd name="T2" fmla="*/ 48 w 94"/>
                <a:gd name="T3" fmla="*/ 0 h 110"/>
                <a:gd name="T4" fmla="*/ 42 w 94"/>
                <a:gd name="T5" fmla="*/ 4 h 110"/>
                <a:gd name="T6" fmla="*/ 38 w 94"/>
                <a:gd name="T7" fmla="*/ 8 h 110"/>
                <a:gd name="T8" fmla="*/ 38 w 94"/>
                <a:gd name="T9" fmla="*/ 16 h 110"/>
                <a:gd name="T10" fmla="*/ 36 w 94"/>
                <a:gd name="T11" fmla="*/ 24 h 110"/>
                <a:gd name="T12" fmla="*/ 34 w 94"/>
                <a:gd name="T13" fmla="*/ 26 h 110"/>
                <a:gd name="T14" fmla="*/ 28 w 94"/>
                <a:gd name="T15" fmla="*/ 28 h 110"/>
                <a:gd name="T16" fmla="*/ 20 w 94"/>
                <a:gd name="T17" fmla="*/ 28 h 110"/>
                <a:gd name="T18" fmla="*/ 16 w 94"/>
                <a:gd name="T19" fmla="*/ 24 h 110"/>
                <a:gd name="T20" fmla="*/ 16 w 94"/>
                <a:gd name="T21" fmla="*/ 34 h 110"/>
                <a:gd name="T22" fmla="*/ 16 w 94"/>
                <a:gd name="T23" fmla="*/ 42 h 110"/>
                <a:gd name="T24" fmla="*/ 14 w 94"/>
                <a:gd name="T25" fmla="*/ 44 h 110"/>
                <a:gd name="T26" fmla="*/ 4 w 94"/>
                <a:gd name="T27" fmla="*/ 48 h 110"/>
                <a:gd name="T28" fmla="*/ 2 w 94"/>
                <a:gd name="T29" fmla="*/ 50 h 110"/>
                <a:gd name="T30" fmla="*/ 2 w 94"/>
                <a:gd name="T31" fmla="*/ 52 h 110"/>
                <a:gd name="T32" fmla="*/ 4 w 94"/>
                <a:gd name="T33" fmla="*/ 54 h 110"/>
                <a:gd name="T34" fmla="*/ 8 w 94"/>
                <a:gd name="T35" fmla="*/ 56 h 110"/>
                <a:gd name="T36" fmla="*/ 8 w 94"/>
                <a:gd name="T37" fmla="*/ 62 h 110"/>
                <a:gd name="T38" fmla="*/ 8 w 94"/>
                <a:gd name="T39" fmla="*/ 68 h 110"/>
                <a:gd name="T40" fmla="*/ 10 w 94"/>
                <a:gd name="T41" fmla="*/ 74 h 110"/>
                <a:gd name="T42" fmla="*/ 22 w 94"/>
                <a:gd name="T43" fmla="*/ 82 h 110"/>
                <a:gd name="T44" fmla="*/ 32 w 94"/>
                <a:gd name="T45" fmla="*/ 94 h 110"/>
                <a:gd name="T46" fmla="*/ 48 w 94"/>
                <a:gd name="T47" fmla="*/ 106 h 110"/>
                <a:gd name="T48" fmla="*/ 54 w 94"/>
                <a:gd name="T49" fmla="*/ 96 h 110"/>
                <a:gd name="T50" fmla="*/ 56 w 94"/>
                <a:gd name="T51" fmla="*/ 90 h 110"/>
                <a:gd name="T52" fmla="*/ 54 w 94"/>
                <a:gd name="T53" fmla="*/ 88 h 110"/>
                <a:gd name="T54" fmla="*/ 48 w 94"/>
                <a:gd name="T55" fmla="*/ 86 h 110"/>
                <a:gd name="T56" fmla="*/ 46 w 94"/>
                <a:gd name="T57" fmla="*/ 80 h 110"/>
                <a:gd name="T58" fmla="*/ 48 w 94"/>
                <a:gd name="T59" fmla="*/ 76 h 110"/>
                <a:gd name="T60" fmla="*/ 50 w 94"/>
                <a:gd name="T61" fmla="*/ 74 h 110"/>
                <a:gd name="T62" fmla="*/ 60 w 94"/>
                <a:gd name="T63" fmla="*/ 70 h 110"/>
                <a:gd name="T64" fmla="*/ 64 w 94"/>
                <a:gd name="T65" fmla="*/ 70 h 110"/>
                <a:gd name="T66" fmla="*/ 68 w 94"/>
                <a:gd name="T67" fmla="*/ 74 h 110"/>
                <a:gd name="T68" fmla="*/ 72 w 94"/>
                <a:gd name="T69" fmla="*/ 80 h 110"/>
                <a:gd name="T70" fmla="*/ 74 w 94"/>
                <a:gd name="T71" fmla="*/ 80 h 110"/>
                <a:gd name="T72" fmla="*/ 80 w 94"/>
                <a:gd name="T73" fmla="*/ 78 h 110"/>
                <a:gd name="T74" fmla="*/ 88 w 94"/>
                <a:gd name="T75" fmla="*/ 72 h 110"/>
                <a:gd name="T76" fmla="*/ 92 w 94"/>
                <a:gd name="T77" fmla="*/ 64 h 110"/>
                <a:gd name="T78" fmla="*/ 94 w 94"/>
                <a:gd name="T79" fmla="*/ 58 h 110"/>
                <a:gd name="T80" fmla="*/ 92 w 94"/>
                <a:gd name="T81" fmla="*/ 50 h 110"/>
                <a:gd name="T82" fmla="*/ 90 w 94"/>
                <a:gd name="T83" fmla="*/ 46 h 110"/>
                <a:gd name="T84" fmla="*/ 84 w 94"/>
                <a:gd name="T85" fmla="*/ 40 h 110"/>
                <a:gd name="T86" fmla="*/ 80 w 94"/>
                <a:gd name="T87" fmla="*/ 32 h 110"/>
                <a:gd name="T88" fmla="*/ 80 w 94"/>
                <a:gd name="T89" fmla="*/ 28 h 110"/>
                <a:gd name="T90" fmla="*/ 82 w 94"/>
                <a:gd name="T91" fmla="*/ 22 h 110"/>
                <a:gd name="T92" fmla="*/ 82 w 94"/>
                <a:gd name="T93" fmla="*/ 18 h 110"/>
                <a:gd name="T94" fmla="*/ 80 w 94"/>
                <a:gd name="T95" fmla="*/ 14 h 110"/>
                <a:gd name="T96" fmla="*/ 76 w 94"/>
                <a:gd name="T97" fmla="*/ 12 h 110"/>
                <a:gd name="T98" fmla="*/ 70 w 94"/>
                <a:gd name="T99" fmla="*/ 12 h 110"/>
                <a:gd name="T100" fmla="*/ 70 w 94"/>
                <a:gd name="T101" fmla="*/ 12 h 110"/>
                <a:gd name="T102" fmla="*/ 68 w 94"/>
                <a:gd name="T103" fmla="*/ 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 h="110">
                  <a:moveTo>
                    <a:pt x="70" y="0"/>
                  </a:moveTo>
                  <a:lnTo>
                    <a:pt x="70" y="0"/>
                  </a:lnTo>
                  <a:lnTo>
                    <a:pt x="66" y="0"/>
                  </a:lnTo>
                  <a:lnTo>
                    <a:pt x="60" y="0"/>
                  </a:lnTo>
                  <a:lnTo>
                    <a:pt x="56" y="0"/>
                  </a:lnTo>
                  <a:lnTo>
                    <a:pt x="52" y="0"/>
                  </a:lnTo>
                  <a:lnTo>
                    <a:pt x="50" y="0"/>
                  </a:lnTo>
                  <a:lnTo>
                    <a:pt x="48" y="0"/>
                  </a:lnTo>
                  <a:lnTo>
                    <a:pt x="46" y="0"/>
                  </a:lnTo>
                  <a:lnTo>
                    <a:pt x="46" y="2"/>
                  </a:lnTo>
                  <a:lnTo>
                    <a:pt x="44" y="2"/>
                  </a:lnTo>
                  <a:lnTo>
                    <a:pt x="42" y="4"/>
                  </a:lnTo>
                  <a:lnTo>
                    <a:pt x="40" y="4"/>
                  </a:lnTo>
                  <a:lnTo>
                    <a:pt x="40" y="6"/>
                  </a:lnTo>
                  <a:lnTo>
                    <a:pt x="38" y="6"/>
                  </a:lnTo>
                  <a:lnTo>
                    <a:pt x="38" y="8"/>
                  </a:lnTo>
                  <a:lnTo>
                    <a:pt x="38" y="8"/>
                  </a:lnTo>
                  <a:lnTo>
                    <a:pt x="38" y="10"/>
                  </a:lnTo>
                  <a:lnTo>
                    <a:pt x="38" y="12"/>
                  </a:lnTo>
                  <a:lnTo>
                    <a:pt x="38" y="16"/>
                  </a:lnTo>
                  <a:lnTo>
                    <a:pt x="38" y="16"/>
                  </a:lnTo>
                  <a:lnTo>
                    <a:pt x="38" y="20"/>
                  </a:lnTo>
                  <a:lnTo>
                    <a:pt x="36" y="22"/>
                  </a:lnTo>
                  <a:lnTo>
                    <a:pt x="36" y="24"/>
                  </a:lnTo>
                  <a:lnTo>
                    <a:pt x="36" y="26"/>
                  </a:lnTo>
                  <a:lnTo>
                    <a:pt x="34" y="26"/>
                  </a:lnTo>
                  <a:lnTo>
                    <a:pt x="34" y="26"/>
                  </a:lnTo>
                  <a:lnTo>
                    <a:pt x="34" y="26"/>
                  </a:lnTo>
                  <a:lnTo>
                    <a:pt x="34" y="28"/>
                  </a:lnTo>
                  <a:lnTo>
                    <a:pt x="32" y="28"/>
                  </a:lnTo>
                  <a:lnTo>
                    <a:pt x="30" y="28"/>
                  </a:lnTo>
                  <a:lnTo>
                    <a:pt x="28" y="28"/>
                  </a:lnTo>
                  <a:lnTo>
                    <a:pt x="24" y="28"/>
                  </a:lnTo>
                  <a:lnTo>
                    <a:pt x="22" y="28"/>
                  </a:lnTo>
                  <a:lnTo>
                    <a:pt x="20" y="28"/>
                  </a:lnTo>
                  <a:lnTo>
                    <a:pt x="20" y="28"/>
                  </a:lnTo>
                  <a:lnTo>
                    <a:pt x="18" y="28"/>
                  </a:lnTo>
                  <a:lnTo>
                    <a:pt x="18" y="26"/>
                  </a:lnTo>
                  <a:lnTo>
                    <a:pt x="16" y="26"/>
                  </a:lnTo>
                  <a:lnTo>
                    <a:pt x="16" y="24"/>
                  </a:lnTo>
                  <a:lnTo>
                    <a:pt x="16" y="26"/>
                  </a:lnTo>
                  <a:lnTo>
                    <a:pt x="16" y="28"/>
                  </a:lnTo>
                  <a:lnTo>
                    <a:pt x="16" y="32"/>
                  </a:lnTo>
                  <a:lnTo>
                    <a:pt x="16" y="34"/>
                  </a:lnTo>
                  <a:lnTo>
                    <a:pt x="16" y="38"/>
                  </a:lnTo>
                  <a:lnTo>
                    <a:pt x="16" y="40"/>
                  </a:lnTo>
                  <a:lnTo>
                    <a:pt x="16" y="40"/>
                  </a:lnTo>
                  <a:lnTo>
                    <a:pt x="16" y="42"/>
                  </a:lnTo>
                  <a:lnTo>
                    <a:pt x="16" y="42"/>
                  </a:lnTo>
                  <a:lnTo>
                    <a:pt x="16" y="44"/>
                  </a:lnTo>
                  <a:lnTo>
                    <a:pt x="14" y="44"/>
                  </a:lnTo>
                  <a:lnTo>
                    <a:pt x="14" y="44"/>
                  </a:lnTo>
                  <a:lnTo>
                    <a:pt x="12" y="46"/>
                  </a:lnTo>
                  <a:lnTo>
                    <a:pt x="10" y="46"/>
                  </a:lnTo>
                  <a:lnTo>
                    <a:pt x="6" y="46"/>
                  </a:lnTo>
                  <a:lnTo>
                    <a:pt x="4" y="48"/>
                  </a:lnTo>
                  <a:lnTo>
                    <a:pt x="4" y="48"/>
                  </a:lnTo>
                  <a:lnTo>
                    <a:pt x="4" y="48"/>
                  </a:lnTo>
                  <a:lnTo>
                    <a:pt x="2" y="48"/>
                  </a:lnTo>
                  <a:lnTo>
                    <a:pt x="2" y="50"/>
                  </a:lnTo>
                  <a:lnTo>
                    <a:pt x="2" y="52"/>
                  </a:lnTo>
                  <a:lnTo>
                    <a:pt x="0" y="52"/>
                  </a:lnTo>
                  <a:lnTo>
                    <a:pt x="0" y="52"/>
                  </a:lnTo>
                  <a:lnTo>
                    <a:pt x="2" y="52"/>
                  </a:lnTo>
                  <a:lnTo>
                    <a:pt x="2" y="54"/>
                  </a:lnTo>
                  <a:lnTo>
                    <a:pt x="2" y="54"/>
                  </a:lnTo>
                  <a:lnTo>
                    <a:pt x="4" y="54"/>
                  </a:lnTo>
                  <a:lnTo>
                    <a:pt x="4" y="54"/>
                  </a:lnTo>
                  <a:lnTo>
                    <a:pt x="6" y="54"/>
                  </a:lnTo>
                  <a:lnTo>
                    <a:pt x="8" y="56"/>
                  </a:lnTo>
                  <a:lnTo>
                    <a:pt x="8" y="56"/>
                  </a:lnTo>
                  <a:lnTo>
                    <a:pt x="8" y="56"/>
                  </a:lnTo>
                  <a:lnTo>
                    <a:pt x="8" y="56"/>
                  </a:lnTo>
                  <a:lnTo>
                    <a:pt x="8" y="58"/>
                  </a:lnTo>
                  <a:lnTo>
                    <a:pt x="8" y="60"/>
                  </a:lnTo>
                  <a:lnTo>
                    <a:pt x="8" y="62"/>
                  </a:lnTo>
                  <a:lnTo>
                    <a:pt x="8" y="64"/>
                  </a:lnTo>
                  <a:lnTo>
                    <a:pt x="8" y="66"/>
                  </a:lnTo>
                  <a:lnTo>
                    <a:pt x="6" y="68"/>
                  </a:lnTo>
                  <a:lnTo>
                    <a:pt x="8" y="68"/>
                  </a:lnTo>
                  <a:lnTo>
                    <a:pt x="8" y="70"/>
                  </a:lnTo>
                  <a:lnTo>
                    <a:pt x="8" y="70"/>
                  </a:lnTo>
                  <a:lnTo>
                    <a:pt x="8" y="72"/>
                  </a:lnTo>
                  <a:lnTo>
                    <a:pt x="10" y="74"/>
                  </a:lnTo>
                  <a:lnTo>
                    <a:pt x="10" y="74"/>
                  </a:lnTo>
                  <a:lnTo>
                    <a:pt x="12" y="76"/>
                  </a:lnTo>
                  <a:lnTo>
                    <a:pt x="16" y="78"/>
                  </a:lnTo>
                  <a:lnTo>
                    <a:pt x="22" y="82"/>
                  </a:lnTo>
                  <a:lnTo>
                    <a:pt x="24" y="84"/>
                  </a:lnTo>
                  <a:lnTo>
                    <a:pt x="26" y="86"/>
                  </a:lnTo>
                  <a:lnTo>
                    <a:pt x="28" y="90"/>
                  </a:lnTo>
                  <a:lnTo>
                    <a:pt x="32" y="94"/>
                  </a:lnTo>
                  <a:lnTo>
                    <a:pt x="36" y="100"/>
                  </a:lnTo>
                  <a:lnTo>
                    <a:pt x="40" y="104"/>
                  </a:lnTo>
                  <a:lnTo>
                    <a:pt x="46" y="110"/>
                  </a:lnTo>
                  <a:lnTo>
                    <a:pt x="48" y="106"/>
                  </a:lnTo>
                  <a:lnTo>
                    <a:pt x="50" y="104"/>
                  </a:lnTo>
                  <a:lnTo>
                    <a:pt x="50" y="102"/>
                  </a:lnTo>
                  <a:lnTo>
                    <a:pt x="52" y="100"/>
                  </a:lnTo>
                  <a:lnTo>
                    <a:pt x="54" y="96"/>
                  </a:lnTo>
                  <a:lnTo>
                    <a:pt x="54" y="94"/>
                  </a:lnTo>
                  <a:lnTo>
                    <a:pt x="56" y="92"/>
                  </a:lnTo>
                  <a:lnTo>
                    <a:pt x="56" y="92"/>
                  </a:lnTo>
                  <a:lnTo>
                    <a:pt x="56" y="90"/>
                  </a:lnTo>
                  <a:lnTo>
                    <a:pt x="56" y="90"/>
                  </a:lnTo>
                  <a:lnTo>
                    <a:pt x="56" y="90"/>
                  </a:lnTo>
                  <a:lnTo>
                    <a:pt x="54" y="90"/>
                  </a:lnTo>
                  <a:lnTo>
                    <a:pt x="54" y="88"/>
                  </a:lnTo>
                  <a:lnTo>
                    <a:pt x="54" y="88"/>
                  </a:lnTo>
                  <a:lnTo>
                    <a:pt x="52" y="88"/>
                  </a:lnTo>
                  <a:lnTo>
                    <a:pt x="50" y="86"/>
                  </a:lnTo>
                  <a:lnTo>
                    <a:pt x="48" y="86"/>
                  </a:lnTo>
                  <a:lnTo>
                    <a:pt x="48" y="84"/>
                  </a:lnTo>
                  <a:lnTo>
                    <a:pt x="48" y="84"/>
                  </a:lnTo>
                  <a:lnTo>
                    <a:pt x="48" y="82"/>
                  </a:lnTo>
                  <a:lnTo>
                    <a:pt x="46" y="80"/>
                  </a:lnTo>
                  <a:lnTo>
                    <a:pt x="46" y="80"/>
                  </a:lnTo>
                  <a:lnTo>
                    <a:pt x="46" y="78"/>
                  </a:lnTo>
                  <a:lnTo>
                    <a:pt x="46" y="78"/>
                  </a:lnTo>
                  <a:lnTo>
                    <a:pt x="48" y="76"/>
                  </a:lnTo>
                  <a:lnTo>
                    <a:pt x="48" y="76"/>
                  </a:lnTo>
                  <a:lnTo>
                    <a:pt x="48" y="76"/>
                  </a:lnTo>
                  <a:lnTo>
                    <a:pt x="48" y="76"/>
                  </a:lnTo>
                  <a:lnTo>
                    <a:pt x="50" y="74"/>
                  </a:lnTo>
                  <a:lnTo>
                    <a:pt x="52" y="74"/>
                  </a:lnTo>
                  <a:lnTo>
                    <a:pt x="54" y="72"/>
                  </a:lnTo>
                  <a:lnTo>
                    <a:pt x="58" y="72"/>
                  </a:lnTo>
                  <a:lnTo>
                    <a:pt x="60" y="70"/>
                  </a:lnTo>
                  <a:lnTo>
                    <a:pt x="62" y="70"/>
                  </a:lnTo>
                  <a:lnTo>
                    <a:pt x="64" y="70"/>
                  </a:lnTo>
                  <a:lnTo>
                    <a:pt x="64" y="70"/>
                  </a:lnTo>
                  <a:lnTo>
                    <a:pt x="64" y="70"/>
                  </a:lnTo>
                  <a:lnTo>
                    <a:pt x="66" y="70"/>
                  </a:lnTo>
                  <a:lnTo>
                    <a:pt x="66" y="70"/>
                  </a:lnTo>
                  <a:lnTo>
                    <a:pt x="66" y="72"/>
                  </a:lnTo>
                  <a:lnTo>
                    <a:pt x="68" y="74"/>
                  </a:lnTo>
                  <a:lnTo>
                    <a:pt x="68" y="76"/>
                  </a:lnTo>
                  <a:lnTo>
                    <a:pt x="70" y="78"/>
                  </a:lnTo>
                  <a:lnTo>
                    <a:pt x="70" y="78"/>
                  </a:lnTo>
                  <a:lnTo>
                    <a:pt x="72" y="80"/>
                  </a:lnTo>
                  <a:lnTo>
                    <a:pt x="72" y="80"/>
                  </a:lnTo>
                  <a:lnTo>
                    <a:pt x="72" y="80"/>
                  </a:lnTo>
                  <a:lnTo>
                    <a:pt x="72" y="80"/>
                  </a:lnTo>
                  <a:lnTo>
                    <a:pt x="74" y="80"/>
                  </a:lnTo>
                  <a:lnTo>
                    <a:pt x="76" y="80"/>
                  </a:lnTo>
                  <a:lnTo>
                    <a:pt x="76" y="80"/>
                  </a:lnTo>
                  <a:lnTo>
                    <a:pt x="78" y="80"/>
                  </a:lnTo>
                  <a:lnTo>
                    <a:pt x="80" y="78"/>
                  </a:lnTo>
                  <a:lnTo>
                    <a:pt x="82" y="78"/>
                  </a:lnTo>
                  <a:lnTo>
                    <a:pt x="84" y="76"/>
                  </a:lnTo>
                  <a:lnTo>
                    <a:pt x="86" y="74"/>
                  </a:lnTo>
                  <a:lnTo>
                    <a:pt x="88" y="72"/>
                  </a:lnTo>
                  <a:lnTo>
                    <a:pt x="88" y="70"/>
                  </a:lnTo>
                  <a:lnTo>
                    <a:pt x="90" y="68"/>
                  </a:lnTo>
                  <a:lnTo>
                    <a:pt x="92" y="66"/>
                  </a:lnTo>
                  <a:lnTo>
                    <a:pt x="92" y="64"/>
                  </a:lnTo>
                  <a:lnTo>
                    <a:pt x="94" y="64"/>
                  </a:lnTo>
                  <a:lnTo>
                    <a:pt x="94" y="62"/>
                  </a:lnTo>
                  <a:lnTo>
                    <a:pt x="94" y="60"/>
                  </a:lnTo>
                  <a:lnTo>
                    <a:pt x="94" y="58"/>
                  </a:lnTo>
                  <a:lnTo>
                    <a:pt x="94" y="56"/>
                  </a:lnTo>
                  <a:lnTo>
                    <a:pt x="94" y="54"/>
                  </a:lnTo>
                  <a:lnTo>
                    <a:pt x="94" y="52"/>
                  </a:lnTo>
                  <a:lnTo>
                    <a:pt x="92" y="50"/>
                  </a:lnTo>
                  <a:lnTo>
                    <a:pt x="92" y="48"/>
                  </a:lnTo>
                  <a:lnTo>
                    <a:pt x="92" y="48"/>
                  </a:lnTo>
                  <a:lnTo>
                    <a:pt x="90" y="46"/>
                  </a:lnTo>
                  <a:lnTo>
                    <a:pt x="90" y="46"/>
                  </a:lnTo>
                  <a:lnTo>
                    <a:pt x="88" y="44"/>
                  </a:lnTo>
                  <a:lnTo>
                    <a:pt x="86" y="42"/>
                  </a:lnTo>
                  <a:lnTo>
                    <a:pt x="84" y="42"/>
                  </a:lnTo>
                  <a:lnTo>
                    <a:pt x="84" y="40"/>
                  </a:lnTo>
                  <a:lnTo>
                    <a:pt x="82" y="38"/>
                  </a:lnTo>
                  <a:lnTo>
                    <a:pt x="80" y="36"/>
                  </a:lnTo>
                  <a:lnTo>
                    <a:pt x="80" y="34"/>
                  </a:lnTo>
                  <a:lnTo>
                    <a:pt x="80" y="32"/>
                  </a:lnTo>
                  <a:lnTo>
                    <a:pt x="80" y="32"/>
                  </a:lnTo>
                  <a:lnTo>
                    <a:pt x="80" y="30"/>
                  </a:lnTo>
                  <a:lnTo>
                    <a:pt x="80" y="30"/>
                  </a:lnTo>
                  <a:lnTo>
                    <a:pt x="80" y="28"/>
                  </a:lnTo>
                  <a:lnTo>
                    <a:pt x="82" y="26"/>
                  </a:lnTo>
                  <a:lnTo>
                    <a:pt x="82" y="24"/>
                  </a:lnTo>
                  <a:lnTo>
                    <a:pt x="82" y="24"/>
                  </a:lnTo>
                  <a:lnTo>
                    <a:pt x="82" y="22"/>
                  </a:lnTo>
                  <a:lnTo>
                    <a:pt x="82" y="22"/>
                  </a:lnTo>
                  <a:lnTo>
                    <a:pt x="82" y="20"/>
                  </a:lnTo>
                  <a:lnTo>
                    <a:pt x="82" y="18"/>
                  </a:lnTo>
                  <a:lnTo>
                    <a:pt x="82" y="18"/>
                  </a:lnTo>
                  <a:lnTo>
                    <a:pt x="82" y="16"/>
                  </a:lnTo>
                  <a:lnTo>
                    <a:pt x="82" y="14"/>
                  </a:lnTo>
                  <a:lnTo>
                    <a:pt x="80" y="14"/>
                  </a:lnTo>
                  <a:lnTo>
                    <a:pt x="80" y="14"/>
                  </a:lnTo>
                  <a:lnTo>
                    <a:pt x="80" y="12"/>
                  </a:lnTo>
                  <a:lnTo>
                    <a:pt x="78" y="12"/>
                  </a:lnTo>
                  <a:lnTo>
                    <a:pt x="78" y="12"/>
                  </a:lnTo>
                  <a:lnTo>
                    <a:pt x="76" y="12"/>
                  </a:lnTo>
                  <a:lnTo>
                    <a:pt x="74" y="12"/>
                  </a:lnTo>
                  <a:lnTo>
                    <a:pt x="74" y="14"/>
                  </a:lnTo>
                  <a:lnTo>
                    <a:pt x="72" y="14"/>
                  </a:lnTo>
                  <a:lnTo>
                    <a:pt x="70" y="12"/>
                  </a:lnTo>
                  <a:lnTo>
                    <a:pt x="70" y="12"/>
                  </a:lnTo>
                  <a:lnTo>
                    <a:pt x="70" y="12"/>
                  </a:lnTo>
                  <a:lnTo>
                    <a:pt x="70" y="12"/>
                  </a:lnTo>
                  <a:lnTo>
                    <a:pt x="70" y="12"/>
                  </a:lnTo>
                  <a:lnTo>
                    <a:pt x="68" y="10"/>
                  </a:lnTo>
                  <a:lnTo>
                    <a:pt x="68" y="10"/>
                  </a:lnTo>
                  <a:lnTo>
                    <a:pt x="68" y="8"/>
                  </a:lnTo>
                  <a:lnTo>
                    <a:pt x="68" y="4"/>
                  </a:lnTo>
                  <a:lnTo>
                    <a:pt x="70" y="0"/>
                  </a:lnTo>
                  <a:lnTo>
                    <a:pt x="70"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5" name="Freeform 414">
              <a:extLst>
                <a:ext uri="{FF2B5EF4-FFF2-40B4-BE49-F238E27FC236}">
                  <a16:creationId xmlns:a16="http://schemas.microsoft.com/office/drawing/2014/main" id="{0F55636A-CE40-4470-A913-2ECE28F193BF}"/>
                </a:ext>
              </a:extLst>
            </p:cNvPr>
            <p:cNvSpPr>
              <a:spLocks/>
            </p:cNvSpPr>
            <p:nvPr/>
          </p:nvSpPr>
          <p:spPr bwMode="auto">
            <a:xfrm>
              <a:off x="4050970" y="4355222"/>
              <a:ext cx="162815" cy="159351"/>
            </a:xfrm>
            <a:custGeom>
              <a:avLst/>
              <a:gdLst>
                <a:gd name="T0" fmla="*/ 28 w 94"/>
                <a:gd name="T1" fmla="*/ 92 h 92"/>
                <a:gd name="T2" fmla="*/ 18 w 94"/>
                <a:gd name="T3" fmla="*/ 88 h 92"/>
                <a:gd name="T4" fmla="*/ 14 w 94"/>
                <a:gd name="T5" fmla="*/ 86 h 92"/>
                <a:gd name="T6" fmla="*/ 14 w 94"/>
                <a:gd name="T7" fmla="*/ 84 h 92"/>
                <a:gd name="T8" fmla="*/ 14 w 94"/>
                <a:gd name="T9" fmla="*/ 78 h 92"/>
                <a:gd name="T10" fmla="*/ 12 w 94"/>
                <a:gd name="T11" fmla="*/ 72 h 92"/>
                <a:gd name="T12" fmla="*/ 12 w 94"/>
                <a:gd name="T13" fmla="*/ 70 h 92"/>
                <a:gd name="T14" fmla="*/ 10 w 94"/>
                <a:gd name="T15" fmla="*/ 68 h 92"/>
                <a:gd name="T16" fmla="*/ 4 w 94"/>
                <a:gd name="T17" fmla="*/ 68 h 92"/>
                <a:gd name="T18" fmla="*/ 2 w 94"/>
                <a:gd name="T19" fmla="*/ 66 h 92"/>
                <a:gd name="T20" fmla="*/ 0 w 94"/>
                <a:gd name="T21" fmla="*/ 62 h 92"/>
                <a:gd name="T22" fmla="*/ 0 w 94"/>
                <a:gd name="T23" fmla="*/ 54 h 92"/>
                <a:gd name="T24" fmla="*/ 0 w 94"/>
                <a:gd name="T25" fmla="*/ 42 h 92"/>
                <a:gd name="T26" fmla="*/ 2 w 94"/>
                <a:gd name="T27" fmla="*/ 36 h 92"/>
                <a:gd name="T28" fmla="*/ 4 w 94"/>
                <a:gd name="T29" fmla="*/ 32 h 92"/>
                <a:gd name="T30" fmla="*/ 10 w 94"/>
                <a:gd name="T31" fmla="*/ 30 h 92"/>
                <a:gd name="T32" fmla="*/ 16 w 94"/>
                <a:gd name="T33" fmla="*/ 26 h 92"/>
                <a:gd name="T34" fmla="*/ 18 w 94"/>
                <a:gd name="T35" fmla="*/ 24 h 92"/>
                <a:gd name="T36" fmla="*/ 20 w 94"/>
                <a:gd name="T37" fmla="*/ 22 h 92"/>
                <a:gd name="T38" fmla="*/ 18 w 94"/>
                <a:gd name="T39" fmla="*/ 20 h 92"/>
                <a:gd name="T40" fmla="*/ 12 w 94"/>
                <a:gd name="T41" fmla="*/ 18 h 92"/>
                <a:gd name="T42" fmla="*/ 10 w 94"/>
                <a:gd name="T43" fmla="*/ 16 h 92"/>
                <a:gd name="T44" fmla="*/ 10 w 94"/>
                <a:gd name="T45" fmla="*/ 14 h 92"/>
                <a:gd name="T46" fmla="*/ 10 w 94"/>
                <a:gd name="T47" fmla="*/ 10 h 92"/>
                <a:gd name="T48" fmla="*/ 14 w 94"/>
                <a:gd name="T49" fmla="*/ 2 h 92"/>
                <a:gd name="T50" fmla="*/ 48 w 94"/>
                <a:gd name="T51" fmla="*/ 2 h 92"/>
                <a:gd name="T52" fmla="*/ 54 w 94"/>
                <a:gd name="T53" fmla="*/ 6 h 92"/>
                <a:gd name="T54" fmla="*/ 60 w 94"/>
                <a:gd name="T55" fmla="*/ 6 h 92"/>
                <a:gd name="T56" fmla="*/ 78 w 94"/>
                <a:gd name="T57" fmla="*/ 6 h 92"/>
                <a:gd name="T58" fmla="*/ 82 w 94"/>
                <a:gd name="T59" fmla="*/ 12 h 92"/>
                <a:gd name="T60" fmla="*/ 84 w 94"/>
                <a:gd name="T61" fmla="*/ 18 h 92"/>
                <a:gd name="T62" fmla="*/ 84 w 94"/>
                <a:gd name="T63" fmla="*/ 20 h 92"/>
                <a:gd name="T64" fmla="*/ 88 w 94"/>
                <a:gd name="T65" fmla="*/ 22 h 92"/>
                <a:gd name="T66" fmla="*/ 92 w 94"/>
                <a:gd name="T67" fmla="*/ 24 h 92"/>
                <a:gd name="T68" fmla="*/ 92 w 94"/>
                <a:gd name="T69" fmla="*/ 26 h 92"/>
                <a:gd name="T70" fmla="*/ 94 w 94"/>
                <a:gd name="T71" fmla="*/ 32 h 92"/>
                <a:gd name="T72" fmla="*/ 92 w 94"/>
                <a:gd name="T73" fmla="*/ 36 h 92"/>
                <a:gd name="T74" fmla="*/ 90 w 94"/>
                <a:gd name="T75" fmla="*/ 38 h 92"/>
                <a:gd name="T76" fmla="*/ 84 w 94"/>
                <a:gd name="T77" fmla="*/ 38 h 92"/>
                <a:gd name="T78" fmla="*/ 82 w 94"/>
                <a:gd name="T79" fmla="*/ 40 h 92"/>
                <a:gd name="T80" fmla="*/ 82 w 94"/>
                <a:gd name="T81" fmla="*/ 46 h 92"/>
                <a:gd name="T82" fmla="*/ 82 w 94"/>
                <a:gd name="T83" fmla="*/ 56 h 92"/>
                <a:gd name="T84" fmla="*/ 82 w 94"/>
                <a:gd name="T85" fmla="*/ 66 h 92"/>
                <a:gd name="T86" fmla="*/ 80 w 94"/>
                <a:gd name="T87" fmla="*/ 84 h 92"/>
                <a:gd name="T88" fmla="*/ 58 w 94"/>
                <a:gd name="T89" fmla="*/ 84 h 92"/>
                <a:gd name="T90" fmla="*/ 48 w 94"/>
                <a:gd name="T91" fmla="*/ 86 h 92"/>
                <a:gd name="T92" fmla="*/ 38 w 94"/>
                <a:gd name="T93" fmla="*/ 9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4" h="92">
                  <a:moveTo>
                    <a:pt x="30" y="92"/>
                  </a:moveTo>
                  <a:lnTo>
                    <a:pt x="30" y="92"/>
                  </a:lnTo>
                  <a:lnTo>
                    <a:pt x="28" y="92"/>
                  </a:lnTo>
                  <a:lnTo>
                    <a:pt x="24" y="90"/>
                  </a:lnTo>
                  <a:lnTo>
                    <a:pt x="20" y="90"/>
                  </a:lnTo>
                  <a:lnTo>
                    <a:pt x="18" y="88"/>
                  </a:lnTo>
                  <a:lnTo>
                    <a:pt x="16" y="86"/>
                  </a:lnTo>
                  <a:lnTo>
                    <a:pt x="16" y="86"/>
                  </a:lnTo>
                  <a:lnTo>
                    <a:pt x="14" y="86"/>
                  </a:lnTo>
                  <a:lnTo>
                    <a:pt x="14" y="86"/>
                  </a:lnTo>
                  <a:lnTo>
                    <a:pt x="14" y="84"/>
                  </a:lnTo>
                  <a:lnTo>
                    <a:pt x="14" y="84"/>
                  </a:lnTo>
                  <a:lnTo>
                    <a:pt x="14" y="82"/>
                  </a:lnTo>
                  <a:lnTo>
                    <a:pt x="14" y="80"/>
                  </a:lnTo>
                  <a:lnTo>
                    <a:pt x="14" y="78"/>
                  </a:lnTo>
                  <a:lnTo>
                    <a:pt x="14" y="76"/>
                  </a:lnTo>
                  <a:lnTo>
                    <a:pt x="14" y="72"/>
                  </a:lnTo>
                  <a:lnTo>
                    <a:pt x="12" y="72"/>
                  </a:lnTo>
                  <a:lnTo>
                    <a:pt x="12" y="70"/>
                  </a:lnTo>
                  <a:lnTo>
                    <a:pt x="12" y="70"/>
                  </a:lnTo>
                  <a:lnTo>
                    <a:pt x="12" y="70"/>
                  </a:lnTo>
                  <a:lnTo>
                    <a:pt x="12" y="70"/>
                  </a:lnTo>
                  <a:lnTo>
                    <a:pt x="12" y="68"/>
                  </a:lnTo>
                  <a:lnTo>
                    <a:pt x="10" y="68"/>
                  </a:lnTo>
                  <a:lnTo>
                    <a:pt x="8" y="68"/>
                  </a:lnTo>
                  <a:lnTo>
                    <a:pt x="8" y="68"/>
                  </a:lnTo>
                  <a:lnTo>
                    <a:pt x="4" y="68"/>
                  </a:lnTo>
                  <a:lnTo>
                    <a:pt x="4" y="68"/>
                  </a:lnTo>
                  <a:lnTo>
                    <a:pt x="4" y="66"/>
                  </a:lnTo>
                  <a:lnTo>
                    <a:pt x="2" y="66"/>
                  </a:lnTo>
                  <a:lnTo>
                    <a:pt x="2" y="66"/>
                  </a:lnTo>
                  <a:lnTo>
                    <a:pt x="2" y="64"/>
                  </a:lnTo>
                  <a:lnTo>
                    <a:pt x="0" y="62"/>
                  </a:lnTo>
                  <a:lnTo>
                    <a:pt x="0" y="60"/>
                  </a:lnTo>
                  <a:lnTo>
                    <a:pt x="0" y="54"/>
                  </a:lnTo>
                  <a:lnTo>
                    <a:pt x="0" y="54"/>
                  </a:lnTo>
                  <a:lnTo>
                    <a:pt x="0" y="50"/>
                  </a:lnTo>
                  <a:lnTo>
                    <a:pt x="0" y="46"/>
                  </a:lnTo>
                  <a:lnTo>
                    <a:pt x="0" y="42"/>
                  </a:lnTo>
                  <a:lnTo>
                    <a:pt x="2" y="38"/>
                  </a:lnTo>
                  <a:lnTo>
                    <a:pt x="2" y="36"/>
                  </a:lnTo>
                  <a:lnTo>
                    <a:pt x="2" y="36"/>
                  </a:lnTo>
                  <a:lnTo>
                    <a:pt x="4" y="34"/>
                  </a:lnTo>
                  <a:lnTo>
                    <a:pt x="4" y="34"/>
                  </a:lnTo>
                  <a:lnTo>
                    <a:pt x="4" y="32"/>
                  </a:lnTo>
                  <a:lnTo>
                    <a:pt x="6" y="32"/>
                  </a:lnTo>
                  <a:lnTo>
                    <a:pt x="6" y="32"/>
                  </a:lnTo>
                  <a:lnTo>
                    <a:pt x="10" y="30"/>
                  </a:lnTo>
                  <a:lnTo>
                    <a:pt x="12" y="28"/>
                  </a:lnTo>
                  <a:lnTo>
                    <a:pt x="14" y="28"/>
                  </a:lnTo>
                  <a:lnTo>
                    <a:pt x="16" y="26"/>
                  </a:lnTo>
                  <a:lnTo>
                    <a:pt x="18" y="26"/>
                  </a:lnTo>
                  <a:lnTo>
                    <a:pt x="18" y="26"/>
                  </a:lnTo>
                  <a:lnTo>
                    <a:pt x="18" y="24"/>
                  </a:lnTo>
                  <a:lnTo>
                    <a:pt x="20" y="24"/>
                  </a:lnTo>
                  <a:lnTo>
                    <a:pt x="20" y="22"/>
                  </a:lnTo>
                  <a:lnTo>
                    <a:pt x="20" y="22"/>
                  </a:lnTo>
                  <a:lnTo>
                    <a:pt x="20" y="22"/>
                  </a:lnTo>
                  <a:lnTo>
                    <a:pt x="18" y="22"/>
                  </a:lnTo>
                  <a:lnTo>
                    <a:pt x="18" y="20"/>
                  </a:lnTo>
                  <a:lnTo>
                    <a:pt x="16" y="20"/>
                  </a:lnTo>
                  <a:lnTo>
                    <a:pt x="14" y="18"/>
                  </a:lnTo>
                  <a:lnTo>
                    <a:pt x="12" y="18"/>
                  </a:lnTo>
                  <a:lnTo>
                    <a:pt x="12" y="16"/>
                  </a:lnTo>
                  <a:lnTo>
                    <a:pt x="10" y="16"/>
                  </a:lnTo>
                  <a:lnTo>
                    <a:pt x="10" y="16"/>
                  </a:lnTo>
                  <a:lnTo>
                    <a:pt x="10" y="14"/>
                  </a:lnTo>
                  <a:lnTo>
                    <a:pt x="10" y="14"/>
                  </a:lnTo>
                  <a:lnTo>
                    <a:pt x="10" y="14"/>
                  </a:lnTo>
                  <a:lnTo>
                    <a:pt x="10" y="12"/>
                  </a:lnTo>
                  <a:lnTo>
                    <a:pt x="10" y="10"/>
                  </a:lnTo>
                  <a:lnTo>
                    <a:pt x="10" y="10"/>
                  </a:lnTo>
                  <a:lnTo>
                    <a:pt x="12" y="8"/>
                  </a:lnTo>
                  <a:lnTo>
                    <a:pt x="14" y="4"/>
                  </a:lnTo>
                  <a:lnTo>
                    <a:pt x="14" y="2"/>
                  </a:lnTo>
                  <a:lnTo>
                    <a:pt x="28" y="2"/>
                  </a:lnTo>
                  <a:lnTo>
                    <a:pt x="44" y="0"/>
                  </a:lnTo>
                  <a:lnTo>
                    <a:pt x="48" y="2"/>
                  </a:lnTo>
                  <a:lnTo>
                    <a:pt x="52" y="4"/>
                  </a:lnTo>
                  <a:lnTo>
                    <a:pt x="52" y="4"/>
                  </a:lnTo>
                  <a:lnTo>
                    <a:pt x="54" y="6"/>
                  </a:lnTo>
                  <a:lnTo>
                    <a:pt x="54" y="6"/>
                  </a:lnTo>
                  <a:lnTo>
                    <a:pt x="56" y="6"/>
                  </a:lnTo>
                  <a:lnTo>
                    <a:pt x="60" y="6"/>
                  </a:lnTo>
                  <a:lnTo>
                    <a:pt x="66" y="6"/>
                  </a:lnTo>
                  <a:lnTo>
                    <a:pt x="70" y="6"/>
                  </a:lnTo>
                  <a:lnTo>
                    <a:pt x="78" y="6"/>
                  </a:lnTo>
                  <a:lnTo>
                    <a:pt x="82" y="6"/>
                  </a:lnTo>
                  <a:lnTo>
                    <a:pt x="82" y="8"/>
                  </a:lnTo>
                  <a:lnTo>
                    <a:pt x="82" y="12"/>
                  </a:lnTo>
                  <a:lnTo>
                    <a:pt x="82" y="14"/>
                  </a:lnTo>
                  <a:lnTo>
                    <a:pt x="82" y="16"/>
                  </a:lnTo>
                  <a:lnTo>
                    <a:pt x="84" y="18"/>
                  </a:lnTo>
                  <a:lnTo>
                    <a:pt x="84" y="20"/>
                  </a:lnTo>
                  <a:lnTo>
                    <a:pt x="84" y="20"/>
                  </a:lnTo>
                  <a:lnTo>
                    <a:pt x="84" y="20"/>
                  </a:lnTo>
                  <a:lnTo>
                    <a:pt x="84" y="22"/>
                  </a:lnTo>
                  <a:lnTo>
                    <a:pt x="86" y="22"/>
                  </a:lnTo>
                  <a:lnTo>
                    <a:pt x="88" y="22"/>
                  </a:lnTo>
                  <a:lnTo>
                    <a:pt x="90" y="24"/>
                  </a:lnTo>
                  <a:lnTo>
                    <a:pt x="90" y="24"/>
                  </a:lnTo>
                  <a:lnTo>
                    <a:pt x="92" y="24"/>
                  </a:lnTo>
                  <a:lnTo>
                    <a:pt x="92" y="24"/>
                  </a:lnTo>
                  <a:lnTo>
                    <a:pt x="92" y="26"/>
                  </a:lnTo>
                  <a:lnTo>
                    <a:pt x="92" y="26"/>
                  </a:lnTo>
                  <a:lnTo>
                    <a:pt x="94" y="28"/>
                  </a:lnTo>
                  <a:lnTo>
                    <a:pt x="94" y="30"/>
                  </a:lnTo>
                  <a:lnTo>
                    <a:pt x="94" y="32"/>
                  </a:lnTo>
                  <a:lnTo>
                    <a:pt x="92" y="32"/>
                  </a:lnTo>
                  <a:lnTo>
                    <a:pt x="92" y="34"/>
                  </a:lnTo>
                  <a:lnTo>
                    <a:pt x="92" y="36"/>
                  </a:lnTo>
                  <a:lnTo>
                    <a:pt x="92" y="36"/>
                  </a:lnTo>
                  <a:lnTo>
                    <a:pt x="90" y="38"/>
                  </a:lnTo>
                  <a:lnTo>
                    <a:pt x="90" y="38"/>
                  </a:lnTo>
                  <a:lnTo>
                    <a:pt x="88" y="38"/>
                  </a:lnTo>
                  <a:lnTo>
                    <a:pt x="86" y="38"/>
                  </a:lnTo>
                  <a:lnTo>
                    <a:pt x="84" y="38"/>
                  </a:lnTo>
                  <a:lnTo>
                    <a:pt x="84" y="38"/>
                  </a:lnTo>
                  <a:lnTo>
                    <a:pt x="84" y="38"/>
                  </a:lnTo>
                  <a:lnTo>
                    <a:pt x="82" y="40"/>
                  </a:lnTo>
                  <a:lnTo>
                    <a:pt x="82" y="42"/>
                  </a:lnTo>
                  <a:lnTo>
                    <a:pt x="82" y="42"/>
                  </a:lnTo>
                  <a:lnTo>
                    <a:pt x="82" y="46"/>
                  </a:lnTo>
                  <a:lnTo>
                    <a:pt x="82" y="48"/>
                  </a:lnTo>
                  <a:lnTo>
                    <a:pt x="82" y="52"/>
                  </a:lnTo>
                  <a:lnTo>
                    <a:pt x="82" y="56"/>
                  </a:lnTo>
                  <a:lnTo>
                    <a:pt x="82" y="60"/>
                  </a:lnTo>
                  <a:lnTo>
                    <a:pt x="82" y="64"/>
                  </a:lnTo>
                  <a:lnTo>
                    <a:pt x="82" y="66"/>
                  </a:lnTo>
                  <a:lnTo>
                    <a:pt x="82" y="74"/>
                  </a:lnTo>
                  <a:lnTo>
                    <a:pt x="84" y="84"/>
                  </a:lnTo>
                  <a:lnTo>
                    <a:pt x="80" y="84"/>
                  </a:lnTo>
                  <a:lnTo>
                    <a:pt x="70" y="84"/>
                  </a:lnTo>
                  <a:lnTo>
                    <a:pt x="62" y="84"/>
                  </a:lnTo>
                  <a:lnTo>
                    <a:pt x="58" y="84"/>
                  </a:lnTo>
                  <a:lnTo>
                    <a:pt x="52" y="84"/>
                  </a:lnTo>
                  <a:lnTo>
                    <a:pt x="50" y="86"/>
                  </a:lnTo>
                  <a:lnTo>
                    <a:pt x="48" y="86"/>
                  </a:lnTo>
                  <a:lnTo>
                    <a:pt x="46" y="86"/>
                  </a:lnTo>
                  <a:lnTo>
                    <a:pt x="44" y="86"/>
                  </a:lnTo>
                  <a:lnTo>
                    <a:pt x="38" y="90"/>
                  </a:lnTo>
                  <a:lnTo>
                    <a:pt x="30" y="9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6" name="Freeform 415">
              <a:extLst>
                <a:ext uri="{FF2B5EF4-FFF2-40B4-BE49-F238E27FC236}">
                  <a16:creationId xmlns:a16="http://schemas.microsoft.com/office/drawing/2014/main" id="{411F846C-C9A5-450E-A78F-F960ADCCBDAD}"/>
                </a:ext>
              </a:extLst>
            </p:cNvPr>
            <p:cNvSpPr>
              <a:spLocks/>
            </p:cNvSpPr>
            <p:nvPr/>
          </p:nvSpPr>
          <p:spPr bwMode="auto">
            <a:xfrm>
              <a:off x="4050970" y="4355222"/>
              <a:ext cx="162815" cy="159351"/>
            </a:xfrm>
            <a:custGeom>
              <a:avLst/>
              <a:gdLst>
                <a:gd name="T0" fmla="*/ 28 w 94"/>
                <a:gd name="T1" fmla="*/ 92 h 92"/>
                <a:gd name="T2" fmla="*/ 18 w 94"/>
                <a:gd name="T3" fmla="*/ 88 h 92"/>
                <a:gd name="T4" fmla="*/ 14 w 94"/>
                <a:gd name="T5" fmla="*/ 86 h 92"/>
                <a:gd name="T6" fmla="*/ 14 w 94"/>
                <a:gd name="T7" fmla="*/ 84 h 92"/>
                <a:gd name="T8" fmla="*/ 14 w 94"/>
                <a:gd name="T9" fmla="*/ 78 h 92"/>
                <a:gd name="T10" fmla="*/ 12 w 94"/>
                <a:gd name="T11" fmla="*/ 72 h 92"/>
                <a:gd name="T12" fmla="*/ 12 w 94"/>
                <a:gd name="T13" fmla="*/ 70 h 92"/>
                <a:gd name="T14" fmla="*/ 10 w 94"/>
                <a:gd name="T15" fmla="*/ 68 h 92"/>
                <a:gd name="T16" fmla="*/ 4 w 94"/>
                <a:gd name="T17" fmla="*/ 68 h 92"/>
                <a:gd name="T18" fmla="*/ 2 w 94"/>
                <a:gd name="T19" fmla="*/ 66 h 92"/>
                <a:gd name="T20" fmla="*/ 0 w 94"/>
                <a:gd name="T21" fmla="*/ 62 h 92"/>
                <a:gd name="T22" fmla="*/ 0 w 94"/>
                <a:gd name="T23" fmla="*/ 54 h 92"/>
                <a:gd name="T24" fmla="*/ 0 w 94"/>
                <a:gd name="T25" fmla="*/ 42 h 92"/>
                <a:gd name="T26" fmla="*/ 2 w 94"/>
                <a:gd name="T27" fmla="*/ 36 h 92"/>
                <a:gd name="T28" fmla="*/ 4 w 94"/>
                <a:gd name="T29" fmla="*/ 32 h 92"/>
                <a:gd name="T30" fmla="*/ 10 w 94"/>
                <a:gd name="T31" fmla="*/ 30 h 92"/>
                <a:gd name="T32" fmla="*/ 16 w 94"/>
                <a:gd name="T33" fmla="*/ 26 h 92"/>
                <a:gd name="T34" fmla="*/ 18 w 94"/>
                <a:gd name="T35" fmla="*/ 24 h 92"/>
                <a:gd name="T36" fmla="*/ 20 w 94"/>
                <a:gd name="T37" fmla="*/ 22 h 92"/>
                <a:gd name="T38" fmla="*/ 18 w 94"/>
                <a:gd name="T39" fmla="*/ 20 h 92"/>
                <a:gd name="T40" fmla="*/ 12 w 94"/>
                <a:gd name="T41" fmla="*/ 18 h 92"/>
                <a:gd name="T42" fmla="*/ 10 w 94"/>
                <a:gd name="T43" fmla="*/ 16 h 92"/>
                <a:gd name="T44" fmla="*/ 10 w 94"/>
                <a:gd name="T45" fmla="*/ 14 h 92"/>
                <a:gd name="T46" fmla="*/ 10 w 94"/>
                <a:gd name="T47" fmla="*/ 10 h 92"/>
                <a:gd name="T48" fmla="*/ 14 w 94"/>
                <a:gd name="T49" fmla="*/ 2 h 92"/>
                <a:gd name="T50" fmla="*/ 48 w 94"/>
                <a:gd name="T51" fmla="*/ 2 h 92"/>
                <a:gd name="T52" fmla="*/ 54 w 94"/>
                <a:gd name="T53" fmla="*/ 6 h 92"/>
                <a:gd name="T54" fmla="*/ 60 w 94"/>
                <a:gd name="T55" fmla="*/ 6 h 92"/>
                <a:gd name="T56" fmla="*/ 78 w 94"/>
                <a:gd name="T57" fmla="*/ 6 h 92"/>
                <a:gd name="T58" fmla="*/ 82 w 94"/>
                <a:gd name="T59" fmla="*/ 12 h 92"/>
                <a:gd name="T60" fmla="*/ 84 w 94"/>
                <a:gd name="T61" fmla="*/ 18 h 92"/>
                <a:gd name="T62" fmla="*/ 84 w 94"/>
                <a:gd name="T63" fmla="*/ 20 h 92"/>
                <a:gd name="T64" fmla="*/ 88 w 94"/>
                <a:gd name="T65" fmla="*/ 22 h 92"/>
                <a:gd name="T66" fmla="*/ 92 w 94"/>
                <a:gd name="T67" fmla="*/ 24 h 92"/>
                <a:gd name="T68" fmla="*/ 92 w 94"/>
                <a:gd name="T69" fmla="*/ 26 h 92"/>
                <a:gd name="T70" fmla="*/ 94 w 94"/>
                <a:gd name="T71" fmla="*/ 32 h 92"/>
                <a:gd name="T72" fmla="*/ 92 w 94"/>
                <a:gd name="T73" fmla="*/ 36 h 92"/>
                <a:gd name="T74" fmla="*/ 90 w 94"/>
                <a:gd name="T75" fmla="*/ 38 h 92"/>
                <a:gd name="T76" fmla="*/ 84 w 94"/>
                <a:gd name="T77" fmla="*/ 38 h 92"/>
                <a:gd name="T78" fmla="*/ 82 w 94"/>
                <a:gd name="T79" fmla="*/ 40 h 92"/>
                <a:gd name="T80" fmla="*/ 82 w 94"/>
                <a:gd name="T81" fmla="*/ 46 h 92"/>
                <a:gd name="T82" fmla="*/ 82 w 94"/>
                <a:gd name="T83" fmla="*/ 56 h 92"/>
                <a:gd name="T84" fmla="*/ 82 w 94"/>
                <a:gd name="T85" fmla="*/ 66 h 92"/>
                <a:gd name="T86" fmla="*/ 80 w 94"/>
                <a:gd name="T87" fmla="*/ 84 h 92"/>
                <a:gd name="T88" fmla="*/ 58 w 94"/>
                <a:gd name="T89" fmla="*/ 84 h 92"/>
                <a:gd name="T90" fmla="*/ 48 w 94"/>
                <a:gd name="T91" fmla="*/ 86 h 92"/>
                <a:gd name="T92" fmla="*/ 38 w 94"/>
                <a:gd name="T93" fmla="*/ 9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4" h="92">
                  <a:moveTo>
                    <a:pt x="30" y="92"/>
                  </a:moveTo>
                  <a:lnTo>
                    <a:pt x="30" y="92"/>
                  </a:lnTo>
                  <a:lnTo>
                    <a:pt x="28" y="92"/>
                  </a:lnTo>
                  <a:lnTo>
                    <a:pt x="24" y="90"/>
                  </a:lnTo>
                  <a:lnTo>
                    <a:pt x="20" y="90"/>
                  </a:lnTo>
                  <a:lnTo>
                    <a:pt x="18" y="88"/>
                  </a:lnTo>
                  <a:lnTo>
                    <a:pt x="16" y="86"/>
                  </a:lnTo>
                  <a:lnTo>
                    <a:pt x="16" y="86"/>
                  </a:lnTo>
                  <a:lnTo>
                    <a:pt x="14" y="86"/>
                  </a:lnTo>
                  <a:lnTo>
                    <a:pt x="14" y="86"/>
                  </a:lnTo>
                  <a:lnTo>
                    <a:pt x="14" y="84"/>
                  </a:lnTo>
                  <a:lnTo>
                    <a:pt x="14" y="84"/>
                  </a:lnTo>
                  <a:lnTo>
                    <a:pt x="14" y="82"/>
                  </a:lnTo>
                  <a:lnTo>
                    <a:pt x="14" y="80"/>
                  </a:lnTo>
                  <a:lnTo>
                    <a:pt x="14" y="78"/>
                  </a:lnTo>
                  <a:lnTo>
                    <a:pt x="14" y="76"/>
                  </a:lnTo>
                  <a:lnTo>
                    <a:pt x="14" y="72"/>
                  </a:lnTo>
                  <a:lnTo>
                    <a:pt x="12" y="72"/>
                  </a:lnTo>
                  <a:lnTo>
                    <a:pt x="12" y="70"/>
                  </a:lnTo>
                  <a:lnTo>
                    <a:pt x="12" y="70"/>
                  </a:lnTo>
                  <a:lnTo>
                    <a:pt x="12" y="70"/>
                  </a:lnTo>
                  <a:lnTo>
                    <a:pt x="12" y="70"/>
                  </a:lnTo>
                  <a:lnTo>
                    <a:pt x="12" y="68"/>
                  </a:lnTo>
                  <a:lnTo>
                    <a:pt x="10" y="68"/>
                  </a:lnTo>
                  <a:lnTo>
                    <a:pt x="8" y="68"/>
                  </a:lnTo>
                  <a:lnTo>
                    <a:pt x="8" y="68"/>
                  </a:lnTo>
                  <a:lnTo>
                    <a:pt x="4" y="68"/>
                  </a:lnTo>
                  <a:lnTo>
                    <a:pt x="4" y="68"/>
                  </a:lnTo>
                  <a:lnTo>
                    <a:pt x="4" y="66"/>
                  </a:lnTo>
                  <a:lnTo>
                    <a:pt x="2" y="66"/>
                  </a:lnTo>
                  <a:lnTo>
                    <a:pt x="2" y="66"/>
                  </a:lnTo>
                  <a:lnTo>
                    <a:pt x="2" y="64"/>
                  </a:lnTo>
                  <a:lnTo>
                    <a:pt x="0" y="62"/>
                  </a:lnTo>
                  <a:lnTo>
                    <a:pt x="0" y="60"/>
                  </a:lnTo>
                  <a:lnTo>
                    <a:pt x="0" y="54"/>
                  </a:lnTo>
                  <a:lnTo>
                    <a:pt x="0" y="54"/>
                  </a:lnTo>
                  <a:lnTo>
                    <a:pt x="0" y="50"/>
                  </a:lnTo>
                  <a:lnTo>
                    <a:pt x="0" y="46"/>
                  </a:lnTo>
                  <a:lnTo>
                    <a:pt x="0" y="42"/>
                  </a:lnTo>
                  <a:lnTo>
                    <a:pt x="2" y="38"/>
                  </a:lnTo>
                  <a:lnTo>
                    <a:pt x="2" y="36"/>
                  </a:lnTo>
                  <a:lnTo>
                    <a:pt x="2" y="36"/>
                  </a:lnTo>
                  <a:lnTo>
                    <a:pt x="4" y="34"/>
                  </a:lnTo>
                  <a:lnTo>
                    <a:pt x="4" y="34"/>
                  </a:lnTo>
                  <a:lnTo>
                    <a:pt x="4" y="32"/>
                  </a:lnTo>
                  <a:lnTo>
                    <a:pt x="6" y="32"/>
                  </a:lnTo>
                  <a:lnTo>
                    <a:pt x="6" y="32"/>
                  </a:lnTo>
                  <a:lnTo>
                    <a:pt x="10" y="30"/>
                  </a:lnTo>
                  <a:lnTo>
                    <a:pt x="12" y="28"/>
                  </a:lnTo>
                  <a:lnTo>
                    <a:pt x="14" y="28"/>
                  </a:lnTo>
                  <a:lnTo>
                    <a:pt x="16" y="26"/>
                  </a:lnTo>
                  <a:lnTo>
                    <a:pt x="18" y="26"/>
                  </a:lnTo>
                  <a:lnTo>
                    <a:pt x="18" y="26"/>
                  </a:lnTo>
                  <a:lnTo>
                    <a:pt x="18" y="24"/>
                  </a:lnTo>
                  <a:lnTo>
                    <a:pt x="20" y="24"/>
                  </a:lnTo>
                  <a:lnTo>
                    <a:pt x="20" y="22"/>
                  </a:lnTo>
                  <a:lnTo>
                    <a:pt x="20" y="22"/>
                  </a:lnTo>
                  <a:lnTo>
                    <a:pt x="20" y="22"/>
                  </a:lnTo>
                  <a:lnTo>
                    <a:pt x="18" y="22"/>
                  </a:lnTo>
                  <a:lnTo>
                    <a:pt x="18" y="20"/>
                  </a:lnTo>
                  <a:lnTo>
                    <a:pt x="16" y="20"/>
                  </a:lnTo>
                  <a:lnTo>
                    <a:pt x="14" y="18"/>
                  </a:lnTo>
                  <a:lnTo>
                    <a:pt x="12" y="18"/>
                  </a:lnTo>
                  <a:lnTo>
                    <a:pt x="12" y="16"/>
                  </a:lnTo>
                  <a:lnTo>
                    <a:pt x="10" y="16"/>
                  </a:lnTo>
                  <a:lnTo>
                    <a:pt x="10" y="16"/>
                  </a:lnTo>
                  <a:lnTo>
                    <a:pt x="10" y="14"/>
                  </a:lnTo>
                  <a:lnTo>
                    <a:pt x="10" y="14"/>
                  </a:lnTo>
                  <a:lnTo>
                    <a:pt x="10" y="14"/>
                  </a:lnTo>
                  <a:lnTo>
                    <a:pt x="10" y="12"/>
                  </a:lnTo>
                  <a:lnTo>
                    <a:pt x="10" y="10"/>
                  </a:lnTo>
                  <a:lnTo>
                    <a:pt x="10" y="10"/>
                  </a:lnTo>
                  <a:lnTo>
                    <a:pt x="12" y="8"/>
                  </a:lnTo>
                  <a:lnTo>
                    <a:pt x="14" y="4"/>
                  </a:lnTo>
                  <a:lnTo>
                    <a:pt x="14" y="2"/>
                  </a:lnTo>
                  <a:lnTo>
                    <a:pt x="28" y="2"/>
                  </a:lnTo>
                  <a:lnTo>
                    <a:pt x="44" y="0"/>
                  </a:lnTo>
                  <a:lnTo>
                    <a:pt x="48" y="2"/>
                  </a:lnTo>
                  <a:lnTo>
                    <a:pt x="52" y="4"/>
                  </a:lnTo>
                  <a:lnTo>
                    <a:pt x="52" y="4"/>
                  </a:lnTo>
                  <a:lnTo>
                    <a:pt x="54" y="6"/>
                  </a:lnTo>
                  <a:lnTo>
                    <a:pt x="54" y="6"/>
                  </a:lnTo>
                  <a:lnTo>
                    <a:pt x="56" y="6"/>
                  </a:lnTo>
                  <a:lnTo>
                    <a:pt x="60" y="6"/>
                  </a:lnTo>
                  <a:lnTo>
                    <a:pt x="66" y="6"/>
                  </a:lnTo>
                  <a:lnTo>
                    <a:pt x="70" y="6"/>
                  </a:lnTo>
                  <a:lnTo>
                    <a:pt x="78" y="6"/>
                  </a:lnTo>
                  <a:lnTo>
                    <a:pt x="82" y="6"/>
                  </a:lnTo>
                  <a:lnTo>
                    <a:pt x="82" y="8"/>
                  </a:lnTo>
                  <a:lnTo>
                    <a:pt x="82" y="12"/>
                  </a:lnTo>
                  <a:lnTo>
                    <a:pt x="82" y="14"/>
                  </a:lnTo>
                  <a:lnTo>
                    <a:pt x="82" y="16"/>
                  </a:lnTo>
                  <a:lnTo>
                    <a:pt x="84" y="18"/>
                  </a:lnTo>
                  <a:lnTo>
                    <a:pt x="84" y="20"/>
                  </a:lnTo>
                  <a:lnTo>
                    <a:pt x="84" y="20"/>
                  </a:lnTo>
                  <a:lnTo>
                    <a:pt x="84" y="20"/>
                  </a:lnTo>
                  <a:lnTo>
                    <a:pt x="84" y="22"/>
                  </a:lnTo>
                  <a:lnTo>
                    <a:pt x="86" y="22"/>
                  </a:lnTo>
                  <a:lnTo>
                    <a:pt x="88" y="22"/>
                  </a:lnTo>
                  <a:lnTo>
                    <a:pt x="90" y="24"/>
                  </a:lnTo>
                  <a:lnTo>
                    <a:pt x="90" y="24"/>
                  </a:lnTo>
                  <a:lnTo>
                    <a:pt x="92" y="24"/>
                  </a:lnTo>
                  <a:lnTo>
                    <a:pt x="92" y="24"/>
                  </a:lnTo>
                  <a:lnTo>
                    <a:pt x="92" y="26"/>
                  </a:lnTo>
                  <a:lnTo>
                    <a:pt x="92" y="26"/>
                  </a:lnTo>
                  <a:lnTo>
                    <a:pt x="94" y="28"/>
                  </a:lnTo>
                  <a:lnTo>
                    <a:pt x="94" y="30"/>
                  </a:lnTo>
                  <a:lnTo>
                    <a:pt x="94" y="32"/>
                  </a:lnTo>
                  <a:lnTo>
                    <a:pt x="92" y="32"/>
                  </a:lnTo>
                  <a:lnTo>
                    <a:pt x="92" y="34"/>
                  </a:lnTo>
                  <a:lnTo>
                    <a:pt x="92" y="36"/>
                  </a:lnTo>
                  <a:lnTo>
                    <a:pt x="92" y="36"/>
                  </a:lnTo>
                  <a:lnTo>
                    <a:pt x="90" y="38"/>
                  </a:lnTo>
                  <a:lnTo>
                    <a:pt x="90" y="38"/>
                  </a:lnTo>
                  <a:lnTo>
                    <a:pt x="88" y="38"/>
                  </a:lnTo>
                  <a:lnTo>
                    <a:pt x="86" y="38"/>
                  </a:lnTo>
                  <a:lnTo>
                    <a:pt x="84" y="38"/>
                  </a:lnTo>
                  <a:lnTo>
                    <a:pt x="84" y="38"/>
                  </a:lnTo>
                  <a:lnTo>
                    <a:pt x="84" y="38"/>
                  </a:lnTo>
                  <a:lnTo>
                    <a:pt x="82" y="40"/>
                  </a:lnTo>
                  <a:lnTo>
                    <a:pt x="82" y="42"/>
                  </a:lnTo>
                  <a:lnTo>
                    <a:pt x="82" y="42"/>
                  </a:lnTo>
                  <a:lnTo>
                    <a:pt x="82" y="46"/>
                  </a:lnTo>
                  <a:lnTo>
                    <a:pt x="82" y="48"/>
                  </a:lnTo>
                  <a:lnTo>
                    <a:pt x="82" y="52"/>
                  </a:lnTo>
                  <a:lnTo>
                    <a:pt x="82" y="56"/>
                  </a:lnTo>
                  <a:lnTo>
                    <a:pt x="82" y="60"/>
                  </a:lnTo>
                  <a:lnTo>
                    <a:pt x="82" y="64"/>
                  </a:lnTo>
                  <a:lnTo>
                    <a:pt x="82" y="66"/>
                  </a:lnTo>
                  <a:lnTo>
                    <a:pt x="82" y="74"/>
                  </a:lnTo>
                  <a:lnTo>
                    <a:pt x="84" y="84"/>
                  </a:lnTo>
                  <a:lnTo>
                    <a:pt x="80" y="84"/>
                  </a:lnTo>
                  <a:lnTo>
                    <a:pt x="70" y="84"/>
                  </a:lnTo>
                  <a:lnTo>
                    <a:pt x="62" y="84"/>
                  </a:lnTo>
                  <a:lnTo>
                    <a:pt x="58" y="84"/>
                  </a:lnTo>
                  <a:lnTo>
                    <a:pt x="52" y="84"/>
                  </a:lnTo>
                  <a:lnTo>
                    <a:pt x="50" y="86"/>
                  </a:lnTo>
                  <a:lnTo>
                    <a:pt x="48" y="86"/>
                  </a:lnTo>
                  <a:lnTo>
                    <a:pt x="46" y="86"/>
                  </a:lnTo>
                  <a:lnTo>
                    <a:pt x="44" y="86"/>
                  </a:lnTo>
                  <a:lnTo>
                    <a:pt x="38" y="90"/>
                  </a:lnTo>
                  <a:lnTo>
                    <a:pt x="30" y="9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7" name="Freeform 416">
              <a:extLst>
                <a:ext uri="{FF2B5EF4-FFF2-40B4-BE49-F238E27FC236}">
                  <a16:creationId xmlns:a16="http://schemas.microsoft.com/office/drawing/2014/main" id="{51EDF797-18A8-4858-87AB-09ABF5544A10}"/>
                </a:ext>
              </a:extLst>
            </p:cNvPr>
            <p:cNvSpPr>
              <a:spLocks/>
            </p:cNvSpPr>
            <p:nvPr/>
          </p:nvSpPr>
          <p:spPr bwMode="auto">
            <a:xfrm>
              <a:off x="4504774" y="4611569"/>
              <a:ext cx="38106" cy="20785"/>
            </a:xfrm>
            <a:custGeom>
              <a:avLst/>
              <a:gdLst>
                <a:gd name="T0" fmla="*/ 22 w 22"/>
                <a:gd name="T1" fmla="*/ 0 h 12"/>
                <a:gd name="T2" fmla="*/ 2 w 22"/>
                <a:gd name="T3" fmla="*/ 2 h 12"/>
                <a:gd name="T4" fmla="*/ 0 w 22"/>
                <a:gd name="T5" fmla="*/ 8 h 12"/>
                <a:gd name="T6" fmla="*/ 2 w 22"/>
                <a:gd name="T7" fmla="*/ 10 h 12"/>
                <a:gd name="T8" fmla="*/ 2 w 22"/>
                <a:gd name="T9" fmla="*/ 12 h 12"/>
                <a:gd name="T10" fmla="*/ 4 w 22"/>
                <a:gd name="T11" fmla="*/ 12 h 12"/>
                <a:gd name="T12" fmla="*/ 4 w 22"/>
                <a:gd name="T13" fmla="*/ 12 h 12"/>
                <a:gd name="T14" fmla="*/ 6 w 22"/>
                <a:gd name="T15" fmla="*/ 12 h 12"/>
                <a:gd name="T16" fmla="*/ 8 w 22"/>
                <a:gd name="T17" fmla="*/ 12 h 12"/>
                <a:gd name="T18" fmla="*/ 10 w 22"/>
                <a:gd name="T19" fmla="*/ 12 h 12"/>
                <a:gd name="T20" fmla="*/ 12 w 22"/>
                <a:gd name="T21" fmla="*/ 12 h 12"/>
                <a:gd name="T22" fmla="*/ 14 w 22"/>
                <a:gd name="T23" fmla="*/ 12 h 12"/>
                <a:gd name="T24" fmla="*/ 16 w 22"/>
                <a:gd name="T25" fmla="*/ 12 h 12"/>
                <a:gd name="T26" fmla="*/ 18 w 22"/>
                <a:gd name="T27" fmla="*/ 12 h 12"/>
                <a:gd name="T28" fmla="*/ 18 w 22"/>
                <a:gd name="T29" fmla="*/ 12 h 12"/>
                <a:gd name="T30" fmla="*/ 18 w 22"/>
                <a:gd name="T31" fmla="*/ 10 h 12"/>
                <a:gd name="T32" fmla="*/ 20 w 22"/>
                <a:gd name="T33" fmla="*/ 10 h 12"/>
                <a:gd name="T34" fmla="*/ 20 w 22"/>
                <a:gd name="T35" fmla="*/ 10 h 12"/>
                <a:gd name="T36" fmla="*/ 20 w 22"/>
                <a:gd name="T37" fmla="*/ 8 h 12"/>
                <a:gd name="T38" fmla="*/ 22 w 22"/>
                <a:gd name="T39" fmla="*/ 6 h 12"/>
                <a:gd name="T40" fmla="*/ 22 w 22"/>
                <a:gd name="T41" fmla="*/ 4 h 12"/>
                <a:gd name="T42" fmla="*/ 22 w 22"/>
                <a:gd name="T43" fmla="*/ 2 h 12"/>
                <a:gd name="T44" fmla="*/ 22 w 22"/>
                <a:gd name="T4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12">
                  <a:moveTo>
                    <a:pt x="22" y="0"/>
                  </a:moveTo>
                  <a:lnTo>
                    <a:pt x="2" y="2"/>
                  </a:lnTo>
                  <a:lnTo>
                    <a:pt x="0" y="8"/>
                  </a:lnTo>
                  <a:lnTo>
                    <a:pt x="2" y="10"/>
                  </a:lnTo>
                  <a:lnTo>
                    <a:pt x="2" y="12"/>
                  </a:lnTo>
                  <a:lnTo>
                    <a:pt x="4" y="12"/>
                  </a:lnTo>
                  <a:lnTo>
                    <a:pt x="4" y="12"/>
                  </a:lnTo>
                  <a:lnTo>
                    <a:pt x="6" y="12"/>
                  </a:lnTo>
                  <a:lnTo>
                    <a:pt x="8" y="12"/>
                  </a:lnTo>
                  <a:lnTo>
                    <a:pt x="10" y="12"/>
                  </a:lnTo>
                  <a:lnTo>
                    <a:pt x="12" y="12"/>
                  </a:lnTo>
                  <a:lnTo>
                    <a:pt x="14" y="12"/>
                  </a:lnTo>
                  <a:lnTo>
                    <a:pt x="16" y="12"/>
                  </a:lnTo>
                  <a:lnTo>
                    <a:pt x="18" y="12"/>
                  </a:lnTo>
                  <a:lnTo>
                    <a:pt x="18" y="12"/>
                  </a:lnTo>
                  <a:lnTo>
                    <a:pt x="18" y="10"/>
                  </a:lnTo>
                  <a:lnTo>
                    <a:pt x="20" y="10"/>
                  </a:lnTo>
                  <a:lnTo>
                    <a:pt x="20" y="10"/>
                  </a:lnTo>
                  <a:lnTo>
                    <a:pt x="20" y="8"/>
                  </a:lnTo>
                  <a:lnTo>
                    <a:pt x="22" y="6"/>
                  </a:lnTo>
                  <a:lnTo>
                    <a:pt x="22" y="4"/>
                  </a:lnTo>
                  <a:lnTo>
                    <a:pt x="22" y="2"/>
                  </a:lnTo>
                  <a:lnTo>
                    <a:pt x="22"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8" name="Freeform 417">
              <a:extLst>
                <a:ext uri="{FF2B5EF4-FFF2-40B4-BE49-F238E27FC236}">
                  <a16:creationId xmlns:a16="http://schemas.microsoft.com/office/drawing/2014/main" id="{3840F06F-C181-4017-A950-0D13E74B4EFA}"/>
                </a:ext>
              </a:extLst>
            </p:cNvPr>
            <p:cNvSpPr>
              <a:spLocks/>
            </p:cNvSpPr>
            <p:nvPr/>
          </p:nvSpPr>
          <p:spPr bwMode="auto">
            <a:xfrm>
              <a:off x="4504774" y="4611569"/>
              <a:ext cx="38106" cy="20785"/>
            </a:xfrm>
            <a:custGeom>
              <a:avLst/>
              <a:gdLst>
                <a:gd name="T0" fmla="*/ 22 w 22"/>
                <a:gd name="T1" fmla="*/ 0 h 12"/>
                <a:gd name="T2" fmla="*/ 2 w 22"/>
                <a:gd name="T3" fmla="*/ 2 h 12"/>
                <a:gd name="T4" fmla="*/ 0 w 22"/>
                <a:gd name="T5" fmla="*/ 8 h 12"/>
                <a:gd name="T6" fmla="*/ 2 w 22"/>
                <a:gd name="T7" fmla="*/ 10 h 12"/>
                <a:gd name="T8" fmla="*/ 2 w 22"/>
                <a:gd name="T9" fmla="*/ 12 h 12"/>
                <a:gd name="T10" fmla="*/ 4 w 22"/>
                <a:gd name="T11" fmla="*/ 12 h 12"/>
                <a:gd name="T12" fmla="*/ 4 w 22"/>
                <a:gd name="T13" fmla="*/ 12 h 12"/>
                <a:gd name="T14" fmla="*/ 6 w 22"/>
                <a:gd name="T15" fmla="*/ 12 h 12"/>
                <a:gd name="T16" fmla="*/ 8 w 22"/>
                <a:gd name="T17" fmla="*/ 12 h 12"/>
                <a:gd name="T18" fmla="*/ 10 w 22"/>
                <a:gd name="T19" fmla="*/ 12 h 12"/>
                <a:gd name="T20" fmla="*/ 12 w 22"/>
                <a:gd name="T21" fmla="*/ 12 h 12"/>
                <a:gd name="T22" fmla="*/ 14 w 22"/>
                <a:gd name="T23" fmla="*/ 12 h 12"/>
                <a:gd name="T24" fmla="*/ 16 w 22"/>
                <a:gd name="T25" fmla="*/ 12 h 12"/>
                <a:gd name="T26" fmla="*/ 18 w 22"/>
                <a:gd name="T27" fmla="*/ 12 h 12"/>
                <a:gd name="T28" fmla="*/ 18 w 22"/>
                <a:gd name="T29" fmla="*/ 12 h 12"/>
                <a:gd name="T30" fmla="*/ 18 w 22"/>
                <a:gd name="T31" fmla="*/ 10 h 12"/>
                <a:gd name="T32" fmla="*/ 20 w 22"/>
                <a:gd name="T33" fmla="*/ 10 h 12"/>
                <a:gd name="T34" fmla="*/ 20 w 22"/>
                <a:gd name="T35" fmla="*/ 10 h 12"/>
                <a:gd name="T36" fmla="*/ 20 w 22"/>
                <a:gd name="T37" fmla="*/ 8 h 12"/>
                <a:gd name="T38" fmla="*/ 22 w 22"/>
                <a:gd name="T39" fmla="*/ 6 h 12"/>
                <a:gd name="T40" fmla="*/ 22 w 22"/>
                <a:gd name="T41" fmla="*/ 4 h 12"/>
                <a:gd name="T42" fmla="*/ 22 w 22"/>
                <a:gd name="T43" fmla="*/ 2 h 12"/>
                <a:gd name="T44" fmla="*/ 22 w 22"/>
                <a:gd name="T4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12">
                  <a:moveTo>
                    <a:pt x="22" y="0"/>
                  </a:moveTo>
                  <a:lnTo>
                    <a:pt x="2" y="2"/>
                  </a:lnTo>
                  <a:lnTo>
                    <a:pt x="0" y="8"/>
                  </a:lnTo>
                  <a:lnTo>
                    <a:pt x="2" y="10"/>
                  </a:lnTo>
                  <a:lnTo>
                    <a:pt x="2" y="12"/>
                  </a:lnTo>
                  <a:lnTo>
                    <a:pt x="4" y="12"/>
                  </a:lnTo>
                  <a:lnTo>
                    <a:pt x="4" y="12"/>
                  </a:lnTo>
                  <a:lnTo>
                    <a:pt x="6" y="12"/>
                  </a:lnTo>
                  <a:lnTo>
                    <a:pt x="8" y="12"/>
                  </a:lnTo>
                  <a:lnTo>
                    <a:pt x="10" y="12"/>
                  </a:lnTo>
                  <a:lnTo>
                    <a:pt x="12" y="12"/>
                  </a:lnTo>
                  <a:lnTo>
                    <a:pt x="14" y="12"/>
                  </a:lnTo>
                  <a:lnTo>
                    <a:pt x="16" y="12"/>
                  </a:lnTo>
                  <a:lnTo>
                    <a:pt x="18" y="12"/>
                  </a:lnTo>
                  <a:lnTo>
                    <a:pt x="18" y="12"/>
                  </a:lnTo>
                  <a:lnTo>
                    <a:pt x="18" y="10"/>
                  </a:lnTo>
                  <a:lnTo>
                    <a:pt x="20" y="10"/>
                  </a:lnTo>
                  <a:lnTo>
                    <a:pt x="20" y="10"/>
                  </a:lnTo>
                  <a:lnTo>
                    <a:pt x="20" y="8"/>
                  </a:lnTo>
                  <a:lnTo>
                    <a:pt x="22" y="6"/>
                  </a:lnTo>
                  <a:lnTo>
                    <a:pt x="22" y="4"/>
                  </a:lnTo>
                  <a:lnTo>
                    <a:pt x="22" y="2"/>
                  </a:lnTo>
                  <a:lnTo>
                    <a:pt x="22"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9" name="Freeform 418">
              <a:extLst>
                <a:ext uri="{FF2B5EF4-FFF2-40B4-BE49-F238E27FC236}">
                  <a16:creationId xmlns:a16="http://schemas.microsoft.com/office/drawing/2014/main" id="{14B4EC3A-3BD0-490D-A4A2-0970547150E8}"/>
                </a:ext>
              </a:extLst>
            </p:cNvPr>
            <p:cNvSpPr>
              <a:spLocks/>
            </p:cNvSpPr>
            <p:nvPr/>
          </p:nvSpPr>
          <p:spPr bwMode="auto">
            <a:xfrm>
              <a:off x="4986291" y="4684317"/>
              <a:ext cx="48498" cy="48498"/>
            </a:xfrm>
            <a:custGeom>
              <a:avLst/>
              <a:gdLst>
                <a:gd name="T0" fmla="*/ 14 w 28"/>
                <a:gd name="T1" fmla="*/ 0 h 28"/>
                <a:gd name="T2" fmla="*/ 14 w 28"/>
                <a:gd name="T3" fmla="*/ 0 h 28"/>
                <a:gd name="T4" fmla="*/ 12 w 28"/>
                <a:gd name="T5" fmla="*/ 0 h 28"/>
                <a:gd name="T6" fmla="*/ 10 w 28"/>
                <a:gd name="T7" fmla="*/ 0 h 28"/>
                <a:gd name="T8" fmla="*/ 8 w 28"/>
                <a:gd name="T9" fmla="*/ 2 h 28"/>
                <a:gd name="T10" fmla="*/ 6 w 28"/>
                <a:gd name="T11" fmla="*/ 2 h 28"/>
                <a:gd name="T12" fmla="*/ 6 w 28"/>
                <a:gd name="T13" fmla="*/ 2 h 28"/>
                <a:gd name="T14" fmla="*/ 6 w 28"/>
                <a:gd name="T15" fmla="*/ 2 h 28"/>
                <a:gd name="T16" fmla="*/ 6 w 28"/>
                <a:gd name="T17" fmla="*/ 4 h 28"/>
                <a:gd name="T18" fmla="*/ 6 w 28"/>
                <a:gd name="T19" fmla="*/ 4 h 28"/>
                <a:gd name="T20" fmla="*/ 6 w 28"/>
                <a:gd name="T21" fmla="*/ 4 h 28"/>
                <a:gd name="T22" fmla="*/ 6 w 28"/>
                <a:gd name="T23" fmla="*/ 6 h 28"/>
                <a:gd name="T24" fmla="*/ 6 w 28"/>
                <a:gd name="T25" fmla="*/ 6 h 28"/>
                <a:gd name="T26" fmla="*/ 6 w 28"/>
                <a:gd name="T27" fmla="*/ 8 h 28"/>
                <a:gd name="T28" fmla="*/ 6 w 28"/>
                <a:gd name="T29" fmla="*/ 10 h 28"/>
                <a:gd name="T30" fmla="*/ 6 w 28"/>
                <a:gd name="T31" fmla="*/ 10 h 28"/>
                <a:gd name="T32" fmla="*/ 6 w 28"/>
                <a:gd name="T33" fmla="*/ 12 h 28"/>
                <a:gd name="T34" fmla="*/ 6 w 28"/>
                <a:gd name="T35" fmla="*/ 12 h 28"/>
                <a:gd name="T36" fmla="*/ 6 w 28"/>
                <a:gd name="T37" fmla="*/ 12 h 28"/>
                <a:gd name="T38" fmla="*/ 6 w 28"/>
                <a:gd name="T39" fmla="*/ 14 h 28"/>
                <a:gd name="T40" fmla="*/ 6 w 28"/>
                <a:gd name="T41" fmla="*/ 14 h 28"/>
                <a:gd name="T42" fmla="*/ 4 w 28"/>
                <a:gd name="T43" fmla="*/ 16 h 28"/>
                <a:gd name="T44" fmla="*/ 2 w 28"/>
                <a:gd name="T45" fmla="*/ 16 h 28"/>
                <a:gd name="T46" fmla="*/ 2 w 28"/>
                <a:gd name="T47" fmla="*/ 18 h 28"/>
                <a:gd name="T48" fmla="*/ 2 w 28"/>
                <a:gd name="T49" fmla="*/ 18 h 28"/>
                <a:gd name="T50" fmla="*/ 2 w 28"/>
                <a:gd name="T51" fmla="*/ 20 h 28"/>
                <a:gd name="T52" fmla="*/ 0 w 28"/>
                <a:gd name="T53" fmla="*/ 20 h 28"/>
                <a:gd name="T54" fmla="*/ 0 w 28"/>
                <a:gd name="T55" fmla="*/ 22 h 28"/>
                <a:gd name="T56" fmla="*/ 0 w 28"/>
                <a:gd name="T57" fmla="*/ 22 h 28"/>
                <a:gd name="T58" fmla="*/ 0 w 28"/>
                <a:gd name="T59" fmla="*/ 24 h 28"/>
                <a:gd name="T60" fmla="*/ 2 w 28"/>
                <a:gd name="T61" fmla="*/ 26 h 28"/>
                <a:gd name="T62" fmla="*/ 2 w 28"/>
                <a:gd name="T63" fmla="*/ 26 h 28"/>
                <a:gd name="T64" fmla="*/ 2 w 28"/>
                <a:gd name="T65" fmla="*/ 28 h 28"/>
                <a:gd name="T66" fmla="*/ 2 w 28"/>
                <a:gd name="T67" fmla="*/ 28 h 28"/>
                <a:gd name="T68" fmla="*/ 2 w 28"/>
                <a:gd name="T69" fmla="*/ 28 h 28"/>
                <a:gd name="T70" fmla="*/ 4 w 28"/>
                <a:gd name="T71" fmla="*/ 28 h 28"/>
                <a:gd name="T72" fmla="*/ 6 w 28"/>
                <a:gd name="T73" fmla="*/ 28 h 28"/>
                <a:gd name="T74" fmla="*/ 6 w 28"/>
                <a:gd name="T75" fmla="*/ 26 h 28"/>
                <a:gd name="T76" fmla="*/ 10 w 28"/>
                <a:gd name="T77" fmla="*/ 26 h 28"/>
                <a:gd name="T78" fmla="*/ 10 w 28"/>
                <a:gd name="T79" fmla="*/ 26 h 28"/>
                <a:gd name="T80" fmla="*/ 12 w 28"/>
                <a:gd name="T81" fmla="*/ 26 h 28"/>
                <a:gd name="T82" fmla="*/ 16 w 28"/>
                <a:gd name="T83" fmla="*/ 26 h 28"/>
                <a:gd name="T84" fmla="*/ 18 w 28"/>
                <a:gd name="T85" fmla="*/ 26 h 28"/>
                <a:gd name="T86" fmla="*/ 20 w 28"/>
                <a:gd name="T87" fmla="*/ 26 h 28"/>
                <a:gd name="T88" fmla="*/ 22 w 28"/>
                <a:gd name="T89" fmla="*/ 26 h 28"/>
                <a:gd name="T90" fmla="*/ 22 w 28"/>
                <a:gd name="T91" fmla="*/ 26 h 28"/>
                <a:gd name="T92" fmla="*/ 24 w 28"/>
                <a:gd name="T93" fmla="*/ 26 h 28"/>
                <a:gd name="T94" fmla="*/ 24 w 28"/>
                <a:gd name="T95" fmla="*/ 24 h 28"/>
                <a:gd name="T96" fmla="*/ 26 w 28"/>
                <a:gd name="T97" fmla="*/ 22 h 28"/>
                <a:gd name="T98" fmla="*/ 28 w 28"/>
                <a:gd name="T99" fmla="*/ 20 h 28"/>
                <a:gd name="T100" fmla="*/ 28 w 28"/>
                <a:gd name="T101" fmla="*/ 20 h 28"/>
                <a:gd name="T102" fmla="*/ 24 w 28"/>
                <a:gd name="T103" fmla="*/ 2 h 28"/>
                <a:gd name="T104" fmla="*/ 14 w 28"/>
                <a:gd name="T10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 h="28">
                  <a:moveTo>
                    <a:pt x="14" y="0"/>
                  </a:moveTo>
                  <a:lnTo>
                    <a:pt x="14" y="0"/>
                  </a:lnTo>
                  <a:lnTo>
                    <a:pt x="12" y="0"/>
                  </a:lnTo>
                  <a:lnTo>
                    <a:pt x="10" y="0"/>
                  </a:lnTo>
                  <a:lnTo>
                    <a:pt x="8" y="2"/>
                  </a:lnTo>
                  <a:lnTo>
                    <a:pt x="6" y="2"/>
                  </a:lnTo>
                  <a:lnTo>
                    <a:pt x="6" y="2"/>
                  </a:lnTo>
                  <a:lnTo>
                    <a:pt x="6" y="2"/>
                  </a:lnTo>
                  <a:lnTo>
                    <a:pt x="6" y="4"/>
                  </a:lnTo>
                  <a:lnTo>
                    <a:pt x="6" y="4"/>
                  </a:lnTo>
                  <a:lnTo>
                    <a:pt x="6" y="4"/>
                  </a:lnTo>
                  <a:lnTo>
                    <a:pt x="6" y="6"/>
                  </a:lnTo>
                  <a:lnTo>
                    <a:pt x="6" y="6"/>
                  </a:lnTo>
                  <a:lnTo>
                    <a:pt x="6" y="8"/>
                  </a:lnTo>
                  <a:lnTo>
                    <a:pt x="6" y="10"/>
                  </a:lnTo>
                  <a:lnTo>
                    <a:pt x="6" y="10"/>
                  </a:lnTo>
                  <a:lnTo>
                    <a:pt x="6" y="12"/>
                  </a:lnTo>
                  <a:lnTo>
                    <a:pt x="6" y="12"/>
                  </a:lnTo>
                  <a:lnTo>
                    <a:pt x="6" y="12"/>
                  </a:lnTo>
                  <a:lnTo>
                    <a:pt x="6" y="14"/>
                  </a:lnTo>
                  <a:lnTo>
                    <a:pt x="6" y="14"/>
                  </a:lnTo>
                  <a:lnTo>
                    <a:pt x="4" y="16"/>
                  </a:lnTo>
                  <a:lnTo>
                    <a:pt x="2" y="16"/>
                  </a:lnTo>
                  <a:lnTo>
                    <a:pt x="2" y="18"/>
                  </a:lnTo>
                  <a:lnTo>
                    <a:pt x="2" y="18"/>
                  </a:lnTo>
                  <a:lnTo>
                    <a:pt x="2" y="20"/>
                  </a:lnTo>
                  <a:lnTo>
                    <a:pt x="0" y="20"/>
                  </a:lnTo>
                  <a:lnTo>
                    <a:pt x="0" y="22"/>
                  </a:lnTo>
                  <a:lnTo>
                    <a:pt x="0" y="22"/>
                  </a:lnTo>
                  <a:lnTo>
                    <a:pt x="0" y="24"/>
                  </a:lnTo>
                  <a:lnTo>
                    <a:pt x="2" y="26"/>
                  </a:lnTo>
                  <a:lnTo>
                    <a:pt x="2" y="26"/>
                  </a:lnTo>
                  <a:lnTo>
                    <a:pt x="2" y="28"/>
                  </a:lnTo>
                  <a:lnTo>
                    <a:pt x="2" y="28"/>
                  </a:lnTo>
                  <a:lnTo>
                    <a:pt x="2" y="28"/>
                  </a:lnTo>
                  <a:lnTo>
                    <a:pt x="4" y="28"/>
                  </a:lnTo>
                  <a:lnTo>
                    <a:pt x="6" y="28"/>
                  </a:lnTo>
                  <a:lnTo>
                    <a:pt x="6" y="26"/>
                  </a:lnTo>
                  <a:lnTo>
                    <a:pt x="10" y="26"/>
                  </a:lnTo>
                  <a:lnTo>
                    <a:pt x="10" y="26"/>
                  </a:lnTo>
                  <a:lnTo>
                    <a:pt x="12" y="26"/>
                  </a:lnTo>
                  <a:lnTo>
                    <a:pt x="16" y="26"/>
                  </a:lnTo>
                  <a:lnTo>
                    <a:pt x="18" y="26"/>
                  </a:lnTo>
                  <a:lnTo>
                    <a:pt x="20" y="26"/>
                  </a:lnTo>
                  <a:lnTo>
                    <a:pt x="22" y="26"/>
                  </a:lnTo>
                  <a:lnTo>
                    <a:pt x="22" y="26"/>
                  </a:lnTo>
                  <a:lnTo>
                    <a:pt x="24" y="26"/>
                  </a:lnTo>
                  <a:lnTo>
                    <a:pt x="24" y="24"/>
                  </a:lnTo>
                  <a:lnTo>
                    <a:pt x="26" y="22"/>
                  </a:lnTo>
                  <a:lnTo>
                    <a:pt x="28" y="20"/>
                  </a:lnTo>
                  <a:lnTo>
                    <a:pt x="28" y="20"/>
                  </a:lnTo>
                  <a:lnTo>
                    <a:pt x="24" y="2"/>
                  </a:lnTo>
                  <a:lnTo>
                    <a:pt x="14"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0" name="Freeform 419">
              <a:extLst>
                <a:ext uri="{FF2B5EF4-FFF2-40B4-BE49-F238E27FC236}">
                  <a16:creationId xmlns:a16="http://schemas.microsoft.com/office/drawing/2014/main" id="{082E8F4C-1553-4525-B03B-5F4C4C1407F8}"/>
                </a:ext>
              </a:extLst>
            </p:cNvPr>
            <p:cNvSpPr>
              <a:spLocks/>
            </p:cNvSpPr>
            <p:nvPr/>
          </p:nvSpPr>
          <p:spPr bwMode="auto">
            <a:xfrm>
              <a:off x="4986291" y="4684317"/>
              <a:ext cx="48498" cy="48498"/>
            </a:xfrm>
            <a:custGeom>
              <a:avLst/>
              <a:gdLst>
                <a:gd name="T0" fmla="*/ 14 w 28"/>
                <a:gd name="T1" fmla="*/ 0 h 28"/>
                <a:gd name="T2" fmla="*/ 14 w 28"/>
                <a:gd name="T3" fmla="*/ 0 h 28"/>
                <a:gd name="T4" fmla="*/ 12 w 28"/>
                <a:gd name="T5" fmla="*/ 0 h 28"/>
                <a:gd name="T6" fmla="*/ 10 w 28"/>
                <a:gd name="T7" fmla="*/ 0 h 28"/>
                <a:gd name="T8" fmla="*/ 8 w 28"/>
                <a:gd name="T9" fmla="*/ 2 h 28"/>
                <a:gd name="T10" fmla="*/ 6 w 28"/>
                <a:gd name="T11" fmla="*/ 2 h 28"/>
                <a:gd name="T12" fmla="*/ 6 w 28"/>
                <a:gd name="T13" fmla="*/ 2 h 28"/>
                <a:gd name="T14" fmla="*/ 6 w 28"/>
                <a:gd name="T15" fmla="*/ 2 h 28"/>
                <a:gd name="T16" fmla="*/ 6 w 28"/>
                <a:gd name="T17" fmla="*/ 4 h 28"/>
                <a:gd name="T18" fmla="*/ 6 w 28"/>
                <a:gd name="T19" fmla="*/ 4 h 28"/>
                <a:gd name="T20" fmla="*/ 6 w 28"/>
                <a:gd name="T21" fmla="*/ 4 h 28"/>
                <a:gd name="T22" fmla="*/ 6 w 28"/>
                <a:gd name="T23" fmla="*/ 6 h 28"/>
                <a:gd name="T24" fmla="*/ 6 w 28"/>
                <a:gd name="T25" fmla="*/ 6 h 28"/>
                <a:gd name="T26" fmla="*/ 6 w 28"/>
                <a:gd name="T27" fmla="*/ 8 h 28"/>
                <a:gd name="T28" fmla="*/ 6 w 28"/>
                <a:gd name="T29" fmla="*/ 10 h 28"/>
                <a:gd name="T30" fmla="*/ 6 w 28"/>
                <a:gd name="T31" fmla="*/ 10 h 28"/>
                <a:gd name="T32" fmla="*/ 6 w 28"/>
                <a:gd name="T33" fmla="*/ 12 h 28"/>
                <a:gd name="T34" fmla="*/ 6 w 28"/>
                <a:gd name="T35" fmla="*/ 12 h 28"/>
                <a:gd name="T36" fmla="*/ 6 w 28"/>
                <a:gd name="T37" fmla="*/ 12 h 28"/>
                <a:gd name="T38" fmla="*/ 6 w 28"/>
                <a:gd name="T39" fmla="*/ 14 h 28"/>
                <a:gd name="T40" fmla="*/ 6 w 28"/>
                <a:gd name="T41" fmla="*/ 14 h 28"/>
                <a:gd name="T42" fmla="*/ 4 w 28"/>
                <a:gd name="T43" fmla="*/ 16 h 28"/>
                <a:gd name="T44" fmla="*/ 2 w 28"/>
                <a:gd name="T45" fmla="*/ 16 h 28"/>
                <a:gd name="T46" fmla="*/ 2 w 28"/>
                <a:gd name="T47" fmla="*/ 18 h 28"/>
                <a:gd name="T48" fmla="*/ 2 w 28"/>
                <a:gd name="T49" fmla="*/ 18 h 28"/>
                <a:gd name="T50" fmla="*/ 2 w 28"/>
                <a:gd name="T51" fmla="*/ 20 h 28"/>
                <a:gd name="T52" fmla="*/ 0 w 28"/>
                <a:gd name="T53" fmla="*/ 20 h 28"/>
                <a:gd name="T54" fmla="*/ 0 w 28"/>
                <a:gd name="T55" fmla="*/ 22 h 28"/>
                <a:gd name="T56" fmla="*/ 0 w 28"/>
                <a:gd name="T57" fmla="*/ 22 h 28"/>
                <a:gd name="T58" fmla="*/ 0 w 28"/>
                <a:gd name="T59" fmla="*/ 24 h 28"/>
                <a:gd name="T60" fmla="*/ 2 w 28"/>
                <a:gd name="T61" fmla="*/ 26 h 28"/>
                <a:gd name="T62" fmla="*/ 2 w 28"/>
                <a:gd name="T63" fmla="*/ 26 h 28"/>
                <a:gd name="T64" fmla="*/ 2 w 28"/>
                <a:gd name="T65" fmla="*/ 28 h 28"/>
                <a:gd name="T66" fmla="*/ 2 w 28"/>
                <a:gd name="T67" fmla="*/ 28 h 28"/>
                <a:gd name="T68" fmla="*/ 2 w 28"/>
                <a:gd name="T69" fmla="*/ 28 h 28"/>
                <a:gd name="T70" fmla="*/ 4 w 28"/>
                <a:gd name="T71" fmla="*/ 28 h 28"/>
                <a:gd name="T72" fmla="*/ 6 w 28"/>
                <a:gd name="T73" fmla="*/ 28 h 28"/>
                <a:gd name="T74" fmla="*/ 6 w 28"/>
                <a:gd name="T75" fmla="*/ 26 h 28"/>
                <a:gd name="T76" fmla="*/ 10 w 28"/>
                <a:gd name="T77" fmla="*/ 26 h 28"/>
                <a:gd name="T78" fmla="*/ 10 w 28"/>
                <a:gd name="T79" fmla="*/ 26 h 28"/>
                <a:gd name="T80" fmla="*/ 12 w 28"/>
                <a:gd name="T81" fmla="*/ 26 h 28"/>
                <a:gd name="T82" fmla="*/ 16 w 28"/>
                <a:gd name="T83" fmla="*/ 26 h 28"/>
                <a:gd name="T84" fmla="*/ 18 w 28"/>
                <a:gd name="T85" fmla="*/ 26 h 28"/>
                <a:gd name="T86" fmla="*/ 20 w 28"/>
                <a:gd name="T87" fmla="*/ 26 h 28"/>
                <a:gd name="T88" fmla="*/ 22 w 28"/>
                <a:gd name="T89" fmla="*/ 26 h 28"/>
                <a:gd name="T90" fmla="*/ 22 w 28"/>
                <a:gd name="T91" fmla="*/ 26 h 28"/>
                <a:gd name="T92" fmla="*/ 24 w 28"/>
                <a:gd name="T93" fmla="*/ 26 h 28"/>
                <a:gd name="T94" fmla="*/ 24 w 28"/>
                <a:gd name="T95" fmla="*/ 24 h 28"/>
                <a:gd name="T96" fmla="*/ 26 w 28"/>
                <a:gd name="T97" fmla="*/ 22 h 28"/>
                <a:gd name="T98" fmla="*/ 28 w 28"/>
                <a:gd name="T99" fmla="*/ 20 h 28"/>
                <a:gd name="T100" fmla="*/ 28 w 28"/>
                <a:gd name="T101" fmla="*/ 20 h 28"/>
                <a:gd name="T102" fmla="*/ 24 w 28"/>
                <a:gd name="T103" fmla="*/ 2 h 28"/>
                <a:gd name="T104" fmla="*/ 14 w 28"/>
                <a:gd name="T10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 h="28">
                  <a:moveTo>
                    <a:pt x="14" y="0"/>
                  </a:moveTo>
                  <a:lnTo>
                    <a:pt x="14" y="0"/>
                  </a:lnTo>
                  <a:lnTo>
                    <a:pt x="12" y="0"/>
                  </a:lnTo>
                  <a:lnTo>
                    <a:pt x="10" y="0"/>
                  </a:lnTo>
                  <a:lnTo>
                    <a:pt x="8" y="2"/>
                  </a:lnTo>
                  <a:lnTo>
                    <a:pt x="6" y="2"/>
                  </a:lnTo>
                  <a:lnTo>
                    <a:pt x="6" y="2"/>
                  </a:lnTo>
                  <a:lnTo>
                    <a:pt x="6" y="2"/>
                  </a:lnTo>
                  <a:lnTo>
                    <a:pt x="6" y="4"/>
                  </a:lnTo>
                  <a:lnTo>
                    <a:pt x="6" y="4"/>
                  </a:lnTo>
                  <a:lnTo>
                    <a:pt x="6" y="4"/>
                  </a:lnTo>
                  <a:lnTo>
                    <a:pt x="6" y="6"/>
                  </a:lnTo>
                  <a:lnTo>
                    <a:pt x="6" y="6"/>
                  </a:lnTo>
                  <a:lnTo>
                    <a:pt x="6" y="8"/>
                  </a:lnTo>
                  <a:lnTo>
                    <a:pt x="6" y="10"/>
                  </a:lnTo>
                  <a:lnTo>
                    <a:pt x="6" y="10"/>
                  </a:lnTo>
                  <a:lnTo>
                    <a:pt x="6" y="12"/>
                  </a:lnTo>
                  <a:lnTo>
                    <a:pt x="6" y="12"/>
                  </a:lnTo>
                  <a:lnTo>
                    <a:pt x="6" y="12"/>
                  </a:lnTo>
                  <a:lnTo>
                    <a:pt x="6" y="14"/>
                  </a:lnTo>
                  <a:lnTo>
                    <a:pt x="6" y="14"/>
                  </a:lnTo>
                  <a:lnTo>
                    <a:pt x="4" y="16"/>
                  </a:lnTo>
                  <a:lnTo>
                    <a:pt x="2" y="16"/>
                  </a:lnTo>
                  <a:lnTo>
                    <a:pt x="2" y="18"/>
                  </a:lnTo>
                  <a:lnTo>
                    <a:pt x="2" y="18"/>
                  </a:lnTo>
                  <a:lnTo>
                    <a:pt x="2" y="20"/>
                  </a:lnTo>
                  <a:lnTo>
                    <a:pt x="0" y="20"/>
                  </a:lnTo>
                  <a:lnTo>
                    <a:pt x="0" y="22"/>
                  </a:lnTo>
                  <a:lnTo>
                    <a:pt x="0" y="22"/>
                  </a:lnTo>
                  <a:lnTo>
                    <a:pt x="0" y="24"/>
                  </a:lnTo>
                  <a:lnTo>
                    <a:pt x="2" y="26"/>
                  </a:lnTo>
                  <a:lnTo>
                    <a:pt x="2" y="26"/>
                  </a:lnTo>
                  <a:lnTo>
                    <a:pt x="2" y="28"/>
                  </a:lnTo>
                  <a:lnTo>
                    <a:pt x="2" y="28"/>
                  </a:lnTo>
                  <a:lnTo>
                    <a:pt x="2" y="28"/>
                  </a:lnTo>
                  <a:lnTo>
                    <a:pt x="4" y="28"/>
                  </a:lnTo>
                  <a:lnTo>
                    <a:pt x="6" y="28"/>
                  </a:lnTo>
                  <a:lnTo>
                    <a:pt x="6" y="26"/>
                  </a:lnTo>
                  <a:lnTo>
                    <a:pt x="10" y="26"/>
                  </a:lnTo>
                  <a:lnTo>
                    <a:pt x="10" y="26"/>
                  </a:lnTo>
                  <a:lnTo>
                    <a:pt x="12" y="26"/>
                  </a:lnTo>
                  <a:lnTo>
                    <a:pt x="16" y="26"/>
                  </a:lnTo>
                  <a:lnTo>
                    <a:pt x="18" y="26"/>
                  </a:lnTo>
                  <a:lnTo>
                    <a:pt x="20" y="26"/>
                  </a:lnTo>
                  <a:lnTo>
                    <a:pt x="22" y="26"/>
                  </a:lnTo>
                  <a:lnTo>
                    <a:pt x="22" y="26"/>
                  </a:lnTo>
                  <a:lnTo>
                    <a:pt x="24" y="26"/>
                  </a:lnTo>
                  <a:lnTo>
                    <a:pt x="24" y="24"/>
                  </a:lnTo>
                  <a:lnTo>
                    <a:pt x="26" y="22"/>
                  </a:lnTo>
                  <a:lnTo>
                    <a:pt x="28" y="20"/>
                  </a:lnTo>
                  <a:lnTo>
                    <a:pt x="28" y="20"/>
                  </a:lnTo>
                  <a:lnTo>
                    <a:pt x="24" y="2"/>
                  </a:lnTo>
                  <a:lnTo>
                    <a:pt x="14"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1" name="Freeform 420">
              <a:extLst>
                <a:ext uri="{FF2B5EF4-FFF2-40B4-BE49-F238E27FC236}">
                  <a16:creationId xmlns:a16="http://schemas.microsoft.com/office/drawing/2014/main" id="{BBE453F9-C45C-4616-9168-25A02F64385E}"/>
                </a:ext>
              </a:extLst>
            </p:cNvPr>
            <p:cNvSpPr>
              <a:spLocks/>
            </p:cNvSpPr>
            <p:nvPr/>
          </p:nvSpPr>
          <p:spPr bwMode="auto">
            <a:xfrm>
              <a:off x="4127182" y="4220120"/>
              <a:ext cx="200921" cy="148958"/>
            </a:xfrm>
            <a:custGeom>
              <a:avLst/>
              <a:gdLst>
                <a:gd name="T0" fmla="*/ 116 w 116"/>
                <a:gd name="T1" fmla="*/ 46 h 86"/>
                <a:gd name="T2" fmla="*/ 114 w 116"/>
                <a:gd name="T3" fmla="*/ 54 h 86"/>
                <a:gd name="T4" fmla="*/ 112 w 116"/>
                <a:gd name="T5" fmla="*/ 58 h 86"/>
                <a:gd name="T6" fmla="*/ 110 w 116"/>
                <a:gd name="T7" fmla="*/ 60 h 86"/>
                <a:gd name="T8" fmla="*/ 104 w 116"/>
                <a:gd name="T9" fmla="*/ 62 h 86"/>
                <a:gd name="T10" fmla="*/ 96 w 116"/>
                <a:gd name="T11" fmla="*/ 62 h 86"/>
                <a:gd name="T12" fmla="*/ 94 w 116"/>
                <a:gd name="T13" fmla="*/ 64 h 86"/>
                <a:gd name="T14" fmla="*/ 90 w 116"/>
                <a:gd name="T15" fmla="*/ 70 h 86"/>
                <a:gd name="T16" fmla="*/ 84 w 116"/>
                <a:gd name="T17" fmla="*/ 78 h 86"/>
                <a:gd name="T18" fmla="*/ 68 w 116"/>
                <a:gd name="T19" fmla="*/ 78 h 86"/>
                <a:gd name="T20" fmla="*/ 64 w 116"/>
                <a:gd name="T21" fmla="*/ 78 h 86"/>
                <a:gd name="T22" fmla="*/ 56 w 116"/>
                <a:gd name="T23" fmla="*/ 72 h 86"/>
                <a:gd name="T24" fmla="*/ 52 w 116"/>
                <a:gd name="T25" fmla="*/ 70 h 86"/>
                <a:gd name="T26" fmla="*/ 48 w 116"/>
                <a:gd name="T27" fmla="*/ 70 h 86"/>
                <a:gd name="T28" fmla="*/ 46 w 116"/>
                <a:gd name="T29" fmla="*/ 72 h 86"/>
                <a:gd name="T30" fmla="*/ 42 w 116"/>
                <a:gd name="T31" fmla="*/ 76 h 86"/>
                <a:gd name="T32" fmla="*/ 38 w 116"/>
                <a:gd name="T33" fmla="*/ 84 h 86"/>
                <a:gd name="T34" fmla="*/ 22 w 116"/>
                <a:gd name="T35" fmla="*/ 84 h 86"/>
                <a:gd name="T36" fmla="*/ 12 w 116"/>
                <a:gd name="T37" fmla="*/ 84 h 86"/>
                <a:gd name="T38" fmla="*/ 8 w 116"/>
                <a:gd name="T39" fmla="*/ 82 h 86"/>
                <a:gd name="T40" fmla="*/ 2 w 116"/>
                <a:gd name="T41" fmla="*/ 74 h 86"/>
                <a:gd name="T42" fmla="*/ 4 w 116"/>
                <a:gd name="T43" fmla="*/ 60 h 86"/>
                <a:gd name="T44" fmla="*/ 8 w 116"/>
                <a:gd name="T45" fmla="*/ 54 h 86"/>
                <a:gd name="T46" fmla="*/ 14 w 116"/>
                <a:gd name="T47" fmla="*/ 46 h 86"/>
                <a:gd name="T48" fmla="*/ 18 w 116"/>
                <a:gd name="T49" fmla="*/ 38 h 86"/>
                <a:gd name="T50" fmla="*/ 24 w 116"/>
                <a:gd name="T51" fmla="*/ 26 h 86"/>
                <a:gd name="T52" fmla="*/ 26 w 116"/>
                <a:gd name="T53" fmla="*/ 24 h 86"/>
                <a:gd name="T54" fmla="*/ 32 w 116"/>
                <a:gd name="T55" fmla="*/ 22 h 86"/>
                <a:gd name="T56" fmla="*/ 42 w 116"/>
                <a:gd name="T57" fmla="*/ 20 h 86"/>
                <a:gd name="T58" fmla="*/ 44 w 116"/>
                <a:gd name="T59" fmla="*/ 18 h 86"/>
                <a:gd name="T60" fmla="*/ 50 w 116"/>
                <a:gd name="T61" fmla="*/ 12 h 86"/>
                <a:gd name="T62" fmla="*/ 54 w 116"/>
                <a:gd name="T63" fmla="*/ 6 h 86"/>
                <a:gd name="T64" fmla="*/ 58 w 116"/>
                <a:gd name="T65" fmla="*/ 2 h 86"/>
                <a:gd name="T66" fmla="*/ 60 w 116"/>
                <a:gd name="T67" fmla="*/ 0 h 86"/>
                <a:gd name="T68" fmla="*/ 68 w 116"/>
                <a:gd name="T69" fmla="*/ 0 h 86"/>
                <a:gd name="T70" fmla="*/ 80 w 116"/>
                <a:gd name="T71" fmla="*/ 2 h 86"/>
                <a:gd name="T72" fmla="*/ 86 w 116"/>
                <a:gd name="T73" fmla="*/ 8 h 86"/>
                <a:gd name="T74" fmla="*/ 88 w 116"/>
                <a:gd name="T75" fmla="*/ 12 h 86"/>
                <a:gd name="T76" fmla="*/ 94 w 116"/>
                <a:gd name="T77" fmla="*/ 14 h 86"/>
                <a:gd name="T78" fmla="*/ 96 w 116"/>
                <a:gd name="T79" fmla="*/ 16 h 86"/>
                <a:gd name="T80" fmla="*/ 98 w 116"/>
                <a:gd name="T81" fmla="*/ 20 h 86"/>
                <a:gd name="T82" fmla="*/ 96 w 116"/>
                <a:gd name="T83" fmla="*/ 26 h 86"/>
                <a:gd name="T84" fmla="*/ 96 w 116"/>
                <a:gd name="T85" fmla="*/ 30 h 86"/>
                <a:gd name="T86" fmla="*/ 98 w 116"/>
                <a:gd name="T87" fmla="*/ 32 h 86"/>
                <a:gd name="T88" fmla="*/ 102 w 116"/>
                <a:gd name="T89" fmla="*/ 32 h 86"/>
                <a:gd name="T90" fmla="*/ 106 w 116"/>
                <a:gd name="T91" fmla="*/ 32 h 86"/>
                <a:gd name="T92" fmla="*/ 108 w 116"/>
                <a:gd name="T93" fmla="*/ 34 h 86"/>
                <a:gd name="T94" fmla="*/ 112 w 116"/>
                <a:gd name="T95" fmla="*/ 3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6" h="86">
                  <a:moveTo>
                    <a:pt x="116" y="44"/>
                  </a:moveTo>
                  <a:lnTo>
                    <a:pt x="116" y="44"/>
                  </a:lnTo>
                  <a:lnTo>
                    <a:pt x="116" y="46"/>
                  </a:lnTo>
                  <a:lnTo>
                    <a:pt x="114" y="50"/>
                  </a:lnTo>
                  <a:lnTo>
                    <a:pt x="114" y="52"/>
                  </a:lnTo>
                  <a:lnTo>
                    <a:pt x="114" y="54"/>
                  </a:lnTo>
                  <a:lnTo>
                    <a:pt x="112" y="56"/>
                  </a:lnTo>
                  <a:lnTo>
                    <a:pt x="112" y="58"/>
                  </a:lnTo>
                  <a:lnTo>
                    <a:pt x="112" y="58"/>
                  </a:lnTo>
                  <a:lnTo>
                    <a:pt x="110" y="60"/>
                  </a:lnTo>
                  <a:lnTo>
                    <a:pt x="110" y="60"/>
                  </a:lnTo>
                  <a:lnTo>
                    <a:pt x="110" y="60"/>
                  </a:lnTo>
                  <a:lnTo>
                    <a:pt x="108" y="60"/>
                  </a:lnTo>
                  <a:lnTo>
                    <a:pt x="106" y="60"/>
                  </a:lnTo>
                  <a:lnTo>
                    <a:pt x="104" y="62"/>
                  </a:lnTo>
                  <a:lnTo>
                    <a:pt x="102" y="62"/>
                  </a:lnTo>
                  <a:lnTo>
                    <a:pt x="98" y="62"/>
                  </a:lnTo>
                  <a:lnTo>
                    <a:pt x="96" y="62"/>
                  </a:lnTo>
                  <a:lnTo>
                    <a:pt x="96" y="64"/>
                  </a:lnTo>
                  <a:lnTo>
                    <a:pt x="96" y="64"/>
                  </a:lnTo>
                  <a:lnTo>
                    <a:pt x="94" y="64"/>
                  </a:lnTo>
                  <a:lnTo>
                    <a:pt x="94" y="64"/>
                  </a:lnTo>
                  <a:lnTo>
                    <a:pt x="92" y="66"/>
                  </a:lnTo>
                  <a:lnTo>
                    <a:pt x="90" y="70"/>
                  </a:lnTo>
                  <a:lnTo>
                    <a:pt x="88" y="72"/>
                  </a:lnTo>
                  <a:lnTo>
                    <a:pt x="84" y="76"/>
                  </a:lnTo>
                  <a:lnTo>
                    <a:pt x="84" y="78"/>
                  </a:lnTo>
                  <a:lnTo>
                    <a:pt x="78" y="80"/>
                  </a:lnTo>
                  <a:lnTo>
                    <a:pt x="72" y="80"/>
                  </a:lnTo>
                  <a:lnTo>
                    <a:pt x="68" y="78"/>
                  </a:lnTo>
                  <a:lnTo>
                    <a:pt x="66" y="78"/>
                  </a:lnTo>
                  <a:lnTo>
                    <a:pt x="64" y="78"/>
                  </a:lnTo>
                  <a:lnTo>
                    <a:pt x="64" y="78"/>
                  </a:lnTo>
                  <a:lnTo>
                    <a:pt x="62" y="76"/>
                  </a:lnTo>
                  <a:lnTo>
                    <a:pt x="60" y="74"/>
                  </a:lnTo>
                  <a:lnTo>
                    <a:pt x="56" y="72"/>
                  </a:lnTo>
                  <a:lnTo>
                    <a:pt x="56" y="72"/>
                  </a:lnTo>
                  <a:lnTo>
                    <a:pt x="54" y="72"/>
                  </a:lnTo>
                  <a:lnTo>
                    <a:pt x="52" y="70"/>
                  </a:lnTo>
                  <a:lnTo>
                    <a:pt x="50" y="70"/>
                  </a:lnTo>
                  <a:lnTo>
                    <a:pt x="48" y="70"/>
                  </a:lnTo>
                  <a:lnTo>
                    <a:pt x="48" y="70"/>
                  </a:lnTo>
                  <a:lnTo>
                    <a:pt x="46" y="70"/>
                  </a:lnTo>
                  <a:lnTo>
                    <a:pt x="46" y="72"/>
                  </a:lnTo>
                  <a:lnTo>
                    <a:pt x="46" y="72"/>
                  </a:lnTo>
                  <a:lnTo>
                    <a:pt x="44" y="72"/>
                  </a:lnTo>
                  <a:lnTo>
                    <a:pt x="44" y="74"/>
                  </a:lnTo>
                  <a:lnTo>
                    <a:pt x="42" y="76"/>
                  </a:lnTo>
                  <a:lnTo>
                    <a:pt x="40" y="78"/>
                  </a:lnTo>
                  <a:lnTo>
                    <a:pt x="40" y="84"/>
                  </a:lnTo>
                  <a:lnTo>
                    <a:pt x="38" y="84"/>
                  </a:lnTo>
                  <a:lnTo>
                    <a:pt x="34" y="84"/>
                  </a:lnTo>
                  <a:lnTo>
                    <a:pt x="26" y="86"/>
                  </a:lnTo>
                  <a:lnTo>
                    <a:pt x="22" y="84"/>
                  </a:lnTo>
                  <a:lnTo>
                    <a:pt x="18" y="84"/>
                  </a:lnTo>
                  <a:lnTo>
                    <a:pt x="12" y="84"/>
                  </a:lnTo>
                  <a:lnTo>
                    <a:pt x="12" y="84"/>
                  </a:lnTo>
                  <a:lnTo>
                    <a:pt x="10" y="84"/>
                  </a:lnTo>
                  <a:lnTo>
                    <a:pt x="8" y="84"/>
                  </a:lnTo>
                  <a:lnTo>
                    <a:pt x="8" y="82"/>
                  </a:lnTo>
                  <a:lnTo>
                    <a:pt x="4" y="80"/>
                  </a:lnTo>
                  <a:lnTo>
                    <a:pt x="0" y="78"/>
                  </a:lnTo>
                  <a:lnTo>
                    <a:pt x="2" y="74"/>
                  </a:lnTo>
                  <a:lnTo>
                    <a:pt x="2" y="70"/>
                  </a:lnTo>
                  <a:lnTo>
                    <a:pt x="4" y="62"/>
                  </a:lnTo>
                  <a:lnTo>
                    <a:pt x="4" y="60"/>
                  </a:lnTo>
                  <a:lnTo>
                    <a:pt x="6" y="58"/>
                  </a:lnTo>
                  <a:lnTo>
                    <a:pt x="6" y="56"/>
                  </a:lnTo>
                  <a:lnTo>
                    <a:pt x="8" y="54"/>
                  </a:lnTo>
                  <a:lnTo>
                    <a:pt x="10" y="50"/>
                  </a:lnTo>
                  <a:lnTo>
                    <a:pt x="14" y="46"/>
                  </a:lnTo>
                  <a:lnTo>
                    <a:pt x="14" y="46"/>
                  </a:lnTo>
                  <a:lnTo>
                    <a:pt x="16" y="44"/>
                  </a:lnTo>
                  <a:lnTo>
                    <a:pt x="16" y="42"/>
                  </a:lnTo>
                  <a:lnTo>
                    <a:pt x="18" y="38"/>
                  </a:lnTo>
                  <a:lnTo>
                    <a:pt x="20" y="32"/>
                  </a:lnTo>
                  <a:lnTo>
                    <a:pt x="22" y="28"/>
                  </a:lnTo>
                  <a:lnTo>
                    <a:pt x="24" y="26"/>
                  </a:lnTo>
                  <a:lnTo>
                    <a:pt x="24" y="26"/>
                  </a:lnTo>
                  <a:lnTo>
                    <a:pt x="24" y="26"/>
                  </a:lnTo>
                  <a:lnTo>
                    <a:pt x="26" y="24"/>
                  </a:lnTo>
                  <a:lnTo>
                    <a:pt x="26" y="24"/>
                  </a:lnTo>
                  <a:lnTo>
                    <a:pt x="28" y="22"/>
                  </a:lnTo>
                  <a:lnTo>
                    <a:pt x="32" y="22"/>
                  </a:lnTo>
                  <a:lnTo>
                    <a:pt x="34" y="22"/>
                  </a:lnTo>
                  <a:lnTo>
                    <a:pt x="40" y="20"/>
                  </a:lnTo>
                  <a:lnTo>
                    <a:pt x="42" y="20"/>
                  </a:lnTo>
                  <a:lnTo>
                    <a:pt x="42" y="20"/>
                  </a:lnTo>
                  <a:lnTo>
                    <a:pt x="44" y="18"/>
                  </a:lnTo>
                  <a:lnTo>
                    <a:pt x="44" y="18"/>
                  </a:lnTo>
                  <a:lnTo>
                    <a:pt x="46" y="18"/>
                  </a:lnTo>
                  <a:lnTo>
                    <a:pt x="48" y="16"/>
                  </a:lnTo>
                  <a:lnTo>
                    <a:pt x="50" y="12"/>
                  </a:lnTo>
                  <a:lnTo>
                    <a:pt x="52" y="10"/>
                  </a:lnTo>
                  <a:lnTo>
                    <a:pt x="52" y="8"/>
                  </a:lnTo>
                  <a:lnTo>
                    <a:pt x="54" y="6"/>
                  </a:lnTo>
                  <a:lnTo>
                    <a:pt x="56" y="4"/>
                  </a:lnTo>
                  <a:lnTo>
                    <a:pt x="56" y="2"/>
                  </a:lnTo>
                  <a:lnTo>
                    <a:pt x="58" y="2"/>
                  </a:lnTo>
                  <a:lnTo>
                    <a:pt x="58" y="2"/>
                  </a:lnTo>
                  <a:lnTo>
                    <a:pt x="60" y="0"/>
                  </a:lnTo>
                  <a:lnTo>
                    <a:pt x="60" y="0"/>
                  </a:lnTo>
                  <a:lnTo>
                    <a:pt x="62" y="0"/>
                  </a:lnTo>
                  <a:lnTo>
                    <a:pt x="64" y="0"/>
                  </a:lnTo>
                  <a:lnTo>
                    <a:pt x="68" y="0"/>
                  </a:lnTo>
                  <a:lnTo>
                    <a:pt x="72" y="0"/>
                  </a:lnTo>
                  <a:lnTo>
                    <a:pt x="76" y="2"/>
                  </a:lnTo>
                  <a:lnTo>
                    <a:pt x="80" y="2"/>
                  </a:lnTo>
                  <a:lnTo>
                    <a:pt x="82" y="2"/>
                  </a:lnTo>
                  <a:lnTo>
                    <a:pt x="84" y="6"/>
                  </a:lnTo>
                  <a:lnTo>
                    <a:pt x="86" y="8"/>
                  </a:lnTo>
                  <a:lnTo>
                    <a:pt x="86" y="10"/>
                  </a:lnTo>
                  <a:lnTo>
                    <a:pt x="88" y="10"/>
                  </a:lnTo>
                  <a:lnTo>
                    <a:pt x="88" y="12"/>
                  </a:lnTo>
                  <a:lnTo>
                    <a:pt x="90" y="12"/>
                  </a:lnTo>
                  <a:lnTo>
                    <a:pt x="92" y="14"/>
                  </a:lnTo>
                  <a:lnTo>
                    <a:pt x="94" y="14"/>
                  </a:lnTo>
                  <a:lnTo>
                    <a:pt x="94" y="14"/>
                  </a:lnTo>
                  <a:lnTo>
                    <a:pt x="96" y="16"/>
                  </a:lnTo>
                  <a:lnTo>
                    <a:pt x="96" y="16"/>
                  </a:lnTo>
                  <a:lnTo>
                    <a:pt x="96" y="16"/>
                  </a:lnTo>
                  <a:lnTo>
                    <a:pt x="96" y="18"/>
                  </a:lnTo>
                  <a:lnTo>
                    <a:pt x="98" y="20"/>
                  </a:lnTo>
                  <a:lnTo>
                    <a:pt x="98" y="22"/>
                  </a:lnTo>
                  <a:lnTo>
                    <a:pt x="96" y="24"/>
                  </a:lnTo>
                  <a:lnTo>
                    <a:pt x="96" y="26"/>
                  </a:lnTo>
                  <a:lnTo>
                    <a:pt x="96" y="28"/>
                  </a:lnTo>
                  <a:lnTo>
                    <a:pt x="96" y="28"/>
                  </a:lnTo>
                  <a:lnTo>
                    <a:pt x="96" y="30"/>
                  </a:lnTo>
                  <a:lnTo>
                    <a:pt x="98" y="30"/>
                  </a:lnTo>
                  <a:lnTo>
                    <a:pt x="98" y="30"/>
                  </a:lnTo>
                  <a:lnTo>
                    <a:pt x="98" y="32"/>
                  </a:lnTo>
                  <a:lnTo>
                    <a:pt x="98" y="32"/>
                  </a:lnTo>
                  <a:lnTo>
                    <a:pt x="100" y="32"/>
                  </a:lnTo>
                  <a:lnTo>
                    <a:pt x="102" y="32"/>
                  </a:lnTo>
                  <a:lnTo>
                    <a:pt x="102" y="32"/>
                  </a:lnTo>
                  <a:lnTo>
                    <a:pt x="106" y="32"/>
                  </a:lnTo>
                  <a:lnTo>
                    <a:pt x="106" y="32"/>
                  </a:lnTo>
                  <a:lnTo>
                    <a:pt x="108" y="32"/>
                  </a:lnTo>
                  <a:lnTo>
                    <a:pt x="108" y="32"/>
                  </a:lnTo>
                  <a:lnTo>
                    <a:pt x="108" y="34"/>
                  </a:lnTo>
                  <a:lnTo>
                    <a:pt x="110" y="34"/>
                  </a:lnTo>
                  <a:lnTo>
                    <a:pt x="112" y="36"/>
                  </a:lnTo>
                  <a:lnTo>
                    <a:pt x="112" y="38"/>
                  </a:lnTo>
                  <a:lnTo>
                    <a:pt x="114" y="42"/>
                  </a:lnTo>
                  <a:lnTo>
                    <a:pt x="116" y="4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2" name="Freeform 421">
              <a:extLst>
                <a:ext uri="{FF2B5EF4-FFF2-40B4-BE49-F238E27FC236}">
                  <a16:creationId xmlns:a16="http://schemas.microsoft.com/office/drawing/2014/main" id="{7E687D36-5809-43C2-8016-220F79F8AB13}"/>
                </a:ext>
              </a:extLst>
            </p:cNvPr>
            <p:cNvSpPr>
              <a:spLocks/>
            </p:cNvSpPr>
            <p:nvPr/>
          </p:nvSpPr>
          <p:spPr bwMode="auto">
            <a:xfrm>
              <a:off x="4127182" y="4220120"/>
              <a:ext cx="200921" cy="148958"/>
            </a:xfrm>
            <a:custGeom>
              <a:avLst/>
              <a:gdLst>
                <a:gd name="T0" fmla="*/ 116 w 116"/>
                <a:gd name="T1" fmla="*/ 46 h 86"/>
                <a:gd name="T2" fmla="*/ 114 w 116"/>
                <a:gd name="T3" fmla="*/ 54 h 86"/>
                <a:gd name="T4" fmla="*/ 112 w 116"/>
                <a:gd name="T5" fmla="*/ 58 h 86"/>
                <a:gd name="T6" fmla="*/ 110 w 116"/>
                <a:gd name="T7" fmla="*/ 60 h 86"/>
                <a:gd name="T8" fmla="*/ 104 w 116"/>
                <a:gd name="T9" fmla="*/ 62 h 86"/>
                <a:gd name="T10" fmla="*/ 96 w 116"/>
                <a:gd name="T11" fmla="*/ 62 h 86"/>
                <a:gd name="T12" fmla="*/ 94 w 116"/>
                <a:gd name="T13" fmla="*/ 64 h 86"/>
                <a:gd name="T14" fmla="*/ 90 w 116"/>
                <a:gd name="T15" fmla="*/ 70 h 86"/>
                <a:gd name="T16" fmla="*/ 84 w 116"/>
                <a:gd name="T17" fmla="*/ 78 h 86"/>
                <a:gd name="T18" fmla="*/ 68 w 116"/>
                <a:gd name="T19" fmla="*/ 78 h 86"/>
                <a:gd name="T20" fmla="*/ 64 w 116"/>
                <a:gd name="T21" fmla="*/ 78 h 86"/>
                <a:gd name="T22" fmla="*/ 56 w 116"/>
                <a:gd name="T23" fmla="*/ 72 h 86"/>
                <a:gd name="T24" fmla="*/ 52 w 116"/>
                <a:gd name="T25" fmla="*/ 70 h 86"/>
                <a:gd name="T26" fmla="*/ 48 w 116"/>
                <a:gd name="T27" fmla="*/ 70 h 86"/>
                <a:gd name="T28" fmla="*/ 46 w 116"/>
                <a:gd name="T29" fmla="*/ 72 h 86"/>
                <a:gd name="T30" fmla="*/ 42 w 116"/>
                <a:gd name="T31" fmla="*/ 76 h 86"/>
                <a:gd name="T32" fmla="*/ 38 w 116"/>
                <a:gd name="T33" fmla="*/ 84 h 86"/>
                <a:gd name="T34" fmla="*/ 22 w 116"/>
                <a:gd name="T35" fmla="*/ 84 h 86"/>
                <a:gd name="T36" fmla="*/ 12 w 116"/>
                <a:gd name="T37" fmla="*/ 84 h 86"/>
                <a:gd name="T38" fmla="*/ 8 w 116"/>
                <a:gd name="T39" fmla="*/ 82 h 86"/>
                <a:gd name="T40" fmla="*/ 2 w 116"/>
                <a:gd name="T41" fmla="*/ 74 h 86"/>
                <a:gd name="T42" fmla="*/ 4 w 116"/>
                <a:gd name="T43" fmla="*/ 60 h 86"/>
                <a:gd name="T44" fmla="*/ 8 w 116"/>
                <a:gd name="T45" fmla="*/ 54 h 86"/>
                <a:gd name="T46" fmla="*/ 14 w 116"/>
                <a:gd name="T47" fmla="*/ 46 h 86"/>
                <a:gd name="T48" fmla="*/ 18 w 116"/>
                <a:gd name="T49" fmla="*/ 38 h 86"/>
                <a:gd name="T50" fmla="*/ 24 w 116"/>
                <a:gd name="T51" fmla="*/ 26 h 86"/>
                <a:gd name="T52" fmla="*/ 26 w 116"/>
                <a:gd name="T53" fmla="*/ 24 h 86"/>
                <a:gd name="T54" fmla="*/ 32 w 116"/>
                <a:gd name="T55" fmla="*/ 22 h 86"/>
                <a:gd name="T56" fmla="*/ 42 w 116"/>
                <a:gd name="T57" fmla="*/ 20 h 86"/>
                <a:gd name="T58" fmla="*/ 44 w 116"/>
                <a:gd name="T59" fmla="*/ 18 h 86"/>
                <a:gd name="T60" fmla="*/ 50 w 116"/>
                <a:gd name="T61" fmla="*/ 12 h 86"/>
                <a:gd name="T62" fmla="*/ 54 w 116"/>
                <a:gd name="T63" fmla="*/ 6 h 86"/>
                <a:gd name="T64" fmla="*/ 58 w 116"/>
                <a:gd name="T65" fmla="*/ 2 h 86"/>
                <a:gd name="T66" fmla="*/ 60 w 116"/>
                <a:gd name="T67" fmla="*/ 0 h 86"/>
                <a:gd name="T68" fmla="*/ 68 w 116"/>
                <a:gd name="T69" fmla="*/ 0 h 86"/>
                <a:gd name="T70" fmla="*/ 80 w 116"/>
                <a:gd name="T71" fmla="*/ 2 h 86"/>
                <a:gd name="T72" fmla="*/ 86 w 116"/>
                <a:gd name="T73" fmla="*/ 8 h 86"/>
                <a:gd name="T74" fmla="*/ 88 w 116"/>
                <a:gd name="T75" fmla="*/ 12 h 86"/>
                <a:gd name="T76" fmla="*/ 94 w 116"/>
                <a:gd name="T77" fmla="*/ 14 h 86"/>
                <a:gd name="T78" fmla="*/ 96 w 116"/>
                <a:gd name="T79" fmla="*/ 16 h 86"/>
                <a:gd name="T80" fmla="*/ 98 w 116"/>
                <a:gd name="T81" fmla="*/ 20 h 86"/>
                <a:gd name="T82" fmla="*/ 96 w 116"/>
                <a:gd name="T83" fmla="*/ 26 h 86"/>
                <a:gd name="T84" fmla="*/ 96 w 116"/>
                <a:gd name="T85" fmla="*/ 30 h 86"/>
                <a:gd name="T86" fmla="*/ 98 w 116"/>
                <a:gd name="T87" fmla="*/ 32 h 86"/>
                <a:gd name="T88" fmla="*/ 102 w 116"/>
                <a:gd name="T89" fmla="*/ 32 h 86"/>
                <a:gd name="T90" fmla="*/ 106 w 116"/>
                <a:gd name="T91" fmla="*/ 32 h 86"/>
                <a:gd name="T92" fmla="*/ 108 w 116"/>
                <a:gd name="T93" fmla="*/ 34 h 86"/>
                <a:gd name="T94" fmla="*/ 112 w 116"/>
                <a:gd name="T95" fmla="*/ 3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6" h="86">
                  <a:moveTo>
                    <a:pt x="116" y="44"/>
                  </a:moveTo>
                  <a:lnTo>
                    <a:pt x="116" y="44"/>
                  </a:lnTo>
                  <a:lnTo>
                    <a:pt x="116" y="46"/>
                  </a:lnTo>
                  <a:lnTo>
                    <a:pt x="114" y="50"/>
                  </a:lnTo>
                  <a:lnTo>
                    <a:pt x="114" y="52"/>
                  </a:lnTo>
                  <a:lnTo>
                    <a:pt x="114" y="54"/>
                  </a:lnTo>
                  <a:lnTo>
                    <a:pt x="112" y="56"/>
                  </a:lnTo>
                  <a:lnTo>
                    <a:pt x="112" y="58"/>
                  </a:lnTo>
                  <a:lnTo>
                    <a:pt x="112" y="58"/>
                  </a:lnTo>
                  <a:lnTo>
                    <a:pt x="110" y="60"/>
                  </a:lnTo>
                  <a:lnTo>
                    <a:pt x="110" y="60"/>
                  </a:lnTo>
                  <a:lnTo>
                    <a:pt x="110" y="60"/>
                  </a:lnTo>
                  <a:lnTo>
                    <a:pt x="108" y="60"/>
                  </a:lnTo>
                  <a:lnTo>
                    <a:pt x="106" y="60"/>
                  </a:lnTo>
                  <a:lnTo>
                    <a:pt x="104" y="62"/>
                  </a:lnTo>
                  <a:lnTo>
                    <a:pt x="102" y="62"/>
                  </a:lnTo>
                  <a:lnTo>
                    <a:pt x="98" y="62"/>
                  </a:lnTo>
                  <a:lnTo>
                    <a:pt x="96" y="62"/>
                  </a:lnTo>
                  <a:lnTo>
                    <a:pt x="96" y="64"/>
                  </a:lnTo>
                  <a:lnTo>
                    <a:pt x="96" y="64"/>
                  </a:lnTo>
                  <a:lnTo>
                    <a:pt x="94" y="64"/>
                  </a:lnTo>
                  <a:lnTo>
                    <a:pt x="94" y="64"/>
                  </a:lnTo>
                  <a:lnTo>
                    <a:pt x="92" y="66"/>
                  </a:lnTo>
                  <a:lnTo>
                    <a:pt x="90" y="70"/>
                  </a:lnTo>
                  <a:lnTo>
                    <a:pt x="88" y="72"/>
                  </a:lnTo>
                  <a:lnTo>
                    <a:pt x="84" y="76"/>
                  </a:lnTo>
                  <a:lnTo>
                    <a:pt x="84" y="78"/>
                  </a:lnTo>
                  <a:lnTo>
                    <a:pt x="78" y="80"/>
                  </a:lnTo>
                  <a:lnTo>
                    <a:pt x="72" y="80"/>
                  </a:lnTo>
                  <a:lnTo>
                    <a:pt x="68" y="78"/>
                  </a:lnTo>
                  <a:lnTo>
                    <a:pt x="66" y="78"/>
                  </a:lnTo>
                  <a:lnTo>
                    <a:pt x="64" y="78"/>
                  </a:lnTo>
                  <a:lnTo>
                    <a:pt x="64" y="78"/>
                  </a:lnTo>
                  <a:lnTo>
                    <a:pt x="62" y="76"/>
                  </a:lnTo>
                  <a:lnTo>
                    <a:pt x="60" y="74"/>
                  </a:lnTo>
                  <a:lnTo>
                    <a:pt x="56" y="72"/>
                  </a:lnTo>
                  <a:lnTo>
                    <a:pt x="56" y="72"/>
                  </a:lnTo>
                  <a:lnTo>
                    <a:pt x="54" y="72"/>
                  </a:lnTo>
                  <a:lnTo>
                    <a:pt x="52" y="70"/>
                  </a:lnTo>
                  <a:lnTo>
                    <a:pt x="50" y="70"/>
                  </a:lnTo>
                  <a:lnTo>
                    <a:pt x="48" y="70"/>
                  </a:lnTo>
                  <a:lnTo>
                    <a:pt x="48" y="70"/>
                  </a:lnTo>
                  <a:lnTo>
                    <a:pt x="46" y="70"/>
                  </a:lnTo>
                  <a:lnTo>
                    <a:pt x="46" y="72"/>
                  </a:lnTo>
                  <a:lnTo>
                    <a:pt x="46" y="72"/>
                  </a:lnTo>
                  <a:lnTo>
                    <a:pt x="44" y="72"/>
                  </a:lnTo>
                  <a:lnTo>
                    <a:pt x="44" y="74"/>
                  </a:lnTo>
                  <a:lnTo>
                    <a:pt x="42" y="76"/>
                  </a:lnTo>
                  <a:lnTo>
                    <a:pt x="40" y="78"/>
                  </a:lnTo>
                  <a:lnTo>
                    <a:pt x="40" y="84"/>
                  </a:lnTo>
                  <a:lnTo>
                    <a:pt x="38" y="84"/>
                  </a:lnTo>
                  <a:lnTo>
                    <a:pt x="34" y="84"/>
                  </a:lnTo>
                  <a:lnTo>
                    <a:pt x="26" y="86"/>
                  </a:lnTo>
                  <a:lnTo>
                    <a:pt x="22" y="84"/>
                  </a:lnTo>
                  <a:lnTo>
                    <a:pt x="18" y="84"/>
                  </a:lnTo>
                  <a:lnTo>
                    <a:pt x="12" y="84"/>
                  </a:lnTo>
                  <a:lnTo>
                    <a:pt x="12" y="84"/>
                  </a:lnTo>
                  <a:lnTo>
                    <a:pt x="10" y="84"/>
                  </a:lnTo>
                  <a:lnTo>
                    <a:pt x="8" y="84"/>
                  </a:lnTo>
                  <a:lnTo>
                    <a:pt x="8" y="82"/>
                  </a:lnTo>
                  <a:lnTo>
                    <a:pt x="4" y="80"/>
                  </a:lnTo>
                  <a:lnTo>
                    <a:pt x="0" y="78"/>
                  </a:lnTo>
                  <a:lnTo>
                    <a:pt x="2" y="74"/>
                  </a:lnTo>
                  <a:lnTo>
                    <a:pt x="2" y="70"/>
                  </a:lnTo>
                  <a:lnTo>
                    <a:pt x="4" y="62"/>
                  </a:lnTo>
                  <a:lnTo>
                    <a:pt x="4" y="60"/>
                  </a:lnTo>
                  <a:lnTo>
                    <a:pt x="6" y="58"/>
                  </a:lnTo>
                  <a:lnTo>
                    <a:pt x="6" y="56"/>
                  </a:lnTo>
                  <a:lnTo>
                    <a:pt x="8" y="54"/>
                  </a:lnTo>
                  <a:lnTo>
                    <a:pt x="10" y="50"/>
                  </a:lnTo>
                  <a:lnTo>
                    <a:pt x="14" y="46"/>
                  </a:lnTo>
                  <a:lnTo>
                    <a:pt x="14" y="46"/>
                  </a:lnTo>
                  <a:lnTo>
                    <a:pt x="16" y="44"/>
                  </a:lnTo>
                  <a:lnTo>
                    <a:pt x="16" y="42"/>
                  </a:lnTo>
                  <a:lnTo>
                    <a:pt x="18" y="38"/>
                  </a:lnTo>
                  <a:lnTo>
                    <a:pt x="20" y="32"/>
                  </a:lnTo>
                  <a:lnTo>
                    <a:pt x="22" y="28"/>
                  </a:lnTo>
                  <a:lnTo>
                    <a:pt x="24" y="26"/>
                  </a:lnTo>
                  <a:lnTo>
                    <a:pt x="24" y="26"/>
                  </a:lnTo>
                  <a:lnTo>
                    <a:pt x="24" y="26"/>
                  </a:lnTo>
                  <a:lnTo>
                    <a:pt x="26" y="24"/>
                  </a:lnTo>
                  <a:lnTo>
                    <a:pt x="26" y="24"/>
                  </a:lnTo>
                  <a:lnTo>
                    <a:pt x="28" y="22"/>
                  </a:lnTo>
                  <a:lnTo>
                    <a:pt x="32" y="22"/>
                  </a:lnTo>
                  <a:lnTo>
                    <a:pt x="34" y="22"/>
                  </a:lnTo>
                  <a:lnTo>
                    <a:pt x="40" y="20"/>
                  </a:lnTo>
                  <a:lnTo>
                    <a:pt x="42" y="20"/>
                  </a:lnTo>
                  <a:lnTo>
                    <a:pt x="42" y="20"/>
                  </a:lnTo>
                  <a:lnTo>
                    <a:pt x="44" y="18"/>
                  </a:lnTo>
                  <a:lnTo>
                    <a:pt x="44" y="18"/>
                  </a:lnTo>
                  <a:lnTo>
                    <a:pt x="46" y="18"/>
                  </a:lnTo>
                  <a:lnTo>
                    <a:pt x="48" y="16"/>
                  </a:lnTo>
                  <a:lnTo>
                    <a:pt x="50" y="12"/>
                  </a:lnTo>
                  <a:lnTo>
                    <a:pt x="52" y="10"/>
                  </a:lnTo>
                  <a:lnTo>
                    <a:pt x="52" y="8"/>
                  </a:lnTo>
                  <a:lnTo>
                    <a:pt x="54" y="6"/>
                  </a:lnTo>
                  <a:lnTo>
                    <a:pt x="56" y="4"/>
                  </a:lnTo>
                  <a:lnTo>
                    <a:pt x="56" y="2"/>
                  </a:lnTo>
                  <a:lnTo>
                    <a:pt x="58" y="2"/>
                  </a:lnTo>
                  <a:lnTo>
                    <a:pt x="58" y="2"/>
                  </a:lnTo>
                  <a:lnTo>
                    <a:pt x="60" y="0"/>
                  </a:lnTo>
                  <a:lnTo>
                    <a:pt x="60" y="0"/>
                  </a:lnTo>
                  <a:lnTo>
                    <a:pt x="62" y="0"/>
                  </a:lnTo>
                  <a:lnTo>
                    <a:pt x="64" y="0"/>
                  </a:lnTo>
                  <a:lnTo>
                    <a:pt x="68" y="0"/>
                  </a:lnTo>
                  <a:lnTo>
                    <a:pt x="72" y="0"/>
                  </a:lnTo>
                  <a:lnTo>
                    <a:pt x="76" y="2"/>
                  </a:lnTo>
                  <a:lnTo>
                    <a:pt x="80" y="2"/>
                  </a:lnTo>
                  <a:lnTo>
                    <a:pt x="82" y="2"/>
                  </a:lnTo>
                  <a:lnTo>
                    <a:pt x="84" y="6"/>
                  </a:lnTo>
                  <a:lnTo>
                    <a:pt x="86" y="8"/>
                  </a:lnTo>
                  <a:lnTo>
                    <a:pt x="86" y="10"/>
                  </a:lnTo>
                  <a:lnTo>
                    <a:pt x="88" y="10"/>
                  </a:lnTo>
                  <a:lnTo>
                    <a:pt x="88" y="12"/>
                  </a:lnTo>
                  <a:lnTo>
                    <a:pt x="90" y="12"/>
                  </a:lnTo>
                  <a:lnTo>
                    <a:pt x="92" y="14"/>
                  </a:lnTo>
                  <a:lnTo>
                    <a:pt x="94" y="14"/>
                  </a:lnTo>
                  <a:lnTo>
                    <a:pt x="94" y="14"/>
                  </a:lnTo>
                  <a:lnTo>
                    <a:pt x="96" y="16"/>
                  </a:lnTo>
                  <a:lnTo>
                    <a:pt x="96" y="16"/>
                  </a:lnTo>
                  <a:lnTo>
                    <a:pt x="96" y="16"/>
                  </a:lnTo>
                  <a:lnTo>
                    <a:pt x="96" y="18"/>
                  </a:lnTo>
                  <a:lnTo>
                    <a:pt x="98" y="20"/>
                  </a:lnTo>
                  <a:lnTo>
                    <a:pt x="98" y="22"/>
                  </a:lnTo>
                  <a:lnTo>
                    <a:pt x="96" y="24"/>
                  </a:lnTo>
                  <a:lnTo>
                    <a:pt x="96" y="26"/>
                  </a:lnTo>
                  <a:lnTo>
                    <a:pt x="96" y="28"/>
                  </a:lnTo>
                  <a:lnTo>
                    <a:pt x="96" y="28"/>
                  </a:lnTo>
                  <a:lnTo>
                    <a:pt x="96" y="30"/>
                  </a:lnTo>
                  <a:lnTo>
                    <a:pt x="98" y="30"/>
                  </a:lnTo>
                  <a:lnTo>
                    <a:pt x="98" y="30"/>
                  </a:lnTo>
                  <a:lnTo>
                    <a:pt x="98" y="32"/>
                  </a:lnTo>
                  <a:lnTo>
                    <a:pt x="98" y="32"/>
                  </a:lnTo>
                  <a:lnTo>
                    <a:pt x="100" y="32"/>
                  </a:lnTo>
                  <a:lnTo>
                    <a:pt x="102" y="32"/>
                  </a:lnTo>
                  <a:lnTo>
                    <a:pt x="102" y="32"/>
                  </a:lnTo>
                  <a:lnTo>
                    <a:pt x="106" y="32"/>
                  </a:lnTo>
                  <a:lnTo>
                    <a:pt x="106" y="32"/>
                  </a:lnTo>
                  <a:lnTo>
                    <a:pt x="108" y="32"/>
                  </a:lnTo>
                  <a:lnTo>
                    <a:pt x="108" y="32"/>
                  </a:lnTo>
                  <a:lnTo>
                    <a:pt x="108" y="34"/>
                  </a:lnTo>
                  <a:lnTo>
                    <a:pt x="110" y="34"/>
                  </a:lnTo>
                  <a:lnTo>
                    <a:pt x="112" y="36"/>
                  </a:lnTo>
                  <a:lnTo>
                    <a:pt x="112" y="38"/>
                  </a:lnTo>
                  <a:lnTo>
                    <a:pt x="114" y="42"/>
                  </a:lnTo>
                  <a:lnTo>
                    <a:pt x="116" y="4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3" name="Freeform 422">
              <a:extLst>
                <a:ext uri="{FF2B5EF4-FFF2-40B4-BE49-F238E27FC236}">
                  <a16:creationId xmlns:a16="http://schemas.microsoft.com/office/drawing/2014/main" id="{C388D30B-6764-4C4E-B01B-F92E22D797B4}"/>
                </a:ext>
              </a:extLst>
            </p:cNvPr>
            <p:cNvSpPr>
              <a:spLocks/>
            </p:cNvSpPr>
            <p:nvPr/>
          </p:nvSpPr>
          <p:spPr bwMode="auto">
            <a:xfrm>
              <a:off x="3888155" y="4285939"/>
              <a:ext cx="197457" cy="159351"/>
            </a:xfrm>
            <a:custGeom>
              <a:avLst/>
              <a:gdLst>
                <a:gd name="T0" fmla="*/ 0 w 114"/>
                <a:gd name="T1" fmla="*/ 14 h 92"/>
                <a:gd name="T2" fmla="*/ 6 w 114"/>
                <a:gd name="T3" fmla="*/ 8 h 92"/>
                <a:gd name="T4" fmla="*/ 10 w 114"/>
                <a:gd name="T5" fmla="*/ 6 h 92"/>
                <a:gd name="T6" fmla="*/ 18 w 114"/>
                <a:gd name="T7" fmla="*/ 2 h 92"/>
                <a:gd name="T8" fmla="*/ 34 w 114"/>
                <a:gd name="T9" fmla="*/ 2 h 92"/>
                <a:gd name="T10" fmla="*/ 46 w 114"/>
                <a:gd name="T11" fmla="*/ 4 h 92"/>
                <a:gd name="T12" fmla="*/ 62 w 114"/>
                <a:gd name="T13" fmla="*/ 4 h 92"/>
                <a:gd name="T14" fmla="*/ 80 w 114"/>
                <a:gd name="T15" fmla="*/ 8 h 92"/>
                <a:gd name="T16" fmla="*/ 90 w 114"/>
                <a:gd name="T17" fmla="*/ 10 h 92"/>
                <a:gd name="T18" fmla="*/ 94 w 114"/>
                <a:gd name="T19" fmla="*/ 12 h 92"/>
                <a:gd name="T20" fmla="*/ 100 w 114"/>
                <a:gd name="T21" fmla="*/ 16 h 92"/>
                <a:gd name="T22" fmla="*/ 104 w 114"/>
                <a:gd name="T23" fmla="*/ 22 h 92"/>
                <a:gd name="T24" fmla="*/ 104 w 114"/>
                <a:gd name="T25" fmla="*/ 26 h 92"/>
                <a:gd name="T26" fmla="*/ 108 w 114"/>
                <a:gd name="T27" fmla="*/ 34 h 92"/>
                <a:gd name="T28" fmla="*/ 108 w 114"/>
                <a:gd name="T29" fmla="*/ 44 h 92"/>
                <a:gd name="T30" fmla="*/ 104 w 114"/>
                <a:gd name="T31" fmla="*/ 50 h 92"/>
                <a:gd name="T32" fmla="*/ 104 w 114"/>
                <a:gd name="T33" fmla="*/ 54 h 92"/>
                <a:gd name="T34" fmla="*/ 104 w 114"/>
                <a:gd name="T35" fmla="*/ 56 h 92"/>
                <a:gd name="T36" fmla="*/ 108 w 114"/>
                <a:gd name="T37" fmla="*/ 58 h 92"/>
                <a:gd name="T38" fmla="*/ 112 w 114"/>
                <a:gd name="T39" fmla="*/ 62 h 92"/>
                <a:gd name="T40" fmla="*/ 114 w 114"/>
                <a:gd name="T41" fmla="*/ 62 h 92"/>
                <a:gd name="T42" fmla="*/ 112 w 114"/>
                <a:gd name="T43" fmla="*/ 66 h 92"/>
                <a:gd name="T44" fmla="*/ 108 w 114"/>
                <a:gd name="T45" fmla="*/ 68 h 92"/>
                <a:gd name="T46" fmla="*/ 100 w 114"/>
                <a:gd name="T47" fmla="*/ 72 h 92"/>
                <a:gd name="T48" fmla="*/ 98 w 114"/>
                <a:gd name="T49" fmla="*/ 74 h 92"/>
                <a:gd name="T50" fmla="*/ 96 w 114"/>
                <a:gd name="T51" fmla="*/ 76 h 92"/>
                <a:gd name="T52" fmla="*/ 94 w 114"/>
                <a:gd name="T53" fmla="*/ 84 h 92"/>
                <a:gd name="T54" fmla="*/ 92 w 114"/>
                <a:gd name="T55" fmla="*/ 92 h 92"/>
                <a:gd name="T56" fmla="*/ 84 w 114"/>
                <a:gd name="T57" fmla="*/ 90 h 92"/>
                <a:gd name="T58" fmla="*/ 80 w 114"/>
                <a:gd name="T59" fmla="*/ 88 h 92"/>
                <a:gd name="T60" fmla="*/ 78 w 114"/>
                <a:gd name="T61" fmla="*/ 82 h 92"/>
                <a:gd name="T62" fmla="*/ 72 w 114"/>
                <a:gd name="T63" fmla="*/ 72 h 92"/>
                <a:gd name="T64" fmla="*/ 72 w 114"/>
                <a:gd name="T65" fmla="*/ 62 h 92"/>
                <a:gd name="T66" fmla="*/ 70 w 114"/>
                <a:gd name="T67" fmla="*/ 56 h 92"/>
                <a:gd name="T68" fmla="*/ 66 w 114"/>
                <a:gd name="T69" fmla="*/ 52 h 92"/>
                <a:gd name="T70" fmla="*/ 58 w 114"/>
                <a:gd name="T71" fmla="*/ 48 h 92"/>
                <a:gd name="T72" fmla="*/ 54 w 114"/>
                <a:gd name="T73" fmla="*/ 46 h 92"/>
                <a:gd name="T74" fmla="*/ 52 w 114"/>
                <a:gd name="T75" fmla="*/ 46 h 92"/>
                <a:gd name="T76" fmla="*/ 46 w 114"/>
                <a:gd name="T77" fmla="*/ 50 h 92"/>
                <a:gd name="T78" fmla="*/ 40 w 114"/>
                <a:gd name="T79" fmla="*/ 52 h 92"/>
                <a:gd name="T80" fmla="*/ 32 w 114"/>
                <a:gd name="T81" fmla="*/ 56 h 92"/>
                <a:gd name="T82" fmla="*/ 18 w 114"/>
                <a:gd name="T83" fmla="*/ 50 h 92"/>
                <a:gd name="T84" fmla="*/ 8 w 114"/>
                <a:gd name="T85" fmla="*/ 40 h 92"/>
                <a:gd name="T86" fmla="*/ 6 w 114"/>
                <a:gd name="T87" fmla="*/ 36 h 92"/>
                <a:gd name="T88" fmla="*/ 2 w 114"/>
                <a:gd name="T89" fmla="*/ 2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4" h="92">
                  <a:moveTo>
                    <a:pt x="0" y="16"/>
                  </a:moveTo>
                  <a:lnTo>
                    <a:pt x="0" y="16"/>
                  </a:lnTo>
                  <a:lnTo>
                    <a:pt x="0" y="14"/>
                  </a:lnTo>
                  <a:lnTo>
                    <a:pt x="2" y="12"/>
                  </a:lnTo>
                  <a:lnTo>
                    <a:pt x="6" y="8"/>
                  </a:lnTo>
                  <a:lnTo>
                    <a:pt x="6" y="8"/>
                  </a:lnTo>
                  <a:lnTo>
                    <a:pt x="8" y="6"/>
                  </a:lnTo>
                  <a:lnTo>
                    <a:pt x="8" y="6"/>
                  </a:lnTo>
                  <a:lnTo>
                    <a:pt x="10" y="6"/>
                  </a:lnTo>
                  <a:lnTo>
                    <a:pt x="12" y="4"/>
                  </a:lnTo>
                  <a:lnTo>
                    <a:pt x="14" y="2"/>
                  </a:lnTo>
                  <a:lnTo>
                    <a:pt x="18" y="2"/>
                  </a:lnTo>
                  <a:lnTo>
                    <a:pt x="22" y="0"/>
                  </a:lnTo>
                  <a:lnTo>
                    <a:pt x="26" y="0"/>
                  </a:lnTo>
                  <a:lnTo>
                    <a:pt x="34" y="2"/>
                  </a:lnTo>
                  <a:lnTo>
                    <a:pt x="40" y="2"/>
                  </a:lnTo>
                  <a:lnTo>
                    <a:pt x="42" y="4"/>
                  </a:lnTo>
                  <a:lnTo>
                    <a:pt x="46" y="4"/>
                  </a:lnTo>
                  <a:lnTo>
                    <a:pt x="50" y="4"/>
                  </a:lnTo>
                  <a:lnTo>
                    <a:pt x="54" y="4"/>
                  </a:lnTo>
                  <a:lnTo>
                    <a:pt x="62" y="4"/>
                  </a:lnTo>
                  <a:lnTo>
                    <a:pt x="68" y="6"/>
                  </a:lnTo>
                  <a:lnTo>
                    <a:pt x="76" y="8"/>
                  </a:lnTo>
                  <a:lnTo>
                    <a:pt x="80" y="8"/>
                  </a:lnTo>
                  <a:lnTo>
                    <a:pt x="84" y="10"/>
                  </a:lnTo>
                  <a:lnTo>
                    <a:pt x="88" y="10"/>
                  </a:lnTo>
                  <a:lnTo>
                    <a:pt x="90" y="10"/>
                  </a:lnTo>
                  <a:lnTo>
                    <a:pt x="92" y="12"/>
                  </a:lnTo>
                  <a:lnTo>
                    <a:pt x="92" y="12"/>
                  </a:lnTo>
                  <a:lnTo>
                    <a:pt x="94" y="12"/>
                  </a:lnTo>
                  <a:lnTo>
                    <a:pt x="96" y="14"/>
                  </a:lnTo>
                  <a:lnTo>
                    <a:pt x="98" y="16"/>
                  </a:lnTo>
                  <a:lnTo>
                    <a:pt x="100" y="16"/>
                  </a:lnTo>
                  <a:lnTo>
                    <a:pt x="100" y="18"/>
                  </a:lnTo>
                  <a:lnTo>
                    <a:pt x="102" y="20"/>
                  </a:lnTo>
                  <a:lnTo>
                    <a:pt x="104" y="22"/>
                  </a:lnTo>
                  <a:lnTo>
                    <a:pt x="104" y="22"/>
                  </a:lnTo>
                  <a:lnTo>
                    <a:pt x="104" y="24"/>
                  </a:lnTo>
                  <a:lnTo>
                    <a:pt x="104" y="26"/>
                  </a:lnTo>
                  <a:lnTo>
                    <a:pt x="106" y="28"/>
                  </a:lnTo>
                  <a:lnTo>
                    <a:pt x="106" y="32"/>
                  </a:lnTo>
                  <a:lnTo>
                    <a:pt x="108" y="34"/>
                  </a:lnTo>
                  <a:lnTo>
                    <a:pt x="108" y="40"/>
                  </a:lnTo>
                  <a:lnTo>
                    <a:pt x="108" y="42"/>
                  </a:lnTo>
                  <a:lnTo>
                    <a:pt x="108" y="44"/>
                  </a:lnTo>
                  <a:lnTo>
                    <a:pt x="106" y="48"/>
                  </a:lnTo>
                  <a:lnTo>
                    <a:pt x="104" y="50"/>
                  </a:lnTo>
                  <a:lnTo>
                    <a:pt x="104" y="50"/>
                  </a:lnTo>
                  <a:lnTo>
                    <a:pt x="104" y="52"/>
                  </a:lnTo>
                  <a:lnTo>
                    <a:pt x="104" y="54"/>
                  </a:lnTo>
                  <a:lnTo>
                    <a:pt x="104" y="54"/>
                  </a:lnTo>
                  <a:lnTo>
                    <a:pt x="104" y="54"/>
                  </a:lnTo>
                  <a:lnTo>
                    <a:pt x="104" y="56"/>
                  </a:lnTo>
                  <a:lnTo>
                    <a:pt x="104" y="56"/>
                  </a:lnTo>
                  <a:lnTo>
                    <a:pt x="106" y="56"/>
                  </a:lnTo>
                  <a:lnTo>
                    <a:pt x="106" y="58"/>
                  </a:lnTo>
                  <a:lnTo>
                    <a:pt x="108" y="58"/>
                  </a:lnTo>
                  <a:lnTo>
                    <a:pt x="110" y="60"/>
                  </a:lnTo>
                  <a:lnTo>
                    <a:pt x="112" y="60"/>
                  </a:lnTo>
                  <a:lnTo>
                    <a:pt x="112" y="62"/>
                  </a:lnTo>
                  <a:lnTo>
                    <a:pt x="112" y="62"/>
                  </a:lnTo>
                  <a:lnTo>
                    <a:pt x="114" y="62"/>
                  </a:lnTo>
                  <a:lnTo>
                    <a:pt x="114" y="62"/>
                  </a:lnTo>
                  <a:lnTo>
                    <a:pt x="114" y="64"/>
                  </a:lnTo>
                  <a:lnTo>
                    <a:pt x="112" y="64"/>
                  </a:lnTo>
                  <a:lnTo>
                    <a:pt x="112" y="66"/>
                  </a:lnTo>
                  <a:lnTo>
                    <a:pt x="110" y="66"/>
                  </a:lnTo>
                  <a:lnTo>
                    <a:pt x="110" y="66"/>
                  </a:lnTo>
                  <a:lnTo>
                    <a:pt x="108" y="68"/>
                  </a:lnTo>
                  <a:lnTo>
                    <a:pt x="106" y="68"/>
                  </a:lnTo>
                  <a:lnTo>
                    <a:pt x="104" y="70"/>
                  </a:lnTo>
                  <a:lnTo>
                    <a:pt x="100" y="72"/>
                  </a:lnTo>
                  <a:lnTo>
                    <a:pt x="100" y="72"/>
                  </a:lnTo>
                  <a:lnTo>
                    <a:pt x="98" y="72"/>
                  </a:lnTo>
                  <a:lnTo>
                    <a:pt x="98" y="74"/>
                  </a:lnTo>
                  <a:lnTo>
                    <a:pt x="96" y="74"/>
                  </a:lnTo>
                  <a:lnTo>
                    <a:pt x="96" y="74"/>
                  </a:lnTo>
                  <a:lnTo>
                    <a:pt x="96" y="76"/>
                  </a:lnTo>
                  <a:lnTo>
                    <a:pt x="96" y="78"/>
                  </a:lnTo>
                  <a:lnTo>
                    <a:pt x="94" y="82"/>
                  </a:lnTo>
                  <a:lnTo>
                    <a:pt x="94" y="84"/>
                  </a:lnTo>
                  <a:lnTo>
                    <a:pt x="94" y="90"/>
                  </a:lnTo>
                  <a:lnTo>
                    <a:pt x="92" y="92"/>
                  </a:lnTo>
                  <a:lnTo>
                    <a:pt x="92" y="92"/>
                  </a:lnTo>
                  <a:lnTo>
                    <a:pt x="88" y="92"/>
                  </a:lnTo>
                  <a:lnTo>
                    <a:pt x="86" y="92"/>
                  </a:lnTo>
                  <a:lnTo>
                    <a:pt x="84" y="90"/>
                  </a:lnTo>
                  <a:lnTo>
                    <a:pt x="82" y="90"/>
                  </a:lnTo>
                  <a:lnTo>
                    <a:pt x="82" y="90"/>
                  </a:lnTo>
                  <a:lnTo>
                    <a:pt x="80" y="88"/>
                  </a:lnTo>
                  <a:lnTo>
                    <a:pt x="80" y="88"/>
                  </a:lnTo>
                  <a:lnTo>
                    <a:pt x="78" y="86"/>
                  </a:lnTo>
                  <a:lnTo>
                    <a:pt x="78" y="82"/>
                  </a:lnTo>
                  <a:lnTo>
                    <a:pt x="76" y="80"/>
                  </a:lnTo>
                  <a:lnTo>
                    <a:pt x="74" y="74"/>
                  </a:lnTo>
                  <a:lnTo>
                    <a:pt x="72" y="72"/>
                  </a:lnTo>
                  <a:lnTo>
                    <a:pt x="72" y="70"/>
                  </a:lnTo>
                  <a:lnTo>
                    <a:pt x="72" y="64"/>
                  </a:lnTo>
                  <a:lnTo>
                    <a:pt x="72" y="62"/>
                  </a:lnTo>
                  <a:lnTo>
                    <a:pt x="70" y="60"/>
                  </a:lnTo>
                  <a:lnTo>
                    <a:pt x="70" y="58"/>
                  </a:lnTo>
                  <a:lnTo>
                    <a:pt x="70" y="56"/>
                  </a:lnTo>
                  <a:lnTo>
                    <a:pt x="68" y="56"/>
                  </a:lnTo>
                  <a:lnTo>
                    <a:pt x="68" y="54"/>
                  </a:lnTo>
                  <a:lnTo>
                    <a:pt x="66" y="52"/>
                  </a:lnTo>
                  <a:lnTo>
                    <a:pt x="64" y="52"/>
                  </a:lnTo>
                  <a:lnTo>
                    <a:pt x="62" y="50"/>
                  </a:lnTo>
                  <a:lnTo>
                    <a:pt x="58" y="48"/>
                  </a:lnTo>
                  <a:lnTo>
                    <a:pt x="56" y="48"/>
                  </a:lnTo>
                  <a:lnTo>
                    <a:pt x="54" y="46"/>
                  </a:lnTo>
                  <a:lnTo>
                    <a:pt x="54" y="46"/>
                  </a:lnTo>
                  <a:lnTo>
                    <a:pt x="52" y="46"/>
                  </a:lnTo>
                  <a:lnTo>
                    <a:pt x="52" y="46"/>
                  </a:lnTo>
                  <a:lnTo>
                    <a:pt x="52" y="46"/>
                  </a:lnTo>
                  <a:lnTo>
                    <a:pt x="50" y="48"/>
                  </a:lnTo>
                  <a:lnTo>
                    <a:pt x="48" y="48"/>
                  </a:lnTo>
                  <a:lnTo>
                    <a:pt x="46" y="50"/>
                  </a:lnTo>
                  <a:lnTo>
                    <a:pt x="42" y="52"/>
                  </a:lnTo>
                  <a:lnTo>
                    <a:pt x="42" y="52"/>
                  </a:lnTo>
                  <a:lnTo>
                    <a:pt x="40" y="52"/>
                  </a:lnTo>
                  <a:lnTo>
                    <a:pt x="38" y="54"/>
                  </a:lnTo>
                  <a:lnTo>
                    <a:pt x="36" y="54"/>
                  </a:lnTo>
                  <a:lnTo>
                    <a:pt x="32" y="56"/>
                  </a:lnTo>
                  <a:lnTo>
                    <a:pt x="24" y="56"/>
                  </a:lnTo>
                  <a:lnTo>
                    <a:pt x="22" y="54"/>
                  </a:lnTo>
                  <a:lnTo>
                    <a:pt x="18" y="50"/>
                  </a:lnTo>
                  <a:lnTo>
                    <a:pt x="14" y="46"/>
                  </a:lnTo>
                  <a:lnTo>
                    <a:pt x="12" y="44"/>
                  </a:lnTo>
                  <a:lnTo>
                    <a:pt x="8" y="40"/>
                  </a:lnTo>
                  <a:lnTo>
                    <a:pt x="8" y="40"/>
                  </a:lnTo>
                  <a:lnTo>
                    <a:pt x="8" y="38"/>
                  </a:lnTo>
                  <a:lnTo>
                    <a:pt x="6" y="36"/>
                  </a:lnTo>
                  <a:lnTo>
                    <a:pt x="4" y="32"/>
                  </a:lnTo>
                  <a:lnTo>
                    <a:pt x="4" y="28"/>
                  </a:lnTo>
                  <a:lnTo>
                    <a:pt x="2" y="26"/>
                  </a:lnTo>
                  <a:lnTo>
                    <a:pt x="0" y="18"/>
                  </a:lnTo>
                  <a:lnTo>
                    <a:pt x="0" y="1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4" name="Freeform 423">
              <a:extLst>
                <a:ext uri="{FF2B5EF4-FFF2-40B4-BE49-F238E27FC236}">
                  <a16:creationId xmlns:a16="http://schemas.microsoft.com/office/drawing/2014/main" id="{D9B8AF18-369F-4FC4-B815-DA55BCF5C797}"/>
                </a:ext>
              </a:extLst>
            </p:cNvPr>
            <p:cNvSpPr>
              <a:spLocks/>
            </p:cNvSpPr>
            <p:nvPr/>
          </p:nvSpPr>
          <p:spPr bwMode="auto">
            <a:xfrm>
              <a:off x="3888155" y="4285939"/>
              <a:ext cx="197457" cy="159351"/>
            </a:xfrm>
            <a:custGeom>
              <a:avLst/>
              <a:gdLst>
                <a:gd name="T0" fmla="*/ 0 w 114"/>
                <a:gd name="T1" fmla="*/ 14 h 92"/>
                <a:gd name="T2" fmla="*/ 6 w 114"/>
                <a:gd name="T3" fmla="*/ 8 h 92"/>
                <a:gd name="T4" fmla="*/ 10 w 114"/>
                <a:gd name="T5" fmla="*/ 6 h 92"/>
                <a:gd name="T6" fmla="*/ 18 w 114"/>
                <a:gd name="T7" fmla="*/ 2 h 92"/>
                <a:gd name="T8" fmla="*/ 34 w 114"/>
                <a:gd name="T9" fmla="*/ 2 h 92"/>
                <a:gd name="T10" fmla="*/ 46 w 114"/>
                <a:gd name="T11" fmla="*/ 4 h 92"/>
                <a:gd name="T12" fmla="*/ 62 w 114"/>
                <a:gd name="T13" fmla="*/ 4 h 92"/>
                <a:gd name="T14" fmla="*/ 80 w 114"/>
                <a:gd name="T15" fmla="*/ 8 h 92"/>
                <a:gd name="T16" fmla="*/ 90 w 114"/>
                <a:gd name="T17" fmla="*/ 10 h 92"/>
                <a:gd name="T18" fmla="*/ 94 w 114"/>
                <a:gd name="T19" fmla="*/ 12 h 92"/>
                <a:gd name="T20" fmla="*/ 100 w 114"/>
                <a:gd name="T21" fmla="*/ 16 h 92"/>
                <a:gd name="T22" fmla="*/ 104 w 114"/>
                <a:gd name="T23" fmla="*/ 22 h 92"/>
                <a:gd name="T24" fmla="*/ 104 w 114"/>
                <a:gd name="T25" fmla="*/ 26 h 92"/>
                <a:gd name="T26" fmla="*/ 108 w 114"/>
                <a:gd name="T27" fmla="*/ 34 h 92"/>
                <a:gd name="T28" fmla="*/ 108 w 114"/>
                <a:gd name="T29" fmla="*/ 44 h 92"/>
                <a:gd name="T30" fmla="*/ 104 w 114"/>
                <a:gd name="T31" fmla="*/ 50 h 92"/>
                <a:gd name="T32" fmla="*/ 104 w 114"/>
                <a:gd name="T33" fmla="*/ 54 h 92"/>
                <a:gd name="T34" fmla="*/ 104 w 114"/>
                <a:gd name="T35" fmla="*/ 56 h 92"/>
                <a:gd name="T36" fmla="*/ 108 w 114"/>
                <a:gd name="T37" fmla="*/ 58 h 92"/>
                <a:gd name="T38" fmla="*/ 112 w 114"/>
                <a:gd name="T39" fmla="*/ 62 h 92"/>
                <a:gd name="T40" fmla="*/ 114 w 114"/>
                <a:gd name="T41" fmla="*/ 62 h 92"/>
                <a:gd name="T42" fmla="*/ 112 w 114"/>
                <a:gd name="T43" fmla="*/ 66 h 92"/>
                <a:gd name="T44" fmla="*/ 108 w 114"/>
                <a:gd name="T45" fmla="*/ 68 h 92"/>
                <a:gd name="T46" fmla="*/ 100 w 114"/>
                <a:gd name="T47" fmla="*/ 72 h 92"/>
                <a:gd name="T48" fmla="*/ 98 w 114"/>
                <a:gd name="T49" fmla="*/ 74 h 92"/>
                <a:gd name="T50" fmla="*/ 96 w 114"/>
                <a:gd name="T51" fmla="*/ 76 h 92"/>
                <a:gd name="T52" fmla="*/ 94 w 114"/>
                <a:gd name="T53" fmla="*/ 84 h 92"/>
                <a:gd name="T54" fmla="*/ 92 w 114"/>
                <a:gd name="T55" fmla="*/ 92 h 92"/>
                <a:gd name="T56" fmla="*/ 84 w 114"/>
                <a:gd name="T57" fmla="*/ 90 h 92"/>
                <a:gd name="T58" fmla="*/ 80 w 114"/>
                <a:gd name="T59" fmla="*/ 88 h 92"/>
                <a:gd name="T60" fmla="*/ 78 w 114"/>
                <a:gd name="T61" fmla="*/ 82 h 92"/>
                <a:gd name="T62" fmla="*/ 72 w 114"/>
                <a:gd name="T63" fmla="*/ 72 h 92"/>
                <a:gd name="T64" fmla="*/ 72 w 114"/>
                <a:gd name="T65" fmla="*/ 62 h 92"/>
                <a:gd name="T66" fmla="*/ 70 w 114"/>
                <a:gd name="T67" fmla="*/ 56 h 92"/>
                <a:gd name="T68" fmla="*/ 66 w 114"/>
                <a:gd name="T69" fmla="*/ 52 h 92"/>
                <a:gd name="T70" fmla="*/ 58 w 114"/>
                <a:gd name="T71" fmla="*/ 48 h 92"/>
                <a:gd name="T72" fmla="*/ 54 w 114"/>
                <a:gd name="T73" fmla="*/ 46 h 92"/>
                <a:gd name="T74" fmla="*/ 52 w 114"/>
                <a:gd name="T75" fmla="*/ 46 h 92"/>
                <a:gd name="T76" fmla="*/ 46 w 114"/>
                <a:gd name="T77" fmla="*/ 50 h 92"/>
                <a:gd name="T78" fmla="*/ 40 w 114"/>
                <a:gd name="T79" fmla="*/ 52 h 92"/>
                <a:gd name="T80" fmla="*/ 32 w 114"/>
                <a:gd name="T81" fmla="*/ 56 h 92"/>
                <a:gd name="T82" fmla="*/ 18 w 114"/>
                <a:gd name="T83" fmla="*/ 50 h 92"/>
                <a:gd name="T84" fmla="*/ 8 w 114"/>
                <a:gd name="T85" fmla="*/ 40 h 92"/>
                <a:gd name="T86" fmla="*/ 6 w 114"/>
                <a:gd name="T87" fmla="*/ 36 h 92"/>
                <a:gd name="T88" fmla="*/ 2 w 114"/>
                <a:gd name="T89" fmla="*/ 2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4" h="92">
                  <a:moveTo>
                    <a:pt x="0" y="16"/>
                  </a:moveTo>
                  <a:lnTo>
                    <a:pt x="0" y="16"/>
                  </a:lnTo>
                  <a:lnTo>
                    <a:pt x="0" y="14"/>
                  </a:lnTo>
                  <a:lnTo>
                    <a:pt x="2" y="12"/>
                  </a:lnTo>
                  <a:lnTo>
                    <a:pt x="6" y="8"/>
                  </a:lnTo>
                  <a:lnTo>
                    <a:pt x="6" y="8"/>
                  </a:lnTo>
                  <a:lnTo>
                    <a:pt x="8" y="6"/>
                  </a:lnTo>
                  <a:lnTo>
                    <a:pt x="8" y="6"/>
                  </a:lnTo>
                  <a:lnTo>
                    <a:pt x="10" y="6"/>
                  </a:lnTo>
                  <a:lnTo>
                    <a:pt x="12" y="4"/>
                  </a:lnTo>
                  <a:lnTo>
                    <a:pt x="14" y="2"/>
                  </a:lnTo>
                  <a:lnTo>
                    <a:pt x="18" y="2"/>
                  </a:lnTo>
                  <a:lnTo>
                    <a:pt x="22" y="0"/>
                  </a:lnTo>
                  <a:lnTo>
                    <a:pt x="26" y="0"/>
                  </a:lnTo>
                  <a:lnTo>
                    <a:pt x="34" y="2"/>
                  </a:lnTo>
                  <a:lnTo>
                    <a:pt x="40" y="2"/>
                  </a:lnTo>
                  <a:lnTo>
                    <a:pt x="42" y="4"/>
                  </a:lnTo>
                  <a:lnTo>
                    <a:pt x="46" y="4"/>
                  </a:lnTo>
                  <a:lnTo>
                    <a:pt x="50" y="4"/>
                  </a:lnTo>
                  <a:lnTo>
                    <a:pt x="54" y="4"/>
                  </a:lnTo>
                  <a:lnTo>
                    <a:pt x="62" y="4"/>
                  </a:lnTo>
                  <a:lnTo>
                    <a:pt x="68" y="6"/>
                  </a:lnTo>
                  <a:lnTo>
                    <a:pt x="76" y="8"/>
                  </a:lnTo>
                  <a:lnTo>
                    <a:pt x="80" y="8"/>
                  </a:lnTo>
                  <a:lnTo>
                    <a:pt x="84" y="10"/>
                  </a:lnTo>
                  <a:lnTo>
                    <a:pt x="88" y="10"/>
                  </a:lnTo>
                  <a:lnTo>
                    <a:pt x="90" y="10"/>
                  </a:lnTo>
                  <a:lnTo>
                    <a:pt x="92" y="12"/>
                  </a:lnTo>
                  <a:lnTo>
                    <a:pt x="92" y="12"/>
                  </a:lnTo>
                  <a:lnTo>
                    <a:pt x="94" y="12"/>
                  </a:lnTo>
                  <a:lnTo>
                    <a:pt x="96" y="14"/>
                  </a:lnTo>
                  <a:lnTo>
                    <a:pt x="98" y="16"/>
                  </a:lnTo>
                  <a:lnTo>
                    <a:pt x="100" y="16"/>
                  </a:lnTo>
                  <a:lnTo>
                    <a:pt x="100" y="18"/>
                  </a:lnTo>
                  <a:lnTo>
                    <a:pt x="102" y="20"/>
                  </a:lnTo>
                  <a:lnTo>
                    <a:pt x="104" y="22"/>
                  </a:lnTo>
                  <a:lnTo>
                    <a:pt x="104" y="22"/>
                  </a:lnTo>
                  <a:lnTo>
                    <a:pt x="104" y="24"/>
                  </a:lnTo>
                  <a:lnTo>
                    <a:pt x="104" y="26"/>
                  </a:lnTo>
                  <a:lnTo>
                    <a:pt x="106" y="28"/>
                  </a:lnTo>
                  <a:lnTo>
                    <a:pt x="106" y="32"/>
                  </a:lnTo>
                  <a:lnTo>
                    <a:pt x="108" y="34"/>
                  </a:lnTo>
                  <a:lnTo>
                    <a:pt x="108" y="40"/>
                  </a:lnTo>
                  <a:lnTo>
                    <a:pt x="108" y="42"/>
                  </a:lnTo>
                  <a:lnTo>
                    <a:pt x="108" y="44"/>
                  </a:lnTo>
                  <a:lnTo>
                    <a:pt x="106" y="48"/>
                  </a:lnTo>
                  <a:lnTo>
                    <a:pt x="104" y="50"/>
                  </a:lnTo>
                  <a:lnTo>
                    <a:pt x="104" y="50"/>
                  </a:lnTo>
                  <a:lnTo>
                    <a:pt x="104" y="52"/>
                  </a:lnTo>
                  <a:lnTo>
                    <a:pt x="104" y="54"/>
                  </a:lnTo>
                  <a:lnTo>
                    <a:pt x="104" y="54"/>
                  </a:lnTo>
                  <a:lnTo>
                    <a:pt x="104" y="54"/>
                  </a:lnTo>
                  <a:lnTo>
                    <a:pt x="104" y="56"/>
                  </a:lnTo>
                  <a:lnTo>
                    <a:pt x="104" y="56"/>
                  </a:lnTo>
                  <a:lnTo>
                    <a:pt x="106" y="56"/>
                  </a:lnTo>
                  <a:lnTo>
                    <a:pt x="106" y="58"/>
                  </a:lnTo>
                  <a:lnTo>
                    <a:pt x="108" y="58"/>
                  </a:lnTo>
                  <a:lnTo>
                    <a:pt x="110" y="60"/>
                  </a:lnTo>
                  <a:lnTo>
                    <a:pt x="112" y="60"/>
                  </a:lnTo>
                  <a:lnTo>
                    <a:pt x="112" y="62"/>
                  </a:lnTo>
                  <a:lnTo>
                    <a:pt x="112" y="62"/>
                  </a:lnTo>
                  <a:lnTo>
                    <a:pt x="114" y="62"/>
                  </a:lnTo>
                  <a:lnTo>
                    <a:pt x="114" y="62"/>
                  </a:lnTo>
                  <a:lnTo>
                    <a:pt x="114" y="64"/>
                  </a:lnTo>
                  <a:lnTo>
                    <a:pt x="112" y="64"/>
                  </a:lnTo>
                  <a:lnTo>
                    <a:pt x="112" y="66"/>
                  </a:lnTo>
                  <a:lnTo>
                    <a:pt x="110" y="66"/>
                  </a:lnTo>
                  <a:lnTo>
                    <a:pt x="110" y="66"/>
                  </a:lnTo>
                  <a:lnTo>
                    <a:pt x="108" y="68"/>
                  </a:lnTo>
                  <a:lnTo>
                    <a:pt x="106" y="68"/>
                  </a:lnTo>
                  <a:lnTo>
                    <a:pt x="104" y="70"/>
                  </a:lnTo>
                  <a:lnTo>
                    <a:pt x="100" y="72"/>
                  </a:lnTo>
                  <a:lnTo>
                    <a:pt x="100" y="72"/>
                  </a:lnTo>
                  <a:lnTo>
                    <a:pt x="98" y="72"/>
                  </a:lnTo>
                  <a:lnTo>
                    <a:pt x="98" y="74"/>
                  </a:lnTo>
                  <a:lnTo>
                    <a:pt x="96" y="74"/>
                  </a:lnTo>
                  <a:lnTo>
                    <a:pt x="96" y="74"/>
                  </a:lnTo>
                  <a:lnTo>
                    <a:pt x="96" y="76"/>
                  </a:lnTo>
                  <a:lnTo>
                    <a:pt x="96" y="78"/>
                  </a:lnTo>
                  <a:lnTo>
                    <a:pt x="94" y="82"/>
                  </a:lnTo>
                  <a:lnTo>
                    <a:pt x="94" y="84"/>
                  </a:lnTo>
                  <a:lnTo>
                    <a:pt x="94" y="90"/>
                  </a:lnTo>
                  <a:lnTo>
                    <a:pt x="92" y="92"/>
                  </a:lnTo>
                  <a:lnTo>
                    <a:pt x="92" y="92"/>
                  </a:lnTo>
                  <a:lnTo>
                    <a:pt x="88" y="92"/>
                  </a:lnTo>
                  <a:lnTo>
                    <a:pt x="86" y="92"/>
                  </a:lnTo>
                  <a:lnTo>
                    <a:pt x="84" y="90"/>
                  </a:lnTo>
                  <a:lnTo>
                    <a:pt x="82" y="90"/>
                  </a:lnTo>
                  <a:lnTo>
                    <a:pt x="82" y="90"/>
                  </a:lnTo>
                  <a:lnTo>
                    <a:pt x="80" y="88"/>
                  </a:lnTo>
                  <a:lnTo>
                    <a:pt x="80" y="88"/>
                  </a:lnTo>
                  <a:lnTo>
                    <a:pt x="78" y="86"/>
                  </a:lnTo>
                  <a:lnTo>
                    <a:pt x="78" y="82"/>
                  </a:lnTo>
                  <a:lnTo>
                    <a:pt x="76" y="80"/>
                  </a:lnTo>
                  <a:lnTo>
                    <a:pt x="74" y="74"/>
                  </a:lnTo>
                  <a:lnTo>
                    <a:pt x="72" y="72"/>
                  </a:lnTo>
                  <a:lnTo>
                    <a:pt x="72" y="70"/>
                  </a:lnTo>
                  <a:lnTo>
                    <a:pt x="72" y="64"/>
                  </a:lnTo>
                  <a:lnTo>
                    <a:pt x="72" y="62"/>
                  </a:lnTo>
                  <a:lnTo>
                    <a:pt x="70" y="60"/>
                  </a:lnTo>
                  <a:lnTo>
                    <a:pt x="70" y="58"/>
                  </a:lnTo>
                  <a:lnTo>
                    <a:pt x="70" y="56"/>
                  </a:lnTo>
                  <a:lnTo>
                    <a:pt x="68" y="56"/>
                  </a:lnTo>
                  <a:lnTo>
                    <a:pt x="68" y="54"/>
                  </a:lnTo>
                  <a:lnTo>
                    <a:pt x="66" y="52"/>
                  </a:lnTo>
                  <a:lnTo>
                    <a:pt x="64" y="52"/>
                  </a:lnTo>
                  <a:lnTo>
                    <a:pt x="62" y="50"/>
                  </a:lnTo>
                  <a:lnTo>
                    <a:pt x="58" y="48"/>
                  </a:lnTo>
                  <a:lnTo>
                    <a:pt x="56" y="48"/>
                  </a:lnTo>
                  <a:lnTo>
                    <a:pt x="54" y="46"/>
                  </a:lnTo>
                  <a:lnTo>
                    <a:pt x="54" y="46"/>
                  </a:lnTo>
                  <a:lnTo>
                    <a:pt x="52" y="46"/>
                  </a:lnTo>
                  <a:lnTo>
                    <a:pt x="52" y="46"/>
                  </a:lnTo>
                  <a:lnTo>
                    <a:pt x="52" y="46"/>
                  </a:lnTo>
                  <a:lnTo>
                    <a:pt x="50" y="48"/>
                  </a:lnTo>
                  <a:lnTo>
                    <a:pt x="48" y="48"/>
                  </a:lnTo>
                  <a:lnTo>
                    <a:pt x="46" y="50"/>
                  </a:lnTo>
                  <a:lnTo>
                    <a:pt x="42" y="52"/>
                  </a:lnTo>
                  <a:lnTo>
                    <a:pt x="42" y="52"/>
                  </a:lnTo>
                  <a:lnTo>
                    <a:pt x="40" y="52"/>
                  </a:lnTo>
                  <a:lnTo>
                    <a:pt x="38" y="54"/>
                  </a:lnTo>
                  <a:lnTo>
                    <a:pt x="36" y="54"/>
                  </a:lnTo>
                  <a:lnTo>
                    <a:pt x="32" y="56"/>
                  </a:lnTo>
                  <a:lnTo>
                    <a:pt x="24" y="56"/>
                  </a:lnTo>
                  <a:lnTo>
                    <a:pt x="22" y="54"/>
                  </a:lnTo>
                  <a:lnTo>
                    <a:pt x="18" y="50"/>
                  </a:lnTo>
                  <a:lnTo>
                    <a:pt x="14" y="46"/>
                  </a:lnTo>
                  <a:lnTo>
                    <a:pt x="12" y="44"/>
                  </a:lnTo>
                  <a:lnTo>
                    <a:pt x="8" y="40"/>
                  </a:lnTo>
                  <a:lnTo>
                    <a:pt x="8" y="40"/>
                  </a:lnTo>
                  <a:lnTo>
                    <a:pt x="8" y="38"/>
                  </a:lnTo>
                  <a:lnTo>
                    <a:pt x="6" y="36"/>
                  </a:lnTo>
                  <a:lnTo>
                    <a:pt x="4" y="32"/>
                  </a:lnTo>
                  <a:lnTo>
                    <a:pt x="4" y="28"/>
                  </a:lnTo>
                  <a:lnTo>
                    <a:pt x="2" y="26"/>
                  </a:lnTo>
                  <a:lnTo>
                    <a:pt x="0" y="18"/>
                  </a:lnTo>
                  <a:lnTo>
                    <a:pt x="0" y="1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5" name="Freeform 424">
              <a:extLst>
                <a:ext uri="{FF2B5EF4-FFF2-40B4-BE49-F238E27FC236}">
                  <a16:creationId xmlns:a16="http://schemas.microsoft.com/office/drawing/2014/main" id="{55D0D696-4FC0-400D-87BA-DE5FD4961D94}"/>
                </a:ext>
              </a:extLst>
            </p:cNvPr>
            <p:cNvSpPr>
              <a:spLocks/>
            </p:cNvSpPr>
            <p:nvPr/>
          </p:nvSpPr>
          <p:spPr bwMode="auto">
            <a:xfrm>
              <a:off x="4193000" y="4341366"/>
              <a:ext cx="93532" cy="166279"/>
            </a:xfrm>
            <a:custGeom>
              <a:avLst/>
              <a:gdLst>
                <a:gd name="T0" fmla="*/ 0 w 54"/>
                <a:gd name="T1" fmla="*/ 84 h 96"/>
                <a:gd name="T2" fmla="*/ 0 w 54"/>
                <a:gd name="T3" fmla="*/ 68 h 96"/>
                <a:gd name="T4" fmla="*/ 0 w 54"/>
                <a:gd name="T5" fmla="*/ 56 h 96"/>
                <a:gd name="T6" fmla="*/ 0 w 54"/>
                <a:gd name="T7" fmla="*/ 50 h 96"/>
                <a:gd name="T8" fmla="*/ 2 w 54"/>
                <a:gd name="T9" fmla="*/ 46 h 96"/>
                <a:gd name="T10" fmla="*/ 6 w 54"/>
                <a:gd name="T11" fmla="*/ 46 h 96"/>
                <a:gd name="T12" fmla="*/ 10 w 54"/>
                <a:gd name="T13" fmla="*/ 44 h 96"/>
                <a:gd name="T14" fmla="*/ 12 w 54"/>
                <a:gd name="T15" fmla="*/ 42 h 96"/>
                <a:gd name="T16" fmla="*/ 12 w 54"/>
                <a:gd name="T17" fmla="*/ 36 h 96"/>
                <a:gd name="T18" fmla="*/ 10 w 54"/>
                <a:gd name="T19" fmla="*/ 34 h 96"/>
                <a:gd name="T20" fmla="*/ 8 w 54"/>
                <a:gd name="T21" fmla="*/ 32 h 96"/>
                <a:gd name="T22" fmla="*/ 2 w 54"/>
                <a:gd name="T23" fmla="*/ 30 h 96"/>
                <a:gd name="T24" fmla="*/ 2 w 54"/>
                <a:gd name="T25" fmla="*/ 28 h 96"/>
                <a:gd name="T26" fmla="*/ 0 w 54"/>
                <a:gd name="T27" fmla="*/ 22 h 96"/>
                <a:gd name="T28" fmla="*/ 0 w 54"/>
                <a:gd name="T29" fmla="*/ 14 h 96"/>
                <a:gd name="T30" fmla="*/ 4 w 54"/>
                <a:gd name="T31" fmla="*/ 6 h 96"/>
                <a:gd name="T32" fmla="*/ 8 w 54"/>
                <a:gd name="T33" fmla="*/ 2 h 96"/>
                <a:gd name="T34" fmla="*/ 10 w 54"/>
                <a:gd name="T35" fmla="*/ 0 h 96"/>
                <a:gd name="T36" fmla="*/ 14 w 54"/>
                <a:gd name="T37" fmla="*/ 0 h 96"/>
                <a:gd name="T38" fmla="*/ 20 w 54"/>
                <a:gd name="T39" fmla="*/ 2 h 96"/>
                <a:gd name="T40" fmla="*/ 26 w 54"/>
                <a:gd name="T41" fmla="*/ 6 h 96"/>
                <a:gd name="T42" fmla="*/ 30 w 54"/>
                <a:gd name="T43" fmla="*/ 8 h 96"/>
                <a:gd name="T44" fmla="*/ 40 w 54"/>
                <a:gd name="T45" fmla="*/ 12 h 96"/>
                <a:gd name="T46" fmla="*/ 40 w 54"/>
                <a:gd name="T47" fmla="*/ 20 h 96"/>
                <a:gd name="T48" fmla="*/ 40 w 54"/>
                <a:gd name="T49" fmla="*/ 24 h 96"/>
                <a:gd name="T50" fmla="*/ 44 w 54"/>
                <a:gd name="T51" fmla="*/ 26 h 96"/>
                <a:gd name="T52" fmla="*/ 46 w 54"/>
                <a:gd name="T53" fmla="*/ 28 h 96"/>
                <a:gd name="T54" fmla="*/ 48 w 54"/>
                <a:gd name="T55" fmla="*/ 30 h 96"/>
                <a:gd name="T56" fmla="*/ 46 w 54"/>
                <a:gd name="T57" fmla="*/ 38 h 96"/>
                <a:gd name="T58" fmla="*/ 46 w 54"/>
                <a:gd name="T59" fmla="*/ 44 h 96"/>
                <a:gd name="T60" fmla="*/ 48 w 54"/>
                <a:gd name="T61" fmla="*/ 60 h 96"/>
                <a:gd name="T62" fmla="*/ 54 w 54"/>
                <a:gd name="T63" fmla="*/ 80 h 96"/>
                <a:gd name="T64" fmla="*/ 50 w 54"/>
                <a:gd name="T65" fmla="*/ 84 h 96"/>
                <a:gd name="T66" fmla="*/ 46 w 54"/>
                <a:gd name="T67" fmla="*/ 88 h 96"/>
                <a:gd name="T68" fmla="*/ 44 w 54"/>
                <a:gd name="T69" fmla="*/ 88 h 96"/>
                <a:gd name="T70" fmla="*/ 40 w 54"/>
                <a:gd name="T71" fmla="*/ 86 h 96"/>
                <a:gd name="T72" fmla="*/ 36 w 54"/>
                <a:gd name="T73" fmla="*/ 86 h 96"/>
                <a:gd name="T74" fmla="*/ 34 w 54"/>
                <a:gd name="T75" fmla="*/ 88 h 96"/>
                <a:gd name="T76" fmla="*/ 30 w 54"/>
                <a:gd name="T77" fmla="*/ 94 h 96"/>
                <a:gd name="T78" fmla="*/ 26 w 54"/>
                <a:gd name="T79" fmla="*/ 96 h 96"/>
                <a:gd name="T80" fmla="*/ 20 w 54"/>
                <a:gd name="T81" fmla="*/ 96 h 96"/>
                <a:gd name="T82" fmla="*/ 14 w 54"/>
                <a:gd name="T8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96">
                  <a:moveTo>
                    <a:pt x="2" y="92"/>
                  </a:moveTo>
                  <a:lnTo>
                    <a:pt x="2" y="92"/>
                  </a:lnTo>
                  <a:lnTo>
                    <a:pt x="0" y="84"/>
                  </a:lnTo>
                  <a:lnTo>
                    <a:pt x="0" y="76"/>
                  </a:lnTo>
                  <a:lnTo>
                    <a:pt x="0" y="72"/>
                  </a:lnTo>
                  <a:lnTo>
                    <a:pt x="0" y="68"/>
                  </a:lnTo>
                  <a:lnTo>
                    <a:pt x="0" y="64"/>
                  </a:lnTo>
                  <a:lnTo>
                    <a:pt x="0" y="60"/>
                  </a:lnTo>
                  <a:lnTo>
                    <a:pt x="0" y="56"/>
                  </a:lnTo>
                  <a:lnTo>
                    <a:pt x="0" y="54"/>
                  </a:lnTo>
                  <a:lnTo>
                    <a:pt x="0" y="50"/>
                  </a:lnTo>
                  <a:lnTo>
                    <a:pt x="0" y="50"/>
                  </a:lnTo>
                  <a:lnTo>
                    <a:pt x="0" y="48"/>
                  </a:lnTo>
                  <a:lnTo>
                    <a:pt x="2" y="48"/>
                  </a:lnTo>
                  <a:lnTo>
                    <a:pt x="2" y="46"/>
                  </a:lnTo>
                  <a:lnTo>
                    <a:pt x="2" y="46"/>
                  </a:lnTo>
                  <a:lnTo>
                    <a:pt x="4" y="46"/>
                  </a:lnTo>
                  <a:lnTo>
                    <a:pt x="6" y="46"/>
                  </a:lnTo>
                  <a:lnTo>
                    <a:pt x="8" y="46"/>
                  </a:lnTo>
                  <a:lnTo>
                    <a:pt x="8" y="46"/>
                  </a:lnTo>
                  <a:lnTo>
                    <a:pt x="10" y="44"/>
                  </a:lnTo>
                  <a:lnTo>
                    <a:pt x="10" y="44"/>
                  </a:lnTo>
                  <a:lnTo>
                    <a:pt x="10" y="42"/>
                  </a:lnTo>
                  <a:lnTo>
                    <a:pt x="12" y="42"/>
                  </a:lnTo>
                  <a:lnTo>
                    <a:pt x="12" y="40"/>
                  </a:lnTo>
                  <a:lnTo>
                    <a:pt x="12" y="38"/>
                  </a:lnTo>
                  <a:lnTo>
                    <a:pt x="12" y="36"/>
                  </a:lnTo>
                  <a:lnTo>
                    <a:pt x="12" y="34"/>
                  </a:lnTo>
                  <a:lnTo>
                    <a:pt x="10" y="34"/>
                  </a:lnTo>
                  <a:lnTo>
                    <a:pt x="10" y="34"/>
                  </a:lnTo>
                  <a:lnTo>
                    <a:pt x="10" y="32"/>
                  </a:lnTo>
                  <a:lnTo>
                    <a:pt x="10" y="32"/>
                  </a:lnTo>
                  <a:lnTo>
                    <a:pt x="8" y="32"/>
                  </a:lnTo>
                  <a:lnTo>
                    <a:pt x="6" y="30"/>
                  </a:lnTo>
                  <a:lnTo>
                    <a:pt x="4" y="30"/>
                  </a:lnTo>
                  <a:lnTo>
                    <a:pt x="2" y="30"/>
                  </a:lnTo>
                  <a:lnTo>
                    <a:pt x="2" y="28"/>
                  </a:lnTo>
                  <a:lnTo>
                    <a:pt x="2" y="28"/>
                  </a:lnTo>
                  <a:lnTo>
                    <a:pt x="2" y="28"/>
                  </a:lnTo>
                  <a:lnTo>
                    <a:pt x="2" y="28"/>
                  </a:lnTo>
                  <a:lnTo>
                    <a:pt x="0" y="26"/>
                  </a:lnTo>
                  <a:lnTo>
                    <a:pt x="0" y="22"/>
                  </a:lnTo>
                  <a:lnTo>
                    <a:pt x="0" y="20"/>
                  </a:lnTo>
                  <a:lnTo>
                    <a:pt x="0" y="16"/>
                  </a:lnTo>
                  <a:lnTo>
                    <a:pt x="0" y="14"/>
                  </a:lnTo>
                  <a:lnTo>
                    <a:pt x="2" y="12"/>
                  </a:lnTo>
                  <a:lnTo>
                    <a:pt x="2" y="8"/>
                  </a:lnTo>
                  <a:lnTo>
                    <a:pt x="4" y="6"/>
                  </a:lnTo>
                  <a:lnTo>
                    <a:pt x="6" y="4"/>
                  </a:lnTo>
                  <a:lnTo>
                    <a:pt x="6" y="2"/>
                  </a:lnTo>
                  <a:lnTo>
                    <a:pt x="8" y="2"/>
                  </a:lnTo>
                  <a:lnTo>
                    <a:pt x="8" y="2"/>
                  </a:lnTo>
                  <a:lnTo>
                    <a:pt x="8" y="0"/>
                  </a:lnTo>
                  <a:lnTo>
                    <a:pt x="10" y="0"/>
                  </a:lnTo>
                  <a:lnTo>
                    <a:pt x="10" y="0"/>
                  </a:lnTo>
                  <a:lnTo>
                    <a:pt x="12" y="0"/>
                  </a:lnTo>
                  <a:lnTo>
                    <a:pt x="14" y="0"/>
                  </a:lnTo>
                  <a:lnTo>
                    <a:pt x="16" y="2"/>
                  </a:lnTo>
                  <a:lnTo>
                    <a:pt x="18" y="2"/>
                  </a:lnTo>
                  <a:lnTo>
                    <a:pt x="20" y="2"/>
                  </a:lnTo>
                  <a:lnTo>
                    <a:pt x="22" y="4"/>
                  </a:lnTo>
                  <a:lnTo>
                    <a:pt x="24" y="6"/>
                  </a:lnTo>
                  <a:lnTo>
                    <a:pt x="26" y="6"/>
                  </a:lnTo>
                  <a:lnTo>
                    <a:pt x="26" y="8"/>
                  </a:lnTo>
                  <a:lnTo>
                    <a:pt x="28" y="8"/>
                  </a:lnTo>
                  <a:lnTo>
                    <a:pt x="30" y="8"/>
                  </a:lnTo>
                  <a:lnTo>
                    <a:pt x="34" y="10"/>
                  </a:lnTo>
                  <a:lnTo>
                    <a:pt x="40" y="10"/>
                  </a:lnTo>
                  <a:lnTo>
                    <a:pt x="40" y="12"/>
                  </a:lnTo>
                  <a:lnTo>
                    <a:pt x="40" y="16"/>
                  </a:lnTo>
                  <a:lnTo>
                    <a:pt x="40" y="18"/>
                  </a:lnTo>
                  <a:lnTo>
                    <a:pt x="40" y="20"/>
                  </a:lnTo>
                  <a:lnTo>
                    <a:pt x="40" y="22"/>
                  </a:lnTo>
                  <a:lnTo>
                    <a:pt x="40" y="24"/>
                  </a:lnTo>
                  <a:lnTo>
                    <a:pt x="40" y="24"/>
                  </a:lnTo>
                  <a:lnTo>
                    <a:pt x="42" y="24"/>
                  </a:lnTo>
                  <a:lnTo>
                    <a:pt x="42" y="24"/>
                  </a:lnTo>
                  <a:lnTo>
                    <a:pt x="44" y="26"/>
                  </a:lnTo>
                  <a:lnTo>
                    <a:pt x="46" y="26"/>
                  </a:lnTo>
                  <a:lnTo>
                    <a:pt x="46" y="28"/>
                  </a:lnTo>
                  <a:lnTo>
                    <a:pt x="46" y="28"/>
                  </a:lnTo>
                  <a:lnTo>
                    <a:pt x="48" y="28"/>
                  </a:lnTo>
                  <a:lnTo>
                    <a:pt x="48" y="28"/>
                  </a:lnTo>
                  <a:lnTo>
                    <a:pt x="48" y="30"/>
                  </a:lnTo>
                  <a:lnTo>
                    <a:pt x="48" y="32"/>
                  </a:lnTo>
                  <a:lnTo>
                    <a:pt x="46" y="34"/>
                  </a:lnTo>
                  <a:lnTo>
                    <a:pt x="46" y="38"/>
                  </a:lnTo>
                  <a:lnTo>
                    <a:pt x="46" y="38"/>
                  </a:lnTo>
                  <a:lnTo>
                    <a:pt x="46" y="40"/>
                  </a:lnTo>
                  <a:lnTo>
                    <a:pt x="46" y="44"/>
                  </a:lnTo>
                  <a:lnTo>
                    <a:pt x="46" y="50"/>
                  </a:lnTo>
                  <a:lnTo>
                    <a:pt x="48" y="56"/>
                  </a:lnTo>
                  <a:lnTo>
                    <a:pt x="48" y="60"/>
                  </a:lnTo>
                  <a:lnTo>
                    <a:pt x="50" y="66"/>
                  </a:lnTo>
                  <a:lnTo>
                    <a:pt x="50" y="72"/>
                  </a:lnTo>
                  <a:lnTo>
                    <a:pt x="54" y="80"/>
                  </a:lnTo>
                  <a:lnTo>
                    <a:pt x="52" y="80"/>
                  </a:lnTo>
                  <a:lnTo>
                    <a:pt x="50" y="82"/>
                  </a:lnTo>
                  <a:lnTo>
                    <a:pt x="50" y="84"/>
                  </a:lnTo>
                  <a:lnTo>
                    <a:pt x="48" y="86"/>
                  </a:lnTo>
                  <a:lnTo>
                    <a:pt x="48" y="86"/>
                  </a:lnTo>
                  <a:lnTo>
                    <a:pt x="46" y="88"/>
                  </a:lnTo>
                  <a:lnTo>
                    <a:pt x="46" y="88"/>
                  </a:lnTo>
                  <a:lnTo>
                    <a:pt x="46" y="88"/>
                  </a:lnTo>
                  <a:lnTo>
                    <a:pt x="44" y="88"/>
                  </a:lnTo>
                  <a:lnTo>
                    <a:pt x="42" y="88"/>
                  </a:lnTo>
                  <a:lnTo>
                    <a:pt x="42" y="88"/>
                  </a:lnTo>
                  <a:lnTo>
                    <a:pt x="40" y="86"/>
                  </a:lnTo>
                  <a:lnTo>
                    <a:pt x="38" y="86"/>
                  </a:lnTo>
                  <a:lnTo>
                    <a:pt x="36" y="86"/>
                  </a:lnTo>
                  <a:lnTo>
                    <a:pt x="36" y="86"/>
                  </a:lnTo>
                  <a:lnTo>
                    <a:pt x="36" y="88"/>
                  </a:lnTo>
                  <a:lnTo>
                    <a:pt x="34" y="88"/>
                  </a:lnTo>
                  <a:lnTo>
                    <a:pt x="34" y="88"/>
                  </a:lnTo>
                  <a:lnTo>
                    <a:pt x="32" y="90"/>
                  </a:lnTo>
                  <a:lnTo>
                    <a:pt x="30" y="94"/>
                  </a:lnTo>
                  <a:lnTo>
                    <a:pt x="30" y="94"/>
                  </a:lnTo>
                  <a:lnTo>
                    <a:pt x="30" y="94"/>
                  </a:lnTo>
                  <a:lnTo>
                    <a:pt x="28" y="96"/>
                  </a:lnTo>
                  <a:lnTo>
                    <a:pt x="26" y="96"/>
                  </a:lnTo>
                  <a:lnTo>
                    <a:pt x="26" y="96"/>
                  </a:lnTo>
                  <a:lnTo>
                    <a:pt x="24" y="96"/>
                  </a:lnTo>
                  <a:lnTo>
                    <a:pt x="20" y="96"/>
                  </a:lnTo>
                  <a:lnTo>
                    <a:pt x="18" y="96"/>
                  </a:lnTo>
                  <a:lnTo>
                    <a:pt x="16" y="96"/>
                  </a:lnTo>
                  <a:lnTo>
                    <a:pt x="14" y="96"/>
                  </a:lnTo>
                  <a:lnTo>
                    <a:pt x="8" y="94"/>
                  </a:lnTo>
                  <a:lnTo>
                    <a:pt x="2" y="9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6" name="Freeform 425">
              <a:extLst>
                <a:ext uri="{FF2B5EF4-FFF2-40B4-BE49-F238E27FC236}">
                  <a16:creationId xmlns:a16="http://schemas.microsoft.com/office/drawing/2014/main" id="{489D0315-FA1B-4D7D-89A0-716E51FA967D}"/>
                </a:ext>
              </a:extLst>
            </p:cNvPr>
            <p:cNvSpPr>
              <a:spLocks/>
            </p:cNvSpPr>
            <p:nvPr/>
          </p:nvSpPr>
          <p:spPr bwMode="auto">
            <a:xfrm>
              <a:off x="4193000" y="4341366"/>
              <a:ext cx="93532" cy="166279"/>
            </a:xfrm>
            <a:custGeom>
              <a:avLst/>
              <a:gdLst>
                <a:gd name="T0" fmla="*/ 0 w 54"/>
                <a:gd name="T1" fmla="*/ 84 h 96"/>
                <a:gd name="T2" fmla="*/ 0 w 54"/>
                <a:gd name="T3" fmla="*/ 68 h 96"/>
                <a:gd name="T4" fmla="*/ 0 w 54"/>
                <a:gd name="T5" fmla="*/ 56 h 96"/>
                <a:gd name="T6" fmla="*/ 0 w 54"/>
                <a:gd name="T7" fmla="*/ 50 h 96"/>
                <a:gd name="T8" fmla="*/ 2 w 54"/>
                <a:gd name="T9" fmla="*/ 46 h 96"/>
                <a:gd name="T10" fmla="*/ 6 w 54"/>
                <a:gd name="T11" fmla="*/ 46 h 96"/>
                <a:gd name="T12" fmla="*/ 10 w 54"/>
                <a:gd name="T13" fmla="*/ 44 h 96"/>
                <a:gd name="T14" fmla="*/ 12 w 54"/>
                <a:gd name="T15" fmla="*/ 42 h 96"/>
                <a:gd name="T16" fmla="*/ 12 w 54"/>
                <a:gd name="T17" fmla="*/ 36 h 96"/>
                <a:gd name="T18" fmla="*/ 10 w 54"/>
                <a:gd name="T19" fmla="*/ 34 h 96"/>
                <a:gd name="T20" fmla="*/ 8 w 54"/>
                <a:gd name="T21" fmla="*/ 32 h 96"/>
                <a:gd name="T22" fmla="*/ 2 w 54"/>
                <a:gd name="T23" fmla="*/ 30 h 96"/>
                <a:gd name="T24" fmla="*/ 2 w 54"/>
                <a:gd name="T25" fmla="*/ 28 h 96"/>
                <a:gd name="T26" fmla="*/ 0 w 54"/>
                <a:gd name="T27" fmla="*/ 22 h 96"/>
                <a:gd name="T28" fmla="*/ 0 w 54"/>
                <a:gd name="T29" fmla="*/ 14 h 96"/>
                <a:gd name="T30" fmla="*/ 4 w 54"/>
                <a:gd name="T31" fmla="*/ 6 h 96"/>
                <a:gd name="T32" fmla="*/ 8 w 54"/>
                <a:gd name="T33" fmla="*/ 2 h 96"/>
                <a:gd name="T34" fmla="*/ 10 w 54"/>
                <a:gd name="T35" fmla="*/ 0 h 96"/>
                <a:gd name="T36" fmla="*/ 14 w 54"/>
                <a:gd name="T37" fmla="*/ 0 h 96"/>
                <a:gd name="T38" fmla="*/ 20 w 54"/>
                <a:gd name="T39" fmla="*/ 2 h 96"/>
                <a:gd name="T40" fmla="*/ 26 w 54"/>
                <a:gd name="T41" fmla="*/ 6 h 96"/>
                <a:gd name="T42" fmla="*/ 30 w 54"/>
                <a:gd name="T43" fmla="*/ 8 h 96"/>
                <a:gd name="T44" fmla="*/ 40 w 54"/>
                <a:gd name="T45" fmla="*/ 12 h 96"/>
                <a:gd name="T46" fmla="*/ 40 w 54"/>
                <a:gd name="T47" fmla="*/ 20 h 96"/>
                <a:gd name="T48" fmla="*/ 40 w 54"/>
                <a:gd name="T49" fmla="*/ 24 h 96"/>
                <a:gd name="T50" fmla="*/ 44 w 54"/>
                <a:gd name="T51" fmla="*/ 26 h 96"/>
                <a:gd name="T52" fmla="*/ 46 w 54"/>
                <a:gd name="T53" fmla="*/ 28 h 96"/>
                <a:gd name="T54" fmla="*/ 48 w 54"/>
                <a:gd name="T55" fmla="*/ 30 h 96"/>
                <a:gd name="T56" fmla="*/ 46 w 54"/>
                <a:gd name="T57" fmla="*/ 38 h 96"/>
                <a:gd name="T58" fmla="*/ 46 w 54"/>
                <a:gd name="T59" fmla="*/ 44 h 96"/>
                <a:gd name="T60" fmla="*/ 48 w 54"/>
                <a:gd name="T61" fmla="*/ 60 h 96"/>
                <a:gd name="T62" fmla="*/ 54 w 54"/>
                <a:gd name="T63" fmla="*/ 80 h 96"/>
                <a:gd name="T64" fmla="*/ 50 w 54"/>
                <a:gd name="T65" fmla="*/ 84 h 96"/>
                <a:gd name="T66" fmla="*/ 46 w 54"/>
                <a:gd name="T67" fmla="*/ 88 h 96"/>
                <a:gd name="T68" fmla="*/ 44 w 54"/>
                <a:gd name="T69" fmla="*/ 88 h 96"/>
                <a:gd name="T70" fmla="*/ 40 w 54"/>
                <a:gd name="T71" fmla="*/ 86 h 96"/>
                <a:gd name="T72" fmla="*/ 36 w 54"/>
                <a:gd name="T73" fmla="*/ 86 h 96"/>
                <a:gd name="T74" fmla="*/ 34 w 54"/>
                <a:gd name="T75" fmla="*/ 88 h 96"/>
                <a:gd name="T76" fmla="*/ 30 w 54"/>
                <a:gd name="T77" fmla="*/ 94 h 96"/>
                <a:gd name="T78" fmla="*/ 26 w 54"/>
                <a:gd name="T79" fmla="*/ 96 h 96"/>
                <a:gd name="T80" fmla="*/ 20 w 54"/>
                <a:gd name="T81" fmla="*/ 96 h 96"/>
                <a:gd name="T82" fmla="*/ 14 w 54"/>
                <a:gd name="T8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96">
                  <a:moveTo>
                    <a:pt x="2" y="92"/>
                  </a:moveTo>
                  <a:lnTo>
                    <a:pt x="2" y="92"/>
                  </a:lnTo>
                  <a:lnTo>
                    <a:pt x="0" y="84"/>
                  </a:lnTo>
                  <a:lnTo>
                    <a:pt x="0" y="76"/>
                  </a:lnTo>
                  <a:lnTo>
                    <a:pt x="0" y="72"/>
                  </a:lnTo>
                  <a:lnTo>
                    <a:pt x="0" y="68"/>
                  </a:lnTo>
                  <a:lnTo>
                    <a:pt x="0" y="64"/>
                  </a:lnTo>
                  <a:lnTo>
                    <a:pt x="0" y="60"/>
                  </a:lnTo>
                  <a:lnTo>
                    <a:pt x="0" y="56"/>
                  </a:lnTo>
                  <a:lnTo>
                    <a:pt x="0" y="54"/>
                  </a:lnTo>
                  <a:lnTo>
                    <a:pt x="0" y="50"/>
                  </a:lnTo>
                  <a:lnTo>
                    <a:pt x="0" y="50"/>
                  </a:lnTo>
                  <a:lnTo>
                    <a:pt x="0" y="48"/>
                  </a:lnTo>
                  <a:lnTo>
                    <a:pt x="2" y="48"/>
                  </a:lnTo>
                  <a:lnTo>
                    <a:pt x="2" y="46"/>
                  </a:lnTo>
                  <a:lnTo>
                    <a:pt x="2" y="46"/>
                  </a:lnTo>
                  <a:lnTo>
                    <a:pt x="4" y="46"/>
                  </a:lnTo>
                  <a:lnTo>
                    <a:pt x="6" y="46"/>
                  </a:lnTo>
                  <a:lnTo>
                    <a:pt x="8" y="46"/>
                  </a:lnTo>
                  <a:lnTo>
                    <a:pt x="8" y="46"/>
                  </a:lnTo>
                  <a:lnTo>
                    <a:pt x="10" y="44"/>
                  </a:lnTo>
                  <a:lnTo>
                    <a:pt x="10" y="44"/>
                  </a:lnTo>
                  <a:lnTo>
                    <a:pt x="10" y="42"/>
                  </a:lnTo>
                  <a:lnTo>
                    <a:pt x="12" y="42"/>
                  </a:lnTo>
                  <a:lnTo>
                    <a:pt x="12" y="40"/>
                  </a:lnTo>
                  <a:lnTo>
                    <a:pt x="12" y="38"/>
                  </a:lnTo>
                  <a:lnTo>
                    <a:pt x="12" y="36"/>
                  </a:lnTo>
                  <a:lnTo>
                    <a:pt x="12" y="34"/>
                  </a:lnTo>
                  <a:lnTo>
                    <a:pt x="10" y="34"/>
                  </a:lnTo>
                  <a:lnTo>
                    <a:pt x="10" y="34"/>
                  </a:lnTo>
                  <a:lnTo>
                    <a:pt x="10" y="32"/>
                  </a:lnTo>
                  <a:lnTo>
                    <a:pt x="10" y="32"/>
                  </a:lnTo>
                  <a:lnTo>
                    <a:pt x="8" y="32"/>
                  </a:lnTo>
                  <a:lnTo>
                    <a:pt x="6" y="30"/>
                  </a:lnTo>
                  <a:lnTo>
                    <a:pt x="4" y="30"/>
                  </a:lnTo>
                  <a:lnTo>
                    <a:pt x="2" y="30"/>
                  </a:lnTo>
                  <a:lnTo>
                    <a:pt x="2" y="28"/>
                  </a:lnTo>
                  <a:lnTo>
                    <a:pt x="2" y="28"/>
                  </a:lnTo>
                  <a:lnTo>
                    <a:pt x="2" y="28"/>
                  </a:lnTo>
                  <a:lnTo>
                    <a:pt x="2" y="28"/>
                  </a:lnTo>
                  <a:lnTo>
                    <a:pt x="0" y="26"/>
                  </a:lnTo>
                  <a:lnTo>
                    <a:pt x="0" y="22"/>
                  </a:lnTo>
                  <a:lnTo>
                    <a:pt x="0" y="20"/>
                  </a:lnTo>
                  <a:lnTo>
                    <a:pt x="0" y="16"/>
                  </a:lnTo>
                  <a:lnTo>
                    <a:pt x="0" y="14"/>
                  </a:lnTo>
                  <a:lnTo>
                    <a:pt x="2" y="12"/>
                  </a:lnTo>
                  <a:lnTo>
                    <a:pt x="2" y="8"/>
                  </a:lnTo>
                  <a:lnTo>
                    <a:pt x="4" y="6"/>
                  </a:lnTo>
                  <a:lnTo>
                    <a:pt x="6" y="4"/>
                  </a:lnTo>
                  <a:lnTo>
                    <a:pt x="6" y="2"/>
                  </a:lnTo>
                  <a:lnTo>
                    <a:pt x="8" y="2"/>
                  </a:lnTo>
                  <a:lnTo>
                    <a:pt x="8" y="2"/>
                  </a:lnTo>
                  <a:lnTo>
                    <a:pt x="8" y="0"/>
                  </a:lnTo>
                  <a:lnTo>
                    <a:pt x="10" y="0"/>
                  </a:lnTo>
                  <a:lnTo>
                    <a:pt x="10" y="0"/>
                  </a:lnTo>
                  <a:lnTo>
                    <a:pt x="12" y="0"/>
                  </a:lnTo>
                  <a:lnTo>
                    <a:pt x="14" y="0"/>
                  </a:lnTo>
                  <a:lnTo>
                    <a:pt x="16" y="2"/>
                  </a:lnTo>
                  <a:lnTo>
                    <a:pt x="18" y="2"/>
                  </a:lnTo>
                  <a:lnTo>
                    <a:pt x="20" y="2"/>
                  </a:lnTo>
                  <a:lnTo>
                    <a:pt x="22" y="4"/>
                  </a:lnTo>
                  <a:lnTo>
                    <a:pt x="24" y="6"/>
                  </a:lnTo>
                  <a:lnTo>
                    <a:pt x="26" y="6"/>
                  </a:lnTo>
                  <a:lnTo>
                    <a:pt x="26" y="8"/>
                  </a:lnTo>
                  <a:lnTo>
                    <a:pt x="28" y="8"/>
                  </a:lnTo>
                  <a:lnTo>
                    <a:pt x="30" y="8"/>
                  </a:lnTo>
                  <a:lnTo>
                    <a:pt x="34" y="10"/>
                  </a:lnTo>
                  <a:lnTo>
                    <a:pt x="40" y="10"/>
                  </a:lnTo>
                  <a:lnTo>
                    <a:pt x="40" y="12"/>
                  </a:lnTo>
                  <a:lnTo>
                    <a:pt x="40" y="16"/>
                  </a:lnTo>
                  <a:lnTo>
                    <a:pt x="40" y="18"/>
                  </a:lnTo>
                  <a:lnTo>
                    <a:pt x="40" y="20"/>
                  </a:lnTo>
                  <a:lnTo>
                    <a:pt x="40" y="22"/>
                  </a:lnTo>
                  <a:lnTo>
                    <a:pt x="40" y="24"/>
                  </a:lnTo>
                  <a:lnTo>
                    <a:pt x="40" y="24"/>
                  </a:lnTo>
                  <a:lnTo>
                    <a:pt x="42" y="24"/>
                  </a:lnTo>
                  <a:lnTo>
                    <a:pt x="42" y="24"/>
                  </a:lnTo>
                  <a:lnTo>
                    <a:pt x="44" y="26"/>
                  </a:lnTo>
                  <a:lnTo>
                    <a:pt x="46" y="26"/>
                  </a:lnTo>
                  <a:lnTo>
                    <a:pt x="46" y="28"/>
                  </a:lnTo>
                  <a:lnTo>
                    <a:pt x="46" y="28"/>
                  </a:lnTo>
                  <a:lnTo>
                    <a:pt x="48" y="28"/>
                  </a:lnTo>
                  <a:lnTo>
                    <a:pt x="48" y="28"/>
                  </a:lnTo>
                  <a:lnTo>
                    <a:pt x="48" y="30"/>
                  </a:lnTo>
                  <a:lnTo>
                    <a:pt x="48" y="32"/>
                  </a:lnTo>
                  <a:lnTo>
                    <a:pt x="46" y="34"/>
                  </a:lnTo>
                  <a:lnTo>
                    <a:pt x="46" y="38"/>
                  </a:lnTo>
                  <a:lnTo>
                    <a:pt x="46" y="38"/>
                  </a:lnTo>
                  <a:lnTo>
                    <a:pt x="46" y="40"/>
                  </a:lnTo>
                  <a:lnTo>
                    <a:pt x="46" y="44"/>
                  </a:lnTo>
                  <a:lnTo>
                    <a:pt x="46" y="50"/>
                  </a:lnTo>
                  <a:lnTo>
                    <a:pt x="48" y="56"/>
                  </a:lnTo>
                  <a:lnTo>
                    <a:pt x="48" y="60"/>
                  </a:lnTo>
                  <a:lnTo>
                    <a:pt x="50" y="66"/>
                  </a:lnTo>
                  <a:lnTo>
                    <a:pt x="50" y="72"/>
                  </a:lnTo>
                  <a:lnTo>
                    <a:pt x="54" y="80"/>
                  </a:lnTo>
                  <a:lnTo>
                    <a:pt x="52" y="80"/>
                  </a:lnTo>
                  <a:lnTo>
                    <a:pt x="50" y="82"/>
                  </a:lnTo>
                  <a:lnTo>
                    <a:pt x="50" y="84"/>
                  </a:lnTo>
                  <a:lnTo>
                    <a:pt x="48" y="86"/>
                  </a:lnTo>
                  <a:lnTo>
                    <a:pt x="48" y="86"/>
                  </a:lnTo>
                  <a:lnTo>
                    <a:pt x="46" y="88"/>
                  </a:lnTo>
                  <a:lnTo>
                    <a:pt x="46" y="88"/>
                  </a:lnTo>
                  <a:lnTo>
                    <a:pt x="46" y="88"/>
                  </a:lnTo>
                  <a:lnTo>
                    <a:pt x="44" y="88"/>
                  </a:lnTo>
                  <a:lnTo>
                    <a:pt x="42" y="88"/>
                  </a:lnTo>
                  <a:lnTo>
                    <a:pt x="42" y="88"/>
                  </a:lnTo>
                  <a:lnTo>
                    <a:pt x="40" y="86"/>
                  </a:lnTo>
                  <a:lnTo>
                    <a:pt x="38" y="86"/>
                  </a:lnTo>
                  <a:lnTo>
                    <a:pt x="36" y="86"/>
                  </a:lnTo>
                  <a:lnTo>
                    <a:pt x="36" y="86"/>
                  </a:lnTo>
                  <a:lnTo>
                    <a:pt x="36" y="88"/>
                  </a:lnTo>
                  <a:lnTo>
                    <a:pt x="34" y="88"/>
                  </a:lnTo>
                  <a:lnTo>
                    <a:pt x="34" y="88"/>
                  </a:lnTo>
                  <a:lnTo>
                    <a:pt x="32" y="90"/>
                  </a:lnTo>
                  <a:lnTo>
                    <a:pt x="30" y="94"/>
                  </a:lnTo>
                  <a:lnTo>
                    <a:pt x="30" y="94"/>
                  </a:lnTo>
                  <a:lnTo>
                    <a:pt x="30" y="94"/>
                  </a:lnTo>
                  <a:lnTo>
                    <a:pt x="28" y="96"/>
                  </a:lnTo>
                  <a:lnTo>
                    <a:pt x="26" y="96"/>
                  </a:lnTo>
                  <a:lnTo>
                    <a:pt x="26" y="96"/>
                  </a:lnTo>
                  <a:lnTo>
                    <a:pt x="24" y="96"/>
                  </a:lnTo>
                  <a:lnTo>
                    <a:pt x="20" y="96"/>
                  </a:lnTo>
                  <a:lnTo>
                    <a:pt x="18" y="96"/>
                  </a:lnTo>
                  <a:lnTo>
                    <a:pt x="16" y="96"/>
                  </a:lnTo>
                  <a:lnTo>
                    <a:pt x="14" y="96"/>
                  </a:lnTo>
                  <a:lnTo>
                    <a:pt x="8" y="94"/>
                  </a:lnTo>
                  <a:lnTo>
                    <a:pt x="2" y="9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7" name="Freeform 426">
              <a:extLst>
                <a:ext uri="{FF2B5EF4-FFF2-40B4-BE49-F238E27FC236}">
                  <a16:creationId xmlns:a16="http://schemas.microsoft.com/office/drawing/2014/main" id="{B3341C94-FC06-403B-AD93-1F897D7AC151}"/>
                </a:ext>
              </a:extLst>
            </p:cNvPr>
            <p:cNvSpPr>
              <a:spLocks/>
            </p:cNvSpPr>
            <p:nvPr/>
          </p:nvSpPr>
          <p:spPr bwMode="auto">
            <a:xfrm>
              <a:off x="5000147" y="4718958"/>
              <a:ext cx="45034" cy="45034"/>
            </a:xfrm>
            <a:custGeom>
              <a:avLst/>
              <a:gdLst>
                <a:gd name="T0" fmla="*/ 14 w 26"/>
                <a:gd name="T1" fmla="*/ 24 h 26"/>
                <a:gd name="T2" fmla="*/ 14 w 26"/>
                <a:gd name="T3" fmla="*/ 24 h 26"/>
                <a:gd name="T4" fmla="*/ 14 w 26"/>
                <a:gd name="T5" fmla="*/ 24 h 26"/>
                <a:gd name="T6" fmla="*/ 16 w 26"/>
                <a:gd name="T7" fmla="*/ 24 h 26"/>
                <a:gd name="T8" fmla="*/ 20 w 26"/>
                <a:gd name="T9" fmla="*/ 24 h 26"/>
                <a:gd name="T10" fmla="*/ 22 w 26"/>
                <a:gd name="T11" fmla="*/ 24 h 26"/>
                <a:gd name="T12" fmla="*/ 24 w 26"/>
                <a:gd name="T13" fmla="*/ 24 h 26"/>
                <a:gd name="T14" fmla="*/ 24 w 26"/>
                <a:gd name="T15" fmla="*/ 24 h 26"/>
                <a:gd name="T16" fmla="*/ 26 w 26"/>
                <a:gd name="T17" fmla="*/ 22 h 26"/>
                <a:gd name="T18" fmla="*/ 26 w 26"/>
                <a:gd name="T19" fmla="*/ 22 h 26"/>
                <a:gd name="T20" fmla="*/ 26 w 26"/>
                <a:gd name="T21" fmla="*/ 22 h 26"/>
                <a:gd name="T22" fmla="*/ 26 w 26"/>
                <a:gd name="T23" fmla="*/ 20 h 26"/>
                <a:gd name="T24" fmla="*/ 26 w 26"/>
                <a:gd name="T25" fmla="*/ 20 h 26"/>
                <a:gd name="T26" fmla="*/ 26 w 26"/>
                <a:gd name="T27" fmla="*/ 20 h 26"/>
                <a:gd name="T28" fmla="*/ 26 w 26"/>
                <a:gd name="T29" fmla="*/ 16 h 26"/>
                <a:gd name="T30" fmla="*/ 26 w 26"/>
                <a:gd name="T31" fmla="*/ 14 h 26"/>
                <a:gd name="T32" fmla="*/ 26 w 26"/>
                <a:gd name="T33" fmla="*/ 12 h 26"/>
                <a:gd name="T34" fmla="*/ 24 w 26"/>
                <a:gd name="T35" fmla="*/ 10 h 26"/>
                <a:gd name="T36" fmla="*/ 24 w 26"/>
                <a:gd name="T37" fmla="*/ 6 h 26"/>
                <a:gd name="T38" fmla="*/ 22 w 26"/>
                <a:gd name="T39" fmla="*/ 4 h 26"/>
                <a:gd name="T40" fmla="*/ 22 w 26"/>
                <a:gd name="T41" fmla="*/ 2 h 26"/>
                <a:gd name="T42" fmla="*/ 20 w 26"/>
                <a:gd name="T43" fmla="*/ 0 h 26"/>
                <a:gd name="T44" fmla="*/ 20 w 26"/>
                <a:gd name="T45" fmla="*/ 0 h 26"/>
                <a:gd name="T46" fmla="*/ 18 w 26"/>
                <a:gd name="T47" fmla="*/ 2 h 26"/>
                <a:gd name="T48" fmla="*/ 16 w 26"/>
                <a:gd name="T49" fmla="*/ 4 h 26"/>
                <a:gd name="T50" fmla="*/ 16 w 26"/>
                <a:gd name="T51" fmla="*/ 4 h 26"/>
                <a:gd name="T52" fmla="*/ 14 w 26"/>
                <a:gd name="T53" fmla="*/ 6 h 26"/>
                <a:gd name="T54" fmla="*/ 14 w 26"/>
                <a:gd name="T55" fmla="*/ 6 h 26"/>
                <a:gd name="T56" fmla="*/ 12 w 26"/>
                <a:gd name="T57" fmla="*/ 6 h 26"/>
                <a:gd name="T58" fmla="*/ 10 w 26"/>
                <a:gd name="T59" fmla="*/ 6 h 26"/>
                <a:gd name="T60" fmla="*/ 8 w 26"/>
                <a:gd name="T61" fmla="*/ 6 h 26"/>
                <a:gd name="T62" fmla="*/ 4 w 26"/>
                <a:gd name="T63" fmla="*/ 6 h 26"/>
                <a:gd name="T64" fmla="*/ 2 w 26"/>
                <a:gd name="T65" fmla="*/ 6 h 26"/>
                <a:gd name="T66" fmla="*/ 2 w 26"/>
                <a:gd name="T67" fmla="*/ 8 h 26"/>
                <a:gd name="T68" fmla="*/ 0 w 26"/>
                <a:gd name="T69" fmla="*/ 12 h 26"/>
                <a:gd name="T70" fmla="*/ 0 w 26"/>
                <a:gd name="T71" fmla="*/ 14 h 26"/>
                <a:gd name="T72" fmla="*/ 0 w 26"/>
                <a:gd name="T73" fmla="*/ 18 h 26"/>
                <a:gd name="T74" fmla="*/ 0 w 26"/>
                <a:gd name="T75" fmla="*/ 20 h 26"/>
                <a:gd name="T76" fmla="*/ 0 w 26"/>
                <a:gd name="T77" fmla="*/ 20 h 26"/>
                <a:gd name="T78" fmla="*/ 0 w 26"/>
                <a:gd name="T79" fmla="*/ 22 h 26"/>
                <a:gd name="T80" fmla="*/ 0 w 26"/>
                <a:gd name="T81" fmla="*/ 22 h 26"/>
                <a:gd name="T82" fmla="*/ 0 w 26"/>
                <a:gd name="T83" fmla="*/ 22 h 26"/>
                <a:gd name="T84" fmla="*/ 2 w 26"/>
                <a:gd name="T85" fmla="*/ 24 h 26"/>
                <a:gd name="T86" fmla="*/ 4 w 26"/>
                <a:gd name="T87" fmla="*/ 26 h 26"/>
                <a:gd name="T88" fmla="*/ 6 w 26"/>
                <a:gd name="T89" fmla="*/ 26 h 26"/>
                <a:gd name="T90" fmla="*/ 8 w 26"/>
                <a:gd name="T91" fmla="*/ 26 h 26"/>
                <a:gd name="T92" fmla="*/ 12 w 26"/>
                <a:gd name="T93" fmla="*/ 24 h 26"/>
                <a:gd name="T94" fmla="*/ 14 w 26"/>
                <a:gd name="T9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 h="26">
                  <a:moveTo>
                    <a:pt x="14" y="24"/>
                  </a:moveTo>
                  <a:lnTo>
                    <a:pt x="14" y="24"/>
                  </a:lnTo>
                  <a:lnTo>
                    <a:pt x="14" y="24"/>
                  </a:lnTo>
                  <a:lnTo>
                    <a:pt x="16" y="24"/>
                  </a:lnTo>
                  <a:lnTo>
                    <a:pt x="20" y="24"/>
                  </a:lnTo>
                  <a:lnTo>
                    <a:pt x="22" y="24"/>
                  </a:lnTo>
                  <a:lnTo>
                    <a:pt x="24" y="24"/>
                  </a:lnTo>
                  <a:lnTo>
                    <a:pt x="24" y="24"/>
                  </a:lnTo>
                  <a:lnTo>
                    <a:pt x="26" y="22"/>
                  </a:lnTo>
                  <a:lnTo>
                    <a:pt x="26" y="22"/>
                  </a:lnTo>
                  <a:lnTo>
                    <a:pt x="26" y="22"/>
                  </a:lnTo>
                  <a:lnTo>
                    <a:pt x="26" y="20"/>
                  </a:lnTo>
                  <a:lnTo>
                    <a:pt x="26" y="20"/>
                  </a:lnTo>
                  <a:lnTo>
                    <a:pt x="26" y="20"/>
                  </a:lnTo>
                  <a:lnTo>
                    <a:pt x="26" y="16"/>
                  </a:lnTo>
                  <a:lnTo>
                    <a:pt x="26" y="14"/>
                  </a:lnTo>
                  <a:lnTo>
                    <a:pt x="26" y="12"/>
                  </a:lnTo>
                  <a:lnTo>
                    <a:pt x="24" y="10"/>
                  </a:lnTo>
                  <a:lnTo>
                    <a:pt x="24" y="6"/>
                  </a:lnTo>
                  <a:lnTo>
                    <a:pt x="22" y="4"/>
                  </a:lnTo>
                  <a:lnTo>
                    <a:pt x="22" y="2"/>
                  </a:lnTo>
                  <a:lnTo>
                    <a:pt x="20" y="0"/>
                  </a:lnTo>
                  <a:lnTo>
                    <a:pt x="20" y="0"/>
                  </a:lnTo>
                  <a:lnTo>
                    <a:pt x="18" y="2"/>
                  </a:lnTo>
                  <a:lnTo>
                    <a:pt x="16" y="4"/>
                  </a:lnTo>
                  <a:lnTo>
                    <a:pt x="16" y="4"/>
                  </a:lnTo>
                  <a:lnTo>
                    <a:pt x="14" y="6"/>
                  </a:lnTo>
                  <a:lnTo>
                    <a:pt x="14" y="6"/>
                  </a:lnTo>
                  <a:lnTo>
                    <a:pt x="12" y="6"/>
                  </a:lnTo>
                  <a:lnTo>
                    <a:pt x="10" y="6"/>
                  </a:lnTo>
                  <a:lnTo>
                    <a:pt x="8" y="6"/>
                  </a:lnTo>
                  <a:lnTo>
                    <a:pt x="4" y="6"/>
                  </a:lnTo>
                  <a:lnTo>
                    <a:pt x="2" y="6"/>
                  </a:lnTo>
                  <a:lnTo>
                    <a:pt x="2" y="8"/>
                  </a:lnTo>
                  <a:lnTo>
                    <a:pt x="0" y="12"/>
                  </a:lnTo>
                  <a:lnTo>
                    <a:pt x="0" y="14"/>
                  </a:lnTo>
                  <a:lnTo>
                    <a:pt x="0" y="18"/>
                  </a:lnTo>
                  <a:lnTo>
                    <a:pt x="0" y="20"/>
                  </a:lnTo>
                  <a:lnTo>
                    <a:pt x="0" y="20"/>
                  </a:lnTo>
                  <a:lnTo>
                    <a:pt x="0" y="22"/>
                  </a:lnTo>
                  <a:lnTo>
                    <a:pt x="0" y="22"/>
                  </a:lnTo>
                  <a:lnTo>
                    <a:pt x="0" y="22"/>
                  </a:lnTo>
                  <a:lnTo>
                    <a:pt x="2" y="24"/>
                  </a:lnTo>
                  <a:lnTo>
                    <a:pt x="4" y="26"/>
                  </a:lnTo>
                  <a:lnTo>
                    <a:pt x="6" y="26"/>
                  </a:lnTo>
                  <a:lnTo>
                    <a:pt x="8" y="26"/>
                  </a:lnTo>
                  <a:lnTo>
                    <a:pt x="12" y="24"/>
                  </a:lnTo>
                  <a:lnTo>
                    <a:pt x="14" y="2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8" name="Freeform 427">
              <a:extLst>
                <a:ext uri="{FF2B5EF4-FFF2-40B4-BE49-F238E27FC236}">
                  <a16:creationId xmlns:a16="http://schemas.microsoft.com/office/drawing/2014/main" id="{4C16F5A8-F02A-46FA-99C1-E9F13B957AE2}"/>
                </a:ext>
              </a:extLst>
            </p:cNvPr>
            <p:cNvSpPr>
              <a:spLocks/>
            </p:cNvSpPr>
            <p:nvPr/>
          </p:nvSpPr>
          <p:spPr bwMode="auto">
            <a:xfrm>
              <a:off x="5000147" y="4718958"/>
              <a:ext cx="45034" cy="45034"/>
            </a:xfrm>
            <a:custGeom>
              <a:avLst/>
              <a:gdLst>
                <a:gd name="T0" fmla="*/ 14 w 26"/>
                <a:gd name="T1" fmla="*/ 24 h 26"/>
                <a:gd name="T2" fmla="*/ 14 w 26"/>
                <a:gd name="T3" fmla="*/ 24 h 26"/>
                <a:gd name="T4" fmla="*/ 14 w 26"/>
                <a:gd name="T5" fmla="*/ 24 h 26"/>
                <a:gd name="T6" fmla="*/ 16 w 26"/>
                <a:gd name="T7" fmla="*/ 24 h 26"/>
                <a:gd name="T8" fmla="*/ 20 w 26"/>
                <a:gd name="T9" fmla="*/ 24 h 26"/>
                <a:gd name="T10" fmla="*/ 22 w 26"/>
                <a:gd name="T11" fmla="*/ 24 h 26"/>
                <a:gd name="T12" fmla="*/ 24 w 26"/>
                <a:gd name="T13" fmla="*/ 24 h 26"/>
                <a:gd name="T14" fmla="*/ 24 w 26"/>
                <a:gd name="T15" fmla="*/ 24 h 26"/>
                <a:gd name="T16" fmla="*/ 26 w 26"/>
                <a:gd name="T17" fmla="*/ 22 h 26"/>
                <a:gd name="T18" fmla="*/ 26 w 26"/>
                <a:gd name="T19" fmla="*/ 22 h 26"/>
                <a:gd name="T20" fmla="*/ 26 w 26"/>
                <a:gd name="T21" fmla="*/ 22 h 26"/>
                <a:gd name="T22" fmla="*/ 26 w 26"/>
                <a:gd name="T23" fmla="*/ 20 h 26"/>
                <a:gd name="T24" fmla="*/ 26 w 26"/>
                <a:gd name="T25" fmla="*/ 20 h 26"/>
                <a:gd name="T26" fmla="*/ 26 w 26"/>
                <a:gd name="T27" fmla="*/ 20 h 26"/>
                <a:gd name="T28" fmla="*/ 26 w 26"/>
                <a:gd name="T29" fmla="*/ 16 h 26"/>
                <a:gd name="T30" fmla="*/ 26 w 26"/>
                <a:gd name="T31" fmla="*/ 14 h 26"/>
                <a:gd name="T32" fmla="*/ 26 w 26"/>
                <a:gd name="T33" fmla="*/ 12 h 26"/>
                <a:gd name="T34" fmla="*/ 24 w 26"/>
                <a:gd name="T35" fmla="*/ 10 h 26"/>
                <a:gd name="T36" fmla="*/ 24 w 26"/>
                <a:gd name="T37" fmla="*/ 6 h 26"/>
                <a:gd name="T38" fmla="*/ 22 w 26"/>
                <a:gd name="T39" fmla="*/ 4 h 26"/>
                <a:gd name="T40" fmla="*/ 22 w 26"/>
                <a:gd name="T41" fmla="*/ 2 h 26"/>
                <a:gd name="T42" fmla="*/ 20 w 26"/>
                <a:gd name="T43" fmla="*/ 0 h 26"/>
                <a:gd name="T44" fmla="*/ 20 w 26"/>
                <a:gd name="T45" fmla="*/ 0 h 26"/>
                <a:gd name="T46" fmla="*/ 18 w 26"/>
                <a:gd name="T47" fmla="*/ 2 h 26"/>
                <a:gd name="T48" fmla="*/ 16 w 26"/>
                <a:gd name="T49" fmla="*/ 4 h 26"/>
                <a:gd name="T50" fmla="*/ 16 w 26"/>
                <a:gd name="T51" fmla="*/ 4 h 26"/>
                <a:gd name="T52" fmla="*/ 14 w 26"/>
                <a:gd name="T53" fmla="*/ 6 h 26"/>
                <a:gd name="T54" fmla="*/ 14 w 26"/>
                <a:gd name="T55" fmla="*/ 6 h 26"/>
                <a:gd name="T56" fmla="*/ 12 w 26"/>
                <a:gd name="T57" fmla="*/ 6 h 26"/>
                <a:gd name="T58" fmla="*/ 10 w 26"/>
                <a:gd name="T59" fmla="*/ 6 h 26"/>
                <a:gd name="T60" fmla="*/ 8 w 26"/>
                <a:gd name="T61" fmla="*/ 6 h 26"/>
                <a:gd name="T62" fmla="*/ 4 w 26"/>
                <a:gd name="T63" fmla="*/ 6 h 26"/>
                <a:gd name="T64" fmla="*/ 2 w 26"/>
                <a:gd name="T65" fmla="*/ 6 h 26"/>
                <a:gd name="T66" fmla="*/ 2 w 26"/>
                <a:gd name="T67" fmla="*/ 8 h 26"/>
                <a:gd name="T68" fmla="*/ 0 w 26"/>
                <a:gd name="T69" fmla="*/ 12 h 26"/>
                <a:gd name="T70" fmla="*/ 0 w 26"/>
                <a:gd name="T71" fmla="*/ 14 h 26"/>
                <a:gd name="T72" fmla="*/ 0 w 26"/>
                <a:gd name="T73" fmla="*/ 18 h 26"/>
                <a:gd name="T74" fmla="*/ 0 w 26"/>
                <a:gd name="T75" fmla="*/ 20 h 26"/>
                <a:gd name="T76" fmla="*/ 0 w 26"/>
                <a:gd name="T77" fmla="*/ 20 h 26"/>
                <a:gd name="T78" fmla="*/ 0 w 26"/>
                <a:gd name="T79" fmla="*/ 22 h 26"/>
                <a:gd name="T80" fmla="*/ 0 w 26"/>
                <a:gd name="T81" fmla="*/ 22 h 26"/>
                <a:gd name="T82" fmla="*/ 0 w 26"/>
                <a:gd name="T83" fmla="*/ 22 h 26"/>
                <a:gd name="T84" fmla="*/ 2 w 26"/>
                <a:gd name="T85" fmla="*/ 24 h 26"/>
                <a:gd name="T86" fmla="*/ 4 w 26"/>
                <a:gd name="T87" fmla="*/ 26 h 26"/>
                <a:gd name="T88" fmla="*/ 6 w 26"/>
                <a:gd name="T89" fmla="*/ 26 h 26"/>
                <a:gd name="T90" fmla="*/ 8 w 26"/>
                <a:gd name="T91" fmla="*/ 26 h 26"/>
                <a:gd name="T92" fmla="*/ 12 w 26"/>
                <a:gd name="T93" fmla="*/ 24 h 26"/>
                <a:gd name="T94" fmla="*/ 14 w 26"/>
                <a:gd name="T9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 h="26">
                  <a:moveTo>
                    <a:pt x="14" y="24"/>
                  </a:moveTo>
                  <a:lnTo>
                    <a:pt x="14" y="24"/>
                  </a:lnTo>
                  <a:lnTo>
                    <a:pt x="14" y="24"/>
                  </a:lnTo>
                  <a:lnTo>
                    <a:pt x="16" y="24"/>
                  </a:lnTo>
                  <a:lnTo>
                    <a:pt x="20" y="24"/>
                  </a:lnTo>
                  <a:lnTo>
                    <a:pt x="22" y="24"/>
                  </a:lnTo>
                  <a:lnTo>
                    <a:pt x="24" y="24"/>
                  </a:lnTo>
                  <a:lnTo>
                    <a:pt x="24" y="24"/>
                  </a:lnTo>
                  <a:lnTo>
                    <a:pt x="26" y="22"/>
                  </a:lnTo>
                  <a:lnTo>
                    <a:pt x="26" y="22"/>
                  </a:lnTo>
                  <a:lnTo>
                    <a:pt x="26" y="22"/>
                  </a:lnTo>
                  <a:lnTo>
                    <a:pt x="26" y="20"/>
                  </a:lnTo>
                  <a:lnTo>
                    <a:pt x="26" y="20"/>
                  </a:lnTo>
                  <a:lnTo>
                    <a:pt x="26" y="20"/>
                  </a:lnTo>
                  <a:lnTo>
                    <a:pt x="26" y="16"/>
                  </a:lnTo>
                  <a:lnTo>
                    <a:pt x="26" y="14"/>
                  </a:lnTo>
                  <a:lnTo>
                    <a:pt x="26" y="12"/>
                  </a:lnTo>
                  <a:lnTo>
                    <a:pt x="24" y="10"/>
                  </a:lnTo>
                  <a:lnTo>
                    <a:pt x="24" y="6"/>
                  </a:lnTo>
                  <a:lnTo>
                    <a:pt x="22" y="4"/>
                  </a:lnTo>
                  <a:lnTo>
                    <a:pt x="22" y="2"/>
                  </a:lnTo>
                  <a:lnTo>
                    <a:pt x="20" y="0"/>
                  </a:lnTo>
                  <a:lnTo>
                    <a:pt x="20" y="0"/>
                  </a:lnTo>
                  <a:lnTo>
                    <a:pt x="18" y="2"/>
                  </a:lnTo>
                  <a:lnTo>
                    <a:pt x="16" y="4"/>
                  </a:lnTo>
                  <a:lnTo>
                    <a:pt x="16" y="4"/>
                  </a:lnTo>
                  <a:lnTo>
                    <a:pt x="14" y="6"/>
                  </a:lnTo>
                  <a:lnTo>
                    <a:pt x="14" y="6"/>
                  </a:lnTo>
                  <a:lnTo>
                    <a:pt x="12" y="6"/>
                  </a:lnTo>
                  <a:lnTo>
                    <a:pt x="10" y="6"/>
                  </a:lnTo>
                  <a:lnTo>
                    <a:pt x="8" y="6"/>
                  </a:lnTo>
                  <a:lnTo>
                    <a:pt x="4" y="6"/>
                  </a:lnTo>
                  <a:lnTo>
                    <a:pt x="2" y="6"/>
                  </a:lnTo>
                  <a:lnTo>
                    <a:pt x="2" y="8"/>
                  </a:lnTo>
                  <a:lnTo>
                    <a:pt x="0" y="12"/>
                  </a:lnTo>
                  <a:lnTo>
                    <a:pt x="0" y="14"/>
                  </a:lnTo>
                  <a:lnTo>
                    <a:pt x="0" y="18"/>
                  </a:lnTo>
                  <a:lnTo>
                    <a:pt x="0" y="20"/>
                  </a:lnTo>
                  <a:lnTo>
                    <a:pt x="0" y="20"/>
                  </a:lnTo>
                  <a:lnTo>
                    <a:pt x="0" y="22"/>
                  </a:lnTo>
                  <a:lnTo>
                    <a:pt x="0" y="22"/>
                  </a:lnTo>
                  <a:lnTo>
                    <a:pt x="0" y="22"/>
                  </a:lnTo>
                  <a:lnTo>
                    <a:pt x="2" y="24"/>
                  </a:lnTo>
                  <a:lnTo>
                    <a:pt x="4" y="26"/>
                  </a:lnTo>
                  <a:lnTo>
                    <a:pt x="6" y="26"/>
                  </a:lnTo>
                  <a:lnTo>
                    <a:pt x="8" y="26"/>
                  </a:lnTo>
                  <a:lnTo>
                    <a:pt x="12" y="24"/>
                  </a:lnTo>
                  <a:lnTo>
                    <a:pt x="14" y="2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9" name="Freeform 428">
              <a:extLst>
                <a:ext uri="{FF2B5EF4-FFF2-40B4-BE49-F238E27FC236}">
                  <a16:creationId xmlns:a16="http://schemas.microsoft.com/office/drawing/2014/main" id="{52959189-2001-4502-9355-5A7C74049D85}"/>
                </a:ext>
              </a:extLst>
            </p:cNvPr>
            <p:cNvSpPr>
              <a:spLocks/>
            </p:cNvSpPr>
            <p:nvPr/>
          </p:nvSpPr>
          <p:spPr bwMode="auto">
            <a:xfrm>
              <a:off x="4671053" y="5290543"/>
              <a:ext cx="412234" cy="387985"/>
            </a:xfrm>
            <a:custGeom>
              <a:avLst/>
              <a:gdLst>
                <a:gd name="T0" fmla="*/ 204 w 238"/>
                <a:gd name="T1" fmla="*/ 10 h 224"/>
                <a:gd name="T2" fmla="*/ 200 w 238"/>
                <a:gd name="T3" fmla="*/ 6 h 224"/>
                <a:gd name="T4" fmla="*/ 186 w 238"/>
                <a:gd name="T5" fmla="*/ 8 h 224"/>
                <a:gd name="T6" fmla="*/ 176 w 238"/>
                <a:gd name="T7" fmla="*/ 16 h 224"/>
                <a:gd name="T8" fmla="*/ 166 w 238"/>
                <a:gd name="T9" fmla="*/ 26 h 224"/>
                <a:gd name="T10" fmla="*/ 156 w 238"/>
                <a:gd name="T11" fmla="*/ 32 h 224"/>
                <a:gd name="T12" fmla="*/ 154 w 238"/>
                <a:gd name="T13" fmla="*/ 44 h 224"/>
                <a:gd name="T14" fmla="*/ 146 w 238"/>
                <a:gd name="T15" fmla="*/ 46 h 224"/>
                <a:gd name="T16" fmla="*/ 140 w 238"/>
                <a:gd name="T17" fmla="*/ 54 h 224"/>
                <a:gd name="T18" fmla="*/ 130 w 238"/>
                <a:gd name="T19" fmla="*/ 64 h 224"/>
                <a:gd name="T20" fmla="*/ 118 w 238"/>
                <a:gd name="T21" fmla="*/ 66 h 224"/>
                <a:gd name="T22" fmla="*/ 108 w 238"/>
                <a:gd name="T23" fmla="*/ 60 h 224"/>
                <a:gd name="T24" fmla="*/ 98 w 238"/>
                <a:gd name="T25" fmla="*/ 60 h 224"/>
                <a:gd name="T26" fmla="*/ 92 w 238"/>
                <a:gd name="T27" fmla="*/ 70 h 224"/>
                <a:gd name="T28" fmla="*/ 86 w 238"/>
                <a:gd name="T29" fmla="*/ 80 h 224"/>
                <a:gd name="T30" fmla="*/ 72 w 238"/>
                <a:gd name="T31" fmla="*/ 82 h 224"/>
                <a:gd name="T32" fmla="*/ 60 w 238"/>
                <a:gd name="T33" fmla="*/ 76 h 224"/>
                <a:gd name="T34" fmla="*/ 58 w 238"/>
                <a:gd name="T35" fmla="*/ 62 h 224"/>
                <a:gd name="T36" fmla="*/ 52 w 238"/>
                <a:gd name="T37" fmla="*/ 88 h 224"/>
                <a:gd name="T38" fmla="*/ 50 w 238"/>
                <a:gd name="T39" fmla="*/ 112 h 224"/>
                <a:gd name="T40" fmla="*/ 42 w 238"/>
                <a:gd name="T41" fmla="*/ 120 h 224"/>
                <a:gd name="T42" fmla="*/ 26 w 238"/>
                <a:gd name="T43" fmla="*/ 122 h 224"/>
                <a:gd name="T44" fmla="*/ 18 w 238"/>
                <a:gd name="T45" fmla="*/ 114 h 224"/>
                <a:gd name="T46" fmla="*/ 14 w 238"/>
                <a:gd name="T47" fmla="*/ 108 h 224"/>
                <a:gd name="T48" fmla="*/ 10 w 238"/>
                <a:gd name="T49" fmla="*/ 112 h 224"/>
                <a:gd name="T50" fmla="*/ 2 w 238"/>
                <a:gd name="T51" fmla="*/ 118 h 224"/>
                <a:gd name="T52" fmla="*/ 2 w 238"/>
                <a:gd name="T53" fmla="*/ 134 h 224"/>
                <a:gd name="T54" fmla="*/ 6 w 238"/>
                <a:gd name="T55" fmla="*/ 138 h 224"/>
                <a:gd name="T56" fmla="*/ 14 w 238"/>
                <a:gd name="T57" fmla="*/ 140 h 224"/>
                <a:gd name="T58" fmla="*/ 14 w 238"/>
                <a:gd name="T59" fmla="*/ 156 h 224"/>
                <a:gd name="T60" fmla="*/ 18 w 238"/>
                <a:gd name="T61" fmla="*/ 160 h 224"/>
                <a:gd name="T62" fmla="*/ 20 w 238"/>
                <a:gd name="T63" fmla="*/ 166 h 224"/>
                <a:gd name="T64" fmla="*/ 26 w 238"/>
                <a:gd name="T65" fmla="*/ 168 h 224"/>
                <a:gd name="T66" fmla="*/ 28 w 238"/>
                <a:gd name="T67" fmla="*/ 172 h 224"/>
                <a:gd name="T68" fmla="*/ 24 w 238"/>
                <a:gd name="T69" fmla="*/ 182 h 224"/>
                <a:gd name="T70" fmla="*/ 18 w 238"/>
                <a:gd name="T71" fmla="*/ 186 h 224"/>
                <a:gd name="T72" fmla="*/ 22 w 238"/>
                <a:gd name="T73" fmla="*/ 198 h 224"/>
                <a:gd name="T74" fmla="*/ 36 w 238"/>
                <a:gd name="T75" fmla="*/ 214 h 224"/>
                <a:gd name="T76" fmla="*/ 50 w 238"/>
                <a:gd name="T77" fmla="*/ 222 h 224"/>
                <a:gd name="T78" fmla="*/ 64 w 238"/>
                <a:gd name="T79" fmla="*/ 222 h 224"/>
                <a:gd name="T80" fmla="*/ 76 w 238"/>
                <a:gd name="T81" fmla="*/ 210 h 224"/>
                <a:gd name="T82" fmla="*/ 82 w 238"/>
                <a:gd name="T83" fmla="*/ 204 h 224"/>
                <a:gd name="T84" fmla="*/ 100 w 238"/>
                <a:gd name="T85" fmla="*/ 204 h 224"/>
                <a:gd name="T86" fmla="*/ 110 w 238"/>
                <a:gd name="T87" fmla="*/ 208 h 224"/>
                <a:gd name="T88" fmla="*/ 116 w 238"/>
                <a:gd name="T89" fmla="*/ 212 h 224"/>
                <a:gd name="T90" fmla="*/ 130 w 238"/>
                <a:gd name="T91" fmla="*/ 204 h 224"/>
                <a:gd name="T92" fmla="*/ 142 w 238"/>
                <a:gd name="T93" fmla="*/ 198 h 224"/>
                <a:gd name="T94" fmla="*/ 164 w 238"/>
                <a:gd name="T95" fmla="*/ 192 h 224"/>
                <a:gd name="T96" fmla="*/ 172 w 238"/>
                <a:gd name="T97" fmla="*/ 182 h 224"/>
                <a:gd name="T98" fmla="*/ 180 w 238"/>
                <a:gd name="T99" fmla="*/ 168 h 224"/>
                <a:gd name="T100" fmla="*/ 198 w 238"/>
                <a:gd name="T101" fmla="*/ 156 h 224"/>
                <a:gd name="T102" fmla="*/ 212 w 238"/>
                <a:gd name="T103" fmla="*/ 142 h 224"/>
                <a:gd name="T104" fmla="*/ 214 w 238"/>
                <a:gd name="T105" fmla="*/ 124 h 224"/>
                <a:gd name="T106" fmla="*/ 220 w 238"/>
                <a:gd name="T107" fmla="*/ 112 h 224"/>
                <a:gd name="T108" fmla="*/ 228 w 238"/>
                <a:gd name="T109" fmla="*/ 110 h 224"/>
                <a:gd name="T110" fmla="*/ 236 w 238"/>
                <a:gd name="T111" fmla="*/ 102 h 224"/>
                <a:gd name="T112" fmla="*/ 222 w 238"/>
                <a:gd name="T113" fmla="*/ 76 h 224"/>
                <a:gd name="T114" fmla="*/ 218 w 238"/>
                <a:gd name="T115" fmla="*/ 1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 h="224">
                  <a:moveTo>
                    <a:pt x="218" y="10"/>
                  </a:moveTo>
                  <a:lnTo>
                    <a:pt x="218" y="10"/>
                  </a:lnTo>
                  <a:lnTo>
                    <a:pt x="216" y="10"/>
                  </a:lnTo>
                  <a:lnTo>
                    <a:pt x="212" y="10"/>
                  </a:lnTo>
                  <a:lnTo>
                    <a:pt x="210" y="10"/>
                  </a:lnTo>
                  <a:lnTo>
                    <a:pt x="206" y="10"/>
                  </a:lnTo>
                  <a:lnTo>
                    <a:pt x="204" y="10"/>
                  </a:lnTo>
                  <a:lnTo>
                    <a:pt x="204" y="10"/>
                  </a:lnTo>
                  <a:lnTo>
                    <a:pt x="202" y="10"/>
                  </a:lnTo>
                  <a:lnTo>
                    <a:pt x="202" y="10"/>
                  </a:lnTo>
                  <a:lnTo>
                    <a:pt x="202" y="10"/>
                  </a:lnTo>
                  <a:lnTo>
                    <a:pt x="200" y="8"/>
                  </a:lnTo>
                  <a:lnTo>
                    <a:pt x="200" y="6"/>
                  </a:lnTo>
                  <a:lnTo>
                    <a:pt x="200" y="6"/>
                  </a:lnTo>
                  <a:lnTo>
                    <a:pt x="198" y="6"/>
                  </a:lnTo>
                  <a:lnTo>
                    <a:pt x="198" y="4"/>
                  </a:lnTo>
                  <a:lnTo>
                    <a:pt x="196" y="4"/>
                  </a:lnTo>
                  <a:lnTo>
                    <a:pt x="194" y="2"/>
                  </a:lnTo>
                  <a:lnTo>
                    <a:pt x="190" y="0"/>
                  </a:lnTo>
                  <a:lnTo>
                    <a:pt x="188" y="4"/>
                  </a:lnTo>
                  <a:lnTo>
                    <a:pt x="186" y="8"/>
                  </a:lnTo>
                  <a:lnTo>
                    <a:pt x="186" y="8"/>
                  </a:lnTo>
                  <a:lnTo>
                    <a:pt x="186" y="10"/>
                  </a:lnTo>
                  <a:lnTo>
                    <a:pt x="184" y="10"/>
                  </a:lnTo>
                  <a:lnTo>
                    <a:pt x="184" y="12"/>
                  </a:lnTo>
                  <a:lnTo>
                    <a:pt x="182" y="14"/>
                  </a:lnTo>
                  <a:lnTo>
                    <a:pt x="178" y="14"/>
                  </a:lnTo>
                  <a:lnTo>
                    <a:pt x="176" y="16"/>
                  </a:lnTo>
                  <a:lnTo>
                    <a:pt x="174" y="18"/>
                  </a:lnTo>
                  <a:lnTo>
                    <a:pt x="172" y="20"/>
                  </a:lnTo>
                  <a:lnTo>
                    <a:pt x="170" y="24"/>
                  </a:lnTo>
                  <a:lnTo>
                    <a:pt x="170" y="24"/>
                  </a:lnTo>
                  <a:lnTo>
                    <a:pt x="168" y="26"/>
                  </a:lnTo>
                  <a:lnTo>
                    <a:pt x="168" y="26"/>
                  </a:lnTo>
                  <a:lnTo>
                    <a:pt x="166" y="26"/>
                  </a:lnTo>
                  <a:lnTo>
                    <a:pt x="162" y="28"/>
                  </a:lnTo>
                  <a:lnTo>
                    <a:pt x="160" y="28"/>
                  </a:lnTo>
                  <a:lnTo>
                    <a:pt x="160" y="30"/>
                  </a:lnTo>
                  <a:lnTo>
                    <a:pt x="158" y="30"/>
                  </a:lnTo>
                  <a:lnTo>
                    <a:pt x="158" y="30"/>
                  </a:lnTo>
                  <a:lnTo>
                    <a:pt x="156" y="32"/>
                  </a:lnTo>
                  <a:lnTo>
                    <a:pt x="156" y="32"/>
                  </a:lnTo>
                  <a:lnTo>
                    <a:pt x="156" y="34"/>
                  </a:lnTo>
                  <a:lnTo>
                    <a:pt x="156" y="36"/>
                  </a:lnTo>
                  <a:lnTo>
                    <a:pt x="156" y="38"/>
                  </a:lnTo>
                  <a:lnTo>
                    <a:pt x="156" y="40"/>
                  </a:lnTo>
                  <a:lnTo>
                    <a:pt x="154" y="42"/>
                  </a:lnTo>
                  <a:lnTo>
                    <a:pt x="154" y="44"/>
                  </a:lnTo>
                  <a:lnTo>
                    <a:pt x="154" y="44"/>
                  </a:lnTo>
                  <a:lnTo>
                    <a:pt x="154" y="46"/>
                  </a:lnTo>
                  <a:lnTo>
                    <a:pt x="152" y="46"/>
                  </a:lnTo>
                  <a:lnTo>
                    <a:pt x="152" y="46"/>
                  </a:lnTo>
                  <a:lnTo>
                    <a:pt x="152" y="46"/>
                  </a:lnTo>
                  <a:lnTo>
                    <a:pt x="150" y="46"/>
                  </a:lnTo>
                  <a:lnTo>
                    <a:pt x="148" y="46"/>
                  </a:lnTo>
                  <a:lnTo>
                    <a:pt x="146" y="46"/>
                  </a:lnTo>
                  <a:lnTo>
                    <a:pt x="144" y="48"/>
                  </a:lnTo>
                  <a:lnTo>
                    <a:pt x="144" y="48"/>
                  </a:lnTo>
                  <a:lnTo>
                    <a:pt x="144" y="48"/>
                  </a:lnTo>
                  <a:lnTo>
                    <a:pt x="142" y="50"/>
                  </a:lnTo>
                  <a:lnTo>
                    <a:pt x="142" y="50"/>
                  </a:lnTo>
                  <a:lnTo>
                    <a:pt x="140" y="52"/>
                  </a:lnTo>
                  <a:lnTo>
                    <a:pt x="140" y="54"/>
                  </a:lnTo>
                  <a:lnTo>
                    <a:pt x="138" y="56"/>
                  </a:lnTo>
                  <a:lnTo>
                    <a:pt x="138" y="56"/>
                  </a:lnTo>
                  <a:lnTo>
                    <a:pt x="136" y="60"/>
                  </a:lnTo>
                  <a:lnTo>
                    <a:pt x="134" y="62"/>
                  </a:lnTo>
                  <a:lnTo>
                    <a:pt x="134" y="62"/>
                  </a:lnTo>
                  <a:lnTo>
                    <a:pt x="132" y="64"/>
                  </a:lnTo>
                  <a:lnTo>
                    <a:pt x="130" y="64"/>
                  </a:lnTo>
                  <a:lnTo>
                    <a:pt x="130" y="66"/>
                  </a:lnTo>
                  <a:lnTo>
                    <a:pt x="128" y="66"/>
                  </a:lnTo>
                  <a:lnTo>
                    <a:pt x="126" y="66"/>
                  </a:lnTo>
                  <a:lnTo>
                    <a:pt x="124" y="66"/>
                  </a:lnTo>
                  <a:lnTo>
                    <a:pt x="122" y="66"/>
                  </a:lnTo>
                  <a:lnTo>
                    <a:pt x="120" y="66"/>
                  </a:lnTo>
                  <a:lnTo>
                    <a:pt x="118" y="66"/>
                  </a:lnTo>
                  <a:lnTo>
                    <a:pt x="118" y="66"/>
                  </a:lnTo>
                  <a:lnTo>
                    <a:pt x="116" y="66"/>
                  </a:lnTo>
                  <a:lnTo>
                    <a:pt x="114" y="66"/>
                  </a:lnTo>
                  <a:lnTo>
                    <a:pt x="114" y="64"/>
                  </a:lnTo>
                  <a:lnTo>
                    <a:pt x="110" y="62"/>
                  </a:lnTo>
                  <a:lnTo>
                    <a:pt x="108" y="62"/>
                  </a:lnTo>
                  <a:lnTo>
                    <a:pt x="108" y="60"/>
                  </a:lnTo>
                  <a:lnTo>
                    <a:pt x="106" y="60"/>
                  </a:lnTo>
                  <a:lnTo>
                    <a:pt x="104" y="60"/>
                  </a:lnTo>
                  <a:lnTo>
                    <a:pt x="102" y="60"/>
                  </a:lnTo>
                  <a:lnTo>
                    <a:pt x="100" y="60"/>
                  </a:lnTo>
                  <a:lnTo>
                    <a:pt x="98" y="60"/>
                  </a:lnTo>
                  <a:lnTo>
                    <a:pt x="98" y="60"/>
                  </a:lnTo>
                  <a:lnTo>
                    <a:pt x="98" y="60"/>
                  </a:lnTo>
                  <a:lnTo>
                    <a:pt x="96" y="62"/>
                  </a:lnTo>
                  <a:lnTo>
                    <a:pt x="96" y="62"/>
                  </a:lnTo>
                  <a:lnTo>
                    <a:pt x="96" y="64"/>
                  </a:lnTo>
                  <a:lnTo>
                    <a:pt x="94" y="66"/>
                  </a:lnTo>
                  <a:lnTo>
                    <a:pt x="92" y="68"/>
                  </a:lnTo>
                  <a:lnTo>
                    <a:pt x="92" y="68"/>
                  </a:lnTo>
                  <a:lnTo>
                    <a:pt x="92" y="70"/>
                  </a:lnTo>
                  <a:lnTo>
                    <a:pt x="92" y="72"/>
                  </a:lnTo>
                  <a:lnTo>
                    <a:pt x="90" y="74"/>
                  </a:lnTo>
                  <a:lnTo>
                    <a:pt x="90" y="76"/>
                  </a:lnTo>
                  <a:lnTo>
                    <a:pt x="90" y="76"/>
                  </a:lnTo>
                  <a:lnTo>
                    <a:pt x="88" y="78"/>
                  </a:lnTo>
                  <a:lnTo>
                    <a:pt x="88" y="78"/>
                  </a:lnTo>
                  <a:lnTo>
                    <a:pt x="86" y="80"/>
                  </a:lnTo>
                  <a:lnTo>
                    <a:pt x="84" y="82"/>
                  </a:lnTo>
                  <a:lnTo>
                    <a:pt x="82" y="82"/>
                  </a:lnTo>
                  <a:lnTo>
                    <a:pt x="82" y="82"/>
                  </a:lnTo>
                  <a:lnTo>
                    <a:pt x="80" y="82"/>
                  </a:lnTo>
                  <a:lnTo>
                    <a:pt x="76" y="82"/>
                  </a:lnTo>
                  <a:lnTo>
                    <a:pt x="74" y="82"/>
                  </a:lnTo>
                  <a:lnTo>
                    <a:pt x="72" y="82"/>
                  </a:lnTo>
                  <a:lnTo>
                    <a:pt x="68" y="80"/>
                  </a:lnTo>
                  <a:lnTo>
                    <a:pt x="66" y="80"/>
                  </a:lnTo>
                  <a:lnTo>
                    <a:pt x="64" y="78"/>
                  </a:lnTo>
                  <a:lnTo>
                    <a:pt x="62" y="78"/>
                  </a:lnTo>
                  <a:lnTo>
                    <a:pt x="62" y="78"/>
                  </a:lnTo>
                  <a:lnTo>
                    <a:pt x="62" y="78"/>
                  </a:lnTo>
                  <a:lnTo>
                    <a:pt x="60" y="76"/>
                  </a:lnTo>
                  <a:lnTo>
                    <a:pt x="60" y="74"/>
                  </a:lnTo>
                  <a:lnTo>
                    <a:pt x="60" y="72"/>
                  </a:lnTo>
                  <a:lnTo>
                    <a:pt x="60" y="70"/>
                  </a:lnTo>
                  <a:lnTo>
                    <a:pt x="58" y="66"/>
                  </a:lnTo>
                  <a:lnTo>
                    <a:pt x="58" y="64"/>
                  </a:lnTo>
                  <a:lnTo>
                    <a:pt x="58" y="62"/>
                  </a:lnTo>
                  <a:lnTo>
                    <a:pt x="58" y="62"/>
                  </a:lnTo>
                  <a:lnTo>
                    <a:pt x="56" y="60"/>
                  </a:lnTo>
                  <a:lnTo>
                    <a:pt x="56" y="58"/>
                  </a:lnTo>
                  <a:lnTo>
                    <a:pt x="52" y="56"/>
                  </a:lnTo>
                  <a:lnTo>
                    <a:pt x="52" y="62"/>
                  </a:lnTo>
                  <a:lnTo>
                    <a:pt x="54" y="70"/>
                  </a:lnTo>
                  <a:lnTo>
                    <a:pt x="54" y="80"/>
                  </a:lnTo>
                  <a:lnTo>
                    <a:pt x="52" y="88"/>
                  </a:lnTo>
                  <a:lnTo>
                    <a:pt x="52" y="94"/>
                  </a:lnTo>
                  <a:lnTo>
                    <a:pt x="52" y="98"/>
                  </a:lnTo>
                  <a:lnTo>
                    <a:pt x="52" y="102"/>
                  </a:lnTo>
                  <a:lnTo>
                    <a:pt x="50" y="106"/>
                  </a:lnTo>
                  <a:lnTo>
                    <a:pt x="50" y="110"/>
                  </a:lnTo>
                  <a:lnTo>
                    <a:pt x="50" y="112"/>
                  </a:lnTo>
                  <a:lnTo>
                    <a:pt x="50" y="112"/>
                  </a:lnTo>
                  <a:lnTo>
                    <a:pt x="48" y="114"/>
                  </a:lnTo>
                  <a:lnTo>
                    <a:pt x="48" y="116"/>
                  </a:lnTo>
                  <a:lnTo>
                    <a:pt x="46" y="116"/>
                  </a:lnTo>
                  <a:lnTo>
                    <a:pt x="46" y="118"/>
                  </a:lnTo>
                  <a:lnTo>
                    <a:pt x="44" y="118"/>
                  </a:lnTo>
                  <a:lnTo>
                    <a:pt x="42" y="120"/>
                  </a:lnTo>
                  <a:lnTo>
                    <a:pt x="42" y="120"/>
                  </a:lnTo>
                  <a:lnTo>
                    <a:pt x="40" y="122"/>
                  </a:lnTo>
                  <a:lnTo>
                    <a:pt x="38" y="122"/>
                  </a:lnTo>
                  <a:lnTo>
                    <a:pt x="36" y="122"/>
                  </a:lnTo>
                  <a:lnTo>
                    <a:pt x="34" y="122"/>
                  </a:lnTo>
                  <a:lnTo>
                    <a:pt x="30" y="122"/>
                  </a:lnTo>
                  <a:lnTo>
                    <a:pt x="28" y="122"/>
                  </a:lnTo>
                  <a:lnTo>
                    <a:pt x="26" y="122"/>
                  </a:lnTo>
                  <a:lnTo>
                    <a:pt x="24" y="120"/>
                  </a:lnTo>
                  <a:lnTo>
                    <a:pt x="22" y="120"/>
                  </a:lnTo>
                  <a:lnTo>
                    <a:pt x="22" y="120"/>
                  </a:lnTo>
                  <a:lnTo>
                    <a:pt x="20" y="118"/>
                  </a:lnTo>
                  <a:lnTo>
                    <a:pt x="20" y="118"/>
                  </a:lnTo>
                  <a:lnTo>
                    <a:pt x="20" y="116"/>
                  </a:lnTo>
                  <a:lnTo>
                    <a:pt x="18" y="114"/>
                  </a:lnTo>
                  <a:lnTo>
                    <a:pt x="18" y="112"/>
                  </a:lnTo>
                  <a:lnTo>
                    <a:pt x="18" y="110"/>
                  </a:lnTo>
                  <a:lnTo>
                    <a:pt x="16" y="110"/>
                  </a:lnTo>
                  <a:lnTo>
                    <a:pt x="16" y="108"/>
                  </a:lnTo>
                  <a:lnTo>
                    <a:pt x="16" y="108"/>
                  </a:lnTo>
                  <a:lnTo>
                    <a:pt x="16" y="108"/>
                  </a:lnTo>
                  <a:lnTo>
                    <a:pt x="14" y="108"/>
                  </a:lnTo>
                  <a:lnTo>
                    <a:pt x="14" y="108"/>
                  </a:lnTo>
                  <a:lnTo>
                    <a:pt x="14" y="108"/>
                  </a:lnTo>
                  <a:lnTo>
                    <a:pt x="14" y="110"/>
                  </a:lnTo>
                  <a:lnTo>
                    <a:pt x="12" y="110"/>
                  </a:lnTo>
                  <a:lnTo>
                    <a:pt x="12" y="112"/>
                  </a:lnTo>
                  <a:lnTo>
                    <a:pt x="12" y="112"/>
                  </a:lnTo>
                  <a:lnTo>
                    <a:pt x="10" y="112"/>
                  </a:lnTo>
                  <a:lnTo>
                    <a:pt x="8" y="112"/>
                  </a:lnTo>
                  <a:lnTo>
                    <a:pt x="8" y="112"/>
                  </a:lnTo>
                  <a:lnTo>
                    <a:pt x="6" y="112"/>
                  </a:lnTo>
                  <a:lnTo>
                    <a:pt x="2" y="114"/>
                  </a:lnTo>
                  <a:lnTo>
                    <a:pt x="0" y="114"/>
                  </a:lnTo>
                  <a:lnTo>
                    <a:pt x="2" y="116"/>
                  </a:lnTo>
                  <a:lnTo>
                    <a:pt x="2" y="118"/>
                  </a:lnTo>
                  <a:lnTo>
                    <a:pt x="2" y="120"/>
                  </a:lnTo>
                  <a:lnTo>
                    <a:pt x="2" y="122"/>
                  </a:lnTo>
                  <a:lnTo>
                    <a:pt x="2" y="124"/>
                  </a:lnTo>
                  <a:lnTo>
                    <a:pt x="2" y="128"/>
                  </a:lnTo>
                  <a:lnTo>
                    <a:pt x="2" y="130"/>
                  </a:lnTo>
                  <a:lnTo>
                    <a:pt x="2" y="132"/>
                  </a:lnTo>
                  <a:lnTo>
                    <a:pt x="2" y="134"/>
                  </a:lnTo>
                  <a:lnTo>
                    <a:pt x="2" y="134"/>
                  </a:lnTo>
                  <a:lnTo>
                    <a:pt x="2" y="134"/>
                  </a:lnTo>
                  <a:lnTo>
                    <a:pt x="2" y="136"/>
                  </a:lnTo>
                  <a:lnTo>
                    <a:pt x="4" y="136"/>
                  </a:lnTo>
                  <a:lnTo>
                    <a:pt x="4" y="136"/>
                  </a:lnTo>
                  <a:lnTo>
                    <a:pt x="4" y="136"/>
                  </a:lnTo>
                  <a:lnTo>
                    <a:pt x="6" y="138"/>
                  </a:lnTo>
                  <a:lnTo>
                    <a:pt x="8" y="138"/>
                  </a:lnTo>
                  <a:lnTo>
                    <a:pt x="10" y="138"/>
                  </a:lnTo>
                  <a:lnTo>
                    <a:pt x="12" y="138"/>
                  </a:lnTo>
                  <a:lnTo>
                    <a:pt x="12" y="138"/>
                  </a:lnTo>
                  <a:lnTo>
                    <a:pt x="14" y="140"/>
                  </a:lnTo>
                  <a:lnTo>
                    <a:pt x="14" y="140"/>
                  </a:lnTo>
                  <a:lnTo>
                    <a:pt x="14" y="140"/>
                  </a:lnTo>
                  <a:lnTo>
                    <a:pt x="14" y="142"/>
                  </a:lnTo>
                  <a:lnTo>
                    <a:pt x="14" y="142"/>
                  </a:lnTo>
                  <a:lnTo>
                    <a:pt x="14" y="144"/>
                  </a:lnTo>
                  <a:lnTo>
                    <a:pt x="14" y="146"/>
                  </a:lnTo>
                  <a:lnTo>
                    <a:pt x="14" y="150"/>
                  </a:lnTo>
                  <a:lnTo>
                    <a:pt x="14" y="152"/>
                  </a:lnTo>
                  <a:lnTo>
                    <a:pt x="14" y="156"/>
                  </a:lnTo>
                  <a:lnTo>
                    <a:pt x="14" y="156"/>
                  </a:lnTo>
                  <a:lnTo>
                    <a:pt x="14" y="158"/>
                  </a:lnTo>
                  <a:lnTo>
                    <a:pt x="14" y="158"/>
                  </a:lnTo>
                  <a:lnTo>
                    <a:pt x="14" y="160"/>
                  </a:lnTo>
                  <a:lnTo>
                    <a:pt x="14" y="160"/>
                  </a:lnTo>
                  <a:lnTo>
                    <a:pt x="16" y="160"/>
                  </a:lnTo>
                  <a:lnTo>
                    <a:pt x="18" y="160"/>
                  </a:lnTo>
                  <a:lnTo>
                    <a:pt x="20" y="162"/>
                  </a:lnTo>
                  <a:lnTo>
                    <a:pt x="20" y="162"/>
                  </a:lnTo>
                  <a:lnTo>
                    <a:pt x="22" y="162"/>
                  </a:lnTo>
                  <a:lnTo>
                    <a:pt x="22" y="162"/>
                  </a:lnTo>
                  <a:lnTo>
                    <a:pt x="22" y="164"/>
                  </a:lnTo>
                  <a:lnTo>
                    <a:pt x="22" y="166"/>
                  </a:lnTo>
                  <a:lnTo>
                    <a:pt x="20" y="166"/>
                  </a:lnTo>
                  <a:lnTo>
                    <a:pt x="20" y="168"/>
                  </a:lnTo>
                  <a:lnTo>
                    <a:pt x="22" y="168"/>
                  </a:lnTo>
                  <a:lnTo>
                    <a:pt x="22" y="168"/>
                  </a:lnTo>
                  <a:lnTo>
                    <a:pt x="22" y="168"/>
                  </a:lnTo>
                  <a:lnTo>
                    <a:pt x="22" y="168"/>
                  </a:lnTo>
                  <a:lnTo>
                    <a:pt x="24" y="168"/>
                  </a:lnTo>
                  <a:lnTo>
                    <a:pt x="26" y="168"/>
                  </a:lnTo>
                  <a:lnTo>
                    <a:pt x="26" y="168"/>
                  </a:lnTo>
                  <a:lnTo>
                    <a:pt x="28" y="168"/>
                  </a:lnTo>
                  <a:lnTo>
                    <a:pt x="28" y="168"/>
                  </a:lnTo>
                  <a:lnTo>
                    <a:pt x="28" y="168"/>
                  </a:lnTo>
                  <a:lnTo>
                    <a:pt x="28" y="168"/>
                  </a:lnTo>
                  <a:lnTo>
                    <a:pt x="28" y="170"/>
                  </a:lnTo>
                  <a:lnTo>
                    <a:pt x="28" y="172"/>
                  </a:lnTo>
                  <a:lnTo>
                    <a:pt x="28" y="172"/>
                  </a:lnTo>
                  <a:lnTo>
                    <a:pt x="28" y="174"/>
                  </a:lnTo>
                  <a:lnTo>
                    <a:pt x="28" y="176"/>
                  </a:lnTo>
                  <a:lnTo>
                    <a:pt x="26" y="178"/>
                  </a:lnTo>
                  <a:lnTo>
                    <a:pt x="26" y="180"/>
                  </a:lnTo>
                  <a:lnTo>
                    <a:pt x="26" y="182"/>
                  </a:lnTo>
                  <a:lnTo>
                    <a:pt x="24" y="182"/>
                  </a:lnTo>
                  <a:lnTo>
                    <a:pt x="24" y="182"/>
                  </a:lnTo>
                  <a:lnTo>
                    <a:pt x="22" y="184"/>
                  </a:lnTo>
                  <a:lnTo>
                    <a:pt x="20" y="184"/>
                  </a:lnTo>
                  <a:lnTo>
                    <a:pt x="20" y="186"/>
                  </a:lnTo>
                  <a:lnTo>
                    <a:pt x="18" y="186"/>
                  </a:lnTo>
                  <a:lnTo>
                    <a:pt x="18" y="186"/>
                  </a:lnTo>
                  <a:lnTo>
                    <a:pt x="18" y="186"/>
                  </a:lnTo>
                  <a:lnTo>
                    <a:pt x="18" y="188"/>
                  </a:lnTo>
                  <a:lnTo>
                    <a:pt x="18" y="190"/>
                  </a:lnTo>
                  <a:lnTo>
                    <a:pt x="18" y="190"/>
                  </a:lnTo>
                  <a:lnTo>
                    <a:pt x="18" y="192"/>
                  </a:lnTo>
                  <a:lnTo>
                    <a:pt x="20" y="194"/>
                  </a:lnTo>
                  <a:lnTo>
                    <a:pt x="20" y="196"/>
                  </a:lnTo>
                  <a:lnTo>
                    <a:pt x="22" y="198"/>
                  </a:lnTo>
                  <a:lnTo>
                    <a:pt x="24" y="200"/>
                  </a:lnTo>
                  <a:lnTo>
                    <a:pt x="26" y="204"/>
                  </a:lnTo>
                  <a:lnTo>
                    <a:pt x="28" y="206"/>
                  </a:lnTo>
                  <a:lnTo>
                    <a:pt x="30" y="208"/>
                  </a:lnTo>
                  <a:lnTo>
                    <a:pt x="32" y="210"/>
                  </a:lnTo>
                  <a:lnTo>
                    <a:pt x="34" y="212"/>
                  </a:lnTo>
                  <a:lnTo>
                    <a:pt x="36" y="214"/>
                  </a:lnTo>
                  <a:lnTo>
                    <a:pt x="38" y="216"/>
                  </a:lnTo>
                  <a:lnTo>
                    <a:pt x="42" y="218"/>
                  </a:lnTo>
                  <a:lnTo>
                    <a:pt x="42" y="220"/>
                  </a:lnTo>
                  <a:lnTo>
                    <a:pt x="44" y="220"/>
                  </a:lnTo>
                  <a:lnTo>
                    <a:pt x="46" y="222"/>
                  </a:lnTo>
                  <a:lnTo>
                    <a:pt x="48" y="222"/>
                  </a:lnTo>
                  <a:lnTo>
                    <a:pt x="50" y="222"/>
                  </a:lnTo>
                  <a:lnTo>
                    <a:pt x="54" y="222"/>
                  </a:lnTo>
                  <a:lnTo>
                    <a:pt x="56" y="224"/>
                  </a:lnTo>
                  <a:lnTo>
                    <a:pt x="58" y="224"/>
                  </a:lnTo>
                  <a:lnTo>
                    <a:pt x="60" y="222"/>
                  </a:lnTo>
                  <a:lnTo>
                    <a:pt x="62" y="222"/>
                  </a:lnTo>
                  <a:lnTo>
                    <a:pt x="64" y="222"/>
                  </a:lnTo>
                  <a:lnTo>
                    <a:pt x="64" y="222"/>
                  </a:lnTo>
                  <a:lnTo>
                    <a:pt x="66" y="220"/>
                  </a:lnTo>
                  <a:lnTo>
                    <a:pt x="68" y="220"/>
                  </a:lnTo>
                  <a:lnTo>
                    <a:pt x="70" y="218"/>
                  </a:lnTo>
                  <a:lnTo>
                    <a:pt x="72" y="216"/>
                  </a:lnTo>
                  <a:lnTo>
                    <a:pt x="72" y="216"/>
                  </a:lnTo>
                  <a:lnTo>
                    <a:pt x="74" y="214"/>
                  </a:lnTo>
                  <a:lnTo>
                    <a:pt x="76" y="210"/>
                  </a:lnTo>
                  <a:lnTo>
                    <a:pt x="76" y="208"/>
                  </a:lnTo>
                  <a:lnTo>
                    <a:pt x="78" y="208"/>
                  </a:lnTo>
                  <a:lnTo>
                    <a:pt x="78" y="206"/>
                  </a:lnTo>
                  <a:lnTo>
                    <a:pt x="78" y="206"/>
                  </a:lnTo>
                  <a:lnTo>
                    <a:pt x="80" y="206"/>
                  </a:lnTo>
                  <a:lnTo>
                    <a:pt x="80" y="204"/>
                  </a:lnTo>
                  <a:lnTo>
                    <a:pt x="82" y="204"/>
                  </a:lnTo>
                  <a:lnTo>
                    <a:pt x="84" y="204"/>
                  </a:lnTo>
                  <a:lnTo>
                    <a:pt x="86" y="204"/>
                  </a:lnTo>
                  <a:lnTo>
                    <a:pt x="88" y="202"/>
                  </a:lnTo>
                  <a:lnTo>
                    <a:pt x="90" y="202"/>
                  </a:lnTo>
                  <a:lnTo>
                    <a:pt x="94" y="202"/>
                  </a:lnTo>
                  <a:lnTo>
                    <a:pt x="98" y="204"/>
                  </a:lnTo>
                  <a:lnTo>
                    <a:pt x="100" y="204"/>
                  </a:lnTo>
                  <a:lnTo>
                    <a:pt x="104" y="204"/>
                  </a:lnTo>
                  <a:lnTo>
                    <a:pt x="104" y="204"/>
                  </a:lnTo>
                  <a:lnTo>
                    <a:pt x="106" y="206"/>
                  </a:lnTo>
                  <a:lnTo>
                    <a:pt x="108" y="206"/>
                  </a:lnTo>
                  <a:lnTo>
                    <a:pt x="110" y="206"/>
                  </a:lnTo>
                  <a:lnTo>
                    <a:pt x="110" y="206"/>
                  </a:lnTo>
                  <a:lnTo>
                    <a:pt x="110" y="208"/>
                  </a:lnTo>
                  <a:lnTo>
                    <a:pt x="110" y="210"/>
                  </a:lnTo>
                  <a:lnTo>
                    <a:pt x="112" y="212"/>
                  </a:lnTo>
                  <a:lnTo>
                    <a:pt x="112" y="212"/>
                  </a:lnTo>
                  <a:lnTo>
                    <a:pt x="112" y="212"/>
                  </a:lnTo>
                  <a:lnTo>
                    <a:pt x="114" y="212"/>
                  </a:lnTo>
                  <a:lnTo>
                    <a:pt x="114" y="212"/>
                  </a:lnTo>
                  <a:lnTo>
                    <a:pt x="116" y="212"/>
                  </a:lnTo>
                  <a:lnTo>
                    <a:pt x="116" y="212"/>
                  </a:lnTo>
                  <a:lnTo>
                    <a:pt x="118" y="210"/>
                  </a:lnTo>
                  <a:lnTo>
                    <a:pt x="120" y="210"/>
                  </a:lnTo>
                  <a:lnTo>
                    <a:pt x="124" y="208"/>
                  </a:lnTo>
                  <a:lnTo>
                    <a:pt x="126" y="206"/>
                  </a:lnTo>
                  <a:lnTo>
                    <a:pt x="128" y="204"/>
                  </a:lnTo>
                  <a:lnTo>
                    <a:pt x="130" y="204"/>
                  </a:lnTo>
                  <a:lnTo>
                    <a:pt x="132" y="202"/>
                  </a:lnTo>
                  <a:lnTo>
                    <a:pt x="134" y="200"/>
                  </a:lnTo>
                  <a:lnTo>
                    <a:pt x="136" y="200"/>
                  </a:lnTo>
                  <a:lnTo>
                    <a:pt x="136" y="198"/>
                  </a:lnTo>
                  <a:lnTo>
                    <a:pt x="138" y="198"/>
                  </a:lnTo>
                  <a:lnTo>
                    <a:pt x="138" y="198"/>
                  </a:lnTo>
                  <a:lnTo>
                    <a:pt x="142" y="198"/>
                  </a:lnTo>
                  <a:lnTo>
                    <a:pt x="144" y="198"/>
                  </a:lnTo>
                  <a:lnTo>
                    <a:pt x="148" y="198"/>
                  </a:lnTo>
                  <a:lnTo>
                    <a:pt x="152" y="196"/>
                  </a:lnTo>
                  <a:lnTo>
                    <a:pt x="156" y="196"/>
                  </a:lnTo>
                  <a:lnTo>
                    <a:pt x="158" y="196"/>
                  </a:lnTo>
                  <a:lnTo>
                    <a:pt x="160" y="194"/>
                  </a:lnTo>
                  <a:lnTo>
                    <a:pt x="164" y="192"/>
                  </a:lnTo>
                  <a:lnTo>
                    <a:pt x="166" y="190"/>
                  </a:lnTo>
                  <a:lnTo>
                    <a:pt x="168" y="190"/>
                  </a:lnTo>
                  <a:lnTo>
                    <a:pt x="170" y="188"/>
                  </a:lnTo>
                  <a:lnTo>
                    <a:pt x="170" y="188"/>
                  </a:lnTo>
                  <a:lnTo>
                    <a:pt x="170" y="186"/>
                  </a:lnTo>
                  <a:lnTo>
                    <a:pt x="172" y="184"/>
                  </a:lnTo>
                  <a:lnTo>
                    <a:pt x="172" y="182"/>
                  </a:lnTo>
                  <a:lnTo>
                    <a:pt x="174" y="178"/>
                  </a:lnTo>
                  <a:lnTo>
                    <a:pt x="176" y="176"/>
                  </a:lnTo>
                  <a:lnTo>
                    <a:pt x="176" y="174"/>
                  </a:lnTo>
                  <a:lnTo>
                    <a:pt x="178" y="172"/>
                  </a:lnTo>
                  <a:lnTo>
                    <a:pt x="178" y="170"/>
                  </a:lnTo>
                  <a:lnTo>
                    <a:pt x="180" y="170"/>
                  </a:lnTo>
                  <a:lnTo>
                    <a:pt x="180" y="168"/>
                  </a:lnTo>
                  <a:lnTo>
                    <a:pt x="182" y="166"/>
                  </a:lnTo>
                  <a:lnTo>
                    <a:pt x="184" y="166"/>
                  </a:lnTo>
                  <a:lnTo>
                    <a:pt x="186" y="164"/>
                  </a:lnTo>
                  <a:lnTo>
                    <a:pt x="190" y="162"/>
                  </a:lnTo>
                  <a:lnTo>
                    <a:pt x="192" y="162"/>
                  </a:lnTo>
                  <a:lnTo>
                    <a:pt x="192" y="160"/>
                  </a:lnTo>
                  <a:lnTo>
                    <a:pt x="198" y="156"/>
                  </a:lnTo>
                  <a:lnTo>
                    <a:pt x="202" y="152"/>
                  </a:lnTo>
                  <a:lnTo>
                    <a:pt x="206" y="150"/>
                  </a:lnTo>
                  <a:lnTo>
                    <a:pt x="208" y="148"/>
                  </a:lnTo>
                  <a:lnTo>
                    <a:pt x="210" y="146"/>
                  </a:lnTo>
                  <a:lnTo>
                    <a:pt x="210" y="144"/>
                  </a:lnTo>
                  <a:lnTo>
                    <a:pt x="210" y="144"/>
                  </a:lnTo>
                  <a:lnTo>
                    <a:pt x="212" y="142"/>
                  </a:lnTo>
                  <a:lnTo>
                    <a:pt x="212" y="140"/>
                  </a:lnTo>
                  <a:lnTo>
                    <a:pt x="212" y="138"/>
                  </a:lnTo>
                  <a:lnTo>
                    <a:pt x="212" y="136"/>
                  </a:lnTo>
                  <a:lnTo>
                    <a:pt x="214" y="130"/>
                  </a:lnTo>
                  <a:lnTo>
                    <a:pt x="214" y="128"/>
                  </a:lnTo>
                  <a:lnTo>
                    <a:pt x="214" y="126"/>
                  </a:lnTo>
                  <a:lnTo>
                    <a:pt x="214" y="124"/>
                  </a:lnTo>
                  <a:lnTo>
                    <a:pt x="216" y="120"/>
                  </a:lnTo>
                  <a:lnTo>
                    <a:pt x="216" y="118"/>
                  </a:lnTo>
                  <a:lnTo>
                    <a:pt x="216" y="116"/>
                  </a:lnTo>
                  <a:lnTo>
                    <a:pt x="218" y="114"/>
                  </a:lnTo>
                  <a:lnTo>
                    <a:pt x="218" y="112"/>
                  </a:lnTo>
                  <a:lnTo>
                    <a:pt x="218" y="112"/>
                  </a:lnTo>
                  <a:lnTo>
                    <a:pt x="220" y="112"/>
                  </a:lnTo>
                  <a:lnTo>
                    <a:pt x="220" y="112"/>
                  </a:lnTo>
                  <a:lnTo>
                    <a:pt x="220" y="112"/>
                  </a:lnTo>
                  <a:lnTo>
                    <a:pt x="222" y="112"/>
                  </a:lnTo>
                  <a:lnTo>
                    <a:pt x="224" y="112"/>
                  </a:lnTo>
                  <a:lnTo>
                    <a:pt x="226" y="112"/>
                  </a:lnTo>
                  <a:lnTo>
                    <a:pt x="228" y="112"/>
                  </a:lnTo>
                  <a:lnTo>
                    <a:pt x="228" y="110"/>
                  </a:lnTo>
                  <a:lnTo>
                    <a:pt x="230" y="110"/>
                  </a:lnTo>
                  <a:lnTo>
                    <a:pt x="230" y="110"/>
                  </a:lnTo>
                  <a:lnTo>
                    <a:pt x="230" y="110"/>
                  </a:lnTo>
                  <a:lnTo>
                    <a:pt x="232" y="108"/>
                  </a:lnTo>
                  <a:lnTo>
                    <a:pt x="232" y="106"/>
                  </a:lnTo>
                  <a:lnTo>
                    <a:pt x="234" y="104"/>
                  </a:lnTo>
                  <a:lnTo>
                    <a:pt x="236" y="102"/>
                  </a:lnTo>
                  <a:lnTo>
                    <a:pt x="238" y="96"/>
                  </a:lnTo>
                  <a:lnTo>
                    <a:pt x="238" y="94"/>
                  </a:lnTo>
                  <a:lnTo>
                    <a:pt x="226" y="90"/>
                  </a:lnTo>
                  <a:lnTo>
                    <a:pt x="226" y="86"/>
                  </a:lnTo>
                  <a:lnTo>
                    <a:pt x="224" y="82"/>
                  </a:lnTo>
                  <a:lnTo>
                    <a:pt x="224" y="78"/>
                  </a:lnTo>
                  <a:lnTo>
                    <a:pt x="222" y="76"/>
                  </a:lnTo>
                  <a:lnTo>
                    <a:pt x="220" y="72"/>
                  </a:lnTo>
                  <a:lnTo>
                    <a:pt x="218" y="68"/>
                  </a:lnTo>
                  <a:lnTo>
                    <a:pt x="218" y="62"/>
                  </a:lnTo>
                  <a:lnTo>
                    <a:pt x="218" y="52"/>
                  </a:lnTo>
                  <a:lnTo>
                    <a:pt x="218" y="44"/>
                  </a:lnTo>
                  <a:lnTo>
                    <a:pt x="218" y="36"/>
                  </a:lnTo>
                  <a:lnTo>
                    <a:pt x="218" y="1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0" name="Freeform 429">
              <a:extLst>
                <a:ext uri="{FF2B5EF4-FFF2-40B4-BE49-F238E27FC236}">
                  <a16:creationId xmlns:a16="http://schemas.microsoft.com/office/drawing/2014/main" id="{FEEF85BB-185C-456D-A66B-DEA231BEC4DA}"/>
                </a:ext>
              </a:extLst>
            </p:cNvPr>
            <p:cNvSpPr>
              <a:spLocks/>
            </p:cNvSpPr>
            <p:nvPr/>
          </p:nvSpPr>
          <p:spPr bwMode="auto">
            <a:xfrm>
              <a:off x="4671053" y="5290543"/>
              <a:ext cx="412234" cy="387985"/>
            </a:xfrm>
            <a:custGeom>
              <a:avLst/>
              <a:gdLst>
                <a:gd name="T0" fmla="*/ 204 w 238"/>
                <a:gd name="T1" fmla="*/ 10 h 224"/>
                <a:gd name="T2" fmla="*/ 200 w 238"/>
                <a:gd name="T3" fmla="*/ 6 h 224"/>
                <a:gd name="T4" fmla="*/ 186 w 238"/>
                <a:gd name="T5" fmla="*/ 8 h 224"/>
                <a:gd name="T6" fmla="*/ 176 w 238"/>
                <a:gd name="T7" fmla="*/ 16 h 224"/>
                <a:gd name="T8" fmla="*/ 166 w 238"/>
                <a:gd name="T9" fmla="*/ 26 h 224"/>
                <a:gd name="T10" fmla="*/ 156 w 238"/>
                <a:gd name="T11" fmla="*/ 32 h 224"/>
                <a:gd name="T12" fmla="*/ 154 w 238"/>
                <a:gd name="T13" fmla="*/ 44 h 224"/>
                <a:gd name="T14" fmla="*/ 146 w 238"/>
                <a:gd name="T15" fmla="*/ 46 h 224"/>
                <a:gd name="T16" fmla="*/ 140 w 238"/>
                <a:gd name="T17" fmla="*/ 54 h 224"/>
                <a:gd name="T18" fmla="*/ 130 w 238"/>
                <a:gd name="T19" fmla="*/ 64 h 224"/>
                <a:gd name="T20" fmla="*/ 118 w 238"/>
                <a:gd name="T21" fmla="*/ 66 h 224"/>
                <a:gd name="T22" fmla="*/ 108 w 238"/>
                <a:gd name="T23" fmla="*/ 60 h 224"/>
                <a:gd name="T24" fmla="*/ 98 w 238"/>
                <a:gd name="T25" fmla="*/ 60 h 224"/>
                <a:gd name="T26" fmla="*/ 92 w 238"/>
                <a:gd name="T27" fmla="*/ 70 h 224"/>
                <a:gd name="T28" fmla="*/ 86 w 238"/>
                <a:gd name="T29" fmla="*/ 80 h 224"/>
                <a:gd name="T30" fmla="*/ 72 w 238"/>
                <a:gd name="T31" fmla="*/ 82 h 224"/>
                <a:gd name="T32" fmla="*/ 60 w 238"/>
                <a:gd name="T33" fmla="*/ 76 h 224"/>
                <a:gd name="T34" fmla="*/ 58 w 238"/>
                <a:gd name="T35" fmla="*/ 62 h 224"/>
                <a:gd name="T36" fmla="*/ 52 w 238"/>
                <a:gd name="T37" fmla="*/ 88 h 224"/>
                <a:gd name="T38" fmla="*/ 50 w 238"/>
                <a:gd name="T39" fmla="*/ 112 h 224"/>
                <a:gd name="T40" fmla="*/ 42 w 238"/>
                <a:gd name="T41" fmla="*/ 120 h 224"/>
                <a:gd name="T42" fmla="*/ 26 w 238"/>
                <a:gd name="T43" fmla="*/ 122 h 224"/>
                <a:gd name="T44" fmla="*/ 18 w 238"/>
                <a:gd name="T45" fmla="*/ 114 h 224"/>
                <a:gd name="T46" fmla="*/ 14 w 238"/>
                <a:gd name="T47" fmla="*/ 108 h 224"/>
                <a:gd name="T48" fmla="*/ 10 w 238"/>
                <a:gd name="T49" fmla="*/ 112 h 224"/>
                <a:gd name="T50" fmla="*/ 2 w 238"/>
                <a:gd name="T51" fmla="*/ 118 h 224"/>
                <a:gd name="T52" fmla="*/ 2 w 238"/>
                <a:gd name="T53" fmla="*/ 134 h 224"/>
                <a:gd name="T54" fmla="*/ 6 w 238"/>
                <a:gd name="T55" fmla="*/ 138 h 224"/>
                <a:gd name="T56" fmla="*/ 14 w 238"/>
                <a:gd name="T57" fmla="*/ 140 h 224"/>
                <a:gd name="T58" fmla="*/ 14 w 238"/>
                <a:gd name="T59" fmla="*/ 156 h 224"/>
                <a:gd name="T60" fmla="*/ 18 w 238"/>
                <a:gd name="T61" fmla="*/ 160 h 224"/>
                <a:gd name="T62" fmla="*/ 20 w 238"/>
                <a:gd name="T63" fmla="*/ 166 h 224"/>
                <a:gd name="T64" fmla="*/ 26 w 238"/>
                <a:gd name="T65" fmla="*/ 168 h 224"/>
                <a:gd name="T66" fmla="*/ 28 w 238"/>
                <a:gd name="T67" fmla="*/ 172 h 224"/>
                <a:gd name="T68" fmla="*/ 24 w 238"/>
                <a:gd name="T69" fmla="*/ 182 h 224"/>
                <a:gd name="T70" fmla="*/ 18 w 238"/>
                <a:gd name="T71" fmla="*/ 186 h 224"/>
                <a:gd name="T72" fmla="*/ 22 w 238"/>
                <a:gd name="T73" fmla="*/ 198 h 224"/>
                <a:gd name="T74" fmla="*/ 36 w 238"/>
                <a:gd name="T75" fmla="*/ 214 h 224"/>
                <a:gd name="T76" fmla="*/ 50 w 238"/>
                <a:gd name="T77" fmla="*/ 222 h 224"/>
                <a:gd name="T78" fmla="*/ 64 w 238"/>
                <a:gd name="T79" fmla="*/ 222 h 224"/>
                <a:gd name="T80" fmla="*/ 76 w 238"/>
                <a:gd name="T81" fmla="*/ 210 h 224"/>
                <a:gd name="T82" fmla="*/ 82 w 238"/>
                <a:gd name="T83" fmla="*/ 204 h 224"/>
                <a:gd name="T84" fmla="*/ 100 w 238"/>
                <a:gd name="T85" fmla="*/ 204 h 224"/>
                <a:gd name="T86" fmla="*/ 110 w 238"/>
                <a:gd name="T87" fmla="*/ 208 h 224"/>
                <a:gd name="T88" fmla="*/ 116 w 238"/>
                <a:gd name="T89" fmla="*/ 212 h 224"/>
                <a:gd name="T90" fmla="*/ 130 w 238"/>
                <a:gd name="T91" fmla="*/ 204 h 224"/>
                <a:gd name="T92" fmla="*/ 142 w 238"/>
                <a:gd name="T93" fmla="*/ 198 h 224"/>
                <a:gd name="T94" fmla="*/ 164 w 238"/>
                <a:gd name="T95" fmla="*/ 192 h 224"/>
                <a:gd name="T96" fmla="*/ 172 w 238"/>
                <a:gd name="T97" fmla="*/ 182 h 224"/>
                <a:gd name="T98" fmla="*/ 180 w 238"/>
                <a:gd name="T99" fmla="*/ 168 h 224"/>
                <a:gd name="T100" fmla="*/ 198 w 238"/>
                <a:gd name="T101" fmla="*/ 156 h 224"/>
                <a:gd name="T102" fmla="*/ 212 w 238"/>
                <a:gd name="T103" fmla="*/ 142 h 224"/>
                <a:gd name="T104" fmla="*/ 214 w 238"/>
                <a:gd name="T105" fmla="*/ 124 h 224"/>
                <a:gd name="T106" fmla="*/ 220 w 238"/>
                <a:gd name="T107" fmla="*/ 112 h 224"/>
                <a:gd name="T108" fmla="*/ 228 w 238"/>
                <a:gd name="T109" fmla="*/ 110 h 224"/>
                <a:gd name="T110" fmla="*/ 236 w 238"/>
                <a:gd name="T111" fmla="*/ 102 h 224"/>
                <a:gd name="T112" fmla="*/ 222 w 238"/>
                <a:gd name="T113" fmla="*/ 76 h 224"/>
                <a:gd name="T114" fmla="*/ 218 w 238"/>
                <a:gd name="T115" fmla="*/ 1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 h="224">
                  <a:moveTo>
                    <a:pt x="218" y="10"/>
                  </a:moveTo>
                  <a:lnTo>
                    <a:pt x="218" y="10"/>
                  </a:lnTo>
                  <a:lnTo>
                    <a:pt x="216" y="10"/>
                  </a:lnTo>
                  <a:lnTo>
                    <a:pt x="212" y="10"/>
                  </a:lnTo>
                  <a:lnTo>
                    <a:pt x="210" y="10"/>
                  </a:lnTo>
                  <a:lnTo>
                    <a:pt x="206" y="10"/>
                  </a:lnTo>
                  <a:lnTo>
                    <a:pt x="204" y="10"/>
                  </a:lnTo>
                  <a:lnTo>
                    <a:pt x="204" y="10"/>
                  </a:lnTo>
                  <a:lnTo>
                    <a:pt x="202" y="10"/>
                  </a:lnTo>
                  <a:lnTo>
                    <a:pt x="202" y="10"/>
                  </a:lnTo>
                  <a:lnTo>
                    <a:pt x="202" y="10"/>
                  </a:lnTo>
                  <a:lnTo>
                    <a:pt x="200" y="8"/>
                  </a:lnTo>
                  <a:lnTo>
                    <a:pt x="200" y="6"/>
                  </a:lnTo>
                  <a:lnTo>
                    <a:pt x="200" y="6"/>
                  </a:lnTo>
                  <a:lnTo>
                    <a:pt x="198" y="6"/>
                  </a:lnTo>
                  <a:lnTo>
                    <a:pt x="198" y="4"/>
                  </a:lnTo>
                  <a:lnTo>
                    <a:pt x="196" y="4"/>
                  </a:lnTo>
                  <a:lnTo>
                    <a:pt x="194" y="2"/>
                  </a:lnTo>
                  <a:lnTo>
                    <a:pt x="190" y="0"/>
                  </a:lnTo>
                  <a:lnTo>
                    <a:pt x="188" y="4"/>
                  </a:lnTo>
                  <a:lnTo>
                    <a:pt x="186" y="8"/>
                  </a:lnTo>
                  <a:lnTo>
                    <a:pt x="186" y="8"/>
                  </a:lnTo>
                  <a:lnTo>
                    <a:pt x="186" y="10"/>
                  </a:lnTo>
                  <a:lnTo>
                    <a:pt x="184" y="10"/>
                  </a:lnTo>
                  <a:lnTo>
                    <a:pt x="184" y="12"/>
                  </a:lnTo>
                  <a:lnTo>
                    <a:pt x="182" y="14"/>
                  </a:lnTo>
                  <a:lnTo>
                    <a:pt x="178" y="14"/>
                  </a:lnTo>
                  <a:lnTo>
                    <a:pt x="176" y="16"/>
                  </a:lnTo>
                  <a:lnTo>
                    <a:pt x="174" y="18"/>
                  </a:lnTo>
                  <a:lnTo>
                    <a:pt x="172" y="20"/>
                  </a:lnTo>
                  <a:lnTo>
                    <a:pt x="170" y="24"/>
                  </a:lnTo>
                  <a:lnTo>
                    <a:pt x="170" y="24"/>
                  </a:lnTo>
                  <a:lnTo>
                    <a:pt x="168" y="26"/>
                  </a:lnTo>
                  <a:lnTo>
                    <a:pt x="168" y="26"/>
                  </a:lnTo>
                  <a:lnTo>
                    <a:pt x="166" y="26"/>
                  </a:lnTo>
                  <a:lnTo>
                    <a:pt x="162" y="28"/>
                  </a:lnTo>
                  <a:lnTo>
                    <a:pt x="160" y="28"/>
                  </a:lnTo>
                  <a:lnTo>
                    <a:pt x="160" y="30"/>
                  </a:lnTo>
                  <a:lnTo>
                    <a:pt x="158" y="30"/>
                  </a:lnTo>
                  <a:lnTo>
                    <a:pt x="158" y="30"/>
                  </a:lnTo>
                  <a:lnTo>
                    <a:pt x="156" y="32"/>
                  </a:lnTo>
                  <a:lnTo>
                    <a:pt x="156" y="32"/>
                  </a:lnTo>
                  <a:lnTo>
                    <a:pt x="156" y="34"/>
                  </a:lnTo>
                  <a:lnTo>
                    <a:pt x="156" y="36"/>
                  </a:lnTo>
                  <a:lnTo>
                    <a:pt x="156" y="38"/>
                  </a:lnTo>
                  <a:lnTo>
                    <a:pt x="156" y="40"/>
                  </a:lnTo>
                  <a:lnTo>
                    <a:pt x="154" y="42"/>
                  </a:lnTo>
                  <a:lnTo>
                    <a:pt x="154" y="44"/>
                  </a:lnTo>
                  <a:lnTo>
                    <a:pt x="154" y="44"/>
                  </a:lnTo>
                  <a:lnTo>
                    <a:pt x="154" y="46"/>
                  </a:lnTo>
                  <a:lnTo>
                    <a:pt x="152" y="46"/>
                  </a:lnTo>
                  <a:lnTo>
                    <a:pt x="152" y="46"/>
                  </a:lnTo>
                  <a:lnTo>
                    <a:pt x="152" y="46"/>
                  </a:lnTo>
                  <a:lnTo>
                    <a:pt x="150" y="46"/>
                  </a:lnTo>
                  <a:lnTo>
                    <a:pt x="148" y="46"/>
                  </a:lnTo>
                  <a:lnTo>
                    <a:pt x="146" y="46"/>
                  </a:lnTo>
                  <a:lnTo>
                    <a:pt x="144" y="48"/>
                  </a:lnTo>
                  <a:lnTo>
                    <a:pt x="144" y="48"/>
                  </a:lnTo>
                  <a:lnTo>
                    <a:pt x="144" y="48"/>
                  </a:lnTo>
                  <a:lnTo>
                    <a:pt x="142" y="50"/>
                  </a:lnTo>
                  <a:lnTo>
                    <a:pt x="142" y="50"/>
                  </a:lnTo>
                  <a:lnTo>
                    <a:pt x="140" y="52"/>
                  </a:lnTo>
                  <a:lnTo>
                    <a:pt x="140" y="54"/>
                  </a:lnTo>
                  <a:lnTo>
                    <a:pt x="138" y="56"/>
                  </a:lnTo>
                  <a:lnTo>
                    <a:pt x="138" y="56"/>
                  </a:lnTo>
                  <a:lnTo>
                    <a:pt x="136" y="60"/>
                  </a:lnTo>
                  <a:lnTo>
                    <a:pt x="134" y="62"/>
                  </a:lnTo>
                  <a:lnTo>
                    <a:pt x="134" y="62"/>
                  </a:lnTo>
                  <a:lnTo>
                    <a:pt x="132" y="64"/>
                  </a:lnTo>
                  <a:lnTo>
                    <a:pt x="130" y="64"/>
                  </a:lnTo>
                  <a:lnTo>
                    <a:pt x="130" y="66"/>
                  </a:lnTo>
                  <a:lnTo>
                    <a:pt x="128" y="66"/>
                  </a:lnTo>
                  <a:lnTo>
                    <a:pt x="126" y="66"/>
                  </a:lnTo>
                  <a:lnTo>
                    <a:pt x="124" y="66"/>
                  </a:lnTo>
                  <a:lnTo>
                    <a:pt x="122" y="66"/>
                  </a:lnTo>
                  <a:lnTo>
                    <a:pt x="120" y="66"/>
                  </a:lnTo>
                  <a:lnTo>
                    <a:pt x="118" y="66"/>
                  </a:lnTo>
                  <a:lnTo>
                    <a:pt x="118" y="66"/>
                  </a:lnTo>
                  <a:lnTo>
                    <a:pt x="116" y="66"/>
                  </a:lnTo>
                  <a:lnTo>
                    <a:pt x="114" y="66"/>
                  </a:lnTo>
                  <a:lnTo>
                    <a:pt x="114" y="64"/>
                  </a:lnTo>
                  <a:lnTo>
                    <a:pt x="110" y="62"/>
                  </a:lnTo>
                  <a:lnTo>
                    <a:pt x="108" y="62"/>
                  </a:lnTo>
                  <a:lnTo>
                    <a:pt x="108" y="60"/>
                  </a:lnTo>
                  <a:lnTo>
                    <a:pt x="106" y="60"/>
                  </a:lnTo>
                  <a:lnTo>
                    <a:pt x="104" y="60"/>
                  </a:lnTo>
                  <a:lnTo>
                    <a:pt x="102" y="60"/>
                  </a:lnTo>
                  <a:lnTo>
                    <a:pt x="100" y="60"/>
                  </a:lnTo>
                  <a:lnTo>
                    <a:pt x="98" y="60"/>
                  </a:lnTo>
                  <a:lnTo>
                    <a:pt x="98" y="60"/>
                  </a:lnTo>
                  <a:lnTo>
                    <a:pt x="98" y="60"/>
                  </a:lnTo>
                  <a:lnTo>
                    <a:pt x="96" y="62"/>
                  </a:lnTo>
                  <a:lnTo>
                    <a:pt x="96" y="62"/>
                  </a:lnTo>
                  <a:lnTo>
                    <a:pt x="96" y="64"/>
                  </a:lnTo>
                  <a:lnTo>
                    <a:pt x="94" y="66"/>
                  </a:lnTo>
                  <a:lnTo>
                    <a:pt x="92" y="68"/>
                  </a:lnTo>
                  <a:lnTo>
                    <a:pt x="92" y="68"/>
                  </a:lnTo>
                  <a:lnTo>
                    <a:pt x="92" y="70"/>
                  </a:lnTo>
                  <a:lnTo>
                    <a:pt x="92" y="72"/>
                  </a:lnTo>
                  <a:lnTo>
                    <a:pt x="90" y="74"/>
                  </a:lnTo>
                  <a:lnTo>
                    <a:pt x="90" y="76"/>
                  </a:lnTo>
                  <a:lnTo>
                    <a:pt x="90" y="76"/>
                  </a:lnTo>
                  <a:lnTo>
                    <a:pt x="88" y="78"/>
                  </a:lnTo>
                  <a:lnTo>
                    <a:pt x="88" y="78"/>
                  </a:lnTo>
                  <a:lnTo>
                    <a:pt x="86" y="80"/>
                  </a:lnTo>
                  <a:lnTo>
                    <a:pt x="84" y="82"/>
                  </a:lnTo>
                  <a:lnTo>
                    <a:pt x="82" y="82"/>
                  </a:lnTo>
                  <a:lnTo>
                    <a:pt x="82" y="82"/>
                  </a:lnTo>
                  <a:lnTo>
                    <a:pt x="80" y="82"/>
                  </a:lnTo>
                  <a:lnTo>
                    <a:pt x="76" y="82"/>
                  </a:lnTo>
                  <a:lnTo>
                    <a:pt x="74" y="82"/>
                  </a:lnTo>
                  <a:lnTo>
                    <a:pt x="72" y="82"/>
                  </a:lnTo>
                  <a:lnTo>
                    <a:pt x="68" y="80"/>
                  </a:lnTo>
                  <a:lnTo>
                    <a:pt x="66" y="80"/>
                  </a:lnTo>
                  <a:lnTo>
                    <a:pt x="64" y="78"/>
                  </a:lnTo>
                  <a:lnTo>
                    <a:pt x="62" y="78"/>
                  </a:lnTo>
                  <a:lnTo>
                    <a:pt x="62" y="78"/>
                  </a:lnTo>
                  <a:lnTo>
                    <a:pt x="62" y="78"/>
                  </a:lnTo>
                  <a:lnTo>
                    <a:pt x="60" y="76"/>
                  </a:lnTo>
                  <a:lnTo>
                    <a:pt x="60" y="74"/>
                  </a:lnTo>
                  <a:lnTo>
                    <a:pt x="60" y="72"/>
                  </a:lnTo>
                  <a:lnTo>
                    <a:pt x="60" y="70"/>
                  </a:lnTo>
                  <a:lnTo>
                    <a:pt x="58" y="66"/>
                  </a:lnTo>
                  <a:lnTo>
                    <a:pt x="58" y="64"/>
                  </a:lnTo>
                  <a:lnTo>
                    <a:pt x="58" y="62"/>
                  </a:lnTo>
                  <a:lnTo>
                    <a:pt x="58" y="62"/>
                  </a:lnTo>
                  <a:lnTo>
                    <a:pt x="56" y="60"/>
                  </a:lnTo>
                  <a:lnTo>
                    <a:pt x="56" y="58"/>
                  </a:lnTo>
                  <a:lnTo>
                    <a:pt x="52" y="56"/>
                  </a:lnTo>
                  <a:lnTo>
                    <a:pt x="52" y="62"/>
                  </a:lnTo>
                  <a:lnTo>
                    <a:pt x="54" y="70"/>
                  </a:lnTo>
                  <a:lnTo>
                    <a:pt x="54" y="80"/>
                  </a:lnTo>
                  <a:lnTo>
                    <a:pt x="52" y="88"/>
                  </a:lnTo>
                  <a:lnTo>
                    <a:pt x="52" y="94"/>
                  </a:lnTo>
                  <a:lnTo>
                    <a:pt x="52" y="98"/>
                  </a:lnTo>
                  <a:lnTo>
                    <a:pt x="52" y="102"/>
                  </a:lnTo>
                  <a:lnTo>
                    <a:pt x="50" y="106"/>
                  </a:lnTo>
                  <a:lnTo>
                    <a:pt x="50" y="110"/>
                  </a:lnTo>
                  <a:lnTo>
                    <a:pt x="50" y="112"/>
                  </a:lnTo>
                  <a:lnTo>
                    <a:pt x="50" y="112"/>
                  </a:lnTo>
                  <a:lnTo>
                    <a:pt x="48" y="114"/>
                  </a:lnTo>
                  <a:lnTo>
                    <a:pt x="48" y="116"/>
                  </a:lnTo>
                  <a:lnTo>
                    <a:pt x="46" y="116"/>
                  </a:lnTo>
                  <a:lnTo>
                    <a:pt x="46" y="118"/>
                  </a:lnTo>
                  <a:lnTo>
                    <a:pt x="44" y="118"/>
                  </a:lnTo>
                  <a:lnTo>
                    <a:pt x="42" y="120"/>
                  </a:lnTo>
                  <a:lnTo>
                    <a:pt x="42" y="120"/>
                  </a:lnTo>
                  <a:lnTo>
                    <a:pt x="40" y="122"/>
                  </a:lnTo>
                  <a:lnTo>
                    <a:pt x="38" y="122"/>
                  </a:lnTo>
                  <a:lnTo>
                    <a:pt x="36" y="122"/>
                  </a:lnTo>
                  <a:lnTo>
                    <a:pt x="34" y="122"/>
                  </a:lnTo>
                  <a:lnTo>
                    <a:pt x="30" y="122"/>
                  </a:lnTo>
                  <a:lnTo>
                    <a:pt x="28" y="122"/>
                  </a:lnTo>
                  <a:lnTo>
                    <a:pt x="26" y="122"/>
                  </a:lnTo>
                  <a:lnTo>
                    <a:pt x="24" y="120"/>
                  </a:lnTo>
                  <a:lnTo>
                    <a:pt x="22" y="120"/>
                  </a:lnTo>
                  <a:lnTo>
                    <a:pt x="22" y="120"/>
                  </a:lnTo>
                  <a:lnTo>
                    <a:pt x="20" y="118"/>
                  </a:lnTo>
                  <a:lnTo>
                    <a:pt x="20" y="118"/>
                  </a:lnTo>
                  <a:lnTo>
                    <a:pt x="20" y="116"/>
                  </a:lnTo>
                  <a:lnTo>
                    <a:pt x="18" y="114"/>
                  </a:lnTo>
                  <a:lnTo>
                    <a:pt x="18" y="112"/>
                  </a:lnTo>
                  <a:lnTo>
                    <a:pt x="18" y="110"/>
                  </a:lnTo>
                  <a:lnTo>
                    <a:pt x="16" y="110"/>
                  </a:lnTo>
                  <a:lnTo>
                    <a:pt x="16" y="108"/>
                  </a:lnTo>
                  <a:lnTo>
                    <a:pt x="16" y="108"/>
                  </a:lnTo>
                  <a:lnTo>
                    <a:pt x="16" y="108"/>
                  </a:lnTo>
                  <a:lnTo>
                    <a:pt x="14" y="108"/>
                  </a:lnTo>
                  <a:lnTo>
                    <a:pt x="14" y="108"/>
                  </a:lnTo>
                  <a:lnTo>
                    <a:pt x="14" y="108"/>
                  </a:lnTo>
                  <a:lnTo>
                    <a:pt x="14" y="110"/>
                  </a:lnTo>
                  <a:lnTo>
                    <a:pt x="12" y="110"/>
                  </a:lnTo>
                  <a:lnTo>
                    <a:pt x="12" y="112"/>
                  </a:lnTo>
                  <a:lnTo>
                    <a:pt x="12" y="112"/>
                  </a:lnTo>
                  <a:lnTo>
                    <a:pt x="10" y="112"/>
                  </a:lnTo>
                  <a:lnTo>
                    <a:pt x="8" y="112"/>
                  </a:lnTo>
                  <a:lnTo>
                    <a:pt x="8" y="112"/>
                  </a:lnTo>
                  <a:lnTo>
                    <a:pt x="6" y="112"/>
                  </a:lnTo>
                  <a:lnTo>
                    <a:pt x="2" y="114"/>
                  </a:lnTo>
                  <a:lnTo>
                    <a:pt x="0" y="114"/>
                  </a:lnTo>
                  <a:lnTo>
                    <a:pt x="2" y="116"/>
                  </a:lnTo>
                  <a:lnTo>
                    <a:pt x="2" y="118"/>
                  </a:lnTo>
                  <a:lnTo>
                    <a:pt x="2" y="120"/>
                  </a:lnTo>
                  <a:lnTo>
                    <a:pt x="2" y="122"/>
                  </a:lnTo>
                  <a:lnTo>
                    <a:pt x="2" y="124"/>
                  </a:lnTo>
                  <a:lnTo>
                    <a:pt x="2" y="128"/>
                  </a:lnTo>
                  <a:lnTo>
                    <a:pt x="2" y="130"/>
                  </a:lnTo>
                  <a:lnTo>
                    <a:pt x="2" y="132"/>
                  </a:lnTo>
                  <a:lnTo>
                    <a:pt x="2" y="134"/>
                  </a:lnTo>
                  <a:lnTo>
                    <a:pt x="2" y="134"/>
                  </a:lnTo>
                  <a:lnTo>
                    <a:pt x="2" y="134"/>
                  </a:lnTo>
                  <a:lnTo>
                    <a:pt x="2" y="136"/>
                  </a:lnTo>
                  <a:lnTo>
                    <a:pt x="4" y="136"/>
                  </a:lnTo>
                  <a:lnTo>
                    <a:pt x="4" y="136"/>
                  </a:lnTo>
                  <a:lnTo>
                    <a:pt x="4" y="136"/>
                  </a:lnTo>
                  <a:lnTo>
                    <a:pt x="6" y="138"/>
                  </a:lnTo>
                  <a:lnTo>
                    <a:pt x="8" y="138"/>
                  </a:lnTo>
                  <a:lnTo>
                    <a:pt x="10" y="138"/>
                  </a:lnTo>
                  <a:lnTo>
                    <a:pt x="12" y="138"/>
                  </a:lnTo>
                  <a:lnTo>
                    <a:pt x="12" y="138"/>
                  </a:lnTo>
                  <a:lnTo>
                    <a:pt x="14" y="140"/>
                  </a:lnTo>
                  <a:lnTo>
                    <a:pt x="14" y="140"/>
                  </a:lnTo>
                  <a:lnTo>
                    <a:pt x="14" y="140"/>
                  </a:lnTo>
                  <a:lnTo>
                    <a:pt x="14" y="142"/>
                  </a:lnTo>
                  <a:lnTo>
                    <a:pt x="14" y="142"/>
                  </a:lnTo>
                  <a:lnTo>
                    <a:pt x="14" y="144"/>
                  </a:lnTo>
                  <a:lnTo>
                    <a:pt x="14" y="146"/>
                  </a:lnTo>
                  <a:lnTo>
                    <a:pt x="14" y="150"/>
                  </a:lnTo>
                  <a:lnTo>
                    <a:pt x="14" y="152"/>
                  </a:lnTo>
                  <a:lnTo>
                    <a:pt x="14" y="156"/>
                  </a:lnTo>
                  <a:lnTo>
                    <a:pt x="14" y="156"/>
                  </a:lnTo>
                  <a:lnTo>
                    <a:pt x="14" y="158"/>
                  </a:lnTo>
                  <a:lnTo>
                    <a:pt x="14" y="158"/>
                  </a:lnTo>
                  <a:lnTo>
                    <a:pt x="14" y="160"/>
                  </a:lnTo>
                  <a:lnTo>
                    <a:pt x="14" y="160"/>
                  </a:lnTo>
                  <a:lnTo>
                    <a:pt x="16" y="160"/>
                  </a:lnTo>
                  <a:lnTo>
                    <a:pt x="18" y="160"/>
                  </a:lnTo>
                  <a:lnTo>
                    <a:pt x="20" y="162"/>
                  </a:lnTo>
                  <a:lnTo>
                    <a:pt x="20" y="162"/>
                  </a:lnTo>
                  <a:lnTo>
                    <a:pt x="22" y="162"/>
                  </a:lnTo>
                  <a:lnTo>
                    <a:pt x="22" y="162"/>
                  </a:lnTo>
                  <a:lnTo>
                    <a:pt x="22" y="164"/>
                  </a:lnTo>
                  <a:lnTo>
                    <a:pt x="22" y="166"/>
                  </a:lnTo>
                  <a:lnTo>
                    <a:pt x="20" y="166"/>
                  </a:lnTo>
                  <a:lnTo>
                    <a:pt x="20" y="168"/>
                  </a:lnTo>
                  <a:lnTo>
                    <a:pt x="22" y="168"/>
                  </a:lnTo>
                  <a:lnTo>
                    <a:pt x="22" y="168"/>
                  </a:lnTo>
                  <a:lnTo>
                    <a:pt x="22" y="168"/>
                  </a:lnTo>
                  <a:lnTo>
                    <a:pt x="22" y="168"/>
                  </a:lnTo>
                  <a:lnTo>
                    <a:pt x="24" y="168"/>
                  </a:lnTo>
                  <a:lnTo>
                    <a:pt x="26" y="168"/>
                  </a:lnTo>
                  <a:lnTo>
                    <a:pt x="26" y="168"/>
                  </a:lnTo>
                  <a:lnTo>
                    <a:pt x="28" y="168"/>
                  </a:lnTo>
                  <a:lnTo>
                    <a:pt x="28" y="168"/>
                  </a:lnTo>
                  <a:lnTo>
                    <a:pt x="28" y="168"/>
                  </a:lnTo>
                  <a:lnTo>
                    <a:pt x="28" y="168"/>
                  </a:lnTo>
                  <a:lnTo>
                    <a:pt x="28" y="170"/>
                  </a:lnTo>
                  <a:lnTo>
                    <a:pt x="28" y="172"/>
                  </a:lnTo>
                  <a:lnTo>
                    <a:pt x="28" y="172"/>
                  </a:lnTo>
                  <a:lnTo>
                    <a:pt x="28" y="174"/>
                  </a:lnTo>
                  <a:lnTo>
                    <a:pt x="28" y="176"/>
                  </a:lnTo>
                  <a:lnTo>
                    <a:pt x="26" y="178"/>
                  </a:lnTo>
                  <a:lnTo>
                    <a:pt x="26" y="180"/>
                  </a:lnTo>
                  <a:lnTo>
                    <a:pt x="26" y="182"/>
                  </a:lnTo>
                  <a:lnTo>
                    <a:pt x="24" y="182"/>
                  </a:lnTo>
                  <a:lnTo>
                    <a:pt x="24" y="182"/>
                  </a:lnTo>
                  <a:lnTo>
                    <a:pt x="22" y="184"/>
                  </a:lnTo>
                  <a:lnTo>
                    <a:pt x="20" y="184"/>
                  </a:lnTo>
                  <a:lnTo>
                    <a:pt x="20" y="186"/>
                  </a:lnTo>
                  <a:lnTo>
                    <a:pt x="18" y="186"/>
                  </a:lnTo>
                  <a:lnTo>
                    <a:pt x="18" y="186"/>
                  </a:lnTo>
                  <a:lnTo>
                    <a:pt x="18" y="186"/>
                  </a:lnTo>
                  <a:lnTo>
                    <a:pt x="18" y="188"/>
                  </a:lnTo>
                  <a:lnTo>
                    <a:pt x="18" y="190"/>
                  </a:lnTo>
                  <a:lnTo>
                    <a:pt x="18" y="190"/>
                  </a:lnTo>
                  <a:lnTo>
                    <a:pt x="18" y="192"/>
                  </a:lnTo>
                  <a:lnTo>
                    <a:pt x="20" y="194"/>
                  </a:lnTo>
                  <a:lnTo>
                    <a:pt x="20" y="196"/>
                  </a:lnTo>
                  <a:lnTo>
                    <a:pt x="22" y="198"/>
                  </a:lnTo>
                  <a:lnTo>
                    <a:pt x="24" y="200"/>
                  </a:lnTo>
                  <a:lnTo>
                    <a:pt x="26" y="204"/>
                  </a:lnTo>
                  <a:lnTo>
                    <a:pt x="28" y="206"/>
                  </a:lnTo>
                  <a:lnTo>
                    <a:pt x="30" y="208"/>
                  </a:lnTo>
                  <a:lnTo>
                    <a:pt x="32" y="210"/>
                  </a:lnTo>
                  <a:lnTo>
                    <a:pt x="34" y="212"/>
                  </a:lnTo>
                  <a:lnTo>
                    <a:pt x="36" y="214"/>
                  </a:lnTo>
                  <a:lnTo>
                    <a:pt x="38" y="216"/>
                  </a:lnTo>
                  <a:lnTo>
                    <a:pt x="42" y="218"/>
                  </a:lnTo>
                  <a:lnTo>
                    <a:pt x="42" y="220"/>
                  </a:lnTo>
                  <a:lnTo>
                    <a:pt x="44" y="220"/>
                  </a:lnTo>
                  <a:lnTo>
                    <a:pt x="46" y="222"/>
                  </a:lnTo>
                  <a:lnTo>
                    <a:pt x="48" y="222"/>
                  </a:lnTo>
                  <a:lnTo>
                    <a:pt x="50" y="222"/>
                  </a:lnTo>
                  <a:lnTo>
                    <a:pt x="54" y="222"/>
                  </a:lnTo>
                  <a:lnTo>
                    <a:pt x="56" y="224"/>
                  </a:lnTo>
                  <a:lnTo>
                    <a:pt x="58" y="224"/>
                  </a:lnTo>
                  <a:lnTo>
                    <a:pt x="60" y="222"/>
                  </a:lnTo>
                  <a:lnTo>
                    <a:pt x="62" y="222"/>
                  </a:lnTo>
                  <a:lnTo>
                    <a:pt x="64" y="222"/>
                  </a:lnTo>
                  <a:lnTo>
                    <a:pt x="64" y="222"/>
                  </a:lnTo>
                  <a:lnTo>
                    <a:pt x="66" y="220"/>
                  </a:lnTo>
                  <a:lnTo>
                    <a:pt x="68" y="220"/>
                  </a:lnTo>
                  <a:lnTo>
                    <a:pt x="70" y="218"/>
                  </a:lnTo>
                  <a:lnTo>
                    <a:pt x="72" y="216"/>
                  </a:lnTo>
                  <a:lnTo>
                    <a:pt x="72" y="216"/>
                  </a:lnTo>
                  <a:lnTo>
                    <a:pt x="74" y="214"/>
                  </a:lnTo>
                  <a:lnTo>
                    <a:pt x="76" y="210"/>
                  </a:lnTo>
                  <a:lnTo>
                    <a:pt x="76" y="208"/>
                  </a:lnTo>
                  <a:lnTo>
                    <a:pt x="78" y="208"/>
                  </a:lnTo>
                  <a:lnTo>
                    <a:pt x="78" y="206"/>
                  </a:lnTo>
                  <a:lnTo>
                    <a:pt x="78" y="206"/>
                  </a:lnTo>
                  <a:lnTo>
                    <a:pt x="80" y="206"/>
                  </a:lnTo>
                  <a:lnTo>
                    <a:pt x="80" y="204"/>
                  </a:lnTo>
                  <a:lnTo>
                    <a:pt x="82" y="204"/>
                  </a:lnTo>
                  <a:lnTo>
                    <a:pt x="84" y="204"/>
                  </a:lnTo>
                  <a:lnTo>
                    <a:pt x="86" y="204"/>
                  </a:lnTo>
                  <a:lnTo>
                    <a:pt x="88" y="202"/>
                  </a:lnTo>
                  <a:lnTo>
                    <a:pt x="90" y="202"/>
                  </a:lnTo>
                  <a:lnTo>
                    <a:pt x="94" y="202"/>
                  </a:lnTo>
                  <a:lnTo>
                    <a:pt x="98" y="204"/>
                  </a:lnTo>
                  <a:lnTo>
                    <a:pt x="100" y="204"/>
                  </a:lnTo>
                  <a:lnTo>
                    <a:pt x="104" y="204"/>
                  </a:lnTo>
                  <a:lnTo>
                    <a:pt x="104" y="204"/>
                  </a:lnTo>
                  <a:lnTo>
                    <a:pt x="106" y="206"/>
                  </a:lnTo>
                  <a:lnTo>
                    <a:pt x="108" y="206"/>
                  </a:lnTo>
                  <a:lnTo>
                    <a:pt x="110" y="206"/>
                  </a:lnTo>
                  <a:lnTo>
                    <a:pt x="110" y="206"/>
                  </a:lnTo>
                  <a:lnTo>
                    <a:pt x="110" y="208"/>
                  </a:lnTo>
                  <a:lnTo>
                    <a:pt x="110" y="210"/>
                  </a:lnTo>
                  <a:lnTo>
                    <a:pt x="112" y="212"/>
                  </a:lnTo>
                  <a:lnTo>
                    <a:pt x="112" y="212"/>
                  </a:lnTo>
                  <a:lnTo>
                    <a:pt x="112" y="212"/>
                  </a:lnTo>
                  <a:lnTo>
                    <a:pt x="114" y="212"/>
                  </a:lnTo>
                  <a:lnTo>
                    <a:pt x="114" y="212"/>
                  </a:lnTo>
                  <a:lnTo>
                    <a:pt x="116" y="212"/>
                  </a:lnTo>
                  <a:lnTo>
                    <a:pt x="116" y="212"/>
                  </a:lnTo>
                  <a:lnTo>
                    <a:pt x="118" y="210"/>
                  </a:lnTo>
                  <a:lnTo>
                    <a:pt x="120" y="210"/>
                  </a:lnTo>
                  <a:lnTo>
                    <a:pt x="124" y="208"/>
                  </a:lnTo>
                  <a:lnTo>
                    <a:pt x="126" y="206"/>
                  </a:lnTo>
                  <a:lnTo>
                    <a:pt x="128" y="204"/>
                  </a:lnTo>
                  <a:lnTo>
                    <a:pt x="130" y="204"/>
                  </a:lnTo>
                  <a:lnTo>
                    <a:pt x="132" y="202"/>
                  </a:lnTo>
                  <a:lnTo>
                    <a:pt x="134" y="200"/>
                  </a:lnTo>
                  <a:lnTo>
                    <a:pt x="136" y="200"/>
                  </a:lnTo>
                  <a:lnTo>
                    <a:pt x="136" y="198"/>
                  </a:lnTo>
                  <a:lnTo>
                    <a:pt x="138" y="198"/>
                  </a:lnTo>
                  <a:lnTo>
                    <a:pt x="138" y="198"/>
                  </a:lnTo>
                  <a:lnTo>
                    <a:pt x="142" y="198"/>
                  </a:lnTo>
                  <a:lnTo>
                    <a:pt x="144" y="198"/>
                  </a:lnTo>
                  <a:lnTo>
                    <a:pt x="148" y="198"/>
                  </a:lnTo>
                  <a:lnTo>
                    <a:pt x="152" y="196"/>
                  </a:lnTo>
                  <a:lnTo>
                    <a:pt x="156" y="196"/>
                  </a:lnTo>
                  <a:lnTo>
                    <a:pt x="158" y="196"/>
                  </a:lnTo>
                  <a:lnTo>
                    <a:pt x="160" y="194"/>
                  </a:lnTo>
                  <a:lnTo>
                    <a:pt x="164" y="192"/>
                  </a:lnTo>
                  <a:lnTo>
                    <a:pt x="166" y="190"/>
                  </a:lnTo>
                  <a:lnTo>
                    <a:pt x="168" y="190"/>
                  </a:lnTo>
                  <a:lnTo>
                    <a:pt x="170" y="188"/>
                  </a:lnTo>
                  <a:lnTo>
                    <a:pt x="170" y="188"/>
                  </a:lnTo>
                  <a:lnTo>
                    <a:pt x="170" y="186"/>
                  </a:lnTo>
                  <a:lnTo>
                    <a:pt x="172" y="184"/>
                  </a:lnTo>
                  <a:lnTo>
                    <a:pt x="172" y="182"/>
                  </a:lnTo>
                  <a:lnTo>
                    <a:pt x="174" y="178"/>
                  </a:lnTo>
                  <a:lnTo>
                    <a:pt x="176" y="176"/>
                  </a:lnTo>
                  <a:lnTo>
                    <a:pt x="176" y="174"/>
                  </a:lnTo>
                  <a:lnTo>
                    <a:pt x="178" y="172"/>
                  </a:lnTo>
                  <a:lnTo>
                    <a:pt x="178" y="170"/>
                  </a:lnTo>
                  <a:lnTo>
                    <a:pt x="180" y="170"/>
                  </a:lnTo>
                  <a:lnTo>
                    <a:pt x="180" y="168"/>
                  </a:lnTo>
                  <a:lnTo>
                    <a:pt x="182" y="166"/>
                  </a:lnTo>
                  <a:lnTo>
                    <a:pt x="184" y="166"/>
                  </a:lnTo>
                  <a:lnTo>
                    <a:pt x="186" y="164"/>
                  </a:lnTo>
                  <a:lnTo>
                    <a:pt x="190" y="162"/>
                  </a:lnTo>
                  <a:lnTo>
                    <a:pt x="192" y="162"/>
                  </a:lnTo>
                  <a:lnTo>
                    <a:pt x="192" y="160"/>
                  </a:lnTo>
                  <a:lnTo>
                    <a:pt x="198" y="156"/>
                  </a:lnTo>
                  <a:lnTo>
                    <a:pt x="202" y="152"/>
                  </a:lnTo>
                  <a:lnTo>
                    <a:pt x="206" y="150"/>
                  </a:lnTo>
                  <a:lnTo>
                    <a:pt x="208" y="148"/>
                  </a:lnTo>
                  <a:lnTo>
                    <a:pt x="210" y="146"/>
                  </a:lnTo>
                  <a:lnTo>
                    <a:pt x="210" y="144"/>
                  </a:lnTo>
                  <a:lnTo>
                    <a:pt x="210" y="144"/>
                  </a:lnTo>
                  <a:lnTo>
                    <a:pt x="212" y="142"/>
                  </a:lnTo>
                  <a:lnTo>
                    <a:pt x="212" y="140"/>
                  </a:lnTo>
                  <a:lnTo>
                    <a:pt x="212" y="138"/>
                  </a:lnTo>
                  <a:lnTo>
                    <a:pt x="212" y="136"/>
                  </a:lnTo>
                  <a:lnTo>
                    <a:pt x="214" y="130"/>
                  </a:lnTo>
                  <a:lnTo>
                    <a:pt x="214" y="128"/>
                  </a:lnTo>
                  <a:lnTo>
                    <a:pt x="214" y="126"/>
                  </a:lnTo>
                  <a:lnTo>
                    <a:pt x="214" y="124"/>
                  </a:lnTo>
                  <a:lnTo>
                    <a:pt x="216" y="120"/>
                  </a:lnTo>
                  <a:lnTo>
                    <a:pt x="216" y="118"/>
                  </a:lnTo>
                  <a:lnTo>
                    <a:pt x="216" y="116"/>
                  </a:lnTo>
                  <a:lnTo>
                    <a:pt x="218" y="114"/>
                  </a:lnTo>
                  <a:lnTo>
                    <a:pt x="218" y="112"/>
                  </a:lnTo>
                  <a:lnTo>
                    <a:pt x="218" y="112"/>
                  </a:lnTo>
                  <a:lnTo>
                    <a:pt x="220" y="112"/>
                  </a:lnTo>
                  <a:lnTo>
                    <a:pt x="220" y="112"/>
                  </a:lnTo>
                  <a:lnTo>
                    <a:pt x="220" y="112"/>
                  </a:lnTo>
                  <a:lnTo>
                    <a:pt x="222" y="112"/>
                  </a:lnTo>
                  <a:lnTo>
                    <a:pt x="224" y="112"/>
                  </a:lnTo>
                  <a:lnTo>
                    <a:pt x="226" y="112"/>
                  </a:lnTo>
                  <a:lnTo>
                    <a:pt x="228" y="112"/>
                  </a:lnTo>
                  <a:lnTo>
                    <a:pt x="228" y="110"/>
                  </a:lnTo>
                  <a:lnTo>
                    <a:pt x="230" y="110"/>
                  </a:lnTo>
                  <a:lnTo>
                    <a:pt x="230" y="110"/>
                  </a:lnTo>
                  <a:lnTo>
                    <a:pt x="230" y="110"/>
                  </a:lnTo>
                  <a:lnTo>
                    <a:pt x="232" y="108"/>
                  </a:lnTo>
                  <a:lnTo>
                    <a:pt x="232" y="106"/>
                  </a:lnTo>
                  <a:lnTo>
                    <a:pt x="234" y="104"/>
                  </a:lnTo>
                  <a:lnTo>
                    <a:pt x="236" y="102"/>
                  </a:lnTo>
                  <a:lnTo>
                    <a:pt x="238" y="96"/>
                  </a:lnTo>
                  <a:lnTo>
                    <a:pt x="238" y="94"/>
                  </a:lnTo>
                  <a:lnTo>
                    <a:pt x="226" y="90"/>
                  </a:lnTo>
                  <a:lnTo>
                    <a:pt x="226" y="86"/>
                  </a:lnTo>
                  <a:lnTo>
                    <a:pt x="224" y="82"/>
                  </a:lnTo>
                  <a:lnTo>
                    <a:pt x="224" y="78"/>
                  </a:lnTo>
                  <a:lnTo>
                    <a:pt x="222" y="76"/>
                  </a:lnTo>
                  <a:lnTo>
                    <a:pt x="220" y="72"/>
                  </a:lnTo>
                  <a:lnTo>
                    <a:pt x="218" y="68"/>
                  </a:lnTo>
                  <a:lnTo>
                    <a:pt x="218" y="62"/>
                  </a:lnTo>
                  <a:lnTo>
                    <a:pt x="218" y="52"/>
                  </a:lnTo>
                  <a:lnTo>
                    <a:pt x="218" y="44"/>
                  </a:lnTo>
                  <a:lnTo>
                    <a:pt x="218" y="36"/>
                  </a:lnTo>
                  <a:lnTo>
                    <a:pt x="218" y="1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1" name="Freeform 430">
              <a:extLst>
                <a:ext uri="{FF2B5EF4-FFF2-40B4-BE49-F238E27FC236}">
                  <a16:creationId xmlns:a16="http://schemas.microsoft.com/office/drawing/2014/main" id="{7C9D2A66-D9CF-4190-8B79-4827574846FF}"/>
                </a:ext>
              </a:extLst>
            </p:cNvPr>
            <p:cNvSpPr>
              <a:spLocks/>
            </p:cNvSpPr>
            <p:nvPr/>
          </p:nvSpPr>
          <p:spPr bwMode="auto">
            <a:xfrm>
              <a:off x="5020932" y="4951056"/>
              <a:ext cx="266740" cy="502302"/>
            </a:xfrm>
            <a:custGeom>
              <a:avLst/>
              <a:gdLst>
                <a:gd name="T0" fmla="*/ 16 w 154"/>
                <a:gd name="T1" fmla="*/ 264 h 290"/>
                <a:gd name="T2" fmla="*/ 18 w 154"/>
                <a:gd name="T3" fmla="*/ 200 h 290"/>
                <a:gd name="T4" fmla="*/ 26 w 154"/>
                <a:gd name="T5" fmla="*/ 192 h 290"/>
                <a:gd name="T6" fmla="*/ 28 w 154"/>
                <a:gd name="T7" fmla="*/ 180 h 290"/>
                <a:gd name="T8" fmla="*/ 30 w 154"/>
                <a:gd name="T9" fmla="*/ 168 h 290"/>
                <a:gd name="T10" fmla="*/ 42 w 154"/>
                <a:gd name="T11" fmla="*/ 160 h 290"/>
                <a:gd name="T12" fmla="*/ 40 w 154"/>
                <a:gd name="T13" fmla="*/ 150 h 290"/>
                <a:gd name="T14" fmla="*/ 36 w 154"/>
                <a:gd name="T15" fmla="*/ 130 h 290"/>
                <a:gd name="T16" fmla="*/ 40 w 154"/>
                <a:gd name="T17" fmla="*/ 110 h 290"/>
                <a:gd name="T18" fmla="*/ 32 w 154"/>
                <a:gd name="T19" fmla="*/ 98 h 290"/>
                <a:gd name="T20" fmla="*/ 16 w 154"/>
                <a:gd name="T21" fmla="*/ 96 h 290"/>
                <a:gd name="T22" fmla="*/ 10 w 154"/>
                <a:gd name="T23" fmla="*/ 88 h 290"/>
                <a:gd name="T24" fmla="*/ 4 w 154"/>
                <a:gd name="T25" fmla="*/ 82 h 290"/>
                <a:gd name="T26" fmla="*/ 22 w 154"/>
                <a:gd name="T27" fmla="*/ 78 h 290"/>
                <a:gd name="T28" fmla="*/ 28 w 154"/>
                <a:gd name="T29" fmla="*/ 68 h 290"/>
                <a:gd name="T30" fmla="*/ 44 w 154"/>
                <a:gd name="T31" fmla="*/ 64 h 290"/>
                <a:gd name="T32" fmla="*/ 60 w 154"/>
                <a:gd name="T33" fmla="*/ 68 h 290"/>
                <a:gd name="T34" fmla="*/ 62 w 154"/>
                <a:gd name="T35" fmla="*/ 78 h 290"/>
                <a:gd name="T36" fmla="*/ 56 w 154"/>
                <a:gd name="T37" fmla="*/ 94 h 290"/>
                <a:gd name="T38" fmla="*/ 62 w 154"/>
                <a:gd name="T39" fmla="*/ 102 h 290"/>
                <a:gd name="T40" fmla="*/ 72 w 154"/>
                <a:gd name="T41" fmla="*/ 100 h 290"/>
                <a:gd name="T42" fmla="*/ 76 w 154"/>
                <a:gd name="T43" fmla="*/ 90 h 290"/>
                <a:gd name="T44" fmla="*/ 86 w 154"/>
                <a:gd name="T45" fmla="*/ 82 h 290"/>
                <a:gd name="T46" fmla="*/ 84 w 154"/>
                <a:gd name="T47" fmla="*/ 70 h 290"/>
                <a:gd name="T48" fmla="*/ 70 w 154"/>
                <a:gd name="T49" fmla="*/ 46 h 290"/>
                <a:gd name="T50" fmla="*/ 64 w 154"/>
                <a:gd name="T51" fmla="*/ 36 h 290"/>
                <a:gd name="T52" fmla="*/ 68 w 154"/>
                <a:gd name="T53" fmla="*/ 16 h 290"/>
                <a:gd name="T54" fmla="*/ 76 w 154"/>
                <a:gd name="T55" fmla="*/ 8 h 290"/>
                <a:gd name="T56" fmla="*/ 80 w 154"/>
                <a:gd name="T57" fmla="*/ 18 h 290"/>
                <a:gd name="T58" fmla="*/ 94 w 154"/>
                <a:gd name="T59" fmla="*/ 22 h 290"/>
                <a:gd name="T60" fmla="*/ 110 w 154"/>
                <a:gd name="T61" fmla="*/ 22 h 290"/>
                <a:gd name="T62" fmla="*/ 112 w 154"/>
                <a:gd name="T63" fmla="*/ 14 h 290"/>
                <a:gd name="T64" fmla="*/ 120 w 154"/>
                <a:gd name="T65" fmla="*/ 10 h 290"/>
                <a:gd name="T66" fmla="*/ 130 w 154"/>
                <a:gd name="T67" fmla="*/ 10 h 290"/>
                <a:gd name="T68" fmla="*/ 138 w 154"/>
                <a:gd name="T69" fmla="*/ 4 h 290"/>
                <a:gd name="T70" fmla="*/ 152 w 154"/>
                <a:gd name="T71" fmla="*/ 50 h 290"/>
                <a:gd name="T72" fmla="*/ 150 w 154"/>
                <a:gd name="T73" fmla="*/ 84 h 290"/>
                <a:gd name="T74" fmla="*/ 142 w 154"/>
                <a:gd name="T75" fmla="*/ 96 h 290"/>
                <a:gd name="T76" fmla="*/ 136 w 154"/>
                <a:gd name="T77" fmla="*/ 104 h 290"/>
                <a:gd name="T78" fmla="*/ 116 w 154"/>
                <a:gd name="T79" fmla="*/ 106 h 290"/>
                <a:gd name="T80" fmla="*/ 114 w 154"/>
                <a:gd name="T81" fmla="*/ 114 h 290"/>
                <a:gd name="T82" fmla="*/ 102 w 154"/>
                <a:gd name="T83" fmla="*/ 118 h 290"/>
                <a:gd name="T84" fmla="*/ 96 w 154"/>
                <a:gd name="T85" fmla="*/ 126 h 290"/>
                <a:gd name="T86" fmla="*/ 94 w 154"/>
                <a:gd name="T87" fmla="*/ 140 h 290"/>
                <a:gd name="T88" fmla="*/ 82 w 154"/>
                <a:gd name="T89" fmla="*/ 144 h 290"/>
                <a:gd name="T90" fmla="*/ 72 w 154"/>
                <a:gd name="T91" fmla="*/ 156 h 290"/>
                <a:gd name="T92" fmla="*/ 68 w 154"/>
                <a:gd name="T93" fmla="*/ 184 h 290"/>
                <a:gd name="T94" fmla="*/ 72 w 154"/>
                <a:gd name="T95" fmla="*/ 192 h 290"/>
                <a:gd name="T96" fmla="*/ 74 w 154"/>
                <a:gd name="T97" fmla="*/ 206 h 290"/>
                <a:gd name="T98" fmla="*/ 74 w 154"/>
                <a:gd name="T99" fmla="*/ 232 h 290"/>
                <a:gd name="T100" fmla="*/ 70 w 154"/>
                <a:gd name="T101" fmla="*/ 236 h 290"/>
                <a:gd name="T102" fmla="*/ 68 w 154"/>
                <a:gd name="T103" fmla="*/ 244 h 290"/>
                <a:gd name="T104" fmla="*/ 58 w 154"/>
                <a:gd name="T105" fmla="*/ 244 h 290"/>
                <a:gd name="T106" fmla="*/ 54 w 154"/>
                <a:gd name="T107" fmla="*/ 248 h 290"/>
                <a:gd name="T108" fmla="*/ 42 w 154"/>
                <a:gd name="T109" fmla="*/ 248 h 290"/>
                <a:gd name="T110" fmla="*/ 40 w 154"/>
                <a:gd name="T111" fmla="*/ 258 h 290"/>
                <a:gd name="T112" fmla="*/ 38 w 154"/>
                <a:gd name="T113" fmla="*/ 28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290">
                  <a:moveTo>
                    <a:pt x="36" y="290"/>
                  </a:moveTo>
                  <a:lnTo>
                    <a:pt x="26" y="286"/>
                  </a:lnTo>
                  <a:lnTo>
                    <a:pt x="24" y="282"/>
                  </a:lnTo>
                  <a:lnTo>
                    <a:pt x="24" y="278"/>
                  </a:lnTo>
                  <a:lnTo>
                    <a:pt x="22" y="274"/>
                  </a:lnTo>
                  <a:lnTo>
                    <a:pt x="20" y="272"/>
                  </a:lnTo>
                  <a:lnTo>
                    <a:pt x="18" y="268"/>
                  </a:lnTo>
                  <a:lnTo>
                    <a:pt x="16" y="264"/>
                  </a:lnTo>
                  <a:lnTo>
                    <a:pt x="16" y="258"/>
                  </a:lnTo>
                  <a:lnTo>
                    <a:pt x="18" y="248"/>
                  </a:lnTo>
                  <a:lnTo>
                    <a:pt x="18" y="240"/>
                  </a:lnTo>
                  <a:lnTo>
                    <a:pt x="18" y="232"/>
                  </a:lnTo>
                  <a:lnTo>
                    <a:pt x="18" y="206"/>
                  </a:lnTo>
                  <a:lnTo>
                    <a:pt x="18" y="204"/>
                  </a:lnTo>
                  <a:lnTo>
                    <a:pt x="18" y="202"/>
                  </a:lnTo>
                  <a:lnTo>
                    <a:pt x="18" y="200"/>
                  </a:lnTo>
                  <a:lnTo>
                    <a:pt x="20" y="198"/>
                  </a:lnTo>
                  <a:lnTo>
                    <a:pt x="20" y="196"/>
                  </a:lnTo>
                  <a:lnTo>
                    <a:pt x="20" y="194"/>
                  </a:lnTo>
                  <a:lnTo>
                    <a:pt x="22" y="194"/>
                  </a:lnTo>
                  <a:lnTo>
                    <a:pt x="22" y="194"/>
                  </a:lnTo>
                  <a:lnTo>
                    <a:pt x="24" y="192"/>
                  </a:lnTo>
                  <a:lnTo>
                    <a:pt x="26" y="192"/>
                  </a:lnTo>
                  <a:lnTo>
                    <a:pt x="26" y="192"/>
                  </a:lnTo>
                  <a:lnTo>
                    <a:pt x="28" y="190"/>
                  </a:lnTo>
                  <a:lnTo>
                    <a:pt x="28" y="190"/>
                  </a:lnTo>
                  <a:lnTo>
                    <a:pt x="28" y="188"/>
                  </a:lnTo>
                  <a:lnTo>
                    <a:pt x="28" y="188"/>
                  </a:lnTo>
                  <a:lnTo>
                    <a:pt x="30" y="186"/>
                  </a:lnTo>
                  <a:lnTo>
                    <a:pt x="30" y="186"/>
                  </a:lnTo>
                  <a:lnTo>
                    <a:pt x="28" y="182"/>
                  </a:lnTo>
                  <a:lnTo>
                    <a:pt x="28" y="180"/>
                  </a:lnTo>
                  <a:lnTo>
                    <a:pt x="28" y="178"/>
                  </a:lnTo>
                  <a:lnTo>
                    <a:pt x="28" y="174"/>
                  </a:lnTo>
                  <a:lnTo>
                    <a:pt x="28" y="174"/>
                  </a:lnTo>
                  <a:lnTo>
                    <a:pt x="28" y="172"/>
                  </a:lnTo>
                  <a:lnTo>
                    <a:pt x="28" y="172"/>
                  </a:lnTo>
                  <a:lnTo>
                    <a:pt x="28" y="170"/>
                  </a:lnTo>
                  <a:lnTo>
                    <a:pt x="28" y="170"/>
                  </a:lnTo>
                  <a:lnTo>
                    <a:pt x="30" y="168"/>
                  </a:lnTo>
                  <a:lnTo>
                    <a:pt x="30" y="168"/>
                  </a:lnTo>
                  <a:lnTo>
                    <a:pt x="32" y="166"/>
                  </a:lnTo>
                  <a:lnTo>
                    <a:pt x="36" y="166"/>
                  </a:lnTo>
                  <a:lnTo>
                    <a:pt x="36" y="164"/>
                  </a:lnTo>
                  <a:lnTo>
                    <a:pt x="38" y="164"/>
                  </a:lnTo>
                  <a:lnTo>
                    <a:pt x="38" y="162"/>
                  </a:lnTo>
                  <a:lnTo>
                    <a:pt x="40" y="160"/>
                  </a:lnTo>
                  <a:lnTo>
                    <a:pt x="42" y="160"/>
                  </a:lnTo>
                  <a:lnTo>
                    <a:pt x="42" y="158"/>
                  </a:lnTo>
                  <a:lnTo>
                    <a:pt x="42" y="158"/>
                  </a:lnTo>
                  <a:lnTo>
                    <a:pt x="42" y="156"/>
                  </a:lnTo>
                  <a:lnTo>
                    <a:pt x="42" y="156"/>
                  </a:lnTo>
                  <a:lnTo>
                    <a:pt x="42" y="156"/>
                  </a:lnTo>
                  <a:lnTo>
                    <a:pt x="42" y="154"/>
                  </a:lnTo>
                  <a:lnTo>
                    <a:pt x="40" y="152"/>
                  </a:lnTo>
                  <a:lnTo>
                    <a:pt x="40" y="150"/>
                  </a:lnTo>
                  <a:lnTo>
                    <a:pt x="38" y="146"/>
                  </a:lnTo>
                  <a:lnTo>
                    <a:pt x="38" y="144"/>
                  </a:lnTo>
                  <a:lnTo>
                    <a:pt x="36" y="144"/>
                  </a:lnTo>
                  <a:lnTo>
                    <a:pt x="36" y="140"/>
                  </a:lnTo>
                  <a:lnTo>
                    <a:pt x="36" y="138"/>
                  </a:lnTo>
                  <a:lnTo>
                    <a:pt x="36" y="136"/>
                  </a:lnTo>
                  <a:lnTo>
                    <a:pt x="36" y="132"/>
                  </a:lnTo>
                  <a:lnTo>
                    <a:pt x="36" y="130"/>
                  </a:lnTo>
                  <a:lnTo>
                    <a:pt x="38" y="128"/>
                  </a:lnTo>
                  <a:lnTo>
                    <a:pt x="38" y="122"/>
                  </a:lnTo>
                  <a:lnTo>
                    <a:pt x="40" y="120"/>
                  </a:lnTo>
                  <a:lnTo>
                    <a:pt x="40" y="118"/>
                  </a:lnTo>
                  <a:lnTo>
                    <a:pt x="42" y="114"/>
                  </a:lnTo>
                  <a:lnTo>
                    <a:pt x="42" y="114"/>
                  </a:lnTo>
                  <a:lnTo>
                    <a:pt x="42" y="112"/>
                  </a:lnTo>
                  <a:lnTo>
                    <a:pt x="40" y="110"/>
                  </a:lnTo>
                  <a:lnTo>
                    <a:pt x="40" y="108"/>
                  </a:lnTo>
                  <a:lnTo>
                    <a:pt x="40" y="106"/>
                  </a:lnTo>
                  <a:lnTo>
                    <a:pt x="38" y="104"/>
                  </a:lnTo>
                  <a:lnTo>
                    <a:pt x="38" y="102"/>
                  </a:lnTo>
                  <a:lnTo>
                    <a:pt x="36" y="100"/>
                  </a:lnTo>
                  <a:lnTo>
                    <a:pt x="34" y="100"/>
                  </a:lnTo>
                  <a:lnTo>
                    <a:pt x="34" y="98"/>
                  </a:lnTo>
                  <a:lnTo>
                    <a:pt x="32" y="98"/>
                  </a:lnTo>
                  <a:lnTo>
                    <a:pt x="32" y="98"/>
                  </a:lnTo>
                  <a:lnTo>
                    <a:pt x="30" y="96"/>
                  </a:lnTo>
                  <a:lnTo>
                    <a:pt x="30" y="96"/>
                  </a:lnTo>
                  <a:lnTo>
                    <a:pt x="26" y="96"/>
                  </a:lnTo>
                  <a:lnTo>
                    <a:pt x="24" y="96"/>
                  </a:lnTo>
                  <a:lnTo>
                    <a:pt x="20" y="96"/>
                  </a:lnTo>
                  <a:lnTo>
                    <a:pt x="18" y="96"/>
                  </a:lnTo>
                  <a:lnTo>
                    <a:pt x="16" y="96"/>
                  </a:lnTo>
                  <a:lnTo>
                    <a:pt x="14" y="96"/>
                  </a:lnTo>
                  <a:lnTo>
                    <a:pt x="14" y="94"/>
                  </a:lnTo>
                  <a:lnTo>
                    <a:pt x="12" y="94"/>
                  </a:lnTo>
                  <a:lnTo>
                    <a:pt x="12" y="94"/>
                  </a:lnTo>
                  <a:lnTo>
                    <a:pt x="12" y="94"/>
                  </a:lnTo>
                  <a:lnTo>
                    <a:pt x="12" y="92"/>
                  </a:lnTo>
                  <a:lnTo>
                    <a:pt x="10" y="90"/>
                  </a:lnTo>
                  <a:lnTo>
                    <a:pt x="10" y="88"/>
                  </a:lnTo>
                  <a:lnTo>
                    <a:pt x="8" y="88"/>
                  </a:lnTo>
                  <a:lnTo>
                    <a:pt x="8" y="86"/>
                  </a:lnTo>
                  <a:lnTo>
                    <a:pt x="8" y="84"/>
                  </a:lnTo>
                  <a:lnTo>
                    <a:pt x="8" y="84"/>
                  </a:lnTo>
                  <a:lnTo>
                    <a:pt x="6" y="84"/>
                  </a:lnTo>
                  <a:lnTo>
                    <a:pt x="6" y="82"/>
                  </a:lnTo>
                  <a:lnTo>
                    <a:pt x="6" y="82"/>
                  </a:lnTo>
                  <a:lnTo>
                    <a:pt x="4" y="82"/>
                  </a:lnTo>
                  <a:lnTo>
                    <a:pt x="0" y="82"/>
                  </a:lnTo>
                  <a:lnTo>
                    <a:pt x="4" y="80"/>
                  </a:lnTo>
                  <a:lnTo>
                    <a:pt x="8" y="80"/>
                  </a:lnTo>
                  <a:lnTo>
                    <a:pt x="10" y="80"/>
                  </a:lnTo>
                  <a:lnTo>
                    <a:pt x="14" y="80"/>
                  </a:lnTo>
                  <a:lnTo>
                    <a:pt x="18" y="78"/>
                  </a:lnTo>
                  <a:lnTo>
                    <a:pt x="20" y="78"/>
                  </a:lnTo>
                  <a:lnTo>
                    <a:pt x="22" y="78"/>
                  </a:lnTo>
                  <a:lnTo>
                    <a:pt x="24" y="76"/>
                  </a:lnTo>
                  <a:lnTo>
                    <a:pt x="24" y="76"/>
                  </a:lnTo>
                  <a:lnTo>
                    <a:pt x="24" y="76"/>
                  </a:lnTo>
                  <a:lnTo>
                    <a:pt x="26" y="74"/>
                  </a:lnTo>
                  <a:lnTo>
                    <a:pt x="26" y="72"/>
                  </a:lnTo>
                  <a:lnTo>
                    <a:pt x="26" y="72"/>
                  </a:lnTo>
                  <a:lnTo>
                    <a:pt x="26" y="68"/>
                  </a:lnTo>
                  <a:lnTo>
                    <a:pt x="28" y="68"/>
                  </a:lnTo>
                  <a:lnTo>
                    <a:pt x="28" y="66"/>
                  </a:lnTo>
                  <a:lnTo>
                    <a:pt x="28" y="66"/>
                  </a:lnTo>
                  <a:lnTo>
                    <a:pt x="30" y="64"/>
                  </a:lnTo>
                  <a:lnTo>
                    <a:pt x="32" y="64"/>
                  </a:lnTo>
                  <a:lnTo>
                    <a:pt x="34" y="62"/>
                  </a:lnTo>
                  <a:lnTo>
                    <a:pt x="38" y="62"/>
                  </a:lnTo>
                  <a:lnTo>
                    <a:pt x="40" y="62"/>
                  </a:lnTo>
                  <a:lnTo>
                    <a:pt x="44" y="64"/>
                  </a:lnTo>
                  <a:lnTo>
                    <a:pt x="48" y="64"/>
                  </a:lnTo>
                  <a:lnTo>
                    <a:pt x="50" y="66"/>
                  </a:lnTo>
                  <a:lnTo>
                    <a:pt x="52" y="66"/>
                  </a:lnTo>
                  <a:lnTo>
                    <a:pt x="54" y="66"/>
                  </a:lnTo>
                  <a:lnTo>
                    <a:pt x="56" y="68"/>
                  </a:lnTo>
                  <a:lnTo>
                    <a:pt x="58" y="68"/>
                  </a:lnTo>
                  <a:lnTo>
                    <a:pt x="60" y="68"/>
                  </a:lnTo>
                  <a:lnTo>
                    <a:pt x="60" y="68"/>
                  </a:lnTo>
                  <a:lnTo>
                    <a:pt x="62" y="68"/>
                  </a:lnTo>
                  <a:lnTo>
                    <a:pt x="62" y="70"/>
                  </a:lnTo>
                  <a:lnTo>
                    <a:pt x="62" y="70"/>
                  </a:lnTo>
                  <a:lnTo>
                    <a:pt x="62" y="70"/>
                  </a:lnTo>
                  <a:lnTo>
                    <a:pt x="62" y="72"/>
                  </a:lnTo>
                  <a:lnTo>
                    <a:pt x="62" y="72"/>
                  </a:lnTo>
                  <a:lnTo>
                    <a:pt x="62" y="74"/>
                  </a:lnTo>
                  <a:lnTo>
                    <a:pt x="62" y="78"/>
                  </a:lnTo>
                  <a:lnTo>
                    <a:pt x="62" y="80"/>
                  </a:lnTo>
                  <a:lnTo>
                    <a:pt x="60" y="82"/>
                  </a:lnTo>
                  <a:lnTo>
                    <a:pt x="60" y="84"/>
                  </a:lnTo>
                  <a:lnTo>
                    <a:pt x="58" y="88"/>
                  </a:lnTo>
                  <a:lnTo>
                    <a:pt x="58" y="90"/>
                  </a:lnTo>
                  <a:lnTo>
                    <a:pt x="56" y="92"/>
                  </a:lnTo>
                  <a:lnTo>
                    <a:pt x="56" y="94"/>
                  </a:lnTo>
                  <a:lnTo>
                    <a:pt x="56" y="94"/>
                  </a:lnTo>
                  <a:lnTo>
                    <a:pt x="56" y="94"/>
                  </a:lnTo>
                  <a:lnTo>
                    <a:pt x="56" y="96"/>
                  </a:lnTo>
                  <a:lnTo>
                    <a:pt x="58" y="96"/>
                  </a:lnTo>
                  <a:lnTo>
                    <a:pt x="58" y="98"/>
                  </a:lnTo>
                  <a:lnTo>
                    <a:pt x="58" y="100"/>
                  </a:lnTo>
                  <a:lnTo>
                    <a:pt x="60" y="100"/>
                  </a:lnTo>
                  <a:lnTo>
                    <a:pt x="60" y="100"/>
                  </a:lnTo>
                  <a:lnTo>
                    <a:pt x="62" y="102"/>
                  </a:lnTo>
                  <a:lnTo>
                    <a:pt x="62" y="102"/>
                  </a:lnTo>
                  <a:lnTo>
                    <a:pt x="64" y="102"/>
                  </a:lnTo>
                  <a:lnTo>
                    <a:pt x="64" y="102"/>
                  </a:lnTo>
                  <a:lnTo>
                    <a:pt x="66" y="102"/>
                  </a:lnTo>
                  <a:lnTo>
                    <a:pt x="68" y="102"/>
                  </a:lnTo>
                  <a:lnTo>
                    <a:pt x="68" y="102"/>
                  </a:lnTo>
                  <a:lnTo>
                    <a:pt x="70" y="100"/>
                  </a:lnTo>
                  <a:lnTo>
                    <a:pt x="72" y="100"/>
                  </a:lnTo>
                  <a:lnTo>
                    <a:pt x="72" y="100"/>
                  </a:lnTo>
                  <a:lnTo>
                    <a:pt x="72" y="100"/>
                  </a:lnTo>
                  <a:lnTo>
                    <a:pt x="74" y="100"/>
                  </a:lnTo>
                  <a:lnTo>
                    <a:pt x="74" y="98"/>
                  </a:lnTo>
                  <a:lnTo>
                    <a:pt x="74" y="96"/>
                  </a:lnTo>
                  <a:lnTo>
                    <a:pt x="74" y="94"/>
                  </a:lnTo>
                  <a:lnTo>
                    <a:pt x="76" y="92"/>
                  </a:lnTo>
                  <a:lnTo>
                    <a:pt x="76" y="90"/>
                  </a:lnTo>
                  <a:lnTo>
                    <a:pt x="76" y="90"/>
                  </a:lnTo>
                  <a:lnTo>
                    <a:pt x="78" y="88"/>
                  </a:lnTo>
                  <a:lnTo>
                    <a:pt x="78" y="88"/>
                  </a:lnTo>
                  <a:lnTo>
                    <a:pt x="82" y="86"/>
                  </a:lnTo>
                  <a:lnTo>
                    <a:pt x="84" y="86"/>
                  </a:lnTo>
                  <a:lnTo>
                    <a:pt x="84" y="84"/>
                  </a:lnTo>
                  <a:lnTo>
                    <a:pt x="86" y="84"/>
                  </a:lnTo>
                  <a:lnTo>
                    <a:pt x="86" y="82"/>
                  </a:lnTo>
                  <a:lnTo>
                    <a:pt x="86" y="82"/>
                  </a:lnTo>
                  <a:lnTo>
                    <a:pt x="86" y="82"/>
                  </a:lnTo>
                  <a:lnTo>
                    <a:pt x="86" y="82"/>
                  </a:lnTo>
                  <a:lnTo>
                    <a:pt x="86" y="80"/>
                  </a:lnTo>
                  <a:lnTo>
                    <a:pt x="86" y="78"/>
                  </a:lnTo>
                  <a:lnTo>
                    <a:pt x="86" y="76"/>
                  </a:lnTo>
                  <a:lnTo>
                    <a:pt x="84" y="72"/>
                  </a:lnTo>
                  <a:lnTo>
                    <a:pt x="84" y="70"/>
                  </a:lnTo>
                  <a:lnTo>
                    <a:pt x="84" y="66"/>
                  </a:lnTo>
                  <a:lnTo>
                    <a:pt x="82" y="64"/>
                  </a:lnTo>
                  <a:lnTo>
                    <a:pt x="80" y="62"/>
                  </a:lnTo>
                  <a:lnTo>
                    <a:pt x="80" y="60"/>
                  </a:lnTo>
                  <a:lnTo>
                    <a:pt x="78" y="56"/>
                  </a:lnTo>
                  <a:lnTo>
                    <a:pt x="76" y="54"/>
                  </a:lnTo>
                  <a:lnTo>
                    <a:pt x="74" y="50"/>
                  </a:lnTo>
                  <a:lnTo>
                    <a:pt x="70" y="46"/>
                  </a:lnTo>
                  <a:lnTo>
                    <a:pt x="68" y="44"/>
                  </a:lnTo>
                  <a:lnTo>
                    <a:pt x="66" y="42"/>
                  </a:lnTo>
                  <a:lnTo>
                    <a:pt x="66" y="40"/>
                  </a:lnTo>
                  <a:lnTo>
                    <a:pt x="64" y="40"/>
                  </a:lnTo>
                  <a:lnTo>
                    <a:pt x="64" y="38"/>
                  </a:lnTo>
                  <a:lnTo>
                    <a:pt x="64" y="38"/>
                  </a:lnTo>
                  <a:lnTo>
                    <a:pt x="64" y="36"/>
                  </a:lnTo>
                  <a:lnTo>
                    <a:pt x="64" y="36"/>
                  </a:lnTo>
                  <a:lnTo>
                    <a:pt x="64" y="34"/>
                  </a:lnTo>
                  <a:lnTo>
                    <a:pt x="64" y="32"/>
                  </a:lnTo>
                  <a:lnTo>
                    <a:pt x="64" y="30"/>
                  </a:lnTo>
                  <a:lnTo>
                    <a:pt x="66" y="28"/>
                  </a:lnTo>
                  <a:lnTo>
                    <a:pt x="66" y="24"/>
                  </a:lnTo>
                  <a:lnTo>
                    <a:pt x="68" y="20"/>
                  </a:lnTo>
                  <a:lnTo>
                    <a:pt x="68" y="18"/>
                  </a:lnTo>
                  <a:lnTo>
                    <a:pt x="68" y="16"/>
                  </a:lnTo>
                  <a:lnTo>
                    <a:pt x="68" y="14"/>
                  </a:lnTo>
                  <a:lnTo>
                    <a:pt x="68" y="12"/>
                  </a:lnTo>
                  <a:lnTo>
                    <a:pt x="68" y="10"/>
                  </a:lnTo>
                  <a:lnTo>
                    <a:pt x="68" y="6"/>
                  </a:lnTo>
                  <a:lnTo>
                    <a:pt x="66" y="0"/>
                  </a:lnTo>
                  <a:lnTo>
                    <a:pt x="68" y="2"/>
                  </a:lnTo>
                  <a:lnTo>
                    <a:pt x="72" y="4"/>
                  </a:lnTo>
                  <a:lnTo>
                    <a:pt x="76" y="8"/>
                  </a:lnTo>
                  <a:lnTo>
                    <a:pt x="76" y="8"/>
                  </a:lnTo>
                  <a:lnTo>
                    <a:pt x="78" y="10"/>
                  </a:lnTo>
                  <a:lnTo>
                    <a:pt x="78" y="10"/>
                  </a:lnTo>
                  <a:lnTo>
                    <a:pt x="78" y="12"/>
                  </a:lnTo>
                  <a:lnTo>
                    <a:pt x="80" y="14"/>
                  </a:lnTo>
                  <a:lnTo>
                    <a:pt x="80" y="16"/>
                  </a:lnTo>
                  <a:lnTo>
                    <a:pt x="80" y="16"/>
                  </a:lnTo>
                  <a:lnTo>
                    <a:pt x="80" y="18"/>
                  </a:lnTo>
                  <a:lnTo>
                    <a:pt x="82" y="18"/>
                  </a:lnTo>
                  <a:lnTo>
                    <a:pt x="82" y="18"/>
                  </a:lnTo>
                  <a:lnTo>
                    <a:pt x="84" y="20"/>
                  </a:lnTo>
                  <a:lnTo>
                    <a:pt x="86" y="20"/>
                  </a:lnTo>
                  <a:lnTo>
                    <a:pt x="88" y="22"/>
                  </a:lnTo>
                  <a:lnTo>
                    <a:pt x="90" y="22"/>
                  </a:lnTo>
                  <a:lnTo>
                    <a:pt x="92" y="22"/>
                  </a:lnTo>
                  <a:lnTo>
                    <a:pt x="94" y="22"/>
                  </a:lnTo>
                  <a:lnTo>
                    <a:pt x="96" y="22"/>
                  </a:lnTo>
                  <a:lnTo>
                    <a:pt x="98" y="22"/>
                  </a:lnTo>
                  <a:lnTo>
                    <a:pt x="100" y="22"/>
                  </a:lnTo>
                  <a:lnTo>
                    <a:pt x="102" y="22"/>
                  </a:lnTo>
                  <a:lnTo>
                    <a:pt x="104" y="22"/>
                  </a:lnTo>
                  <a:lnTo>
                    <a:pt x="106" y="22"/>
                  </a:lnTo>
                  <a:lnTo>
                    <a:pt x="108" y="22"/>
                  </a:lnTo>
                  <a:lnTo>
                    <a:pt x="110" y="22"/>
                  </a:lnTo>
                  <a:lnTo>
                    <a:pt x="110" y="20"/>
                  </a:lnTo>
                  <a:lnTo>
                    <a:pt x="112" y="20"/>
                  </a:lnTo>
                  <a:lnTo>
                    <a:pt x="112" y="20"/>
                  </a:lnTo>
                  <a:lnTo>
                    <a:pt x="112" y="18"/>
                  </a:lnTo>
                  <a:lnTo>
                    <a:pt x="112" y="18"/>
                  </a:lnTo>
                  <a:lnTo>
                    <a:pt x="112" y="16"/>
                  </a:lnTo>
                  <a:lnTo>
                    <a:pt x="112" y="14"/>
                  </a:lnTo>
                  <a:lnTo>
                    <a:pt x="112" y="14"/>
                  </a:lnTo>
                  <a:lnTo>
                    <a:pt x="114" y="12"/>
                  </a:lnTo>
                  <a:lnTo>
                    <a:pt x="114" y="12"/>
                  </a:lnTo>
                  <a:lnTo>
                    <a:pt x="114" y="12"/>
                  </a:lnTo>
                  <a:lnTo>
                    <a:pt x="114" y="10"/>
                  </a:lnTo>
                  <a:lnTo>
                    <a:pt x="116" y="10"/>
                  </a:lnTo>
                  <a:lnTo>
                    <a:pt x="116" y="10"/>
                  </a:lnTo>
                  <a:lnTo>
                    <a:pt x="118" y="10"/>
                  </a:lnTo>
                  <a:lnTo>
                    <a:pt x="120" y="10"/>
                  </a:lnTo>
                  <a:lnTo>
                    <a:pt x="122" y="12"/>
                  </a:lnTo>
                  <a:lnTo>
                    <a:pt x="124" y="12"/>
                  </a:lnTo>
                  <a:lnTo>
                    <a:pt x="126" y="12"/>
                  </a:lnTo>
                  <a:lnTo>
                    <a:pt x="128" y="12"/>
                  </a:lnTo>
                  <a:lnTo>
                    <a:pt x="128" y="12"/>
                  </a:lnTo>
                  <a:lnTo>
                    <a:pt x="130" y="12"/>
                  </a:lnTo>
                  <a:lnTo>
                    <a:pt x="130" y="12"/>
                  </a:lnTo>
                  <a:lnTo>
                    <a:pt x="130" y="10"/>
                  </a:lnTo>
                  <a:lnTo>
                    <a:pt x="132" y="10"/>
                  </a:lnTo>
                  <a:lnTo>
                    <a:pt x="132" y="8"/>
                  </a:lnTo>
                  <a:lnTo>
                    <a:pt x="132" y="6"/>
                  </a:lnTo>
                  <a:lnTo>
                    <a:pt x="134" y="6"/>
                  </a:lnTo>
                  <a:lnTo>
                    <a:pt x="134" y="6"/>
                  </a:lnTo>
                  <a:lnTo>
                    <a:pt x="134" y="4"/>
                  </a:lnTo>
                  <a:lnTo>
                    <a:pt x="136" y="4"/>
                  </a:lnTo>
                  <a:lnTo>
                    <a:pt x="138" y="4"/>
                  </a:lnTo>
                  <a:lnTo>
                    <a:pt x="140" y="2"/>
                  </a:lnTo>
                  <a:lnTo>
                    <a:pt x="144" y="2"/>
                  </a:lnTo>
                  <a:lnTo>
                    <a:pt x="148" y="2"/>
                  </a:lnTo>
                  <a:lnTo>
                    <a:pt x="150" y="2"/>
                  </a:lnTo>
                  <a:lnTo>
                    <a:pt x="150" y="30"/>
                  </a:lnTo>
                  <a:lnTo>
                    <a:pt x="152" y="36"/>
                  </a:lnTo>
                  <a:lnTo>
                    <a:pt x="152" y="42"/>
                  </a:lnTo>
                  <a:lnTo>
                    <a:pt x="152" y="50"/>
                  </a:lnTo>
                  <a:lnTo>
                    <a:pt x="152" y="58"/>
                  </a:lnTo>
                  <a:lnTo>
                    <a:pt x="154" y="66"/>
                  </a:lnTo>
                  <a:lnTo>
                    <a:pt x="154" y="68"/>
                  </a:lnTo>
                  <a:lnTo>
                    <a:pt x="154" y="72"/>
                  </a:lnTo>
                  <a:lnTo>
                    <a:pt x="152" y="76"/>
                  </a:lnTo>
                  <a:lnTo>
                    <a:pt x="152" y="78"/>
                  </a:lnTo>
                  <a:lnTo>
                    <a:pt x="152" y="82"/>
                  </a:lnTo>
                  <a:lnTo>
                    <a:pt x="150" y="84"/>
                  </a:lnTo>
                  <a:lnTo>
                    <a:pt x="150" y="86"/>
                  </a:lnTo>
                  <a:lnTo>
                    <a:pt x="150" y="86"/>
                  </a:lnTo>
                  <a:lnTo>
                    <a:pt x="148" y="88"/>
                  </a:lnTo>
                  <a:lnTo>
                    <a:pt x="146" y="90"/>
                  </a:lnTo>
                  <a:lnTo>
                    <a:pt x="144" y="92"/>
                  </a:lnTo>
                  <a:lnTo>
                    <a:pt x="142" y="94"/>
                  </a:lnTo>
                  <a:lnTo>
                    <a:pt x="142" y="94"/>
                  </a:lnTo>
                  <a:lnTo>
                    <a:pt x="142" y="96"/>
                  </a:lnTo>
                  <a:lnTo>
                    <a:pt x="140" y="96"/>
                  </a:lnTo>
                  <a:lnTo>
                    <a:pt x="140" y="100"/>
                  </a:lnTo>
                  <a:lnTo>
                    <a:pt x="140" y="100"/>
                  </a:lnTo>
                  <a:lnTo>
                    <a:pt x="140" y="102"/>
                  </a:lnTo>
                  <a:lnTo>
                    <a:pt x="140" y="102"/>
                  </a:lnTo>
                  <a:lnTo>
                    <a:pt x="138" y="104"/>
                  </a:lnTo>
                  <a:lnTo>
                    <a:pt x="138" y="104"/>
                  </a:lnTo>
                  <a:lnTo>
                    <a:pt x="136" y="104"/>
                  </a:lnTo>
                  <a:lnTo>
                    <a:pt x="134" y="106"/>
                  </a:lnTo>
                  <a:lnTo>
                    <a:pt x="134" y="106"/>
                  </a:lnTo>
                  <a:lnTo>
                    <a:pt x="130" y="106"/>
                  </a:lnTo>
                  <a:lnTo>
                    <a:pt x="126" y="106"/>
                  </a:lnTo>
                  <a:lnTo>
                    <a:pt x="122" y="106"/>
                  </a:lnTo>
                  <a:lnTo>
                    <a:pt x="120" y="106"/>
                  </a:lnTo>
                  <a:lnTo>
                    <a:pt x="118" y="106"/>
                  </a:lnTo>
                  <a:lnTo>
                    <a:pt x="116" y="106"/>
                  </a:lnTo>
                  <a:lnTo>
                    <a:pt x="116" y="106"/>
                  </a:lnTo>
                  <a:lnTo>
                    <a:pt x="114" y="108"/>
                  </a:lnTo>
                  <a:lnTo>
                    <a:pt x="114" y="108"/>
                  </a:lnTo>
                  <a:lnTo>
                    <a:pt x="114" y="108"/>
                  </a:lnTo>
                  <a:lnTo>
                    <a:pt x="114" y="110"/>
                  </a:lnTo>
                  <a:lnTo>
                    <a:pt x="114" y="112"/>
                  </a:lnTo>
                  <a:lnTo>
                    <a:pt x="114" y="114"/>
                  </a:lnTo>
                  <a:lnTo>
                    <a:pt x="114" y="114"/>
                  </a:lnTo>
                  <a:lnTo>
                    <a:pt x="112" y="114"/>
                  </a:lnTo>
                  <a:lnTo>
                    <a:pt x="112" y="116"/>
                  </a:lnTo>
                  <a:lnTo>
                    <a:pt x="112" y="116"/>
                  </a:lnTo>
                  <a:lnTo>
                    <a:pt x="110" y="116"/>
                  </a:lnTo>
                  <a:lnTo>
                    <a:pt x="108" y="116"/>
                  </a:lnTo>
                  <a:lnTo>
                    <a:pt x="104" y="118"/>
                  </a:lnTo>
                  <a:lnTo>
                    <a:pt x="104" y="118"/>
                  </a:lnTo>
                  <a:lnTo>
                    <a:pt x="102" y="118"/>
                  </a:lnTo>
                  <a:lnTo>
                    <a:pt x="102" y="120"/>
                  </a:lnTo>
                  <a:lnTo>
                    <a:pt x="100" y="120"/>
                  </a:lnTo>
                  <a:lnTo>
                    <a:pt x="98" y="122"/>
                  </a:lnTo>
                  <a:lnTo>
                    <a:pt x="98" y="122"/>
                  </a:lnTo>
                  <a:lnTo>
                    <a:pt x="98" y="122"/>
                  </a:lnTo>
                  <a:lnTo>
                    <a:pt x="98" y="124"/>
                  </a:lnTo>
                  <a:lnTo>
                    <a:pt x="96" y="124"/>
                  </a:lnTo>
                  <a:lnTo>
                    <a:pt x="96" y="126"/>
                  </a:lnTo>
                  <a:lnTo>
                    <a:pt x="96" y="130"/>
                  </a:lnTo>
                  <a:lnTo>
                    <a:pt x="96" y="132"/>
                  </a:lnTo>
                  <a:lnTo>
                    <a:pt x="96" y="134"/>
                  </a:lnTo>
                  <a:lnTo>
                    <a:pt x="96" y="138"/>
                  </a:lnTo>
                  <a:lnTo>
                    <a:pt x="96" y="138"/>
                  </a:lnTo>
                  <a:lnTo>
                    <a:pt x="96" y="140"/>
                  </a:lnTo>
                  <a:lnTo>
                    <a:pt x="96" y="140"/>
                  </a:lnTo>
                  <a:lnTo>
                    <a:pt x="94" y="140"/>
                  </a:lnTo>
                  <a:lnTo>
                    <a:pt x="94" y="142"/>
                  </a:lnTo>
                  <a:lnTo>
                    <a:pt x="94" y="142"/>
                  </a:lnTo>
                  <a:lnTo>
                    <a:pt x="92" y="142"/>
                  </a:lnTo>
                  <a:lnTo>
                    <a:pt x="90" y="142"/>
                  </a:lnTo>
                  <a:lnTo>
                    <a:pt x="88" y="142"/>
                  </a:lnTo>
                  <a:lnTo>
                    <a:pt x="86" y="144"/>
                  </a:lnTo>
                  <a:lnTo>
                    <a:pt x="84" y="144"/>
                  </a:lnTo>
                  <a:lnTo>
                    <a:pt x="82" y="144"/>
                  </a:lnTo>
                  <a:lnTo>
                    <a:pt x="80" y="146"/>
                  </a:lnTo>
                  <a:lnTo>
                    <a:pt x="78" y="146"/>
                  </a:lnTo>
                  <a:lnTo>
                    <a:pt x="76" y="148"/>
                  </a:lnTo>
                  <a:lnTo>
                    <a:pt x="76" y="150"/>
                  </a:lnTo>
                  <a:lnTo>
                    <a:pt x="74" y="150"/>
                  </a:lnTo>
                  <a:lnTo>
                    <a:pt x="74" y="152"/>
                  </a:lnTo>
                  <a:lnTo>
                    <a:pt x="72" y="154"/>
                  </a:lnTo>
                  <a:lnTo>
                    <a:pt x="72" y="156"/>
                  </a:lnTo>
                  <a:lnTo>
                    <a:pt x="70" y="158"/>
                  </a:lnTo>
                  <a:lnTo>
                    <a:pt x="70" y="162"/>
                  </a:lnTo>
                  <a:lnTo>
                    <a:pt x="70" y="166"/>
                  </a:lnTo>
                  <a:lnTo>
                    <a:pt x="68" y="170"/>
                  </a:lnTo>
                  <a:lnTo>
                    <a:pt x="68" y="174"/>
                  </a:lnTo>
                  <a:lnTo>
                    <a:pt x="68" y="178"/>
                  </a:lnTo>
                  <a:lnTo>
                    <a:pt x="68" y="180"/>
                  </a:lnTo>
                  <a:lnTo>
                    <a:pt x="68" y="184"/>
                  </a:lnTo>
                  <a:lnTo>
                    <a:pt x="68" y="186"/>
                  </a:lnTo>
                  <a:lnTo>
                    <a:pt x="68" y="186"/>
                  </a:lnTo>
                  <a:lnTo>
                    <a:pt x="68" y="188"/>
                  </a:lnTo>
                  <a:lnTo>
                    <a:pt x="70" y="190"/>
                  </a:lnTo>
                  <a:lnTo>
                    <a:pt x="70" y="190"/>
                  </a:lnTo>
                  <a:lnTo>
                    <a:pt x="70" y="190"/>
                  </a:lnTo>
                  <a:lnTo>
                    <a:pt x="72" y="192"/>
                  </a:lnTo>
                  <a:lnTo>
                    <a:pt x="72" y="192"/>
                  </a:lnTo>
                  <a:lnTo>
                    <a:pt x="72" y="192"/>
                  </a:lnTo>
                  <a:lnTo>
                    <a:pt x="74" y="192"/>
                  </a:lnTo>
                  <a:lnTo>
                    <a:pt x="74" y="194"/>
                  </a:lnTo>
                  <a:lnTo>
                    <a:pt x="74" y="196"/>
                  </a:lnTo>
                  <a:lnTo>
                    <a:pt x="74" y="196"/>
                  </a:lnTo>
                  <a:lnTo>
                    <a:pt x="74" y="198"/>
                  </a:lnTo>
                  <a:lnTo>
                    <a:pt x="74" y="202"/>
                  </a:lnTo>
                  <a:lnTo>
                    <a:pt x="74" y="206"/>
                  </a:lnTo>
                  <a:lnTo>
                    <a:pt x="74" y="214"/>
                  </a:lnTo>
                  <a:lnTo>
                    <a:pt x="74" y="218"/>
                  </a:lnTo>
                  <a:lnTo>
                    <a:pt x="74" y="222"/>
                  </a:lnTo>
                  <a:lnTo>
                    <a:pt x="74" y="222"/>
                  </a:lnTo>
                  <a:lnTo>
                    <a:pt x="74" y="224"/>
                  </a:lnTo>
                  <a:lnTo>
                    <a:pt x="74" y="228"/>
                  </a:lnTo>
                  <a:lnTo>
                    <a:pt x="74" y="230"/>
                  </a:lnTo>
                  <a:lnTo>
                    <a:pt x="74" y="232"/>
                  </a:lnTo>
                  <a:lnTo>
                    <a:pt x="74" y="234"/>
                  </a:lnTo>
                  <a:lnTo>
                    <a:pt x="74" y="234"/>
                  </a:lnTo>
                  <a:lnTo>
                    <a:pt x="74" y="234"/>
                  </a:lnTo>
                  <a:lnTo>
                    <a:pt x="74" y="234"/>
                  </a:lnTo>
                  <a:lnTo>
                    <a:pt x="74" y="236"/>
                  </a:lnTo>
                  <a:lnTo>
                    <a:pt x="72" y="236"/>
                  </a:lnTo>
                  <a:lnTo>
                    <a:pt x="70" y="236"/>
                  </a:lnTo>
                  <a:lnTo>
                    <a:pt x="70" y="236"/>
                  </a:lnTo>
                  <a:lnTo>
                    <a:pt x="70" y="236"/>
                  </a:lnTo>
                  <a:lnTo>
                    <a:pt x="68" y="238"/>
                  </a:lnTo>
                  <a:lnTo>
                    <a:pt x="68" y="238"/>
                  </a:lnTo>
                  <a:lnTo>
                    <a:pt x="68" y="240"/>
                  </a:lnTo>
                  <a:lnTo>
                    <a:pt x="68" y="242"/>
                  </a:lnTo>
                  <a:lnTo>
                    <a:pt x="68" y="242"/>
                  </a:lnTo>
                  <a:lnTo>
                    <a:pt x="68" y="244"/>
                  </a:lnTo>
                  <a:lnTo>
                    <a:pt x="68" y="244"/>
                  </a:lnTo>
                  <a:lnTo>
                    <a:pt x="68" y="244"/>
                  </a:lnTo>
                  <a:lnTo>
                    <a:pt x="66" y="244"/>
                  </a:lnTo>
                  <a:lnTo>
                    <a:pt x="64" y="244"/>
                  </a:lnTo>
                  <a:lnTo>
                    <a:pt x="62" y="244"/>
                  </a:lnTo>
                  <a:lnTo>
                    <a:pt x="60" y="244"/>
                  </a:lnTo>
                  <a:lnTo>
                    <a:pt x="60" y="244"/>
                  </a:lnTo>
                  <a:lnTo>
                    <a:pt x="58" y="244"/>
                  </a:lnTo>
                  <a:lnTo>
                    <a:pt x="58" y="244"/>
                  </a:lnTo>
                  <a:lnTo>
                    <a:pt x="56" y="244"/>
                  </a:lnTo>
                  <a:lnTo>
                    <a:pt x="56" y="244"/>
                  </a:lnTo>
                  <a:lnTo>
                    <a:pt x="56" y="244"/>
                  </a:lnTo>
                  <a:lnTo>
                    <a:pt x="56" y="246"/>
                  </a:lnTo>
                  <a:lnTo>
                    <a:pt x="54" y="248"/>
                  </a:lnTo>
                  <a:lnTo>
                    <a:pt x="54" y="248"/>
                  </a:lnTo>
                  <a:lnTo>
                    <a:pt x="54" y="248"/>
                  </a:lnTo>
                  <a:lnTo>
                    <a:pt x="54" y="248"/>
                  </a:lnTo>
                  <a:lnTo>
                    <a:pt x="52" y="248"/>
                  </a:lnTo>
                  <a:lnTo>
                    <a:pt x="52" y="248"/>
                  </a:lnTo>
                  <a:lnTo>
                    <a:pt x="50" y="248"/>
                  </a:lnTo>
                  <a:lnTo>
                    <a:pt x="48" y="248"/>
                  </a:lnTo>
                  <a:lnTo>
                    <a:pt x="46" y="248"/>
                  </a:lnTo>
                  <a:lnTo>
                    <a:pt x="44" y="248"/>
                  </a:lnTo>
                  <a:lnTo>
                    <a:pt x="42" y="248"/>
                  </a:lnTo>
                  <a:lnTo>
                    <a:pt x="42" y="248"/>
                  </a:lnTo>
                  <a:lnTo>
                    <a:pt x="40" y="250"/>
                  </a:lnTo>
                  <a:lnTo>
                    <a:pt x="40" y="250"/>
                  </a:lnTo>
                  <a:lnTo>
                    <a:pt x="40" y="250"/>
                  </a:lnTo>
                  <a:lnTo>
                    <a:pt x="40" y="250"/>
                  </a:lnTo>
                  <a:lnTo>
                    <a:pt x="40" y="252"/>
                  </a:lnTo>
                  <a:lnTo>
                    <a:pt x="40" y="254"/>
                  </a:lnTo>
                  <a:lnTo>
                    <a:pt x="40" y="254"/>
                  </a:lnTo>
                  <a:lnTo>
                    <a:pt x="40" y="258"/>
                  </a:lnTo>
                  <a:lnTo>
                    <a:pt x="40" y="260"/>
                  </a:lnTo>
                  <a:lnTo>
                    <a:pt x="40" y="266"/>
                  </a:lnTo>
                  <a:lnTo>
                    <a:pt x="40" y="270"/>
                  </a:lnTo>
                  <a:lnTo>
                    <a:pt x="40" y="276"/>
                  </a:lnTo>
                  <a:lnTo>
                    <a:pt x="40" y="280"/>
                  </a:lnTo>
                  <a:lnTo>
                    <a:pt x="40" y="282"/>
                  </a:lnTo>
                  <a:lnTo>
                    <a:pt x="38" y="284"/>
                  </a:lnTo>
                  <a:lnTo>
                    <a:pt x="38" y="286"/>
                  </a:lnTo>
                  <a:lnTo>
                    <a:pt x="36" y="29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2" name="Freeform 431">
              <a:extLst>
                <a:ext uri="{FF2B5EF4-FFF2-40B4-BE49-F238E27FC236}">
                  <a16:creationId xmlns:a16="http://schemas.microsoft.com/office/drawing/2014/main" id="{75971AD7-657B-45C0-9F70-9D745D16C799}"/>
                </a:ext>
              </a:extLst>
            </p:cNvPr>
            <p:cNvSpPr>
              <a:spLocks/>
            </p:cNvSpPr>
            <p:nvPr/>
          </p:nvSpPr>
          <p:spPr bwMode="auto">
            <a:xfrm>
              <a:off x="5020932" y="4951056"/>
              <a:ext cx="266740" cy="502302"/>
            </a:xfrm>
            <a:custGeom>
              <a:avLst/>
              <a:gdLst>
                <a:gd name="T0" fmla="*/ 16 w 154"/>
                <a:gd name="T1" fmla="*/ 264 h 290"/>
                <a:gd name="T2" fmla="*/ 18 w 154"/>
                <a:gd name="T3" fmla="*/ 200 h 290"/>
                <a:gd name="T4" fmla="*/ 26 w 154"/>
                <a:gd name="T5" fmla="*/ 192 h 290"/>
                <a:gd name="T6" fmla="*/ 28 w 154"/>
                <a:gd name="T7" fmla="*/ 180 h 290"/>
                <a:gd name="T8" fmla="*/ 30 w 154"/>
                <a:gd name="T9" fmla="*/ 168 h 290"/>
                <a:gd name="T10" fmla="*/ 42 w 154"/>
                <a:gd name="T11" fmla="*/ 160 h 290"/>
                <a:gd name="T12" fmla="*/ 40 w 154"/>
                <a:gd name="T13" fmla="*/ 150 h 290"/>
                <a:gd name="T14" fmla="*/ 36 w 154"/>
                <a:gd name="T15" fmla="*/ 130 h 290"/>
                <a:gd name="T16" fmla="*/ 40 w 154"/>
                <a:gd name="T17" fmla="*/ 110 h 290"/>
                <a:gd name="T18" fmla="*/ 32 w 154"/>
                <a:gd name="T19" fmla="*/ 98 h 290"/>
                <a:gd name="T20" fmla="*/ 16 w 154"/>
                <a:gd name="T21" fmla="*/ 96 h 290"/>
                <a:gd name="T22" fmla="*/ 10 w 154"/>
                <a:gd name="T23" fmla="*/ 88 h 290"/>
                <a:gd name="T24" fmla="*/ 4 w 154"/>
                <a:gd name="T25" fmla="*/ 82 h 290"/>
                <a:gd name="T26" fmla="*/ 22 w 154"/>
                <a:gd name="T27" fmla="*/ 78 h 290"/>
                <a:gd name="T28" fmla="*/ 28 w 154"/>
                <a:gd name="T29" fmla="*/ 68 h 290"/>
                <a:gd name="T30" fmla="*/ 44 w 154"/>
                <a:gd name="T31" fmla="*/ 64 h 290"/>
                <a:gd name="T32" fmla="*/ 60 w 154"/>
                <a:gd name="T33" fmla="*/ 68 h 290"/>
                <a:gd name="T34" fmla="*/ 62 w 154"/>
                <a:gd name="T35" fmla="*/ 78 h 290"/>
                <a:gd name="T36" fmla="*/ 56 w 154"/>
                <a:gd name="T37" fmla="*/ 94 h 290"/>
                <a:gd name="T38" fmla="*/ 62 w 154"/>
                <a:gd name="T39" fmla="*/ 102 h 290"/>
                <a:gd name="T40" fmla="*/ 72 w 154"/>
                <a:gd name="T41" fmla="*/ 100 h 290"/>
                <a:gd name="T42" fmla="*/ 76 w 154"/>
                <a:gd name="T43" fmla="*/ 90 h 290"/>
                <a:gd name="T44" fmla="*/ 86 w 154"/>
                <a:gd name="T45" fmla="*/ 82 h 290"/>
                <a:gd name="T46" fmla="*/ 84 w 154"/>
                <a:gd name="T47" fmla="*/ 70 h 290"/>
                <a:gd name="T48" fmla="*/ 70 w 154"/>
                <a:gd name="T49" fmla="*/ 46 h 290"/>
                <a:gd name="T50" fmla="*/ 64 w 154"/>
                <a:gd name="T51" fmla="*/ 36 h 290"/>
                <a:gd name="T52" fmla="*/ 68 w 154"/>
                <a:gd name="T53" fmla="*/ 16 h 290"/>
                <a:gd name="T54" fmla="*/ 76 w 154"/>
                <a:gd name="T55" fmla="*/ 8 h 290"/>
                <a:gd name="T56" fmla="*/ 80 w 154"/>
                <a:gd name="T57" fmla="*/ 18 h 290"/>
                <a:gd name="T58" fmla="*/ 94 w 154"/>
                <a:gd name="T59" fmla="*/ 22 h 290"/>
                <a:gd name="T60" fmla="*/ 110 w 154"/>
                <a:gd name="T61" fmla="*/ 22 h 290"/>
                <a:gd name="T62" fmla="*/ 112 w 154"/>
                <a:gd name="T63" fmla="*/ 14 h 290"/>
                <a:gd name="T64" fmla="*/ 120 w 154"/>
                <a:gd name="T65" fmla="*/ 10 h 290"/>
                <a:gd name="T66" fmla="*/ 130 w 154"/>
                <a:gd name="T67" fmla="*/ 10 h 290"/>
                <a:gd name="T68" fmla="*/ 138 w 154"/>
                <a:gd name="T69" fmla="*/ 4 h 290"/>
                <a:gd name="T70" fmla="*/ 152 w 154"/>
                <a:gd name="T71" fmla="*/ 50 h 290"/>
                <a:gd name="T72" fmla="*/ 150 w 154"/>
                <a:gd name="T73" fmla="*/ 84 h 290"/>
                <a:gd name="T74" fmla="*/ 142 w 154"/>
                <a:gd name="T75" fmla="*/ 96 h 290"/>
                <a:gd name="T76" fmla="*/ 136 w 154"/>
                <a:gd name="T77" fmla="*/ 104 h 290"/>
                <a:gd name="T78" fmla="*/ 116 w 154"/>
                <a:gd name="T79" fmla="*/ 106 h 290"/>
                <a:gd name="T80" fmla="*/ 114 w 154"/>
                <a:gd name="T81" fmla="*/ 114 h 290"/>
                <a:gd name="T82" fmla="*/ 102 w 154"/>
                <a:gd name="T83" fmla="*/ 118 h 290"/>
                <a:gd name="T84" fmla="*/ 96 w 154"/>
                <a:gd name="T85" fmla="*/ 126 h 290"/>
                <a:gd name="T86" fmla="*/ 94 w 154"/>
                <a:gd name="T87" fmla="*/ 140 h 290"/>
                <a:gd name="T88" fmla="*/ 82 w 154"/>
                <a:gd name="T89" fmla="*/ 144 h 290"/>
                <a:gd name="T90" fmla="*/ 72 w 154"/>
                <a:gd name="T91" fmla="*/ 156 h 290"/>
                <a:gd name="T92" fmla="*/ 68 w 154"/>
                <a:gd name="T93" fmla="*/ 184 h 290"/>
                <a:gd name="T94" fmla="*/ 72 w 154"/>
                <a:gd name="T95" fmla="*/ 192 h 290"/>
                <a:gd name="T96" fmla="*/ 74 w 154"/>
                <a:gd name="T97" fmla="*/ 206 h 290"/>
                <a:gd name="T98" fmla="*/ 74 w 154"/>
                <a:gd name="T99" fmla="*/ 232 h 290"/>
                <a:gd name="T100" fmla="*/ 70 w 154"/>
                <a:gd name="T101" fmla="*/ 236 h 290"/>
                <a:gd name="T102" fmla="*/ 68 w 154"/>
                <a:gd name="T103" fmla="*/ 244 h 290"/>
                <a:gd name="T104" fmla="*/ 58 w 154"/>
                <a:gd name="T105" fmla="*/ 244 h 290"/>
                <a:gd name="T106" fmla="*/ 54 w 154"/>
                <a:gd name="T107" fmla="*/ 248 h 290"/>
                <a:gd name="T108" fmla="*/ 42 w 154"/>
                <a:gd name="T109" fmla="*/ 248 h 290"/>
                <a:gd name="T110" fmla="*/ 40 w 154"/>
                <a:gd name="T111" fmla="*/ 258 h 290"/>
                <a:gd name="T112" fmla="*/ 38 w 154"/>
                <a:gd name="T113" fmla="*/ 28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290">
                  <a:moveTo>
                    <a:pt x="36" y="290"/>
                  </a:moveTo>
                  <a:lnTo>
                    <a:pt x="26" y="286"/>
                  </a:lnTo>
                  <a:lnTo>
                    <a:pt x="24" y="282"/>
                  </a:lnTo>
                  <a:lnTo>
                    <a:pt x="24" y="278"/>
                  </a:lnTo>
                  <a:lnTo>
                    <a:pt x="22" y="274"/>
                  </a:lnTo>
                  <a:lnTo>
                    <a:pt x="20" y="272"/>
                  </a:lnTo>
                  <a:lnTo>
                    <a:pt x="18" y="268"/>
                  </a:lnTo>
                  <a:lnTo>
                    <a:pt x="16" y="264"/>
                  </a:lnTo>
                  <a:lnTo>
                    <a:pt x="16" y="258"/>
                  </a:lnTo>
                  <a:lnTo>
                    <a:pt x="18" y="248"/>
                  </a:lnTo>
                  <a:lnTo>
                    <a:pt x="18" y="240"/>
                  </a:lnTo>
                  <a:lnTo>
                    <a:pt x="18" y="232"/>
                  </a:lnTo>
                  <a:lnTo>
                    <a:pt x="18" y="206"/>
                  </a:lnTo>
                  <a:lnTo>
                    <a:pt x="18" y="204"/>
                  </a:lnTo>
                  <a:lnTo>
                    <a:pt x="18" y="202"/>
                  </a:lnTo>
                  <a:lnTo>
                    <a:pt x="18" y="200"/>
                  </a:lnTo>
                  <a:lnTo>
                    <a:pt x="20" y="198"/>
                  </a:lnTo>
                  <a:lnTo>
                    <a:pt x="20" y="196"/>
                  </a:lnTo>
                  <a:lnTo>
                    <a:pt x="20" y="194"/>
                  </a:lnTo>
                  <a:lnTo>
                    <a:pt x="22" y="194"/>
                  </a:lnTo>
                  <a:lnTo>
                    <a:pt x="22" y="194"/>
                  </a:lnTo>
                  <a:lnTo>
                    <a:pt x="24" y="192"/>
                  </a:lnTo>
                  <a:lnTo>
                    <a:pt x="26" y="192"/>
                  </a:lnTo>
                  <a:lnTo>
                    <a:pt x="26" y="192"/>
                  </a:lnTo>
                  <a:lnTo>
                    <a:pt x="28" y="190"/>
                  </a:lnTo>
                  <a:lnTo>
                    <a:pt x="28" y="190"/>
                  </a:lnTo>
                  <a:lnTo>
                    <a:pt x="28" y="188"/>
                  </a:lnTo>
                  <a:lnTo>
                    <a:pt x="28" y="188"/>
                  </a:lnTo>
                  <a:lnTo>
                    <a:pt x="30" y="186"/>
                  </a:lnTo>
                  <a:lnTo>
                    <a:pt x="30" y="186"/>
                  </a:lnTo>
                  <a:lnTo>
                    <a:pt x="28" y="182"/>
                  </a:lnTo>
                  <a:lnTo>
                    <a:pt x="28" y="180"/>
                  </a:lnTo>
                  <a:lnTo>
                    <a:pt x="28" y="178"/>
                  </a:lnTo>
                  <a:lnTo>
                    <a:pt x="28" y="174"/>
                  </a:lnTo>
                  <a:lnTo>
                    <a:pt x="28" y="174"/>
                  </a:lnTo>
                  <a:lnTo>
                    <a:pt x="28" y="172"/>
                  </a:lnTo>
                  <a:lnTo>
                    <a:pt x="28" y="172"/>
                  </a:lnTo>
                  <a:lnTo>
                    <a:pt x="28" y="170"/>
                  </a:lnTo>
                  <a:lnTo>
                    <a:pt x="28" y="170"/>
                  </a:lnTo>
                  <a:lnTo>
                    <a:pt x="30" y="168"/>
                  </a:lnTo>
                  <a:lnTo>
                    <a:pt x="30" y="168"/>
                  </a:lnTo>
                  <a:lnTo>
                    <a:pt x="32" y="166"/>
                  </a:lnTo>
                  <a:lnTo>
                    <a:pt x="36" y="166"/>
                  </a:lnTo>
                  <a:lnTo>
                    <a:pt x="36" y="164"/>
                  </a:lnTo>
                  <a:lnTo>
                    <a:pt x="38" y="164"/>
                  </a:lnTo>
                  <a:lnTo>
                    <a:pt x="38" y="162"/>
                  </a:lnTo>
                  <a:lnTo>
                    <a:pt x="40" y="160"/>
                  </a:lnTo>
                  <a:lnTo>
                    <a:pt x="42" y="160"/>
                  </a:lnTo>
                  <a:lnTo>
                    <a:pt x="42" y="158"/>
                  </a:lnTo>
                  <a:lnTo>
                    <a:pt x="42" y="158"/>
                  </a:lnTo>
                  <a:lnTo>
                    <a:pt x="42" y="156"/>
                  </a:lnTo>
                  <a:lnTo>
                    <a:pt x="42" y="156"/>
                  </a:lnTo>
                  <a:lnTo>
                    <a:pt x="42" y="156"/>
                  </a:lnTo>
                  <a:lnTo>
                    <a:pt x="42" y="154"/>
                  </a:lnTo>
                  <a:lnTo>
                    <a:pt x="40" y="152"/>
                  </a:lnTo>
                  <a:lnTo>
                    <a:pt x="40" y="150"/>
                  </a:lnTo>
                  <a:lnTo>
                    <a:pt x="38" y="146"/>
                  </a:lnTo>
                  <a:lnTo>
                    <a:pt x="38" y="144"/>
                  </a:lnTo>
                  <a:lnTo>
                    <a:pt x="36" y="144"/>
                  </a:lnTo>
                  <a:lnTo>
                    <a:pt x="36" y="140"/>
                  </a:lnTo>
                  <a:lnTo>
                    <a:pt x="36" y="138"/>
                  </a:lnTo>
                  <a:lnTo>
                    <a:pt x="36" y="136"/>
                  </a:lnTo>
                  <a:lnTo>
                    <a:pt x="36" y="132"/>
                  </a:lnTo>
                  <a:lnTo>
                    <a:pt x="36" y="130"/>
                  </a:lnTo>
                  <a:lnTo>
                    <a:pt x="38" y="128"/>
                  </a:lnTo>
                  <a:lnTo>
                    <a:pt x="38" y="122"/>
                  </a:lnTo>
                  <a:lnTo>
                    <a:pt x="40" y="120"/>
                  </a:lnTo>
                  <a:lnTo>
                    <a:pt x="40" y="118"/>
                  </a:lnTo>
                  <a:lnTo>
                    <a:pt x="42" y="114"/>
                  </a:lnTo>
                  <a:lnTo>
                    <a:pt x="42" y="114"/>
                  </a:lnTo>
                  <a:lnTo>
                    <a:pt x="42" y="112"/>
                  </a:lnTo>
                  <a:lnTo>
                    <a:pt x="40" y="110"/>
                  </a:lnTo>
                  <a:lnTo>
                    <a:pt x="40" y="108"/>
                  </a:lnTo>
                  <a:lnTo>
                    <a:pt x="40" y="106"/>
                  </a:lnTo>
                  <a:lnTo>
                    <a:pt x="38" y="104"/>
                  </a:lnTo>
                  <a:lnTo>
                    <a:pt x="38" y="102"/>
                  </a:lnTo>
                  <a:lnTo>
                    <a:pt x="36" y="100"/>
                  </a:lnTo>
                  <a:lnTo>
                    <a:pt x="34" y="100"/>
                  </a:lnTo>
                  <a:lnTo>
                    <a:pt x="34" y="98"/>
                  </a:lnTo>
                  <a:lnTo>
                    <a:pt x="32" y="98"/>
                  </a:lnTo>
                  <a:lnTo>
                    <a:pt x="32" y="98"/>
                  </a:lnTo>
                  <a:lnTo>
                    <a:pt x="30" y="96"/>
                  </a:lnTo>
                  <a:lnTo>
                    <a:pt x="30" y="96"/>
                  </a:lnTo>
                  <a:lnTo>
                    <a:pt x="26" y="96"/>
                  </a:lnTo>
                  <a:lnTo>
                    <a:pt x="24" y="96"/>
                  </a:lnTo>
                  <a:lnTo>
                    <a:pt x="20" y="96"/>
                  </a:lnTo>
                  <a:lnTo>
                    <a:pt x="18" y="96"/>
                  </a:lnTo>
                  <a:lnTo>
                    <a:pt x="16" y="96"/>
                  </a:lnTo>
                  <a:lnTo>
                    <a:pt x="14" y="96"/>
                  </a:lnTo>
                  <a:lnTo>
                    <a:pt x="14" y="94"/>
                  </a:lnTo>
                  <a:lnTo>
                    <a:pt x="12" y="94"/>
                  </a:lnTo>
                  <a:lnTo>
                    <a:pt x="12" y="94"/>
                  </a:lnTo>
                  <a:lnTo>
                    <a:pt x="12" y="94"/>
                  </a:lnTo>
                  <a:lnTo>
                    <a:pt x="12" y="92"/>
                  </a:lnTo>
                  <a:lnTo>
                    <a:pt x="10" y="90"/>
                  </a:lnTo>
                  <a:lnTo>
                    <a:pt x="10" y="88"/>
                  </a:lnTo>
                  <a:lnTo>
                    <a:pt x="8" y="88"/>
                  </a:lnTo>
                  <a:lnTo>
                    <a:pt x="8" y="86"/>
                  </a:lnTo>
                  <a:lnTo>
                    <a:pt x="8" y="84"/>
                  </a:lnTo>
                  <a:lnTo>
                    <a:pt x="8" y="84"/>
                  </a:lnTo>
                  <a:lnTo>
                    <a:pt x="6" y="84"/>
                  </a:lnTo>
                  <a:lnTo>
                    <a:pt x="6" y="82"/>
                  </a:lnTo>
                  <a:lnTo>
                    <a:pt x="6" y="82"/>
                  </a:lnTo>
                  <a:lnTo>
                    <a:pt x="4" y="82"/>
                  </a:lnTo>
                  <a:lnTo>
                    <a:pt x="0" y="82"/>
                  </a:lnTo>
                  <a:lnTo>
                    <a:pt x="4" y="80"/>
                  </a:lnTo>
                  <a:lnTo>
                    <a:pt x="8" y="80"/>
                  </a:lnTo>
                  <a:lnTo>
                    <a:pt x="10" y="80"/>
                  </a:lnTo>
                  <a:lnTo>
                    <a:pt x="14" y="80"/>
                  </a:lnTo>
                  <a:lnTo>
                    <a:pt x="18" y="78"/>
                  </a:lnTo>
                  <a:lnTo>
                    <a:pt x="20" y="78"/>
                  </a:lnTo>
                  <a:lnTo>
                    <a:pt x="22" y="78"/>
                  </a:lnTo>
                  <a:lnTo>
                    <a:pt x="24" y="76"/>
                  </a:lnTo>
                  <a:lnTo>
                    <a:pt x="24" y="76"/>
                  </a:lnTo>
                  <a:lnTo>
                    <a:pt x="24" y="76"/>
                  </a:lnTo>
                  <a:lnTo>
                    <a:pt x="26" y="74"/>
                  </a:lnTo>
                  <a:lnTo>
                    <a:pt x="26" y="72"/>
                  </a:lnTo>
                  <a:lnTo>
                    <a:pt x="26" y="72"/>
                  </a:lnTo>
                  <a:lnTo>
                    <a:pt x="26" y="68"/>
                  </a:lnTo>
                  <a:lnTo>
                    <a:pt x="28" y="68"/>
                  </a:lnTo>
                  <a:lnTo>
                    <a:pt x="28" y="66"/>
                  </a:lnTo>
                  <a:lnTo>
                    <a:pt x="28" y="66"/>
                  </a:lnTo>
                  <a:lnTo>
                    <a:pt x="30" y="64"/>
                  </a:lnTo>
                  <a:lnTo>
                    <a:pt x="32" y="64"/>
                  </a:lnTo>
                  <a:lnTo>
                    <a:pt x="34" y="62"/>
                  </a:lnTo>
                  <a:lnTo>
                    <a:pt x="38" y="62"/>
                  </a:lnTo>
                  <a:lnTo>
                    <a:pt x="40" y="62"/>
                  </a:lnTo>
                  <a:lnTo>
                    <a:pt x="44" y="64"/>
                  </a:lnTo>
                  <a:lnTo>
                    <a:pt x="48" y="64"/>
                  </a:lnTo>
                  <a:lnTo>
                    <a:pt x="50" y="66"/>
                  </a:lnTo>
                  <a:lnTo>
                    <a:pt x="52" y="66"/>
                  </a:lnTo>
                  <a:lnTo>
                    <a:pt x="54" y="66"/>
                  </a:lnTo>
                  <a:lnTo>
                    <a:pt x="56" y="68"/>
                  </a:lnTo>
                  <a:lnTo>
                    <a:pt x="58" y="68"/>
                  </a:lnTo>
                  <a:lnTo>
                    <a:pt x="60" y="68"/>
                  </a:lnTo>
                  <a:lnTo>
                    <a:pt x="60" y="68"/>
                  </a:lnTo>
                  <a:lnTo>
                    <a:pt x="62" y="68"/>
                  </a:lnTo>
                  <a:lnTo>
                    <a:pt x="62" y="70"/>
                  </a:lnTo>
                  <a:lnTo>
                    <a:pt x="62" y="70"/>
                  </a:lnTo>
                  <a:lnTo>
                    <a:pt x="62" y="70"/>
                  </a:lnTo>
                  <a:lnTo>
                    <a:pt x="62" y="72"/>
                  </a:lnTo>
                  <a:lnTo>
                    <a:pt x="62" y="72"/>
                  </a:lnTo>
                  <a:lnTo>
                    <a:pt x="62" y="74"/>
                  </a:lnTo>
                  <a:lnTo>
                    <a:pt x="62" y="78"/>
                  </a:lnTo>
                  <a:lnTo>
                    <a:pt x="62" y="80"/>
                  </a:lnTo>
                  <a:lnTo>
                    <a:pt x="60" y="82"/>
                  </a:lnTo>
                  <a:lnTo>
                    <a:pt x="60" y="84"/>
                  </a:lnTo>
                  <a:lnTo>
                    <a:pt x="58" y="88"/>
                  </a:lnTo>
                  <a:lnTo>
                    <a:pt x="58" y="90"/>
                  </a:lnTo>
                  <a:lnTo>
                    <a:pt x="56" y="92"/>
                  </a:lnTo>
                  <a:lnTo>
                    <a:pt x="56" y="94"/>
                  </a:lnTo>
                  <a:lnTo>
                    <a:pt x="56" y="94"/>
                  </a:lnTo>
                  <a:lnTo>
                    <a:pt x="56" y="94"/>
                  </a:lnTo>
                  <a:lnTo>
                    <a:pt x="56" y="96"/>
                  </a:lnTo>
                  <a:lnTo>
                    <a:pt x="58" y="96"/>
                  </a:lnTo>
                  <a:lnTo>
                    <a:pt x="58" y="98"/>
                  </a:lnTo>
                  <a:lnTo>
                    <a:pt x="58" y="100"/>
                  </a:lnTo>
                  <a:lnTo>
                    <a:pt x="60" y="100"/>
                  </a:lnTo>
                  <a:lnTo>
                    <a:pt x="60" y="100"/>
                  </a:lnTo>
                  <a:lnTo>
                    <a:pt x="62" y="102"/>
                  </a:lnTo>
                  <a:lnTo>
                    <a:pt x="62" y="102"/>
                  </a:lnTo>
                  <a:lnTo>
                    <a:pt x="64" y="102"/>
                  </a:lnTo>
                  <a:lnTo>
                    <a:pt x="64" y="102"/>
                  </a:lnTo>
                  <a:lnTo>
                    <a:pt x="66" y="102"/>
                  </a:lnTo>
                  <a:lnTo>
                    <a:pt x="68" y="102"/>
                  </a:lnTo>
                  <a:lnTo>
                    <a:pt x="68" y="102"/>
                  </a:lnTo>
                  <a:lnTo>
                    <a:pt x="70" y="100"/>
                  </a:lnTo>
                  <a:lnTo>
                    <a:pt x="72" y="100"/>
                  </a:lnTo>
                  <a:lnTo>
                    <a:pt x="72" y="100"/>
                  </a:lnTo>
                  <a:lnTo>
                    <a:pt x="72" y="100"/>
                  </a:lnTo>
                  <a:lnTo>
                    <a:pt x="74" y="100"/>
                  </a:lnTo>
                  <a:lnTo>
                    <a:pt x="74" y="98"/>
                  </a:lnTo>
                  <a:lnTo>
                    <a:pt x="74" y="96"/>
                  </a:lnTo>
                  <a:lnTo>
                    <a:pt x="74" y="94"/>
                  </a:lnTo>
                  <a:lnTo>
                    <a:pt x="76" y="92"/>
                  </a:lnTo>
                  <a:lnTo>
                    <a:pt x="76" y="90"/>
                  </a:lnTo>
                  <a:lnTo>
                    <a:pt x="76" y="90"/>
                  </a:lnTo>
                  <a:lnTo>
                    <a:pt x="78" y="88"/>
                  </a:lnTo>
                  <a:lnTo>
                    <a:pt x="78" y="88"/>
                  </a:lnTo>
                  <a:lnTo>
                    <a:pt x="82" y="86"/>
                  </a:lnTo>
                  <a:lnTo>
                    <a:pt x="84" y="86"/>
                  </a:lnTo>
                  <a:lnTo>
                    <a:pt x="84" y="84"/>
                  </a:lnTo>
                  <a:lnTo>
                    <a:pt x="86" y="84"/>
                  </a:lnTo>
                  <a:lnTo>
                    <a:pt x="86" y="82"/>
                  </a:lnTo>
                  <a:lnTo>
                    <a:pt x="86" y="82"/>
                  </a:lnTo>
                  <a:lnTo>
                    <a:pt x="86" y="82"/>
                  </a:lnTo>
                  <a:lnTo>
                    <a:pt x="86" y="82"/>
                  </a:lnTo>
                  <a:lnTo>
                    <a:pt x="86" y="80"/>
                  </a:lnTo>
                  <a:lnTo>
                    <a:pt x="86" y="78"/>
                  </a:lnTo>
                  <a:lnTo>
                    <a:pt x="86" y="76"/>
                  </a:lnTo>
                  <a:lnTo>
                    <a:pt x="84" y="72"/>
                  </a:lnTo>
                  <a:lnTo>
                    <a:pt x="84" y="70"/>
                  </a:lnTo>
                  <a:lnTo>
                    <a:pt x="84" y="66"/>
                  </a:lnTo>
                  <a:lnTo>
                    <a:pt x="82" y="64"/>
                  </a:lnTo>
                  <a:lnTo>
                    <a:pt x="80" y="62"/>
                  </a:lnTo>
                  <a:lnTo>
                    <a:pt x="80" y="60"/>
                  </a:lnTo>
                  <a:lnTo>
                    <a:pt x="78" y="56"/>
                  </a:lnTo>
                  <a:lnTo>
                    <a:pt x="76" y="54"/>
                  </a:lnTo>
                  <a:lnTo>
                    <a:pt x="74" y="50"/>
                  </a:lnTo>
                  <a:lnTo>
                    <a:pt x="70" y="46"/>
                  </a:lnTo>
                  <a:lnTo>
                    <a:pt x="68" y="44"/>
                  </a:lnTo>
                  <a:lnTo>
                    <a:pt x="66" y="42"/>
                  </a:lnTo>
                  <a:lnTo>
                    <a:pt x="66" y="40"/>
                  </a:lnTo>
                  <a:lnTo>
                    <a:pt x="64" y="40"/>
                  </a:lnTo>
                  <a:lnTo>
                    <a:pt x="64" y="38"/>
                  </a:lnTo>
                  <a:lnTo>
                    <a:pt x="64" y="38"/>
                  </a:lnTo>
                  <a:lnTo>
                    <a:pt x="64" y="36"/>
                  </a:lnTo>
                  <a:lnTo>
                    <a:pt x="64" y="36"/>
                  </a:lnTo>
                  <a:lnTo>
                    <a:pt x="64" y="34"/>
                  </a:lnTo>
                  <a:lnTo>
                    <a:pt x="64" y="32"/>
                  </a:lnTo>
                  <a:lnTo>
                    <a:pt x="64" y="30"/>
                  </a:lnTo>
                  <a:lnTo>
                    <a:pt x="66" y="28"/>
                  </a:lnTo>
                  <a:lnTo>
                    <a:pt x="66" y="24"/>
                  </a:lnTo>
                  <a:lnTo>
                    <a:pt x="68" y="20"/>
                  </a:lnTo>
                  <a:lnTo>
                    <a:pt x="68" y="18"/>
                  </a:lnTo>
                  <a:lnTo>
                    <a:pt x="68" y="16"/>
                  </a:lnTo>
                  <a:lnTo>
                    <a:pt x="68" y="14"/>
                  </a:lnTo>
                  <a:lnTo>
                    <a:pt x="68" y="12"/>
                  </a:lnTo>
                  <a:lnTo>
                    <a:pt x="68" y="10"/>
                  </a:lnTo>
                  <a:lnTo>
                    <a:pt x="68" y="6"/>
                  </a:lnTo>
                  <a:lnTo>
                    <a:pt x="66" y="0"/>
                  </a:lnTo>
                  <a:lnTo>
                    <a:pt x="68" y="2"/>
                  </a:lnTo>
                  <a:lnTo>
                    <a:pt x="72" y="4"/>
                  </a:lnTo>
                  <a:lnTo>
                    <a:pt x="76" y="8"/>
                  </a:lnTo>
                  <a:lnTo>
                    <a:pt x="76" y="8"/>
                  </a:lnTo>
                  <a:lnTo>
                    <a:pt x="78" y="10"/>
                  </a:lnTo>
                  <a:lnTo>
                    <a:pt x="78" y="10"/>
                  </a:lnTo>
                  <a:lnTo>
                    <a:pt x="78" y="12"/>
                  </a:lnTo>
                  <a:lnTo>
                    <a:pt x="80" y="14"/>
                  </a:lnTo>
                  <a:lnTo>
                    <a:pt x="80" y="16"/>
                  </a:lnTo>
                  <a:lnTo>
                    <a:pt x="80" y="16"/>
                  </a:lnTo>
                  <a:lnTo>
                    <a:pt x="80" y="18"/>
                  </a:lnTo>
                  <a:lnTo>
                    <a:pt x="82" y="18"/>
                  </a:lnTo>
                  <a:lnTo>
                    <a:pt x="82" y="18"/>
                  </a:lnTo>
                  <a:lnTo>
                    <a:pt x="84" y="20"/>
                  </a:lnTo>
                  <a:lnTo>
                    <a:pt x="86" y="20"/>
                  </a:lnTo>
                  <a:lnTo>
                    <a:pt x="88" y="22"/>
                  </a:lnTo>
                  <a:lnTo>
                    <a:pt x="90" y="22"/>
                  </a:lnTo>
                  <a:lnTo>
                    <a:pt x="92" y="22"/>
                  </a:lnTo>
                  <a:lnTo>
                    <a:pt x="94" y="22"/>
                  </a:lnTo>
                  <a:lnTo>
                    <a:pt x="96" y="22"/>
                  </a:lnTo>
                  <a:lnTo>
                    <a:pt x="98" y="22"/>
                  </a:lnTo>
                  <a:lnTo>
                    <a:pt x="100" y="22"/>
                  </a:lnTo>
                  <a:lnTo>
                    <a:pt x="102" y="22"/>
                  </a:lnTo>
                  <a:lnTo>
                    <a:pt x="104" y="22"/>
                  </a:lnTo>
                  <a:lnTo>
                    <a:pt x="106" y="22"/>
                  </a:lnTo>
                  <a:lnTo>
                    <a:pt x="108" y="22"/>
                  </a:lnTo>
                  <a:lnTo>
                    <a:pt x="110" y="22"/>
                  </a:lnTo>
                  <a:lnTo>
                    <a:pt x="110" y="20"/>
                  </a:lnTo>
                  <a:lnTo>
                    <a:pt x="112" y="20"/>
                  </a:lnTo>
                  <a:lnTo>
                    <a:pt x="112" y="20"/>
                  </a:lnTo>
                  <a:lnTo>
                    <a:pt x="112" y="18"/>
                  </a:lnTo>
                  <a:lnTo>
                    <a:pt x="112" y="18"/>
                  </a:lnTo>
                  <a:lnTo>
                    <a:pt x="112" y="16"/>
                  </a:lnTo>
                  <a:lnTo>
                    <a:pt x="112" y="14"/>
                  </a:lnTo>
                  <a:lnTo>
                    <a:pt x="112" y="14"/>
                  </a:lnTo>
                  <a:lnTo>
                    <a:pt x="114" y="12"/>
                  </a:lnTo>
                  <a:lnTo>
                    <a:pt x="114" y="12"/>
                  </a:lnTo>
                  <a:lnTo>
                    <a:pt x="114" y="12"/>
                  </a:lnTo>
                  <a:lnTo>
                    <a:pt x="114" y="10"/>
                  </a:lnTo>
                  <a:lnTo>
                    <a:pt x="116" y="10"/>
                  </a:lnTo>
                  <a:lnTo>
                    <a:pt x="116" y="10"/>
                  </a:lnTo>
                  <a:lnTo>
                    <a:pt x="118" y="10"/>
                  </a:lnTo>
                  <a:lnTo>
                    <a:pt x="120" y="10"/>
                  </a:lnTo>
                  <a:lnTo>
                    <a:pt x="122" y="12"/>
                  </a:lnTo>
                  <a:lnTo>
                    <a:pt x="124" y="12"/>
                  </a:lnTo>
                  <a:lnTo>
                    <a:pt x="126" y="12"/>
                  </a:lnTo>
                  <a:lnTo>
                    <a:pt x="128" y="12"/>
                  </a:lnTo>
                  <a:lnTo>
                    <a:pt x="128" y="12"/>
                  </a:lnTo>
                  <a:lnTo>
                    <a:pt x="130" y="12"/>
                  </a:lnTo>
                  <a:lnTo>
                    <a:pt x="130" y="12"/>
                  </a:lnTo>
                  <a:lnTo>
                    <a:pt x="130" y="10"/>
                  </a:lnTo>
                  <a:lnTo>
                    <a:pt x="132" y="10"/>
                  </a:lnTo>
                  <a:lnTo>
                    <a:pt x="132" y="8"/>
                  </a:lnTo>
                  <a:lnTo>
                    <a:pt x="132" y="6"/>
                  </a:lnTo>
                  <a:lnTo>
                    <a:pt x="134" y="6"/>
                  </a:lnTo>
                  <a:lnTo>
                    <a:pt x="134" y="6"/>
                  </a:lnTo>
                  <a:lnTo>
                    <a:pt x="134" y="4"/>
                  </a:lnTo>
                  <a:lnTo>
                    <a:pt x="136" y="4"/>
                  </a:lnTo>
                  <a:lnTo>
                    <a:pt x="138" y="4"/>
                  </a:lnTo>
                  <a:lnTo>
                    <a:pt x="140" y="2"/>
                  </a:lnTo>
                  <a:lnTo>
                    <a:pt x="144" y="2"/>
                  </a:lnTo>
                  <a:lnTo>
                    <a:pt x="148" y="2"/>
                  </a:lnTo>
                  <a:lnTo>
                    <a:pt x="150" y="2"/>
                  </a:lnTo>
                  <a:lnTo>
                    <a:pt x="150" y="30"/>
                  </a:lnTo>
                  <a:lnTo>
                    <a:pt x="152" y="36"/>
                  </a:lnTo>
                  <a:lnTo>
                    <a:pt x="152" y="42"/>
                  </a:lnTo>
                  <a:lnTo>
                    <a:pt x="152" y="50"/>
                  </a:lnTo>
                  <a:lnTo>
                    <a:pt x="152" y="58"/>
                  </a:lnTo>
                  <a:lnTo>
                    <a:pt x="154" y="66"/>
                  </a:lnTo>
                  <a:lnTo>
                    <a:pt x="154" y="68"/>
                  </a:lnTo>
                  <a:lnTo>
                    <a:pt x="154" y="72"/>
                  </a:lnTo>
                  <a:lnTo>
                    <a:pt x="152" y="76"/>
                  </a:lnTo>
                  <a:lnTo>
                    <a:pt x="152" y="78"/>
                  </a:lnTo>
                  <a:lnTo>
                    <a:pt x="152" y="82"/>
                  </a:lnTo>
                  <a:lnTo>
                    <a:pt x="150" y="84"/>
                  </a:lnTo>
                  <a:lnTo>
                    <a:pt x="150" y="86"/>
                  </a:lnTo>
                  <a:lnTo>
                    <a:pt x="150" y="86"/>
                  </a:lnTo>
                  <a:lnTo>
                    <a:pt x="148" y="88"/>
                  </a:lnTo>
                  <a:lnTo>
                    <a:pt x="146" y="90"/>
                  </a:lnTo>
                  <a:lnTo>
                    <a:pt x="144" y="92"/>
                  </a:lnTo>
                  <a:lnTo>
                    <a:pt x="142" y="94"/>
                  </a:lnTo>
                  <a:lnTo>
                    <a:pt x="142" y="94"/>
                  </a:lnTo>
                  <a:lnTo>
                    <a:pt x="142" y="96"/>
                  </a:lnTo>
                  <a:lnTo>
                    <a:pt x="140" y="96"/>
                  </a:lnTo>
                  <a:lnTo>
                    <a:pt x="140" y="100"/>
                  </a:lnTo>
                  <a:lnTo>
                    <a:pt x="140" y="100"/>
                  </a:lnTo>
                  <a:lnTo>
                    <a:pt x="140" y="102"/>
                  </a:lnTo>
                  <a:lnTo>
                    <a:pt x="140" y="102"/>
                  </a:lnTo>
                  <a:lnTo>
                    <a:pt x="138" y="104"/>
                  </a:lnTo>
                  <a:lnTo>
                    <a:pt x="138" y="104"/>
                  </a:lnTo>
                  <a:lnTo>
                    <a:pt x="136" y="104"/>
                  </a:lnTo>
                  <a:lnTo>
                    <a:pt x="134" y="106"/>
                  </a:lnTo>
                  <a:lnTo>
                    <a:pt x="134" y="106"/>
                  </a:lnTo>
                  <a:lnTo>
                    <a:pt x="130" y="106"/>
                  </a:lnTo>
                  <a:lnTo>
                    <a:pt x="126" y="106"/>
                  </a:lnTo>
                  <a:lnTo>
                    <a:pt x="122" y="106"/>
                  </a:lnTo>
                  <a:lnTo>
                    <a:pt x="120" y="106"/>
                  </a:lnTo>
                  <a:lnTo>
                    <a:pt x="118" y="106"/>
                  </a:lnTo>
                  <a:lnTo>
                    <a:pt x="116" y="106"/>
                  </a:lnTo>
                  <a:lnTo>
                    <a:pt x="116" y="106"/>
                  </a:lnTo>
                  <a:lnTo>
                    <a:pt x="114" y="108"/>
                  </a:lnTo>
                  <a:lnTo>
                    <a:pt x="114" y="108"/>
                  </a:lnTo>
                  <a:lnTo>
                    <a:pt x="114" y="108"/>
                  </a:lnTo>
                  <a:lnTo>
                    <a:pt x="114" y="110"/>
                  </a:lnTo>
                  <a:lnTo>
                    <a:pt x="114" y="112"/>
                  </a:lnTo>
                  <a:lnTo>
                    <a:pt x="114" y="114"/>
                  </a:lnTo>
                  <a:lnTo>
                    <a:pt x="114" y="114"/>
                  </a:lnTo>
                  <a:lnTo>
                    <a:pt x="112" y="114"/>
                  </a:lnTo>
                  <a:lnTo>
                    <a:pt x="112" y="116"/>
                  </a:lnTo>
                  <a:lnTo>
                    <a:pt x="112" y="116"/>
                  </a:lnTo>
                  <a:lnTo>
                    <a:pt x="110" y="116"/>
                  </a:lnTo>
                  <a:lnTo>
                    <a:pt x="108" y="116"/>
                  </a:lnTo>
                  <a:lnTo>
                    <a:pt x="104" y="118"/>
                  </a:lnTo>
                  <a:lnTo>
                    <a:pt x="104" y="118"/>
                  </a:lnTo>
                  <a:lnTo>
                    <a:pt x="102" y="118"/>
                  </a:lnTo>
                  <a:lnTo>
                    <a:pt x="102" y="120"/>
                  </a:lnTo>
                  <a:lnTo>
                    <a:pt x="100" y="120"/>
                  </a:lnTo>
                  <a:lnTo>
                    <a:pt x="98" y="122"/>
                  </a:lnTo>
                  <a:lnTo>
                    <a:pt x="98" y="122"/>
                  </a:lnTo>
                  <a:lnTo>
                    <a:pt x="98" y="122"/>
                  </a:lnTo>
                  <a:lnTo>
                    <a:pt x="98" y="124"/>
                  </a:lnTo>
                  <a:lnTo>
                    <a:pt x="96" y="124"/>
                  </a:lnTo>
                  <a:lnTo>
                    <a:pt x="96" y="126"/>
                  </a:lnTo>
                  <a:lnTo>
                    <a:pt x="96" y="130"/>
                  </a:lnTo>
                  <a:lnTo>
                    <a:pt x="96" y="132"/>
                  </a:lnTo>
                  <a:lnTo>
                    <a:pt x="96" y="134"/>
                  </a:lnTo>
                  <a:lnTo>
                    <a:pt x="96" y="138"/>
                  </a:lnTo>
                  <a:lnTo>
                    <a:pt x="96" y="138"/>
                  </a:lnTo>
                  <a:lnTo>
                    <a:pt x="96" y="140"/>
                  </a:lnTo>
                  <a:lnTo>
                    <a:pt x="96" y="140"/>
                  </a:lnTo>
                  <a:lnTo>
                    <a:pt x="94" y="140"/>
                  </a:lnTo>
                  <a:lnTo>
                    <a:pt x="94" y="142"/>
                  </a:lnTo>
                  <a:lnTo>
                    <a:pt x="94" y="142"/>
                  </a:lnTo>
                  <a:lnTo>
                    <a:pt x="92" y="142"/>
                  </a:lnTo>
                  <a:lnTo>
                    <a:pt x="90" y="142"/>
                  </a:lnTo>
                  <a:lnTo>
                    <a:pt x="88" y="142"/>
                  </a:lnTo>
                  <a:lnTo>
                    <a:pt x="86" y="144"/>
                  </a:lnTo>
                  <a:lnTo>
                    <a:pt x="84" y="144"/>
                  </a:lnTo>
                  <a:lnTo>
                    <a:pt x="82" y="144"/>
                  </a:lnTo>
                  <a:lnTo>
                    <a:pt x="80" y="146"/>
                  </a:lnTo>
                  <a:lnTo>
                    <a:pt x="78" y="146"/>
                  </a:lnTo>
                  <a:lnTo>
                    <a:pt x="76" y="148"/>
                  </a:lnTo>
                  <a:lnTo>
                    <a:pt x="76" y="150"/>
                  </a:lnTo>
                  <a:lnTo>
                    <a:pt x="74" y="150"/>
                  </a:lnTo>
                  <a:lnTo>
                    <a:pt x="74" y="152"/>
                  </a:lnTo>
                  <a:lnTo>
                    <a:pt x="72" y="154"/>
                  </a:lnTo>
                  <a:lnTo>
                    <a:pt x="72" y="156"/>
                  </a:lnTo>
                  <a:lnTo>
                    <a:pt x="70" y="158"/>
                  </a:lnTo>
                  <a:lnTo>
                    <a:pt x="70" y="162"/>
                  </a:lnTo>
                  <a:lnTo>
                    <a:pt x="70" y="166"/>
                  </a:lnTo>
                  <a:lnTo>
                    <a:pt x="68" y="170"/>
                  </a:lnTo>
                  <a:lnTo>
                    <a:pt x="68" y="174"/>
                  </a:lnTo>
                  <a:lnTo>
                    <a:pt x="68" y="178"/>
                  </a:lnTo>
                  <a:lnTo>
                    <a:pt x="68" y="180"/>
                  </a:lnTo>
                  <a:lnTo>
                    <a:pt x="68" y="184"/>
                  </a:lnTo>
                  <a:lnTo>
                    <a:pt x="68" y="186"/>
                  </a:lnTo>
                  <a:lnTo>
                    <a:pt x="68" y="186"/>
                  </a:lnTo>
                  <a:lnTo>
                    <a:pt x="68" y="188"/>
                  </a:lnTo>
                  <a:lnTo>
                    <a:pt x="70" y="190"/>
                  </a:lnTo>
                  <a:lnTo>
                    <a:pt x="70" y="190"/>
                  </a:lnTo>
                  <a:lnTo>
                    <a:pt x="70" y="190"/>
                  </a:lnTo>
                  <a:lnTo>
                    <a:pt x="72" y="192"/>
                  </a:lnTo>
                  <a:lnTo>
                    <a:pt x="72" y="192"/>
                  </a:lnTo>
                  <a:lnTo>
                    <a:pt x="72" y="192"/>
                  </a:lnTo>
                  <a:lnTo>
                    <a:pt x="74" y="192"/>
                  </a:lnTo>
                  <a:lnTo>
                    <a:pt x="74" y="194"/>
                  </a:lnTo>
                  <a:lnTo>
                    <a:pt x="74" y="196"/>
                  </a:lnTo>
                  <a:lnTo>
                    <a:pt x="74" y="196"/>
                  </a:lnTo>
                  <a:lnTo>
                    <a:pt x="74" y="198"/>
                  </a:lnTo>
                  <a:lnTo>
                    <a:pt x="74" y="202"/>
                  </a:lnTo>
                  <a:lnTo>
                    <a:pt x="74" y="206"/>
                  </a:lnTo>
                  <a:lnTo>
                    <a:pt x="74" y="214"/>
                  </a:lnTo>
                  <a:lnTo>
                    <a:pt x="74" y="218"/>
                  </a:lnTo>
                  <a:lnTo>
                    <a:pt x="74" y="222"/>
                  </a:lnTo>
                  <a:lnTo>
                    <a:pt x="74" y="222"/>
                  </a:lnTo>
                  <a:lnTo>
                    <a:pt x="74" y="224"/>
                  </a:lnTo>
                  <a:lnTo>
                    <a:pt x="74" y="228"/>
                  </a:lnTo>
                  <a:lnTo>
                    <a:pt x="74" y="230"/>
                  </a:lnTo>
                  <a:lnTo>
                    <a:pt x="74" y="232"/>
                  </a:lnTo>
                  <a:lnTo>
                    <a:pt x="74" y="234"/>
                  </a:lnTo>
                  <a:lnTo>
                    <a:pt x="74" y="234"/>
                  </a:lnTo>
                  <a:lnTo>
                    <a:pt x="74" y="234"/>
                  </a:lnTo>
                  <a:lnTo>
                    <a:pt x="74" y="234"/>
                  </a:lnTo>
                  <a:lnTo>
                    <a:pt x="74" y="236"/>
                  </a:lnTo>
                  <a:lnTo>
                    <a:pt x="72" y="236"/>
                  </a:lnTo>
                  <a:lnTo>
                    <a:pt x="70" y="236"/>
                  </a:lnTo>
                  <a:lnTo>
                    <a:pt x="70" y="236"/>
                  </a:lnTo>
                  <a:lnTo>
                    <a:pt x="70" y="236"/>
                  </a:lnTo>
                  <a:lnTo>
                    <a:pt x="68" y="238"/>
                  </a:lnTo>
                  <a:lnTo>
                    <a:pt x="68" y="238"/>
                  </a:lnTo>
                  <a:lnTo>
                    <a:pt x="68" y="240"/>
                  </a:lnTo>
                  <a:lnTo>
                    <a:pt x="68" y="242"/>
                  </a:lnTo>
                  <a:lnTo>
                    <a:pt x="68" y="242"/>
                  </a:lnTo>
                  <a:lnTo>
                    <a:pt x="68" y="244"/>
                  </a:lnTo>
                  <a:lnTo>
                    <a:pt x="68" y="244"/>
                  </a:lnTo>
                  <a:lnTo>
                    <a:pt x="68" y="244"/>
                  </a:lnTo>
                  <a:lnTo>
                    <a:pt x="66" y="244"/>
                  </a:lnTo>
                  <a:lnTo>
                    <a:pt x="64" y="244"/>
                  </a:lnTo>
                  <a:lnTo>
                    <a:pt x="62" y="244"/>
                  </a:lnTo>
                  <a:lnTo>
                    <a:pt x="60" y="244"/>
                  </a:lnTo>
                  <a:lnTo>
                    <a:pt x="60" y="244"/>
                  </a:lnTo>
                  <a:lnTo>
                    <a:pt x="58" y="244"/>
                  </a:lnTo>
                  <a:lnTo>
                    <a:pt x="58" y="244"/>
                  </a:lnTo>
                  <a:lnTo>
                    <a:pt x="56" y="244"/>
                  </a:lnTo>
                  <a:lnTo>
                    <a:pt x="56" y="244"/>
                  </a:lnTo>
                  <a:lnTo>
                    <a:pt x="56" y="244"/>
                  </a:lnTo>
                  <a:lnTo>
                    <a:pt x="56" y="246"/>
                  </a:lnTo>
                  <a:lnTo>
                    <a:pt x="54" y="248"/>
                  </a:lnTo>
                  <a:lnTo>
                    <a:pt x="54" y="248"/>
                  </a:lnTo>
                  <a:lnTo>
                    <a:pt x="54" y="248"/>
                  </a:lnTo>
                  <a:lnTo>
                    <a:pt x="54" y="248"/>
                  </a:lnTo>
                  <a:lnTo>
                    <a:pt x="52" y="248"/>
                  </a:lnTo>
                  <a:lnTo>
                    <a:pt x="52" y="248"/>
                  </a:lnTo>
                  <a:lnTo>
                    <a:pt x="50" y="248"/>
                  </a:lnTo>
                  <a:lnTo>
                    <a:pt x="48" y="248"/>
                  </a:lnTo>
                  <a:lnTo>
                    <a:pt x="46" y="248"/>
                  </a:lnTo>
                  <a:lnTo>
                    <a:pt x="44" y="248"/>
                  </a:lnTo>
                  <a:lnTo>
                    <a:pt x="42" y="248"/>
                  </a:lnTo>
                  <a:lnTo>
                    <a:pt x="42" y="248"/>
                  </a:lnTo>
                  <a:lnTo>
                    <a:pt x="40" y="250"/>
                  </a:lnTo>
                  <a:lnTo>
                    <a:pt x="40" y="250"/>
                  </a:lnTo>
                  <a:lnTo>
                    <a:pt x="40" y="250"/>
                  </a:lnTo>
                  <a:lnTo>
                    <a:pt x="40" y="250"/>
                  </a:lnTo>
                  <a:lnTo>
                    <a:pt x="40" y="252"/>
                  </a:lnTo>
                  <a:lnTo>
                    <a:pt x="40" y="254"/>
                  </a:lnTo>
                  <a:lnTo>
                    <a:pt x="40" y="254"/>
                  </a:lnTo>
                  <a:lnTo>
                    <a:pt x="40" y="258"/>
                  </a:lnTo>
                  <a:lnTo>
                    <a:pt x="40" y="260"/>
                  </a:lnTo>
                  <a:lnTo>
                    <a:pt x="40" y="266"/>
                  </a:lnTo>
                  <a:lnTo>
                    <a:pt x="40" y="270"/>
                  </a:lnTo>
                  <a:lnTo>
                    <a:pt x="40" y="276"/>
                  </a:lnTo>
                  <a:lnTo>
                    <a:pt x="40" y="280"/>
                  </a:lnTo>
                  <a:lnTo>
                    <a:pt x="40" y="282"/>
                  </a:lnTo>
                  <a:lnTo>
                    <a:pt x="38" y="284"/>
                  </a:lnTo>
                  <a:lnTo>
                    <a:pt x="38" y="286"/>
                  </a:lnTo>
                  <a:lnTo>
                    <a:pt x="36" y="29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3" name="Freeform 432">
              <a:extLst>
                <a:ext uri="{FF2B5EF4-FFF2-40B4-BE49-F238E27FC236}">
                  <a16:creationId xmlns:a16="http://schemas.microsoft.com/office/drawing/2014/main" id="{5E0FF967-E626-452E-B125-88D237BE06F3}"/>
                </a:ext>
              </a:extLst>
            </p:cNvPr>
            <p:cNvSpPr>
              <a:spLocks/>
            </p:cNvSpPr>
            <p:nvPr/>
          </p:nvSpPr>
          <p:spPr bwMode="auto">
            <a:xfrm>
              <a:off x="5010540" y="4680852"/>
              <a:ext cx="270204" cy="308309"/>
            </a:xfrm>
            <a:custGeom>
              <a:avLst/>
              <a:gdLst>
                <a:gd name="T0" fmla="*/ 146 w 156"/>
                <a:gd name="T1" fmla="*/ 158 h 178"/>
                <a:gd name="T2" fmla="*/ 138 w 156"/>
                <a:gd name="T3" fmla="*/ 162 h 178"/>
                <a:gd name="T4" fmla="*/ 136 w 156"/>
                <a:gd name="T5" fmla="*/ 168 h 178"/>
                <a:gd name="T6" fmla="*/ 130 w 156"/>
                <a:gd name="T7" fmla="*/ 168 h 178"/>
                <a:gd name="T8" fmla="*/ 122 w 156"/>
                <a:gd name="T9" fmla="*/ 166 h 178"/>
                <a:gd name="T10" fmla="*/ 118 w 156"/>
                <a:gd name="T11" fmla="*/ 170 h 178"/>
                <a:gd name="T12" fmla="*/ 118 w 156"/>
                <a:gd name="T13" fmla="*/ 176 h 178"/>
                <a:gd name="T14" fmla="*/ 112 w 156"/>
                <a:gd name="T15" fmla="*/ 178 h 178"/>
                <a:gd name="T16" fmla="*/ 102 w 156"/>
                <a:gd name="T17" fmla="*/ 178 h 178"/>
                <a:gd name="T18" fmla="*/ 92 w 156"/>
                <a:gd name="T19" fmla="*/ 176 h 178"/>
                <a:gd name="T20" fmla="*/ 86 w 156"/>
                <a:gd name="T21" fmla="*/ 172 h 178"/>
                <a:gd name="T22" fmla="*/ 84 w 156"/>
                <a:gd name="T23" fmla="*/ 166 h 178"/>
                <a:gd name="T24" fmla="*/ 72 w 156"/>
                <a:gd name="T25" fmla="*/ 156 h 178"/>
                <a:gd name="T26" fmla="*/ 56 w 156"/>
                <a:gd name="T27" fmla="*/ 146 h 178"/>
                <a:gd name="T28" fmla="*/ 46 w 156"/>
                <a:gd name="T29" fmla="*/ 134 h 178"/>
                <a:gd name="T30" fmla="*/ 34 w 156"/>
                <a:gd name="T31" fmla="*/ 126 h 178"/>
                <a:gd name="T32" fmla="*/ 24 w 156"/>
                <a:gd name="T33" fmla="*/ 116 h 178"/>
                <a:gd name="T34" fmla="*/ 20 w 156"/>
                <a:gd name="T35" fmla="*/ 110 h 178"/>
                <a:gd name="T36" fmla="*/ 18 w 156"/>
                <a:gd name="T37" fmla="*/ 106 h 178"/>
                <a:gd name="T38" fmla="*/ 10 w 156"/>
                <a:gd name="T39" fmla="*/ 106 h 178"/>
                <a:gd name="T40" fmla="*/ 10 w 156"/>
                <a:gd name="T41" fmla="*/ 96 h 178"/>
                <a:gd name="T42" fmla="*/ 6 w 156"/>
                <a:gd name="T43" fmla="*/ 84 h 178"/>
                <a:gd name="T44" fmla="*/ 2 w 156"/>
                <a:gd name="T45" fmla="*/ 70 h 178"/>
                <a:gd name="T46" fmla="*/ 4 w 156"/>
                <a:gd name="T47" fmla="*/ 58 h 178"/>
                <a:gd name="T48" fmla="*/ 4 w 156"/>
                <a:gd name="T49" fmla="*/ 46 h 178"/>
                <a:gd name="T50" fmla="*/ 14 w 156"/>
                <a:gd name="T51" fmla="*/ 46 h 178"/>
                <a:gd name="T52" fmla="*/ 20 w 156"/>
                <a:gd name="T53" fmla="*/ 44 h 178"/>
                <a:gd name="T54" fmla="*/ 20 w 156"/>
                <a:gd name="T55" fmla="*/ 38 h 178"/>
                <a:gd name="T56" fmla="*/ 16 w 156"/>
                <a:gd name="T57" fmla="*/ 26 h 178"/>
                <a:gd name="T58" fmla="*/ 16 w 156"/>
                <a:gd name="T59" fmla="*/ 0 h 178"/>
                <a:gd name="T60" fmla="*/ 24 w 156"/>
                <a:gd name="T61" fmla="*/ 0 h 178"/>
                <a:gd name="T62" fmla="*/ 36 w 156"/>
                <a:gd name="T63" fmla="*/ 2 h 178"/>
                <a:gd name="T64" fmla="*/ 66 w 156"/>
                <a:gd name="T65" fmla="*/ 0 h 178"/>
                <a:gd name="T66" fmla="*/ 76 w 156"/>
                <a:gd name="T67" fmla="*/ 0 h 178"/>
                <a:gd name="T68" fmla="*/ 88 w 156"/>
                <a:gd name="T69" fmla="*/ 12 h 178"/>
                <a:gd name="T70" fmla="*/ 102 w 156"/>
                <a:gd name="T71" fmla="*/ 24 h 178"/>
                <a:gd name="T72" fmla="*/ 112 w 156"/>
                <a:gd name="T73" fmla="*/ 26 h 178"/>
                <a:gd name="T74" fmla="*/ 118 w 156"/>
                <a:gd name="T75" fmla="*/ 30 h 178"/>
                <a:gd name="T76" fmla="*/ 118 w 156"/>
                <a:gd name="T77" fmla="*/ 36 h 178"/>
                <a:gd name="T78" fmla="*/ 120 w 156"/>
                <a:gd name="T79" fmla="*/ 42 h 178"/>
                <a:gd name="T80" fmla="*/ 132 w 156"/>
                <a:gd name="T81" fmla="*/ 50 h 178"/>
                <a:gd name="T82" fmla="*/ 142 w 156"/>
                <a:gd name="T83" fmla="*/ 64 h 178"/>
                <a:gd name="T84" fmla="*/ 142 w 156"/>
                <a:gd name="T85" fmla="*/ 72 h 178"/>
                <a:gd name="T86" fmla="*/ 138 w 156"/>
                <a:gd name="T87" fmla="*/ 78 h 178"/>
                <a:gd name="T88" fmla="*/ 134 w 156"/>
                <a:gd name="T89" fmla="*/ 86 h 178"/>
                <a:gd name="T90" fmla="*/ 136 w 156"/>
                <a:gd name="T91" fmla="*/ 90 h 178"/>
                <a:gd name="T92" fmla="*/ 140 w 156"/>
                <a:gd name="T93" fmla="*/ 90 h 178"/>
                <a:gd name="T94" fmla="*/ 144 w 156"/>
                <a:gd name="T95" fmla="*/ 92 h 178"/>
                <a:gd name="T96" fmla="*/ 144 w 156"/>
                <a:gd name="T97" fmla="*/ 100 h 178"/>
                <a:gd name="T98" fmla="*/ 142 w 156"/>
                <a:gd name="T99" fmla="*/ 112 h 178"/>
                <a:gd name="T100" fmla="*/ 146 w 156"/>
                <a:gd name="T101" fmla="*/ 126 h 178"/>
                <a:gd name="T102" fmla="*/ 146 w 156"/>
                <a:gd name="T103" fmla="*/ 142 h 178"/>
                <a:gd name="T104" fmla="*/ 150 w 156"/>
                <a:gd name="T105" fmla="*/ 146 h 178"/>
                <a:gd name="T106" fmla="*/ 154 w 156"/>
                <a:gd name="T107" fmla="*/ 1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178">
                  <a:moveTo>
                    <a:pt x="156" y="158"/>
                  </a:moveTo>
                  <a:lnTo>
                    <a:pt x="156" y="158"/>
                  </a:lnTo>
                  <a:lnTo>
                    <a:pt x="154" y="158"/>
                  </a:lnTo>
                  <a:lnTo>
                    <a:pt x="150" y="158"/>
                  </a:lnTo>
                  <a:lnTo>
                    <a:pt x="146" y="158"/>
                  </a:lnTo>
                  <a:lnTo>
                    <a:pt x="144" y="160"/>
                  </a:lnTo>
                  <a:lnTo>
                    <a:pt x="142" y="160"/>
                  </a:lnTo>
                  <a:lnTo>
                    <a:pt x="140" y="160"/>
                  </a:lnTo>
                  <a:lnTo>
                    <a:pt x="140" y="162"/>
                  </a:lnTo>
                  <a:lnTo>
                    <a:pt x="138" y="162"/>
                  </a:lnTo>
                  <a:lnTo>
                    <a:pt x="138" y="162"/>
                  </a:lnTo>
                  <a:lnTo>
                    <a:pt x="138" y="164"/>
                  </a:lnTo>
                  <a:lnTo>
                    <a:pt x="136" y="166"/>
                  </a:lnTo>
                  <a:lnTo>
                    <a:pt x="136" y="166"/>
                  </a:lnTo>
                  <a:lnTo>
                    <a:pt x="136" y="168"/>
                  </a:lnTo>
                  <a:lnTo>
                    <a:pt x="136" y="168"/>
                  </a:lnTo>
                  <a:lnTo>
                    <a:pt x="134" y="168"/>
                  </a:lnTo>
                  <a:lnTo>
                    <a:pt x="134" y="168"/>
                  </a:lnTo>
                  <a:lnTo>
                    <a:pt x="132" y="168"/>
                  </a:lnTo>
                  <a:lnTo>
                    <a:pt x="130" y="168"/>
                  </a:lnTo>
                  <a:lnTo>
                    <a:pt x="128" y="168"/>
                  </a:lnTo>
                  <a:lnTo>
                    <a:pt x="126" y="166"/>
                  </a:lnTo>
                  <a:lnTo>
                    <a:pt x="122" y="166"/>
                  </a:lnTo>
                  <a:lnTo>
                    <a:pt x="122" y="166"/>
                  </a:lnTo>
                  <a:lnTo>
                    <a:pt x="122" y="166"/>
                  </a:lnTo>
                  <a:lnTo>
                    <a:pt x="120" y="166"/>
                  </a:lnTo>
                  <a:lnTo>
                    <a:pt x="120" y="168"/>
                  </a:lnTo>
                  <a:lnTo>
                    <a:pt x="120" y="168"/>
                  </a:lnTo>
                  <a:lnTo>
                    <a:pt x="118" y="168"/>
                  </a:lnTo>
                  <a:lnTo>
                    <a:pt x="118" y="170"/>
                  </a:lnTo>
                  <a:lnTo>
                    <a:pt x="118" y="170"/>
                  </a:lnTo>
                  <a:lnTo>
                    <a:pt x="118" y="172"/>
                  </a:lnTo>
                  <a:lnTo>
                    <a:pt x="118" y="174"/>
                  </a:lnTo>
                  <a:lnTo>
                    <a:pt x="118" y="174"/>
                  </a:lnTo>
                  <a:lnTo>
                    <a:pt x="118" y="176"/>
                  </a:lnTo>
                  <a:lnTo>
                    <a:pt x="116" y="176"/>
                  </a:lnTo>
                  <a:lnTo>
                    <a:pt x="116" y="176"/>
                  </a:lnTo>
                  <a:lnTo>
                    <a:pt x="116" y="178"/>
                  </a:lnTo>
                  <a:lnTo>
                    <a:pt x="114" y="178"/>
                  </a:lnTo>
                  <a:lnTo>
                    <a:pt x="112" y="178"/>
                  </a:lnTo>
                  <a:lnTo>
                    <a:pt x="110" y="178"/>
                  </a:lnTo>
                  <a:lnTo>
                    <a:pt x="108" y="178"/>
                  </a:lnTo>
                  <a:lnTo>
                    <a:pt x="106" y="178"/>
                  </a:lnTo>
                  <a:lnTo>
                    <a:pt x="104" y="178"/>
                  </a:lnTo>
                  <a:lnTo>
                    <a:pt x="102" y="178"/>
                  </a:lnTo>
                  <a:lnTo>
                    <a:pt x="100" y="178"/>
                  </a:lnTo>
                  <a:lnTo>
                    <a:pt x="98" y="178"/>
                  </a:lnTo>
                  <a:lnTo>
                    <a:pt x="96" y="178"/>
                  </a:lnTo>
                  <a:lnTo>
                    <a:pt x="94" y="178"/>
                  </a:lnTo>
                  <a:lnTo>
                    <a:pt x="92" y="176"/>
                  </a:lnTo>
                  <a:lnTo>
                    <a:pt x="90" y="176"/>
                  </a:lnTo>
                  <a:lnTo>
                    <a:pt x="88" y="176"/>
                  </a:lnTo>
                  <a:lnTo>
                    <a:pt x="88" y="174"/>
                  </a:lnTo>
                  <a:lnTo>
                    <a:pt x="86" y="174"/>
                  </a:lnTo>
                  <a:lnTo>
                    <a:pt x="86" y="172"/>
                  </a:lnTo>
                  <a:lnTo>
                    <a:pt x="86" y="172"/>
                  </a:lnTo>
                  <a:lnTo>
                    <a:pt x="86" y="170"/>
                  </a:lnTo>
                  <a:lnTo>
                    <a:pt x="84" y="168"/>
                  </a:lnTo>
                  <a:lnTo>
                    <a:pt x="84" y="166"/>
                  </a:lnTo>
                  <a:lnTo>
                    <a:pt x="84" y="166"/>
                  </a:lnTo>
                  <a:lnTo>
                    <a:pt x="82" y="164"/>
                  </a:lnTo>
                  <a:lnTo>
                    <a:pt x="82" y="162"/>
                  </a:lnTo>
                  <a:lnTo>
                    <a:pt x="78" y="160"/>
                  </a:lnTo>
                  <a:lnTo>
                    <a:pt x="74" y="158"/>
                  </a:lnTo>
                  <a:lnTo>
                    <a:pt x="72" y="156"/>
                  </a:lnTo>
                  <a:lnTo>
                    <a:pt x="68" y="152"/>
                  </a:lnTo>
                  <a:lnTo>
                    <a:pt x="64" y="150"/>
                  </a:lnTo>
                  <a:lnTo>
                    <a:pt x="60" y="150"/>
                  </a:lnTo>
                  <a:lnTo>
                    <a:pt x="58" y="148"/>
                  </a:lnTo>
                  <a:lnTo>
                    <a:pt x="56" y="146"/>
                  </a:lnTo>
                  <a:lnTo>
                    <a:pt x="54" y="146"/>
                  </a:lnTo>
                  <a:lnTo>
                    <a:pt x="52" y="144"/>
                  </a:lnTo>
                  <a:lnTo>
                    <a:pt x="50" y="140"/>
                  </a:lnTo>
                  <a:lnTo>
                    <a:pt x="46" y="136"/>
                  </a:lnTo>
                  <a:lnTo>
                    <a:pt x="46" y="134"/>
                  </a:lnTo>
                  <a:lnTo>
                    <a:pt x="44" y="132"/>
                  </a:lnTo>
                  <a:lnTo>
                    <a:pt x="42" y="132"/>
                  </a:lnTo>
                  <a:lnTo>
                    <a:pt x="42" y="130"/>
                  </a:lnTo>
                  <a:lnTo>
                    <a:pt x="38" y="128"/>
                  </a:lnTo>
                  <a:lnTo>
                    <a:pt x="34" y="126"/>
                  </a:lnTo>
                  <a:lnTo>
                    <a:pt x="32" y="126"/>
                  </a:lnTo>
                  <a:lnTo>
                    <a:pt x="30" y="124"/>
                  </a:lnTo>
                  <a:lnTo>
                    <a:pt x="28" y="122"/>
                  </a:lnTo>
                  <a:lnTo>
                    <a:pt x="26" y="120"/>
                  </a:lnTo>
                  <a:lnTo>
                    <a:pt x="24" y="116"/>
                  </a:lnTo>
                  <a:lnTo>
                    <a:pt x="22" y="116"/>
                  </a:lnTo>
                  <a:lnTo>
                    <a:pt x="22" y="114"/>
                  </a:lnTo>
                  <a:lnTo>
                    <a:pt x="22" y="114"/>
                  </a:lnTo>
                  <a:lnTo>
                    <a:pt x="20" y="112"/>
                  </a:lnTo>
                  <a:lnTo>
                    <a:pt x="20" y="110"/>
                  </a:lnTo>
                  <a:lnTo>
                    <a:pt x="20" y="108"/>
                  </a:lnTo>
                  <a:lnTo>
                    <a:pt x="20" y="108"/>
                  </a:lnTo>
                  <a:lnTo>
                    <a:pt x="20" y="106"/>
                  </a:lnTo>
                  <a:lnTo>
                    <a:pt x="20" y="106"/>
                  </a:lnTo>
                  <a:lnTo>
                    <a:pt x="18" y="106"/>
                  </a:lnTo>
                  <a:lnTo>
                    <a:pt x="18" y="106"/>
                  </a:lnTo>
                  <a:lnTo>
                    <a:pt x="16" y="106"/>
                  </a:lnTo>
                  <a:lnTo>
                    <a:pt x="14" y="106"/>
                  </a:lnTo>
                  <a:lnTo>
                    <a:pt x="12" y="106"/>
                  </a:lnTo>
                  <a:lnTo>
                    <a:pt x="10" y="106"/>
                  </a:lnTo>
                  <a:lnTo>
                    <a:pt x="8" y="106"/>
                  </a:lnTo>
                  <a:lnTo>
                    <a:pt x="8" y="104"/>
                  </a:lnTo>
                  <a:lnTo>
                    <a:pt x="10" y="102"/>
                  </a:lnTo>
                  <a:lnTo>
                    <a:pt x="10" y="100"/>
                  </a:lnTo>
                  <a:lnTo>
                    <a:pt x="10" y="96"/>
                  </a:lnTo>
                  <a:lnTo>
                    <a:pt x="10" y="94"/>
                  </a:lnTo>
                  <a:lnTo>
                    <a:pt x="8" y="92"/>
                  </a:lnTo>
                  <a:lnTo>
                    <a:pt x="8" y="88"/>
                  </a:lnTo>
                  <a:lnTo>
                    <a:pt x="8" y="86"/>
                  </a:lnTo>
                  <a:lnTo>
                    <a:pt x="6" y="84"/>
                  </a:lnTo>
                  <a:lnTo>
                    <a:pt x="6" y="80"/>
                  </a:lnTo>
                  <a:lnTo>
                    <a:pt x="4" y="76"/>
                  </a:lnTo>
                  <a:lnTo>
                    <a:pt x="4" y="74"/>
                  </a:lnTo>
                  <a:lnTo>
                    <a:pt x="2" y="72"/>
                  </a:lnTo>
                  <a:lnTo>
                    <a:pt x="2" y="70"/>
                  </a:lnTo>
                  <a:lnTo>
                    <a:pt x="2" y="68"/>
                  </a:lnTo>
                  <a:lnTo>
                    <a:pt x="4" y="64"/>
                  </a:lnTo>
                  <a:lnTo>
                    <a:pt x="4" y="62"/>
                  </a:lnTo>
                  <a:lnTo>
                    <a:pt x="4" y="60"/>
                  </a:lnTo>
                  <a:lnTo>
                    <a:pt x="4" y="58"/>
                  </a:lnTo>
                  <a:lnTo>
                    <a:pt x="4" y="56"/>
                  </a:lnTo>
                  <a:lnTo>
                    <a:pt x="4" y="56"/>
                  </a:lnTo>
                  <a:lnTo>
                    <a:pt x="2" y="52"/>
                  </a:lnTo>
                  <a:lnTo>
                    <a:pt x="0" y="48"/>
                  </a:lnTo>
                  <a:lnTo>
                    <a:pt x="4" y="46"/>
                  </a:lnTo>
                  <a:lnTo>
                    <a:pt x="6" y="46"/>
                  </a:lnTo>
                  <a:lnTo>
                    <a:pt x="8" y="46"/>
                  </a:lnTo>
                  <a:lnTo>
                    <a:pt x="8" y="46"/>
                  </a:lnTo>
                  <a:lnTo>
                    <a:pt x="10" y="46"/>
                  </a:lnTo>
                  <a:lnTo>
                    <a:pt x="14" y="46"/>
                  </a:lnTo>
                  <a:lnTo>
                    <a:pt x="16" y="46"/>
                  </a:lnTo>
                  <a:lnTo>
                    <a:pt x="18" y="46"/>
                  </a:lnTo>
                  <a:lnTo>
                    <a:pt x="18" y="44"/>
                  </a:lnTo>
                  <a:lnTo>
                    <a:pt x="20" y="44"/>
                  </a:lnTo>
                  <a:lnTo>
                    <a:pt x="20" y="44"/>
                  </a:lnTo>
                  <a:lnTo>
                    <a:pt x="20" y="44"/>
                  </a:lnTo>
                  <a:lnTo>
                    <a:pt x="20" y="42"/>
                  </a:lnTo>
                  <a:lnTo>
                    <a:pt x="20" y="42"/>
                  </a:lnTo>
                  <a:lnTo>
                    <a:pt x="20" y="40"/>
                  </a:lnTo>
                  <a:lnTo>
                    <a:pt x="20" y="38"/>
                  </a:lnTo>
                  <a:lnTo>
                    <a:pt x="20" y="36"/>
                  </a:lnTo>
                  <a:lnTo>
                    <a:pt x="20" y="34"/>
                  </a:lnTo>
                  <a:lnTo>
                    <a:pt x="18" y="32"/>
                  </a:lnTo>
                  <a:lnTo>
                    <a:pt x="18" y="28"/>
                  </a:lnTo>
                  <a:lnTo>
                    <a:pt x="16" y="26"/>
                  </a:lnTo>
                  <a:lnTo>
                    <a:pt x="16" y="24"/>
                  </a:lnTo>
                  <a:lnTo>
                    <a:pt x="14" y="20"/>
                  </a:lnTo>
                  <a:lnTo>
                    <a:pt x="10" y="4"/>
                  </a:lnTo>
                  <a:lnTo>
                    <a:pt x="14" y="2"/>
                  </a:lnTo>
                  <a:lnTo>
                    <a:pt x="16" y="0"/>
                  </a:lnTo>
                  <a:lnTo>
                    <a:pt x="18" y="0"/>
                  </a:lnTo>
                  <a:lnTo>
                    <a:pt x="18" y="0"/>
                  </a:lnTo>
                  <a:lnTo>
                    <a:pt x="20" y="0"/>
                  </a:lnTo>
                  <a:lnTo>
                    <a:pt x="22" y="0"/>
                  </a:lnTo>
                  <a:lnTo>
                    <a:pt x="24" y="0"/>
                  </a:lnTo>
                  <a:lnTo>
                    <a:pt x="26" y="0"/>
                  </a:lnTo>
                  <a:lnTo>
                    <a:pt x="30" y="0"/>
                  </a:lnTo>
                  <a:lnTo>
                    <a:pt x="32" y="2"/>
                  </a:lnTo>
                  <a:lnTo>
                    <a:pt x="34" y="2"/>
                  </a:lnTo>
                  <a:lnTo>
                    <a:pt x="36" y="2"/>
                  </a:lnTo>
                  <a:lnTo>
                    <a:pt x="40" y="2"/>
                  </a:lnTo>
                  <a:lnTo>
                    <a:pt x="48" y="0"/>
                  </a:lnTo>
                  <a:lnTo>
                    <a:pt x="56" y="0"/>
                  </a:lnTo>
                  <a:lnTo>
                    <a:pt x="62" y="0"/>
                  </a:lnTo>
                  <a:lnTo>
                    <a:pt x="66" y="0"/>
                  </a:lnTo>
                  <a:lnTo>
                    <a:pt x="68" y="0"/>
                  </a:lnTo>
                  <a:lnTo>
                    <a:pt x="72" y="0"/>
                  </a:lnTo>
                  <a:lnTo>
                    <a:pt x="72" y="0"/>
                  </a:lnTo>
                  <a:lnTo>
                    <a:pt x="74" y="0"/>
                  </a:lnTo>
                  <a:lnTo>
                    <a:pt x="76" y="0"/>
                  </a:lnTo>
                  <a:lnTo>
                    <a:pt x="78" y="2"/>
                  </a:lnTo>
                  <a:lnTo>
                    <a:pt x="80" y="4"/>
                  </a:lnTo>
                  <a:lnTo>
                    <a:pt x="82" y="4"/>
                  </a:lnTo>
                  <a:lnTo>
                    <a:pt x="84" y="8"/>
                  </a:lnTo>
                  <a:lnTo>
                    <a:pt x="88" y="12"/>
                  </a:lnTo>
                  <a:lnTo>
                    <a:pt x="92" y="16"/>
                  </a:lnTo>
                  <a:lnTo>
                    <a:pt x="96" y="20"/>
                  </a:lnTo>
                  <a:lnTo>
                    <a:pt x="98" y="20"/>
                  </a:lnTo>
                  <a:lnTo>
                    <a:pt x="100" y="22"/>
                  </a:lnTo>
                  <a:lnTo>
                    <a:pt x="102" y="24"/>
                  </a:lnTo>
                  <a:lnTo>
                    <a:pt x="102" y="24"/>
                  </a:lnTo>
                  <a:lnTo>
                    <a:pt x="104" y="26"/>
                  </a:lnTo>
                  <a:lnTo>
                    <a:pt x="106" y="26"/>
                  </a:lnTo>
                  <a:lnTo>
                    <a:pt x="110" y="26"/>
                  </a:lnTo>
                  <a:lnTo>
                    <a:pt x="112" y="26"/>
                  </a:lnTo>
                  <a:lnTo>
                    <a:pt x="114" y="28"/>
                  </a:lnTo>
                  <a:lnTo>
                    <a:pt x="116" y="28"/>
                  </a:lnTo>
                  <a:lnTo>
                    <a:pt x="118" y="28"/>
                  </a:lnTo>
                  <a:lnTo>
                    <a:pt x="118" y="30"/>
                  </a:lnTo>
                  <a:lnTo>
                    <a:pt x="118" y="30"/>
                  </a:lnTo>
                  <a:lnTo>
                    <a:pt x="118" y="30"/>
                  </a:lnTo>
                  <a:lnTo>
                    <a:pt x="118" y="32"/>
                  </a:lnTo>
                  <a:lnTo>
                    <a:pt x="118" y="34"/>
                  </a:lnTo>
                  <a:lnTo>
                    <a:pt x="118" y="34"/>
                  </a:lnTo>
                  <a:lnTo>
                    <a:pt x="118" y="36"/>
                  </a:lnTo>
                  <a:lnTo>
                    <a:pt x="118" y="38"/>
                  </a:lnTo>
                  <a:lnTo>
                    <a:pt x="120" y="40"/>
                  </a:lnTo>
                  <a:lnTo>
                    <a:pt x="120" y="40"/>
                  </a:lnTo>
                  <a:lnTo>
                    <a:pt x="120" y="42"/>
                  </a:lnTo>
                  <a:lnTo>
                    <a:pt x="120" y="42"/>
                  </a:lnTo>
                  <a:lnTo>
                    <a:pt x="122" y="44"/>
                  </a:lnTo>
                  <a:lnTo>
                    <a:pt x="122" y="44"/>
                  </a:lnTo>
                  <a:lnTo>
                    <a:pt x="124" y="46"/>
                  </a:lnTo>
                  <a:lnTo>
                    <a:pt x="128" y="48"/>
                  </a:lnTo>
                  <a:lnTo>
                    <a:pt x="132" y="50"/>
                  </a:lnTo>
                  <a:lnTo>
                    <a:pt x="136" y="52"/>
                  </a:lnTo>
                  <a:lnTo>
                    <a:pt x="138" y="52"/>
                  </a:lnTo>
                  <a:lnTo>
                    <a:pt x="142" y="54"/>
                  </a:lnTo>
                  <a:lnTo>
                    <a:pt x="142" y="62"/>
                  </a:lnTo>
                  <a:lnTo>
                    <a:pt x="142" y="64"/>
                  </a:lnTo>
                  <a:lnTo>
                    <a:pt x="142" y="68"/>
                  </a:lnTo>
                  <a:lnTo>
                    <a:pt x="142" y="68"/>
                  </a:lnTo>
                  <a:lnTo>
                    <a:pt x="144" y="70"/>
                  </a:lnTo>
                  <a:lnTo>
                    <a:pt x="142" y="72"/>
                  </a:lnTo>
                  <a:lnTo>
                    <a:pt x="142" y="72"/>
                  </a:lnTo>
                  <a:lnTo>
                    <a:pt x="142" y="74"/>
                  </a:lnTo>
                  <a:lnTo>
                    <a:pt x="142" y="74"/>
                  </a:lnTo>
                  <a:lnTo>
                    <a:pt x="140" y="76"/>
                  </a:lnTo>
                  <a:lnTo>
                    <a:pt x="138" y="78"/>
                  </a:lnTo>
                  <a:lnTo>
                    <a:pt x="138" y="78"/>
                  </a:lnTo>
                  <a:lnTo>
                    <a:pt x="136" y="78"/>
                  </a:lnTo>
                  <a:lnTo>
                    <a:pt x="136" y="82"/>
                  </a:lnTo>
                  <a:lnTo>
                    <a:pt x="136" y="82"/>
                  </a:lnTo>
                  <a:lnTo>
                    <a:pt x="134" y="84"/>
                  </a:lnTo>
                  <a:lnTo>
                    <a:pt x="134" y="86"/>
                  </a:lnTo>
                  <a:lnTo>
                    <a:pt x="134" y="88"/>
                  </a:lnTo>
                  <a:lnTo>
                    <a:pt x="134" y="88"/>
                  </a:lnTo>
                  <a:lnTo>
                    <a:pt x="134" y="90"/>
                  </a:lnTo>
                  <a:lnTo>
                    <a:pt x="136" y="90"/>
                  </a:lnTo>
                  <a:lnTo>
                    <a:pt x="136" y="90"/>
                  </a:lnTo>
                  <a:lnTo>
                    <a:pt x="136" y="90"/>
                  </a:lnTo>
                  <a:lnTo>
                    <a:pt x="136" y="90"/>
                  </a:lnTo>
                  <a:lnTo>
                    <a:pt x="138" y="90"/>
                  </a:lnTo>
                  <a:lnTo>
                    <a:pt x="140" y="90"/>
                  </a:lnTo>
                  <a:lnTo>
                    <a:pt x="140" y="90"/>
                  </a:lnTo>
                  <a:lnTo>
                    <a:pt x="142" y="90"/>
                  </a:lnTo>
                  <a:lnTo>
                    <a:pt x="142" y="92"/>
                  </a:lnTo>
                  <a:lnTo>
                    <a:pt x="144" y="92"/>
                  </a:lnTo>
                  <a:lnTo>
                    <a:pt x="144" y="92"/>
                  </a:lnTo>
                  <a:lnTo>
                    <a:pt x="144" y="92"/>
                  </a:lnTo>
                  <a:lnTo>
                    <a:pt x="144" y="94"/>
                  </a:lnTo>
                  <a:lnTo>
                    <a:pt x="144" y="94"/>
                  </a:lnTo>
                  <a:lnTo>
                    <a:pt x="144" y="96"/>
                  </a:lnTo>
                  <a:lnTo>
                    <a:pt x="144" y="96"/>
                  </a:lnTo>
                  <a:lnTo>
                    <a:pt x="144" y="100"/>
                  </a:lnTo>
                  <a:lnTo>
                    <a:pt x="142" y="104"/>
                  </a:lnTo>
                  <a:lnTo>
                    <a:pt x="142" y="106"/>
                  </a:lnTo>
                  <a:lnTo>
                    <a:pt x="142" y="108"/>
                  </a:lnTo>
                  <a:lnTo>
                    <a:pt x="142" y="110"/>
                  </a:lnTo>
                  <a:lnTo>
                    <a:pt x="142" y="112"/>
                  </a:lnTo>
                  <a:lnTo>
                    <a:pt x="144" y="116"/>
                  </a:lnTo>
                  <a:lnTo>
                    <a:pt x="146" y="122"/>
                  </a:lnTo>
                  <a:lnTo>
                    <a:pt x="146" y="124"/>
                  </a:lnTo>
                  <a:lnTo>
                    <a:pt x="146" y="124"/>
                  </a:lnTo>
                  <a:lnTo>
                    <a:pt x="146" y="126"/>
                  </a:lnTo>
                  <a:lnTo>
                    <a:pt x="146" y="130"/>
                  </a:lnTo>
                  <a:lnTo>
                    <a:pt x="146" y="134"/>
                  </a:lnTo>
                  <a:lnTo>
                    <a:pt x="146" y="136"/>
                  </a:lnTo>
                  <a:lnTo>
                    <a:pt x="146" y="140"/>
                  </a:lnTo>
                  <a:lnTo>
                    <a:pt x="146" y="142"/>
                  </a:lnTo>
                  <a:lnTo>
                    <a:pt x="146" y="142"/>
                  </a:lnTo>
                  <a:lnTo>
                    <a:pt x="146" y="144"/>
                  </a:lnTo>
                  <a:lnTo>
                    <a:pt x="146" y="144"/>
                  </a:lnTo>
                  <a:lnTo>
                    <a:pt x="148" y="144"/>
                  </a:lnTo>
                  <a:lnTo>
                    <a:pt x="150" y="146"/>
                  </a:lnTo>
                  <a:lnTo>
                    <a:pt x="152" y="148"/>
                  </a:lnTo>
                  <a:lnTo>
                    <a:pt x="152" y="148"/>
                  </a:lnTo>
                  <a:lnTo>
                    <a:pt x="152" y="150"/>
                  </a:lnTo>
                  <a:lnTo>
                    <a:pt x="154" y="150"/>
                  </a:lnTo>
                  <a:lnTo>
                    <a:pt x="154" y="152"/>
                  </a:lnTo>
                  <a:lnTo>
                    <a:pt x="156" y="154"/>
                  </a:lnTo>
                  <a:lnTo>
                    <a:pt x="156" y="15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4" name="Freeform 433">
              <a:extLst>
                <a:ext uri="{FF2B5EF4-FFF2-40B4-BE49-F238E27FC236}">
                  <a16:creationId xmlns:a16="http://schemas.microsoft.com/office/drawing/2014/main" id="{372061F4-46D9-4222-BAA3-119772AD1CF1}"/>
                </a:ext>
              </a:extLst>
            </p:cNvPr>
            <p:cNvSpPr>
              <a:spLocks/>
            </p:cNvSpPr>
            <p:nvPr/>
          </p:nvSpPr>
          <p:spPr bwMode="auto">
            <a:xfrm>
              <a:off x="5010540" y="4680852"/>
              <a:ext cx="270204" cy="308309"/>
            </a:xfrm>
            <a:custGeom>
              <a:avLst/>
              <a:gdLst>
                <a:gd name="T0" fmla="*/ 146 w 156"/>
                <a:gd name="T1" fmla="*/ 158 h 178"/>
                <a:gd name="T2" fmla="*/ 138 w 156"/>
                <a:gd name="T3" fmla="*/ 162 h 178"/>
                <a:gd name="T4" fmla="*/ 136 w 156"/>
                <a:gd name="T5" fmla="*/ 168 h 178"/>
                <a:gd name="T6" fmla="*/ 130 w 156"/>
                <a:gd name="T7" fmla="*/ 168 h 178"/>
                <a:gd name="T8" fmla="*/ 122 w 156"/>
                <a:gd name="T9" fmla="*/ 166 h 178"/>
                <a:gd name="T10" fmla="*/ 118 w 156"/>
                <a:gd name="T11" fmla="*/ 170 h 178"/>
                <a:gd name="T12" fmla="*/ 118 w 156"/>
                <a:gd name="T13" fmla="*/ 176 h 178"/>
                <a:gd name="T14" fmla="*/ 112 w 156"/>
                <a:gd name="T15" fmla="*/ 178 h 178"/>
                <a:gd name="T16" fmla="*/ 102 w 156"/>
                <a:gd name="T17" fmla="*/ 178 h 178"/>
                <a:gd name="T18" fmla="*/ 92 w 156"/>
                <a:gd name="T19" fmla="*/ 176 h 178"/>
                <a:gd name="T20" fmla="*/ 86 w 156"/>
                <a:gd name="T21" fmla="*/ 172 h 178"/>
                <a:gd name="T22" fmla="*/ 84 w 156"/>
                <a:gd name="T23" fmla="*/ 166 h 178"/>
                <a:gd name="T24" fmla="*/ 72 w 156"/>
                <a:gd name="T25" fmla="*/ 156 h 178"/>
                <a:gd name="T26" fmla="*/ 56 w 156"/>
                <a:gd name="T27" fmla="*/ 146 h 178"/>
                <a:gd name="T28" fmla="*/ 46 w 156"/>
                <a:gd name="T29" fmla="*/ 134 h 178"/>
                <a:gd name="T30" fmla="*/ 34 w 156"/>
                <a:gd name="T31" fmla="*/ 126 h 178"/>
                <a:gd name="T32" fmla="*/ 24 w 156"/>
                <a:gd name="T33" fmla="*/ 116 h 178"/>
                <a:gd name="T34" fmla="*/ 20 w 156"/>
                <a:gd name="T35" fmla="*/ 110 h 178"/>
                <a:gd name="T36" fmla="*/ 18 w 156"/>
                <a:gd name="T37" fmla="*/ 106 h 178"/>
                <a:gd name="T38" fmla="*/ 10 w 156"/>
                <a:gd name="T39" fmla="*/ 106 h 178"/>
                <a:gd name="T40" fmla="*/ 10 w 156"/>
                <a:gd name="T41" fmla="*/ 96 h 178"/>
                <a:gd name="T42" fmla="*/ 6 w 156"/>
                <a:gd name="T43" fmla="*/ 84 h 178"/>
                <a:gd name="T44" fmla="*/ 2 w 156"/>
                <a:gd name="T45" fmla="*/ 70 h 178"/>
                <a:gd name="T46" fmla="*/ 4 w 156"/>
                <a:gd name="T47" fmla="*/ 58 h 178"/>
                <a:gd name="T48" fmla="*/ 4 w 156"/>
                <a:gd name="T49" fmla="*/ 46 h 178"/>
                <a:gd name="T50" fmla="*/ 14 w 156"/>
                <a:gd name="T51" fmla="*/ 46 h 178"/>
                <a:gd name="T52" fmla="*/ 20 w 156"/>
                <a:gd name="T53" fmla="*/ 44 h 178"/>
                <a:gd name="T54" fmla="*/ 20 w 156"/>
                <a:gd name="T55" fmla="*/ 38 h 178"/>
                <a:gd name="T56" fmla="*/ 16 w 156"/>
                <a:gd name="T57" fmla="*/ 26 h 178"/>
                <a:gd name="T58" fmla="*/ 16 w 156"/>
                <a:gd name="T59" fmla="*/ 0 h 178"/>
                <a:gd name="T60" fmla="*/ 24 w 156"/>
                <a:gd name="T61" fmla="*/ 0 h 178"/>
                <a:gd name="T62" fmla="*/ 36 w 156"/>
                <a:gd name="T63" fmla="*/ 2 h 178"/>
                <a:gd name="T64" fmla="*/ 66 w 156"/>
                <a:gd name="T65" fmla="*/ 0 h 178"/>
                <a:gd name="T66" fmla="*/ 76 w 156"/>
                <a:gd name="T67" fmla="*/ 0 h 178"/>
                <a:gd name="T68" fmla="*/ 88 w 156"/>
                <a:gd name="T69" fmla="*/ 12 h 178"/>
                <a:gd name="T70" fmla="*/ 102 w 156"/>
                <a:gd name="T71" fmla="*/ 24 h 178"/>
                <a:gd name="T72" fmla="*/ 112 w 156"/>
                <a:gd name="T73" fmla="*/ 26 h 178"/>
                <a:gd name="T74" fmla="*/ 118 w 156"/>
                <a:gd name="T75" fmla="*/ 30 h 178"/>
                <a:gd name="T76" fmla="*/ 118 w 156"/>
                <a:gd name="T77" fmla="*/ 36 h 178"/>
                <a:gd name="T78" fmla="*/ 120 w 156"/>
                <a:gd name="T79" fmla="*/ 42 h 178"/>
                <a:gd name="T80" fmla="*/ 132 w 156"/>
                <a:gd name="T81" fmla="*/ 50 h 178"/>
                <a:gd name="T82" fmla="*/ 142 w 156"/>
                <a:gd name="T83" fmla="*/ 64 h 178"/>
                <a:gd name="T84" fmla="*/ 142 w 156"/>
                <a:gd name="T85" fmla="*/ 72 h 178"/>
                <a:gd name="T86" fmla="*/ 138 w 156"/>
                <a:gd name="T87" fmla="*/ 78 h 178"/>
                <a:gd name="T88" fmla="*/ 134 w 156"/>
                <a:gd name="T89" fmla="*/ 86 h 178"/>
                <a:gd name="T90" fmla="*/ 136 w 156"/>
                <a:gd name="T91" fmla="*/ 90 h 178"/>
                <a:gd name="T92" fmla="*/ 140 w 156"/>
                <a:gd name="T93" fmla="*/ 90 h 178"/>
                <a:gd name="T94" fmla="*/ 144 w 156"/>
                <a:gd name="T95" fmla="*/ 92 h 178"/>
                <a:gd name="T96" fmla="*/ 144 w 156"/>
                <a:gd name="T97" fmla="*/ 100 h 178"/>
                <a:gd name="T98" fmla="*/ 142 w 156"/>
                <a:gd name="T99" fmla="*/ 112 h 178"/>
                <a:gd name="T100" fmla="*/ 146 w 156"/>
                <a:gd name="T101" fmla="*/ 126 h 178"/>
                <a:gd name="T102" fmla="*/ 146 w 156"/>
                <a:gd name="T103" fmla="*/ 142 h 178"/>
                <a:gd name="T104" fmla="*/ 150 w 156"/>
                <a:gd name="T105" fmla="*/ 146 h 178"/>
                <a:gd name="T106" fmla="*/ 154 w 156"/>
                <a:gd name="T107" fmla="*/ 1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178">
                  <a:moveTo>
                    <a:pt x="156" y="158"/>
                  </a:moveTo>
                  <a:lnTo>
                    <a:pt x="156" y="158"/>
                  </a:lnTo>
                  <a:lnTo>
                    <a:pt x="154" y="158"/>
                  </a:lnTo>
                  <a:lnTo>
                    <a:pt x="150" y="158"/>
                  </a:lnTo>
                  <a:lnTo>
                    <a:pt x="146" y="158"/>
                  </a:lnTo>
                  <a:lnTo>
                    <a:pt x="144" y="160"/>
                  </a:lnTo>
                  <a:lnTo>
                    <a:pt x="142" y="160"/>
                  </a:lnTo>
                  <a:lnTo>
                    <a:pt x="140" y="160"/>
                  </a:lnTo>
                  <a:lnTo>
                    <a:pt x="140" y="162"/>
                  </a:lnTo>
                  <a:lnTo>
                    <a:pt x="138" y="162"/>
                  </a:lnTo>
                  <a:lnTo>
                    <a:pt x="138" y="162"/>
                  </a:lnTo>
                  <a:lnTo>
                    <a:pt x="138" y="164"/>
                  </a:lnTo>
                  <a:lnTo>
                    <a:pt x="136" y="166"/>
                  </a:lnTo>
                  <a:lnTo>
                    <a:pt x="136" y="166"/>
                  </a:lnTo>
                  <a:lnTo>
                    <a:pt x="136" y="168"/>
                  </a:lnTo>
                  <a:lnTo>
                    <a:pt x="136" y="168"/>
                  </a:lnTo>
                  <a:lnTo>
                    <a:pt x="134" y="168"/>
                  </a:lnTo>
                  <a:lnTo>
                    <a:pt x="134" y="168"/>
                  </a:lnTo>
                  <a:lnTo>
                    <a:pt x="132" y="168"/>
                  </a:lnTo>
                  <a:lnTo>
                    <a:pt x="130" y="168"/>
                  </a:lnTo>
                  <a:lnTo>
                    <a:pt x="128" y="168"/>
                  </a:lnTo>
                  <a:lnTo>
                    <a:pt x="126" y="166"/>
                  </a:lnTo>
                  <a:lnTo>
                    <a:pt x="122" y="166"/>
                  </a:lnTo>
                  <a:lnTo>
                    <a:pt x="122" y="166"/>
                  </a:lnTo>
                  <a:lnTo>
                    <a:pt x="122" y="166"/>
                  </a:lnTo>
                  <a:lnTo>
                    <a:pt x="120" y="166"/>
                  </a:lnTo>
                  <a:lnTo>
                    <a:pt x="120" y="168"/>
                  </a:lnTo>
                  <a:lnTo>
                    <a:pt x="120" y="168"/>
                  </a:lnTo>
                  <a:lnTo>
                    <a:pt x="118" y="168"/>
                  </a:lnTo>
                  <a:lnTo>
                    <a:pt x="118" y="170"/>
                  </a:lnTo>
                  <a:lnTo>
                    <a:pt x="118" y="170"/>
                  </a:lnTo>
                  <a:lnTo>
                    <a:pt x="118" y="172"/>
                  </a:lnTo>
                  <a:lnTo>
                    <a:pt x="118" y="174"/>
                  </a:lnTo>
                  <a:lnTo>
                    <a:pt x="118" y="174"/>
                  </a:lnTo>
                  <a:lnTo>
                    <a:pt x="118" y="176"/>
                  </a:lnTo>
                  <a:lnTo>
                    <a:pt x="116" y="176"/>
                  </a:lnTo>
                  <a:lnTo>
                    <a:pt x="116" y="176"/>
                  </a:lnTo>
                  <a:lnTo>
                    <a:pt x="116" y="178"/>
                  </a:lnTo>
                  <a:lnTo>
                    <a:pt x="114" y="178"/>
                  </a:lnTo>
                  <a:lnTo>
                    <a:pt x="112" y="178"/>
                  </a:lnTo>
                  <a:lnTo>
                    <a:pt x="110" y="178"/>
                  </a:lnTo>
                  <a:lnTo>
                    <a:pt x="108" y="178"/>
                  </a:lnTo>
                  <a:lnTo>
                    <a:pt x="106" y="178"/>
                  </a:lnTo>
                  <a:lnTo>
                    <a:pt x="104" y="178"/>
                  </a:lnTo>
                  <a:lnTo>
                    <a:pt x="102" y="178"/>
                  </a:lnTo>
                  <a:lnTo>
                    <a:pt x="100" y="178"/>
                  </a:lnTo>
                  <a:lnTo>
                    <a:pt x="98" y="178"/>
                  </a:lnTo>
                  <a:lnTo>
                    <a:pt x="96" y="178"/>
                  </a:lnTo>
                  <a:lnTo>
                    <a:pt x="94" y="178"/>
                  </a:lnTo>
                  <a:lnTo>
                    <a:pt x="92" y="176"/>
                  </a:lnTo>
                  <a:lnTo>
                    <a:pt x="90" y="176"/>
                  </a:lnTo>
                  <a:lnTo>
                    <a:pt x="88" y="176"/>
                  </a:lnTo>
                  <a:lnTo>
                    <a:pt x="88" y="174"/>
                  </a:lnTo>
                  <a:lnTo>
                    <a:pt x="86" y="174"/>
                  </a:lnTo>
                  <a:lnTo>
                    <a:pt x="86" y="172"/>
                  </a:lnTo>
                  <a:lnTo>
                    <a:pt x="86" y="172"/>
                  </a:lnTo>
                  <a:lnTo>
                    <a:pt x="86" y="170"/>
                  </a:lnTo>
                  <a:lnTo>
                    <a:pt x="84" y="168"/>
                  </a:lnTo>
                  <a:lnTo>
                    <a:pt x="84" y="166"/>
                  </a:lnTo>
                  <a:lnTo>
                    <a:pt x="84" y="166"/>
                  </a:lnTo>
                  <a:lnTo>
                    <a:pt x="82" y="164"/>
                  </a:lnTo>
                  <a:lnTo>
                    <a:pt x="82" y="162"/>
                  </a:lnTo>
                  <a:lnTo>
                    <a:pt x="78" y="160"/>
                  </a:lnTo>
                  <a:lnTo>
                    <a:pt x="74" y="158"/>
                  </a:lnTo>
                  <a:lnTo>
                    <a:pt x="72" y="156"/>
                  </a:lnTo>
                  <a:lnTo>
                    <a:pt x="68" y="152"/>
                  </a:lnTo>
                  <a:lnTo>
                    <a:pt x="64" y="150"/>
                  </a:lnTo>
                  <a:lnTo>
                    <a:pt x="60" y="150"/>
                  </a:lnTo>
                  <a:lnTo>
                    <a:pt x="58" y="148"/>
                  </a:lnTo>
                  <a:lnTo>
                    <a:pt x="56" y="146"/>
                  </a:lnTo>
                  <a:lnTo>
                    <a:pt x="54" y="146"/>
                  </a:lnTo>
                  <a:lnTo>
                    <a:pt x="52" y="144"/>
                  </a:lnTo>
                  <a:lnTo>
                    <a:pt x="50" y="140"/>
                  </a:lnTo>
                  <a:lnTo>
                    <a:pt x="46" y="136"/>
                  </a:lnTo>
                  <a:lnTo>
                    <a:pt x="46" y="134"/>
                  </a:lnTo>
                  <a:lnTo>
                    <a:pt x="44" y="132"/>
                  </a:lnTo>
                  <a:lnTo>
                    <a:pt x="42" y="132"/>
                  </a:lnTo>
                  <a:lnTo>
                    <a:pt x="42" y="130"/>
                  </a:lnTo>
                  <a:lnTo>
                    <a:pt x="38" y="128"/>
                  </a:lnTo>
                  <a:lnTo>
                    <a:pt x="34" y="126"/>
                  </a:lnTo>
                  <a:lnTo>
                    <a:pt x="32" y="126"/>
                  </a:lnTo>
                  <a:lnTo>
                    <a:pt x="30" y="124"/>
                  </a:lnTo>
                  <a:lnTo>
                    <a:pt x="28" y="122"/>
                  </a:lnTo>
                  <a:lnTo>
                    <a:pt x="26" y="120"/>
                  </a:lnTo>
                  <a:lnTo>
                    <a:pt x="24" y="116"/>
                  </a:lnTo>
                  <a:lnTo>
                    <a:pt x="22" y="116"/>
                  </a:lnTo>
                  <a:lnTo>
                    <a:pt x="22" y="114"/>
                  </a:lnTo>
                  <a:lnTo>
                    <a:pt x="22" y="114"/>
                  </a:lnTo>
                  <a:lnTo>
                    <a:pt x="20" y="112"/>
                  </a:lnTo>
                  <a:lnTo>
                    <a:pt x="20" y="110"/>
                  </a:lnTo>
                  <a:lnTo>
                    <a:pt x="20" y="108"/>
                  </a:lnTo>
                  <a:lnTo>
                    <a:pt x="20" y="108"/>
                  </a:lnTo>
                  <a:lnTo>
                    <a:pt x="20" y="106"/>
                  </a:lnTo>
                  <a:lnTo>
                    <a:pt x="20" y="106"/>
                  </a:lnTo>
                  <a:lnTo>
                    <a:pt x="18" y="106"/>
                  </a:lnTo>
                  <a:lnTo>
                    <a:pt x="18" y="106"/>
                  </a:lnTo>
                  <a:lnTo>
                    <a:pt x="16" y="106"/>
                  </a:lnTo>
                  <a:lnTo>
                    <a:pt x="14" y="106"/>
                  </a:lnTo>
                  <a:lnTo>
                    <a:pt x="12" y="106"/>
                  </a:lnTo>
                  <a:lnTo>
                    <a:pt x="10" y="106"/>
                  </a:lnTo>
                  <a:lnTo>
                    <a:pt x="8" y="106"/>
                  </a:lnTo>
                  <a:lnTo>
                    <a:pt x="8" y="104"/>
                  </a:lnTo>
                  <a:lnTo>
                    <a:pt x="10" y="102"/>
                  </a:lnTo>
                  <a:lnTo>
                    <a:pt x="10" y="100"/>
                  </a:lnTo>
                  <a:lnTo>
                    <a:pt x="10" y="96"/>
                  </a:lnTo>
                  <a:lnTo>
                    <a:pt x="10" y="94"/>
                  </a:lnTo>
                  <a:lnTo>
                    <a:pt x="8" y="92"/>
                  </a:lnTo>
                  <a:lnTo>
                    <a:pt x="8" y="88"/>
                  </a:lnTo>
                  <a:lnTo>
                    <a:pt x="8" y="86"/>
                  </a:lnTo>
                  <a:lnTo>
                    <a:pt x="6" y="84"/>
                  </a:lnTo>
                  <a:lnTo>
                    <a:pt x="6" y="80"/>
                  </a:lnTo>
                  <a:lnTo>
                    <a:pt x="4" y="76"/>
                  </a:lnTo>
                  <a:lnTo>
                    <a:pt x="4" y="74"/>
                  </a:lnTo>
                  <a:lnTo>
                    <a:pt x="2" y="72"/>
                  </a:lnTo>
                  <a:lnTo>
                    <a:pt x="2" y="70"/>
                  </a:lnTo>
                  <a:lnTo>
                    <a:pt x="2" y="68"/>
                  </a:lnTo>
                  <a:lnTo>
                    <a:pt x="4" y="64"/>
                  </a:lnTo>
                  <a:lnTo>
                    <a:pt x="4" y="62"/>
                  </a:lnTo>
                  <a:lnTo>
                    <a:pt x="4" y="60"/>
                  </a:lnTo>
                  <a:lnTo>
                    <a:pt x="4" y="58"/>
                  </a:lnTo>
                  <a:lnTo>
                    <a:pt x="4" y="56"/>
                  </a:lnTo>
                  <a:lnTo>
                    <a:pt x="4" y="56"/>
                  </a:lnTo>
                  <a:lnTo>
                    <a:pt x="2" y="52"/>
                  </a:lnTo>
                  <a:lnTo>
                    <a:pt x="0" y="48"/>
                  </a:lnTo>
                  <a:lnTo>
                    <a:pt x="4" y="46"/>
                  </a:lnTo>
                  <a:lnTo>
                    <a:pt x="6" y="46"/>
                  </a:lnTo>
                  <a:lnTo>
                    <a:pt x="8" y="46"/>
                  </a:lnTo>
                  <a:lnTo>
                    <a:pt x="8" y="46"/>
                  </a:lnTo>
                  <a:lnTo>
                    <a:pt x="10" y="46"/>
                  </a:lnTo>
                  <a:lnTo>
                    <a:pt x="14" y="46"/>
                  </a:lnTo>
                  <a:lnTo>
                    <a:pt x="16" y="46"/>
                  </a:lnTo>
                  <a:lnTo>
                    <a:pt x="18" y="46"/>
                  </a:lnTo>
                  <a:lnTo>
                    <a:pt x="18" y="44"/>
                  </a:lnTo>
                  <a:lnTo>
                    <a:pt x="20" y="44"/>
                  </a:lnTo>
                  <a:lnTo>
                    <a:pt x="20" y="44"/>
                  </a:lnTo>
                  <a:lnTo>
                    <a:pt x="20" y="44"/>
                  </a:lnTo>
                  <a:lnTo>
                    <a:pt x="20" y="42"/>
                  </a:lnTo>
                  <a:lnTo>
                    <a:pt x="20" y="42"/>
                  </a:lnTo>
                  <a:lnTo>
                    <a:pt x="20" y="40"/>
                  </a:lnTo>
                  <a:lnTo>
                    <a:pt x="20" y="38"/>
                  </a:lnTo>
                  <a:lnTo>
                    <a:pt x="20" y="36"/>
                  </a:lnTo>
                  <a:lnTo>
                    <a:pt x="20" y="34"/>
                  </a:lnTo>
                  <a:lnTo>
                    <a:pt x="18" y="32"/>
                  </a:lnTo>
                  <a:lnTo>
                    <a:pt x="18" y="28"/>
                  </a:lnTo>
                  <a:lnTo>
                    <a:pt x="16" y="26"/>
                  </a:lnTo>
                  <a:lnTo>
                    <a:pt x="16" y="24"/>
                  </a:lnTo>
                  <a:lnTo>
                    <a:pt x="14" y="20"/>
                  </a:lnTo>
                  <a:lnTo>
                    <a:pt x="10" y="4"/>
                  </a:lnTo>
                  <a:lnTo>
                    <a:pt x="14" y="2"/>
                  </a:lnTo>
                  <a:lnTo>
                    <a:pt x="16" y="0"/>
                  </a:lnTo>
                  <a:lnTo>
                    <a:pt x="18" y="0"/>
                  </a:lnTo>
                  <a:lnTo>
                    <a:pt x="18" y="0"/>
                  </a:lnTo>
                  <a:lnTo>
                    <a:pt x="20" y="0"/>
                  </a:lnTo>
                  <a:lnTo>
                    <a:pt x="22" y="0"/>
                  </a:lnTo>
                  <a:lnTo>
                    <a:pt x="24" y="0"/>
                  </a:lnTo>
                  <a:lnTo>
                    <a:pt x="26" y="0"/>
                  </a:lnTo>
                  <a:lnTo>
                    <a:pt x="30" y="0"/>
                  </a:lnTo>
                  <a:lnTo>
                    <a:pt x="32" y="2"/>
                  </a:lnTo>
                  <a:lnTo>
                    <a:pt x="34" y="2"/>
                  </a:lnTo>
                  <a:lnTo>
                    <a:pt x="36" y="2"/>
                  </a:lnTo>
                  <a:lnTo>
                    <a:pt x="40" y="2"/>
                  </a:lnTo>
                  <a:lnTo>
                    <a:pt x="48" y="0"/>
                  </a:lnTo>
                  <a:lnTo>
                    <a:pt x="56" y="0"/>
                  </a:lnTo>
                  <a:lnTo>
                    <a:pt x="62" y="0"/>
                  </a:lnTo>
                  <a:lnTo>
                    <a:pt x="66" y="0"/>
                  </a:lnTo>
                  <a:lnTo>
                    <a:pt x="68" y="0"/>
                  </a:lnTo>
                  <a:lnTo>
                    <a:pt x="72" y="0"/>
                  </a:lnTo>
                  <a:lnTo>
                    <a:pt x="72" y="0"/>
                  </a:lnTo>
                  <a:lnTo>
                    <a:pt x="74" y="0"/>
                  </a:lnTo>
                  <a:lnTo>
                    <a:pt x="76" y="0"/>
                  </a:lnTo>
                  <a:lnTo>
                    <a:pt x="78" y="2"/>
                  </a:lnTo>
                  <a:lnTo>
                    <a:pt x="80" y="4"/>
                  </a:lnTo>
                  <a:lnTo>
                    <a:pt x="82" y="4"/>
                  </a:lnTo>
                  <a:lnTo>
                    <a:pt x="84" y="8"/>
                  </a:lnTo>
                  <a:lnTo>
                    <a:pt x="88" y="12"/>
                  </a:lnTo>
                  <a:lnTo>
                    <a:pt x="92" y="16"/>
                  </a:lnTo>
                  <a:lnTo>
                    <a:pt x="96" y="20"/>
                  </a:lnTo>
                  <a:lnTo>
                    <a:pt x="98" y="20"/>
                  </a:lnTo>
                  <a:lnTo>
                    <a:pt x="100" y="22"/>
                  </a:lnTo>
                  <a:lnTo>
                    <a:pt x="102" y="24"/>
                  </a:lnTo>
                  <a:lnTo>
                    <a:pt x="102" y="24"/>
                  </a:lnTo>
                  <a:lnTo>
                    <a:pt x="104" y="26"/>
                  </a:lnTo>
                  <a:lnTo>
                    <a:pt x="106" y="26"/>
                  </a:lnTo>
                  <a:lnTo>
                    <a:pt x="110" y="26"/>
                  </a:lnTo>
                  <a:lnTo>
                    <a:pt x="112" y="26"/>
                  </a:lnTo>
                  <a:lnTo>
                    <a:pt x="114" y="28"/>
                  </a:lnTo>
                  <a:lnTo>
                    <a:pt x="116" y="28"/>
                  </a:lnTo>
                  <a:lnTo>
                    <a:pt x="118" y="28"/>
                  </a:lnTo>
                  <a:lnTo>
                    <a:pt x="118" y="30"/>
                  </a:lnTo>
                  <a:lnTo>
                    <a:pt x="118" y="30"/>
                  </a:lnTo>
                  <a:lnTo>
                    <a:pt x="118" y="30"/>
                  </a:lnTo>
                  <a:lnTo>
                    <a:pt x="118" y="32"/>
                  </a:lnTo>
                  <a:lnTo>
                    <a:pt x="118" y="34"/>
                  </a:lnTo>
                  <a:lnTo>
                    <a:pt x="118" y="34"/>
                  </a:lnTo>
                  <a:lnTo>
                    <a:pt x="118" y="36"/>
                  </a:lnTo>
                  <a:lnTo>
                    <a:pt x="118" y="38"/>
                  </a:lnTo>
                  <a:lnTo>
                    <a:pt x="120" y="40"/>
                  </a:lnTo>
                  <a:lnTo>
                    <a:pt x="120" y="40"/>
                  </a:lnTo>
                  <a:lnTo>
                    <a:pt x="120" y="42"/>
                  </a:lnTo>
                  <a:lnTo>
                    <a:pt x="120" y="42"/>
                  </a:lnTo>
                  <a:lnTo>
                    <a:pt x="122" y="44"/>
                  </a:lnTo>
                  <a:lnTo>
                    <a:pt x="122" y="44"/>
                  </a:lnTo>
                  <a:lnTo>
                    <a:pt x="124" y="46"/>
                  </a:lnTo>
                  <a:lnTo>
                    <a:pt x="128" y="48"/>
                  </a:lnTo>
                  <a:lnTo>
                    <a:pt x="132" y="50"/>
                  </a:lnTo>
                  <a:lnTo>
                    <a:pt x="136" y="52"/>
                  </a:lnTo>
                  <a:lnTo>
                    <a:pt x="138" y="52"/>
                  </a:lnTo>
                  <a:lnTo>
                    <a:pt x="142" y="54"/>
                  </a:lnTo>
                  <a:lnTo>
                    <a:pt x="142" y="62"/>
                  </a:lnTo>
                  <a:lnTo>
                    <a:pt x="142" y="64"/>
                  </a:lnTo>
                  <a:lnTo>
                    <a:pt x="142" y="68"/>
                  </a:lnTo>
                  <a:lnTo>
                    <a:pt x="142" y="68"/>
                  </a:lnTo>
                  <a:lnTo>
                    <a:pt x="144" y="70"/>
                  </a:lnTo>
                  <a:lnTo>
                    <a:pt x="142" y="72"/>
                  </a:lnTo>
                  <a:lnTo>
                    <a:pt x="142" y="72"/>
                  </a:lnTo>
                  <a:lnTo>
                    <a:pt x="142" y="74"/>
                  </a:lnTo>
                  <a:lnTo>
                    <a:pt x="142" y="74"/>
                  </a:lnTo>
                  <a:lnTo>
                    <a:pt x="140" y="76"/>
                  </a:lnTo>
                  <a:lnTo>
                    <a:pt x="138" y="78"/>
                  </a:lnTo>
                  <a:lnTo>
                    <a:pt x="138" y="78"/>
                  </a:lnTo>
                  <a:lnTo>
                    <a:pt x="136" y="78"/>
                  </a:lnTo>
                  <a:lnTo>
                    <a:pt x="136" y="82"/>
                  </a:lnTo>
                  <a:lnTo>
                    <a:pt x="136" y="82"/>
                  </a:lnTo>
                  <a:lnTo>
                    <a:pt x="134" y="84"/>
                  </a:lnTo>
                  <a:lnTo>
                    <a:pt x="134" y="86"/>
                  </a:lnTo>
                  <a:lnTo>
                    <a:pt x="134" y="88"/>
                  </a:lnTo>
                  <a:lnTo>
                    <a:pt x="134" y="88"/>
                  </a:lnTo>
                  <a:lnTo>
                    <a:pt x="134" y="90"/>
                  </a:lnTo>
                  <a:lnTo>
                    <a:pt x="136" y="90"/>
                  </a:lnTo>
                  <a:lnTo>
                    <a:pt x="136" y="90"/>
                  </a:lnTo>
                  <a:lnTo>
                    <a:pt x="136" y="90"/>
                  </a:lnTo>
                  <a:lnTo>
                    <a:pt x="136" y="90"/>
                  </a:lnTo>
                  <a:lnTo>
                    <a:pt x="138" y="90"/>
                  </a:lnTo>
                  <a:lnTo>
                    <a:pt x="140" y="90"/>
                  </a:lnTo>
                  <a:lnTo>
                    <a:pt x="140" y="90"/>
                  </a:lnTo>
                  <a:lnTo>
                    <a:pt x="142" y="90"/>
                  </a:lnTo>
                  <a:lnTo>
                    <a:pt x="142" y="92"/>
                  </a:lnTo>
                  <a:lnTo>
                    <a:pt x="144" y="92"/>
                  </a:lnTo>
                  <a:lnTo>
                    <a:pt x="144" y="92"/>
                  </a:lnTo>
                  <a:lnTo>
                    <a:pt x="144" y="92"/>
                  </a:lnTo>
                  <a:lnTo>
                    <a:pt x="144" y="94"/>
                  </a:lnTo>
                  <a:lnTo>
                    <a:pt x="144" y="94"/>
                  </a:lnTo>
                  <a:lnTo>
                    <a:pt x="144" y="96"/>
                  </a:lnTo>
                  <a:lnTo>
                    <a:pt x="144" y="96"/>
                  </a:lnTo>
                  <a:lnTo>
                    <a:pt x="144" y="100"/>
                  </a:lnTo>
                  <a:lnTo>
                    <a:pt x="142" y="104"/>
                  </a:lnTo>
                  <a:lnTo>
                    <a:pt x="142" y="106"/>
                  </a:lnTo>
                  <a:lnTo>
                    <a:pt x="142" y="108"/>
                  </a:lnTo>
                  <a:lnTo>
                    <a:pt x="142" y="110"/>
                  </a:lnTo>
                  <a:lnTo>
                    <a:pt x="142" y="112"/>
                  </a:lnTo>
                  <a:lnTo>
                    <a:pt x="144" y="116"/>
                  </a:lnTo>
                  <a:lnTo>
                    <a:pt x="146" y="122"/>
                  </a:lnTo>
                  <a:lnTo>
                    <a:pt x="146" y="124"/>
                  </a:lnTo>
                  <a:lnTo>
                    <a:pt x="146" y="124"/>
                  </a:lnTo>
                  <a:lnTo>
                    <a:pt x="146" y="126"/>
                  </a:lnTo>
                  <a:lnTo>
                    <a:pt x="146" y="130"/>
                  </a:lnTo>
                  <a:lnTo>
                    <a:pt x="146" y="134"/>
                  </a:lnTo>
                  <a:lnTo>
                    <a:pt x="146" y="136"/>
                  </a:lnTo>
                  <a:lnTo>
                    <a:pt x="146" y="140"/>
                  </a:lnTo>
                  <a:lnTo>
                    <a:pt x="146" y="142"/>
                  </a:lnTo>
                  <a:lnTo>
                    <a:pt x="146" y="142"/>
                  </a:lnTo>
                  <a:lnTo>
                    <a:pt x="146" y="144"/>
                  </a:lnTo>
                  <a:lnTo>
                    <a:pt x="146" y="144"/>
                  </a:lnTo>
                  <a:lnTo>
                    <a:pt x="148" y="144"/>
                  </a:lnTo>
                  <a:lnTo>
                    <a:pt x="150" y="146"/>
                  </a:lnTo>
                  <a:lnTo>
                    <a:pt x="152" y="148"/>
                  </a:lnTo>
                  <a:lnTo>
                    <a:pt x="152" y="148"/>
                  </a:lnTo>
                  <a:lnTo>
                    <a:pt x="152" y="150"/>
                  </a:lnTo>
                  <a:lnTo>
                    <a:pt x="154" y="150"/>
                  </a:lnTo>
                  <a:lnTo>
                    <a:pt x="154" y="152"/>
                  </a:lnTo>
                  <a:lnTo>
                    <a:pt x="156" y="154"/>
                  </a:lnTo>
                  <a:lnTo>
                    <a:pt x="156" y="15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5" name="Freeform 434">
              <a:extLst>
                <a:ext uri="{FF2B5EF4-FFF2-40B4-BE49-F238E27FC236}">
                  <a16:creationId xmlns:a16="http://schemas.microsoft.com/office/drawing/2014/main" id="{554A0A9C-0B8B-4157-87D9-60DB2A340ECE}"/>
                </a:ext>
              </a:extLst>
            </p:cNvPr>
            <p:cNvSpPr>
              <a:spLocks/>
            </p:cNvSpPr>
            <p:nvPr/>
          </p:nvSpPr>
          <p:spPr bwMode="auto">
            <a:xfrm>
              <a:off x="5007076" y="4535358"/>
              <a:ext cx="128174" cy="155887"/>
            </a:xfrm>
            <a:custGeom>
              <a:avLst/>
              <a:gdLst>
                <a:gd name="T0" fmla="*/ 64 w 74"/>
                <a:gd name="T1" fmla="*/ 0 h 90"/>
                <a:gd name="T2" fmla="*/ 68 w 74"/>
                <a:gd name="T3" fmla="*/ 6 h 90"/>
                <a:gd name="T4" fmla="*/ 70 w 74"/>
                <a:gd name="T5" fmla="*/ 10 h 90"/>
                <a:gd name="T6" fmla="*/ 72 w 74"/>
                <a:gd name="T7" fmla="*/ 14 h 90"/>
                <a:gd name="T8" fmla="*/ 74 w 74"/>
                <a:gd name="T9" fmla="*/ 20 h 90"/>
                <a:gd name="T10" fmla="*/ 74 w 74"/>
                <a:gd name="T11" fmla="*/ 28 h 90"/>
                <a:gd name="T12" fmla="*/ 74 w 74"/>
                <a:gd name="T13" fmla="*/ 36 h 90"/>
                <a:gd name="T14" fmla="*/ 72 w 74"/>
                <a:gd name="T15" fmla="*/ 42 h 90"/>
                <a:gd name="T16" fmla="*/ 70 w 74"/>
                <a:gd name="T17" fmla="*/ 46 h 90"/>
                <a:gd name="T18" fmla="*/ 66 w 74"/>
                <a:gd name="T19" fmla="*/ 56 h 90"/>
                <a:gd name="T20" fmla="*/ 64 w 74"/>
                <a:gd name="T21" fmla="*/ 60 h 90"/>
                <a:gd name="T22" fmla="*/ 62 w 74"/>
                <a:gd name="T23" fmla="*/ 68 h 90"/>
                <a:gd name="T24" fmla="*/ 62 w 74"/>
                <a:gd name="T25" fmla="*/ 72 h 90"/>
                <a:gd name="T26" fmla="*/ 62 w 74"/>
                <a:gd name="T27" fmla="*/ 76 h 90"/>
                <a:gd name="T28" fmla="*/ 62 w 74"/>
                <a:gd name="T29" fmla="*/ 78 h 90"/>
                <a:gd name="T30" fmla="*/ 66 w 74"/>
                <a:gd name="T31" fmla="*/ 84 h 90"/>
                <a:gd name="T32" fmla="*/ 44 w 74"/>
                <a:gd name="T33" fmla="*/ 86 h 90"/>
                <a:gd name="T34" fmla="*/ 36 w 74"/>
                <a:gd name="T35" fmla="*/ 86 h 90"/>
                <a:gd name="T36" fmla="*/ 32 w 74"/>
                <a:gd name="T37" fmla="*/ 86 h 90"/>
                <a:gd name="T38" fmla="*/ 26 w 74"/>
                <a:gd name="T39" fmla="*/ 84 h 90"/>
                <a:gd name="T40" fmla="*/ 22 w 74"/>
                <a:gd name="T41" fmla="*/ 84 h 90"/>
                <a:gd name="T42" fmla="*/ 18 w 74"/>
                <a:gd name="T43" fmla="*/ 86 h 90"/>
                <a:gd name="T44" fmla="*/ 16 w 74"/>
                <a:gd name="T45" fmla="*/ 86 h 90"/>
                <a:gd name="T46" fmla="*/ 2 w 74"/>
                <a:gd name="T47" fmla="*/ 86 h 90"/>
                <a:gd name="T48" fmla="*/ 0 w 74"/>
                <a:gd name="T49" fmla="*/ 76 h 90"/>
                <a:gd name="T50" fmla="*/ 2 w 74"/>
                <a:gd name="T51" fmla="*/ 64 h 90"/>
                <a:gd name="T52" fmla="*/ 2 w 74"/>
                <a:gd name="T53" fmla="*/ 58 h 90"/>
                <a:gd name="T54" fmla="*/ 4 w 74"/>
                <a:gd name="T55" fmla="*/ 54 h 90"/>
                <a:gd name="T56" fmla="*/ 4 w 74"/>
                <a:gd name="T57" fmla="*/ 50 h 90"/>
                <a:gd name="T58" fmla="*/ 6 w 74"/>
                <a:gd name="T59" fmla="*/ 50 h 90"/>
                <a:gd name="T60" fmla="*/ 8 w 74"/>
                <a:gd name="T61" fmla="*/ 48 h 90"/>
                <a:gd name="T62" fmla="*/ 12 w 74"/>
                <a:gd name="T63" fmla="*/ 46 h 90"/>
                <a:gd name="T64" fmla="*/ 18 w 74"/>
                <a:gd name="T65" fmla="*/ 44 h 90"/>
                <a:gd name="T66" fmla="*/ 26 w 74"/>
                <a:gd name="T67" fmla="*/ 42 h 90"/>
                <a:gd name="T68" fmla="*/ 28 w 74"/>
                <a:gd name="T69" fmla="*/ 42 h 90"/>
                <a:gd name="T70" fmla="*/ 30 w 74"/>
                <a:gd name="T71" fmla="*/ 40 h 90"/>
                <a:gd name="T72" fmla="*/ 30 w 74"/>
                <a:gd name="T73" fmla="*/ 38 h 90"/>
                <a:gd name="T74" fmla="*/ 30 w 74"/>
                <a:gd name="T75" fmla="*/ 36 h 90"/>
                <a:gd name="T76" fmla="*/ 30 w 74"/>
                <a:gd name="T77" fmla="*/ 32 h 90"/>
                <a:gd name="T78" fmla="*/ 30 w 74"/>
                <a:gd name="T79" fmla="*/ 30 h 90"/>
                <a:gd name="T80" fmla="*/ 30 w 74"/>
                <a:gd name="T81" fmla="*/ 30 h 90"/>
                <a:gd name="T82" fmla="*/ 26 w 74"/>
                <a:gd name="T83" fmla="*/ 30 h 90"/>
                <a:gd name="T84" fmla="*/ 24 w 74"/>
                <a:gd name="T85" fmla="*/ 30 h 90"/>
                <a:gd name="T86" fmla="*/ 22 w 74"/>
                <a:gd name="T87" fmla="*/ 30 h 90"/>
                <a:gd name="T88" fmla="*/ 20 w 74"/>
                <a:gd name="T89" fmla="*/ 30 h 90"/>
                <a:gd name="T90" fmla="*/ 20 w 74"/>
                <a:gd name="T91" fmla="*/ 28 h 90"/>
                <a:gd name="T92" fmla="*/ 20 w 74"/>
                <a:gd name="T93" fmla="*/ 26 h 90"/>
                <a:gd name="T94" fmla="*/ 20 w 74"/>
                <a:gd name="T95" fmla="*/ 24 h 90"/>
                <a:gd name="T96" fmla="*/ 20 w 74"/>
                <a:gd name="T97" fmla="*/ 18 h 90"/>
                <a:gd name="T98" fmla="*/ 18 w 74"/>
                <a:gd name="T99" fmla="*/ 4 h 90"/>
                <a:gd name="T100" fmla="*/ 32 w 74"/>
                <a:gd name="T101" fmla="*/ 4 h 90"/>
                <a:gd name="T102" fmla="*/ 40 w 74"/>
                <a:gd name="T103" fmla="*/ 6 h 90"/>
                <a:gd name="T104" fmla="*/ 46 w 74"/>
                <a:gd name="T105" fmla="*/ 6 h 90"/>
                <a:gd name="T106" fmla="*/ 50 w 74"/>
                <a:gd name="T107" fmla="*/ 4 h 90"/>
                <a:gd name="T108" fmla="*/ 58 w 74"/>
                <a:gd name="T109" fmla="*/ 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4" h="90">
                  <a:moveTo>
                    <a:pt x="64" y="0"/>
                  </a:moveTo>
                  <a:lnTo>
                    <a:pt x="64" y="0"/>
                  </a:lnTo>
                  <a:lnTo>
                    <a:pt x="66" y="2"/>
                  </a:lnTo>
                  <a:lnTo>
                    <a:pt x="68" y="6"/>
                  </a:lnTo>
                  <a:lnTo>
                    <a:pt x="70" y="8"/>
                  </a:lnTo>
                  <a:lnTo>
                    <a:pt x="70" y="10"/>
                  </a:lnTo>
                  <a:lnTo>
                    <a:pt x="72" y="12"/>
                  </a:lnTo>
                  <a:lnTo>
                    <a:pt x="72" y="14"/>
                  </a:lnTo>
                  <a:lnTo>
                    <a:pt x="72" y="18"/>
                  </a:lnTo>
                  <a:lnTo>
                    <a:pt x="74" y="20"/>
                  </a:lnTo>
                  <a:lnTo>
                    <a:pt x="74" y="24"/>
                  </a:lnTo>
                  <a:lnTo>
                    <a:pt x="74" y="28"/>
                  </a:lnTo>
                  <a:lnTo>
                    <a:pt x="74" y="32"/>
                  </a:lnTo>
                  <a:lnTo>
                    <a:pt x="74" y="36"/>
                  </a:lnTo>
                  <a:lnTo>
                    <a:pt x="72" y="40"/>
                  </a:lnTo>
                  <a:lnTo>
                    <a:pt x="72" y="42"/>
                  </a:lnTo>
                  <a:lnTo>
                    <a:pt x="72" y="44"/>
                  </a:lnTo>
                  <a:lnTo>
                    <a:pt x="70" y="46"/>
                  </a:lnTo>
                  <a:lnTo>
                    <a:pt x="68" y="50"/>
                  </a:lnTo>
                  <a:lnTo>
                    <a:pt x="66" y="56"/>
                  </a:lnTo>
                  <a:lnTo>
                    <a:pt x="64" y="58"/>
                  </a:lnTo>
                  <a:lnTo>
                    <a:pt x="64" y="60"/>
                  </a:lnTo>
                  <a:lnTo>
                    <a:pt x="64" y="62"/>
                  </a:lnTo>
                  <a:lnTo>
                    <a:pt x="62" y="68"/>
                  </a:lnTo>
                  <a:lnTo>
                    <a:pt x="62" y="70"/>
                  </a:lnTo>
                  <a:lnTo>
                    <a:pt x="62" y="72"/>
                  </a:lnTo>
                  <a:lnTo>
                    <a:pt x="62" y="74"/>
                  </a:lnTo>
                  <a:lnTo>
                    <a:pt x="62" y="76"/>
                  </a:lnTo>
                  <a:lnTo>
                    <a:pt x="62" y="76"/>
                  </a:lnTo>
                  <a:lnTo>
                    <a:pt x="62" y="78"/>
                  </a:lnTo>
                  <a:lnTo>
                    <a:pt x="64" y="80"/>
                  </a:lnTo>
                  <a:lnTo>
                    <a:pt x="66" y="84"/>
                  </a:lnTo>
                  <a:lnTo>
                    <a:pt x="54" y="86"/>
                  </a:lnTo>
                  <a:lnTo>
                    <a:pt x="44" y="86"/>
                  </a:lnTo>
                  <a:lnTo>
                    <a:pt x="38" y="86"/>
                  </a:lnTo>
                  <a:lnTo>
                    <a:pt x="36" y="86"/>
                  </a:lnTo>
                  <a:lnTo>
                    <a:pt x="34" y="86"/>
                  </a:lnTo>
                  <a:lnTo>
                    <a:pt x="32" y="86"/>
                  </a:lnTo>
                  <a:lnTo>
                    <a:pt x="28" y="84"/>
                  </a:lnTo>
                  <a:lnTo>
                    <a:pt x="26" y="84"/>
                  </a:lnTo>
                  <a:lnTo>
                    <a:pt x="24" y="84"/>
                  </a:lnTo>
                  <a:lnTo>
                    <a:pt x="22" y="84"/>
                  </a:lnTo>
                  <a:lnTo>
                    <a:pt x="20" y="84"/>
                  </a:lnTo>
                  <a:lnTo>
                    <a:pt x="18" y="86"/>
                  </a:lnTo>
                  <a:lnTo>
                    <a:pt x="18" y="86"/>
                  </a:lnTo>
                  <a:lnTo>
                    <a:pt x="16" y="86"/>
                  </a:lnTo>
                  <a:lnTo>
                    <a:pt x="12" y="90"/>
                  </a:lnTo>
                  <a:lnTo>
                    <a:pt x="2" y="86"/>
                  </a:lnTo>
                  <a:lnTo>
                    <a:pt x="0" y="80"/>
                  </a:lnTo>
                  <a:lnTo>
                    <a:pt x="0" y="76"/>
                  </a:lnTo>
                  <a:lnTo>
                    <a:pt x="0" y="70"/>
                  </a:lnTo>
                  <a:lnTo>
                    <a:pt x="2" y="64"/>
                  </a:lnTo>
                  <a:lnTo>
                    <a:pt x="2" y="62"/>
                  </a:lnTo>
                  <a:lnTo>
                    <a:pt x="2" y="58"/>
                  </a:lnTo>
                  <a:lnTo>
                    <a:pt x="2" y="56"/>
                  </a:lnTo>
                  <a:lnTo>
                    <a:pt x="4" y="54"/>
                  </a:lnTo>
                  <a:lnTo>
                    <a:pt x="4" y="52"/>
                  </a:lnTo>
                  <a:lnTo>
                    <a:pt x="4" y="50"/>
                  </a:lnTo>
                  <a:lnTo>
                    <a:pt x="6" y="50"/>
                  </a:lnTo>
                  <a:lnTo>
                    <a:pt x="6" y="50"/>
                  </a:lnTo>
                  <a:lnTo>
                    <a:pt x="6" y="48"/>
                  </a:lnTo>
                  <a:lnTo>
                    <a:pt x="8" y="48"/>
                  </a:lnTo>
                  <a:lnTo>
                    <a:pt x="10" y="48"/>
                  </a:lnTo>
                  <a:lnTo>
                    <a:pt x="12" y="46"/>
                  </a:lnTo>
                  <a:lnTo>
                    <a:pt x="16" y="46"/>
                  </a:lnTo>
                  <a:lnTo>
                    <a:pt x="18" y="44"/>
                  </a:lnTo>
                  <a:lnTo>
                    <a:pt x="20" y="44"/>
                  </a:lnTo>
                  <a:lnTo>
                    <a:pt x="26" y="42"/>
                  </a:lnTo>
                  <a:lnTo>
                    <a:pt x="26" y="42"/>
                  </a:lnTo>
                  <a:lnTo>
                    <a:pt x="28" y="42"/>
                  </a:lnTo>
                  <a:lnTo>
                    <a:pt x="28" y="40"/>
                  </a:lnTo>
                  <a:lnTo>
                    <a:pt x="30" y="40"/>
                  </a:lnTo>
                  <a:lnTo>
                    <a:pt x="30" y="38"/>
                  </a:lnTo>
                  <a:lnTo>
                    <a:pt x="30" y="38"/>
                  </a:lnTo>
                  <a:lnTo>
                    <a:pt x="30" y="36"/>
                  </a:lnTo>
                  <a:lnTo>
                    <a:pt x="30" y="36"/>
                  </a:lnTo>
                  <a:lnTo>
                    <a:pt x="30" y="34"/>
                  </a:lnTo>
                  <a:lnTo>
                    <a:pt x="30" y="32"/>
                  </a:lnTo>
                  <a:lnTo>
                    <a:pt x="30" y="32"/>
                  </a:lnTo>
                  <a:lnTo>
                    <a:pt x="30" y="30"/>
                  </a:lnTo>
                  <a:lnTo>
                    <a:pt x="30" y="30"/>
                  </a:lnTo>
                  <a:lnTo>
                    <a:pt x="30" y="30"/>
                  </a:lnTo>
                  <a:lnTo>
                    <a:pt x="28" y="30"/>
                  </a:lnTo>
                  <a:lnTo>
                    <a:pt x="26" y="30"/>
                  </a:lnTo>
                  <a:lnTo>
                    <a:pt x="26" y="30"/>
                  </a:lnTo>
                  <a:lnTo>
                    <a:pt x="24" y="30"/>
                  </a:lnTo>
                  <a:lnTo>
                    <a:pt x="22" y="30"/>
                  </a:lnTo>
                  <a:lnTo>
                    <a:pt x="22" y="30"/>
                  </a:lnTo>
                  <a:lnTo>
                    <a:pt x="20" y="30"/>
                  </a:lnTo>
                  <a:lnTo>
                    <a:pt x="20" y="30"/>
                  </a:lnTo>
                  <a:lnTo>
                    <a:pt x="20" y="28"/>
                  </a:lnTo>
                  <a:lnTo>
                    <a:pt x="20" y="28"/>
                  </a:lnTo>
                  <a:lnTo>
                    <a:pt x="20" y="28"/>
                  </a:lnTo>
                  <a:lnTo>
                    <a:pt x="20" y="26"/>
                  </a:lnTo>
                  <a:lnTo>
                    <a:pt x="20" y="24"/>
                  </a:lnTo>
                  <a:lnTo>
                    <a:pt x="20" y="24"/>
                  </a:lnTo>
                  <a:lnTo>
                    <a:pt x="20" y="22"/>
                  </a:lnTo>
                  <a:lnTo>
                    <a:pt x="20" y="18"/>
                  </a:lnTo>
                  <a:lnTo>
                    <a:pt x="18" y="12"/>
                  </a:lnTo>
                  <a:lnTo>
                    <a:pt x="18" y="4"/>
                  </a:lnTo>
                  <a:lnTo>
                    <a:pt x="24" y="4"/>
                  </a:lnTo>
                  <a:lnTo>
                    <a:pt x="32" y="4"/>
                  </a:lnTo>
                  <a:lnTo>
                    <a:pt x="36" y="4"/>
                  </a:lnTo>
                  <a:lnTo>
                    <a:pt x="40" y="6"/>
                  </a:lnTo>
                  <a:lnTo>
                    <a:pt x="44" y="6"/>
                  </a:lnTo>
                  <a:lnTo>
                    <a:pt x="46" y="6"/>
                  </a:lnTo>
                  <a:lnTo>
                    <a:pt x="48" y="6"/>
                  </a:lnTo>
                  <a:lnTo>
                    <a:pt x="50" y="4"/>
                  </a:lnTo>
                  <a:lnTo>
                    <a:pt x="52" y="4"/>
                  </a:lnTo>
                  <a:lnTo>
                    <a:pt x="58" y="2"/>
                  </a:lnTo>
                  <a:lnTo>
                    <a:pt x="64"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6" name="Freeform 435">
              <a:extLst>
                <a:ext uri="{FF2B5EF4-FFF2-40B4-BE49-F238E27FC236}">
                  <a16:creationId xmlns:a16="http://schemas.microsoft.com/office/drawing/2014/main" id="{6A8091AC-0451-4FE0-9E93-E45BD6DACAC0}"/>
                </a:ext>
              </a:extLst>
            </p:cNvPr>
            <p:cNvSpPr>
              <a:spLocks/>
            </p:cNvSpPr>
            <p:nvPr/>
          </p:nvSpPr>
          <p:spPr bwMode="auto">
            <a:xfrm>
              <a:off x="5007076" y="4535358"/>
              <a:ext cx="128174" cy="155887"/>
            </a:xfrm>
            <a:custGeom>
              <a:avLst/>
              <a:gdLst>
                <a:gd name="T0" fmla="*/ 64 w 74"/>
                <a:gd name="T1" fmla="*/ 0 h 90"/>
                <a:gd name="T2" fmla="*/ 68 w 74"/>
                <a:gd name="T3" fmla="*/ 6 h 90"/>
                <a:gd name="T4" fmla="*/ 70 w 74"/>
                <a:gd name="T5" fmla="*/ 10 h 90"/>
                <a:gd name="T6" fmla="*/ 72 w 74"/>
                <a:gd name="T7" fmla="*/ 14 h 90"/>
                <a:gd name="T8" fmla="*/ 74 w 74"/>
                <a:gd name="T9" fmla="*/ 20 h 90"/>
                <a:gd name="T10" fmla="*/ 74 w 74"/>
                <a:gd name="T11" fmla="*/ 28 h 90"/>
                <a:gd name="T12" fmla="*/ 74 w 74"/>
                <a:gd name="T13" fmla="*/ 36 h 90"/>
                <a:gd name="T14" fmla="*/ 72 w 74"/>
                <a:gd name="T15" fmla="*/ 42 h 90"/>
                <a:gd name="T16" fmla="*/ 70 w 74"/>
                <a:gd name="T17" fmla="*/ 46 h 90"/>
                <a:gd name="T18" fmla="*/ 66 w 74"/>
                <a:gd name="T19" fmla="*/ 56 h 90"/>
                <a:gd name="T20" fmla="*/ 64 w 74"/>
                <a:gd name="T21" fmla="*/ 60 h 90"/>
                <a:gd name="T22" fmla="*/ 62 w 74"/>
                <a:gd name="T23" fmla="*/ 68 h 90"/>
                <a:gd name="T24" fmla="*/ 62 w 74"/>
                <a:gd name="T25" fmla="*/ 72 h 90"/>
                <a:gd name="T26" fmla="*/ 62 w 74"/>
                <a:gd name="T27" fmla="*/ 76 h 90"/>
                <a:gd name="T28" fmla="*/ 62 w 74"/>
                <a:gd name="T29" fmla="*/ 78 h 90"/>
                <a:gd name="T30" fmla="*/ 66 w 74"/>
                <a:gd name="T31" fmla="*/ 84 h 90"/>
                <a:gd name="T32" fmla="*/ 44 w 74"/>
                <a:gd name="T33" fmla="*/ 86 h 90"/>
                <a:gd name="T34" fmla="*/ 36 w 74"/>
                <a:gd name="T35" fmla="*/ 86 h 90"/>
                <a:gd name="T36" fmla="*/ 32 w 74"/>
                <a:gd name="T37" fmla="*/ 86 h 90"/>
                <a:gd name="T38" fmla="*/ 26 w 74"/>
                <a:gd name="T39" fmla="*/ 84 h 90"/>
                <a:gd name="T40" fmla="*/ 22 w 74"/>
                <a:gd name="T41" fmla="*/ 84 h 90"/>
                <a:gd name="T42" fmla="*/ 18 w 74"/>
                <a:gd name="T43" fmla="*/ 86 h 90"/>
                <a:gd name="T44" fmla="*/ 16 w 74"/>
                <a:gd name="T45" fmla="*/ 86 h 90"/>
                <a:gd name="T46" fmla="*/ 2 w 74"/>
                <a:gd name="T47" fmla="*/ 86 h 90"/>
                <a:gd name="T48" fmla="*/ 0 w 74"/>
                <a:gd name="T49" fmla="*/ 76 h 90"/>
                <a:gd name="T50" fmla="*/ 2 w 74"/>
                <a:gd name="T51" fmla="*/ 64 h 90"/>
                <a:gd name="T52" fmla="*/ 2 w 74"/>
                <a:gd name="T53" fmla="*/ 58 h 90"/>
                <a:gd name="T54" fmla="*/ 4 w 74"/>
                <a:gd name="T55" fmla="*/ 54 h 90"/>
                <a:gd name="T56" fmla="*/ 4 w 74"/>
                <a:gd name="T57" fmla="*/ 50 h 90"/>
                <a:gd name="T58" fmla="*/ 6 w 74"/>
                <a:gd name="T59" fmla="*/ 50 h 90"/>
                <a:gd name="T60" fmla="*/ 8 w 74"/>
                <a:gd name="T61" fmla="*/ 48 h 90"/>
                <a:gd name="T62" fmla="*/ 12 w 74"/>
                <a:gd name="T63" fmla="*/ 46 h 90"/>
                <a:gd name="T64" fmla="*/ 18 w 74"/>
                <a:gd name="T65" fmla="*/ 44 h 90"/>
                <a:gd name="T66" fmla="*/ 26 w 74"/>
                <a:gd name="T67" fmla="*/ 42 h 90"/>
                <a:gd name="T68" fmla="*/ 28 w 74"/>
                <a:gd name="T69" fmla="*/ 42 h 90"/>
                <a:gd name="T70" fmla="*/ 30 w 74"/>
                <a:gd name="T71" fmla="*/ 40 h 90"/>
                <a:gd name="T72" fmla="*/ 30 w 74"/>
                <a:gd name="T73" fmla="*/ 38 h 90"/>
                <a:gd name="T74" fmla="*/ 30 w 74"/>
                <a:gd name="T75" fmla="*/ 36 h 90"/>
                <a:gd name="T76" fmla="*/ 30 w 74"/>
                <a:gd name="T77" fmla="*/ 32 h 90"/>
                <a:gd name="T78" fmla="*/ 30 w 74"/>
                <a:gd name="T79" fmla="*/ 30 h 90"/>
                <a:gd name="T80" fmla="*/ 30 w 74"/>
                <a:gd name="T81" fmla="*/ 30 h 90"/>
                <a:gd name="T82" fmla="*/ 26 w 74"/>
                <a:gd name="T83" fmla="*/ 30 h 90"/>
                <a:gd name="T84" fmla="*/ 24 w 74"/>
                <a:gd name="T85" fmla="*/ 30 h 90"/>
                <a:gd name="T86" fmla="*/ 22 w 74"/>
                <a:gd name="T87" fmla="*/ 30 h 90"/>
                <a:gd name="T88" fmla="*/ 20 w 74"/>
                <a:gd name="T89" fmla="*/ 30 h 90"/>
                <a:gd name="T90" fmla="*/ 20 w 74"/>
                <a:gd name="T91" fmla="*/ 28 h 90"/>
                <a:gd name="T92" fmla="*/ 20 w 74"/>
                <a:gd name="T93" fmla="*/ 26 h 90"/>
                <a:gd name="T94" fmla="*/ 20 w 74"/>
                <a:gd name="T95" fmla="*/ 24 h 90"/>
                <a:gd name="T96" fmla="*/ 20 w 74"/>
                <a:gd name="T97" fmla="*/ 18 h 90"/>
                <a:gd name="T98" fmla="*/ 18 w 74"/>
                <a:gd name="T99" fmla="*/ 4 h 90"/>
                <a:gd name="T100" fmla="*/ 32 w 74"/>
                <a:gd name="T101" fmla="*/ 4 h 90"/>
                <a:gd name="T102" fmla="*/ 40 w 74"/>
                <a:gd name="T103" fmla="*/ 6 h 90"/>
                <a:gd name="T104" fmla="*/ 46 w 74"/>
                <a:gd name="T105" fmla="*/ 6 h 90"/>
                <a:gd name="T106" fmla="*/ 50 w 74"/>
                <a:gd name="T107" fmla="*/ 4 h 90"/>
                <a:gd name="T108" fmla="*/ 58 w 74"/>
                <a:gd name="T109" fmla="*/ 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4" h="90">
                  <a:moveTo>
                    <a:pt x="64" y="0"/>
                  </a:moveTo>
                  <a:lnTo>
                    <a:pt x="64" y="0"/>
                  </a:lnTo>
                  <a:lnTo>
                    <a:pt x="66" y="2"/>
                  </a:lnTo>
                  <a:lnTo>
                    <a:pt x="68" y="6"/>
                  </a:lnTo>
                  <a:lnTo>
                    <a:pt x="70" y="8"/>
                  </a:lnTo>
                  <a:lnTo>
                    <a:pt x="70" y="10"/>
                  </a:lnTo>
                  <a:lnTo>
                    <a:pt x="72" y="12"/>
                  </a:lnTo>
                  <a:lnTo>
                    <a:pt x="72" y="14"/>
                  </a:lnTo>
                  <a:lnTo>
                    <a:pt x="72" y="18"/>
                  </a:lnTo>
                  <a:lnTo>
                    <a:pt x="74" y="20"/>
                  </a:lnTo>
                  <a:lnTo>
                    <a:pt x="74" y="24"/>
                  </a:lnTo>
                  <a:lnTo>
                    <a:pt x="74" y="28"/>
                  </a:lnTo>
                  <a:lnTo>
                    <a:pt x="74" y="32"/>
                  </a:lnTo>
                  <a:lnTo>
                    <a:pt x="74" y="36"/>
                  </a:lnTo>
                  <a:lnTo>
                    <a:pt x="72" y="40"/>
                  </a:lnTo>
                  <a:lnTo>
                    <a:pt x="72" y="42"/>
                  </a:lnTo>
                  <a:lnTo>
                    <a:pt x="72" y="44"/>
                  </a:lnTo>
                  <a:lnTo>
                    <a:pt x="70" y="46"/>
                  </a:lnTo>
                  <a:lnTo>
                    <a:pt x="68" y="50"/>
                  </a:lnTo>
                  <a:lnTo>
                    <a:pt x="66" y="56"/>
                  </a:lnTo>
                  <a:lnTo>
                    <a:pt x="64" y="58"/>
                  </a:lnTo>
                  <a:lnTo>
                    <a:pt x="64" y="60"/>
                  </a:lnTo>
                  <a:lnTo>
                    <a:pt x="64" y="62"/>
                  </a:lnTo>
                  <a:lnTo>
                    <a:pt x="62" y="68"/>
                  </a:lnTo>
                  <a:lnTo>
                    <a:pt x="62" y="70"/>
                  </a:lnTo>
                  <a:lnTo>
                    <a:pt x="62" y="72"/>
                  </a:lnTo>
                  <a:lnTo>
                    <a:pt x="62" y="74"/>
                  </a:lnTo>
                  <a:lnTo>
                    <a:pt x="62" y="76"/>
                  </a:lnTo>
                  <a:lnTo>
                    <a:pt x="62" y="76"/>
                  </a:lnTo>
                  <a:lnTo>
                    <a:pt x="62" y="78"/>
                  </a:lnTo>
                  <a:lnTo>
                    <a:pt x="64" y="80"/>
                  </a:lnTo>
                  <a:lnTo>
                    <a:pt x="66" y="84"/>
                  </a:lnTo>
                  <a:lnTo>
                    <a:pt x="54" y="86"/>
                  </a:lnTo>
                  <a:lnTo>
                    <a:pt x="44" y="86"/>
                  </a:lnTo>
                  <a:lnTo>
                    <a:pt x="38" y="86"/>
                  </a:lnTo>
                  <a:lnTo>
                    <a:pt x="36" y="86"/>
                  </a:lnTo>
                  <a:lnTo>
                    <a:pt x="34" y="86"/>
                  </a:lnTo>
                  <a:lnTo>
                    <a:pt x="32" y="86"/>
                  </a:lnTo>
                  <a:lnTo>
                    <a:pt x="28" y="84"/>
                  </a:lnTo>
                  <a:lnTo>
                    <a:pt x="26" y="84"/>
                  </a:lnTo>
                  <a:lnTo>
                    <a:pt x="24" y="84"/>
                  </a:lnTo>
                  <a:lnTo>
                    <a:pt x="22" y="84"/>
                  </a:lnTo>
                  <a:lnTo>
                    <a:pt x="20" y="84"/>
                  </a:lnTo>
                  <a:lnTo>
                    <a:pt x="18" y="86"/>
                  </a:lnTo>
                  <a:lnTo>
                    <a:pt x="18" y="86"/>
                  </a:lnTo>
                  <a:lnTo>
                    <a:pt x="16" y="86"/>
                  </a:lnTo>
                  <a:lnTo>
                    <a:pt x="12" y="90"/>
                  </a:lnTo>
                  <a:lnTo>
                    <a:pt x="2" y="86"/>
                  </a:lnTo>
                  <a:lnTo>
                    <a:pt x="0" y="80"/>
                  </a:lnTo>
                  <a:lnTo>
                    <a:pt x="0" y="76"/>
                  </a:lnTo>
                  <a:lnTo>
                    <a:pt x="0" y="70"/>
                  </a:lnTo>
                  <a:lnTo>
                    <a:pt x="2" y="64"/>
                  </a:lnTo>
                  <a:lnTo>
                    <a:pt x="2" y="62"/>
                  </a:lnTo>
                  <a:lnTo>
                    <a:pt x="2" y="58"/>
                  </a:lnTo>
                  <a:lnTo>
                    <a:pt x="2" y="56"/>
                  </a:lnTo>
                  <a:lnTo>
                    <a:pt x="4" y="54"/>
                  </a:lnTo>
                  <a:lnTo>
                    <a:pt x="4" y="52"/>
                  </a:lnTo>
                  <a:lnTo>
                    <a:pt x="4" y="50"/>
                  </a:lnTo>
                  <a:lnTo>
                    <a:pt x="6" y="50"/>
                  </a:lnTo>
                  <a:lnTo>
                    <a:pt x="6" y="50"/>
                  </a:lnTo>
                  <a:lnTo>
                    <a:pt x="6" y="48"/>
                  </a:lnTo>
                  <a:lnTo>
                    <a:pt x="8" y="48"/>
                  </a:lnTo>
                  <a:lnTo>
                    <a:pt x="10" y="48"/>
                  </a:lnTo>
                  <a:lnTo>
                    <a:pt x="12" y="46"/>
                  </a:lnTo>
                  <a:lnTo>
                    <a:pt x="16" y="46"/>
                  </a:lnTo>
                  <a:lnTo>
                    <a:pt x="18" y="44"/>
                  </a:lnTo>
                  <a:lnTo>
                    <a:pt x="20" y="44"/>
                  </a:lnTo>
                  <a:lnTo>
                    <a:pt x="26" y="42"/>
                  </a:lnTo>
                  <a:lnTo>
                    <a:pt x="26" y="42"/>
                  </a:lnTo>
                  <a:lnTo>
                    <a:pt x="28" y="42"/>
                  </a:lnTo>
                  <a:lnTo>
                    <a:pt x="28" y="40"/>
                  </a:lnTo>
                  <a:lnTo>
                    <a:pt x="30" y="40"/>
                  </a:lnTo>
                  <a:lnTo>
                    <a:pt x="30" y="38"/>
                  </a:lnTo>
                  <a:lnTo>
                    <a:pt x="30" y="38"/>
                  </a:lnTo>
                  <a:lnTo>
                    <a:pt x="30" y="36"/>
                  </a:lnTo>
                  <a:lnTo>
                    <a:pt x="30" y="36"/>
                  </a:lnTo>
                  <a:lnTo>
                    <a:pt x="30" y="34"/>
                  </a:lnTo>
                  <a:lnTo>
                    <a:pt x="30" y="32"/>
                  </a:lnTo>
                  <a:lnTo>
                    <a:pt x="30" y="32"/>
                  </a:lnTo>
                  <a:lnTo>
                    <a:pt x="30" y="30"/>
                  </a:lnTo>
                  <a:lnTo>
                    <a:pt x="30" y="30"/>
                  </a:lnTo>
                  <a:lnTo>
                    <a:pt x="30" y="30"/>
                  </a:lnTo>
                  <a:lnTo>
                    <a:pt x="28" y="30"/>
                  </a:lnTo>
                  <a:lnTo>
                    <a:pt x="26" y="30"/>
                  </a:lnTo>
                  <a:lnTo>
                    <a:pt x="26" y="30"/>
                  </a:lnTo>
                  <a:lnTo>
                    <a:pt x="24" y="30"/>
                  </a:lnTo>
                  <a:lnTo>
                    <a:pt x="22" y="30"/>
                  </a:lnTo>
                  <a:lnTo>
                    <a:pt x="22" y="30"/>
                  </a:lnTo>
                  <a:lnTo>
                    <a:pt x="20" y="30"/>
                  </a:lnTo>
                  <a:lnTo>
                    <a:pt x="20" y="30"/>
                  </a:lnTo>
                  <a:lnTo>
                    <a:pt x="20" y="28"/>
                  </a:lnTo>
                  <a:lnTo>
                    <a:pt x="20" y="28"/>
                  </a:lnTo>
                  <a:lnTo>
                    <a:pt x="20" y="28"/>
                  </a:lnTo>
                  <a:lnTo>
                    <a:pt x="20" y="26"/>
                  </a:lnTo>
                  <a:lnTo>
                    <a:pt x="20" y="24"/>
                  </a:lnTo>
                  <a:lnTo>
                    <a:pt x="20" y="24"/>
                  </a:lnTo>
                  <a:lnTo>
                    <a:pt x="20" y="22"/>
                  </a:lnTo>
                  <a:lnTo>
                    <a:pt x="20" y="18"/>
                  </a:lnTo>
                  <a:lnTo>
                    <a:pt x="18" y="12"/>
                  </a:lnTo>
                  <a:lnTo>
                    <a:pt x="18" y="4"/>
                  </a:lnTo>
                  <a:lnTo>
                    <a:pt x="24" y="4"/>
                  </a:lnTo>
                  <a:lnTo>
                    <a:pt x="32" y="4"/>
                  </a:lnTo>
                  <a:lnTo>
                    <a:pt x="36" y="4"/>
                  </a:lnTo>
                  <a:lnTo>
                    <a:pt x="40" y="6"/>
                  </a:lnTo>
                  <a:lnTo>
                    <a:pt x="44" y="6"/>
                  </a:lnTo>
                  <a:lnTo>
                    <a:pt x="46" y="6"/>
                  </a:lnTo>
                  <a:lnTo>
                    <a:pt x="48" y="6"/>
                  </a:lnTo>
                  <a:lnTo>
                    <a:pt x="50" y="4"/>
                  </a:lnTo>
                  <a:lnTo>
                    <a:pt x="52" y="4"/>
                  </a:lnTo>
                  <a:lnTo>
                    <a:pt x="58" y="2"/>
                  </a:lnTo>
                  <a:lnTo>
                    <a:pt x="64"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7" name="Freeform 436">
              <a:extLst>
                <a:ext uri="{FF2B5EF4-FFF2-40B4-BE49-F238E27FC236}">
                  <a16:creationId xmlns:a16="http://schemas.microsoft.com/office/drawing/2014/main" id="{0248D50E-71B4-4747-AFF4-F0CBDD252960}"/>
                </a:ext>
              </a:extLst>
            </p:cNvPr>
            <p:cNvSpPr>
              <a:spLocks/>
            </p:cNvSpPr>
            <p:nvPr/>
          </p:nvSpPr>
          <p:spPr bwMode="auto">
            <a:xfrm>
              <a:off x="4799227" y="4864452"/>
              <a:ext cx="308309" cy="301381"/>
            </a:xfrm>
            <a:custGeom>
              <a:avLst/>
              <a:gdLst>
                <a:gd name="T0" fmla="*/ 72 w 178"/>
                <a:gd name="T1" fmla="*/ 170 h 174"/>
                <a:gd name="T2" fmla="*/ 86 w 178"/>
                <a:gd name="T3" fmla="*/ 170 h 174"/>
                <a:gd name="T4" fmla="*/ 92 w 178"/>
                <a:gd name="T5" fmla="*/ 168 h 174"/>
                <a:gd name="T6" fmla="*/ 94 w 178"/>
                <a:gd name="T7" fmla="*/ 160 h 174"/>
                <a:gd name="T8" fmla="*/ 98 w 178"/>
                <a:gd name="T9" fmla="*/ 156 h 174"/>
                <a:gd name="T10" fmla="*/ 106 w 178"/>
                <a:gd name="T11" fmla="*/ 152 h 174"/>
                <a:gd name="T12" fmla="*/ 108 w 178"/>
                <a:gd name="T13" fmla="*/ 144 h 174"/>
                <a:gd name="T14" fmla="*/ 110 w 178"/>
                <a:gd name="T15" fmla="*/ 140 h 174"/>
                <a:gd name="T16" fmla="*/ 122 w 178"/>
                <a:gd name="T17" fmla="*/ 140 h 174"/>
                <a:gd name="T18" fmla="*/ 128 w 178"/>
                <a:gd name="T19" fmla="*/ 132 h 174"/>
                <a:gd name="T20" fmla="*/ 146 w 178"/>
                <a:gd name="T21" fmla="*/ 128 h 174"/>
                <a:gd name="T22" fmla="*/ 152 w 178"/>
                <a:gd name="T23" fmla="*/ 124 h 174"/>
                <a:gd name="T24" fmla="*/ 156 w 178"/>
                <a:gd name="T25" fmla="*/ 116 h 174"/>
                <a:gd name="T26" fmla="*/ 166 w 178"/>
                <a:gd name="T27" fmla="*/ 108 h 174"/>
                <a:gd name="T28" fmla="*/ 168 w 178"/>
                <a:gd name="T29" fmla="*/ 88 h 174"/>
                <a:gd name="T30" fmla="*/ 174 w 178"/>
                <a:gd name="T31" fmla="*/ 80 h 174"/>
                <a:gd name="T32" fmla="*/ 178 w 178"/>
                <a:gd name="T33" fmla="*/ 76 h 174"/>
                <a:gd name="T34" fmla="*/ 174 w 178"/>
                <a:gd name="T35" fmla="*/ 62 h 174"/>
                <a:gd name="T36" fmla="*/ 174 w 178"/>
                <a:gd name="T37" fmla="*/ 38 h 174"/>
                <a:gd name="T38" fmla="*/ 162 w 178"/>
                <a:gd name="T39" fmla="*/ 24 h 174"/>
                <a:gd name="T40" fmla="*/ 146 w 178"/>
                <a:gd name="T41" fmla="*/ 14 h 174"/>
                <a:gd name="T42" fmla="*/ 142 w 178"/>
                <a:gd name="T43" fmla="*/ 4 h 174"/>
                <a:gd name="T44" fmla="*/ 138 w 178"/>
                <a:gd name="T45" fmla="*/ 0 h 174"/>
                <a:gd name="T46" fmla="*/ 130 w 178"/>
                <a:gd name="T47" fmla="*/ 2 h 174"/>
                <a:gd name="T48" fmla="*/ 126 w 178"/>
                <a:gd name="T49" fmla="*/ 10 h 174"/>
                <a:gd name="T50" fmla="*/ 116 w 178"/>
                <a:gd name="T51" fmla="*/ 16 h 174"/>
                <a:gd name="T52" fmla="*/ 108 w 178"/>
                <a:gd name="T53" fmla="*/ 30 h 174"/>
                <a:gd name="T54" fmla="*/ 104 w 178"/>
                <a:gd name="T55" fmla="*/ 56 h 174"/>
                <a:gd name="T56" fmla="*/ 106 w 178"/>
                <a:gd name="T57" fmla="*/ 70 h 174"/>
                <a:gd name="T58" fmla="*/ 114 w 178"/>
                <a:gd name="T59" fmla="*/ 76 h 174"/>
                <a:gd name="T60" fmla="*/ 122 w 178"/>
                <a:gd name="T61" fmla="*/ 76 h 174"/>
                <a:gd name="T62" fmla="*/ 124 w 178"/>
                <a:gd name="T63" fmla="*/ 82 h 174"/>
                <a:gd name="T64" fmla="*/ 124 w 178"/>
                <a:gd name="T65" fmla="*/ 96 h 174"/>
                <a:gd name="T66" fmla="*/ 120 w 178"/>
                <a:gd name="T67" fmla="*/ 104 h 174"/>
                <a:gd name="T68" fmla="*/ 108 w 178"/>
                <a:gd name="T69" fmla="*/ 106 h 174"/>
                <a:gd name="T70" fmla="*/ 102 w 178"/>
                <a:gd name="T71" fmla="*/ 100 h 174"/>
                <a:gd name="T72" fmla="*/ 98 w 178"/>
                <a:gd name="T73" fmla="*/ 86 h 174"/>
                <a:gd name="T74" fmla="*/ 96 w 178"/>
                <a:gd name="T75" fmla="*/ 80 h 174"/>
                <a:gd name="T76" fmla="*/ 86 w 178"/>
                <a:gd name="T77" fmla="*/ 76 h 174"/>
                <a:gd name="T78" fmla="*/ 84 w 178"/>
                <a:gd name="T79" fmla="*/ 70 h 174"/>
                <a:gd name="T80" fmla="*/ 78 w 178"/>
                <a:gd name="T81" fmla="*/ 68 h 174"/>
                <a:gd name="T82" fmla="*/ 70 w 178"/>
                <a:gd name="T83" fmla="*/ 72 h 174"/>
                <a:gd name="T84" fmla="*/ 68 w 178"/>
                <a:gd name="T85" fmla="*/ 80 h 174"/>
                <a:gd name="T86" fmla="*/ 64 w 178"/>
                <a:gd name="T87" fmla="*/ 80 h 174"/>
                <a:gd name="T88" fmla="*/ 58 w 178"/>
                <a:gd name="T89" fmla="*/ 74 h 174"/>
                <a:gd name="T90" fmla="*/ 56 w 178"/>
                <a:gd name="T91" fmla="*/ 64 h 174"/>
                <a:gd name="T92" fmla="*/ 50 w 178"/>
                <a:gd name="T93" fmla="*/ 62 h 174"/>
                <a:gd name="T94" fmla="*/ 42 w 178"/>
                <a:gd name="T95" fmla="*/ 76 h 174"/>
                <a:gd name="T96" fmla="*/ 40 w 178"/>
                <a:gd name="T97" fmla="*/ 92 h 174"/>
                <a:gd name="T98" fmla="*/ 36 w 178"/>
                <a:gd name="T99" fmla="*/ 96 h 174"/>
                <a:gd name="T100" fmla="*/ 24 w 178"/>
                <a:gd name="T101" fmla="*/ 94 h 174"/>
                <a:gd name="T102" fmla="*/ 22 w 178"/>
                <a:gd name="T103" fmla="*/ 90 h 174"/>
                <a:gd name="T104" fmla="*/ 18 w 178"/>
                <a:gd name="T105" fmla="*/ 86 h 174"/>
                <a:gd name="T106" fmla="*/ 14 w 178"/>
                <a:gd name="T107" fmla="*/ 88 h 174"/>
                <a:gd name="T108" fmla="*/ 14 w 178"/>
                <a:gd name="T109" fmla="*/ 94 h 174"/>
                <a:gd name="T110" fmla="*/ 10 w 178"/>
                <a:gd name="T111" fmla="*/ 96 h 174"/>
                <a:gd name="T112" fmla="*/ 4 w 178"/>
                <a:gd name="T113" fmla="*/ 96 h 174"/>
                <a:gd name="T114" fmla="*/ 0 w 178"/>
                <a:gd name="T115" fmla="*/ 106 h 174"/>
                <a:gd name="T116" fmla="*/ 4 w 178"/>
                <a:gd name="T117" fmla="*/ 130 h 174"/>
                <a:gd name="T118" fmla="*/ 6 w 178"/>
                <a:gd name="T119" fmla="*/ 148 h 174"/>
                <a:gd name="T120" fmla="*/ 14 w 178"/>
                <a:gd name="T121" fmla="*/ 158 h 174"/>
                <a:gd name="T122" fmla="*/ 16 w 178"/>
                <a:gd name="T123" fmla="*/ 166 h 174"/>
                <a:gd name="T124" fmla="*/ 34 w 178"/>
                <a:gd name="T125" fmla="*/ 17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 h="174">
                  <a:moveTo>
                    <a:pt x="62" y="174"/>
                  </a:moveTo>
                  <a:lnTo>
                    <a:pt x="62" y="174"/>
                  </a:lnTo>
                  <a:lnTo>
                    <a:pt x="66" y="172"/>
                  </a:lnTo>
                  <a:lnTo>
                    <a:pt x="70" y="172"/>
                  </a:lnTo>
                  <a:lnTo>
                    <a:pt x="72" y="170"/>
                  </a:lnTo>
                  <a:lnTo>
                    <a:pt x="72" y="170"/>
                  </a:lnTo>
                  <a:lnTo>
                    <a:pt x="74" y="170"/>
                  </a:lnTo>
                  <a:lnTo>
                    <a:pt x="78" y="170"/>
                  </a:lnTo>
                  <a:lnTo>
                    <a:pt x="82" y="172"/>
                  </a:lnTo>
                  <a:lnTo>
                    <a:pt x="84" y="170"/>
                  </a:lnTo>
                  <a:lnTo>
                    <a:pt x="84" y="170"/>
                  </a:lnTo>
                  <a:lnTo>
                    <a:pt x="86" y="170"/>
                  </a:lnTo>
                  <a:lnTo>
                    <a:pt x="88" y="170"/>
                  </a:lnTo>
                  <a:lnTo>
                    <a:pt x="90" y="170"/>
                  </a:lnTo>
                  <a:lnTo>
                    <a:pt x="92" y="168"/>
                  </a:lnTo>
                  <a:lnTo>
                    <a:pt x="92" y="168"/>
                  </a:lnTo>
                  <a:lnTo>
                    <a:pt x="92" y="168"/>
                  </a:lnTo>
                  <a:lnTo>
                    <a:pt x="92" y="168"/>
                  </a:lnTo>
                  <a:lnTo>
                    <a:pt x="94" y="166"/>
                  </a:lnTo>
                  <a:lnTo>
                    <a:pt x="94" y="166"/>
                  </a:lnTo>
                  <a:lnTo>
                    <a:pt x="94" y="164"/>
                  </a:lnTo>
                  <a:lnTo>
                    <a:pt x="94" y="162"/>
                  </a:lnTo>
                  <a:lnTo>
                    <a:pt x="94" y="160"/>
                  </a:lnTo>
                  <a:lnTo>
                    <a:pt x="94" y="160"/>
                  </a:lnTo>
                  <a:lnTo>
                    <a:pt x="94" y="158"/>
                  </a:lnTo>
                  <a:lnTo>
                    <a:pt x="94" y="158"/>
                  </a:lnTo>
                  <a:lnTo>
                    <a:pt x="94" y="156"/>
                  </a:lnTo>
                  <a:lnTo>
                    <a:pt x="96" y="156"/>
                  </a:lnTo>
                  <a:lnTo>
                    <a:pt x="96" y="156"/>
                  </a:lnTo>
                  <a:lnTo>
                    <a:pt x="98" y="156"/>
                  </a:lnTo>
                  <a:lnTo>
                    <a:pt x="100" y="156"/>
                  </a:lnTo>
                  <a:lnTo>
                    <a:pt x="102" y="156"/>
                  </a:lnTo>
                  <a:lnTo>
                    <a:pt x="102" y="156"/>
                  </a:lnTo>
                  <a:lnTo>
                    <a:pt x="104" y="154"/>
                  </a:lnTo>
                  <a:lnTo>
                    <a:pt x="106" y="154"/>
                  </a:lnTo>
                  <a:lnTo>
                    <a:pt x="106" y="152"/>
                  </a:lnTo>
                  <a:lnTo>
                    <a:pt x="108" y="152"/>
                  </a:lnTo>
                  <a:lnTo>
                    <a:pt x="108" y="152"/>
                  </a:lnTo>
                  <a:lnTo>
                    <a:pt x="108" y="150"/>
                  </a:lnTo>
                  <a:lnTo>
                    <a:pt x="108" y="150"/>
                  </a:lnTo>
                  <a:lnTo>
                    <a:pt x="108" y="146"/>
                  </a:lnTo>
                  <a:lnTo>
                    <a:pt x="108" y="144"/>
                  </a:lnTo>
                  <a:lnTo>
                    <a:pt x="108" y="144"/>
                  </a:lnTo>
                  <a:lnTo>
                    <a:pt x="108" y="142"/>
                  </a:lnTo>
                  <a:lnTo>
                    <a:pt x="108" y="142"/>
                  </a:lnTo>
                  <a:lnTo>
                    <a:pt x="110" y="142"/>
                  </a:lnTo>
                  <a:lnTo>
                    <a:pt x="110" y="140"/>
                  </a:lnTo>
                  <a:lnTo>
                    <a:pt x="110" y="140"/>
                  </a:lnTo>
                  <a:lnTo>
                    <a:pt x="112" y="140"/>
                  </a:lnTo>
                  <a:lnTo>
                    <a:pt x="114" y="140"/>
                  </a:lnTo>
                  <a:lnTo>
                    <a:pt x="116" y="140"/>
                  </a:lnTo>
                  <a:lnTo>
                    <a:pt x="118" y="140"/>
                  </a:lnTo>
                  <a:lnTo>
                    <a:pt x="120" y="140"/>
                  </a:lnTo>
                  <a:lnTo>
                    <a:pt x="122" y="140"/>
                  </a:lnTo>
                  <a:lnTo>
                    <a:pt x="122" y="140"/>
                  </a:lnTo>
                  <a:lnTo>
                    <a:pt x="122" y="140"/>
                  </a:lnTo>
                  <a:lnTo>
                    <a:pt x="124" y="138"/>
                  </a:lnTo>
                  <a:lnTo>
                    <a:pt x="124" y="138"/>
                  </a:lnTo>
                  <a:lnTo>
                    <a:pt x="126" y="134"/>
                  </a:lnTo>
                  <a:lnTo>
                    <a:pt x="128" y="132"/>
                  </a:lnTo>
                  <a:lnTo>
                    <a:pt x="128" y="132"/>
                  </a:lnTo>
                  <a:lnTo>
                    <a:pt x="132" y="132"/>
                  </a:lnTo>
                  <a:lnTo>
                    <a:pt x="134" y="130"/>
                  </a:lnTo>
                  <a:lnTo>
                    <a:pt x="138" y="130"/>
                  </a:lnTo>
                  <a:lnTo>
                    <a:pt x="142" y="130"/>
                  </a:lnTo>
                  <a:lnTo>
                    <a:pt x="146" y="128"/>
                  </a:lnTo>
                  <a:lnTo>
                    <a:pt x="148" y="128"/>
                  </a:lnTo>
                  <a:lnTo>
                    <a:pt x="148" y="128"/>
                  </a:lnTo>
                  <a:lnTo>
                    <a:pt x="150" y="126"/>
                  </a:lnTo>
                  <a:lnTo>
                    <a:pt x="152" y="126"/>
                  </a:lnTo>
                  <a:lnTo>
                    <a:pt x="152" y="126"/>
                  </a:lnTo>
                  <a:lnTo>
                    <a:pt x="152" y="124"/>
                  </a:lnTo>
                  <a:lnTo>
                    <a:pt x="152" y="124"/>
                  </a:lnTo>
                  <a:lnTo>
                    <a:pt x="154" y="122"/>
                  </a:lnTo>
                  <a:lnTo>
                    <a:pt x="154" y="118"/>
                  </a:lnTo>
                  <a:lnTo>
                    <a:pt x="154" y="118"/>
                  </a:lnTo>
                  <a:lnTo>
                    <a:pt x="154" y="116"/>
                  </a:lnTo>
                  <a:lnTo>
                    <a:pt x="156" y="116"/>
                  </a:lnTo>
                  <a:lnTo>
                    <a:pt x="158" y="114"/>
                  </a:lnTo>
                  <a:lnTo>
                    <a:pt x="160" y="114"/>
                  </a:lnTo>
                  <a:lnTo>
                    <a:pt x="162" y="114"/>
                  </a:lnTo>
                  <a:lnTo>
                    <a:pt x="166" y="112"/>
                  </a:lnTo>
                  <a:lnTo>
                    <a:pt x="166" y="112"/>
                  </a:lnTo>
                  <a:lnTo>
                    <a:pt x="166" y="108"/>
                  </a:lnTo>
                  <a:lnTo>
                    <a:pt x="166" y="104"/>
                  </a:lnTo>
                  <a:lnTo>
                    <a:pt x="166" y="100"/>
                  </a:lnTo>
                  <a:lnTo>
                    <a:pt x="166" y="96"/>
                  </a:lnTo>
                  <a:lnTo>
                    <a:pt x="168" y="90"/>
                  </a:lnTo>
                  <a:lnTo>
                    <a:pt x="168" y="88"/>
                  </a:lnTo>
                  <a:lnTo>
                    <a:pt x="168" y="88"/>
                  </a:lnTo>
                  <a:lnTo>
                    <a:pt x="168" y="86"/>
                  </a:lnTo>
                  <a:lnTo>
                    <a:pt x="168" y="84"/>
                  </a:lnTo>
                  <a:lnTo>
                    <a:pt x="170" y="84"/>
                  </a:lnTo>
                  <a:lnTo>
                    <a:pt x="170" y="82"/>
                  </a:lnTo>
                  <a:lnTo>
                    <a:pt x="174" y="80"/>
                  </a:lnTo>
                  <a:lnTo>
                    <a:pt x="174" y="80"/>
                  </a:lnTo>
                  <a:lnTo>
                    <a:pt x="176" y="78"/>
                  </a:lnTo>
                  <a:lnTo>
                    <a:pt x="176" y="78"/>
                  </a:lnTo>
                  <a:lnTo>
                    <a:pt x="176" y="78"/>
                  </a:lnTo>
                  <a:lnTo>
                    <a:pt x="176" y="78"/>
                  </a:lnTo>
                  <a:lnTo>
                    <a:pt x="178" y="76"/>
                  </a:lnTo>
                  <a:lnTo>
                    <a:pt x="178" y="76"/>
                  </a:lnTo>
                  <a:lnTo>
                    <a:pt x="178" y="74"/>
                  </a:lnTo>
                  <a:lnTo>
                    <a:pt x="176" y="74"/>
                  </a:lnTo>
                  <a:lnTo>
                    <a:pt x="176" y="72"/>
                  </a:lnTo>
                  <a:lnTo>
                    <a:pt x="176" y="68"/>
                  </a:lnTo>
                  <a:lnTo>
                    <a:pt x="174" y="64"/>
                  </a:lnTo>
                  <a:lnTo>
                    <a:pt x="174" y="62"/>
                  </a:lnTo>
                  <a:lnTo>
                    <a:pt x="174" y="60"/>
                  </a:lnTo>
                  <a:lnTo>
                    <a:pt x="174" y="58"/>
                  </a:lnTo>
                  <a:lnTo>
                    <a:pt x="174" y="56"/>
                  </a:lnTo>
                  <a:lnTo>
                    <a:pt x="174" y="48"/>
                  </a:lnTo>
                  <a:lnTo>
                    <a:pt x="174" y="40"/>
                  </a:lnTo>
                  <a:lnTo>
                    <a:pt x="174" y="38"/>
                  </a:lnTo>
                  <a:lnTo>
                    <a:pt x="172" y="34"/>
                  </a:lnTo>
                  <a:lnTo>
                    <a:pt x="168" y="30"/>
                  </a:lnTo>
                  <a:lnTo>
                    <a:pt x="166" y="28"/>
                  </a:lnTo>
                  <a:lnTo>
                    <a:pt x="166" y="26"/>
                  </a:lnTo>
                  <a:lnTo>
                    <a:pt x="164" y="26"/>
                  </a:lnTo>
                  <a:lnTo>
                    <a:pt x="162" y="24"/>
                  </a:lnTo>
                  <a:lnTo>
                    <a:pt x="158" y="22"/>
                  </a:lnTo>
                  <a:lnTo>
                    <a:pt x="154" y="22"/>
                  </a:lnTo>
                  <a:lnTo>
                    <a:pt x="154" y="20"/>
                  </a:lnTo>
                  <a:lnTo>
                    <a:pt x="152" y="20"/>
                  </a:lnTo>
                  <a:lnTo>
                    <a:pt x="150" y="18"/>
                  </a:lnTo>
                  <a:lnTo>
                    <a:pt x="146" y="14"/>
                  </a:lnTo>
                  <a:lnTo>
                    <a:pt x="144" y="12"/>
                  </a:lnTo>
                  <a:lnTo>
                    <a:pt x="144" y="10"/>
                  </a:lnTo>
                  <a:lnTo>
                    <a:pt x="142" y="8"/>
                  </a:lnTo>
                  <a:lnTo>
                    <a:pt x="142" y="8"/>
                  </a:lnTo>
                  <a:lnTo>
                    <a:pt x="142" y="6"/>
                  </a:lnTo>
                  <a:lnTo>
                    <a:pt x="142" y="4"/>
                  </a:lnTo>
                  <a:lnTo>
                    <a:pt x="142" y="4"/>
                  </a:lnTo>
                  <a:lnTo>
                    <a:pt x="140" y="2"/>
                  </a:lnTo>
                  <a:lnTo>
                    <a:pt x="140" y="2"/>
                  </a:lnTo>
                  <a:lnTo>
                    <a:pt x="140" y="0"/>
                  </a:lnTo>
                  <a:lnTo>
                    <a:pt x="140" y="0"/>
                  </a:lnTo>
                  <a:lnTo>
                    <a:pt x="138" y="0"/>
                  </a:lnTo>
                  <a:lnTo>
                    <a:pt x="138" y="0"/>
                  </a:lnTo>
                  <a:lnTo>
                    <a:pt x="136" y="0"/>
                  </a:lnTo>
                  <a:lnTo>
                    <a:pt x="134" y="0"/>
                  </a:lnTo>
                  <a:lnTo>
                    <a:pt x="130" y="0"/>
                  </a:lnTo>
                  <a:lnTo>
                    <a:pt x="130" y="2"/>
                  </a:lnTo>
                  <a:lnTo>
                    <a:pt x="130" y="2"/>
                  </a:lnTo>
                  <a:lnTo>
                    <a:pt x="128" y="6"/>
                  </a:lnTo>
                  <a:lnTo>
                    <a:pt x="128" y="8"/>
                  </a:lnTo>
                  <a:lnTo>
                    <a:pt x="128" y="10"/>
                  </a:lnTo>
                  <a:lnTo>
                    <a:pt x="126" y="10"/>
                  </a:lnTo>
                  <a:lnTo>
                    <a:pt x="126" y="10"/>
                  </a:lnTo>
                  <a:lnTo>
                    <a:pt x="126" y="10"/>
                  </a:lnTo>
                  <a:lnTo>
                    <a:pt x="124" y="12"/>
                  </a:lnTo>
                  <a:lnTo>
                    <a:pt x="122" y="12"/>
                  </a:lnTo>
                  <a:lnTo>
                    <a:pt x="122" y="12"/>
                  </a:lnTo>
                  <a:lnTo>
                    <a:pt x="118" y="14"/>
                  </a:lnTo>
                  <a:lnTo>
                    <a:pt x="116" y="14"/>
                  </a:lnTo>
                  <a:lnTo>
                    <a:pt x="116" y="16"/>
                  </a:lnTo>
                  <a:lnTo>
                    <a:pt x="114" y="16"/>
                  </a:lnTo>
                  <a:lnTo>
                    <a:pt x="114" y="18"/>
                  </a:lnTo>
                  <a:lnTo>
                    <a:pt x="112" y="20"/>
                  </a:lnTo>
                  <a:lnTo>
                    <a:pt x="110" y="22"/>
                  </a:lnTo>
                  <a:lnTo>
                    <a:pt x="110" y="26"/>
                  </a:lnTo>
                  <a:lnTo>
                    <a:pt x="108" y="30"/>
                  </a:lnTo>
                  <a:lnTo>
                    <a:pt x="108" y="34"/>
                  </a:lnTo>
                  <a:lnTo>
                    <a:pt x="106" y="40"/>
                  </a:lnTo>
                  <a:lnTo>
                    <a:pt x="106" y="48"/>
                  </a:lnTo>
                  <a:lnTo>
                    <a:pt x="104" y="50"/>
                  </a:lnTo>
                  <a:lnTo>
                    <a:pt x="104" y="54"/>
                  </a:lnTo>
                  <a:lnTo>
                    <a:pt x="104" y="56"/>
                  </a:lnTo>
                  <a:lnTo>
                    <a:pt x="104" y="60"/>
                  </a:lnTo>
                  <a:lnTo>
                    <a:pt x="104" y="62"/>
                  </a:lnTo>
                  <a:lnTo>
                    <a:pt x="104" y="64"/>
                  </a:lnTo>
                  <a:lnTo>
                    <a:pt x="106" y="66"/>
                  </a:lnTo>
                  <a:lnTo>
                    <a:pt x="106" y="70"/>
                  </a:lnTo>
                  <a:lnTo>
                    <a:pt x="106" y="70"/>
                  </a:lnTo>
                  <a:lnTo>
                    <a:pt x="106" y="70"/>
                  </a:lnTo>
                  <a:lnTo>
                    <a:pt x="108" y="72"/>
                  </a:lnTo>
                  <a:lnTo>
                    <a:pt x="110" y="74"/>
                  </a:lnTo>
                  <a:lnTo>
                    <a:pt x="112" y="74"/>
                  </a:lnTo>
                  <a:lnTo>
                    <a:pt x="112" y="76"/>
                  </a:lnTo>
                  <a:lnTo>
                    <a:pt x="114" y="76"/>
                  </a:lnTo>
                  <a:lnTo>
                    <a:pt x="114" y="76"/>
                  </a:lnTo>
                  <a:lnTo>
                    <a:pt x="118" y="76"/>
                  </a:lnTo>
                  <a:lnTo>
                    <a:pt x="118" y="76"/>
                  </a:lnTo>
                  <a:lnTo>
                    <a:pt x="120" y="76"/>
                  </a:lnTo>
                  <a:lnTo>
                    <a:pt x="122" y="76"/>
                  </a:lnTo>
                  <a:lnTo>
                    <a:pt x="122" y="76"/>
                  </a:lnTo>
                  <a:lnTo>
                    <a:pt x="122" y="76"/>
                  </a:lnTo>
                  <a:lnTo>
                    <a:pt x="122" y="78"/>
                  </a:lnTo>
                  <a:lnTo>
                    <a:pt x="124" y="78"/>
                  </a:lnTo>
                  <a:lnTo>
                    <a:pt x="124" y="78"/>
                  </a:lnTo>
                  <a:lnTo>
                    <a:pt x="124" y="80"/>
                  </a:lnTo>
                  <a:lnTo>
                    <a:pt x="124" y="82"/>
                  </a:lnTo>
                  <a:lnTo>
                    <a:pt x="126" y="84"/>
                  </a:lnTo>
                  <a:lnTo>
                    <a:pt x="126" y="88"/>
                  </a:lnTo>
                  <a:lnTo>
                    <a:pt x="126" y="90"/>
                  </a:lnTo>
                  <a:lnTo>
                    <a:pt x="126" y="92"/>
                  </a:lnTo>
                  <a:lnTo>
                    <a:pt x="124" y="94"/>
                  </a:lnTo>
                  <a:lnTo>
                    <a:pt x="124" y="96"/>
                  </a:lnTo>
                  <a:lnTo>
                    <a:pt x="124" y="100"/>
                  </a:lnTo>
                  <a:lnTo>
                    <a:pt x="124" y="100"/>
                  </a:lnTo>
                  <a:lnTo>
                    <a:pt x="122" y="102"/>
                  </a:lnTo>
                  <a:lnTo>
                    <a:pt x="122" y="102"/>
                  </a:lnTo>
                  <a:lnTo>
                    <a:pt x="122" y="104"/>
                  </a:lnTo>
                  <a:lnTo>
                    <a:pt x="120" y="104"/>
                  </a:lnTo>
                  <a:lnTo>
                    <a:pt x="120" y="104"/>
                  </a:lnTo>
                  <a:lnTo>
                    <a:pt x="118" y="104"/>
                  </a:lnTo>
                  <a:lnTo>
                    <a:pt x="116" y="106"/>
                  </a:lnTo>
                  <a:lnTo>
                    <a:pt x="114" y="106"/>
                  </a:lnTo>
                  <a:lnTo>
                    <a:pt x="112" y="106"/>
                  </a:lnTo>
                  <a:lnTo>
                    <a:pt x="108" y="106"/>
                  </a:lnTo>
                  <a:lnTo>
                    <a:pt x="106" y="104"/>
                  </a:lnTo>
                  <a:lnTo>
                    <a:pt x="106" y="104"/>
                  </a:lnTo>
                  <a:lnTo>
                    <a:pt x="104" y="104"/>
                  </a:lnTo>
                  <a:lnTo>
                    <a:pt x="104" y="104"/>
                  </a:lnTo>
                  <a:lnTo>
                    <a:pt x="102" y="102"/>
                  </a:lnTo>
                  <a:lnTo>
                    <a:pt x="102" y="100"/>
                  </a:lnTo>
                  <a:lnTo>
                    <a:pt x="100" y="98"/>
                  </a:lnTo>
                  <a:lnTo>
                    <a:pt x="100" y="96"/>
                  </a:lnTo>
                  <a:lnTo>
                    <a:pt x="98" y="96"/>
                  </a:lnTo>
                  <a:lnTo>
                    <a:pt x="98" y="94"/>
                  </a:lnTo>
                  <a:lnTo>
                    <a:pt x="98" y="88"/>
                  </a:lnTo>
                  <a:lnTo>
                    <a:pt x="98" y="86"/>
                  </a:lnTo>
                  <a:lnTo>
                    <a:pt x="98" y="84"/>
                  </a:lnTo>
                  <a:lnTo>
                    <a:pt x="96" y="82"/>
                  </a:lnTo>
                  <a:lnTo>
                    <a:pt x="96" y="82"/>
                  </a:lnTo>
                  <a:lnTo>
                    <a:pt x="96" y="82"/>
                  </a:lnTo>
                  <a:lnTo>
                    <a:pt x="96" y="80"/>
                  </a:lnTo>
                  <a:lnTo>
                    <a:pt x="96" y="80"/>
                  </a:lnTo>
                  <a:lnTo>
                    <a:pt x="94" y="80"/>
                  </a:lnTo>
                  <a:lnTo>
                    <a:pt x="92" y="78"/>
                  </a:lnTo>
                  <a:lnTo>
                    <a:pt x="90" y="78"/>
                  </a:lnTo>
                  <a:lnTo>
                    <a:pt x="88" y="78"/>
                  </a:lnTo>
                  <a:lnTo>
                    <a:pt x="86" y="76"/>
                  </a:lnTo>
                  <a:lnTo>
                    <a:pt x="86" y="76"/>
                  </a:lnTo>
                  <a:lnTo>
                    <a:pt x="84" y="76"/>
                  </a:lnTo>
                  <a:lnTo>
                    <a:pt x="84" y="74"/>
                  </a:lnTo>
                  <a:lnTo>
                    <a:pt x="84" y="74"/>
                  </a:lnTo>
                  <a:lnTo>
                    <a:pt x="84" y="74"/>
                  </a:lnTo>
                  <a:lnTo>
                    <a:pt x="84" y="72"/>
                  </a:lnTo>
                  <a:lnTo>
                    <a:pt x="84" y="70"/>
                  </a:lnTo>
                  <a:lnTo>
                    <a:pt x="84" y="70"/>
                  </a:lnTo>
                  <a:lnTo>
                    <a:pt x="82" y="70"/>
                  </a:lnTo>
                  <a:lnTo>
                    <a:pt x="82" y="68"/>
                  </a:lnTo>
                  <a:lnTo>
                    <a:pt x="82" y="68"/>
                  </a:lnTo>
                  <a:lnTo>
                    <a:pt x="80" y="68"/>
                  </a:lnTo>
                  <a:lnTo>
                    <a:pt x="78" y="68"/>
                  </a:lnTo>
                  <a:lnTo>
                    <a:pt x="76" y="70"/>
                  </a:lnTo>
                  <a:lnTo>
                    <a:pt x="76" y="70"/>
                  </a:lnTo>
                  <a:lnTo>
                    <a:pt x="74" y="70"/>
                  </a:lnTo>
                  <a:lnTo>
                    <a:pt x="72" y="70"/>
                  </a:lnTo>
                  <a:lnTo>
                    <a:pt x="72" y="72"/>
                  </a:lnTo>
                  <a:lnTo>
                    <a:pt x="70" y="72"/>
                  </a:lnTo>
                  <a:lnTo>
                    <a:pt x="70" y="72"/>
                  </a:lnTo>
                  <a:lnTo>
                    <a:pt x="70" y="74"/>
                  </a:lnTo>
                  <a:lnTo>
                    <a:pt x="70" y="76"/>
                  </a:lnTo>
                  <a:lnTo>
                    <a:pt x="68" y="78"/>
                  </a:lnTo>
                  <a:lnTo>
                    <a:pt x="68" y="78"/>
                  </a:lnTo>
                  <a:lnTo>
                    <a:pt x="68" y="80"/>
                  </a:lnTo>
                  <a:lnTo>
                    <a:pt x="68" y="80"/>
                  </a:lnTo>
                  <a:lnTo>
                    <a:pt x="66" y="80"/>
                  </a:lnTo>
                  <a:lnTo>
                    <a:pt x="66" y="80"/>
                  </a:lnTo>
                  <a:lnTo>
                    <a:pt x="66" y="80"/>
                  </a:lnTo>
                  <a:lnTo>
                    <a:pt x="64" y="80"/>
                  </a:lnTo>
                  <a:lnTo>
                    <a:pt x="64" y="80"/>
                  </a:lnTo>
                  <a:lnTo>
                    <a:pt x="62" y="78"/>
                  </a:lnTo>
                  <a:lnTo>
                    <a:pt x="60" y="78"/>
                  </a:lnTo>
                  <a:lnTo>
                    <a:pt x="60" y="78"/>
                  </a:lnTo>
                  <a:lnTo>
                    <a:pt x="60" y="78"/>
                  </a:lnTo>
                  <a:lnTo>
                    <a:pt x="60" y="76"/>
                  </a:lnTo>
                  <a:lnTo>
                    <a:pt x="58" y="74"/>
                  </a:lnTo>
                  <a:lnTo>
                    <a:pt x="58" y="72"/>
                  </a:lnTo>
                  <a:lnTo>
                    <a:pt x="58" y="70"/>
                  </a:lnTo>
                  <a:lnTo>
                    <a:pt x="58" y="68"/>
                  </a:lnTo>
                  <a:lnTo>
                    <a:pt x="58" y="66"/>
                  </a:lnTo>
                  <a:lnTo>
                    <a:pt x="58" y="64"/>
                  </a:lnTo>
                  <a:lnTo>
                    <a:pt x="56" y="64"/>
                  </a:lnTo>
                  <a:lnTo>
                    <a:pt x="56" y="64"/>
                  </a:lnTo>
                  <a:lnTo>
                    <a:pt x="56" y="62"/>
                  </a:lnTo>
                  <a:lnTo>
                    <a:pt x="54" y="62"/>
                  </a:lnTo>
                  <a:lnTo>
                    <a:pt x="54" y="62"/>
                  </a:lnTo>
                  <a:lnTo>
                    <a:pt x="52" y="62"/>
                  </a:lnTo>
                  <a:lnTo>
                    <a:pt x="50" y="62"/>
                  </a:lnTo>
                  <a:lnTo>
                    <a:pt x="46" y="62"/>
                  </a:lnTo>
                  <a:lnTo>
                    <a:pt x="42" y="60"/>
                  </a:lnTo>
                  <a:lnTo>
                    <a:pt x="40" y="62"/>
                  </a:lnTo>
                  <a:lnTo>
                    <a:pt x="40" y="66"/>
                  </a:lnTo>
                  <a:lnTo>
                    <a:pt x="42" y="70"/>
                  </a:lnTo>
                  <a:lnTo>
                    <a:pt x="42" y="76"/>
                  </a:lnTo>
                  <a:lnTo>
                    <a:pt x="42" y="78"/>
                  </a:lnTo>
                  <a:lnTo>
                    <a:pt x="42" y="82"/>
                  </a:lnTo>
                  <a:lnTo>
                    <a:pt x="42" y="84"/>
                  </a:lnTo>
                  <a:lnTo>
                    <a:pt x="42" y="88"/>
                  </a:lnTo>
                  <a:lnTo>
                    <a:pt x="40" y="90"/>
                  </a:lnTo>
                  <a:lnTo>
                    <a:pt x="40" y="92"/>
                  </a:lnTo>
                  <a:lnTo>
                    <a:pt x="40" y="94"/>
                  </a:lnTo>
                  <a:lnTo>
                    <a:pt x="38" y="94"/>
                  </a:lnTo>
                  <a:lnTo>
                    <a:pt x="38" y="94"/>
                  </a:lnTo>
                  <a:lnTo>
                    <a:pt x="38" y="96"/>
                  </a:lnTo>
                  <a:lnTo>
                    <a:pt x="36" y="96"/>
                  </a:lnTo>
                  <a:lnTo>
                    <a:pt x="36" y="96"/>
                  </a:lnTo>
                  <a:lnTo>
                    <a:pt x="34" y="96"/>
                  </a:lnTo>
                  <a:lnTo>
                    <a:pt x="32" y="96"/>
                  </a:lnTo>
                  <a:lnTo>
                    <a:pt x="30" y="96"/>
                  </a:lnTo>
                  <a:lnTo>
                    <a:pt x="28" y="96"/>
                  </a:lnTo>
                  <a:lnTo>
                    <a:pt x="26" y="96"/>
                  </a:lnTo>
                  <a:lnTo>
                    <a:pt x="24" y="94"/>
                  </a:lnTo>
                  <a:lnTo>
                    <a:pt x="24" y="94"/>
                  </a:lnTo>
                  <a:lnTo>
                    <a:pt x="24" y="94"/>
                  </a:lnTo>
                  <a:lnTo>
                    <a:pt x="24" y="94"/>
                  </a:lnTo>
                  <a:lnTo>
                    <a:pt x="22" y="92"/>
                  </a:lnTo>
                  <a:lnTo>
                    <a:pt x="22" y="90"/>
                  </a:lnTo>
                  <a:lnTo>
                    <a:pt x="22" y="90"/>
                  </a:lnTo>
                  <a:lnTo>
                    <a:pt x="22" y="88"/>
                  </a:lnTo>
                  <a:lnTo>
                    <a:pt x="20" y="86"/>
                  </a:lnTo>
                  <a:lnTo>
                    <a:pt x="20" y="86"/>
                  </a:lnTo>
                  <a:lnTo>
                    <a:pt x="20" y="86"/>
                  </a:lnTo>
                  <a:lnTo>
                    <a:pt x="20" y="86"/>
                  </a:lnTo>
                  <a:lnTo>
                    <a:pt x="18" y="86"/>
                  </a:lnTo>
                  <a:lnTo>
                    <a:pt x="16" y="86"/>
                  </a:lnTo>
                  <a:lnTo>
                    <a:pt x="16" y="86"/>
                  </a:lnTo>
                  <a:lnTo>
                    <a:pt x="14" y="86"/>
                  </a:lnTo>
                  <a:lnTo>
                    <a:pt x="14" y="86"/>
                  </a:lnTo>
                  <a:lnTo>
                    <a:pt x="14" y="88"/>
                  </a:lnTo>
                  <a:lnTo>
                    <a:pt x="14" y="88"/>
                  </a:lnTo>
                  <a:lnTo>
                    <a:pt x="14" y="88"/>
                  </a:lnTo>
                  <a:lnTo>
                    <a:pt x="14" y="90"/>
                  </a:lnTo>
                  <a:lnTo>
                    <a:pt x="14" y="90"/>
                  </a:lnTo>
                  <a:lnTo>
                    <a:pt x="14" y="92"/>
                  </a:lnTo>
                  <a:lnTo>
                    <a:pt x="14" y="94"/>
                  </a:lnTo>
                  <a:lnTo>
                    <a:pt x="14" y="94"/>
                  </a:lnTo>
                  <a:lnTo>
                    <a:pt x="14" y="94"/>
                  </a:lnTo>
                  <a:lnTo>
                    <a:pt x="14" y="94"/>
                  </a:lnTo>
                  <a:lnTo>
                    <a:pt x="14" y="96"/>
                  </a:lnTo>
                  <a:lnTo>
                    <a:pt x="12" y="96"/>
                  </a:lnTo>
                  <a:lnTo>
                    <a:pt x="12" y="96"/>
                  </a:lnTo>
                  <a:lnTo>
                    <a:pt x="10" y="96"/>
                  </a:lnTo>
                  <a:lnTo>
                    <a:pt x="8" y="96"/>
                  </a:lnTo>
                  <a:lnTo>
                    <a:pt x="8" y="96"/>
                  </a:lnTo>
                  <a:lnTo>
                    <a:pt x="6" y="96"/>
                  </a:lnTo>
                  <a:lnTo>
                    <a:pt x="4" y="96"/>
                  </a:lnTo>
                  <a:lnTo>
                    <a:pt x="4" y="96"/>
                  </a:lnTo>
                  <a:lnTo>
                    <a:pt x="4" y="96"/>
                  </a:lnTo>
                  <a:lnTo>
                    <a:pt x="4" y="96"/>
                  </a:lnTo>
                  <a:lnTo>
                    <a:pt x="2" y="98"/>
                  </a:lnTo>
                  <a:lnTo>
                    <a:pt x="2" y="100"/>
                  </a:lnTo>
                  <a:lnTo>
                    <a:pt x="2" y="102"/>
                  </a:lnTo>
                  <a:lnTo>
                    <a:pt x="2" y="104"/>
                  </a:lnTo>
                  <a:lnTo>
                    <a:pt x="0" y="106"/>
                  </a:lnTo>
                  <a:lnTo>
                    <a:pt x="0" y="110"/>
                  </a:lnTo>
                  <a:lnTo>
                    <a:pt x="2" y="112"/>
                  </a:lnTo>
                  <a:lnTo>
                    <a:pt x="2" y="114"/>
                  </a:lnTo>
                  <a:lnTo>
                    <a:pt x="2" y="120"/>
                  </a:lnTo>
                  <a:lnTo>
                    <a:pt x="2" y="126"/>
                  </a:lnTo>
                  <a:lnTo>
                    <a:pt x="4" y="130"/>
                  </a:lnTo>
                  <a:lnTo>
                    <a:pt x="4" y="134"/>
                  </a:lnTo>
                  <a:lnTo>
                    <a:pt x="4" y="142"/>
                  </a:lnTo>
                  <a:lnTo>
                    <a:pt x="4" y="144"/>
                  </a:lnTo>
                  <a:lnTo>
                    <a:pt x="4" y="146"/>
                  </a:lnTo>
                  <a:lnTo>
                    <a:pt x="4" y="148"/>
                  </a:lnTo>
                  <a:lnTo>
                    <a:pt x="6" y="148"/>
                  </a:lnTo>
                  <a:lnTo>
                    <a:pt x="6" y="150"/>
                  </a:lnTo>
                  <a:lnTo>
                    <a:pt x="6" y="150"/>
                  </a:lnTo>
                  <a:lnTo>
                    <a:pt x="8" y="152"/>
                  </a:lnTo>
                  <a:lnTo>
                    <a:pt x="10" y="154"/>
                  </a:lnTo>
                  <a:lnTo>
                    <a:pt x="12" y="156"/>
                  </a:lnTo>
                  <a:lnTo>
                    <a:pt x="14" y="158"/>
                  </a:lnTo>
                  <a:lnTo>
                    <a:pt x="14" y="160"/>
                  </a:lnTo>
                  <a:lnTo>
                    <a:pt x="16" y="162"/>
                  </a:lnTo>
                  <a:lnTo>
                    <a:pt x="16" y="162"/>
                  </a:lnTo>
                  <a:lnTo>
                    <a:pt x="16" y="162"/>
                  </a:lnTo>
                  <a:lnTo>
                    <a:pt x="16" y="164"/>
                  </a:lnTo>
                  <a:lnTo>
                    <a:pt x="16" y="166"/>
                  </a:lnTo>
                  <a:lnTo>
                    <a:pt x="16" y="170"/>
                  </a:lnTo>
                  <a:lnTo>
                    <a:pt x="20" y="170"/>
                  </a:lnTo>
                  <a:lnTo>
                    <a:pt x="22" y="172"/>
                  </a:lnTo>
                  <a:lnTo>
                    <a:pt x="24" y="172"/>
                  </a:lnTo>
                  <a:lnTo>
                    <a:pt x="28" y="172"/>
                  </a:lnTo>
                  <a:lnTo>
                    <a:pt x="34" y="172"/>
                  </a:lnTo>
                  <a:lnTo>
                    <a:pt x="46" y="174"/>
                  </a:lnTo>
                  <a:lnTo>
                    <a:pt x="58" y="174"/>
                  </a:lnTo>
                  <a:lnTo>
                    <a:pt x="62" y="17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8" name="Freeform 437">
              <a:extLst>
                <a:ext uri="{FF2B5EF4-FFF2-40B4-BE49-F238E27FC236}">
                  <a16:creationId xmlns:a16="http://schemas.microsoft.com/office/drawing/2014/main" id="{74B4979E-7465-459A-80A2-A7B4D2023300}"/>
                </a:ext>
              </a:extLst>
            </p:cNvPr>
            <p:cNvSpPr>
              <a:spLocks/>
            </p:cNvSpPr>
            <p:nvPr/>
          </p:nvSpPr>
          <p:spPr bwMode="auto">
            <a:xfrm>
              <a:off x="4799227" y="4864452"/>
              <a:ext cx="308309" cy="301381"/>
            </a:xfrm>
            <a:custGeom>
              <a:avLst/>
              <a:gdLst>
                <a:gd name="T0" fmla="*/ 72 w 178"/>
                <a:gd name="T1" fmla="*/ 170 h 174"/>
                <a:gd name="T2" fmla="*/ 86 w 178"/>
                <a:gd name="T3" fmla="*/ 170 h 174"/>
                <a:gd name="T4" fmla="*/ 92 w 178"/>
                <a:gd name="T5" fmla="*/ 168 h 174"/>
                <a:gd name="T6" fmla="*/ 94 w 178"/>
                <a:gd name="T7" fmla="*/ 160 h 174"/>
                <a:gd name="T8" fmla="*/ 98 w 178"/>
                <a:gd name="T9" fmla="*/ 156 h 174"/>
                <a:gd name="T10" fmla="*/ 106 w 178"/>
                <a:gd name="T11" fmla="*/ 152 h 174"/>
                <a:gd name="T12" fmla="*/ 108 w 178"/>
                <a:gd name="T13" fmla="*/ 144 h 174"/>
                <a:gd name="T14" fmla="*/ 110 w 178"/>
                <a:gd name="T15" fmla="*/ 140 h 174"/>
                <a:gd name="T16" fmla="*/ 122 w 178"/>
                <a:gd name="T17" fmla="*/ 140 h 174"/>
                <a:gd name="T18" fmla="*/ 128 w 178"/>
                <a:gd name="T19" fmla="*/ 132 h 174"/>
                <a:gd name="T20" fmla="*/ 146 w 178"/>
                <a:gd name="T21" fmla="*/ 128 h 174"/>
                <a:gd name="T22" fmla="*/ 152 w 178"/>
                <a:gd name="T23" fmla="*/ 124 h 174"/>
                <a:gd name="T24" fmla="*/ 156 w 178"/>
                <a:gd name="T25" fmla="*/ 116 h 174"/>
                <a:gd name="T26" fmla="*/ 166 w 178"/>
                <a:gd name="T27" fmla="*/ 108 h 174"/>
                <a:gd name="T28" fmla="*/ 168 w 178"/>
                <a:gd name="T29" fmla="*/ 88 h 174"/>
                <a:gd name="T30" fmla="*/ 174 w 178"/>
                <a:gd name="T31" fmla="*/ 80 h 174"/>
                <a:gd name="T32" fmla="*/ 178 w 178"/>
                <a:gd name="T33" fmla="*/ 76 h 174"/>
                <a:gd name="T34" fmla="*/ 174 w 178"/>
                <a:gd name="T35" fmla="*/ 62 h 174"/>
                <a:gd name="T36" fmla="*/ 174 w 178"/>
                <a:gd name="T37" fmla="*/ 38 h 174"/>
                <a:gd name="T38" fmla="*/ 162 w 178"/>
                <a:gd name="T39" fmla="*/ 24 h 174"/>
                <a:gd name="T40" fmla="*/ 146 w 178"/>
                <a:gd name="T41" fmla="*/ 14 h 174"/>
                <a:gd name="T42" fmla="*/ 142 w 178"/>
                <a:gd name="T43" fmla="*/ 4 h 174"/>
                <a:gd name="T44" fmla="*/ 138 w 178"/>
                <a:gd name="T45" fmla="*/ 0 h 174"/>
                <a:gd name="T46" fmla="*/ 130 w 178"/>
                <a:gd name="T47" fmla="*/ 2 h 174"/>
                <a:gd name="T48" fmla="*/ 126 w 178"/>
                <a:gd name="T49" fmla="*/ 10 h 174"/>
                <a:gd name="T50" fmla="*/ 116 w 178"/>
                <a:gd name="T51" fmla="*/ 16 h 174"/>
                <a:gd name="T52" fmla="*/ 108 w 178"/>
                <a:gd name="T53" fmla="*/ 30 h 174"/>
                <a:gd name="T54" fmla="*/ 104 w 178"/>
                <a:gd name="T55" fmla="*/ 56 h 174"/>
                <a:gd name="T56" fmla="*/ 106 w 178"/>
                <a:gd name="T57" fmla="*/ 70 h 174"/>
                <a:gd name="T58" fmla="*/ 114 w 178"/>
                <a:gd name="T59" fmla="*/ 76 h 174"/>
                <a:gd name="T60" fmla="*/ 122 w 178"/>
                <a:gd name="T61" fmla="*/ 76 h 174"/>
                <a:gd name="T62" fmla="*/ 124 w 178"/>
                <a:gd name="T63" fmla="*/ 82 h 174"/>
                <a:gd name="T64" fmla="*/ 124 w 178"/>
                <a:gd name="T65" fmla="*/ 96 h 174"/>
                <a:gd name="T66" fmla="*/ 120 w 178"/>
                <a:gd name="T67" fmla="*/ 104 h 174"/>
                <a:gd name="T68" fmla="*/ 108 w 178"/>
                <a:gd name="T69" fmla="*/ 106 h 174"/>
                <a:gd name="T70" fmla="*/ 102 w 178"/>
                <a:gd name="T71" fmla="*/ 100 h 174"/>
                <a:gd name="T72" fmla="*/ 98 w 178"/>
                <a:gd name="T73" fmla="*/ 86 h 174"/>
                <a:gd name="T74" fmla="*/ 96 w 178"/>
                <a:gd name="T75" fmla="*/ 80 h 174"/>
                <a:gd name="T76" fmla="*/ 86 w 178"/>
                <a:gd name="T77" fmla="*/ 76 h 174"/>
                <a:gd name="T78" fmla="*/ 84 w 178"/>
                <a:gd name="T79" fmla="*/ 70 h 174"/>
                <a:gd name="T80" fmla="*/ 78 w 178"/>
                <a:gd name="T81" fmla="*/ 68 h 174"/>
                <a:gd name="T82" fmla="*/ 70 w 178"/>
                <a:gd name="T83" fmla="*/ 72 h 174"/>
                <a:gd name="T84" fmla="*/ 68 w 178"/>
                <a:gd name="T85" fmla="*/ 80 h 174"/>
                <a:gd name="T86" fmla="*/ 64 w 178"/>
                <a:gd name="T87" fmla="*/ 80 h 174"/>
                <a:gd name="T88" fmla="*/ 58 w 178"/>
                <a:gd name="T89" fmla="*/ 74 h 174"/>
                <a:gd name="T90" fmla="*/ 56 w 178"/>
                <a:gd name="T91" fmla="*/ 64 h 174"/>
                <a:gd name="T92" fmla="*/ 50 w 178"/>
                <a:gd name="T93" fmla="*/ 62 h 174"/>
                <a:gd name="T94" fmla="*/ 42 w 178"/>
                <a:gd name="T95" fmla="*/ 76 h 174"/>
                <a:gd name="T96" fmla="*/ 40 w 178"/>
                <a:gd name="T97" fmla="*/ 92 h 174"/>
                <a:gd name="T98" fmla="*/ 36 w 178"/>
                <a:gd name="T99" fmla="*/ 96 h 174"/>
                <a:gd name="T100" fmla="*/ 24 w 178"/>
                <a:gd name="T101" fmla="*/ 94 h 174"/>
                <a:gd name="T102" fmla="*/ 22 w 178"/>
                <a:gd name="T103" fmla="*/ 90 h 174"/>
                <a:gd name="T104" fmla="*/ 18 w 178"/>
                <a:gd name="T105" fmla="*/ 86 h 174"/>
                <a:gd name="T106" fmla="*/ 14 w 178"/>
                <a:gd name="T107" fmla="*/ 88 h 174"/>
                <a:gd name="T108" fmla="*/ 14 w 178"/>
                <a:gd name="T109" fmla="*/ 94 h 174"/>
                <a:gd name="T110" fmla="*/ 10 w 178"/>
                <a:gd name="T111" fmla="*/ 96 h 174"/>
                <a:gd name="T112" fmla="*/ 4 w 178"/>
                <a:gd name="T113" fmla="*/ 96 h 174"/>
                <a:gd name="T114" fmla="*/ 0 w 178"/>
                <a:gd name="T115" fmla="*/ 106 h 174"/>
                <a:gd name="T116" fmla="*/ 4 w 178"/>
                <a:gd name="T117" fmla="*/ 130 h 174"/>
                <a:gd name="T118" fmla="*/ 6 w 178"/>
                <a:gd name="T119" fmla="*/ 148 h 174"/>
                <a:gd name="T120" fmla="*/ 14 w 178"/>
                <a:gd name="T121" fmla="*/ 158 h 174"/>
                <a:gd name="T122" fmla="*/ 16 w 178"/>
                <a:gd name="T123" fmla="*/ 166 h 174"/>
                <a:gd name="T124" fmla="*/ 34 w 178"/>
                <a:gd name="T125" fmla="*/ 17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 h="174">
                  <a:moveTo>
                    <a:pt x="62" y="174"/>
                  </a:moveTo>
                  <a:lnTo>
                    <a:pt x="62" y="174"/>
                  </a:lnTo>
                  <a:lnTo>
                    <a:pt x="66" y="172"/>
                  </a:lnTo>
                  <a:lnTo>
                    <a:pt x="70" y="172"/>
                  </a:lnTo>
                  <a:lnTo>
                    <a:pt x="72" y="170"/>
                  </a:lnTo>
                  <a:lnTo>
                    <a:pt x="72" y="170"/>
                  </a:lnTo>
                  <a:lnTo>
                    <a:pt x="74" y="170"/>
                  </a:lnTo>
                  <a:lnTo>
                    <a:pt x="78" y="170"/>
                  </a:lnTo>
                  <a:lnTo>
                    <a:pt x="82" y="172"/>
                  </a:lnTo>
                  <a:lnTo>
                    <a:pt x="84" y="170"/>
                  </a:lnTo>
                  <a:lnTo>
                    <a:pt x="84" y="170"/>
                  </a:lnTo>
                  <a:lnTo>
                    <a:pt x="86" y="170"/>
                  </a:lnTo>
                  <a:lnTo>
                    <a:pt x="88" y="170"/>
                  </a:lnTo>
                  <a:lnTo>
                    <a:pt x="90" y="170"/>
                  </a:lnTo>
                  <a:lnTo>
                    <a:pt x="92" y="168"/>
                  </a:lnTo>
                  <a:lnTo>
                    <a:pt x="92" y="168"/>
                  </a:lnTo>
                  <a:lnTo>
                    <a:pt x="92" y="168"/>
                  </a:lnTo>
                  <a:lnTo>
                    <a:pt x="92" y="168"/>
                  </a:lnTo>
                  <a:lnTo>
                    <a:pt x="94" y="166"/>
                  </a:lnTo>
                  <a:lnTo>
                    <a:pt x="94" y="166"/>
                  </a:lnTo>
                  <a:lnTo>
                    <a:pt x="94" y="164"/>
                  </a:lnTo>
                  <a:lnTo>
                    <a:pt x="94" y="162"/>
                  </a:lnTo>
                  <a:lnTo>
                    <a:pt x="94" y="160"/>
                  </a:lnTo>
                  <a:lnTo>
                    <a:pt x="94" y="160"/>
                  </a:lnTo>
                  <a:lnTo>
                    <a:pt x="94" y="158"/>
                  </a:lnTo>
                  <a:lnTo>
                    <a:pt x="94" y="158"/>
                  </a:lnTo>
                  <a:lnTo>
                    <a:pt x="94" y="156"/>
                  </a:lnTo>
                  <a:lnTo>
                    <a:pt x="96" y="156"/>
                  </a:lnTo>
                  <a:lnTo>
                    <a:pt x="96" y="156"/>
                  </a:lnTo>
                  <a:lnTo>
                    <a:pt x="98" y="156"/>
                  </a:lnTo>
                  <a:lnTo>
                    <a:pt x="100" y="156"/>
                  </a:lnTo>
                  <a:lnTo>
                    <a:pt x="102" y="156"/>
                  </a:lnTo>
                  <a:lnTo>
                    <a:pt x="102" y="156"/>
                  </a:lnTo>
                  <a:lnTo>
                    <a:pt x="104" y="154"/>
                  </a:lnTo>
                  <a:lnTo>
                    <a:pt x="106" y="154"/>
                  </a:lnTo>
                  <a:lnTo>
                    <a:pt x="106" y="152"/>
                  </a:lnTo>
                  <a:lnTo>
                    <a:pt x="108" y="152"/>
                  </a:lnTo>
                  <a:lnTo>
                    <a:pt x="108" y="152"/>
                  </a:lnTo>
                  <a:lnTo>
                    <a:pt x="108" y="150"/>
                  </a:lnTo>
                  <a:lnTo>
                    <a:pt x="108" y="150"/>
                  </a:lnTo>
                  <a:lnTo>
                    <a:pt x="108" y="146"/>
                  </a:lnTo>
                  <a:lnTo>
                    <a:pt x="108" y="144"/>
                  </a:lnTo>
                  <a:lnTo>
                    <a:pt x="108" y="144"/>
                  </a:lnTo>
                  <a:lnTo>
                    <a:pt x="108" y="142"/>
                  </a:lnTo>
                  <a:lnTo>
                    <a:pt x="108" y="142"/>
                  </a:lnTo>
                  <a:lnTo>
                    <a:pt x="110" y="142"/>
                  </a:lnTo>
                  <a:lnTo>
                    <a:pt x="110" y="140"/>
                  </a:lnTo>
                  <a:lnTo>
                    <a:pt x="110" y="140"/>
                  </a:lnTo>
                  <a:lnTo>
                    <a:pt x="112" y="140"/>
                  </a:lnTo>
                  <a:lnTo>
                    <a:pt x="114" y="140"/>
                  </a:lnTo>
                  <a:lnTo>
                    <a:pt x="116" y="140"/>
                  </a:lnTo>
                  <a:lnTo>
                    <a:pt x="118" y="140"/>
                  </a:lnTo>
                  <a:lnTo>
                    <a:pt x="120" y="140"/>
                  </a:lnTo>
                  <a:lnTo>
                    <a:pt x="122" y="140"/>
                  </a:lnTo>
                  <a:lnTo>
                    <a:pt x="122" y="140"/>
                  </a:lnTo>
                  <a:lnTo>
                    <a:pt x="122" y="140"/>
                  </a:lnTo>
                  <a:lnTo>
                    <a:pt x="124" y="138"/>
                  </a:lnTo>
                  <a:lnTo>
                    <a:pt x="124" y="138"/>
                  </a:lnTo>
                  <a:lnTo>
                    <a:pt x="126" y="134"/>
                  </a:lnTo>
                  <a:lnTo>
                    <a:pt x="128" y="132"/>
                  </a:lnTo>
                  <a:lnTo>
                    <a:pt x="128" y="132"/>
                  </a:lnTo>
                  <a:lnTo>
                    <a:pt x="132" y="132"/>
                  </a:lnTo>
                  <a:lnTo>
                    <a:pt x="134" y="130"/>
                  </a:lnTo>
                  <a:lnTo>
                    <a:pt x="138" y="130"/>
                  </a:lnTo>
                  <a:lnTo>
                    <a:pt x="142" y="130"/>
                  </a:lnTo>
                  <a:lnTo>
                    <a:pt x="146" y="128"/>
                  </a:lnTo>
                  <a:lnTo>
                    <a:pt x="148" y="128"/>
                  </a:lnTo>
                  <a:lnTo>
                    <a:pt x="148" y="128"/>
                  </a:lnTo>
                  <a:lnTo>
                    <a:pt x="150" y="126"/>
                  </a:lnTo>
                  <a:lnTo>
                    <a:pt x="152" y="126"/>
                  </a:lnTo>
                  <a:lnTo>
                    <a:pt x="152" y="126"/>
                  </a:lnTo>
                  <a:lnTo>
                    <a:pt x="152" y="124"/>
                  </a:lnTo>
                  <a:lnTo>
                    <a:pt x="152" y="124"/>
                  </a:lnTo>
                  <a:lnTo>
                    <a:pt x="154" y="122"/>
                  </a:lnTo>
                  <a:lnTo>
                    <a:pt x="154" y="118"/>
                  </a:lnTo>
                  <a:lnTo>
                    <a:pt x="154" y="118"/>
                  </a:lnTo>
                  <a:lnTo>
                    <a:pt x="154" y="116"/>
                  </a:lnTo>
                  <a:lnTo>
                    <a:pt x="156" y="116"/>
                  </a:lnTo>
                  <a:lnTo>
                    <a:pt x="158" y="114"/>
                  </a:lnTo>
                  <a:lnTo>
                    <a:pt x="160" y="114"/>
                  </a:lnTo>
                  <a:lnTo>
                    <a:pt x="162" y="114"/>
                  </a:lnTo>
                  <a:lnTo>
                    <a:pt x="166" y="112"/>
                  </a:lnTo>
                  <a:lnTo>
                    <a:pt x="166" y="112"/>
                  </a:lnTo>
                  <a:lnTo>
                    <a:pt x="166" y="108"/>
                  </a:lnTo>
                  <a:lnTo>
                    <a:pt x="166" y="104"/>
                  </a:lnTo>
                  <a:lnTo>
                    <a:pt x="166" y="100"/>
                  </a:lnTo>
                  <a:lnTo>
                    <a:pt x="166" y="96"/>
                  </a:lnTo>
                  <a:lnTo>
                    <a:pt x="168" y="90"/>
                  </a:lnTo>
                  <a:lnTo>
                    <a:pt x="168" y="88"/>
                  </a:lnTo>
                  <a:lnTo>
                    <a:pt x="168" y="88"/>
                  </a:lnTo>
                  <a:lnTo>
                    <a:pt x="168" y="86"/>
                  </a:lnTo>
                  <a:lnTo>
                    <a:pt x="168" y="84"/>
                  </a:lnTo>
                  <a:lnTo>
                    <a:pt x="170" y="84"/>
                  </a:lnTo>
                  <a:lnTo>
                    <a:pt x="170" y="82"/>
                  </a:lnTo>
                  <a:lnTo>
                    <a:pt x="174" y="80"/>
                  </a:lnTo>
                  <a:lnTo>
                    <a:pt x="174" y="80"/>
                  </a:lnTo>
                  <a:lnTo>
                    <a:pt x="176" y="78"/>
                  </a:lnTo>
                  <a:lnTo>
                    <a:pt x="176" y="78"/>
                  </a:lnTo>
                  <a:lnTo>
                    <a:pt x="176" y="78"/>
                  </a:lnTo>
                  <a:lnTo>
                    <a:pt x="176" y="78"/>
                  </a:lnTo>
                  <a:lnTo>
                    <a:pt x="178" y="76"/>
                  </a:lnTo>
                  <a:lnTo>
                    <a:pt x="178" y="76"/>
                  </a:lnTo>
                  <a:lnTo>
                    <a:pt x="178" y="74"/>
                  </a:lnTo>
                  <a:lnTo>
                    <a:pt x="176" y="74"/>
                  </a:lnTo>
                  <a:lnTo>
                    <a:pt x="176" y="72"/>
                  </a:lnTo>
                  <a:lnTo>
                    <a:pt x="176" y="68"/>
                  </a:lnTo>
                  <a:lnTo>
                    <a:pt x="174" y="64"/>
                  </a:lnTo>
                  <a:lnTo>
                    <a:pt x="174" y="62"/>
                  </a:lnTo>
                  <a:lnTo>
                    <a:pt x="174" y="60"/>
                  </a:lnTo>
                  <a:lnTo>
                    <a:pt x="174" y="58"/>
                  </a:lnTo>
                  <a:lnTo>
                    <a:pt x="174" y="56"/>
                  </a:lnTo>
                  <a:lnTo>
                    <a:pt x="174" y="48"/>
                  </a:lnTo>
                  <a:lnTo>
                    <a:pt x="174" y="40"/>
                  </a:lnTo>
                  <a:lnTo>
                    <a:pt x="174" y="38"/>
                  </a:lnTo>
                  <a:lnTo>
                    <a:pt x="172" y="34"/>
                  </a:lnTo>
                  <a:lnTo>
                    <a:pt x="168" y="30"/>
                  </a:lnTo>
                  <a:lnTo>
                    <a:pt x="166" y="28"/>
                  </a:lnTo>
                  <a:lnTo>
                    <a:pt x="166" y="26"/>
                  </a:lnTo>
                  <a:lnTo>
                    <a:pt x="164" y="26"/>
                  </a:lnTo>
                  <a:lnTo>
                    <a:pt x="162" y="24"/>
                  </a:lnTo>
                  <a:lnTo>
                    <a:pt x="158" y="22"/>
                  </a:lnTo>
                  <a:lnTo>
                    <a:pt x="154" y="22"/>
                  </a:lnTo>
                  <a:lnTo>
                    <a:pt x="154" y="20"/>
                  </a:lnTo>
                  <a:lnTo>
                    <a:pt x="152" y="20"/>
                  </a:lnTo>
                  <a:lnTo>
                    <a:pt x="150" y="18"/>
                  </a:lnTo>
                  <a:lnTo>
                    <a:pt x="146" y="14"/>
                  </a:lnTo>
                  <a:lnTo>
                    <a:pt x="144" y="12"/>
                  </a:lnTo>
                  <a:lnTo>
                    <a:pt x="144" y="10"/>
                  </a:lnTo>
                  <a:lnTo>
                    <a:pt x="142" y="8"/>
                  </a:lnTo>
                  <a:lnTo>
                    <a:pt x="142" y="8"/>
                  </a:lnTo>
                  <a:lnTo>
                    <a:pt x="142" y="6"/>
                  </a:lnTo>
                  <a:lnTo>
                    <a:pt x="142" y="4"/>
                  </a:lnTo>
                  <a:lnTo>
                    <a:pt x="142" y="4"/>
                  </a:lnTo>
                  <a:lnTo>
                    <a:pt x="140" y="2"/>
                  </a:lnTo>
                  <a:lnTo>
                    <a:pt x="140" y="2"/>
                  </a:lnTo>
                  <a:lnTo>
                    <a:pt x="140" y="0"/>
                  </a:lnTo>
                  <a:lnTo>
                    <a:pt x="140" y="0"/>
                  </a:lnTo>
                  <a:lnTo>
                    <a:pt x="138" y="0"/>
                  </a:lnTo>
                  <a:lnTo>
                    <a:pt x="138" y="0"/>
                  </a:lnTo>
                  <a:lnTo>
                    <a:pt x="136" y="0"/>
                  </a:lnTo>
                  <a:lnTo>
                    <a:pt x="134" y="0"/>
                  </a:lnTo>
                  <a:lnTo>
                    <a:pt x="130" y="0"/>
                  </a:lnTo>
                  <a:lnTo>
                    <a:pt x="130" y="2"/>
                  </a:lnTo>
                  <a:lnTo>
                    <a:pt x="130" y="2"/>
                  </a:lnTo>
                  <a:lnTo>
                    <a:pt x="128" y="6"/>
                  </a:lnTo>
                  <a:lnTo>
                    <a:pt x="128" y="8"/>
                  </a:lnTo>
                  <a:lnTo>
                    <a:pt x="128" y="10"/>
                  </a:lnTo>
                  <a:lnTo>
                    <a:pt x="126" y="10"/>
                  </a:lnTo>
                  <a:lnTo>
                    <a:pt x="126" y="10"/>
                  </a:lnTo>
                  <a:lnTo>
                    <a:pt x="126" y="10"/>
                  </a:lnTo>
                  <a:lnTo>
                    <a:pt x="124" y="12"/>
                  </a:lnTo>
                  <a:lnTo>
                    <a:pt x="122" y="12"/>
                  </a:lnTo>
                  <a:lnTo>
                    <a:pt x="122" y="12"/>
                  </a:lnTo>
                  <a:lnTo>
                    <a:pt x="118" y="14"/>
                  </a:lnTo>
                  <a:lnTo>
                    <a:pt x="116" y="14"/>
                  </a:lnTo>
                  <a:lnTo>
                    <a:pt x="116" y="16"/>
                  </a:lnTo>
                  <a:lnTo>
                    <a:pt x="114" y="16"/>
                  </a:lnTo>
                  <a:lnTo>
                    <a:pt x="114" y="18"/>
                  </a:lnTo>
                  <a:lnTo>
                    <a:pt x="112" y="20"/>
                  </a:lnTo>
                  <a:lnTo>
                    <a:pt x="110" y="22"/>
                  </a:lnTo>
                  <a:lnTo>
                    <a:pt x="110" y="26"/>
                  </a:lnTo>
                  <a:lnTo>
                    <a:pt x="108" y="30"/>
                  </a:lnTo>
                  <a:lnTo>
                    <a:pt x="108" y="34"/>
                  </a:lnTo>
                  <a:lnTo>
                    <a:pt x="106" y="40"/>
                  </a:lnTo>
                  <a:lnTo>
                    <a:pt x="106" y="48"/>
                  </a:lnTo>
                  <a:lnTo>
                    <a:pt x="104" y="50"/>
                  </a:lnTo>
                  <a:lnTo>
                    <a:pt x="104" y="54"/>
                  </a:lnTo>
                  <a:lnTo>
                    <a:pt x="104" y="56"/>
                  </a:lnTo>
                  <a:lnTo>
                    <a:pt x="104" y="60"/>
                  </a:lnTo>
                  <a:lnTo>
                    <a:pt x="104" y="62"/>
                  </a:lnTo>
                  <a:lnTo>
                    <a:pt x="104" y="64"/>
                  </a:lnTo>
                  <a:lnTo>
                    <a:pt x="106" y="66"/>
                  </a:lnTo>
                  <a:lnTo>
                    <a:pt x="106" y="70"/>
                  </a:lnTo>
                  <a:lnTo>
                    <a:pt x="106" y="70"/>
                  </a:lnTo>
                  <a:lnTo>
                    <a:pt x="106" y="70"/>
                  </a:lnTo>
                  <a:lnTo>
                    <a:pt x="108" y="72"/>
                  </a:lnTo>
                  <a:lnTo>
                    <a:pt x="110" y="74"/>
                  </a:lnTo>
                  <a:lnTo>
                    <a:pt x="112" y="74"/>
                  </a:lnTo>
                  <a:lnTo>
                    <a:pt x="112" y="76"/>
                  </a:lnTo>
                  <a:lnTo>
                    <a:pt x="114" y="76"/>
                  </a:lnTo>
                  <a:lnTo>
                    <a:pt x="114" y="76"/>
                  </a:lnTo>
                  <a:lnTo>
                    <a:pt x="118" y="76"/>
                  </a:lnTo>
                  <a:lnTo>
                    <a:pt x="118" y="76"/>
                  </a:lnTo>
                  <a:lnTo>
                    <a:pt x="120" y="76"/>
                  </a:lnTo>
                  <a:lnTo>
                    <a:pt x="122" y="76"/>
                  </a:lnTo>
                  <a:lnTo>
                    <a:pt x="122" y="76"/>
                  </a:lnTo>
                  <a:lnTo>
                    <a:pt x="122" y="76"/>
                  </a:lnTo>
                  <a:lnTo>
                    <a:pt x="122" y="78"/>
                  </a:lnTo>
                  <a:lnTo>
                    <a:pt x="124" y="78"/>
                  </a:lnTo>
                  <a:lnTo>
                    <a:pt x="124" y="78"/>
                  </a:lnTo>
                  <a:lnTo>
                    <a:pt x="124" y="80"/>
                  </a:lnTo>
                  <a:lnTo>
                    <a:pt x="124" y="82"/>
                  </a:lnTo>
                  <a:lnTo>
                    <a:pt x="126" y="84"/>
                  </a:lnTo>
                  <a:lnTo>
                    <a:pt x="126" y="88"/>
                  </a:lnTo>
                  <a:lnTo>
                    <a:pt x="126" y="90"/>
                  </a:lnTo>
                  <a:lnTo>
                    <a:pt x="126" y="92"/>
                  </a:lnTo>
                  <a:lnTo>
                    <a:pt x="124" y="94"/>
                  </a:lnTo>
                  <a:lnTo>
                    <a:pt x="124" y="96"/>
                  </a:lnTo>
                  <a:lnTo>
                    <a:pt x="124" y="100"/>
                  </a:lnTo>
                  <a:lnTo>
                    <a:pt x="124" y="100"/>
                  </a:lnTo>
                  <a:lnTo>
                    <a:pt x="122" y="102"/>
                  </a:lnTo>
                  <a:lnTo>
                    <a:pt x="122" y="102"/>
                  </a:lnTo>
                  <a:lnTo>
                    <a:pt x="122" y="104"/>
                  </a:lnTo>
                  <a:lnTo>
                    <a:pt x="120" y="104"/>
                  </a:lnTo>
                  <a:lnTo>
                    <a:pt x="120" y="104"/>
                  </a:lnTo>
                  <a:lnTo>
                    <a:pt x="118" y="104"/>
                  </a:lnTo>
                  <a:lnTo>
                    <a:pt x="116" y="106"/>
                  </a:lnTo>
                  <a:lnTo>
                    <a:pt x="114" y="106"/>
                  </a:lnTo>
                  <a:lnTo>
                    <a:pt x="112" y="106"/>
                  </a:lnTo>
                  <a:lnTo>
                    <a:pt x="108" y="106"/>
                  </a:lnTo>
                  <a:lnTo>
                    <a:pt x="106" y="104"/>
                  </a:lnTo>
                  <a:lnTo>
                    <a:pt x="106" y="104"/>
                  </a:lnTo>
                  <a:lnTo>
                    <a:pt x="104" y="104"/>
                  </a:lnTo>
                  <a:lnTo>
                    <a:pt x="104" y="104"/>
                  </a:lnTo>
                  <a:lnTo>
                    <a:pt x="102" y="102"/>
                  </a:lnTo>
                  <a:lnTo>
                    <a:pt x="102" y="100"/>
                  </a:lnTo>
                  <a:lnTo>
                    <a:pt x="100" y="98"/>
                  </a:lnTo>
                  <a:lnTo>
                    <a:pt x="100" y="96"/>
                  </a:lnTo>
                  <a:lnTo>
                    <a:pt x="98" y="96"/>
                  </a:lnTo>
                  <a:lnTo>
                    <a:pt x="98" y="94"/>
                  </a:lnTo>
                  <a:lnTo>
                    <a:pt x="98" y="88"/>
                  </a:lnTo>
                  <a:lnTo>
                    <a:pt x="98" y="86"/>
                  </a:lnTo>
                  <a:lnTo>
                    <a:pt x="98" y="84"/>
                  </a:lnTo>
                  <a:lnTo>
                    <a:pt x="96" y="82"/>
                  </a:lnTo>
                  <a:lnTo>
                    <a:pt x="96" y="82"/>
                  </a:lnTo>
                  <a:lnTo>
                    <a:pt x="96" y="82"/>
                  </a:lnTo>
                  <a:lnTo>
                    <a:pt x="96" y="80"/>
                  </a:lnTo>
                  <a:lnTo>
                    <a:pt x="96" y="80"/>
                  </a:lnTo>
                  <a:lnTo>
                    <a:pt x="94" y="80"/>
                  </a:lnTo>
                  <a:lnTo>
                    <a:pt x="92" y="78"/>
                  </a:lnTo>
                  <a:lnTo>
                    <a:pt x="90" y="78"/>
                  </a:lnTo>
                  <a:lnTo>
                    <a:pt x="88" y="78"/>
                  </a:lnTo>
                  <a:lnTo>
                    <a:pt x="86" y="76"/>
                  </a:lnTo>
                  <a:lnTo>
                    <a:pt x="86" y="76"/>
                  </a:lnTo>
                  <a:lnTo>
                    <a:pt x="84" y="76"/>
                  </a:lnTo>
                  <a:lnTo>
                    <a:pt x="84" y="74"/>
                  </a:lnTo>
                  <a:lnTo>
                    <a:pt x="84" y="74"/>
                  </a:lnTo>
                  <a:lnTo>
                    <a:pt x="84" y="74"/>
                  </a:lnTo>
                  <a:lnTo>
                    <a:pt x="84" y="72"/>
                  </a:lnTo>
                  <a:lnTo>
                    <a:pt x="84" y="70"/>
                  </a:lnTo>
                  <a:lnTo>
                    <a:pt x="84" y="70"/>
                  </a:lnTo>
                  <a:lnTo>
                    <a:pt x="82" y="70"/>
                  </a:lnTo>
                  <a:lnTo>
                    <a:pt x="82" y="68"/>
                  </a:lnTo>
                  <a:lnTo>
                    <a:pt x="82" y="68"/>
                  </a:lnTo>
                  <a:lnTo>
                    <a:pt x="80" y="68"/>
                  </a:lnTo>
                  <a:lnTo>
                    <a:pt x="78" y="68"/>
                  </a:lnTo>
                  <a:lnTo>
                    <a:pt x="76" y="70"/>
                  </a:lnTo>
                  <a:lnTo>
                    <a:pt x="76" y="70"/>
                  </a:lnTo>
                  <a:lnTo>
                    <a:pt x="74" y="70"/>
                  </a:lnTo>
                  <a:lnTo>
                    <a:pt x="72" y="70"/>
                  </a:lnTo>
                  <a:lnTo>
                    <a:pt x="72" y="72"/>
                  </a:lnTo>
                  <a:lnTo>
                    <a:pt x="70" y="72"/>
                  </a:lnTo>
                  <a:lnTo>
                    <a:pt x="70" y="72"/>
                  </a:lnTo>
                  <a:lnTo>
                    <a:pt x="70" y="74"/>
                  </a:lnTo>
                  <a:lnTo>
                    <a:pt x="70" y="76"/>
                  </a:lnTo>
                  <a:lnTo>
                    <a:pt x="68" y="78"/>
                  </a:lnTo>
                  <a:lnTo>
                    <a:pt x="68" y="78"/>
                  </a:lnTo>
                  <a:lnTo>
                    <a:pt x="68" y="80"/>
                  </a:lnTo>
                  <a:lnTo>
                    <a:pt x="68" y="80"/>
                  </a:lnTo>
                  <a:lnTo>
                    <a:pt x="66" y="80"/>
                  </a:lnTo>
                  <a:lnTo>
                    <a:pt x="66" y="80"/>
                  </a:lnTo>
                  <a:lnTo>
                    <a:pt x="66" y="80"/>
                  </a:lnTo>
                  <a:lnTo>
                    <a:pt x="64" y="80"/>
                  </a:lnTo>
                  <a:lnTo>
                    <a:pt x="64" y="80"/>
                  </a:lnTo>
                  <a:lnTo>
                    <a:pt x="62" y="78"/>
                  </a:lnTo>
                  <a:lnTo>
                    <a:pt x="60" y="78"/>
                  </a:lnTo>
                  <a:lnTo>
                    <a:pt x="60" y="78"/>
                  </a:lnTo>
                  <a:lnTo>
                    <a:pt x="60" y="78"/>
                  </a:lnTo>
                  <a:lnTo>
                    <a:pt x="60" y="76"/>
                  </a:lnTo>
                  <a:lnTo>
                    <a:pt x="58" y="74"/>
                  </a:lnTo>
                  <a:lnTo>
                    <a:pt x="58" y="72"/>
                  </a:lnTo>
                  <a:lnTo>
                    <a:pt x="58" y="70"/>
                  </a:lnTo>
                  <a:lnTo>
                    <a:pt x="58" y="68"/>
                  </a:lnTo>
                  <a:lnTo>
                    <a:pt x="58" y="66"/>
                  </a:lnTo>
                  <a:lnTo>
                    <a:pt x="58" y="64"/>
                  </a:lnTo>
                  <a:lnTo>
                    <a:pt x="56" y="64"/>
                  </a:lnTo>
                  <a:lnTo>
                    <a:pt x="56" y="64"/>
                  </a:lnTo>
                  <a:lnTo>
                    <a:pt x="56" y="62"/>
                  </a:lnTo>
                  <a:lnTo>
                    <a:pt x="54" y="62"/>
                  </a:lnTo>
                  <a:lnTo>
                    <a:pt x="54" y="62"/>
                  </a:lnTo>
                  <a:lnTo>
                    <a:pt x="52" y="62"/>
                  </a:lnTo>
                  <a:lnTo>
                    <a:pt x="50" y="62"/>
                  </a:lnTo>
                  <a:lnTo>
                    <a:pt x="46" y="62"/>
                  </a:lnTo>
                  <a:lnTo>
                    <a:pt x="42" y="60"/>
                  </a:lnTo>
                  <a:lnTo>
                    <a:pt x="40" y="62"/>
                  </a:lnTo>
                  <a:lnTo>
                    <a:pt x="40" y="66"/>
                  </a:lnTo>
                  <a:lnTo>
                    <a:pt x="42" y="70"/>
                  </a:lnTo>
                  <a:lnTo>
                    <a:pt x="42" y="76"/>
                  </a:lnTo>
                  <a:lnTo>
                    <a:pt x="42" y="78"/>
                  </a:lnTo>
                  <a:lnTo>
                    <a:pt x="42" y="82"/>
                  </a:lnTo>
                  <a:lnTo>
                    <a:pt x="42" y="84"/>
                  </a:lnTo>
                  <a:lnTo>
                    <a:pt x="42" y="88"/>
                  </a:lnTo>
                  <a:lnTo>
                    <a:pt x="40" y="90"/>
                  </a:lnTo>
                  <a:lnTo>
                    <a:pt x="40" y="92"/>
                  </a:lnTo>
                  <a:lnTo>
                    <a:pt x="40" y="94"/>
                  </a:lnTo>
                  <a:lnTo>
                    <a:pt x="38" y="94"/>
                  </a:lnTo>
                  <a:lnTo>
                    <a:pt x="38" y="94"/>
                  </a:lnTo>
                  <a:lnTo>
                    <a:pt x="38" y="96"/>
                  </a:lnTo>
                  <a:lnTo>
                    <a:pt x="36" y="96"/>
                  </a:lnTo>
                  <a:lnTo>
                    <a:pt x="36" y="96"/>
                  </a:lnTo>
                  <a:lnTo>
                    <a:pt x="34" y="96"/>
                  </a:lnTo>
                  <a:lnTo>
                    <a:pt x="32" y="96"/>
                  </a:lnTo>
                  <a:lnTo>
                    <a:pt x="30" y="96"/>
                  </a:lnTo>
                  <a:lnTo>
                    <a:pt x="28" y="96"/>
                  </a:lnTo>
                  <a:lnTo>
                    <a:pt x="26" y="96"/>
                  </a:lnTo>
                  <a:lnTo>
                    <a:pt x="24" y="94"/>
                  </a:lnTo>
                  <a:lnTo>
                    <a:pt x="24" y="94"/>
                  </a:lnTo>
                  <a:lnTo>
                    <a:pt x="24" y="94"/>
                  </a:lnTo>
                  <a:lnTo>
                    <a:pt x="24" y="94"/>
                  </a:lnTo>
                  <a:lnTo>
                    <a:pt x="22" y="92"/>
                  </a:lnTo>
                  <a:lnTo>
                    <a:pt x="22" y="90"/>
                  </a:lnTo>
                  <a:lnTo>
                    <a:pt x="22" y="90"/>
                  </a:lnTo>
                  <a:lnTo>
                    <a:pt x="22" y="88"/>
                  </a:lnTo>
                  <a:lnTo>
                    <a:pt x="20" y="86"/>
                  </a:lnTo>
                  <a:lnTo>
                    <a:pt x="20" y="86"/>
                  </a:lnTo>
                  <a:lnTo>
                    <a:pt x="20" y="86"/>
                  </a:lnTo>
                  <a:lnTo>
                    <a:pt x="20" y="86"/>
                  </a:lnTo>
                  <a:lnTo>
                    <a:pt x="18" y="86"/>
                  </a:lnTo>
                  <a:lnTo>
                    <a:pt x="16" y="86"/>
                  </a:lnTo>
                  <a:lnTo>
                    <a:pt x="16" y="86"/>
                  </a:lnTo>
                  <a:lnTo>
                    <a:pt x="14" y="86"/>
                  </a:lnTo>
                  <a:lnTo>
                    <a:pt x="14" y="86"/>
                  </a:lnTo>
                  <a:lnTo>
                    <a:pt x="14" y="88"/>
                  </a:lnTo>
                  <a:lnTo>
                    <a:pt x="14" y="88"/>
                  </a:lnTo>
                  <a:lnTo>
                    <a:pt x="14" y="88"/>
                  </a:lnTo>
                  <a:lnTo>
                    <a:pt x="14" y="90"/>
                  </a:lnTo>
                  <a:lnTo>
                    <a:pt x="14" y="90"/>
                  </a:lnTo>
                  <a:lnTo>
                    <a:pt x="14" y="92"/>
                  </a:lnTo>
                  <a:lnTo>
                    <a:pt x="14" y="94"/>
                  </a:lnTo>
                  <a:lnTo>
                    <a:pt x="14" y="94"/>
                  </a:lnTo>
                  <a:lnTo>
                    <a:pt x="14" y="94"/>
                  </a:lnTo>
                  <a:lnTo>
                    <a:pt x="14" y="94"/>
                  </a:lnTo>
                  <a:lnTo>
                    <a:pt x="14" y="96"/>
                  </a:lnTo>
                  <a:lnTo>
                    <a:pt x="12" y="96"/>
                  </a:lnTo>
                  <a:lnTo>
                    <a:pt x="12" y="96"/>
                  </a:lnTo>
                  <a:lnTo>
                    <a:pt x="10" y="96"/>
                  </a:lnTo>
                  <a:lnTo>
                    <a:pt x="8" y="96"/>
                  </a:lnTo>
                  <a:lnTo>
                    <a:pt x="8" y="96"/>
                  </a:lnTo>
                  <a:lnTo>
                    <a:pt x="6" y="96"/>
                  </a:lnTo>
                  <a:lnTo>
                    <a:pt x="4" y="96"/>
                  </a:lnTo>
                  <a:lnTo>
                    <a:pt x="4" y="96"/>
                  </a:lnTo>
                  <a:lnTo>
                    <a:pt x="4" y="96"/>
                  </a:lnTo>
                  <a:lnTo>
                    <a:pt x="4" y="96"/>
                  </a:lnTo>
                  <a:lnTo>
                    <a:pt x="2" y="98"/>
                  </a:lnTo>
                  <a:lnTo>
                    <a:pt x="2" y="100"/>
                  </a:lnTo>
                  <a:lnTo>
                    <a:pt x="2" y="102"/>
                  </a:lnTo>
                  <a:lnTo>
                    <a:pt x="2" y="104"/>
                  </a:lnTo>
                  <a:lnTo>
                    <a:pt x="0" y="106"/>
                  </a:lnTo>
                  <a:lnTo>
                    <a:pt x="0" y="110"/>
                  </a:lnTo>
                  <a:lnTo>
                    <a:pt x="2" y="112"/>
                  </a:lnTo>
                  <a:lnTo>
                    <a:pt x="2" y="114"/>
                  </a:lnTo>
                  <a:lnTo>
                    <a:pt x="2" y="120"/>
                  </a:lnTo>
                  <a:lnTo>
                    <a:pt x="2" y="126"/>
                  </a:lnTo>
                  <a:lnTo>
                    <a:pt x="4" y="130"/>
                  </a:lnTo>
                  <a:lnTo>
                    <a:pt x="4" y="134"/>
                  </a:lnTo>
                  <a:lnTo>
                    <a:pt x="4" y="142"/>
                  </a:lnTo>
                  <a:lnTo>
                    <a:pt x="4" y="144"/>
                  </a:lnTo>
                  <a:lnTo>
                    <a:pt x="4" y="146"/>
                  </a:lnTo>
                  <a:lnTo>
                    <a:pt x="4" y="148"/>
                  </a:lnTo>
                  <a:lnTo>
                    <a:pt x="6" y="148"/>
                  </a:lnTo>
                  <a:lnTo>
                    <a:pt x="6" y="150"/>
                  </a:lnTo>
                  <a:lnTo>
                    <a:pt x="6" y="150"/>
                  </a:lnTo>
                  <a:lnTo>
                    <a:pt x="8" y="152"/>
                  </a:lnTo>
                  <a:lnTo>
                    <a:pt x="10" y="154"/>
                  </a:lnTo>
                  <a:lnTo>
                    <a:pt x="12" y="156"/>
                  </a:lnTo>
                  <a:lnTo>
                    <a:pt x="14" y="158"/>
                  </a:lnTo>
                  <a:lnTo>
                    <a:pt x="14" y="160"/>
                  </a:lnTo>
                  <a:lnTo>
                    <a:pt x="16" y="162"/>
                  </a:lnTo>
                  <a:lnTo>
                    <a:pt x="16" y="162"/>
                  </a:lnTo>
                  <a:lnTo>
                    <a:pt x="16" y="162"/>
                  </a:lnTo>
                  <a:lnTo>
                    <a:pt x="16" y="164"/>
                  </a:lnTo>
                  <a:lnTo>
                    <a:pt x="16" y="166"/>
                  </a:lnTo>
                  <a:lnTo>
                    <a:pt x="16" y="170"/>
                  </a:lnTo>
                  <a:lnTo>
                    <a:pt x="20" y="170"/>
                  </a:lnTo>
                  <a:lnTo>
                    <a:pt x="22" y="172"/>
                  </a:lnTo>
                  <a:lnTo>
                    <a:pt x="24" y="172"/>
                  </a:lnTo>
                  <a:lnTo>
                    <a:pt x="28" y="172"/>
                  </a:lnTo>
                  <a:lnTo>
                    <a:pt x="34" y="172"/>
                  </a:lnTo>
                  <a:lnTo>
                    <a:pt x="46" y="174"/>
                  </a:lnTo>
                  <a:lnTo>
                    <a:pt x="58" y="174"/>
                  </a:lnTo>
                  <a:lnTo>
                    <a:pt x="62" y="17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9" name="Freeform 438">
              <a:extLst>
                <a:ext uri="{FF2B5EF4-FFF2-40B4-BE49-F238E27FC236}">
                  <a16:creationId xmlns:a16="http://schemas.microsoft.com/office/drawing/2014/main" id="{BC0F709F-41E4-4B64-AD76-8E0A37605320}"/>
                </a:ext>
              </a:extLst>
            </p:cNvPr>
            <p:cNvSpPr>
              <a:spLocks/>
            </p:cNvSpPr>
            <p:nvPr/>
          </p:nvSpPr>
          <p:spPr bwMode="auto">
            <a:xfrm>
              <a:off x="4594842" y="3991487"/>
              <a:ext cx="277132" cy="453804"/>
            </a:xfrm>
            <a:custGeom>
              <a:avLst/>
              <a:gdLst>
                <a:gd name="T0" fmla="*/ 28 w 160"/>
                <a:gd name="T1" fmla="*/ 12 h 262"/>
                <a:gd name="T2" fmla="*/ 40 w 160"/>
                <a:gd name="T3" fmla="*/ 50 h 262"/>
                <a:gd name="T4" fmla="*/ 40 w 160"/>
                <a:gd name="T5" fmla="*/ 88 h 262"/>
                <a:gd name="T6" fmla="*/ 34 w 160"/>
                <a:gd name="T7" fmla="*/ 108 h 262"/>
                <a:gd name="T8" fmla="*/ 26 w 160"/>
                <a:gd name="T9" fmla="*/ 112 h 262"/>
                <a:gd name="T10" fmla="*/ 18 w 160"/>
                <a:gd name="T11" fmla="*/ 120 h 262"/>
                <a:gd name="T12" fmla="*/ 8 w 160"/>
                <a:gd name="T13" fmla="*/ 128 h 262"/>
                <a:gd name="T14" fmla="*/ 0 w 160"/>
                <a:gd name="T15" fmla="*/ 138 h 262"/>
                <a:gd name="T16" fmla="*/ 4 w 160"/>
                <a:gd name="T17" fmla="*/ 150 h 262"/>
                <a:gd name="T18" fmla="*/ 8 w 160"/>
                <a:gd name="T19" fmla="*/ 154 h 262"/>
                <a:gd name="T20" fmla="*/ 14 w 160"/>
                <a:gd name="T21" fmla="*/ 168 h 262"/>
                <a:gd name="T22" fmla="*/ 22 w 160"/>
                <a:gd name="T23" fmla="*/ 186 h 262"/>
                <a:gd name="T24" fmla="*/ 16 w 160"/>
                <a:gd name="T25" fmla="*/ 192 h 262"/>
                <a:gd name="T26" fmla="*/ 16 w 160"/>
                <a:gd name="T27" fmla="*/ 194 h 262"/>
                <a:gd name="T28" fmla="*/ 20 w 160"/>
                <a:gd name="T29" fmla="*/ 202 h 262"/>
                <a:gd name="T30" fmla="*/ 26 w 160"/>
                <a:gd name="T31" fmla="*/ 212 h 262"/>
                <a:gd name="T32" fmla="*/ 26 w 160"/>
                <a:gd name="T33" fmla="*/ 220 h 262"/>
                <a:gd name="T34" fmla="*/ 18 w 160"/>
                <a:gd name="T35" fmla="*/ 224 h 262"/>
                <a:gd name="T36" fmla="*/ 22 w 160"/>
                <a:gd name="T37" fmla="*/ 236 h 262"/>
                <a:gd name="T38" fmla="*/ 32 w 160"/>
                <a:gd name="T39" fmla="*/ 250 h 262"/>
                <a:gd name="T40" fmla="*/ 46 w 160"/>
                <a:gd name="T41" fmla="*/ 258 h 262"/>
                <a:gd name="T42" fmla="*/ 60 w 160"/>
                <a:gd name="T43" fmla="*/ 258 h 262"/>
                <a:gd name="T44" fmla="*/ 62 w 160"/>
                <a:gd name="T45" fmla="*/ 252 h 262"/>
                <a:gd name="T46" fmla="*/ 68 w 160"/>
                <a:gd name="T47" fmla="*/ 248 h 262"/>
                <a:gd name="T48" fmla="*/ 80 w 160"/>
                <a:gd name="T49" fmla="*/ 248 h 262"/>
                <a:gd name="T50" fmla="*/ 86 w 160"/>
                <a:gd name="T51" fmla="*/ 238 h 262"/>
                <a:gd name="T52" fmla="*/ 96 w 160"/>
                <a:gd name="T53" fmla="*/ 236 h 262"/>
                <a:gd name="T54" fmla="*/ 104 w 160"/>
                <a:gd name="T55" fmla="*/ 232 h 262"/>
                <a:gd name="T56" fmla="*/ 108 w 160"/>
                <a:gd name="T57" fmla="*/ 222 h 262"/>
                <a:gd name="T58" fmla="*/ 118 w 160"/>
                <a:gd name="T59" fmla="*/ 216 h 262"/>
                <a:gd name="T60" fmla="*/ 130 w 160"/>
                <a:gd name="T61" fmla="*/ 200 h 262"/>
                <a:gd name="T62" fmla="*/ 138 w 160"/>
                <a:gd name="T63" fmla="*/ 196 h 262"/>
                <a:gd name="T64" fmla="*/ 142 w 160"/>
                <a:gd name="T65" fmla="*/ 188 h 262"/>
                <a:gd name="T66" fmla="*/ 136 w 160"/>
                <a:gd name="T67" fmla="*/ 182 h 262"/>
                <a:gd name="T68" fmla="*/ 134 w 160"/>
                <a:gd name="T69" fmla="*/ 176 h 262"/>
                <a:gd name="T70" fmla="*/ 132 w 160"/>
                <a:gd name="T71" fmla="*/ 168 h 262"/>
                <a:gd name="T72" fmla="*/ 122 w 160"/>
                <a:gd name="T73" fmla="*/ 166 h 262"/>
                <a:gd name="T74" fmla="*/ 122 w 160"/>
                <a:gd name="T75" fmla="*/ 158 h 262"/>
                <a:gd name="T76" fmla="*/ 128 w 160"/>
                <a:gd name="T77" fmla="*/ 156 h 262"/>
                <a:gd name="T78" fmla="*/ 134 w 160"/>
                <a:gd name="T79" fmla="*/ 154 h 262"/>
                <a:gd name="T80" fmla="*/ 138 w 160"/>
                <a:gd name="T81" fmla="*/ 140 h 262"/>
                <a:gd name="T82" fmla="*/ 148 w 160"/>
                <a:gd name="T83" fmla="*/ 124 h 262"/>
                <a:gd name="T84" fmla="*/ 156 w 160"/>
                <a:gd name="T85" fmla="*/ 120 h 262"/>
                <a:gd name="T86" fmla="*/ 160 w 160"/>
                <a:gd name="T87" fmla="*/ 106 h 262"/>
                <a:gd name="T88" fmla="*/ 154 w 160"/>
                <a:gd name="T89" fmla="*/ 78 h 262"/>
                <a:gd name="T90" fmla="*/ 138 w 160"/>
                <a:gd name="T91" fmla="*/ 70 h 262"/>
                <a:gd name="T92" fmla="*/ 114 w 160"/>
                <a:gd name="T93" fmla="*/ 52 h 262"/>
                <a:gd name="T94" fmla="*/ 92 w 160"/>
                <a:gd name="T95" fmla="*/ 42 h 262"/>
                <a:gd name="T96" fmla="*/ 86 w 160"/>
                <a:gd name="T97" fmla="*/ 30 h 262"/>
                <a:gd name="T98" fmla="*/ 78 w 160"/>
                <a:gd name="T99" fmla="*/ 26 h 262"/>
                <a:gd name="T100" fmla="*/ 60 w 160"/>
                <a:gd name="T101" fmla="*/ 26 h 262"/>
                <a:gd name="T102" fmla="*/ 54 w 160"/>
                <a:gd name="T103" fmla="*/ 16 h 262"/>
                <a:gd name="T104" fmla="*/ 50 w 160"/>
                <a:gd name="T105" fmla="*/ 10 h 262"/>
                <a:gd name="T106" fmla="*/ 40 w 160"/>
                <a:gd name="T107" fmla="*/ 8 h 262"/>
                <a:gd name="T108" fmla="*/ 38 w 160"/>
                <a:gd name="T109" fmla="*/ 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262">
                  <a:moveTo>
                    <a:pt x="26" y="0"/>
                  </a:moveTo>
                  <a:lnTo>
                    <a:pt x="26" y="0"/>
                  </a:lnTo>
                  <a:lnTo>
                    <a:pt x="26" y="4"/>
                  </a:lnTo>
                  <a:lnTo>
                    <a:pt x="26" y="6"/>
                  </a:lnTo>
                  <a:lnTo>
                    <a:pt x="28" y="8"/>
                  </a:lnTo>
                  <a:lnTo>
                    <a:pt x="28" y="10"/>
                  </a:lnTo>
                  <a:lnTo>
                    <a:pt x="28" y="12"/>
                  </a:lnTo>
                  <a:lnTo>
                    <a:pt x="30" y="16"/>
                  </a:lnTo>
                  <a:lnTo>
                    <a:pt x="34" y="22"/>
                  </a:lnTo>
                  <a:lnTo>
                    <a:pt x="36" y="28"/>
                  </a:lnTo>
                  <a:lnTo>
                    <a:pt x="36" y="30"/>
                  </a:lnTo>
                  <a:lnTo>
                    <a:pt x="36" y="32"/>
                  </a:lnTo>
                  <a:lnTo>
                    <a:pt x="38" y="40"/>
                  </a:lnTo>
                  <a:lnTo>
                    <a:pt x="40" y="50"/>
                  </a:lnTo>
                  <a:lnTo>
                    <a:pt x="40" y="54"/>
                  </a:lnTo>
                  <a:lnTo>
                    <a:pt x="40" y="60"/>
                  </a:lnTo>
                  <a:lnTo>
                    <a:pt x="40" y="66"/>
                  </a:lnTo>
                  <a:lnTo>
                    <a:pt x="40" y="72"/>
                  </a:lnTo>
                  <a:lnTo>
                    <a:pt x="40" y="78"/>
                  </a:lnTo>
                  <a:lnTo>
                    <a:pt x="40" y="84"/>
                  </a:lnTo>
                  <a:lnTo>
                    <a:pt x="40" y="88"/>
                  </a:lnTo>
                  <a:lnTo>
                    <a:pt x="38" y="94"/>
                  </a:lnTo>
                  <a:lnTo>
                    <a:pt x="38" y="96"/>
                  </a:lnTo>
                  <a:lnTo>
                    <a:pt x="38" y="98"/>
                  </a:lnTo>
                  <a:lnTo>
                    <a:pt x="36" y="102"/>
                  </a:lnTo>
                  <a:lnTo>
                    <a:pt x="36" y="104"/>
                  </a:lnTo>
                  <a:lnTo>
                    <a:pt x="34" y="106"/>
                  </a:lnTo>
                  <a:lnTo>
                    <a:pt x="34" y="108"/>
                  </a:lnTo>
                  <a:lnTo>
                    <a:pt x="32" y="108"/>
                  </a:lnTo>
                  <a:lnTo>
                    <a:pt x="32" y="110"/>
                  </a:lnTo>
                  <a:lnTo>
                    <a:pt x="32" y="110"/>
                  </a:lnTo>
                  <a:lnTo>
                    <a:pt x="32" y="110"/>
                  </a:lnTo>
                  <a:lnTo>
                    <a:pt x="30" y="112"/>
                  </a:lnTo>
                  <a:lnTo>
                    <a:pt x="28" y="112"/>
                  </a:lnTo>
                  <a:lnTo>
                    <a:pt x="26" y="112"/>
                  </a:lnTo>
                  <a:lnTo>
                    <a:pt x="24" y="112"/>
                  </a:lnTo>
                  <a:lnTo>
                    <a:pt x="22" y="112"/>
                  </a:lnTo>
                  <a:lnTo>
                    <a:pt x="22" y="112"/>
                  </a:lnTo>
                  <a:lnTo>
                    <a:pt x="20" y="114"/>
                  </a:lnTo>
                  <a:lnTo>
                    <a:pt x="20" y="114"/>
                  </a:lnTo>
                  <a:lnTo>
                    <a:pt x="18" y="118"/>
                  </a:lnTo>
                  <a:lnTo>
                    <a:pt x="18" y="120"/>
                  </a:lnTo>
                  <a:lnTo>
                    <a:pt x="16" y="122"/>
                  </a:lnTo>
                  <a:lnTo>
                    <a:pt x="16" y="122"/>
                  </a:lnTo>
                  <a:lnTo>
                    <a:pt x="14" y="122"/>
                  </a:lnTo>
                  <a:lnTo>
                    <a:pt x="14" y="124"/>
                  </a:lnTo>
                  <a:lnTo>
                    <a:pt x="12" y="126"/>
                  </a:lnTo>
                  <a:lnTo>
                    <a:pt x="8" y="126"/>
                  </a:lnTo>
                  <a:lnTo>
                    <a:pt x="8" y="128"/>
                  </a:lnTo>
                  <a:lnTo>
                    <a:pt x="6" y="128"/>
                  </a:lnTo>
                  <a:lnTo>
                    <a:pt x="4" y="130"/>
                  </a:lnTo>
                  <a:lnTo>
                    <a:pt x="4" y="132"/>
                  </a:lnTo>
                  <a:lnTo>
                    <a:pt x="2" y="134"/>
                  </a:lnTo>
                  <a:lnTo>
                    <a:pt x="2" y="136"/>
                  </a:lnTo>
                  <a:lnTo>
                    <a:pt x="0" y="136"/>
                  </a:lnTo>
                  <a:lnTo>
                    <a:pt x="0" y="138"/>
                  </a:lnTo>
                  <a:lnTo>
                    <a:pt x="0" y="140"/>
                  </a:lnTo>
                  <a:lnTo>
                    <a:pt x="0" y="142"/>
                  </a:lnTo>
                  <a:lnTo>
                    <a:pt x="0" y="144"/>
                  </a:lnTo>
                  <a:lnTo>
                    <a:pt x="0" y="148"/>
                  </a:lnTo>
                  <a:lnTo>
                    <a:pt x="2" y="150"/>
                  </a:lnTo>
                  <a:lnTo>
                    <a:pt x="2" y="150"/>
                  </a:lnTo>
                  <a:lnTo>
                    <a:pt x="4" y="150"/>
                  </a:lnTo>
                  <a:lnTo>
                    <a:pt x="6" y="150"/>
                  </a:lnTo>
                  <a:lnTo>
                    <a:pt x="6" y="150"/>
                  </a:lnTo>
                  <a:lnTo>
                    <a:pt x="8" y="150"/>
                  </a:lnTo>
                  <a:lnTo>
                    <a:pt x="8" y="150"/>
                  </a:lnTo>
                  <a:lnTo>
                    <a:pt x="8" y="150"/>
                  </a:lnTo>
                  <a:lnTo>
                    <a:pt x="8" y="152"/>
                  </a:lnTo>
                  <a:lnTo>
                    <a:pt x="8" y="154"/>
                  </a:lnTo>
                  <a:lnTo>
                    <a:pt x="10" y="154"/>
                  </a:lnTo>
                  <a:lnTo>
                    <a:pt x="10" y="158"/>
                  </a:lnTo>
                  <a:lnTo>
                    <a:pt x="10" y="158"/>
                  </a:lnTo>
                  <a:lnTo>
                    <a:pt x="10" y="160"/>
                  </a:lnTo>
                  <a:lnTo>
                    <a:pt x="10" y="162"/>
                  </a:lnTo>
                  <a:lnTo>
                    <a:pt x="12" y="164"/>
                  </a:lnTo>
                  <a:lnTo>
                    <a:pt x="14" y="168"/>
                  </a:lnTo>
                  <a:lnTo>
                    <a:pt x="18" y="174"/>
                  </a:lnTo>
                  <a:lnTo>
                    <a:pt x="20" y="178"/>
                  </a:lnTo>
                  <a:lnTo>
                    <a:pt x="20" y="180"/>
                  </a:lnTo>
                  <a:lnTo>
                    <a:pt x="22" y="182"/>
                  </a:lnTo>
                  <a:lnTo>
                    <a:pt x="22" y="184"/>
                  </a:lnTo>
                  <a:lnTo>
                    <a:pt x="22" y="186"/>
                  </a:lnTo>
                  <a:lnTo>
                    <a:pt x="22" y="186"/>
                  </a:lnTo>
                  <a:lnTo>
                    <a:pt x="22" y="188"/>
                  </a:lnTo>
                  <a:lnTo>
                    <a:pt x="22" y="190"/>
                  </a:lnTo>
                  <a:lnTo>
                    <a:pt x="22" y="190"/>
                  </a:lnTo>
                  <a:lnTo>
                    <a:pt x="20" y="190"/>
                  </a:lnTo>
                  <a:lnTo>
                    <a:pt x="20" y="190"/>
                  </a:lnTo>
                  <a:lnTo>
                    <a:pt x="18" y="192"/>
                  </a:lnTo>
                  <a:lnTo>
                    <a:pt x="16" y="192"/>
                  </a:lnTo>
                  <a:lnTo>
                    <a:pt x="16" y="192"/>
                  </a:lnTo>
                  <a:lnTo>
                    <a:pt x="16" y="192"/>
                  </a:lnTo>
                  <a:lnTo>
                    <a:pt x="14" y="192"/>
                  </a:lnTo>
                  <a:lnTo>
                    <a:pt x="14" y="192"/>
                  </a:lnTo>
                  <a:lnTo>
                    <a:pt x="14" y="194"/>
                  </a:lnTo>
                  <a:lnTo>
                    <a:pt x="16" y="194"/>
                  </a:lnTo>
                  <a:lnTo>
                    <a:pt x="16" y="194"/>
                  </a:lnTo>
                  <a:lnTo>
                    <a:pt x="18" y="194"/>
                  </a:lnTo>
                  <a:lnTo>
                    <a:pt x="18" y="196"/>
                  </a:lnTo>
                  <a:lnTo>
                    <a:pt x="18" y="196"/>
                  </a:lnTo>
                  <a:lnTo>
                    <a:pt x="18" y="196"/>
                  </a:lnTo>
                  <a:lnTo>
                    <a:pt x="20" y="198"/>
                  </a:lnTo>
                  <a:lnTo>
                    <a:pt x="20" y="200"/>
                  </a:lnTo>
                  <a:lnTo>
                    <a:pt x="20" y="202"/>
                  </a:lnTo>
                  <a:lnTo>
                    <a:pt x="20" y="204"/>
                  </a:lnTo>
                  <a:lnTo>
                    <a:pt x="22" y="204"/>
                  </a:lnTo>
                  <a:lnTo>
                    <a:pt x="22" y="206"/>
                  </a:lnTo>
                  <a:lnTo>
                    <a:pt x="22" y="206"/>
                  </a:lnTo>
                  <a:lnTo>
                    <a:pt x="24" y="208"/>
                  </a:lnTo>
                  <a:lnTo>
                    <a:pt x="26" y="210"/>
                  </a:lnTo>
                  <a:lnTo>
                    <a:pt x="26" y="212"/>
                  </a:lnTo>
                  <a:lnTo>
                    <a:pt x="26" y="212"/>
                  </a:lnTo>
                  <a:lnTo>
                    <a:pt x="26" y="212"/>
                  </a:lnTo>
                  <a:lnTo>
                    <a:pt x="26" y="214"/>
                  </a:lnTo>
                  <a:lnTo>
                    <a:pt x="26" y="216"/>
                  </a:lnTo>
                  <a:lnTo>
                    <a:pt x="26" y="218"/>
                  </a:lnTo>
                  <a:lnTo>
                    <a:pt x="26" y="218"/>
                  </a:lnTo>
                  <a:lnTo>
                    <a:pt x="26" y="220"/>
                  </a:lnTo>
                  <a:lnTo>
                    <a:pt x="24" y="220"/>
                  </a:lnTo>
                  <a:lnTo>
                    <a:pt x="24" y="220"/>
                  </a:lnTo>
                  <a:lnTo>
                    <a:pt x="22" y="222"/>
                  </a:lnTo>
                  <a:lnTo>
                    <a:pt x="20" y="222"/>
                  </a:lnTo>
                  <a:lnTo>
                    <a:pt x="18" y="224"/>
                  </a:lnTo>
                  <a:lnTo>
                    <a:pt x="18" y="224"/>
                  </a:lnTo>
                  <a:lnTo>
                    <a:pt x="18" y="224"/>
                  </a:lnTo>
                  <a:lnTo>
                    <a:pt x="18" y="226"/>
                  </a:lnTo>
                  <a:lnTo>
                    <a:pt x="18" y="226"/>
                  </a:lnTo>
                  <a:lnTo>
                    <a:pt x="18" y="228"/>
                  </a:lnTo>
                  <a:lnTo>
                    <a:pt x="18" y="230"/>
                  </a:lnTo>
                  <a:lnTo>
                    <a:pt x="20" y="232"/>
                  </a:lnTo>
                  <a:lnTo>
                    <a:pt x="20" y="234"/>
                  </a:lnTo>
                  <a:lnTo>
                    <a:pt x="22" y="236"/>
                  </a:lnTo>
                  <a:lnTo>
                    <a:pt x="22" y="238"/>
                  </a:lnTo>
                  <a:lnTo>
                    <a:pt x="24" y="240"/>
                  </a:lnTo>
                  <a:lnTo>
                    <a:pt x="28" y="242"/>
                  </a:lnTo>
                  <a:lnTo>
                    <a:pt x="30" y="244"/>
                  </a:lnTo>
                  <a:lnTo>
                    <a:pt x="30" y="246"/>
                  </a:lnTo>
                  <a:lnTo>
                    <a:pt x="32" y="248"/>
                  </a:lnTo>
                  <a:lnTo>
                    <a:pt x="32" y="250"/>
                  </a:lnTo>
                  <a:lnTo>
                    <a:pt x="34" y="256"/>
                  </a:lnTo>
                  <a:lnTo>
                    <a:pt x="38" y="262"/>
                  </a:lnTo>
                  <a:lnTo>
                    <a:pt x="40" y="260"/>
                  </a:lnTo>
                  <a:lnTo>
                    <a:pt x="44" y="258"/>
                  </a:lnTo>
                  <a:lnTo>
                    <a:pt x="44" y="258"/>
                  </a:lnTo>
                  <a:lnTo>
                    <a:pt x="46" y="258"/>
                  </a:lnTo>
                  <a:lnTo>
                    <a:pt x="46" y="258"/>
                  </a:lnTo>
                  <a:lnTo>
                    <a:pt x="48" y="258"/>
                  </a:lnTo>
                  <a:lnTo>
                    <a:pt x="50" y="258"/>
                  </a:lnTo>
                  <a:lnTo>
                    <a:pt x="54" y="258"/>
                  </a:lnTo>
                  <a:lnTo>
                    <a:pt x="54" y="258"/>
                  </a:lnTo>
                  <a:lnTo>
                    <a:pt x="56" y="258"/>
                  </a:lnTo>
                  <a:lnTo>
                    <a:pt x="58" y="258"/>
                  </a:lnTo>
                  <a:lnTo>
                    <a:pt x="60" y="258"/>
                  </a:lnTo>
                  <a:lnTo>
                    <a:pt x="60" y="258"/>
                  </a:lnTo>
                  <a:lnTo>
                    <a:pt x="60" y="258"/>
                  </a:lnTo>
                  <a:lnTo>
                    <a:pt x="60" y="258"/>
                  </a:lnTo>
                  <a:lnTo>
                    <a:pt x="62" y="256"/>
                  </a:lnTo>
                  <a:lnTo>
                    <a:pt x="62" y="256"/>
                  </a:lnTo>
                  <a:lnTo>
                    <a:pt x="62" y="254"/>
                  </a:lnTo>
                  <a:lnTo>
                    <a:pt x="62" y="252"/>
                  </a:lnTo>
                  <a:lnTo>
                    <a:pt x="64" y="250"/>
                  </a:lnTo>
                  <a:lnTo>
                    <a:pt x="64" y="250"/>
                  </a:lnTo>
                  <a:lnTo>
                    <a:pt x="64" y="250"/>
                  </a:lnTo>
                  <a:lnTo>
                    <a:pt x="64" y="250"/>
                  </a:lnTo>
                  <a:lnTo>
                    <a:pt x="64" y="248"/>
                  </a:lnTo>
                  <a:lnTo>
                    <a:pt x="66" y="248"/>
                  </a:lnTo>
                  <a:lnTo>
                    <a:pt x="68" y="248"/>
                  </a:lnTo>
                  <a:lnTo>
                    <a:pt x="70" y="248"/>
                  </a:lnTo>
                  <a:lnTo>
                    <a:pt x="72" y="248"/>
                  </a:lnTo>
                  <a:lnTo>
                    <a:pt x="74" y="248"/>
                  </a:lnTo>
                  <a:lnTo>
                    <a:pt x="76" y="248"/>
                  </a:lnTo>
                  <a:lnTo>
                    <a:pt x="78" y="248"/>
                  </a:lnTo>
                  <a:lnTo>
                    <a:pt x="80" y="248"/>
                  </a:lnTo>
                  <a:lnTo>
                    <a:pt x="80" y="248"/>
                  </a:lnTo>
                  <a:lnTo>
                    <a:pt x="80" y="248"/>
                  </a:lnTo>
                  <a:lnTo>
                    <a:pt x="82" y="246"/>
                  </a:lnTo>
                  <a:lnTo>
                    <a:pt x="82" y="246"/>
                  </a:lnTo>
                  <a:lnTo>
                    <a:pt x="84" y="244"/>
                  </a:lnTo>
                  <a:lnTo>
                    <a:pt x="84" y="242"/>
                  </a:lnTo>
                  <a:lnTo>
                    <a:pt x="86" y="240"/>
                  </a:lnTo>
                  <a:lnTo>
                    <a:pt x="86" y="238"/>
                  </a:lnTo>
                  <a:lnTo>
                    <a:pt x="88" y="238"/>
                  </a:lnTo>
                  <a:lnTo>
                    <a:pt x="88" y="238"/>
                  </a:lnTo>
                  <a:lnTo>
                    <a:pt x="90" y="238"/>
                  </a:lnTo>
                  <a:lnTo>
                    <a:pt x="90" y="236"/>
                  </a:lnTo>
                  <a:lnTo>
                    <a:pt x="92" y="236"/>
                  </a:lnTo>
                  <a:lnTo>
                    <a:pt x="94" y="236"/>
                  </a:lnTo>
                  <a:lnTo>
                    <a:pt x="96" y="236"/>
                  </a:lnTo>
                  <a:lnTo>
                    <a:pt x="98" y="236"/>
                  </a:lnTo>
                  <a:lnTo>
                    <a:pt x="100" y="236"/>
                  </a:lnTo>
                  <a:lnTo>
                    <a:pt x="100" y="234"/>
                  </a:lnTo>
                  <a:lnTo>
                    <a:pt x="102" y="234"/>
                  </a:lnTo>
                  <a:lnTo>
                    <a:pt x="102" y="234"/>
                  </a:lnTo>
                  <a:lnTo>
                    <a:pt x="102" y="234"/>
                  </a:lnTo>
                  <a:lnTo>
                    <a:pt x="104" y="232"/>
                  </a:lnTo>
                  <a:lnTo>
                    <a:pt x="104" y="230"/>
                  </a:lnTo>
                  <a:lnTo>
                    <a:pt x="104" y="230"/>
                  </a:lnTo>
                  <a:lnTo>
                    <a:pt x="106" y="226"/>
                  </a:lnTo>
                  <a:lnTo>
                    <a:pt x="106" y="224"/>
                  </a:lnTo>
                  <a:lnTo>
                    <a:pt x="106" y="224"/>
                  </a:lnTo>
                  <a:lnTo>
                    <a:pt x="108" y="224"/>
                  </a:lnTo>
                  <a:lnTo>
                    <a:pt x="108" y="222"/>
                  </a:lnTo>
                  <a:lnTo>
                    <a:pt x="112" y="222"/>
                  </a:lnTo>
                  <a:lnTo>
                    <a:pt x="114" y="220"/>
                  </a:lnTo>
                  <a:lnTo>
                    <a:pt x="116" y="220"/>
                  </a:lnTo>
                  <a:lnTo>
                    <a:pt x="116" y="220"/>
                  </a:lnTo>
                  <a:lnTo>
                    <a:pt x="118" y="218"/>
                  </a:lnTo>
                  <a:lnTo>
                    <a:pt x="118" y="218"/>
                  </a:lnTo>
                  <a:lnTo>
                    <a:pt x="118" y="216"/>
                  </a:lnTo>
                  <a:lnTo>
                    <a:pt x="120" y="214"/>
                  </a:lnTo>
                  <a:lnTo>
                    <a:pt x="120" y="210"/>
                  </a:lnTo>
                  <a:lnTo>
                    <a:pt x="122" y="208"/>
                  </a:lnTo>
                  <a:lnTo>
                    <a:pt x="122" y="208"/>
                  </a:lnTo>
                  <a:lnTo>
                    <a:pt x="124" y="206"/>
                  </a:lnTo>
                  <a:lnTo>
                    <a:pt x="126" y="202"/>
                  </a:lnTo>
                  <a:lnTo>
                    <a:pt x="130" y="200"/>
                  </a:lnTo>
                  <a:lnTo>
                    <a:pt x="130" y="200"/>
                  </a:lnTo>
                  <a:lnTo>
                    <a:pt x="132" y="198"/>
                  </a:lnTo>
                  <a:lnTo>
                    <a:pt x="132" y="198"/>
                  </a:lnTo>
                  <a:lnTo>
                    <a:pt x="134" y="198"/>
                  </a:lnTo>
                  <a:lnTo>
                    <a:pt x="136" y="198"/>
                  </a:lnTo>
                  <a:lnTo>
                    <a:pt x="138" y="196"/>
                  </a:lnTo>
                  <a:lnTo>
                    <a:pt x="138" y="196"/>
                  </a:lnTo>
                  <a:lnTo>
                    <a:pt x="138" y="196"/>
                  </a:lnTo>
                  <a:lnTo>
                    <a:pt x="140" y="196"/>
                  </a:lnTo>
                  <a:lnTo>
                    <a:pt x="140" y="194"/>
                  </a:lnTo>
                  <a:lnTo>
                    <a:pt x="142" y="192"/>
                  </a:lnTo>
                  <a:lnTo>
                    <a:pt x="142" y="192"/>
                  </a:lnTo>
                  <a:lnTo>
                    <a:pt x="142" y="190"/>
                  </a:lnTo>
                  <a:lnTo>
                    <a:pt x="142" y="188"/>
                  </a:lnTo>
                  <a:lnTo>
                    <a:pt x="142" y="186"/>
                  </a:lnTo>
                  <a:lnTo>
                    <a:pt x="142" y="184"/>
                  </a:lnTo>
                  <a:lnTo>
                    <a:pt x="142" y="184"/>
                  </a:lnTo>
                  <a:lnTo>
                    <a:pt x="140" y="184"/>
                  </a:lnTo>
                  <a:lnTo>
                    <a:pt x="140" y="184"/>
                  </a:lnTo>
                  <a:lnTo>
                    <a:pt x="138" y="182"/>
                  </a:lnTo>
                  <a:lnTo>
                    <a:pt x="136" y="182"/>
                  </a:lnTo>
                  <a:lnTo>
                    <a:pt x="136" y="182"/>
                  </a:lnTo>
                  <a:lnTo>
                    <a:pt x="136" y="180"/>
                  </a:lnTo>
                  <a:lnTo>
                    <a:pt x="134" y="180"/>
                  </a:lnTo>
                  <a:lnTo>
                    <a:pt x="134" y="180"/>
                  </a:lnTo>
                  <a:lnTo>
                    <a:pt x="134" y="178"/>
                  </a:lnTo>
                  <a:lnTo>
                    <a:pt x="134" y="178"/>
                  </a:lnTo>
                  <a:lnTo>
                    <a:pt x="134" y="176"/>
                  </a:lnTo>
                  <a:lnTo>
                    <a:pt x="134" y="174"/>
                  </a:lnTo>
                  <a:lnTo>
                    <a:pt x="134" y="172"/>
                  </a:lnTo>
                  <a:lnTo>
                    <a:pt x="134" y="170"/>
                  </a:lnTo>
                  <a:lnTo>
                    <a:pt x="132" y="170"/>
                  </a:lnTo>
                  <a:lnTo>
                    <a:pt x="132" y="170"/>
                  </a:lnTo>
                  <a:lnTo>
                    <a:pt x="132" y="170"/>
                  </a:lnTo>
                  <a:lnTo>
                    <a:pt x="132" y="168"/>
                  </a:lnTo>
                  <a:lnTo>
                    <a:pt x="130" y="168"/>
                  </a:lnTo>
                  <a:lnTo>
                    <a:pt x="128" y="168"/>
                  </a:lnTo>
                  <a:lnTo>
                    <a:pt x="126" y="168"/>
                  </a:lnTo>
                  <a:lnTo>
                    <a:pt x="126" y="168"/>
                  </a:lnTo>
                  <a:lnTo>
                    <a:pt x="124" y="166"/>
                  </a:lnTo>
                  <a:lnTo>
                    <a:pt x="122" y="166"/>
                  </a:lnTo>
                  <a:lnTo>
                    <a:pt x="122" y="166"/>
                  </a:lnTo>
                  <a:lnTo>
                    <a:pt x="122" y="166"/>
                  </a:lnTo>
                  <a:lnTo>
                    <a:pt x="122" y="164"/>
                  </a:lnTo>
                  <a:lnTo>
                    <a:pt x="122" y="164"/>
                  </a:lnTo>
                  <a:lnTo>
                    <a:pt x="122" y="162"/>
                  </a:lnTo>
                  <a:lnTo>
                    <a:pt x="122" y="160"/>
                  </a:lnTo>
                  <a:lnTo>
                    <a:pt x="122" y="158"/>
                  </a:lnTo>
                  <a:lnTo>
                    <a:pt x="122" y="158"/>
                  </a:lnTo>
                  <a:lnTo>
                    <a:pt x="122" y="156"/>
                  </a:lnTo>
                  <a:lnTo>
                    <a:pt x="124" y="156"/>
                  </a:lnTo>
                  <a:lnTo>
                    <a:pt x="124" y="156"/>
                  </a:lnTo>
                  <a:lnTo>
                    <a:pt x="124" y="156"/>
                  </a:lnTo>
                  <a:lnTo>
                    <a:pt x="126" y="156"/>
                  </a:lnTo>
                  <a:lnTo>
                    <a:pt x="126" y="156"/>
                  </a:lnTo>
                  <a:lnTo>
                    <a:pt x="128" y="156"/>
                  </a:lnTo>
                  <a:lnTo>
                    <a:pt x="130" y="156"/>
                  </a:lnTo>
                  <a:lnTo>
                    <a:pt x="132" y="156"/>
                  </a:lnTo>
                  <a:lnTo>
                    <a:pt x="132" y="156"/>
                  </a:lnTo>
                  <a:lnTo>
                    <a:pt x="134" y="156"/>
                  </a:lnTo>
                  <a:lnTo>
                    <a:pt x="134" y="156"/>
                  </a:lnTo>
                  <a:lnTo>
                    <a:pt x="134" y="154"/>
                  </a:lnTo>
                  <a:lnTo>
                    <a:pt x="134" y="154"/>
                  </a:lnTo>
                  <a:lnTo>
                    <a:pt x="136" y="154"/>
                  </a:lnTo>
                  <a:lnTo>
                    <a:pt x="136" y="152"/>
                  </a:lnTo>
                  <a:lnTo>
                    <a:pt x="136" y="150"/>
                  </a:lnTo>
                  <a:lnTo>
                    <a:pt x="136" y="148"/>
                  </a:lnTo>
                  <a:lnTo>
                    <a:pt x="136" y="144"/>
                  </a:lnTo>
                  <a:lnTo>
                    <a:pt x="138" y="142"/>
                  </a:lnTo>
                  <a:lnTo>
                    <a:pt x="138" y="140"/>
                  </a:lnTo>
                  <a:lnTo>
                    <a:pt x="140" y="136"/>
                  </a:lnTo>
                  <a:lnTo>
                    <a:pt x="142" y="132"/>
                  </a:lnTo>
                  <a:lnTo>
                    <a:pt x="142" y="130"/>
                  </a:lnTo>
                  <a:lnTo>
                    <a:pt x="144" y="126"/>
                  </a:lnTo>
                  <a:lnTo>
                    <a:pt x="146" y="126"/>
                  </a:lnTo>
                  <a:lnTo>
                    <a:pt x="146" y="124"/>
                  </a:lnTo>
                  <a:lnTo>
                    <a:pt x="148" y="124"/>
                  </a:lnTo>
                  <a:lnTo>
                    <a:pt x="148" y="122"/>
                  </a:lnTo>
                  <a:lnTo>
                    <a:pt x="152" y="122"/>
                  </a:lnTo>
                  <a:lnTo>
                    <a:pt x="152" y="122"/>
                  </a:lnTo>
                  <a:lnTo>
                    <a:pt x="154" y="122"/>
                  </a:lnTo>
                  <a:lnTo>
                    <a:pt x="156" y="122"/>
                  </a:lnTo>
                  <a:lnTo>
                    <a:pt x="156" y="120"/>
                  </a:lnTo>
                  <a:lnTo>
                    <a:pt x="156" y="120"/>
                  </a:lnTo>
                  <a:lnTo>
                    <a:pt x="156" y="120"/>
                  </a:lnTo>
                  <a:lnTo>
                    <a:pt x="158" y="118"/>
                  </a:lnTo>
                  <a:lnTo>
                    <a:pt x="158" y="118"/>
                  </a:lnTo>
                  <a:lnTo>
                    <a:pt x="158" y="116"/>
                  </a:lnTo>
                  <a:lnTo>
                    <a:pt x="158" y="114"/>
                  </a:lnTo>
                  <a:lnTo>
                    <a:pt x="158" y="110"/>
                  </a:lnTo>
                  <a:lnTo>
                    <a:pt x="160" y="106"/>
                  </a:lnTo>
                  <a:lnTo>
                    <a:pt x="160" y="104"/>
                  </a:lnTo>
                  <a:lnTo>
                    <a:pt x="160" y="100"/>
                  </a:lnTo>
                  <a:lnTo>
                    <a:pt x="160" y="96"/>
                  </a:lnTo>
                  <a:lnTo>
                    <a:pt x="158" y="90"/>
                  </a:lnTo>
                  <a:lnTo>
                    <a:pt x="158" y="84"/>
                  </a:lnTo>
                  <a:lnTo>
                    <a:pt x="158" y="78"/>
                  </a:lnTo>
                  <a:lnTo>
                    <a:pt x="154" y="78"/>
                  </a:lnTo>
                  <a:lnTo>
                    <a:pt x="150" y="78"/>
                  </a:lnTo>
                  <a:lnTo>
                    <a:pt x="148" y="76"/>
                  </a:lnTo>
                  <a:lnTo>
                    <a:pt x="148" y="76"/>
                  </a:lnTo>
                  <a:lnTo>
                    <a:pt x="146" y="76"/>
                  </a:lnTo>
                  <a:lnTo>
                    <a:pt x="144" y="76"/>
                  </a:lnTo>
                  <a:lnTo>
                    <a:pt x="142" y="74"/>
                  </a:lnTo>
                  <a:lnTo>
                    <a:pt x="138" y="70"/>
                  </a:lnTo>
                  <a:lnTo>
                    <a:pt x="134" y="68"/>
                  </a:lnTo>
                  <a:lnTo>
                    <a:pt x="128" y="62"/>
                  </a:lnTo>
                  <a:lnTo>
                    <a:pt x="126" y="60"/>
                  </a:lnTo>
                  <a:lnTo>
                    <a:pt x="124" y="58"/>
                  </a:lnTo>
                  <a:lnTo>
                    <a:pt x="120" y="56"/>
                  </a:lnTo>
                  <a:lnTo>
                    <a:pt x="118" y="54"/>
                  </a:lnTo>
                  <a:lnTo>
                    <a:pt x="114" y="52"/>
                  </a:lnTo>
                  <a:lnTo>
                    <a:pt x="110" y="50"/>
                  </a:lnTo>
                  <a:lnTo>
                    <a:pt x="108" y="50"/>
                  </a:lnTo>
                  <a:lnTo>
                    <a:pt x="102" y="48"/>
                  </a:lnTo>
                  <a:lnTo>
                    <a:pt x="98" y="46"/>
                  </a:lnTo>
                  <a:lnTo>
                    <a:pt x="96" y="44"/>
                  </a:lnTo>
                  <a:lnTo>
                    <a:pt x="92" y="42"/>
                  </a:lnTo>
                  <a:lnTo>
                    <a:pt x="92" y="42"/>
                  </a:lnTo>
                  <a:lnTo>
                    <a:pt x="90" y="42"/>
                  </a:lnTo>
                  <a:lnTo>
                    <a:pt x="90" y="40"/>
                  </a:lnTo>
                  <a:lnTo>
                    <a:pt x="90" y="40"/>
                  </a:lnTo>
                  <a:lnTo>
                    <a:pt x="88" y="38"/>
                  </a:lnTo>
                  <a:lnTo>
                    <a:pt x="88" y="34"/>
                  </a:lnTo>
                  <a:lnTo>
                    <a:pt x="86" y="32"/>
                  </a:lnTo>
                  <a:lnTo>
                    <a:pt x="86" y="30"/>
                  </a:lnTo>
                  <a:lnTo>
                    <a:pt x="84" y="30"/>
                  </a:lnTo>
                  <a:lnTo>
                    <a:pt x="84" y="28"/>
                  </a:lnTo>
                  <a:lnTo>
                    <a:pt x="84" y="28"/>
                  </a:lnTo>
                  <a:lnTo>
                    <a:pt x="82" y="28"/>
                  </a:lnTo>
                  <a:lnTo>
                    <a:pt x="80" y="28"/>
                  </a:lnTo>
                  <a:lnTo>
                    <a:pt x="80" y="26"/>
                  </a:lnTo>
                  <a:lnTo>
                    <a:pt x="78" y="26"/>
                  </a:lnTo>
                  <a:lnTo>
                    <a:pt x="74" y="26"/>
                  </a:lnTo>
                  <a:lnTo>
                    <a:pt x="70" y="26"/>
                  </a:lnTo>
                  <a:lnTo>
                    <a:pt x="66" y="26"/>
                  </a:lnTo>
                  <a:lnTo>
                    <a:pt x="64" y="26"/>
                  </a:lnTo>
                  <a:lnTo>
                    <a:pt x="62" y="26"/>
                  </a:lnTo>
                  <a:lnTo>
                    <a:pt x="60" y="26"/>
                  </a:lnTo>
                  <a:lnTo>
                    <a:pt x="60" y="26"/>
                  </a:lnTo>
                  <a:lnTo>
                    <a:pt x="58" y="24"/>
                  </a:lnTo>
                  <a:lnTo>
                    <a:pt x="58" y="24"/>
                  </a:lnTo>
                  <a:lnTo>
                    <a:pt x="58" y="24"/>
                  </a:lnTo>
                  <a:lnTo>
                    <a:pt x="56" y="22"/>
                  </a:lnTo>
                  <a:lnTo>
                    <a:pt x="56" y="20"/>
                  </a:lnTo>
                  <a:lnTo>
                    <a:pt x="56" y="18"/>
                  </a:lnTo>
                  <a:lnTo>
                    <a:pt x="54" y="16"/>
                  </a:lnTo>
                  <a:lnTo>
                    <a:pt x="54" y="14"/>
                  </a:lnTo>
                  <a:lnTo>
                    <a:pt x="54" y="12"/>
                  </a:lnTo>
                  <a:lnTo>
                    <a:pt x="54" y="12"/>
                  </a:lnTo>
                  <a:lnTo>
                    <a:pt x="52" y="12"/>
                  </a:lnTo>
                  <a:lnTo>
                    <a:pt x="52" y="12"/>
                  </a:lnTo>
                  <a:lnTo>
                    <a:pt x="52" y="10"/>
                  </a:lnTo>
                  <a:lnTo>
                    <a:pt x="50" y="10"/>
                  </a:lnTo>
                  <a:lnTo>
                    <a:pt x="48" y="10"/>
                  </a:lnTo>
                  <a:lnTo>
                    <a:pt x="46" y="10"/>
                  </a:lnTo>
                  <a:lnTo>
                    <a:pt x="44" y="10"/>
                  </a:lnTo>
                  <a:lnTo>
                    <a:pt x="42" y="8"/>
                  </a:lnTo>
                  <a:lnTo>
                    <a:pt x="42" y="8"/>
                  </a:lnTo>
                  <a:lnTo>
                    <a:pt x="40" y="8"/>
                  </a:lnTo>
                  <a:lnTo>
                    <a:pt x="40" y="8"/>
                  </a:lnTo>
                  <a:lnTo>
                    <a:pt x="40" y="6"/>
                  </a:lnTo>
                  <a:lnTo>
                    <a:pt x="40" y="6"/>
                  </a:lnTo>
                  <a:lnTo>
                    <a:pt x="40" y="4"/>
                  </a:lnTo>
                  <a:lnTo>
                    <a:pt x="40" y="2"/>
                  </a:lnTo>
                  <a:lnTo>
                    <a:pt x="40" y="2"/>
                  </a:lnTo>
                  <a:lnTo>
                    <a:pt x="38" y="2"/>
                  </a:lnTo>
                  <a:lnTo>
                    <a:pt x="38" y="2"/>
                  </a:lnTo>
                  <a:lnTo>
                    <a:pt x="38" y="0"/>
                  </a:lnTo>
                  <a:lnTo>
                    <a:pt x="36" y="0"/>
                  </a:lnTo>
                  <a:lnTo>
                    <a:pt x="34" y="0"/>
                  </a:lnTo>
                  <a:lnTo>
                    <a:pt x="32" y="0"/>
                  </a:lnTo>
                  <a:lnTo>
                    <a:pt x="28" y="0"/>
                  </a:lnTo>
                  <a:lnTo>
                    <a:pt x="26"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0" name="Freeform 439">
              <a:extLst>
                <a:ext uri="{FF2B5EF4-FFF2-40B4-BE49-F238E27FC236}">
                  <a16:creationId xmlns:a16="http://schemas.microsoft.com/office/drawing/2014/main" id="{0AA706EA-2BD2-40C6-AFC5-AFB070536800}"/>
                </a:ext>
              </a:extLst>
            </p:cNvPr>
            <p:cNvSpPr>
              <a:spLocks/>
            </p:cNvSpPr>
            <p:nvPr/>
          </p:nvSpPr>
          <p:spPr bwMode="auto">
            <a:xfrm>
              <a:off x="4594842" y="3991487"/>
              <a:ext cx="277132" cy="453804"/>
            </a:xfrm>
            <a:custGeom>
              <a:avLst/>
              <a:gdLst>
                <a:gd name="T0" fmla="*/ 28 w 160"/>
                <a:gd name="T1" fmla="*/ 12 h 262"/>
                <a:gd name="T2" fmla="*/ 40 w 160"/>
                <a:gd name="T3" fmla="*/ 50 h 262"/>
                <a:gd name="T4" fmla="*/ 40 w 160"/>
                <a:gd name="T5" fmla="*/ 88 h 262"/>
                <a:gd name="T6" fmla="*/ 34 w 160"/>
                <a:gd name="T7" fmla="*/ 108 h 262"/>
                <a:gd name="T8" fmla="*/ 26 w 160"/>
                <a:gd name="T9" fmla="*/ 112 h 262"/>
                <a:gd name="T10" fmla="*/ 18 w 160"/>
                <a:gd name="T11" fmla="*/ 120 h 262"/>
                <a:gd name="T12" fmla="*/ 8 w 160"/>
                <a:gd name="T13" fmla="*/ 128 h 262"/>
                <a:gd name="T14" fmla="*/ 0 w 160"/>
                <a:gd name="T15" fmla="*/ 138 h 262"/>
                <a:gd name="T16" fmla="*/ 4 w 160"/>
                <a:gd name="T17" fmla="*/ 150 h 262"/>
                <a:gd name="T18" fmla="*/ 8 w 160"/>
                <a:gd name="T19" fmla="*/ 154 h 262"/>
                <a:gd name="T20" fmla="*/ 14 w 160"/>
                <a:gd name="T21" fmla="*/ 168 h 262"/>
                <a:gd name="T22" fmla="*/ 22 w 160"/>
                <a:gd name="T23" fmla="*/ 186 h 262"/>
                <a:gd name="T24" fmla="*/ 16 w 160"/>
                <a:gd name="T25" fmla="*/ 192 h 262"/>
                <a:gd name="T26" fmla="*/ 16 w 160"/>
                <a:gd name="T27" fmla="*/ 194 h 262"/>
                <a:gd name="T28" fmla="*/ 20 w 160"/>
                <a:gd name="T29" fmla="*/ 202 h 262"/>
                <a:gd name="T30" fmla="*/ 26 w 160"/>
                <a:gd name="T31" fmla="*/ 212 h 262"/>
                <a:gd name="T32" fmla="*/ 26 w 160"/>
                <a:gd name="T33" fmla="*/ 220 h 262"/>
                <a:gd name="T34" fmla="*/ 18 w 160"/>
                <a:gd name="T35" fmla="*/ 224 h 262"/>
                <a:gd name="T36" fmla="*/ 22 w 160"/>
                <a:gd name="T37" fmla="*/ 236 h 262"/>
                <a:gd name="T38" fmla="*/ 32 w 160"/>
                <a:gd name="T39" fmla="*/ 250 h 262"/>
                <a:gd name="T40" fmla="*/ 46 w 160"/>
                <a:gd name="T41" fmla="*/ 258 h 262"/>
                <a:gd name="T42" fmla="*/ 60 w 160"/>
                <a:gd name="T43" fmla="*/ 258 h 262"/>
                <a:gd name="T44" fmla="*/ 62 w 160"/>
                <a:gd name="T45" fmla="*/ 252 h 262"/>
                <a:gd name="T46" fmla="*/ 68 w 160"/>
                <a:gd name="T47" fmla="*/ 248 h 262"/>
                <a:gd name="T48" fmla="*/ 80 w 160"/>
                <a:gd name="T49" fmla="*/ 248 h 262"/>
                <a:gd name="T50" fmla="*/ 86 w 160"/>
                <a:gd name="T51" fmla="*/ 238 h 262"/>
                <a:gd name="T52" fmla="*/ 96 w 160"/>
                <a:gd name="T53" fmla="*/ 236 h 262"/>
                <a:gd name="T54" fmla="*/ 104 w 160"/>
                <a:gd name="T55" fmla="*/ 232 h 262"/>
                <a:gd name="T56" fmla="*/ 108 w 160"/>
                <a:gd name="T57" fmla="*/ 222 h 262"/>
                <a:gd name="T58" fmla="*/ 118 w 160"/>
                <a:gd name="T59" fmla="*/ 216 h 262"/>
                <a:gd name="T60" fmla="*/ 130 w 160"/>
                <a:gd name="T61" fmla="*/ 200 h 262"/>
                <a:gd name="T62" fmla="*/ 138 w 160"/>
                <a:gd name="T63" fmla="*/ 196 h 262"/>
                <a:gd name="T64" fmla="*/ 142 w 160"/>
                <a:gd name="T65" fmla="*/ 188 h 262"/>
                <a:gd name="T66" fmla="*/ 136 w 160"/>
                <a:gd name="T67" fmla="*/ 182 h 262"/>
                <a:gd name="T68" fmla="*/ 134 w 160"/>
                <a:gd name="T69" fmla="*/ 176 h 262"/>
                <a:gd name="T70" fmla="*/ 132 w 160"/>
                <a:gd name="T71" fmla="*/ 168 h 262"/>
                <a:gd name="T72" fmla="*/ 122 w 160"/>
                <a:gd name="T73" fmla="*/ 166 h 262"/>
                <a:gd name="T74" fmla="*/ 122 w 160"/>
                <a:gd name="T75" fmla="*/ 158 h 262"/>
                <a:gd name="T76" fmla="*/ 128 w 160"/>
                <a:gd name="T77" fmla="*/ 156 h 262"/>
                <a:gd name="T78" fmla="*/ 134 w 160"/>
                <a:gd name="T79" fmla="*/ 154 h 262"/>
                <a:gd name="T80" fmla="*/ 138 w 160"/>
                <a:gd name="T81" fmla="*/ 140 h 262"/>
                <a:gd name="T82" fmla="*/ 148 w 160"/>
                <a:gd name="T83" fmla="*/ 124 h 262"/>
                <a:gd name="T84" fmla="*/ 156 w 160"/>
                <a:gd name="T85" fmla="*/ 120 h 262"/>
                <a:gd name="T86" fmla="*/ 160 w 160"/>
                <a:gd name="T87" fmla="*/ 106 h 262"/>
                <a:gd name="T88" fmla="*/ 154 w 160"/>
                <a:gd name="T89" fmla="*/ 78 h 262"/>
                <a:gd name="T90" fmla="*/ 138 w 160"/>
                <a:gd name="T91" fmla="*/ 70 h 262"/>
                <a:gd name="T92" fmla="*/ 114 w 160"/>
                <a:gd name="T93" fmla="*/ 52 h 262"/>
                <a:gd name="T94" fmla="*/ 92 w 160"/>
                <a:gd name="T95" fmla="*/ 42 h 262"/>
                <a:gd name="T96" fmla="*/ 86 w 160"/>
                <a:gd name="T97" fmla="*/ 30 h 262"/>
                <a:gd name="T98" fmla="*/ 78 w 160"/>
                <a:gd name="T99" fmla="*/ 26 h 262"/>
                <a:gd name="T100" fmla="*/ 60 w 160"/>
                <a:gd name="T101" fmla="*/ 26 h 262"/>
                <a:gd name="T102" fmla="*/ 54 w 160"/>
                <a:gd name="T103" fmla="*/ 16 h 262"/>
                <a:gd name="T104" fmla="*/ 50 w 160"/>
                <a:gd name="T105" fmla="*/ 10 h 262"/>
                <a:gd name="T106" fmla="*/ 40 w 160"/>
                <a:gd name="T107" fmla="*/ 8 h 262"/>
                <a:gd name="T108" fmla="*/ 38 w 160"/>
                <a:gd name="T109" fmla="*/ 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262">
                  <a:moveTo>
                    <a:pt x="26" y="0"/>
                  </a:moveTo>
                  <a:lnTo>
                    <a:pt x="26" y="0"/>
                  </a:lnTo>
                  <a:lnTo>
                    <a:pt x="26" y="4"/>
                  </a:lnTo>
                  <a:lnTo>
                    <a:pt x="26" y="6"/>
                  </a:lnTo>
                  <a:lnTo>
                    <a:pt x="28" y="8"/>
                  </a:lnTo>
                  <a:lnTo>
                    <a:pt x="28" y="10"/>
                  </a:lnTo>
                  <a:lnTo>
                    <a:pt x="28" y="12"/>
                  </a:lnTo>
                  <a:lnTo>
                    <a:pt x="30" y="16"/>
                  </a:lnTo>
                  <a:lnTo>
                    <a:pt x="34" y="22"/>
                  </a:lnTo>
                  <a:lnTo>
                    <a:pt x="36" y="28"/>
                  </a:lnTo>
                  <a:lnTo>
                    <a:pt x="36" y="30"/>
                  </a:lnTo>
                  <a:lnTo>
                    <a:pt x="36" y="32"/>
                  </a:lnTo>
                  <a:lnTo>
                    <a:pt x="38" y="40"/>
                  </a:lnTo>
                  <a:lnTo>
                    <a:pt x="40" y="50"/>
                  </a:lnTo>
                  <a:lnTo>
                    <a:pt x="40" y="54"/>
                  </a:lnTo>
                  <a:lnTo>
                    <a:pt x="40" y="60"/>
                  </a:lnTo>
                  <a:lnTo>
                    <a:pt x="40" y="66"/>
                  </a:lnTo>
                  <a:lnTo>
                    <a:pt x="40" y="72"/>
                  </a:lnTo>
                  <a:lnTo>
                    <a:pt x="40" y="78"/>
                  </a:lnTo>
                  <a:lnTo>
                    <a:pt x="40" y="84"/>
                  </a:lnTo>
                  <a:lnTo>
                    <a:pt x="40" y="88"/>
                  </a:lnTo>
                  <a:lnTo>
                    <a:pt x="38" y="94"/>
                  </a:lnTo>
                  <a:lnTo>
                    <a:pt x="38" y="96"/>
                  </a:lnTo>
                  <a:lnTo>
                    <a:pt x="38" y="98"/>
                  </a:lnTo>
                  <a:lnTo>
                    <a:pt x="36" y="102"/>
                  </a:lnTo>
                  <a:lnTo>
                    <a:pt x="36" y="104"/>
                  </a:lnTo>
                  <a:lnTo>
                    <a:pt x="34" y="106"/>
                  </a:lnTo>
                  <a:lnTo>
                    <a:pt x="34" y="108"/>
                  </a:lnTo>
                  <a:lnTo>
                    <a:pt x="32" y="108"/>
                  </a:lnTo>
                  <a:lnTo>
                    <a:pt x="32" y="110"/>
                  </a:lnTo>
                  <a:lnTo>
                    <a:pt x="32" y="110"/>
                  </a:lnTo>
                  <a:lnTo>
                    <a:pt x="32" y="110"/>
                  </a:lnTo>
                  <a:lnTo>
                    <a:pt x="30" y="112"/>
                  </a:lnTo>
                  <a:lnTo>
                    <a:pt x="28" y="112"/>
                  </a:lnTo>
                  <a:lnTo>
                    <a:pt x="26" y="112"/>
                  </a:lnTo>
                  <a:lnTo>
                    <a:pt x="24" y="112"/>
                  </a:lnTo>
                  <a:lnTo>
                    <a:pt x="22" y="112"/>
                  </a:lnTo>
                  <a:lnTo>
                    <a:pt x="22" y="112"/>
                  </a:lnTo>
                  <a:lnTo>
                    <a:pt x="20" y="114"/>
                  </a:lnTo>
                  <a:lnTo>
                    <a:pt x="20" y="114"/>
                  </a:lnTo>
                  <a:lnTo>
                    <a:pt x="18" y="118"/>
                  </a:lnTo>
                  <a:lnTo>
                    <a:pt x="18" y="120"/>
                  </a:lnTo>
                  <a:lnTo>
                    <a:pt x="16" y="122"/>
                  </a:lnTo>
                  <a:lnTo>
                    <a:pt x="16" y="122"/>
                  </a:lnTo>
                  <a:lnTo>
                    <a:pt x="14" y="122"/>
                  </a:lnTo>
                  <a:lnTo>
                    <a:pt x="14" y="124"/>
                  </a:lnTo>
                  <a:lnTo>
                    <a:pt x="12" y="126"/>
                  </a:lnTo>
                  <a:lnTo>
                    <a:pt x="8" y="126"/>
                  </a:lnTo>
                  <a:lnTo>
                    <a:pt x="8" y="128"/>
                  </a:lnTo>
                  <a:lnTo>
                    <a:pt x="6" y="128"/>
                  </a:lnTo>
                  <a:lnTo>
                    <a:pt x="4" y="130"/>
                  </a:lnTo>
                  <a:lnTo>
                    <a:pt x="4" y="132"/>
                  </a:lnTo>
                  <a:lnTo>
                    <a:pt x="2" y="134"/>
                  </a:lnTo>
                  <a:lnTo>
                    <a:pt x="2" y="136"/>
                  </a:lnTo>
                  <a:lnTo>
                    <a:pt x="0" y="136"/>
                  </a:lnTo>
                  <a:lnTo>
                    <a:pt x="0" y="138"/>
                  </a:lnTo>
                  <a:lnTo>
                    <a:pt x="0" y="140"/>
                  </a:lnTo>
                  <a:lnTo>
                    <a:pt x="0" y="142"/>
                  </a:lnTo>
                  <a:lnTo>
                    <a:pt x="0" y="144"/>
                  </a:lnTo>
                  <a:lnTo>
                    <a:pt x="0" y="148"/>
                  </a:lnTo>
                  <a:lnTo>
                    <a:pt x="2" y="150"/>
                  </a:lnTo>
                  <a:lnTo>
                    <a:pt x="2" y="150"/>
                  </a:lnTo>
                  <a:lnTo>
                    <a:pt x="4" y="150"/>
                  </a:lnTo>
                  <a:lnTo>
                    <a:pt x="6" y="150"/>
                  </a:lnTo>
                  <a:lnTo>
                    <a:pt x="6" y="150"/>
                  </a:lnTo>
                  <a:lnTo>
                    <a:pt x="8" y="150"/>
                  </a:lnTo>
                  <a:lnTo>
                    <a:pt x="8" y="150"/>
                  </a:lnTo>
                  <a:lnTo>
                    <a:pt x="8" y="150"/>
                  </a:lnTo>
                  <a:lnTo>
                    <a:pt x="8" y="152"/>
                  </a:lnTo>
                  <a:lnTo>
                    <a:pt x="8" y="154"/>
                  </a:lnTo>
                  <a:lnTo>
                    <a:pt x="10" y="154"/>
                  </a:lnTo>
                  <a:lnTo>
                    <a:pt x="10" y="158"/>
                  </a:lnTo>
                  <a:lnTo>
                    <a:pt x="10" y="158"/>
                  </a:lnTo>
                  <a:lnTo>
                    <a:pt x="10" y="160"/>
                  </a:lnTo>
                  <a:lnTo>
                    <a:pt x="10" y="162"/>
                  </a:lnTo>
                  <a:lnTo>
                    <a:pt x="12" y="164"/>
                  </a:lnTo>
                  <a:lnTo>
                    <a:pt x="14" y="168"/>
                  </a:lnTo>
                  <a:lnTo>
                    <a:pt x="18" y="174"/>
                  </a:lnTo>
                  <a:lnTo>
                    <a:pt x="20" y="178"/>
                  </a:lnTo>
                  <a:lnTo>
                    <a:pt x="20" y="180"/>
                  </a:lnTo>
                  <a:lnTo>
                    <a:pt x="22" y="182"/>
                  </a:lnTo>
                  <a:lnTo>
                    <a:pt x="22" y="184"/>
                  </a:lnTo>
                  <a:lnTo>
                    <a:pt x="22" y="186"/>
                  </a:lnTo>
                  <a:lnTo>
                    <a:pt x="22" y="186"/>
                  </a:lnTo>
                  <a:lnTo>
                    <a:pt x="22" y="188"/>
                  </a:lnTo>
                  <a:lnTo>
                    <a:pt x="22" y="190"/>
                  </a:lnTo>
                  <a:lnTo>
                    <a:pt x="22" y="190"/>
                  </a:lnTo>
                  <a:lnTo>
                    <a:pt x="20" y="190"/>
                  </a:lnTo>
                  <a:lnTo>
                    <a:pt x="20" y="190"/>
                  </a:lnTo>
                  <a:lnTo>
                    <a:pt x="18" y="192"/>
                  </a:lnTo>
                  <a:lnTo>
                    <a:pt x="16" y="192"/>
                  </a:lnTo>
                  <a:lnTo>
                    <a:pt x="16" y="192"/>
                  </a:lnTo>
                  <a:lnTo>
                    <a:pt x="16" y="192"/>
                  </a:lnTo>
                  <a:lnTo>
                    <a:pt x="14" y="192"/>
                  </a:lnTo>
                  <a:lnTo>
                    <a:pt x="14" y="192"/>
                  </a:lnTo>
                  <a:lnTo>
                    <a:pt x="14" y="194"/>
                  </a:lnTo>
                  <a:lnTo>
                    <a:pt x="16" y="194"/>
                  </a:lnTo>
                  <a:lnTo>
                    <a:pt x="16" y="194"/>
                  </a:lnTo>
                  <a:lnTo>
                    <a:pt x="18" y="194"/>
                  </a:lnTo>
                  <a:lnTo>
                    <a:pt x="18" y="196"/>
                  </a:lnTo>
                  <a:lnTo>
                    <a:pt x="18" y="196"/>
                  </a:lnTo>
                  <a:lnTo>
                    <a:pt x="18" y="196"/>
                  </a:lnTo>
                  <a:lnTo>
                    <a:pt x="20" y="198"/>
                  </a:lnTo>
                  <a:lnTo>
                    <a:pt x="20" y="200"/>
                  </a:lnTo>
                  <a:lnTo>
                    <a:pt x="20" y="202"/>
                  </a:lnTo>
                  <a:lnTo>
                    <a:pt x="20" y="204"/>
                  </a:lnTo>
                  <a:lnTo>
                    <a:pt x="22" y="204"/>
                  </a:lnTo>
                  <a:lnTo>
                    <a:pt x="22" y="206"/>
                  </a:lnTo>
                  <a:lnTo>
                    <a:pt x="22" y="206"/>
                  </a:lnTo>
                  <a:lnTo>
                    <a:pt x="24" y="208"/>
                  </a:lnTo>
                  <a:lnTo>
                    <a:pt x="26" y="210"/>
                  </a:lnTo>
                  <a:lnTo>
                    <a:pt x="26" y="212"/>
                  </a:lnTo>
                  <a:lnTo>
                    <a:pt x="26" y="212"/>
                  </a:lnTo>
                  <a:lnTo>
                    <a:pt x="26" y="212"/>
                  </a:lnTo>
                  <a:lnTo>
                    <a:pt x="26" y="214"/>
                  </a:lnTo>
                  <a:lnTo>
                    <a:pt x="26" y="216"/>
                  </a:lnTo>
                  <a:lnTo>
                    <a:pt x="26" y="218"/>
                  </a:lnTo>
                  <a:lnTo>
                    <a:pt x="26" y="218"/>
                  </a:lnTo>
                  <a:lnTo>
                    <a:pt x="26" y="220"/>
                  </a:lnTo>
                  <a:lnTo>
                    <a:pt x="24" y="220"/>
                  </a:lnTo>
                  <a:lnTo>
                    <a:pt x="24" y="220"/>
                  </a:lnTo>
                  <a:lnTo>
                    <a:pt x="22" y="222"/>
                  </a:lnTo>
                  <a:lnTo>
                    <a:pt x="20" y="222"/>
                  </a:lnTo>
                  <a:lnTo>
                    <a:pt x="18" y="224"/>
                  </a:lnTo>
                  <a:lnTo>
                    <a:pt x="18" y="224"/>
                  </a:lnTo>
                  <a:lnTo>
                    <a:pt x="18" y="224"/>
                  </a:lnTo>
                  <a:lnTo>
                    <a:pt x="18" y="226"/>
                  </a:lnTo>
                  <a:lnTo>
                    <a:pt x="18" y="226"/>
                  </a:lnTo>
                  <a:lnTo>
                    <a:pt x="18" y="228"/>
                  </a:lnTo>
                  <a:lnTo>
                    <a:pt x="18" y="230"/>
                  </a:lnTo>
                  <a:lnTo>
                    <a:pt x="20" y="232"/>
                  </a:lnTo>
                  <a:lnTo>
                    <a:pt x="20" y="234"/>
                  </a:lnTo>
                  <a:lnTo>
                    <a:pt x="22" y="236"/>
                  </a:lnTo>
                  <a:lnTo>
                    <a:pt x="22" y="238"/>
                  </a:lnTo>
                  <a:lnTo>
                    <a:pt x="24" y="240"/>
                  </a:lnTo>
                  <a:lnTo>
                    <a:pt x="28" y="242"/>
                  </a:lnTo>
                  <a:lnTo>
                    <a:pt x="30" y="244"/>
                  </a:lnTo>
                  <a:lnTo>
                    <a:pt x="30" y="246"/>
                  </a:lnTo>
                  <a:lnTo>
                    <a:pt x="32" y="248"/>
                  </a:lnTo>
                  <a:lnTo>
                    <a:pt x="32" y="250"/>
                  </a:lnTo>
                  <a:lnTo>
                    <a:pt x="34" y="256"/>
                  </a:lnTo>
                  <a:lnTo>
                    <a:pt x="38" y="262"/>
                  </a:lnTo>
                  <a:lnTo>
                    <a:pt x="40" y="260"/>
                  </a:lnTo>
                  <a:lnTo>
                    <a:pt x="44" y="258"/>
                  </a:lnTo>
                  <a:lnTo>
                    <a:pt x="44" y="258"/>
                  </a:lnTo>
                  <a:lnTo>
                    <a:pt x="46" y="258"/>
                  </a:lnTo>
                  <a:lnTo>
                    <a:pt x="46" y="258"/>
                  </a:lnTo>
                  <a:lnTo>
                    <a:pt x="48" y="258"/>
                  </a:lnTo>
                  <a:lnTo>
                    <a:pt x="50" y="258"/>
                  </a:lnTo>
                  <a:lnTo>
                    <a:pt x="54" y="258"/>
                  </a:lnTo>
                  <a:lnTo>
                    <a:pt x="54" y="258"/>
                  </a:lnTo>
                  <a:lnTo>
                    <a:pt x="56" y="258"/>
                  </a:lnTo>
                  <a:lnTo>
                    <a:pt x="58" y="258"/>
                  </a:lnTo>
                  <a:lnTo>
                    <a:pt x="60" y="258"/>
                  </a:lnTo>
                  <a:lnTo>
                    <a:pt x="60" y="258"/>
                  </a:lnTo>
                  <a:lnTo>
                    <a:pt x="60" y="258"/>
                  </a:lnTo>
                  <a:lnTo>
                    <a:pt x="60" y="258"/>
                  </a:lnTo>
                  <a:lnTo>
                    <a:pt x="62" y="256"/>
                  </a:lnTo>
                  <a:lnTo>
                    <a:pt x="62" y="256"/>
                  </a:lnTo>
                  <a:lnTo>
                    <a:pt x="62" y="254"/>
                  </a:lnTo>
                  <a:lnTo>
                    <a:pt x="62" y="252"/>
                  </a:lnTo>
                  <a:lnTo>
                    <a:pt x="64" y="250"/>
                  </a:lnTo>
                  <a:lnTo>
                    <a:pt x="64" y="250"/>
                  </a:lnTo>
                  <a:lnTo>
                    <a:pt x="64" y="250"/>
                  </a:lnTo>
                  <a:lnTo>
                    <a:pt x="64" y="250"/>
                  </a:lnTo>
                  <a:lnTo>
                    <a:pt x="64" y="248"/>
                  </a:lnTo>
                  <a:lnTo>
                    <a:pt x="66" y="248"/>
                  </a:lnTo>
                  <a:lnTo>
                    <a:pt x="68" y="248"/>
                  </a:lnTo>
                  <a:lnTo>
                    <a:pt x="70" y="248"/>
                  </a:lnTo>
                  <a:lnTo>
                    <a:pt x="72" y="248"/>
                  </a:lnTo>
                  <a:lnTo>
                    <a:pt x="74" y="248"/>
                  </a:lnTo>
                  <a:lnTo>
                    <a:pt x="76" y="248"/>
                  </a:lnTo>
                  <a:lnTo>
                    <a:pt x="78" y="248"/>
                  </a:lnTo>
                  <a:lnTo>
                    <a:pt x="80" y="248"/>
                  </a:lnTo>
                  <a:lnTo>
                    <a:pt x="80" y="248"/>
                  </a:lnTo>
                  <a:lnTo>
                    <a:pt x="80" y="248"/>
                  </a:lnTo>
                  <a:lnTo>
                    <a:pt x="82" y="246"/>
                  </a:lnTo>
                  <a:lnTo>
                    <a:pt x="82" y="246"/>
                  </a:lnTo>
                  <a:lnTo>
                    <a:pt x="84" y="244"/>
                  </a:lnTo>
                  <a:lnTo>
                    <a:pt x="84" y="242"/>
                  </a:lnTo>
                  <a:lnTo>
                    <a:pt x="86" y="240"/>
                  </a:lnTo>
                  <a:lnTo>
                    <a:pt x="86" y="238"/>
                  </a:lnTo>
                  <a:lnTo>
                    <a:pt x="88" y="238"/>
                  </a:lnTo>
                  <a:lnTo>
                    <a:pt x="88" y="238"/>
                  </a:lnTo>
                  <a:lnTo>
                    <a:pt x="90" y="238"/>
                  </a:lnTo>
                  <a:lnTo>
                    <a:pt x="90" y="236"/>
                  </a:lnTo>
                  <a:lnTo>
                    <a:pt x="92" y="236"/>
                  </a:lnTo>
                  <a:lnTo>
                    <a:pt x="94" y="236"/>
                  </a:lnTo>
                  <a:lnTo>
                    <a:pt x="96" y="236"/>
                  </a:lnTo>
                  <a:lnTo>
                    <a:pt x="98" y="236"/>
                  </a:lnTo>
                  <a:lnTo>
                    <a:pt x="100" y="236"/>
                  </a:lnTo>
                  <a:lnTo>
                    <a:pt x="100" y="234"/>
                  </a:lnTo>
                  <a:lnTo>
                    <a:pt x="102" y="234"/>
                  </a:lnTo>
                  <a:lnTo>
                    <a:pt x="102" y="234"/>
                  </a:lnTo>
                  <a:lnTo>
                    <a:pt x="102" y="234"/>
                  </a:lnTo>
                  <a:lnTo>
                    <a:pt x="104" y="232"/>
                  </a:lnTo>
                  <a:lnTo>
                    <a:pt x="104" y="230"/>
                  </a:lnTo>
                  <a:lnTo>
                    <a:pt x="104" y="230"/>
                  </a:lnTo>
                  <a:lnTo>
                    <a:pt x="106" y="226"/>
                  </a:lnTo>
                  <a:lnTo>
                    <a:pt x="106" y="224"/>
                  </a:lnTo>
                  <a:lnTo>
                    <a:pt x="106" y="224"/>
                  </a:lnTo>
                  <a:lnTo>
                    <a:pt x="108" y="224"/>
                  </a:lnTo>
                  <a:lnTo>
                    <a:pt x="108" y="222"/>
                  </a:lnTo>
                  <a:lnTo>
                    <a:pt x="112" y="222"/>
                  </a:lnTo>
                  <a:lnTo>
                    <a:pt x="114" y="220"/>
                  </a:lnTo>
                  <a:lnTo>
                    <a:pt x="116" y="220"/>
                  </a:lnTo>
                  <a:lnTo>
                    <a:pt x="116" y="220"/>
                  </a:lnTo>
                  <a:lnTo>
                    <a:pt x="118" y="218"/>
                  </a:lnTo>
                  <a:lnTo>
                    <a:pt x="118" y="218"/>
                  </a:lnTo>
                  <a:lnTo>
                    <a:pt x="118" y="216"/>
                  </a:lnTo>
                  <a:lnTo>
                    <a:pt x="120" y="214"/>
                  </a:lnTo>
                  <a:lnTo>
                    <a:pt x="120" y="210"/>
                  </a:lnTo>
                  <a:lnTo>
                    <a:pt x="122" y="208"/>
                  </a:lnTo>
                  <a:lnTo>
                    <a:pt x="122" y="208"/>
                  </a:lnTo>
                  <a:lnTo>
                    <a:pt x="124" y="206"/>
                  </a:lnTo>
                  <a:lnTo>
                    <a:pt x="126" y="202"/>
                  </a:lnTo>
                  <a:lnTo>
                    <a:pt x="130" y="200"/>
                  </a:lnTo>
                  <a:lnTo>
                    <a:pt x="130" y="200"/>
                  </a:lnTo>
                  <a:lnTo>
                    <a:pt x="132" y="198"/>
                  </a:lnTo>
                  <a:lnTo>
                    <a:pt x="132" y="198"/>
                  </a:lnTo>
                  <a:lnTo>
                    <a:pt x="134" y="198"/>
                  </a:lnTo>
                  <a:lnTo>
                    <a:pt x="136" y="198"/>
                  </a:lnTo>
                  <a:lnTo>
                    <a:pt x="138" y="196"/>
                  </a:lnTo>
                  <a:lnTo>
                    <a:pt x="138" y="196"/>
                  </a:lnTo>
                  <a:lnTo>
                    <a:pt x="138" y="196"/>
                  </a:lnTo>
                  <a:lnTo>
                    <a:pt x="140" y="196"/>
                  </a:lnTo>
                  <a:lnTo>
                    <a:pt x="140" y="194"/>
                  </a:lnTo>
                  <a:lnTo>
                    <a:pt x="142" y="192"/>
                  </a:lnTo>
                  <a:lnTo>
                    <a:pt x="142" y="192"/>
                  </a:lnTo>
                  <a:lnTo>
                    <a:pt x="142" y="190"/>
                  </a:lnTo>
                  <a:lnTo>
                    <a:pt x="142" y="188"/>
                  </a:lnTo>
                  <a:lnTo>
                    <a:pt x="142" y="186"/>
                  </a:lnTo>
                  <a:lnTo>
                    <a:pt x="142" y="184"/>
                  </a:lnTo>
                  <a:lnTo>
                    <a:pt x="142" y="184"/>
                  </a:lnTo>
                  <a:lnTo>
                    <a:pt x="140" y="184"/>
                  </a:lnTo>
                  <a:lnTo>
                    <a:pt x="140" y="184"/>
                  </a:lnTo>
                  <a:lnTo>
                    <a:pt x="138" y="182"/>
                  </a:lnTo>
                  <a:lnTo>
                    <a:pt x="136" y="182"/>
                  </a:lnTo>
                  <a:lnTo>
                    <a:pt x="136" y="182"/>
                  </a:lnTo>
                  <a:lnTo>
                    <a:pt x="136" y="180"/>
                  </a:lnTo>
                  <a:lnTo>
                    <a:pt x="134" y="180"/>
                  </a:lnTo>
                  <a:lnTo>
                    <a:pt x="134" y="180"/>
                  </a:lnTo>
                  <a:lnTo>
                    <a:pt x="134" y="178"/>
                  </a:lnTo>
                  <a:lnTo>
                    <a:pt x="134" y="178"/>
                  </a:lnTo>
                  <a:lnTo>
                    <a:pt x="134" y="176"/>
                  </a:lnTo>
                  <a:lnTo>
                    <a:pt x="134" y="174"/>
                  </a:lnTo>
                  <a:lnTo>
                    <a:pt x="134" y="172"/>
                  </a:lnTo>
                  <a:lnTo>
                    <a:pt x="134" y="170"/>
                  </a:lnTo>
                  <a:lnTo>
                    <a:pt x="132" y="170"/>
                  </a:lnTo>
                  <a:lnTo>
                    <a:pt x="132" y="170"/>
                  </a:lnTo>
                  <a:lnTo>
                    <a:pt x="132" y="170"/>
                  </a:lnTo>
                  <a:lnTo>
                    <a:pt x="132" y="168"/>
                  </a:lnTo>
                  <a:lnTo>
                    <a:pt x="130" y="168"/>
                  </a:lnTo>
                  <a:lnTo>
                    <a:pt x="128" y="168"/>
                  </a:lnTo>
                  <a:lnTo>
                    <a:pt x="126" y="168"/>
                  </a:lnTo>
                  <a:lnTo>
                    <a:pt x="126" y="168"/>
                  </a:lnTo>
                  <a:lnTo>
                    <a:pt x="124" y="166"/>
                  </a:lnTo>
                  <a:lnTo>
                    <a:pt x="122" y="166"/>
                  </a:lnTo>
                  <a:lnTo>
                    <a:pt x="122" y="166"/>
                  </a:lnTo>
                  <a:lnTo>
                    <a:pt x="122" y="166"/>
                  </a:lnTo>
                  <a:lnTo>
                    <a:pt x="122" y="164"/>
                  </a:lnTo>
                  <a:lnTo>
                    <a:pt x="122" y="164"/>
                  </a:lnTo>
                  <a:lnTo>
                    <a:pt x="122" y="162"/>
                  </a:lnTo>
                  <a:lnTo>
                    <a:pt x="122" y="160"/>
                  </a:lnTo>
                  <a:lnTo>
                    <a:pt x="122" y="158"/>
                  </a:lnTo>
                  <a:lnTo>
                    <a:pt x="122" y="158"/>
                  </a:lnTo>
                  <a:lnTo>
                    <a:pt x="122" y="156"/>
                  </a:lnTo>
                  <a:lnTo>
                    <a:pt x="124" y="156"/>
                  </a:lnTo>
                  <a:lnTo>
                    <a:pt x="124" y="156"/>
                  </a:lnTo>
                  <a:lnTo>
                    <a:pt x="124" y="156"/>
                  </a:lnTo>
                  <a:lnTo>
                    <a:pt x="126" y="156"/>
                  </a:lnTo>
                  <a:lnTo>
                    <a:pt x="126" y="156"/>
                  </a:lnTo>
                  <a:lnTo>
                    <a:pt x="128" y="156"/>
                  </a:lnTo>
                  <a:lnTo>
                    <a:pt x="130" y="156"/>
                  </a:lnTo>
                  <a:lnTo>
                    <a:pt x="132" y="156"/>
                  </a:lnTo>
                  <a:lnTo>
                    <a:pt x="132" y="156"/>
                  </a:lnTo>
                  <a:lnTo>
                    <a:pt x="134" y="156"/>
                  </a:lnTo>
                  <a:lnTo>
                    <a:pt x="134" y="156"/>
                  </a:lnTo>
                  <a:lnTo>
                    <a:pt x="134" y="154"/>
                  </a:lnTo>
                  <a:lnTo>
                    <a:pt x="134" y="154"/>
                  </a:lnTo>
                  <a:lnTo>
                    <a:pt x="136" y="154"/>
                  </a:lnTo>
                  <a:lnTo>
                    <a:pt x="136" y="152"/>
                  </a:lnTo>
                  <a:lnTo>
                    <a:pt x="136" y="150"/>
                  </a:lnTo>
                  <a:lnTo>
                    <a:pt x="136" y="148"/>
                  </a:lnTo>
                  <a:lnTo>
                    <a:pt x="136" y="144"/>
                  </a:lnTo>
                  <a:lnTo>
                    <a:pt x="138" y="142"/>
                  </a:lnTo>
                  <a:lnTo>
                    <a:pt x="138" y="140"/>
                  </a:lnTo>
                  <a:lnTo>
                    <a:pt x="140" y="136"/>
                  </a:lnTo>
                  <a:lnTo>
                    <a:pt x="142" y="132"/>
                  </a:lnTo>
                  <a:lnTo>
                    <a:pt x="142" y="130"/>
                  </a:lnTo>
                  <a:lnTo>
                    <a:pt x="144" y="126"/>
                  </a:lnTo>
                  <a:lnTo>
                    <a:pt x="146" y="126"/>
                  </a:lnTo>
                  <a:lnTo>
                    <a:pt x="146" y="124"/>
                  </a:lnTo>
                  <a:lnTo>
                    <a:pt x="148" y="124"/>
                  </a:lnTo>
                  <a:lnTo>
                    <a:pt x="148" y="122"/>
                  </a:lnTo>
                  <a:lnTo>
                    <a:pt x="152" y="122"/>
                  </a:lnTo>
                  <a:lnTo>
                    <a:pt x="152" y="122"/>
                  </a:lnTo>
                  <a:lnTo>
                    <a:pt x="154" y="122"/>
                  </a:lnTo>
                  <a:lnTo>
                    <a:pt x="156" y="122"/>
                  </a:lnTo>
                  <a:lnTo>
                    <a:pt x="156" y="120"/>
                  </a:lnTo>
                  <a:lnTo>
                    <a:pt x="156" y="120"/>
                  </a:lnTo>
                  <a:lnTo>
                    <a:pt x="156" y="120"/>
                  </a:lnTo>
                  <a:lnTo>
                    <a:pt x="158" y="118"/>
                  </a:lnTo>
                  <a:lnTo>
                    <a:pt x="158" y="118"/>
                  </a:lnTo>
                  <a:lnTo>
                    <a:pt x="158" y="116"/>
                  </a:lnTo>
                  <a:lnTo>
                    <a:pt x="158" y="114"/>
                  </a:lnTo>
                  <a:lnTo>
                    <a:pt x="158" y="110"/>
                  </a:lnTo>
                  <a:lnTo>
                    <a:pt x="160" y="106"/>
                  </a:lnTo>
                  <a:lnTo>
                    <a:pt x="160" y="104"/>
                  </a:lnTo>
                  <a:lnTo>
                    <a:pt x="160" y="100"/>
                  </a:lnTo>
                  <a:lnTo>
                    <a:pt x="160" y="96"/>
                  </a:lnTo>
                  <a:lnTo>
                    <a:pt x="158" y="90"/>
                  </a:lnTo>
                  <a:lnTo>
                    <a:pt x="158" y="84"/>
                  </a:lnTo>
                  <a:lnTo>
                    <a:pt x="158" y="78"/>
                  </a:lnTo>
                  <a:lnTo>
                    <a:pt x="154" y="78"/>
                  </a:lnTo>
                  <a:lnTo>
                    <a:pt x="150" y="78"/>
                  </a:lnTo>
                  <a:lnTo>
                    <a:pt x="148" y="76"/>
                  </a:lnTo>
                  <a:lnTo>
                    <a:pt x="148" y="76"/>
                  </a:lnTo>
                  <a:lnTo>
                    <a:pt x="146" y="76"/>
                  </a:lnTo>
                  <a:lnTo>
                    <a:pt x="144" y="76"/>
                  </a:lnTo>
                  <a:lnTo>
                    <a:pt x="142" y="74"/>
                  </a:lnTo>
                  <a:lnTo>
                    <a:pt x="138" y="70"/>
                  </a:lnTo>
                  <a:lnTo>
                    <a:pt x="134" y="68"/>
                  </a:lnTo>
                  <a:lnTo>
                    <a:pt x="128" y="62"/>
                  </a:lnTo>
                  <a:lnTo>
                    <a:pt x="126" y="60"/>
                  </a:lnTo>
                  <a:lnTo>
                    <a:pt x="124" y="58"/>
                  </a:lnTo>
                  <a:lnTo>
                    <a:pt x="120" y="56"/>
                  </a:lnTo>
                  <a:lnTo>
                    <a:pt x="118" y="54"/>
                  </a:lnTo>
                  <a:lnTo>
                    <a:pt x="114" y="52"/>
                  </a:lnTo>
                  <a:lnTo>
                    <a:pt x="110" y="50"/>
                  </a:lnTo>
                  <a:lnTo>
                    <a:pt x="108" y="50"/>
                  </a:lnTo>
                  <a:lnTo>
                    <a:pt x="102" y="48"/>
                  </a:lnTo>
                  <a:lnTo>
                    <a:pt x="98" y="46"/>
                  </a:lnTo>
                  <a:lnTo>
                    <a:pt x="96" y="44"/>
                  </a:lnTo>
                  <a:lnTo>
                    <a:pt x="92" y="42"/>
                  </a:lnTo>
                  <a:lnTo>
                    <a:pt x="92" y="42"/>
                  </a:lnTo>
                  <a:lnTo>
                    <a:pt x="90" y="42"/>
                  </a:lnTo>
                  <a:lnTo>
                    <a:pt x="90" y="40"/>
                  </a:lnTo>
                  <a:lnTo>
                    <a:pt x="90" y="40"/>
                  </a:lnTo>
                  <a:lnTo>
                    <a:pt x="88" y="38"/>
                  </a:lnTo>
                  <a:lnTo>
                    <a:pt x="88" y="34"/>
                  </a:lnTo>
                  <a:lnTo>
                    <a:pt x="86" y="32"/>
                  </a:lnTo>
                  <a:lnTo>
                    <a:pt x="86" y="30"/>
                  </a:lnTo>
                  <a:lnTo>
                    <a:pt x="84" y="30"/>
                  </a:lnTo>
                  <a:lnTo>
                    <a:pt x="84" y="28"/>
                  </a:lnTo>
                  <a:lnTo>
                    <a:pt x="84" y="28"/>
                  </a:lnTo>
                  <a:lnTo>
                    <a:pt x="82" y="28"/>
                  </a:lnTo>
                  <a:lnTo>
                    <a:pt x="80" y="28"/>
                  </a:lnTo>
                  <a:lnTo>
                    <a:pt x="80" y="26"/>
                  </a:lnTo>
                  <a:lnTo>
                    <a:pt x="78" y="26"/>
                  </a:lnTo>
                  <a:lnTo>
                    <a:pt x="74" y="26"/>
                  </a:lnTo>
                  <a:lnTo>
                    <a:pt x="70" y="26"/>
                  </a:lnTo>
                  <a:lnTo>
                    <a:pt x="66" y="26"/>
                  </a:lnTo>
                  <a:lnTo>
                    <a:pt x="64" y="26"/>
                  </a:lnTo>
                  <a:lnTo>
                    <a:pt x="62" y="26"/>
                  </a:lnTo>
                  <a:lnTo>
                    <a:pt x="60" y="26"/>
                  </a:lnTo>
                  <a:lnTo>
                    <a:pt x="60" y="26"/>
                  </a:lnTo>
                  <a:lnTo>
                    <a:pt x="58" y="24"/>
                  </a:lnTo>
                  <a:lnTo>
                    <a:pt x="58" y="24"/>
                  </a:lnTo>
                  <a:lnTo>
                    <a:pt x="58" y="24"/>
                  </a:lnTo>
                  <a:lnTo>
                    <a:pt x="56" y="22"/>
                  </a:lnTo>
                  <a:lnTo>
                    <a:pt x="56" y="20"/>
                  </a:lnTo>
                  <a:lnTo>
                    <a:pt x="56" y="18"/>
                  </a:lnTo>
                  <a:lnTo>
                    <a:pt x="54" y="16"/>
                  </a:lnTo>
                  <a:lnTo>
                    <a:pt x="54" y="14"/>
                  </a:lnTo>
                  <a:lnTo>
                    <a:pt x="54" y="12"/>
                  </a:lnTo>
                  <a:lnTo>
                    <a:pt x="54" y="12"/>
                  </a:lnTo>
                  <a:lnTo>
                    <a:pt x="52" y="12"/>
                  </a:lnTo>
                  <a:lnTo>
                    <a:pt x="52" y="12"/>
                  </a:lnTo>
                  <a:lnTo>
                    <a:pt x="52" y="10"/>
                  </a:lnTo>
                  <a:lnTo>
                    <a:pt x="50" y="10"/>
                  </a:lnTo>
                  <a:lnTo>
                    <a:pt x="48" y="10"/>
                  </a:lnTo>
                  <a:lnTo>
                    <a:pt x="46" y="10"/>
                  </a:lnTo>
                  <a:lnTo>
                    <a:pt x="44" y="10"/>
                  </a:lnTo>
                  <a:lnTo>
                    <a:pt x="42" y="8"/>
                  </a:lnTo>
                  <a:lnTo>
                    <a:pt x="42" y="8"/>
                  </a:lnTo>
                  <a:lnTo>
                    <a:pt x="40" y="8"/>
                  </a:lnTo>
                  <a:lnTo>
                    <a:pt x="40" y="8"/>
                  </a:lnTo>
                  <a:lnTo>
                    <a:pt x="40" y="6"/>
                  </a:lnTo>
                  <a:lnTo>
                    <a:pt x="40" y="6"/>
                  </a:lnTo>
                  <a:lnTo>
                    <a:pt x="40" y="4"/>
                  </a:lnTo>
                  <a:lnTo>
                    <a:pt x="40" y="2"/>
                  </a:lnTo>
                  <a:lnTo>
                    <a:pt x="40" y="2"/>
                  </a:lnTo>
                  <a:lnTo>
                    <a:pt x="38" y="2"/>
                  </a:lnTo>
                  <a:lnTo>
                    <a:pt x="38" y="2"/>
                  </a:lnTo>
                  <a:lnTo>
                    <a:pt x="38" y="0"/>
                  </a:lnTo>
                  <a:lnTo>
                    <a:pt x="36" y="0"/>
                  </a:lnTo>
                  <a:lnTo>
                    <a:pt x="34" y="0"/>
                  </a:lnTo>
                  <a:lnTo>
                    <a:pt x="32" y="0"/>
                  </a:lnTo>
                  <a:lnTo>
                    <a:pt x="28" y="0"/>
                  </a:lnTo>
                  <a:lnTo>
                    <a:pt x="26"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1" name="Freeform 440">
              <a:extLst>
                <a:ext uri="{FF2B5EF4-FFF2-40B4-BE49-F238E27FC236}">
                  <a16:creationId xmlns:a16="http://schemas.microsoft.com/office/drawing/2014/main" id="{85413369-D5DB-4DC4-BE08-0E21C34BEABE}"/>
                </a:ext>
              </a:extLst>
            </p:cNvPr>
            <p:cNvSpPr>
              <a:spLocks/>
            </p:cNvSpPr>
            <p:nvPr/>
          </p:nvSpPr>
          <p:spPr bwMode="auto">
            <a:xfrm>
              <a:off x="4269212" y="3967238"/>
              <a:ext cx="394913" cy="329094"/>
            </a:xfrm>
            <a:custGeom>
              <a:avLst/>
              <a:gdLst>
                <a:gd name="T0" fmla="*/ 54 w 228"/>
                <a:gd name="T1" fmla="*/ 184 h 190"/>
                <a:gd name="T2" fmla="*/ 60 w 228"/>
                <a:gd name="T3" fmla="*/ 172 h 190"/>
                <a:gd name="T4" fmla="*/ 68 w 228"/>
                <a:gd name="T5" fmla="*/ 168 h 190"/>
                <a:gd name="T6" fmla="*/ 84 w 228"/>
                <a:gd name="T7" fmla="*/ 168 h 190"/>
                <a:gd name="T8" fmla="*/ 90 w 228"/>
                <a:gd name="T9" fmla="*/ 174 h 190"/>
                <a:gd name="T10" fmla="*/ 92 w 228"/>
                <a:gd name="T11" fmla="*/ 178 h 190"/>
                <a:gd name="T12" fmla="*/ 94 w 228"/>
                <a:gd name="T13" fmla="*/ 174 h 190"/>
                <a:gd name="T14" fmla="*/ 98 w 228"/>
                <a:gd name="T15" fmla="*/ 170 h 190"/>
                <a:gd name="T16" fmla="*/ 114 w 228"/>
                <a:gd name="T17" fmla="*/ 170 h 190"/>
                <a:gd name="T18" fmla="*/ 124 w 228"/>
                <a:gd name="T19" fmla="*/ 170 h 190"/>
                <a:gd name="T20" fmla="*/ 132 w 228"/>
                <a:gd name="T21" fmla="*/ 176 h 190"/>
                <a:gd name="T22" fmla="*/ 142 w 228"/>
                <a:gd name="T23" fmla="*/ 178 h 190"/>
                <a:gd name="T24" fmla="*/ 144 w 228"/>
                <a:gd name="T25" fmla="*/ 176 h 190"/>
                <a:gd name="T26" fmla="*/ 146 w 228"/>
                <a:gd name="T27" fmla="*/ 170 h 190"/>
                <a:gd name="T28" fmla="*/ 152 w 228"/>
                <a:gd name="T29" fmla="*/ 168 h 190"/>
                <a:gd name="T30" fmla="*/ 166 w 228"/>
                <a:gd name="T31" fmla="*/ 170 h 190"/>
                <a:gd name="T32" fmla="*/ 170 w 228"/>
                <a:gd name="T33" fmla="*/ 178 h 190"/>
                <a:gd name="T34" fmla="*/ 174 w 228"/>
                <a:gd name="T35" fmla="*/ 178 h 190"/>
                <a:gd name="T36" fmla="*/ 180 w 228"/>
                <a:gd name="T37" fmla="*/ 170 h 190"/>
                <a:gd name="T38" fmla="*/ 188 w 228"/>
                <a:gd name="T39" fmla="*/ 156 h 190"/>
                <a:gd name="T40" fmla="*/ 192 w 228"/>
                <a:gd name="T41" fmla="*/ 146 h 190"/>
                <a:gd name="T42" fmla="*/ 202 w 228"/>
                <a:gd name="T43" fmla="*/ 138 h 190"/>
                <a:gd name="T44" fmla="*/ 208 w 228"/>
                <a:gd name="T45" fmla="*/ 128 h 190"/>
                <a:gd name="T46" fmla="*/ 216 w 228"/>
                <a:gd name="T47" fmla="*/ 126 h 190"/>
                <a:gd name="T48" fmla="*/ 222 w 228"/>
                <a:gd name="T49" fmla="*/ 120 h 190"/>
                <a:gd name="T50" fmla="*/ 226 w 228"/>
                <a:gd name="T51" fmla="*/ 108 h 190"/>
                <a:gd name="T52" fmla="*/ 228 w 228"/>
                <a:gd name="T53" fmla="*/ 74 h 190"/>
                <a:gd name="T54" fmla="*/ 224 w 228"/>
                <a:gd name="T55" fmla="*/ 40 h 190"/>
                <a:gd name="T56" fmla="*/ 216 w 228"/>
                <a:gd name="T57" fmla="*/ 20 h 190"/>
                <a:gd name="T58" fmla="*/ 202 w 228"/>
                <a:gd name="T59" fmla="*/ 10 h 190"/>
                <a:gd name="T60" fmla="*/ 188 w 228"/>
                <a:gd name="T61" fmla="*/ 10 h 190"/>
                <a:gd name="T62" fmla="*/ 186 w 228"/>
                <a:gd name="T63" fmla="*/ 4 h 190"/>
                <a:gd name="T64" fmla="*/ 180 w 228"/>
                <a:gd name="T65" fmla="*/ 0 h 190"/>
                <a:gd name="T66" fmla="*/ 164 w 228"/>
                <a:gd name="T67" fmla="*/ 4 h 190"/>
                <a:gd name="T68" fmla="*/ 154 w 228"/>
                <a:gd name="T69" fmla="*/ 12 h 190"/>
                <a:gd name="T70" fmla="*/ 136 w 228"/>
                <a:gd name="T71" fmla="*/ 22 h 190"/>
                <a:gd name="T72" fmla="*/ 130 w 228"/>
                <a:gd name="T73" fmla="*/ 32 h 190"/>
                <a:gd name="T74" fmla="*/ 122 w 228"/>
                <a:gd name="T75" fmla="*/ 36 h 190"/>
                <a:gd name="T76" fmla="*/ 106 w 228"/>
                <a:gd name="T77" fmla="*/ 40 h 190"/>
                <a:gd name="T78" fmla="*/ 102 w 228"/>
                <a:gd name="T79" fmla="*/ 46 h 190"/>
                <a:gd name="T80" fmla="*/ 100 w 228"/>
                <a:gd name="T81" fmla="*/ 54 h 190"/>
                <a:gd name="T82" fmla="*/ 90 w 228"/>
                <a:gd name="T83" fmla="*/ 60 h 190"/>
                <a:gd name="T84" fmla="*/ 82 w 228"/>
                <a:gd name="T85" fmla="*/ 68 h 190"/>
                <a:gd name="T86" fmla="*/ 70 w 228"/>
                <a:gd name="T87" fmla="*/ 68 h 190"/>
                <a:gd name="T88" fmla="*/ 60 w 228"/>
                <a:gd name="T89" fmla="*/ 68 h 190"/>
                <a:gd name="T90" fmla="*/ 56 w 228"/>
                <a:gd name="T91" fmla="*/ 76 h 190"/>
                <a:gd name="T92" fmla="*/ 62 w 228"/>
                <a:gd name="T93" fmla="*/ 106 h 190"/>
                <a:gd name="T94" fmla="*/ 60 w 228"/>
                <a:gd name="T95" fmla="*/ 122 h 190"/>
                <a:gd name="T96" fmla="*/ 58 w 228"/>
                <a:gd name="T97" fmla="*/ 126 h 190"/>
                <a:gd name="T98" fmla="*/ 50 w 228"/>
                <a:gd name="T99" fmla="*/ 126 h 190"/>
                <a:gd name="T100" fmla="*/ 50 w 228"/>
                <a:gd name="T101" fmla="*/ 130 h 190"/>
                <a:gd name="T102" fmla="*/ 48 w 228"/>
                <a:gd name="T103" fmla="*/ 136 h 190"/>
                <a:gd name="T104" fmla="*/ 40 w 228"/>
                <a:gd name="T105" fmla="*/ 138 h 190"/>
                <a:gd name="T106" fmla="*/ 16 w 228"/>
                <a:gd name="T107" fmla="*/ 140 h 190"/>
                <a:gd name="T108" fmla="*/ 0 w 228"/>
                <a:gd name="T109" fmla="*/ 148 h 190"/>
                <a:gd name="T110" fmla="*/ 6 w 228"/>
                <a:gd name="T111" fmla="*/ 158 h 190"/>
                <a:gd name="T112" fmla="*/ 14 w 228"/>
                <a:gd name="T113" fmla="*/ 162 h 190"/>
                <a:gd name="T114" fmla="*/ 14 w 228"/>
                <a:gd name="T115" fmla="*/ 174 h 190"/>
                <a:gd name="T116" fmla="*/ 16 w 228"/>
                <a:gd name="T117" fmla="*/ 178 h 190"/>
                <a:gd name="T118" fmla="*/ 26 w 228"/>
                <a:gd name="T119" fmla="*/ 178 h 190"/>
                <a:gd name="T120" fmla="*/ 32 w 228"/>
                <a:gd name="T121" fmla="*/ 188 h 190"/>
                <a:gd name="T122" fmla="*/ 52 w 228"/>
                <a:gd name="T123" fmla="*/ 18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8" h="190">
                  <a:moveTo>
                    <a:pt x="52" y="188"/>
                  </a:moveTo>
                  <a:lnTo>
                    <a:pt x="52" y="188"/>
                  </a:lnTo>
                  <a:lnTo>
                    <a:pt x="52" y="188"/>
                  </a:lnTo>
                  <a:lnTo>
                    <a:pt x="52" y="186"/>
                  </a:lnTo>
                  <a:lnTo>
                    <a:pt x="52" y="186"/>
                  </a:lnTo>
                  <a:lnTo>
                    <a:pt x="54" y="184"/>
                  </a:lnTo>
                  <a:lnTo>
                    <a:pt x="54" y="182"/>
                  </a:lnTo>
                  <a:lnTo>
                    <a:pt x="56" y="180"/>
                  </a:lnTo>
                  <a:lnTo>
                    <a:pt x="56" y="178"/>
                  </a:lnTo>
                  <a:lnTo>
                    <a:pt x="58" y="174"/>
                  </a:lnTo>
                  <a:lnTo>
                    <a:pt x="58" y="174"/>
                  </a:lnTo>
                  <a:lnTo>
                    <a:pt x="60" y="172"/>
                  </a:lnTo>
                  <a:lnTo>
                    <a:pt x="60" y="170"/>
                  </a:lnTo>
                  <a:lnTo>
                    <a:pt x="62" y="170"/>
                  </a:lnTo>
                  <a:lnTo>
                    <a:pt x="62" y="170"/>
                  </a:lnTo>
                  <a:lnTo>
                    <a:pt x="64" y="168"/>
                  </a:lnTo>
                  <a:lnTo>
                    <a:pt x="66" y="168"/>
                  </a:lnTo>
                  <a:lnTo>
                    <a:pt x="68" y="168"/>
                  </a:lnTo>
                  <a:lnTo>
                    <a:pt x="72" y="166"/>
                  </a:lnTo>
                  <a:lnTo>
                    <a:pt x="74" y="166"/>
                  </a:lnTo>
                  <a:lnTo>
                    <a:pt x="78" y="166"/>
                  </a:lnTo>
                  <a:lnTo>
                    <a:pt x="80" y="166"/>
                  </a:lnTo>
                  <a:lnTo>
                    <a:pt x="82" y="166"/>
                  </a:lnTo>
                  <a:lnTo>
                    <a:pt x="84" y="168"/>
                  </a:lnTo>
                  <a:lnTo>
                    <a:pt x="86" y="168"/>
                  </a:lnTo>
                  <a:lnTo>
                    <a:pt x="86" y="168"/>
                  </a:lnTo>
                  <a:lnTo>
                    <a:pt x="86" y="168"/>
                  </a:lnTo>
                  <a:lnTo>
                    <a:pt x="88" y="168"/>
                  </a:lnTo>
                  <a:lnTo>
                    <a:pt x="88" y="170"/>
                  </a:lnTo>
                  <a:lnTo>
                    <a:pt x="90" y="174"/>
                  </a:lnTo>
                  <a:lnTo>
                    <a:pt x="90" y="176"/>
                  </a:lnTo>
                  <a:lnTo>
                    <a:pt x="90" y="176"/>
                  </a:lnTo>
                  <a:lnTo>
                    <a:pt x="92" y="178"/>
                  </a:lnTo>
                  <a:lnTo>
                    <a:pt x="92" y="178"/>
                  </a:lnTo>
                  <a:lnTo>
                    <a:pt x="92" y="178"/>
                  </a:lnTo>
                  <a:lnTo>
                    <a:pt x="92" y="178"/>
                  </a:lnTo>
                  <a:lnTo>
                    <a:pt x="92" y="178"/>
                  </a:lnTo>
                  <a:lnTo>
                    <a:pt x="94" y="178"/>
                  </a:lnTo>
                  <a:lnTo>
                    <a:pt x="94" y="178"/>
                  </a:lnTo>
                  <a:lnTo>
                    <a:pt x="94" y="176"/>
                  </a:lnTo>
                  <a:lnTo>
                    <a:pt x="94" y="176"/>
                  </a:lnTo>
                  <a:lnTo>
                    <a:pt x="94" y="174"/>
                  </a:lnTo>
                  <a:lnTo>
                    <a:pt x="94" y="172"/>
                  </a:lnTo>
                  <a:lnTo>
                    <a:pt x="94" y="172"/>
                  </a:lnTo>
                  <a:lnTo>
                    <a:pt x="94" y="172"/>
                  </a:lnTo>
                  <a:lnTo>
                    <a:pt x="96" y="170"/>
                  </a:lnTo>
                  <a:lnTo>
                    <a:pt x="96" y="170"/>
                  </a:lnTo>
                  <a:lnTo>
                    <a:pt x="98" y="170"/>
                  </a:lnTo>
                  <a:lnTo>
                    <a:pt x="100" y="170"/>
                  </a:lnTo>
                  <a:lnTo>
                    <a:pt x="102" y="170"/>
                  </a:lnTo>
                  <a:lnTo>
                    <a:pt x="108" y="170"/>
                  </a:lnTo>
                  <a:lnTo>
                    <a:pt x="110" y="170"/>
                  </a:lnTo>
                  <a:lnTo>
                    <a:pt x="112" y="170"/>
                  </a:lnTo>
                  <a:lnTo>
                    <a:pt x="114" y="170"/>
                  </a:lnTo>
                  <a:lnTo>
                    <a:pt x="118" y="168"/>
                  </a:lnTo>
                  <a:lnTo>
                    <a:pt x="120" y="168"/>
                  </a:lnTo>
                  <a:lnTo>
                    <a:pt x="120" y="168"/>
                  </a:lnTo>
                  <a:lnTo>
                    <a:pt x="122" y="168"/>
                  </a:lnTo>
                  <a:lnTo>
                    <a:pt x="124" y="168"/>
                  </a:lnTo>
                  <a:lnTo>
                    <a:pt x="124" y="170"/>
                  </a:lnTo>
                  <a:lnTo>
                    <a:pt x="126" y="170"/>
                  </a:lnTo>
                  <a:lnTo>
                    <a:pt x="126" y="172"/>
                  </a:lnTo>
                  <a:lnTo>
                    <a:pt x="128" y="172"/>
                  </a:lnTo>
                  <a:lnTo>
                    <a:pt x="130" y="176"/>
                  </a:lnTo>
                  <a:lnTo>
                    <a:pt x="130" y="176"/>
                  </a:lnTo>
                  <a:lnTo>
                    <a:pt x="132" y="176"/>
                  </a:lnTo>
                  <a:lnTo>
                    <a:pt x="132" y="178"/>
                  </a:lnTo>
                  <a:lnTo>
                    <a:pt x="134" y="178"/>
                  </a:lnTo>
                  <a:lnTo>
                    <a:pt x="136" y="178"/>
                  </a:lnTo>
                  <a:lnTo>
                    <a:pt x="138" y="178"/>
                  </a:lnTo>
                  <a:lnTo>
                    <a:pt x="140" y="178"/>
                  </a:lnTo>
                  <a:lnTo>
                    <a:pt x="142" y="178"/>
                  </a:lnTo>
                  <a:lnTo>
                    <a:pt x="142" y="178"/>
                  </a:lnTo>
                  <a:lnTo>
                    <a:pt x="144" y="178"/>
                  </a:lnTo>
                  <a:lnTo>
                    <a:pt x="144" y="178"/>
                  </a:lnTo>
                  <a:lnTo>
                    <a:pt x="144" y="178"/>
                  </a:lnTo>
                  <a:lnTo>
                    <a:pt x="144" y="178"/>
                  </a:lnTo>
                  <a:lnTo>
                    <a:pt x="144" y="176"/>
                  </a:lnTo>
                  <a:lnTo>
                    <a:pt x="144" y="176"/>
                  </a:lnTo>
                  <a:lnTo>
                    <a:pt x="144" y="174"/>
                  </a:lnTo>
                  <a:lnTo>
                    <a:pt x="144" y="172"/>
                  </a:lnTo>
                  <a:lnTo>
                    <a:pt x="144" y="172"/>
                  </a:lnTo>
                  <a:lnTo>
                    <a:pt x="146" y="170"/>
                  </a:lnTo>
                  <a:lnTo>
                    <a:pt x="146" y="170"/>
                  </a:lnTo>
                  <a:lnTo>
                    <a:pt x="146" y="170"/>
                  </a:lnTo>
                  <a:lnTo>
                    <a:pt x="146" y="170"/>
                  </a:lnTo>
                  <a:lnTo>
                    <a:pt x="148" y="170"/>
                  </a:lnTo>
                  <a:lnTo>
                    <a:pt x="148" y="168"/>
                  </a:lnTo>
                  <a:lnTo>
                    <a:pt x="150" y="168"/>
                  </a:lnTo>
                  <a:lnTo>
                    <a:pt x="152" y="168"/>
                  </a:lnTo>
                  <a:lnTo>
                    <a:pt x="156" y="168"/>
                  </a:lnTo>
                  <a:lnTo>
                    <a:pt x="158" y="168"/>
                  </a:lnTo>
                  <a:lnTo>
                    <a:pt x="160" y="170"/>
                  </a:lnTo>
                  <a:lnTo>
                    <a:pt x="164" y="170"/>
                  </a:lnTo>
                  <a:lnTo>
                    <a:pt x="166" y="170"/>
                  </a:lnTo>
                  <a:lnTo>
                    <a:pt x="166" y="170"/>
                  </a:lnTo>
                  <a:lnTo>
                    <a:pt x="166" y="172"/>
                  </a:lnTo>
                  <a:lnTo>
                    <a:pt x="168" y="172"/>
                  </a:lnTo>
                  <a:lnTo>
                    <a:pt x="168" y="174"/>
                  </a:lnTo>
                  <a:lnTo>
                    <a:pt x="170" y="176"/>
                  </a:lnTo>
                  <a:lnTo>
                    <a:pt x="170" y="178"/>
                  </a:lnTo>
                  <a:lnTo>
                    <a:pt x="170" y="178"/>
                  </a:lnTo>
                  <a:lnTo>
                    <a:pt x="172" y="178"/>
                  </a:lnTo>
                  <a:lnTo>
                    <a:pt x="172" y="178"/>
                  </a:lnTo>
                  <a:lnTo>
                    <a:pt x="172" y="178"/>
                  </a:lnTo>
                  <a:lnTo>
                    <a:pt x="172" y="178"/>
                  </a:lnTo>
                  <a:lnTo>
                    <a:pt x="174" y="178"/>
                  </a:lnTo>
                  <a:lnTo>
                    <a:pt x="174" y="178"/>
                  </a:lnTo>
                  <a:lnTo>
                    <a:pt x="176" y="176"/>
                  </a:lnTo>
                  <a:lnTo>
                    <a:pt x="176" y="176"/>
                  </a:lnTo>
                  <a:lnTo>
                    <a:pt x="178" y="172"/>
                  </a:lnTo>
                  <a:lnTo>
                    <a:pt x="178" y="172"/>
                  </a:lnTo>
                  <a:lnTo>
                    <a:pt x="180" y="170"/>
                  </a:lnTo>
                  <a:lnTo>
                    <a:pt x="180" y="170"/>
                  </a:lnTo>
                  <a:lnTo>
                    <a:pt x="182" y="168"/>
                  </a:lnTo>
                  <a:lnTo>
                    <a:pt x="186" y="166"/>
                  </a:lnTo>
                  <a:lnTo>
                    <a:pt x="190" y="164"/>
                  </a:lnTo>
                  <a:lnTo>
                    <a:pt x="190" y="162"/>
                  </a:lnTo>
                  <a:lnTo>
                    <a:pt x="188" y="158"/>
                  </a:lnTo>
                  <a:lnTo>
                    <a:pt x="188" y="156"/>
                  </a:lnTo>
                  <a:lnTo>
                    <a:pt x="188" y="154"/>
                  </a:lnTo>
                  <a:lnTo>
                    <a:pt x="188" y="152"/>
                  </a:lnTo>
                  <a:lnTo>
                    <a:pt x="190" y="150"/>
                  </a:lnTo>
                  <a:lnTo>
                    <a:pt x="190" y="148"/>
                  </a:lnTo>
                  <a:lnTo>
                    <a:pt x="190" y="148"/>
                  </a:lnTo>
                  <a:lnTo>
                    <a:pt x="192" y="146"/>
                  </a:lnTo>
                  <a:lnTo>
                    <a:pt x="194" y="144"/>
                  </a:lnTo>
                  <a:lnTo>
                    <a:pt x="194" y="142"/>
                  </a:lnTo>
                  <a:lnTo>
                    <a:pt x="196" y="142"/>
                  </a:lnTo>
                  <a:lnTo>
                    <a:pt x="196" y="140"/>
                  </a:lnTo>
                  <a:lnTo>
                    <a:pt x="200" y="140"/>
                  </a:lnTo>
                  <a:lnTo>
                    <a:pt x="202" y="138"/>
                  </a:lnTo>
                  <a:lnTo>
                    <a:pt x="204" y="136"/>
                  </a:lnTo>
                  <a:lnTo>
                    <a:pt x="204" y="136"/>
                  </a:lnTo>
                  <a:lnTo>
                    <a:pt x="206" y="134"/>
                  </a:lnTo>
                  <a:lnTo>
                    <a:pt x="206" y="134"/>
                  </a:lnTo>
                  <a:lnTo>
                    <a:pt x="208" y="132"/>
                  </a:lnTo>
                  <a:lnTo>
                    <a:pt x="208" y="128"/>
                  </a:lnTo>
                  <a:lnTo>
                    <a:pt x="210" y="128"/>
                  </a:lnTo>
                  <a:lnTo>
                    <a:pt x="210" y="126"/>
                  </a:lnTo>
                  <a:lnTo>
                    <a:pt x="212" y="126"/>
                  </a:lnTo>
                  <a:lnTo>
                    <a:pt x="212" y="126"/>
                  </a:lnTo>
                  <a:lnTo>
                    <a:pt x="216" y="126"/>
                  </a:lnTo>
                  <a:lnTo>
                    <a:pt x="216" y="126"/>
                  </a:lnTo>
                  <a:lnTo>
                    <a:pt x="218" y="126"/>
                  </a:lnTo>
                  <a:lnTo>
                    <a:pt x="220" y="124"/>
                  </a:lnTo>
                  <a:lnTo>
                    <a:pt x="220" y="124"/>
                  </a:lnTo>
                  <a:lnTo>
                    <a:pt x="220" y="124"/>
                  </a:lnTo>
                  <a:lnTo>
                    <a:pt x="222" y="122"/>
                  </a:lnTo>
                  <a:lnTo>
                    <a:pt x="222" y="120"/>
                  </a:lnTo>
                  <a:lnTo>
                    <a:pt x="224" y="118"/>
                  </a:lnTo>
                  <a:lnTo>
                    <a:pt x="224" y="118"/>
                  </a:lnTo>
                  <a:lnTo>
                    <a:pt x="224" y="114"/>
                  </a:lnTo>
                  <a:lnTo>
                    <a:pt x="226" y="112"/>
                  </a:lnTo>
                  <a:lnTo>
                    <a:pt x="226" y="110"/>
                  </a:lnTo>
                  <a:lnTo>
                    <a:pt x="226" y="108"/>
                  </a:lnTo>
                  <a:lnTo>
                    <a:pt x="228" y="102"/>
                  </a:lnTo>
                  <a:lnTo>
                    <a:pt x="228" y="98"/>
                  </a:lnTo>
                  <a:lnTo>
                    <a:pt x="228" y="92"/>
                  </a:lnTo>
                  <a:lnTo>
                    <a:pt x="228" y="86"/>
                  </a:lnTo>
                  <a:lnTo>
                    <a:pt x="228" y="80"/>
                  </a:lnTo>
                  <a:lnTo>
                    <a:pt x="228" y="74"/>
                  </a:lnTo>
                  <a:lnTo>
                    <a:pt x="228" y="68"/>
                  </a:lnTo>
                  <a:lnTo>
                    <a:pt x="228" y="64"/>
                  </a:lnTo>
                  <a:lnTo>
                    <a:pt x="226" y="54"/>
                  </a:lnTo>
                  <a:lnTo>
                    <a:pt x="226" y="44"/>
                  </a:lnTo>
                  <a:lnTo>
                    <a:pt x="224" y="44"/>
                  </a:lnTo>
                  <a:lnTo>
                    <a:pt x="224" y="40"/>
                  </a:lnTo>
                  <a:lnTo>
                    <a:pt x="222" y="36"/>
                  </a:lnTo>
                  <a:lnTo>
                    <a:pt x="218" y="30"/>
                  </a:lnTo>
                  <a:lnTo>
                    <a:pt x="218" y="26"/>
                  </a:lnTo>
                  <a:lnTo>
                    <a:pt x="216" y="24"/>
                  </a:lnTo>
                  <a:lnTo>
                    <a:pt x="216" y="22"/>
                  </a:lnTo>
                  <a:lnTo>
                    <a:pt x="216" y="20"/>
                  </a:lnTo>
                  <a:lnTo>
                    <a:pt x="214" y="18"/>
                  </a:lnTo>
                  <a:lnTo>
                    <a:pt x="214" y="14"/>
                  </a:lnTo>
                  <a:lnTo>
                    <a:pt x="210" y="12"/>
                  </a:lnTo>
                  <a:lnTo>
                    <a:pt x="206" y="12"/>
                  </a:lnTo>
                  <a:lnTo>
                    <a:pt x="204" y="10"/>
                  </a:lnTo>
                  <a:lnTo>
                    <a:pt x="202" y="10"/>
                  </a:lnTo>
                  <a:lnTo>
                    <a:pt x="200" y="10"/>
                  </a:lnTo>
                  <a:lnTo>
                    <a:pt x="196" y="10"/>
                  </a:lnTo>
                  <a:lnTo>
                    <a:pt x="194" y="10"/>
                  </a:lnTo>
                  <a:lnTo>
                    <a:pt x="190" y="10"/>
                  </a:lnTo>
                  <a:lnTo>
                    <a:pt x="190" y="10"/>
                  </a:lnTo>
                  <a:lnTo>
                    <a:pt x="188" y="10"/>
                  </a:lnTo>
                  <a:lnTo>
                    <a:pt x="188" y="10"/>
                  </a:lnTo>
                  <a:lnTo>
                    <a:pt x="188" y="8"/>
                  </a:lnTo>
                  <a:lnTo>
                    <a:pt x="186" y="8"/>
                  </a:lnTo>
                  <a:lnTo>
                    <a:pt x="186" y="8"/>
                  </a:lnTo>
                  <a:lnTo>
                    <a:pt x="186" y="6"/>
                  </a:lnTo>
                  <a:lnTo>
                    <a:pt x="186" y="4"/>
                  </a:lnTo>
                  <a:lnTo>
                    <a:pt x="186" y="2"/>
                  </a:lnTo>
                  <a:lnTo>
                    <a:pt x="186" y="2"/>
                  </a:lnTo>
                  <a:lnTo>
                    <a:pt x="184" y="2"/>
                  </a:lnTo>
                  <a:lnTo>
                    <a:pt x="184" y="2"/>
                  </a:lnTo>
                  <a:lnTo>
                    <a:pt x="182" y="2"/>
                  </a:lnTo>
                  <a:lnTo>
                    <a:pt x="180" y="0"/>
                  </a:lnTo>
                  <a:lnTo>
                    <a:pt x="178" y="0"/>
                  </a:lnTo>
                  <a:lnTo>
                    <a:pt x="174" y="0"/>
                  </a:lnTo>
                  <a:lnTo>
                    <a:pt x="172" y="2"/>
                  </a:lnTo>
                  <a:lnTo>
                    <a:pt x="170" y="2"/>
                  </a:lnTo>
                  <a:lnTo>
                    <a:pt x="166" y="2"/>
                  </a:lnTo>
                  <a:lnTo>
                    <a:pt x="164" y="4"/>
                  </a:lnTo>
                  <a:lnTo>
                    <a:pt x="164" y="6"/>
                  </a:lnTo>
                  <a:lnTo>
                    <a:pt x="162" y="8"/>
                  </a:lnTo>
                  <a:lnTo>
                    <a:pt x="162" y="8"/>
                  </a:lnTo>
                  <a:lnTo>
                    <a:pt x="160" y="8"/>
                  </a:lnTo>
                  <a:lnTo>
                    <a:pt x="158" y="10"/>
                  </a:lnTo>
                  <a:lnTo>
                    <a:pt x="154" y="12"/>
                  </a:lnTo>
                  <a:lnTo>
                    <a:pt x="150" y="12"/>
                  </a:lnTo>
                  <a:lnTo>
                    <a:pt x="148" y="14"/>
                  </a:lnTo>
                  <a:lnTo>
                    <a:pt x="146" y="14"/>
                  </a:lnTo>
                  <a:lnTo>
                    <a:pt x="144" y="16"/>
                  </a:lnTo>
                  <a:lnTo>
                    <a:pt x="140" y="18"/>
                  </a:lnTo>
                  <a:lnTo>
                    <a:pt x="136" y="22"/>
                  </a:lnTo>
                  <a:lnTo>
                    <a:pt x="136" y="24"/>
                  </a:lnTo>
                  <a:lnTo>
                    <a:pt x="134" y="24"/>
                  </a:lnTo>
                  <a:lnTo>
                    <a:pt x="134" y="26"/>
                  </a:lnTo>
                  <a:lnTo>
                    <a:pt x="132" y="26"/>
                  </a:lnTo>
                  <a:lnTo>
                    <a:pt x="132" y="30"/>
                  </a:lnTo>
                  <a:lnTo>
                    <a:pt x="130" y="32"/>
                  </a:lnTo>
                  <a:lnTo>
                    <a:pt x="128" y="34"/>
                  </a:lnTo>
                  <a:lnTo>
                    <a:pt x="128" y="34"/>
                  </a:lnTo>
                  <a:lnTo>
                    <a:pt x="126" y="34"/>
                  </a:lnTo>
                  <a:lnTo>
                    <a:pt x="126" y="36"/>
                  </a:lnTo>
                  <a:lnTo>
                    <a:pt x="124" y="36"/>
                  </a:lnTo>
                  <a:lnTo>
                    <a:pt x="122" y="36"/>
                  </a:lnTo>
                  <a:lnTo>
                    <a:pt x="120" y="38"/>
                  </a:lnTo>
                  <a:lnTo>
                    <a:pt x="116" y="38"/>
                  </a:lnTo>
                  <a:lnTo>
                    <a:pt x="112" y="38"/>
                  </a:lnTo>
                  <a:lnTo>
                    <a:pt x="108" y="40"/>
                  </a:lnTo>
                  <a:lnTo>
                    <a:pt x="108" y="40"/>
                  </a:lnTo>
                  <a:lnTo>
                    <a:pt x="106" y="40"/>
                  </a:lnTo>
                  <a:lnTo>
                    <a:pt x="104" y="40"/>
                  </a:lnTo>
                  <a:lnTo>
                    <a:pt x="104" y="42"/>
                  </a:lnTo>
                  <a:lnTo>
                    <a:pt x="104" y="42"/>
                  </a:lnTo>
                  <a:lnTo>
                    <a:pt x="104" y="42"/>
                  </a:lnTo>
                  <a:lnTo>
                    <a:pt x="102" y="44"/>
                  </a:lnTo>
                  <a:lnTo>
                    <a:pt x="102" y="46"/>
                  </a:lnTo>
                  <a:lnTo>
                    <a:pt x="102" y="46"/>
                  </a:lnTo>
                  <a:lnTo>
                    <a:pt x="102" y="50"/>
                  </a:lnTo>
                  <a:lnTo>
                    <a:pt x="102" y="50"/>
                  </a:lnTo>
                  <a:lnTo>
                    <a:pt x="102" y="52"/>
                  </a:lnTo>
                  <a:lnTo>
                    <a:pt x="100" y="52"/>
                  </a:lnTo>
                  <a:lnTo>
                    <a:pt x="100" y="54"/>
                  </a:lnTo>
                  <a:lnTo>
                    <a:pt x="96" y="54"/>
                  </a:lnTo>
                  <a:lnTo>
                    <a:pt x="94" y="56"/>
                  </a:lnTo>
                  <a:lnTo>
                    <a:pt x="94" y="56"/>
                  </a:lnTo>
                  <a:lnTo>
                    <a:pt x="92" y="56"/>
                  </a:lnTo>
                  <a:lnTo>
                    <a:pt x="92" y="58"/>
                  </a:lnTo>
                  <a:lnTo>
                    <a:pt x="90" y="60"/>
                  </a:lnTo>
                  <a:lnTo>
                    <a:pt x="88" y="62"/>
                  </a:lnTo>
                  <a:lnTo>
                    <a:pt x="86" y="64"/>
                  </a:lnTo>
                  <a:lnTo>
                    <a:pt x="84" y="66"/>
                  </a:lnTo>
                  <a:lnTo>
                    <a:pt x="84" y="68"/>
                  </a:lnTo>
                  <a:lnTo>
                    <a:pt x="84" y="68"/>
                  </a:lnTo>
                  <a:lnTo>
                    <a:pt x="82" y="68"/>
                  </a:lnTo>
                  <a:lnTo>
                    <a:pt x="82" y="68"/>
                  </a:lnTo>
                  <a:lnTo>
                    <a:pt x="80" y="68"/>
                  </a:lnTo>
                  <a:lnTo>
                    <a:pt x="78" y="68"/>
                  </a:lnTo>
                  <a:lnTo>
                    <a:pt x="76" y="68"/>
                  </a:lnTo>
                  <a:lnTo>
                    <a:pt x="74" y="68"/>
                  </a:lnTo>
                  <a:lnTo>
                    <a:pt x="70" y="68"/>
                  </a:lnTo>
                  <a:lnTo>
                    <a:pt x="66" y="68"/>
                  </a:lnTo>
                  <a:lnTo>
                    <a:pt x="64" y="68"/>
                  </a:lnTo>
                  <a:lnTo>
                    <a:pt x="64" y="68"/>
                  </a:lnTo>
                  <a:lnTo>
                    <a:pt x="62" y="68"/>
                  </a:lnTo>
                  <a:lnTo>
                    <a:pt x="60" y="68"/>
                  </a:lnTo>
                  <a:lnTo>
                    <a:pt x="60" y="68"/>
                  </a:lnTo>
                  <a:lnTo>
                    <a:pt x="58" y="70"/>
                  </a:lnTo>
                  <a:lnTo>
                    <a:pt x="58" y="70"/>
                  </a:lnTo>
                  <a:lnTo>
                    <a:pt x="58" y="72"/>
                  </a:lnTo>
                  <a:lnTo>
                    <a:pt x="58" y="72"/>
                  </a:lnTo>
                  <a:lnTo>
                    <a:pt x="58" y="74"/>
                  </a:lnTo>
                  <a:lnTo>
                    <a:pt x="56" y="76"/>
                  </a:lnTo>
                  <a:lnTo>
                    <a:pt x="56" y="78"/>
                  </a:lnTo>
                  <a:lnTo>
                    <a:pt x="58" y="84"/>
                  </a:lnTo>
                  <a:lnTo>
                    <a:pt x="60" y="90"/>
                  </a:lnTo>
                  <a:lnTo>
                    <a:pt x="60" y="98"/>
                  </a:lnTo>
                  <a:lnTo>
                    <a:pt x="62" y="102"/>
                  </a:lnTo>
                  <a:lnTo>
                    <a:pt x="62" y="106"/>
                  </a:lnTo>
                  <a:lnTo>
                    <a:pt x="62" y="110"/>
                  </a:lnTo>
                  <a:lnTo>
                    <a:pt x="62" y="114"/>
                  </a:lnTo>
                  <a:lnTo>
                    <a:pt x="62" y="118"/>
                  </a:lnTo>
                  <a:lnTo>
                    <a:pt x="62" y="118"/>
                  </a:lnTo>
                  <a:lnTo>
                    <a:pt x="62" y="120"/>
                  </a:lnTo>
                  <a:lnTo>
                    <a:pt x="60" y="122"/>
                  </a:lnTo>
                  <a:lnTo>
                    <a:pt x="60" y="124"/>
                  </a:lnTo>
                  <a:lnTo>
                    <a:pt x="60" y="124"/>
                  </a:lnTo>
                  <a:lnTo>
                    <a:pt x="60" y="126"/>
                  </a:lnTo>
                  <a:lnTo>
                    <a:pt x="58" y="126"/>
                  </a:lnTo>
                  <a:lnTo>
                    <a:pt x="58" y="126"/>
                  </a:lnTo>
                  <a:lnTo>
                    <a:pt x="58" y="126"/>
                  </a:lnTo>
                  <a:lnTo>
                    <a:pt x="56" y="126"/>
                  </a:lnTo>
                  <a:lnTo>
                    <a:pt x="54" y="126"/>
                  </a:lnTo>
                  <a:lnTo>
                    <a:pt x="52" y="126"/>
                  </a:lnTo>
                  <a:lnTo>
                    <a:pt x="52" y="126"/>
                  </a:lnTo>
                  <a:lnTo>
                    <a:pt x="50" y="126"/>
                  </a:lnTo>
                  <a:lnTo>
                    <a:pt x="50" y="126"/>
                  </a:lnTo>
                  <a:lnTo>
                    <a:pt x="50" y="126"/>
                  </a:lnTo>
                  <a:lnTo>
                    <a:pt x="48" y="126"/>
                  </a:lnTo>
                  <a:lnTo>
                    <a:pt x="48" y="128"/>
                  </a:lnTo>
                  <a:lnTo>
                    <a:pt x="48" y="128"/>
                  </a:lnTo>
                  <a:lnTo>
                    <a:pt x="48" y="130"/>
                  </a:lnTo>
                  <a:lnTo>
                    <a:pt x="50" y="130"/>
                  </a:lnTo>
                  <a:lnTo>
                    <a:pt x="50" y="132"/>
                  </a:lnTo>
                  <a:lnTo>
                    <a:pt x="50" y="134"/>
                  </a:lnTo>
                  <a:lnTo>
                    <a:pt x="50" y="134"/>
                  </a:lnTo>
                  <a:lnTo>
                    <a:pt x="50" y="134"/>
                  </a:lnTo>
                  <a:lnTo>
                    <a:pt x="50" y="136"/>
                  </a:lnTo>
                  <a:lnTo>
                    <a:pt x="48" y="136"/>
                  </a:lnTo>
                  <a:lnTo>
                    <a:pt x="48" y="136"/>
                  </a:lnTo>
                  <a:lnTo>
                    <a:pt x="46" y="136"/>
                  </a:lnTo>
                  <a:lnTo>
                    <a:pt x="46" y="138"/>
                  </a:lnTo>
                  <a:lnTo>
                    <a:pt x="44" y="138"/>
                  </a:lnTo>
                  <a:lnTo>
                    <a:pt x="42" y="138"/>
                  </a:lnTo>
                  <a:lnTo>
                    <a:pt x="40" y="138"/>
                  </a:lnTo>
                  <a:lnTo>
                    <a:pt x="36" y="140"/>
                  </a:lnTo>
                  <a:lnTo>
                    <a:pt x="32" y="140"/>
                  </a:lnTo>
                  <a:lnTo>
                    <a:pt x="26" y="140"/>
                  </a:lnTo>
                  <a:lnTo>
                    <a:pt x="20" y="140"/>
                  </a:lnTo>
                  <a:lnTo>
                    <a:pt x="18" y="140"/>
                  </a:lnTo>
                  <a:lnTo>
                    <a:pt x="16" y="140"/>
                  </a:lnTo>
                  <a:lnTo>
                    <a:pt x="14" y="140"/>
                  </a:lnTo>
                  <a:lnTo>
                    <a:pt x="12" y="140"/>
                  </a:lnTo>
                  <a:lnTo>
                    <a:pt x="10" y="142"/>
                  </a:lnTo>
                  <a:lnTo>
                    <a:pt x="8" y="142"/>
                  </a:lnTo>
                  <a:lnTo>
                    <a:pt x="4" y="144"/>
                  </a:lnTo>
                  <a:lnTo>
                    <a:pt x="0" y="148"/>
                  </a:lnTo>
                  <a:lnTo>
                    <a:pt x="2" y="152"/>
                  </a:lnTo>
                  <a:lnTo>
                    <a:pt x="4" y="154"/>
                  </a:lnTo>
                  <a:lnTo>
                    <a:pt x="4" y="156"/>
                  </a:lnTo>
                  <a:lnTo>
                    <a:pt x="4" y="156"/>
                  </a:lnTo>
                  <a:lnTo>
                    <a:pt x="6" y="158"/>
                  </a:lnTo>
                  <a:lnTo>
                    <a:pt x="6" y="158"/>
                  </a:lnTo>
                  <a:lnTo>
                    <a:pt x="10" y="160"/>
                  </a:lnTo>
                  <a:lnTo>
                    <a:pt x="10" y="160"/>
                  </a:lnTo>
                  <a:lnTo>
                    <a:pt x="12" y="160"/>
                  </a:lnTo>
                  <a:lnTo>
                    <a:pt x="14" y="162"/>
                  </a:lnTo>
                  <a:lnTo>
                    <a:pt x="14" y="162"/>
                  </a:lnTo>
                  <a:lnTo>
                    <a:pt x="14" y="162"/>
                  </a:lnTo>
                  <a:lnTo>
                    <a:pt x="14" y="164"/>
                  </a:lnTo>
                  <a:lnTo>
                    <a:pt x="14" y="166"/>
                  </a:lnTo>
                  <a:lnTo>
                    <a:pt x="14" y="168"/>
                  </a:lnTo>
                  <a:lnTo>
                    <a:pt x="14" y="170"/>
                  </a:lnTo>
                  <a:lnTo>
                    <a:pt x="14" y="172"/>
                  </a:lnTo>
                  <a:lnTo>
                    <a:pt x="14" y="174"/>
                  </a:lnTo>
                  <a:lnTo>
                    <a:pt x="14" y="174"/>
                  </a:lnTo>
                  <a:lnTo>
                    <a:pt x="14" y="176"/>
                  </a:lnTo>
                  <a:lnTo>
                    <a:pt x="14" y="176"/>
                  </a:lnTo>
                  <a:lnTo>
                    <a:pt x="16" y="176"/>
                  </a:lnTo>
                  <a:lnTo>
                    <a:pt x="16" y="178"/>
                  </a:lnTo>
                  <a:lnTo>
                    <a:pt x="16" y="178"/>
                  </a:lnTo>
                  <a:lnTo>
                    <a:pt x="18" y="178"/>
                  </a:lnTo>
                  <a:lnTo>
                    <a:pt x="18" y="178"/>
                  </a:lnTo>
                  <a:lnTo>
                    <a:pt x="20" y="178"/>
                  </a:lnTo>
                  <a:lnTo>
                    <a:pt x="22" y="178"/>
                  </a:lnTo>
                  <a:lnTo>
                    <a:pt x="24" y="178"/>
                  </a:lnTo>
                  <a:lnTo>
                    <a:pt x="26" y="178"/>
                  </a:lnTo>
                  <a:lnTo>
                    <a:pt x="26" y="178"/>
                  </a:lnTo>
                  <a:lnTo>
                    <a:pt x="26" y="180"/>
                  </a:lnTo>
                  <a:lnTo>
                    <a:pt x="28" y="180"/>
                  </a:lnTo>
                  <a:lnTo>
                    <a:pt x="28" y="182"/>
                  </a:lnTo>
                  <a:lnTo>
                    <a:pt x="30" y="184"/>
                  </a:lnTo>
                  <a:lnTo>
                    <a:pt x="32" y="188"/>
                  </a:lnTo>
                  <a:lnTo>
                    <a:pt x="32" y="190"/>
                  </a:lnTo>
                  <a:lnTo>
                    <a:pt x="46" y="188"/>
                  </a:lnTo>
                  <a:lnTo>
                    <a:pt x="48" y="188"/>
                  </a:lnTo>
                  <a:lnTo>
                    <a:pt x="50" y="188"/>
                  </a:lnTo>
                  <a:lnTo>
                    <a:pt x="50" y="188"/>
                  </a:lnTo>
                  <a:lnTo>
                    <a:pt x="52" y="18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2" name="Freeform 441">
              <a:extLst>
                <a:ext uri="{FF2B5EF4-FFF2-40B4-BE49-F238E27FC236}">
                  <a16:creationId xmlns:a16="http://schemas.microsoft.com/office/drawing/2014/main" id="{05FCE49E-F841-49DD-980E-E1E653079250}"/>
                </a:ext>
              </a:extLst>
            </p:cNvPr>
            <p:cNvSpPr>
              <a:spLocks/>
            </p:cNvSpPr>
            <p:nvPr/>
          </p:nvSpPr>
          <p:spPr bwMode="auto">
            <a:xfrm>
              <a:off x="4269212" y="3967238"/>
              <a:ext cx="394913" cy="329094"/>
            </a:xfrm>
            <a:custGeom>
              <a:avLst/>
              <a:gdLst>
                <a:gd name="T0" fmla="*/ 54 w 228"/>
                <a:gd name="T1" fmla="*/ 184 h 190"/>
                <a:gd name="T2" fmla="*/ 60 w 228"/>
                <a:gd name="T3" fmla="*/ 172 h 190"/>
                <a:gd name="T4" fmla="*/ 68 w 228"/>
                <a:gd name="T5" fmla="*/ 168 h 190"/>
                <a:gd name="T6" fmla="*/ 84 w 228"/>
                <a:gd name="T7" fmla="*/ 168 h 190"/>
                <a:gd name="T8" fmla="*/ 90 w 228"/>
                <a:gd name="T9" fmla="*/ 174 h 190"/>
                <a:gd name="T10" fmla="*/ 92 w 228"/>
                <a:gd name="T11" fmla="*/ 178 h 190"/>
                <a:gd name="T12" fmla="*/ 94 w 228"/>
                <a:gd name="T13" fmla="*/ 174 h 190"/>
                <a:gd name="T14" fmla="*/ 98 w 228"/>
                <a:gd name="T15" fmla="*/ 170 h 190"/>
                <a:gd name="T16" fmla="*/ 114 w 228"/>
                <a:gd name="T17" fmla="*/ 170 h 190"/>
                <a:gd name="T18" fmla="*/ 124 w 228"/>
                <a:gd name="T19" fmla="*/ 170 h 190"/>
                <a:gd name="T20" fmla="*/ 132 w 228"/>
                <a:gd name="T21" fmla="*/ 176 h 190"/>
                <a:gd name="T22" fmla="*/ 142 w 228"/>
                <a:gd name="T23" fmla="*/ 178 h 190"/>
                <a:gd name="T24" fmla="*/ 144 w 228"/>
                <a:gd name="T25" fmla="*/ 176 h 190"/>
                <a:gd name="T26" fmla="*/ 146 w 228"/>
                <a:gd name="T27" fmla="*/ 170 h 190"/>
                <a:gd name="T28" fmla="*/ 152 w 228"/>
                <a:gd name="T29" fmla="*/ 168 h 190"/>
                <a:gd name="T30" fmla="*/ 166 w 228"/>
                <a:gd name="T31" fmla="*/ 170 h 190"/>
                <a:gd name="T32" fmla="*/ 170 w 228"/>
                <a:gd name="T33" fmla="*/ 178 h 190"/>
                <a:gd name="T34" fmla="*/ 174 w 228"/>
                <a:gd name="T35" fmla="*/ 178 h 190"/>
                <a:gd name="T36" fmla="*/ 180 w 228"/>
                <a:gd name="T37" fmla="*/ 170 h 190"/>
                <a:gd name="T38" fmla="*/ 188 w 228"/>
                <a:gd name="T39" fmla="*/ 156 h 190"/>
                <a:gd name="T40" fmla="*/ 192 w 228"/>
                <a:gd name="T41" fmla="*/ 146 h 190"/>
                <a:gd name="T42" fmla="*/ 202 w 228"/>
                <a:gd name="T43" fmla="*/ 138 h 190"/>
                <a:gd name="T44" fmla="*/ 208 w 228"/>
                <a:gd name="T45" fmla="*/ 128 h 190"/>
                <a:gd name="T46" fmla="*/ 216 w 228"/>
                <a:gd name="T47" fmla="*/ 126 h 190"/>
                <a:gd name="T48" fmla="*/ 222 w 228"/>
                <a:gd name="T49" fmla="*/ 120 h 190"/>
                <a:gd name="T50" fmla="*/ 226 w 228"/>
                <a:gd name="T51" fmla="*/ 108 h 190"/>
                <a:gd name="T52" fmla="*/ 228 w 228"/>
                <a:gd name="T53" fmla="*/ 74 h 190"/>
                <a:gd name="T54" fmla="*/ 224 w 228"/>
                <a:gd name="T55" fmla="*/ 40 h 190"/>
                <a:gd name="T56" fmla="*/ 216 w 228"/>
                <a:gd name="T57" fmla="*/ 20 h 190"/>
                <a:gd name="T58" fmla="*/ 202 w 228"/>
                <a:gd name="T59" fmla="*/ 10 h 190"/>
                <a:gd name="T60" fmla="*/ 188 w 228"/>
                <a:gd name="T61" fmla="*/ 10 h 190"/>
                <a:gd name="T62" fmla="*/ 186 w 228"/>
                <a:gd name="T63" fmla="*/ 4 h 190"/>
                <a:gd name="T64" fmla="*/ 180 w 228"/>
                <a:gd name="T65" fmla="*/ 0 h 190"/>
                <a:gd name="T66" fmla="*/ 164 w 228"/>
                <a:gd name="T67" fmla="*/ 4 h 190"/>
                <a:gd name="T68" fmla="*/ 154 w 228"/>
                <a:gd name="T69" fmla="*/ 12 h 190"/>
                <a:gd name="T70" fmla="*/ 136 w 228"/>
                <a:gd name="T71" fmla="*/ 22 h 190"/>
                <a:gd name="T72" fmla="*/ 130 w 228"/>
                <a:gd name="T73" fmla="*/ 32 h 190"/>
                <a:gd name="T74" fmla="*/ 122 w 228"/>
                <a:gd name="T75" fmla="*/ 36 h 190"/>
                <a:gd name="T76" fmla="*/ 106 w 228"/>
                <a:gd name="T77" fmla="*/ 40 h 190"/>
                <a:gd name="T78" fmla="*/ 102 w 228"/>
                <a:gd name="T79" fmla="*/ 46 h 190"/>
                <a:gd name="T80" fmla="*/ 100 w 228"/>
                <a:gd name="T81" fmla="*/ 54 h 190"/>
                <a:gd name="T82" fmla="*/ 90 w 228"/>
                <a:gd name="T83" fmla="*/ 60 h 190"/>
                <a:gd name="T84" fmla="*/ 82 w 228"/>
                <a:gd name="T85" fmla="*/ 68 h 190"/>
                <a:gd name="T86" fmla="*/ 70 w 228"/>
                <a:gd name="T87" fmla="*/ 68 h 190"/>
                <a:gd name="T88" fmla="*/ 60 w 228"/>
                <a:gd name="T89" fmla="*/ 68 h 190"/>
                <a:gd name="T90" fmla="*/ 56 w 228"/>
                <a:gd name="T91" fmla="*/ 76 h 190"/>
                <a:gd name="T92" fmla="*/ 62 w 228"/>
                <a:gd name="T93" fmla="*/ 106 h 190"/>
                <a:gd name="T94" fmla="*/ 60 w 228"/>
                <a:gd name="T95" fmla="*/ 122 h 190"/>
                <a:gd name="T96" fmla="*/ 58 w 228"/>
                <a:gd name="T97" fmla="*/ 126 h 190"/>
                <a:gd name="T98" fmla="*/ 50 w 228"/>
                <a:gd name="T99" fmla="*/ 126 h 190"/>
                <a:gd name="T100" fmla="*/ 50 w 228"/>
                <a:gd name="T101" fmla="*/ 130 h 190"/>
                <a:gd name="T102" fmla="*/ 48 w 228"/>
                <a:gd name="T103" fmla="*/ 136 h 190"/>
                <a:gd name="T104" fmla="*/ 40 w 228"/>
                <a:gd name="T105" fmla="*/ 138 h 190"/>
                <a:gd name="T106" fmla="*/ 16 w 228"/>
                <a:gd name="T107" fmla="*/ 140 h 190"/>
                <a:gd name="T108" fmla="*/ 0 w 228"/>
                <a:gd name="T109" fmla="*/ 148 h 190"/>
                <a:gd name="T110" fmla="*/ 6 w 228"/>
                <a:gd name="T111" fmla="*/ 158 h 190"/>
                <a:gd name="T112" fmla="*/ 14 w 228"/>
                <a:gd name="T113" fmla="*/ 162 h 190"/>
                <a:gd name="T114" fmla="*/ 14 w 228"/>
                <a:gd name="T115" fmla="*/ 174 h 190"/>
                <a:gd name="T116" fmla="*/ 16 w 228"/>
                <a:gd name="T117" fmla="*/ 178 h 190"/>
                <a:gd name="T118" fmla="*/ 26 w 228"/>
                <a:gd name="T119" fmla="*/ 178 h 190"/>
                <a:gd name="T120" fmla="*/ 32 w 228"/>
                <a:gd name="T121" fmla="*/ 188 h 190"/>
                <a:gd name="T122" fmla="*/ 52 w 228"/>
                <a:gd name="T123" fmla="*/ 18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8" h="190">
                  <a:moveTo>
                    <a:pt x="52" y="188"/>
                  </a:moveTo>
                  <a:lnTo>
                    <a:pt x="52" y="188"/>
                  </a:lnTo>
                  <a:lnTo>
                    <a:pt x="52" y="188"/>
                  </a:lnTo>
                  <a:lnTo>
                    <a:pt x="52" y="186"/>
                  </a:lnTo>
                  <a:lnTo>
                    <a:pt x="52" y="186"/>
                  </a:lnTo>
                  <a:lnTo>
                    <a:pt x="54" y="184"/>
                  </a:lnTo>
                  <a:lnTo>
                    <a:pt x="54" y="182"/>
                  </a:lnTo>
                  <a:lnTo>
                    <a:pt x="56" y="180"/>
                  </a:lnTo>
                  <a:lnTo>
                    <a:pt x="56" y="178"/>
                  </a:lnTo>
                  <a:lnTo>
                    <a:pt x="58" y="174"/>
                  </a:lnTo>
                  <a:lnTo>
                    <a:pt x="58" y="174"/>
                  </a:lnTo>
                  <a:lnTo>
                    <a:pt x="60" y="172"/>
                  </a:lnTo>
                  <a:lnTo>
                    <a:pt x="60" y="170"/>
                  </a:lnTo>
                  <a:lnTo>
                    <a:pt x="62" y="170"/>
                  </a:lnTo>
                  <a:lnTo>
                    <a:pt x="62" y="170"/>
                  </a:lnTo>
                  <a:lnTo>
                    <a:pt x="64" y="168"/>
                  </a:lnTo>
                  <a:lnTo>
                    <a:pt x="66" y="168"/>
                  </a:lnTo>
                  <a:lnTo>
                    <a:pt x="68" y="168"/>
                  </a:lnTo>
                  <a:lnTo>
                    <a:pt x="72" y="166"/>
                  </a:lnTo>
                  <a:lnTo>
                    <a:pt x="74" y="166"/>
                  </a:lnTo>
                  <a:lnTo>
                    <a:pt x="78" y="166"/>
                  </a:lnTo>
                  <a:lnTo>
                    <a:pt x="80" y="166"/>
                  </a:lnTo>
                  <a:lnTo>
                    <a:pt x="82" y="166"/>
                  </a:lnTo>
                  <a:lnTo>
                    <a:pt x="84" y="168"/>
                  </a:lnTo>
                  <a:lnTo>
                    <a:pt x="86" y="168"/>
                  </a:lnTo>
                  <a:lnTo>
                    <a:pt x="86" y="168"/>
                  </a:lnTo>
                  <a:lnTo>
                    <a:pt x="86" y="168"/>
                  </a:lnTo>
                  <a:lnTo>
                    <a:pt x="88" y="168"/>
                  </a:lnTo>
                  <a:lnTo>
                    <a:pt x="88" y="170"/>
                  </a:lnTo>
                  <a:lnTo>
                    <a:pt x="90" y="174"/>
                  </a:lnTo>
                  <a:lnTo>
                    <a:pt x="90" y="176"/>
                  </a:lnTo>
                  <a:lnTo>
                    <a:pt x="90" y="176"/>
                  </a:lnTo>
                  <a:lnTo>
                    <a:pt x="92" y="178"/>
                  </a:lnTo>
                  <a:lnTo>
                    <a:pt x="92" y="178"/>
                  </a:lnTo>
                  <a:lnTo>
                    <a:pt x="92" y="178"/>
                  </a:lnTo>
                  <a:lnTo>
                    <a:pt x="92" y="178"/>
                  </a:lnTo>
                  <a:lnTo>
                    <a:pt x="92" y="178"/>
                  </a:lnTo>
                  <a:lnTo>
                    <a:pt x="94" y="178"/>
                  </a:lnTo>
                  <a:lnTo>
                    <a:pt x="94" y="178"/>
                  </a:lnTo>
                  <a:lnTo>
                    <a:pt x="94" y="176"/>
                  </a:lnTo>
                  <a:lnTo>
                    <a:pt x="94" y="176"/>
                  </a:lnTo>
                  <a:lnTo>
                    <a:pt x="94" y="174"/>
                  </a:lnTo>
                  <a:lnTo>
                    <a:pt x="94" y="172"/>
                  </a:lnTo>
                  <a:lnTo>
                    <a:pt x="94" y="172"/>
                  </a:lnTo>
                  <a:lnTo>
                    <a:pt x="94" y="172"/>
                  </a:lnTo>
                  <a:lnTo>
                    <a:pt x="96" y="170"/>
                  </a:lnTo>
                  <a:lnTo>
                    <a:pt x="96" y="170"/>
                  </a:lnTo>
                  <a:lnTo>
                    <a:pt x="98" y="170"/>
                  </a:lnTo>
                  <a:lnTo>
                    <a:pt x="100" y="170"/>
                  </a:lnTo>
                  <a:lnTo>
                    <a:pt x="102" y="170"/>
                  </a:lnTo>
                  <a:lnTo>
                    <a:pt x="108" y="170"/>
                  </a:lnTo>
                  <a:lnTo>
                    <a:pt x="110" y="170"/>
                  </a:lnTo>
                  <a:lnTo>
                    <a:pt x="112" y="170"/>
                  </a:lnTo>
                  <a:lnTo>
                    <a:pt x="114" y="170"/>
                  </a:lnTo>
                  <a:lnTo>
                    <a:pt x="118" y="168"/>
                  </a:lnTo>
                  <a:lnTo>
                    <a:pt x="120" y="168"/>
                  </a:lnTo>
                  <a:lnTo>
                    <a:pt x="120" y="168"/>
                  </a:lnTo>
                  <a:lnTo>
                    <a:pt x="122" y="168"/>
                  </a:lnTo>
                  <a:lnTo>
                    <a:pt x="124" y="168"/>
                  </a:lnTo>
                  <a:lnTo>
                    <a:pt x="124" y="170"/>
                  </a:lnTo>
                  <a:lnTo>
                    <a:pt x="126" y="170"/>
                  </a:lnTo>
                  <a:lnTo>
                    <a:pt x="126" y="172"/>
                  </a:lnTo>
                  <a:lnTo>
                    <a:pt x="128" y="172"/>
                  </a:lnTo>
                  <a:lnTo>
                    <a:pt x="130" y="176"/>
                  </a:lnTo>
                  <a:lnTo>
                    <a:pt x="130" y="176"/>
                  </a:lnTo>
                  <a:lnTo>
                    <a:pt x="132" y="176"/>
                  </a:lnTo>
                  <a:lnTo>
                    <a:pt x="132" y="178"/>
                  </a:lnTo>
                  <a:lnTo>
                    <a:pt x="134" y="178"/>
                  </a:lnTo>
                  <a:lnTo>
                    <a:pt x="136" y="178"/>
                  </a:lnTo>
                  <a:lnTo>
                    <a:pt x="138" y="178"/>
                  </a:lnTo>
                  <a:lnTo>
                    <a:pt x="140" y="178"/>
                  </a:lnTo>
                  <a:lnTo>
                    <a:pt x="142" y="178"/>
                  </a:lnTo>
                  <a:lnTo>
                    <a:pt x="142" y="178"/>
                  </a:lnTo>
                  <a:lnTo>
                    <a:pt x="144" y="178"/>
                  </a:lnTo>
                  <a:lnTo>
                    <a:pt x="144" y="178"/>
                  </a:lnTo>
                  <a:lnTo>
                    <a:pt x="144" y="178"/>
                  </a:lnTo>
                  <a:lnTo>
                    <a:pt x="144" y="178"/>
                  </a:lnTo>
                  <a:lnTo>
                    <a:pt x="144" y="176"/>
                  </a:lnTo>
                  <a:lnTo>
                    <a:pt x="144" y="176"/>
                  </a:lnTo>
                  <a:lnTo>
                    <a:pt x="144" y="174"/>
                  </a:lnTo>
                  <a:lnTo>
                    <a:pt x="144" y="172"/>
                  </a:lnTo>
                  <a:lnTo>
                    <a:pt x="144" y="172"/>
                  </a:lnTo>
                  <a:lnTo>
                    <a:pt x="146" y="170"/>
                  </a:lnTo>
                  <a:lnTo>
                    <a:pt x="146" y="170"/>
                  </a:lnTo>
                  <a:lnTo>
                    <a:pt x="146" y="170"/>
                  </a:lnTo>
                  <a:lnTo>
                    <a:pt x="146" y="170"/>
                  </a:lnTo>
                  <a:lnTo>
                    <a:pt x="148" y="170"/>
                  </a:lnTo>
                  <a:lnTo>
                    <a:pt x="148" y="168"/>
                  </a:lnTo>
                  <a:lnTo>
                    <a:pt x="150" y="168"/>
                  </a:lnTo>
                  <a:lnTo>
                    <a:pt x="152" y="168"/>
                  </a:lnTo>
                  <a:lnTo>
                    <a:pt x="156" y="168"/>
                  </a:lnTo>
                  <a:lnTo>
                    <a:pt x="158" y="168"/>
                  </a:lnTo>
                  <a:lnTo>
                    <a:pt x="160" y="170"/>
                  </a:lnTo>
                  <a:lnTo>
                    <a:pt x="164" y="170"/>
                  </a:lnTo>
                  <a:lnTo>
                    <a:pt x="166" y="170"/>
                  </a:lnTo>
                  <a:lnTo>
                    <a:pt x="166" y="170"/>
                  </a:lnTo>
                  <a:lnTo>
                    <a:pt x="166" y="172"/>
                  </a:lnTo>
                  <a:lnTo>
                    <a:pt x="168" y="172"/>
                  </a:lnTo>
                  <a:lnTo>
                    <a:pt x="168" y="174"/>
                  </a:lnTo>
                  <a:lnTo>
                    <a:pt x="170" y="176"/>
                  </a:lnTo>
                  <a:lnTo>
                    <a:pt x="170" y="178"/>
                  </a:lnTo>
                  <a:lnTo>
                    <a:pt x="170" y="178"/>
                  </a:lnTo>
                  <a:lnTo>
                    <a:pt x="172" y="178"/>
                  </a:lnTo>
                  <a:lnTo>
                    <a:pt x="172" y="178"/>
                  </a:lnTo>
                  <a:lnTo>
                    <a:pt x="172" y="178"/>
                  </a:lnTo>
                  <a:lnTo>
                    <a:pt x="172" y="178"/>
                  </a:lnTo>
                  <a:lnTo>
                    <a:pt x="174" y="178"/>
                  </a:lnTo>
                  <a:lnTo>
                    <a:pt x="174" y="178"/>
                  </a:lnTo>
                  <a:lnTo>
                    <a:pt x="176" y="176"/>
                  </a:lnTo>
                  <a:lnTo>
                    <a:pt x="176" y="176"/>
                  </a:lnTo>
                  <a:lnTo>
                    <a:pt x="178" y="172"/>
                  </a:lnTo>
                  <a:lnTo>
                    <a:pt x="178" y="172"/>
                  </a:lnTo>
                  <a:lnTo>
                    <a:pt x="180" y="170"/>
                  </a:lnTo>
                  <a:lnTo>
                    <a:pt x="180" y="170"/>
                  </a:lnTo>
                  <a:lnTo>
                    <a:pt x="182" y="168"/>
                  </a:lnTo>
                  <a:lnTo>
                    <a:pt x="186" y="166"/>
                  </a:lnTo>
                  <a:lnTo>
                    <a:pt x="190" y="164"/>
                  </a:lnTo>
                  <a:lnTo>
                    <a:pt x="190" y="162"/>
                  </a:lnTo>
                  <a:lnTo>
                    <a:pt x="188" y="158"/>
                  </a:lnTo>
                  <a:lnTo>
                    <a:pt x="188" y="156"/>
                  </a:lnTo>
                  <a:lnTo>
                    <a:pt x="188" y="154"/>
                  </a:lnTo>
                  <a:lnTo>
                    <a:pt x="188" y="152"/>
                  </a:lnTo>
                  <a:lnTo>
                    <a:pt x="190" y="150"/>
                  </a:lnTo>
                  <a:lnTo>
                    <a:pt x="190" y="148"/>
                  </a:lnTo>
                  <a:lnTo>
                    <a:pt x="190" y="148"/>
                  </a:lnTo>
                  <a:lnTo>
                    <a:pt x="192" y="146"/>
                  </a:lnTo>
                  <a:lnTo>
                    <a:pt x="194" y="144"/>
                  </a:lnTo>
                  <a:lnTo>
                    <a:pt x="194" y="142"/>
                  </a:lnTo>
                  <a:lnTo>
                    <a:pt x="196" y="142"/>
                  </a:lnTo>
                  <a:lnTo>
                    <a:pt x="196" y="140"/>
                  </a:lnTo>
                  <a:lnTo>
                    <a:pt x="200" y="140"/>
                  </a:lnTo>
                  <a:lnTo>
                    <a:pt x="202" y="138"/>
                  </a:lnTo>
                  <a:lnTo>
                    <a:pt x="204" y="136"/>
                  </a:lnTo>
                  <a:lnTo>
                    <a:pt x="204" y="136"/>
                  </a:lnTo>
                  <a:lnTo>
                    <a:pt x="206" y="134"/>
                  </a:lnTo>
                  <a:lnTo>
                    <a:pt x="206" y="134"/>
                  </a:lnTo>
                  <a:lnTo>
                    <a:pt x="208" y="132"/>
                  </a:lnTo>
                  <a:lnTo>
                    <a:pt x="208" y="128"/>
                  </a:lnTo>
                  <a:lnTo>
                    <a:pt x="210" y="128"/>
                  </a:lnTo>
                  <a:lnTo>
                    <a:pt x="210" y="126"/>
                  </a:lnTo>
                  <a:lnTo>
                    <a:pt x="212" y="126"/>
                  </a:lnTo>
                  <a:lnTo>
                    <a:pt x="212" y="126"/>
                  </a:lnTo>
                  <a:lnTo>
                    <a:pt x="216" y="126"/>
                  </a:lnTo>
                  <a:lnTo>
                    <a:pt x="216" y="126"/>
                  </a:lnTo>
                  <a:lnTo>
                    <a:pt x="218" y="126"/>
                  </a:lnTo>
                  <a:lnTo>
                    <a:pt x="220" y="124"/>
                  </a:lnTo>
                  <a:lnTo>
                    <a:pt x="220" y="124"/>
                  </a:lnTo>
                  <a:lnTo>
                    <a:pt x="220" y="124"/>
                  </a:lnTo>
                  <a:lnTo>
                    <a:pt x="222" y="122"/>
                  </a:lnTo>
                  <a:lnTo>
                    <a:pt x="222" y="120"/>
                  </a:lnTo>
                  <a:lnTo>
                    <a:pt x="224" y="118"/>
                  </a:lnTo>
                  <a:lnTo>
                    <a:pt x="224" y="118"/>
                  </a:lnTo>
                  <a:lnTo>
                    <a:pt x="224" y="114"/>
                  </a:lnTo>
                  <a:lnTo>
                    <a:pt x="226" y="112"/>
                  </a:lnTo>
                  <a:lnTo>
                    <a:pt x="226" y="110"/>
                  </a:lnTo>
                  <a:lnTo>
                    <a:pt x="226" y="108"/>
                  </a:lnTo>
                  <a:lnTo>
                    <a:pt x="228" y="102"/>
                  </a:lnTo>
                  <a:lnTo>
                    <a:pt x="228" y="98"/>
                  </a:lnTo>
                  <a:lnTo>
                    <a:pt x="228" y="92"/>
                  </a:lnTo>
                  <a:lnTo>
                    <a:pt x="228" y="86"/>
                  </a:lnTo>
                  <a:lnTo>
                    <a:pt x="228" y="80"/>
                  </a:lnTo>
                  <a:lnTo>
                    <a:pt x="228" y="74"/>
                  </a:lnTo>
                  <a:lnTo>
                    <a:pt x="228" y="68"/>
                  </a:lnTo>
                  <a:lnTo>
                    <a:pt x="228" y="64"/>
                  </a:lnTo>
                  <a:lnTo>
                    <a:pt x="226" y="54"/>
                  </a:lnTo>
                  <a:lnTo>
                    <a:pt x="226" y="44"/>
                  </a:lnTo>
                  <a:lnTo>
                    <a:pt x="224" y="44"/>
                  </a:lnTo>
                  <a:lnTo>
                    <a:pt x="224" y="40"/>
                  </a:lnTo>
                  <a:lnTo>
                    <a:pt x="222" y="36"/>
                  </a:lnTo>
                  <a:lnTo>
                    <a:pt x="218" y="30"/>
                  </a:lnTo>
                  <a:lnTo>
                    <a:pt x="218" y="26"/>
                  </a:lnTo>
                  <a:lnTo>
                    <a:pt x="216" y="24"/>
                  </a:lnTo>
                  <a:lnTo>
                    <a:pt x="216" y="22"/>
                  </a:lnTo>
                  <a:lnTo>
                    <a:pt x="216" y="20"/>
                  </a:lnTo>
                  <a:lnTo>
                    <a:pt x="214" y="18"/>
                  </a:lnTo>
                  <a:lnTo>
                    <a:pt x="214" y="14"/>
                  </a:lnTo>
                  <a:lnTo>
                    <a:pt x="210" y="12"/>
                  </a:lnTo>
                  <a:lnTo>
                    <a:pt x="206" y="12"/>
                  </a:lnTo>
                  <a:lnTo>
                    <a:pt x="204" y="10"/>
                  </a:lnTo>
                  <a:lnTo>
                    <a:pt x="202" y="10"/>
                  </a:lnTo>
                  <a:lnTo>
                    <a:pt x="200" y="10"/>
                  </a:lnTo>
                  <a:lnTo>
                    <a:pt x="196" y="10"/>
                  </a:lnTo>
                  <a:lnTo>
                    <a:pt x="194" y="10"/>
                  </a:lnTo>
                  <a:lnTo>
                    <a:pt x="190" y="10"/>
                  </a:lnTo>
                  <a:lnTo>
                    <a:pt x="190" y="10"/>
                  </a:lnTo>
                  <a:lnTo>
                    <a:pt x="188" y="10"/>
                  </a:lnTo>
                  <a:lnTo>
                    <a:pt x="188" y="10"/>
                  </a:lnTo>
                  <a:lnTo>
                    <a:pt x="188" y="8"/>
                  </a:lnTo>
                  <a:lnTo>
                    <a:pt x="186" y="8"/>
                  </a:lnTo>
                  <a:lnTo>
                    <a:pt x="186" y="8"/>
                  </a:lnTo>
                  <a:lnTo>
                    <a:pt x="186" y="6"/>
                  </a:lnTo>
                  <a:lnTo>
                    <a:pt x="186" y="4"/>
                  </a:lnTo>
                  <a:lnTo>
                    <a:pt x="186" y="2"/>
                  </a:lnTo>
                  <a:lnTo>
                    <a:pt x="186" y="2"/>
                  </a:lnTo>
                  <a:lnTo>
                    <a:pt x="184" y="2"/>
                  </a:lnTo>
                  <a:lnTo>
                    <a:pt x="184" y="2"/>
                  </a:lnTo>
                  <a:lnTo>
                    <a:pt x="182" y="2"/>
                  </a:lnTo>
                  <a:lnTo>
                    <a:pt x="180" y="0"/>
                  </a:lnTo>
                  <a:lnTo>
                    <a:pt x="178" y="0"/>
                  </a:lnTo>
                  <a:lnTo>
                    <a:pt x="174" y="0"/>
                  </a:lnTo>
                  <a:lnTo>
                    <a:pt x="172" y="2"/>
                  </a:lnTo>
                  <a:lnTo>
                    <a:pt x="170" y="2"/>
                  </a:lnTo>
                  <a:lnTo>
                    <a:pt x="166" y="2"/>
                  </a:lnTo>
                  <a:lnTo>
                    <a:pt x="164" y="4"/>
                  </a:lnTo>
                  <a:lnTo>
                    <a:pt x="164" y="6"/>
                  </a:lnTo>
                  <a:lnTo>
                    <a:pt x="162" y="8"/>
                  </a:lnTo>
                  <a:lnTo>
                    <a:pt x="162" y="8"/>
                  </a:lnTo>
                  <a:lnTo>
                    <a:pt x="160" y="8"/>
                  </a:lnTo>
                  <a:lnTo>
                    <a:pt x="158" y="10"/>
                  </a:lnTo>
                  <a:lnTo>
                    <a:pt x="154" y="12"/>
                  </a:lnTo>
                  <a:lnTo>
                    <a:pt x="150" y="12"/>
                  </a:lnTo>
                  <a:lnTo>
                    <a:pt x="148" y="14"/>
                  </a:lnTo>
                  <a:lnTo>
                    <a:pt x="146" y="14"/>
                  </a:lnTo>
                  <a:lnTo>
                    <a:pt x="144" y="16"/>
                  </a:lnTo>
                  <a:lnTo>
                    <a:pt x="140" y="18"/>
                  </a:lnTo>
                  <a:lnTo>
                    <a:pt x="136" y="22"/>
                  </a:lnTo>
                  <a:lnTo>
                    <a:pt x="136" y="24"/>
                  </a:lnTo>
                  <a:lnTo>
                    <a:pt x="134" y="24"/>
                  </a:lnTo>
                  <a:lnTo>
                    <a:pt x="134" y="26"/>
                  </a:lnTo>
                  <a:lnTo>
                    <a:pt x="132" y="26"/>
                  </a:lnTo>
                  <a:lnTo>
                    <a:pt x="132" y="30"/>
                  </a:lnTo>
                  <a:lnTo>
                    <a:pt x="130" y="32"/>
                  </a:lnTo>
                  <a:lnTo>
                    <a:pt x="128" y="34"/>
                  </a:lnTo>
                  <a:lnTo>
                    <a:pt x="128" y="34"/>
                  </a:lnTo>
                  <a:lnTo>
                    <a:pt x="126" y="34"/>
                  </a:lnTo>
                  <a:lnTo>
                    <a:pt x="126" y="36"/>
                  </a:lnTo>
                  <a:lnTo>
                    <a:pt x="124" y="36"/>
                  </a:lnTo>
                  <a:lnTo>
                    <a:pt x="122" y="36"/>
                  </a:lnTo>
                  <a:lnTo>
                    <a:pt x="120" y="38"/>
                  </a:lnTo>
                  <a:lnTo>
                    <a:pt x="116" y="38"/>
                  </a:lnTo>
                  <a:lnTo>
                    <a:pt x="112" y="38"/>
                  </a:lnTo>
                  <a:lnTo>
                    <a:pt x="108" y="40"/>
                  </a:lnTo>
                  <a:lnTo>
                    <a:pt x="108" y="40"/>
                  </a:lnTo>
                  <a:lnTo>
                    <a:pt x="106" y="40"/>
                  </a:lnTo>
                  <a:lnTo>
                    <a:pt x="104" y="40"/>
                  </a:lnTo>
                  <a:lnTo>
                    <a:pt x="104" y="42"/>
                  </a:lnTo>
                  <a:lnTo>
                    <a:pt x="104" y="42"/>
                  </a:lnTo>
                  <a:lnTo>
                    <a:pt x="104" y="42"/>
                  </a:lnTo>
                  <a:lnTo>
                    <a:pt x="102" y="44"/>
                  </a:lnTo>
                  <a:lnTo>
                    <a:pt x="102" y="46"/>
                  </a:lnTo>
                  <a:lnTo>
                    <a:pt x="102" y="46"/>
                  </a:lnTo>
                  <a:lnTo>
                    <a:pt x="102" y="50"/>
                  </a:lnTo>
                  <a:lnTo>
                    <a:pt x="102" y="50"/>
                  </a:lnTo>
                  <a:lnTo>
                    <a:pt x="102" y="52"/>
                  </a:lnTo>
                  <a:lnTo>
                    <a:pt x="100" y="52"/>
                  </a:lnTo>
                  <a:lnTo>
                    <a:pt x="100" y="54"/>
                  </a:lnTo>
                  <a:lnTo>
                    <a:pt x="96" y="54"/>
                  </a:lnTo>
                  <a:lnTo>
                    <a:pt x="94" y="56"/>
                  </a:lnTo>
                  <a:lnTo>
                    <a:pt x="94" y="56"/>
                  </a:lnTo>
                  <a:lnTo>
                    <a:pt x="92" y="56"/>
                  </a:lnTo>
                  <a:lnTo>
                    <a:pt x="92" y="58"/>
                  </a:lnTo>
                  <a:lnTo>
                    <a:pt x="90" y="60"/>
                  </a:lnTo>
                  <a:lnTo>
                    <a:pt x="88" y="62"/>
                  </a:lnTo>
                  <a:lnTo>
                    <a:pt x="86" y="64"/>
                  </a:lnTo>
                  <a:lnTo>
                    <a:pt x="84" y="66"/>
                  </a:lnTo>
                  <a:lnTo>
                    <a:pt x="84" y="68"/>
                  </a:lnTo>
                  <a:lnTo>
                    <a:pt x="84" y="68"/>
                  </a:lnTo>
                  <a:lnTo>
                    <a:pt x="82" y="68"/>
                  </a:lnTo>
                  <a:lnTo>
                    <a:pt x="82" y="68"/>
                  </a:lnTo>
                  <a:lnTo>
                    <a:pt x="80" y="68"/>
                  </a:lnTo>
                  <a:lnTo>
                    <a:pt x="78" y="68"/>
                  </a:lnTo>
                  <a:lnTo>
                    <a:pt x="76" y="68"/>
                  </a:lnTo>
                  <a:lnTo>
                    <a:pt x="74" y="68"/>
                  </a:lnTo>
                  <a:lnTo>
                    <a:pt x="70" y="68"/>
                  </a:lnTo>
                  <a:lnTo>
                    <a:pt x="66" y="68"/>
                  </a:lnTo>
                  <a:lnTo>
                    <a:pt x="64" y="68"/>
                  </a:lnTo>
                  <a:lnTo>
                    <a:pt x="64" y="68"/>
                  </a:lnTo>
                  <a:lnTo>
                    <a:pt x="62" y="68"/>
                  </a:lnTo>
                  <a:lnTo>
                    <a:pt x="60" y="68"/>
                  </a:lnTo>
                  <a:lnTo>
                    <a:pt x="60" y="68"/>
                  </a:lnTo>
                  <a:lnTo>
                    <a:pt x="58" y="70"/>
                  </a:lnTo>
                  <a:lnTo>
                    <a:pt x="58" y="70"/>
                  </a:lnTo>
                  <a:lnTo>
                    <a:pt x="58" y="72"/>
                  </a:lnTo>
                  <a:lnTo>
                    <a:pt x="58" y="72"/>
                  </a:lnTo>
                  <a:lnTo>
                    <a:pt x="58" y="74"/>
                  </a:lnTo>
                  <a:lnTo>
                    <a:pt x="56" y="76"/>
                  </a:lnTo>
                  <a:lnTo>
                    <a:pt x="56" y="78"/>
                  </a:lnTo>
                  <a:lnTo>
                    <a:pt x="58" y="84"/>
                  </a:lnTo>
                  <a:lnTo>
                    <a:pt x="60" y="90"/>
                  </a:lnTo>
                  <a:lnTo>
                    <a:pt x="60" y="98"/>
                  </a:lnTo>
                  <a:lnTo>
                    <a:pt x="62" y="102"/>
                  </a:lnTo>
                  <a:lnTo>
                    <a:pt x="62" y="106"/>
                  </a:lnTo>
                  <a:lnTo>
                    <a:pt x="62" y="110"/>
                  </a:lnTo>
                  <a:lnTo>
                    <a:pt x="62" y="114"/>
                  </a:lnTo>
                  <a:lnTo>
                    <a:pt x="62" y="118"/>
                  </a:lnTo>
                  <a:lnTo>
                    <a:pt x="62" y="118"/>
                  </a:lnTo>
                  <a:lnTo>
                    <a:pt x="62" y="120"/>
                  </a:lnTo>
                  <a:lnTo>
                    <a:pt x="60" y="122"/>
                  </a:lnTo>
                  <a:lnTo>
                    <a:pt x="60" y="124"/>
                  </a:lnTo>
                  <a:lnTo>
                    <a:pt x="60" y="124"/>
                  </a:lnTo>
                  <a:lnTo>
                    <a:pt x="60" y="126"/>
                  </a:lnTo>
                  <a:lnTo>
                    <a:pt x="58" y="126"/>
                  </a:lnTo>
                  <a:lnTo>
                    <a:pt x="58" y="126"/>
                  </a:lnTo>
                  <a:lnTo>
                    <a:pt x="58" y="126"/>
                  </a:lnTo>
                  <a:lnTo>
                    <a:pt x="56" y="126"/>
                  </a:lnTo>
                  <a:lnTo>
                    <a:pt x="54" y="126"/>
                  </a:lnTo>
                  <a:lnTo>
                    <a:pt x="52" y="126"/>
                  </a:lnTo>
                  <a:lnTo>
                    <a:pt x="52" y="126"/>
                  </a:lnTo>
                  <a:lnTo>
                    <a:pt x="50" y="126"/>
                  </a:lnTo>
                  <a:lnTo>
                    <a:pt x="50" y="126"/>
                  </a:lnTo>
                  <a:lnTo>
                    <a:pt x="50" y="126"/>
                  </a:lnTo>
                  <a:lnTo>
                    <a:pt x="48" y="126"/>
                  </a:lnTo>
                  <a:lnTo>
                    <a:pt x="48" y="128"/>
                  </a:lnTo>
                  <a:lnTo>
                    <a:pt x="48" y="128"/>
                  </a:lnTo>
                  <a:lnTo>
                    <a:pt x="48" y="130"/>
                  </a:lnTo>
                  <a:lnTo>
                    <a:pt x="50" y="130"/>
                  </a:lnTo>
                  <a:lnTo>
                    <a:pt x="50" y="132"/>
                  </a:lnTo>
                  <a:lnTo>
                    <a:pt x="50" y="134"/>
                  </a:lnTo>
                  <a:lnTo>
                    <a:pt x="50" y="134"/>
                  </a:lnTo>
                  <a:lnTo>
                    <a:pt x="50" y="134"/>
                  </a:lnTo>
                  <a:lnTo>
                    <a:pt x="50" y="136"/>
                  </a:lnTo>
                  <a:lnTo>
                    <a:pt x="48" y="136"/>
                  </a:lnTo>
                  <a:lnTo>
                    <a:pt x="48" y="136"/>
                  </a:lnTo>
                  <a:lnTo>
                    <a:pt x="46" y="136"/>
                  </a:lnTo>
                  <a:lnTo>
                    <a:pt x="46" y="138"/>
                  </a:lnTo>
                  <a:lnTo>
                    <a:pt x="44" y="138"/>
                  </a:lnTo>
                  <a:lnTo>
                    <a:pt x="42" y="138"/>
                  </a:lnTo>
                  <a:lnTo>
                    <a:pt x="40" y="138"/>
                  </a:lnTo>
                  <a:lnTo>
                    <a:pt x="36" y="140"/>
                  </a:lnTo>
                  <a:lnTo>
                    <a:pt x="32" y="140"/>
                  </a:lnTo>
                  <a:lnTo>
                    <a:pt x="26" y="140"/>
                  </a:lnTo>
                  <a:lnTo>
                    <a:pt x="20" y="140"/>
                  </a:lnTo>
                  <a:lnTo>
                    <a:pt x="18" y="140"/>
                  </a:lnTo>
                  <a:lnTo>
                    <a:pt x="16" y="140"/>
                  </a:lnTo>
                  <a:lnTo>
                    <a:pt x="14" y="140"/>
                  </a:lnTo>
                  <a:lnTo>
                    <a:pt x="12" y="140"/>
                  </a:lnTo>
                  <a:lnTo>
                    <a:pt x="10" y="142"/>
                  </a:lnTo>
                  <a:lnTo>
                    <a:pt x="8" y="142"/>
                  </a:lnTo>
                  <a:lnTo>
                    <a:pt x="4" y="144"/>
                  </a:lnTo>
                  <a:lnTo>
                    <a:pt x="0" y="148"/>
                  </a:lnTo>
                  <a:lnTo>
                    <a:pt x="2" y="152"/>
                  </a:lnTo>
                  <a:lnTo>
                    <a:pt x="4" y="154"/>
                  </a:lnTo>
                  <a:lnTo>
                    <a:pt x="4" y="156"/>
                  </a:lnTo>
                  <a:lnTo>
                    <a:pt x="4" y="156"/>
                  </a:lnTo>
                  <a:lnTo>
                    <a:pt x="6" y="158"/>
                  </a:lnTo>
                  <a:lnTo>
                    <a:pt x="6" y="158"/>
                  </a:lnTo>
                  <a:lnTo>
                    <a:pt x="10" y="160"/>
                  </a:lnTo>
                  <a:lnTo>
                    <a:pt x="10" y="160"/>
                  </a:lnTo>
                  <a:lnTo>
                    <a:pt x="12" y="160"/>
                  </a:lnTo>
                  <a:lnTo>
                    <a:pt x="14" y="162"/>
                  </a:lnTo>
                  <a:lnTo>
                    <a:pt x="14" y="162"/>
                  </a:lnTo>
                  <a:lnTo>
                    <a:pt x="14" y="162"/>
                  </a:lnTo>
                  <a:lnTo>
                    <a:pt x="14" y="164"/>
                  </a:lnTo>
                  <a:lnTo>
                    <a:pt x="14" y="166"/>
                  </a:lnTo>
                  <a:lnTo>
                    <a:pt x="14" y="168"/>
                  </a:lnTo>
                  <a:lnTo>
                    <a:pt x="14" y="170"/>
                  </a:lnTo>
                  <a:lnTo>
                    <a:pt x="14" y="172"/>
                  </a:lnTo>
                  <a:lnTo>
                    <a:pt x="14" y="174"/>
                  </a:lnTo>
                  <a:lnTo>
                    <a:pt x="14" y="174"/>
                  </a:lnTo>
                  <a:lnTo>
                    <a:pt x="14" y="176"/>
                  </a:lnTo>
                  <a:lnTo>
                    <a:pt x="14" y="176"/>
                  </a:lnTo>
                  <a:lnTo>
                    <a:pt x="16" y="176"/>
                  </a:lnTo>
                  <a:lnTo>
                    <a:pt x="16" y="178"/>
                  </a:lnTo>
                  <a:lnTo>
                    <a:pt x="16" y="178"/>
                  </a:lnTo>
                  <a:lnTo>
                    <a:pt x="18" y="178"/>
                  </a:lnTo>
                  <a:lnTo>
                    <a:pt x="18" y="178"/>
                  </a:lnTo>
                  <a:lnTo>
                    <a:pt x="20" y="178"/>
                  </a:lnTo>
                  <a:lnTo>
                    <a:pt x="22" y="178"/>
                  </a:lnTo>
                  <a:lnTo>
                    <a:pt x="24" y="178"/>
                  </a:lnTo>
                  <a:lnTo>
                    <a:pt x="26" y="178"/>
                  </a:lnTo>
                  <a:lnTo>
                    <a:pt x="26" y="178"/>
                  </a:lnTo>
                  <a:lnTo>
                    <a:pt x="26" y="180"/>
                  </a:lnTo>
                  <a:lnTo>
                    <a:pt x="28" y="180"/>
                  </a:lnTo>
                  <a:lnTo>
                    <a:pt x="28" y="182"/>
                  </a:lnTo>
                  <a:lnTo>
                    <a:pt x="30" y="184"/>
                  </a:lnTo>
                  <a:lnTo>
                    <a:pt x="32" y="188"/>
                  </a:lnTo>
                  <a:lnTo>
                    <a:pt x="32" y="190"/>
                  </a:lnTo>
                  <a:lnTo>
                    <a:pt x="46" y="188"/>
                  </a:lnTo>
                  <a:lnTo>
                    <a:pt x="48" y="188"/>
                  </a:lnTo>
                  <a:lnTo>
                    <a:pt x="50" y="188"/>
                  </a:lnTo>
                  <a:lnTo>
                    <a:pt x="50" y="188"/>
                  </a:lnTo>
                  <a:lnTo>
                    <a:pt x="52" y="18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3" name="Freeform 442">
              <a:extLst>
                <a:ext uri="{FF2B5EF4-FFF2-40B4-BE49-F238E27FC236}">
                  <a16:creationId xmlns:a16="http://schemas.microsoft.com/office/drawing/2014/main" id="{C4970958-E132-4760-AD7B-E154CF0934F1}"/>
                </a:ext>
              </a:extLst>
            </p:cNvPr>
            <p:cNvSpPr>
              <a:spLocks/>
            </p:cNvSpPr>
            <p:nvPr/>
          </p:nvSpPr>
          <p:spPr bwMode="auto">
            <a:xfrm>
              <a:off x="3856978" y="4240905"/>
              <a:ext cx="86604" cy="31177"/>
            </a:xfrm>
            <a:custGeom>
              <a:avLst/>
              <a:gdLst>
                <a:gd name="T0" fmla="*/ 4 w 50"/>
                <a:gd name="T1" fmla="*/ 2 h 18"/>
                <a:gd name="T2" fmla="*/ 18 w 50"/>
                <a:gd name="T3" fmla="*/ 4 h 18"/>
                <a:gd name="T4" fmla="*/ 22 w 50"/>
                <a:gd name="T5" fmla="*/ 4 h 18"/>
                <a:gd name="T6" fmla="*/ 26 w 50"/>
                <a:gd name="T7" fmla="*/ 2 h 18"/>
                <a:gd name="T8" fmla="*/ 30 w 50"/>
                <a:gd name="T9" fmla="*/ 0 h 18"/>
                <a:gd name="T10" fmla="*/ 34 w 50"/>
                <a:gd name="T11" fmla="*/ 0 h 18"/>
                <a:gd name="T12" fmla="*/ 40 w 50"/>
                <a:gd name="T13" fmla="*/ 0 h 18"/>
                <a:gd name="T14" fmla="*/ 44 w 50"/>
                <a:gd name="T15" fmla="*/ 2 h 18"/>
                <a:gd name="T16" fmla="*/ 46 w 50"/>
                <a:gd name="T17" fmla="*/ 2 h 18"/>
                <a:gd name="T18" fmla="*/ 48 w 50"/>
                <a:gd name="T19" fmla="*/ 4 h 18"/>
                <a:gd name="T20" fmla="*/ 48 w 50"/>
                <a:gd name="T21" fmla="*/ 6 h 18"/>
                <a:gd name="T22" fmla="*/ 50 w 50"/>
                <a:gd name="T23" fmla="*/ 8 h 18"/>
                <a:gd name="T24" fmla="*/ 48 w 50"/>
                <a:gd name="T25" fmla="*/ 10 h 18"/>
                <a:gd name="T26" fmla="*/ 48 w 50"/>
                <a:gd name="T27" fmla="*/ 12 h 18"/>
                <a:gd name="T28" fmla="*/ 46 w 50"/>
                <a:gd name="T29" fmla="*/ 14 h 18"/>
                <a:gd name="T30" fmla="*/ 44 w 50"/>
                <a:gd name="T31" fmla="*/ 14 h 18"/>
                <a:gd name="T32" fmla="*/ 40 w 50"/>
                <a:gd name="T33" fmla="*/ 12 h 18"/>
                <a:gd name="T34" fmla="*/ 38 w 50"/>
                <a:gd name="T35" fmla="*/ 10 h 18"/>
                <a:gd name="T36" fmla="*/ 32 w 50"/>
                <a:gd name="T37" fmla="*/ 10 h 18"/>
                <a:gd name="T38" fmla="*/ 30 w 50"/>
                <a:gd name="T39" fmla="*/ 10 h 18"/>
                <a:gd name="T40" fmla="*/ 28 w 50"/>
                <a:gd name="T41" fmla="*/ 10 h 18"/>
                <a:gd name="T42" fmla="*/ 26 w 50"/>
                <a:gd name="T43" fmla="*/ 12 h 18"/>
                <a:gd name="T44" fmla="*/ 22 w 50"/>
                <a:gd name="T45" fmla="*/ 14 h 18"/>
                <a:gd name="T46" fmla="*/ 18 w 50"/>
                <a:gd name="T47" fmla="*/ 16 h 18"/>
                <a:gd name="T48" fmla="*/ 16 w 50"/>
                <a:gd name="T49" fmla="*/ 18 h 18"/>
                <a:gd name="T50" fmla="*/ 12 w 50"/>
                <a:gd name="T51" fmla="*/ 18 h 18"/>
                <a:gd name="T52" fmla="*/ 6 w 50"/>
                <a:gd name="T53" fmla="*/ 18 h 18"/>
                <a:gd name="T54" fmla="*/ 4 w 50"/>
                <a:gd name="T55" fmla="*/ 18 h 18"/>
                <a:gd name="T56" fmla="*/ 2 w 50"/>
                <a:gd name="T57" fmla="*/ 16 h 18"/>
                <a:gd name="T58" fmla="*/ 0 w 50"/>
                <a:gd name="T59" fmla="*/ 16 h 18"/>
                <a:gd name="T60" fmla="*/ 0 w 50"/>
                <a:gd name="T61" fmla="*/ 14 h 18"/>
                <a:gd name="T62" fmla="*/ 2 w 50"/>
                <a:gd name="T63" fmla="*/ 14 h 18"/>
                <a:gd name="T64" fmla="*/ 6 w 50"/>
                <a:gd name="T65" fmla="*/ 12 h 18"/>
                <a:gd name="T66" fmla="*/ 8 w 50"/>
                <a:gd name="T67" fmla="*/ 10 h 18"/>
                <a:gd name="T68" fmla="*/ 10 w 50"/>
                <a:gd name="T69" fmla="*/ 8 h 18"/>
                <a:gd name="T70" fmla="*/ 8 w 50"/>
                <a:gd name="T71" fmla="*/ 8 h 18"/>
                <a:gd name="T72" fmla="*/ 8 w 50"/>
                <a:gd name="T73" fmla="*/ 6 h 18"/>
                <a:gd name="T74" fmla="*/ 4 w 50"/>
                <a:gd name="T7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18">
                  <a:moveTo>
                    <a:pt x="4" y="2"/>
                  </a:moveTo>
                  <a:lnTo>
                    <a:pt x="4" y="2"/>
                  </a:lnTo>
                  <a:lnTo>
                    <a:pt x="10" y="4"/>
                  </a:lnTo>
                  <a:lnTo>
                    <a:pt x="18" y="4"/>
                  </a:lnTo>
                  <a:lnTo>
                    <a:pt x="20" y="4"/>
                  </a:lnTo>
                  <a:lnTo>
                    <a:pt x="22" y="4"/>
                  </a:lnTo>
                  <a:lnTo>
                    <a:pt x="24" y="2"/>
                  </a:lnTo>
                  <a:lnTo>
                    <a:pt x="26" y="2"/>
                  </a:lnTo>
                  <a:lnTo>
                    <a:pt x="28" y="2"/>
                  </a:lnTo>
                  <a:lnTo>
                    <a:pt x="30" y="0"/>
                  </a:lnTo>
                  <a:lnTo>
                    <a:pt x="30" y="0"/>
                  </a:lnTo>
                  <a:lnTo>
                    <a:pt x="34" y="0"/>
                  </a:lnTo>
                  <a:lnTo>
                    <a:pt x="38" y="0"/>
                  </a:lnTo>
                  <a:lnTo>
                    <a:pt x="40" y="0"/>
                  </a:lnTo>
                  <a:lnTo>
                    <a:pt x="42" y="0"/>
                  </a:lnTo>
                  <a:lnTo>
                    <a:pt x="44" y="2"/>
                  </a:lnTo>
                  <a:lnTo>
                    <a:pt x="46" y="2"/>
                  </a:lnTo>
                  <a:lnTo>
                    <a:pt x="46" y="2"/>
                  </a:lnTo>
                  <a:lnTo>
                    <a:pt x="48" y="2"/>
                  </a:lnTo>
                  <a:lnTo>
                    <a:pt x="48" y="4"/>
                  </a:lnTo>
                  <a:lnTo>
                    <a:pt x="48" y="4"/>
                  </a:lnTo>
                  <a:lnTo>
                    <a:pt x="48" y="6"/>
                  </a:lnTo>
                  <a:lnTo>
                    <a:pt x="50" y="6"/>
                  </a:lnTo>
                  <a:lnTo>
                    <a:pt x="50" y="8"/>
                  </a:lnTo>
                  <a:lnTo>
                    <a:pt x="48" y="10"/>
                  </a:lnTo>
                  <a:lnTo>
                    <a:pt x="48" y="10"/>
                  </a:lnTo>
                  <a:lnTo>
                    <a:pt x="48" y="12"/>
                  </a:lnTo>
                  <a:lnTo>
                    <a:pt x="48" y="12"/>
                  </a:lnTo>
                  <a:lnTo>
                    <a:pt x="48" y="14"/>
                  </a:lnTo>
                  <a:lnTo>
                    <a:pt x="46" y="14"/>
                  </a:lnTo>
                  <a:lnTo>
                    <a:pt x="46" y="14"/>
                  </a:lnTo>
                  <a:lnTo>
                    <a:pt x="44" y="14"/>
                  </a:lnTo>
                  <a:lnTo>
                    <a:pt x="44" y="12"/>
                  </a:lnTo>
                  <a:lnTo>
                    <a:pt x="40" y="12"/>
                  </a:lnTo>
                  <a:lnTo>
                    <a:pt x="38" y="12"/>
                  </a:lnTo>
                  <a:lnTo>
                    <a:pt x="38" y="10"/>
                  </a:lnTo>
                  <a:lnTo>
                    <a:pt x="34" y="10"/>
                  </a:lnTo>
                  <a:lnTo>
                    <a:pt x="32" y="10"/>
                  </a:lnTo>
                  <a:lnTo>
                    <a:pt x="32" y="10"/>
                  </a:lnTo>
                  <a:lnTo>
                    <a:pt x="30" y="10"/>
                  </a:lnTo>
                  <a:lnTo>
                    <a:pt x="30" y="10"/>
                  </a:lnTo>
                  <a:lnTo>
                    <a:pt x="28" y="10"/>
                  </a:lnTo>
                  <a:lnTo>
                    <a:pt x="26" y="10"/>
                  </a:lnTo>
                  <a:lnTo>
                    <a:pt x="26" y="12"/>
                  </a:lnTo>
                  <a:lnTo>
                    <a:pt x="24" y="14"/>
                  </a:lnTo>
                  <a:lnTo>
                    <a:pt x="22" y="14"/>
                  </a:lnTo>
                  <a:lnTo>
                    <a:pt x="20" y="16"/>
                  </a:lnTo>
                  <a:lnTo>
                    <a:pt x="18" y="16"/>
                  </a:lnTo>
                  <a:lnTo>
                    <a:pt x="16" y="18"/>
                  </a:lnTo>
                  <a:lnTo>
                    <a:pt x="16" y="18"/>
                  </a:lnTo>
                  <a:lnTo>
                    <a:pt x="14" y="18"/>
                  </a:lnTo>
                  <a:lnTo>
                    <a:pt x="12" y="18"/>
                  </a:lnTo>
                  <a:lnTo>
                    <a:pt x="10" y="18"/>
                  </a:lnTo>
                  <a:lnTo>
                    <a:pt x="6" y="18"/>
                  </a:lnTo>
                  <a:lnTo>
                    <a:pt x="4" y="18"/>
                  </a:lnTo>
                  <a:lnTo>
                    <a:pt x="4" y="18"/>
                  </a:lnTo>
                  <a:lnTo>
                    <a:pt x="2" y="16"/>
                  </a:lnTo>
                  <a:lnTo>
                    <a:pt x="2" y="16"/>
                  </a:lnTo>
                  <a:lnTo>
                    <a:pt x="2" y="16"/>
                  </a:lnTo>
                  <a:lnTo>
                    <a:pt x="0" y="16"/>
                  </a:lnTo>
                  <a:lnTo>
                    <a:pt x="0" y="14"/>
                  </a:lnTo>
                  <a:lnTo>
                    <a:pt x="0" y="14"/>
                  </a:lnTo>
                  <a:lnTo>
                    <a:pt x="2" y="14"/>
                  </a:lnTo>
                  <a:lnTo>
                    <a:pt x="2" y="14"/>
                  </a:lnTo>
                  <a:lnTo>
                    <a:pt x="6" y="12"/>
                  </a:lnTo>
                  <a:lnTo>
                    <a:pt x="6" y="12"/>
                  </a:lnTo>
                  <a:lnTo>
                    <a:pt x="8" y="10"/>
                  </a:lnTo>
                  <a:lnTo>
                    <a:pt x="8" y="10"/>
                  </a:lnTo>
                  <a:lnTo>
                    <a:pt x="8" y="10"/>
                  </a:lnTo>
                  <a:lnTo>
                    <a:pt x="10" y="8"/>
                  </a:lnTo>
                  <a:lnTo>
                    <a:pt x="10" y="8"/>
                  </a:lnTo>
                  <a:lnTo>
                    <a:pt x="8" y="8"/>
                  </a:lnTo>
                  <a:lnTo>
                    <a:pt x="8" y="6"/>
                  </a:lnTo>
                  <a:lnTo>
                    <a:pt x="8" y="6"/>
                  </a:lnTo>
                  <a:lnTo>
                    <a:pt x="6" y="4"/>
                  </a:lnTo>
                  <a:lnTo>
                    <a:pt x="4" y="4"/>
                  </a:lnTo>
                  <a:lnTo>
                    <a:pt x="4"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4" name="Freeform 443">
              <a:extLst>
                <a:ext uri="{FF2B5EF4-FFF2-40B4-BE49-F238E27FC236}">
                  <a16:creationId xmlns:a16="http://schemas.microsoft.com/office/drawing/2014/main" id="{7C7AB7EA-B2F9-42AB-86B5-43E75CAFD86D}"/>
                </a:ext>
              </a:extLst>
            </p:cNvPr>
            <p:cNvSpPr>
              <a:spLocks/>
            </p:cNvSpPr>
            <p:nvPr/>
          </p:nvSpPr>
          <p:spPr bwMode="auto">
            <a:xfrm>
              <a:off x="3856978" y="4240905"/>
              <a:ext cx="86604" cy="31177"/>
            </a:xfrm>
            <a:custGeom>
              <a:avLst/>
              <a:gdLst>
                <a:gd name="T0" fmla="*/ 4 w 50"/>
                <a:gd name="T1" fmla="*/ 2 h 18"/>
                <a:gd name="T2" fmla="*/ 18 w 50"/>
                <a:gd name="T3" fmla="*/ 4 h 18"/>
                <a:gd name="T4" fmla="*/ 22 w 50"/>
                <a:gd name="T5" fmla="*/ 4 h 18"/>
                <a:gd name="T6" fmla="*/ 26 w 50"/>
                <a:gd name="T7" fmla="*/ 2 h 18"/>
                <a:gd name="T8" fmla="*/ 30 w 50"/>
                <a:gd name="T9" fmla="*/ 0 h 18"/>
                <a:gd name="T10" fmla="*/ 34 w 50"/>
                <a:gd name="T11" fmla="*/ 0 h 18"/>
                <a:gd name="T12" fmla="*/ 40 w 50"/>
                <a:gd name="T13" fmla="*/ 0 h 18"/>
                <a:gd name="T14" fmla="*/ 44 w 50"/>
                <a:gd name="T15" fmla="*/ 2 h 18"/>
                <a:gd name="T16" fmla="*/ 46 w 50"/>
                <a:gd name="T17" fmla="*/ 2 h 18"/>
                <a:gd name="T18" fmla="*/ 48 w 50"/>
                <a:gd name="T19" fmla="*/ 4 h 18"/>
                <a:gd name="T20" fmla="*/ 48 w 50"/>
                <a:gd name="T21" fmla="*/ 6 h 18"/>
                <a:gd name="T22" fmla="*/ 50 w 50"/>
                <a:gd name="T23" fmla="*/ 8 h 18"/>
                <a:gd name="T24" fmla="*/ 48 w 50"/>
                <a:gd name="T25" fmla="*/ 10 h 18"/>
                <a:gd name="T26" fmla="*/ 48 w 50"/>
                <a:gd name="T27" fmla="*/ 12 h 18"/>
                <a:gd name="T28" fmla="*/ 46 w 50"/>
                <a:gd name="T29" fmla="*/ 14 h 18"/>
                <a:gd name="T30" fmla="*/ 44 w 50"/>
                <a:gd name="T31" fmla="*/ 14 h 18"/>
                <a:gd name="T32" fmla="*/ 40 w 50"/>
                <a:gd name="T33" fmla="*/ 12 h 18"/>
                <a:gd name="T34" fmla="*/ 38 w 50"/>
                <a:gd name="T35" fmla="*/ 10 h 18"/>
                <a:gd name="T36" fmla="*/ 32 w 50"/>
                <a:gd name="T37" fmla="*/ 10 h 18"/>
                <a:gd name="T38" fmla="*/ 30 w 50"/>
                <a:gd name="T39" fmla="*/ 10 h 18"/>
                <a:gd name="T40" fmla="*/ 28 w 50"/>
                <a:gd name="T41" fmla="*/ 10 h 18"/>
                <a:gd name="T42" fmla="*/ 26 w 50"/>
                <a:gd name="T43" fmla="*/ 12 h 18"/>
                <a:gd name="T44" fmla="*/ 22 w 50"/>
                <a:gd name="T45" fmla="*/ 14 h 18"/>
                <a:gd name="T46" fmla="*/ 18 w 50"/>
                <a:gd name="T47" fmla="*/ 16 h 18"/>
                <a:gd name="T48" fmla="*/ 16 w 50"/>
                <a:gd name="T49" fmla="*/ 18 h 18"/>
                <a:gd name="T50" fmla="*/ 12 w 50"/>
                <a:gd name="T51" fmla="*/ 18 h 18"/>
                <a:gd name="T52" fmla="*/ 6 w 50"/>
                <a:gd name="T53" fmla="*/ 18 h 18"/>
                <a:gd name="T54" fmla="*/ 4 w 50"/>
                <a:gd name="T55" fmla="*/ 18 h 18"/>
                <a:gd name="T56" fmla="*/ 2 w 50"/>
                <a:gd name="T57" fmla="*/ 16 h 18"/>
                <a:gd name="T58" fmla="*/ 0 w 50"/>
                <a:gd name="T59" fmla="*/ 16 h 18"/>
                <a:gd name="T60" fmla="*/ 0 w 50"/>
                <a:gd name="T61" fmla="*/ 14 h 18"/>
                <a:gd name="T62" fmla="*/ 2 w 50"/>
                <a:gd name="T63" fmla="*/ 14 h 18"/>
                <a:gd name="T64" fmla="*/ 6 w 50"/>
                <a:gd name="T65" fmla="*/ 12 h 18"/>
                <a:gd name="T66" fmla="*/ 8 w 50"/>
                <a:gd name="T67" fmla="*/ 10 h 18"/>
                <a:gd name="T68" fmla="*/ 10 w 50"/>
                <a:gd name="T69" fmla="*/ 8 h 18"/>
                <a:gd name="T70" fmla="*/ 8 w 50"/>
                <a:gd name="T71" fmla="*/ 8 h 18"/>
                <a:gd name="T72" fmla="*/ 8 w 50"/>
                <a:gd name="T73" fmla="*/ 6 h 18"/>
                <a:gd name="T74" fmla="*/ 4 w 50"/>
                <a:gd name="T7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18">
                  <a:moveTo>
                    <a:pt x="4" y="2"/>
                  </a:moveTo>
                  <a:lnTo>
                    <a:pt x="4" y="2"/>
                  </a:lnTo>
                  <a:lnTo>
                    <a:pt x="10" y="4"/>
                  </a:lnTo>
                  <a:lnTo>
                    <a:pt x="18" y="4"/>
                  </a:lnTo>
                  <a:lnTo>
                    <a:pt x="20" y="4"/>
                  </a:lnTo>
                  <a:lnTo>
                    <a:pt x="22" y="4"/>
                  </a:lnTo>
                  <a:lnTo>
                    <a:pt x="24" y="2"/>
                  </a:lnTo>
                  <a:lnTo>
                    <a:pt x="26" y="2"/>
                  </a:lnTo>
                  <a:lnTo>
                    <a:pt x="28" y="2"/>
                  </a:lnTo>
                  <a:lnTo>
                    <a:pt x="30" y="0"/>
                  </a:lnTo>
                  <a:lnTo>
                    <a:pt x="30" y="0"/>
                  </a:lnTo>
                  <a:lnTo>
                    <a:pt x="34" y="0"/>
                  </a:lnTo>
                  <a:lnTo>
                    <a:pt x="38" y="0"/>
                  </a:lnTo>
                  <a:lnTo>
                    <a:pt x="40" y="0"/>
                  </a:lnTo>
                  <a:lnTo>
                    <a:pt x="42" y="0"/>
                  </a:lnTo>
                  <a:lnTo>
                    <a:pt x="44" y="2"/>
                  </a:lnTo>
                  <a:lnTo>
                    <a:pt x="46" y="2"/>
                  </a:lnTo>
                  <a:lnTo>
                    <a:pt x="46" y="2"/>
                  </a:lnTo>
                  <a:lnTo>
                    <a:pt x="48" y="2"/>
                  </a:lnTo>
                  <a:lnTo>
                    <a:pt x="48" y="4"/>
                  </a:lnTo>
                  <a:lnTo>
                    <a:pt x="48" y="4"/>
                  </a:lnTo>
                  <a:lnTo>
                    <a:pt x="48" y="6"/>
                  </a:lnTo>
                  <a:lnTo>
                    <a:pt x="50" y="6"/>
                  </a:lnTo>
                  <a:lnTo>
                    <a:pt x="50" y="8"/>
                  </a:lnTo>
                  <a:lnTo>
                    <a:pt x="48" y="10"/>
                  </a:lnTo>
                  <a:lnTo>
                    <a:pt x="48" y="10"/>
                  </a:lnTo>
                  <a:lnTo>
                    <a:pt x="48" y="12"/>
                  </a:lnTo>
                  <a:lnTo>
                    <a:pt x="48" y="12"/>
                  </a:lnTo>
                  <a:lnTo>
                    <a:pt x="48" y="14"/>
                  </a:lnTo>
                  <a:lnTo>
                    <a:pt x="46" y="14"/>
                  </a:lnTo>
                  <a:lnTo>
                    <a:pt x="46" y="14"/>
                  </a:lnTo>
                  <a:lnTo>
                    <a:pt x="44" y="14"/>
                  </a:lnTo>
                  <a:lnTo>
                    <a:pt x="44" y="12"/>
                  </a:lnTo>
                  <a:lnTo>
                    <a:pt x="40" y="12"/>
                  </a:lnTo>
                  <a:lnTo>
                    <a:pt x="38" y="12"/>
                  </a:lnTo>
                  <a:lnTo>
                    <a:pt x="38" y="10"/>
                  </a:lnTo>
                  <a:lnTo>
                    <a:pt x="34" y="10"/>
                  </a:lnTo>
                  <a:lnTo>
                    <a:pt x="32" y="10"/>
                  </a:lnTo>
                  <a:lnTo>
                    <a:pt x="32" y="10"/>
                  </a:lnTo>
                  <a:lnTo>
                    <a:pt x="30" y="10"/>
                  </a:lnTo>
                  <a:lnTo>
                    <a:pt x="30" y="10"/>
                  </a:lnTo>
                  <a:lnTo>
                    <a:pt x="28" y="10"/>
                  </a:lnTo>
                  <a:lnTo>
                    <a:pt x="26" y="10"/>
                  </a:lnTo>
                  <a:lnTo>
                    <a:pt x="26" y="12"/>
                  </a:lnTo>
                  <a:lnTo>
                    <a:pt x="24" y="14"/>
                  </a:lnTo>
                  <a:lnTo>
                    <a:pt x="22" y="14"/>
                  </a:lnTo>
                  <a:lnTo>
                    <a:pt x="20" y="16"/>
                  </a:lnTo>
                  <a:lnTo>
                    <a:pt x="18" y="16"/>
                  </a:lnTo>
                  <a:lnTo>
                    <a:pt x="16" y="18"/>
                  </a:lnTo>
                  <a:lnTo>
                    <a:pt x="16" y="18"/>
                  </a:lnTo>
                  <a:lnTo>
                    <a:pt x="14" y="18"/>
                  </a:lnTo>
                  <a:lnTo>
                    <a:pt x="12" y="18"/>
                  </a:lnTo>
                  <a:lnTo>
                    <a:pt x="10" y="18"/>
                  </a:lnTo>
                  <a:lnTo>
                    <a:pt x="6" y="18"/>
                  </a:lnTo>
                  <a:lnTo>
                    <a:pt x="4" y="18"/>
                  </a:lnTo>
                  <a:lnTo>
                    <a:pt x="4" y="18"/>
                  </a:lnTo>
                  <a:lnTo>
                    <a:pt x="2" y="16"/>
                  </a:lnTo>
                  <a:lnTo>
                    <a:pt x="2" y="16"/>
                  </a:lnTo>
                  <a:lnTo>
                    <a:pt x="2" y="16"/>
                  </a:lnTo>
                  <a:lnTo>
                    <a:pt x="0" y="16"/>
                  </a:lnTo>
                  <a:lnTo>
                    <a:pt x="0" y="14"/>
                  </a:lnTo>
                  <a:lnTo>
                    <a:pt x="0" y="14"/>
                  </a:lnTo>
                  <a:lnTo>
                    <a:pt x="2" y="14"/>
                  </a:lnTo>
                  <a:lnTo>
                    <a:pt x="2" y="14"/>
                  </a:lnTo>
                  <a:lnTo>
                    <a:pt x="6" y="12"/>
                  </a:lnTo>
                  <a:lnTo>
                    <a:pt x="6" y="12"/>
                  </a:lnTo>
                  <a:lnTo>
                    <a:pt x="8" y="10"/>
                  </a:lnTo>
                  <a:lnTo>
                    <a:pt x="8" y="10"/>
                  </a:lnTo>
                  <a:lnTo>
                    <a:pt x="8" y="10"/>
                  </a:lnTo>
                  <a:lnTo>
                    <a:pt x="10" y="8"/>
                  </a:lnTo>
                  <a:lnTo>
                    <a:pt x="10" y="8"/>
                  </a:lnTo>
                  <a:lnTo>
                    <a:pt x="8" y="8"/>
                  </a:lnTo>
                  <a:lnTo>
                    <a:pt x="8" y="6"/>
                  </a:lnTo>
                  <a:lnTo>
                    <a:pt x="8" y="6"/>
                  </a:lnTo>
                  <a:lnTo>
                    <a:pt x="6" y="4"/>
                  </a:lnTo>
                  <a:lnTo>
                    <a:pt x="4" y="4"/>
                  </a:lnTo>
                  <a:lnTo>
                    <a:pt x="4"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5" name="Freeform 444">
              <a:extLst>
                <a:ext uri="{FF2B5EF4-FFF2-40B4-BE49-F238E27FC236}">
                  <a16:creationId xmlns:a16="http://schemas.microsoft.com/office/drawing/2014/main" id="{101605DB-92ED-4B7C-8F5F-EC1BEE3271B9}"/>
                </a:ext>
              </a:extLst>
            </p:cNvPr>
            <p:cNvSpPr>
              <a:spLocks/>
            </p:cNvSpPr>
            <p:nvPr/>
          </p:nvSpPr>
          <p:spPr bwMode="auto">
            <a:xfrm>
              <a:off x="3853514" y="4275547"/>
              <a:ext cx="79675" cy="38106"/>
            </a:xfrm>
            <a:custGeom>
              <a:avLst/>
              <a:gdLst>
                <a:gd name="T0" fmla="*/ 46 w 46"/>
                <a:gd name="T1" fmla="*/ 6 h 22"/>
                <a:gd name="T2" fmla="*/ 46 w 46"/>
                <a:gd name="T3" fmla="*/ 6 h 22"/>
                <a:gd name="T4" fmla="*/ 44 w 46"/>
                <a:gd name="T5" fmla="*/ 4 h 22"/>
                <a:gd name="T6" fmla="*/ 36 w 46"/>
                <a:gd name="T7" fmla="*/ 2 h 22"/>
                <a:gd name="T8" fmla="*/ 34 w 46"/>
                <a:gd name="T9" fmla="*/ 2 h 22"/>
                <a:gd name="T10" fmla="*/ 30 w 46"/>
                <a:gd name="T11" fmla="*/ 0 h 22"/>
                <a:gd name="T12" fmla="*/ 26 w 46"/>
                <a:gd name="T13" fmla="*/ 0 h 22"/>
                <a:gd name="T14" fmla="*/ 24 w 46"/>
                <a:gd name="T15" fmla="*/ 0 h 22"/>
                <a:gd name="T16" fmla="*/ 24 w 46"/>
                <a:gd name="T17" fmla="*/ 0 h 22"/>
                <a:gd name="T18" fmla="*/ 22 w 46"/>
                <a:gd name="T19" fmla="*/ 0 h 22"/>
                <a:gd name="T20" fmla="*/ 20 w 46"/>
                <a:gd name="T21" fmla="*/ 0 h 22"/>
                <a:gd name="T22" fmla="*/ 18 w 46"/>
                <a:gd name="T23" fmla="*/ 0 h 22"/>
                <a:gd name="T24" fmla="*/ 14 w 46"/>
                <a:gd name="T25" fmla="*/ 0 h 22"/>
                <a:gd name="T26" fmla="*/ 10 w 46"/>
                <a:gd name="T27" fmla="*/ 2 h 22"/>
                <a:gd name="T28" fmla="*/ 4 w 46"/>
                <a:gd name="T29" fmla="*/ 4 h 22"/>
                <a:gd name="T30" fmla="*/ 0 w 46"/>
                <a:gd name="T31" fmla="*/ 4 h 22"/>
                <a:gd name="T32" fmla="*/ 0 w 46"/>
                <a:gd name="T33" fmla="*/ 6 h 22"/>
                <a:gd name="T34" fmla="*/ 0 w 46"/>
                <a:gd name="T35" fmla="*/ 10 h 22"/>
                <a:gd name="T36" fmla="*/ 0 w 46"/>
                <a:gd name="T37" fmla="*/ 12 h 22"/>
                <a:gd name="T38" fmla="*/ 0 w 46"/>
                <a:gd name="T39" fmla="*/ 12 h 22"/>
                <a:gd name="T40" fmla="*/ 0 w 46"/>
                <a:gd name="T41" fmla="*/ 14 h 22"/>
                <a:gd name="T42" fmla="*/ 0 w 46"/>
                <a:gd name="T43" fmla="*/ 16 h 22"/>
                <a:gd name="T44" fmla="*/ 0 w 46"/>
                <a:gd name="T45" fmla="*/ 16 h 22"/>
                <a:gd name="T46" fmla="*/ 2 w 46"/>
                <a:gd name="T47" fmla="*/ 16 h 22"/>
                <a:gd name="T48" fmla="*/ 2 w 46"/>
                <a:gd name="T49" fmla="*/ 16 h 22"/>
                <a:gd name="T50" fmla="*/ 2 w 46"/>
                <a:gd name="T51" fmla="*/ 16 h 22"/>
                <a:gd name="T52" fmla="*/ 4 w 46"/>
                <a:gd name="T53" fmla="*/ 16 h 22"/>
                <a:gd name="T54" fmla="*/ 6 w 46"/>
                <a:gd name="T55" fmla="*/ 16 h 22"/>
                <a:gd name="T56" fmla="*/ 8 w 46"/>
                <a:gd name="T57" fmla="*/ 16 h 22"/>
                <a:gd name="T58" fmla="*/ 10 w 46"/>
                <a:gd name="T59" fmla="*/ 16 h 22"/>
                <a:gd name="T60" fmla="*/ 10 w 46"/>
                <a:gd name="T61" fmla="*/ 16 h 22"/>
                <a:gd name="T62" fmla="*/ 12 w 46"/>
                <a:gd name="T63" fmla="*/ 16 h 22"/>
                <a:gd name="T64" fmla="*/ 14 w 46"/>
                <a:gd name="T65" fmla="*/ 16 h 22"/>
                <a:gd name="T66" fmla="*/ 14 w 46"/>
                <a:gd name="T67" fmla="*/ 16 h 22"/>
                <a:gd name="T68" fmla="*/ 14 w 46"/>
                <a:gd name="T69" fmla="*/ 16 h 22"/>
                <a:gd name="T70" fmla="*/ 16 w 46"/>
                <a:gd name="T71" fmla="*/ 16 h 22"/>
                <a:gd name="T72" fmla="*/ 18 w 46"/>
                <a:gd name="T73" fmla="*/ 20 h 22"/>
                <a:gd name="T74" fmla="*/ 20 w 46"/>
                <a:gd name="T75" fmla="*/ 22 h 22"/>
                <a:gd name="T76" fmla="*/ 20 w 46"/>
                <a:gd name="T77" fmla="*/ 22 h 22"/>
                <a:gd name="T78" fmla="*/ 20 w 46"/>
                <a:gd name="T79" fmla="*/ 20 h 22"/>
                <a:gd name="T80" fmla="*/ 22 w 46"/>
                <a:gd name="T81" fmla="*/ 18 h 22"/>
                <a:gd name="T82" fmla="*/ 26 w 46"/>
                <a:gd name="T83" fmla="*/ 14 h 22"/>
                <a:gd name="T84" fmla="*/ 26 w 46"/>
                <a:gd name="T85" fmla="*/ 12 h 22"/>
                <a:gd name="T86" fmla="*/ 28 w 46"/>
                <a:gd name="T87" fmla="*/ 12 h 22"/>
                <a:gd name="T88" fmla="*/ 28 w 46"/>
                <a:gd name="T89" fmla="*/ 12 h 22"/>
                <a:gd name="T90" fmla="*/ 30 w 46"/>
                <a:gd name="T91" fmla="*/ 10 h 22"/>
                <a:gd name="T92" fmla="*/ 32 w 46"/>
                <a:gd name="T93" fmla="*/ 10 h 22"/>
                <a:gd name="T94" fmla="*/ 34 w 46"/>
                <a:gd name="T95" fmla="*/ 8 h 22"/>
                <a:gd name="T96" fmla="*/ 38 w 46"/>
                <a:gd name="T97" fmla="*/ 8 h 22"/>
                <a:gd name="T98" fmla="*/ 44 w 46"/>
                <a:gd name="T99" fmla="*/ 6 h 22"/>
                <a:gd name="T100" fmla="*/ 46 w 46"/>
                <a:gd name="T101"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 h="22">
                  <a:moveTo>
                    <a:pt x="46" y="6"/>
                  </a:moveTo>
                  <a:lnTo>
                    <a:pt x="46" y="6"/>
                  </a:lnTo>
                  <a:lnTo>
                    <a:pt x="44" y="4"/>
                  </a:lnTo>
                  <a:lnTo>
                    <a:pt x="36" y="2"/>
                  </a:lnTo>
                  <a:lnTo>
                    <a:pt x="34" y="2"/>
                  </a:lnTo>
                  <a:lnTo>
                    <a:pt x="30" y="0"/>
                  </a:lnTo>
                  <a:lnTo>
                    <a:pt x="26" y="0"/>
                  </a:lnTo>
                  <a:lnTo>
                    <a:pt x="24" y="0"/>
                  </a:lnTo>
                  <a:lnTo>
                    <a:pt x="24" y="0"/>
                  </a:lnTo>
                  <a:lnTo>
                    <a:pt x="22" y="0"/>
                  </a:lnTo>
                  <a:lnTo>
                    <a:pt x="20" y="0"/>
                  </a:lnTo>
                  <a:lnTo>
                    <a:pt x="18" y="0"/>
                  </a:lnTo>
                  <a:lnTo>
                    <a:pt x="14" y="0"/>
                  </a:lnTo>
                  <a:lnTo>
                    <a:pt x="10" y="2"/>
                  </a:lnTo>
                  <a:lnTo>
                    <a:pt x="4" y="4"/>
                  </a:lnTo>
                  <a:lnTo>
                    <a:pt x="0" y="4"/>
                  </a:lnTo>
                  <a:lnTo>
                    <a:pt x="0" y="6"/>
                  </a:lnTo>
                  <a:lnTo>
                    <a:pt x="0" y="10"/>
                  </a:lnTo>
                  <a:lnTo>
                    <a:pt x="0" y="12"/>
                  </a:lnTo>
                  <a:lnTo>
                    <a:pt x="0" y="12"/>
                  </a:lnTo>
                  <a:lnTo>
                    <a:pt x="0" y="14"/>
                  </a:lnTo>
                  <a:lnTo>
                    <a:pt x="0" y="16"/>
                  </a:lnTo>
                  <a:lnTo>
                    <a:pt x="0" y="16"/>
                  </a:lnTo>
                  <a:lnTo>
                    <a:pt x="2" y="16"/>
                  </a:lnTo>
                  <a:lnTo>
                    <a:pt x="2" y="16"/>
                  </a:lnTo>
                  <a:lnTo>
                    <a:pt x="2" y="16"/>
                  </a:lnTo>
                  <a:lnTo>
                    <a:pt x="4" y="16"/>
                  </a:lnTo>
                  <a:lnTo>
                    <a:pt x="6" y="16"/>
                  </a:lnTo>
                  <a:lnTo>
                    <a:pt x="8" y="16"/>
                  </a:lnTo>
                  <a:lnTo>
                    <a:pt x="10" y="16"/>
                  </a:lnTo>
                  <a:lnTo>
                    <a:pt x="10" y="16"/>
                  </a:lnTo>
                  <a:lnTo>
                    <a:pt x="12" y="16"/>
                  </a:lnTo>
                  <a:lnTo>
                    <a:pt x="14" y="16"/>
                  </a:lnTo>
                  <a:lnTo>
                    <a:pt x="14" y="16"/>
                  </a:lnTo>
                  <a:lnTo>
                    <a:pt x="14" y="16"/>
                  </a:lnTo>
                  <a:lnTo>
                    <a:pt x="16" y="16"/>
                  </a:lnTo>
                  <a:lnTo>
                    <a:pt x="18" y="20"/>
                  </a:lnTo>
                  <a:lnTo>
                    <a:pt x="20" y="22"/>
                  </a:lnTo>
                  <a:lnTo>
                    <a:pt x="20" y="22"/>
                  </a:lnTo>
                  <a:lnTo>
                    <a:pt x="20" y="20"/>
                  </a:lnTo>
                  <a:lnTo>
                    <a:pt x="22" y="18"/>
                  </a:lnTo>
                  <a:lnTo>
                    <a:pt x="26" y="14"/>
                  </a:lnTo>
                  <a:lnTo>
                    <a:pt x="26" y="12"/>
                  </a:lnTo>
                  <a:lnTo>
                    <a:pt x="28" y="12"/>
                  </a:lnTo>
                  <a:lnTo>
                    <a:pt x="28" y="12"/>
                  </a:lnTo>
                  <a:lnTo>
                    <a:pt x="30" y="10"/>
                  </a:lnTo>
                  <a:lnTo>
                    <a:pt x="32" y="10"/>
                  </a:lnTo>
                  <a:lnTo>
                    <a:pt x="34" y="8"/>
                  </a:lnTo>
                  <a:lnTo>
                    <a:pt x="38" y="8"/>
                  </a:lnTo>
                  <a:lnTo>
                    <a:pt x="44" y="6"/>
                  </a:lnTo>
                  <a:lnTo>
                    <a:pt x="46" y="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6" name="Freeform 445">
              <a:extLst>
                <a:ext uri="{FF2B5EF4-FFF2-40B4-BE49-F238E27FC236}">
                  <a16:creationId xmlns:a16="http://schemas.microsoft.com/office/drawing/2014/main" id="{B4C8A0C7-883D-4DB0-9321-DBCC4C43210E}"/>
                </a:ext>
              </a:extLst>
            </p:cNvPr>
            <p:cNvSpPr>
              <a:spLocks/>
            </p:cNvSpPr>
            <p:nvPr/>
          </p:nvSpPr>
          <p:spPr bwMode="auto">
            <a:xfrm>
              <a:off x="3853514" y="4275547"/>
              <a:ext cx="79675" cy="38106"/>
            </a:xfrm>
            <a:custGeom>
              <a:avLst/>
              <a:gdLst>
                <a:gd name="T0" fmla="*/ 46 w 46"/>
                <a:gd name="T1" fmla="*/ 6 h 22"/>
                <a:gd name="T2" fmla="*/ 46 w 46"/>
                <a:gd name="T3" fmla="*/ 6 h 22"/>
                <a:gd name="T4" fmla="*/ 44 w 46"/>
                <a:gd name="T5" fmla="*/ 4 h 22"/>
                <a:gd name="T6" fmla="*/ 36 w 46"/>
                <a:gd name="T7" fmla="*/ 2 h 22"/>
                <a:gd name="T8" fmla="*/ 34 w 46"/>
                <a:gd name="T9" fmla="*/ 2 h 22"/>
                <a:gd name="T10" fmla="*/ 30 w 46"/>
                <a:gd name="T11" fmla="*/ 0 h 22"/>
                <a:gd name="T12" fmla="*/ 26 w 46"/>
                <a:gd name="T13" fmla="*/ 0 h 22"/>
                <a:gd name="T14" fmla="*/ 24 w 46"/>
                <a:gd name="T15" fmla="*/ 0 h 22"/>
                <a:gd name="T16" fmla="*/ 24 w 46"/>
                <a:gd name="T17" fmla="*/ 0 h 22"/>
                <a:gd name="T18" fmla="*/ 22 w 46"/>
                <a:gd name="T19" fmla="*/ 0 h 22"/>
                <a:gd name="T20" fmla="*/ 20 w 46"/>
                <a:gd name="T21" fmla="*/ 0 h 22"/>
                <a:gd name="T22" fmla="*/ 18 w 46"/>
                <a:gd name="T23" fmla="*/ 0 h 22"/>
                <a:gd name="T24" fmla="*/ 14 w 46"/>
                <a:gd name="T25" fmla="*/ 0 h 22"/>
                <a:gd name="T26" fmla="*/ 10 w 46"/>
                <a:gd name="T27" fmla="*/ 2 h 22"/>
                <a:gd name="T28" fmla="*/ 4 w 46"/>
                <a:gd name="T29" fmla="*/ 4 h 22"/>
                <a:gd name="T30" fmla="*/ 0 w 46"/>
                <a:gd name="T31" fmla="*/ 4 h 22"/>
                <a:gd name="T32" fmla="*/ 0 w 46"/>
                <a:gd name="T33" fmla="*/ 6 h 22"/>
                <a:gd name="T34" fmla="*/ 0 w 46"/>
                <a:gd name="T35" fmla="*/ 10 h 22"/>
                <a:gd name="T36" fmla="*/ 0 w 46"/>
                <a:gd name="T37" fmla="*/ 12 h 22"/>
                <a:gd name="T38" fmla="*/ 0 w 46"/>
                <a:gd name="T39" fmla="*/ 12 h 22"/>
                <a:gd name="T40" fmla="*/ 0 w 46"/>
                <a:gd name="T41" fmla="*/ 14 h 22"/>
                <a:gd name="T42" fmla="*/ 0 w 46"/>
                <a:gd name="T43" fmla="*/ 16 h 22"/>
                <a:gd name="T44" fmla="*/ 0 w 46"/>
                <a:gd name="T45" fmla="*/ 16 h 22"/>
                <a:gd name="T46" fmla="*/ 2 w 46"/>
                <a:gd name="T47" fmla="*/ 16 h 22"/>
                <a:gd name="T48" fmla="*/ 2 w 46"/>
                <a:gd name="T49" fmla="*/ 16 h 22"/>
                <a:gd name="T50" fmla="*/ 2 w 46"/>
                <a:gd name="T51" fmla="*/ 16 h 22"/>
                <a:gd name="T52" fmla="*/ 4 w 46"/>
                <a:gd name="T53" fmla="*/ 16 h 22"/>
                <a:gd name="T54" fmla="*/ 6 w 46"/>
                <a:gd name="T55" fmla="*/ 16 h 22"/>
                <a:gd name="T56" fmla="*/ 8 w 46"/>
                <a:gd name="T57" fmla="*/ 16 h 22"/>
                <a:gd name="T58" fmla="*/ 10 w 46"/>
                <a:gd name="T59" fmla="*/ 16 h 22"/>
                <a:gd name="T60" fmla="*/ 10 w 46"/>
                <a:gd name="T61" fmla="*/ 16 h 22"/>
                <a:gd name="T62" fmla="*/ 12 w 46"/>
                <a:gd name="T63" fmla="*/ 16 h 22"/>
                <a:gd name="T64" fmla="*/ 14 w 46"/>
                <a:gd name="T65" fmla="*/ 16 h 22"/>
                <a:gd name="T66" fmla="*/ 14 w 46"/>
                <a:gd name="T67" fmla="*/ 16 h 22"/>
                <a:gd name="T68" fmla="*/ 14 w 46"/>
                <a:gd name="T69" fmla="*/ 16 h 22"/>
                <a:gd name="T70" fmla="*/ 16 w 46"/>
                <a:gd name="T71" fmla="*/ 16 h 22"/>
                <a:gd name="T72" fmla="*/ 18 w 46"/>
                <a:gd name="T73" fmla="*/ 20 h 22"/>
                <a:gd name="T74" fmla="*/ 20 w 46"/>
                <a:gd name="T75" fmla="*/ 22 h 22"/>
                <a:gd name="T76" fmla="*/ 20 w 46"/>
                <a:gd name="T77" fmla="*/ 22 h 22"/>
                <a:gd name="T78" fmla="*/ 20 w 46"/>
                <a:gd name="T79" fmla="*/ 20 h 22"/>
                <a:gd name="T80" fmla="*/ 22 w 46"/>
                <a:gd name="T81" fmla="*/ 18 h 22"/>
                <a:gd name="T82" fmla="*/ 26 w 46"/>
                <a:gd name="T83" fmla="*/ 14 h 22"/>
                <a:gd name="T84" fmla="*/ 26 w 46"/>
                <a:gd name="T85" fmla="*/ 12 h 22"/>
                <a:gd name="T86" fmla="*/ 28 w 46"/>
                <a:gd name="T87" fmla="*/ 12 h 22"/>
                <a:gd name="T88" fmla="*/ 28 w 46"/>
                <a:gd name="T89" fmla="*/ 12 h 22"/>
                <a:gd name="T90" fmla="*/ 30 w 46"/>
                <a:gd name="T91" fmla="*/ 10 h 22"/>
                <a:gd name="T92" fmla="*/ 32 w 46"/>
                <a:gd name="T93" fmla="*/ 10 h 22"/>
                <a:gd name="T94" fmla="*/ 34 w 46"/>
                <a:gd name="T95" fmla="*/ 8 h 22"/>
                <a:gd name="T96" fmla="*/ 38 w 46"/>
                <a:gd name="T97" fmla="*/ 8 h 22"/>
                <a:gd name="T98" fmla="*/ 44 w 46"/>
                <a:gd name="T99" fmla="*/ 6 h 22"/>
                <a:gd name="T100" fmla="*/ 46 w 46"/>
                <a:gd name="T101"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 h="22">
                  <a:moveTo>
                    <a:pt x="46" y="6"/>
                  </a:moveTo>
                  <a:lnTo>
                    <a:pt x="46" y="6"/>
                  </a:lnTo>
                  <a:lnTo>
                    <a:pt x="44" y="4"/>
                  </a:lnTo>
                  <a:lnTo>
                    <a:pt x="36" y="2"/>
                  </a:lnTo>
                  <a:lnTo>
                    <a:pt x="34" y="2"/>
                  </a:lnTo>
                  <a:lnTo>
                    <a:pt x="30" y="0"/>
                  </a:lnTo>
                  <a:lnTo>
                    <a:pt x="26" y="0"/>
                  </a:lnTo>
                  <a:lnTo>
                    <a:pt x="24" y="0"/>
                  </a:lnTo>
                  <a:lnTo>
                    <a:pt x="24" y="0"/>
                  </a:lnTo>
                  <a:lnTo>
                    <a:pt x="22" y="0"/>
                  </a:lnTo>
                  <a:lnTo>
                    <a:pt x="20" y="0"/>
                  </a:lnTo>
                  <a:lnTo>
                    <a:pt x="18" y="0"/>
                  </a:lnTo>
                  <a:lnTo>
                    <a:pt x="14" y="0"/>
                  </a:lnTo>
                  <a:lnTo>
                    <a:pt x="10" y="2"/>
                  </a:lnTo>
                  <a:lnTo>
                    <a:pt x="4" y="4"/>
                  </a:lnTo>
                  <a:lnTo>
                    <a:pt x="0" y="4"/>
                  </a:lnTo>
                  <a:lnTo>
                    <a:pt x="0" y="6"/>
                  </a:lnTo>
                  <a:lnTo>
                    <a:pt x="0" y="10"/>
                  </a:lnTo>
                  <a:lnTo>
                    <a:pt x="0" y="12"/>
                  </a:lnTo>
                  <a:lnTo>
                    <a:pt x="0" y="12"/>
                  </a:lnTo>
                  <a:lnTo>
                    <a:pt x="0" y="14"/>
                  </a:lnTo>
                  <a:lnTo>
                    <a:pt x="0" y="16"/>
                  </a:lnTo>
                  <a:lnTo>
                    <a:pt x="0" y="16"/>
                  </a:lnTo>
                  <a:lnTo>
                    <a:pt x="2" y="16"/>
                  </a:lnTo>
                  <a:lnTo>
                    <a:pt x="2" y="16"/>
                  </a:lnTo>
                  <a:lnTo>
                    <a:pt x="2" y="16"/>
                  </a:lnTo>
                  <a:lnTo>
                    <a:pt x="4" y="16"/>
                  </a:lnTo>
                  <a:lnTo>
                    <a:pt x="6" y="16"/>
                  </a:lnTo>
                  <a:lnTo>
                    <a:pt x="8" y="16"/>
                  </a:lnTo>
                  <a:lnTo>
                    <a:pt x="10" y="16"/>
                  </a:lnTo>
                  <a:lnTo>
                    <a:pt x="10" y="16"/>
                  </a:lnTo>
                  <a:lnTo>
                    <a:pt x="12" y="16"/>
                  </a:lnTo>
                  <a:lnTo>
                    <a:pt x="14" y="16"/>
                  </a:lnTo>
                  <a:lnTo>
                    <a:pt x="14" y="16"/>
                  </a:lnTo>
                  <a:lnTo>
                    <a:pt x="14" y="16"/>
                  </a:lnTo>
                  <a:lnTo>
                    <a:pt x="16" y="16"/>
                  </a:lnTo>
                  <a:lnTo>
                    <a:pt x="18" y="20"/>
                  </a:lnTo>
                  <a:lnTo>
                    <a:pt x="20" y="22"/>
                  </a:lnTo>
                  <a:lnTo>
                    <a:pt x="20" y="22"/>
                  </a:lnTo>
                  <a:lnTo>
                    <a:pt x="20" y="20"/>
                  </a:lnTo>
                  <a:lnTo>
                    <a:pt x="22" y="18"/>
                  </a:lnTo>
                  <a:lnTo>
                    <a:pt x="26" y="14"/>
                  </a:lnTo>
                  <a:lnTo>
                    <a:pt x="26" y="12"/>
                  </a:lnTo>
                  <a:lnTo>
                    <a:pt x="28" y="12"/>
                  </a:lnTo>
                  <a:lnTo>
                    <a:pt x="28" y="12"/>
                  </a:lnTo>
                  <a:lnTo>
                    <a:pt x="30" y="10"/>
                  </a:lnTo>
                  <a:lnTo>
                    <a:pt x="32" y="10"/>
                  </a:lnTo>
                  <a:lnTo>
                    <a:pt x="34" y="8"/>
                  </a:lnTo>
                  <a:lnTo>
                    <a:pt x="38" y="8"/>
                  </a:lnTo>
                  <a:lnTo>
                    <a:pt x="44" y="6"/>
                  </a:lnTo>
                  <a:lnTo>
                    <a:pt x="46" y="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7" name="Freeform 446">
              <a:extLst>
                <a:ext uri="{FF2B5EF4-FFF2-40B4-BE49-F238E27FC236}">
                  <a16:creationId xmlns:a16="http://schemas.microsoft.com/office/drawing/2014/main" id="{7448C81A-84BF-49CB-B58C-AA3500918355}"/>
                </a:ext>
              </a:extLst>
            </p:cNvPr>
            <p:cNvSpPr>
              <a:spLocks/>
            </p:cNvSpPr>
            <p:nvPr/>
          </p:nvSpPr>
          <p:spPr bwMode="auto">
            <a:xfrm>
              <a:off x="5329242" y="4982233"/>
              <a:ext cx="207849" cy="412234"/>
            </a:xfrm>
            <a:custGeom>
              <a:avLst/>
              <a:gdLst>
                <a:gd name="T0" fmla="*/ 88 w 120"/>
                <a:gd name="T1" fmla="*/ 12 h 238"/>
                <a:gd name="T2" fmla="*/ 88 w 120"/>
                <a:gd name="T3" fmla="*/ 24 h 238"/>
                <a:gd name="T4" fmla="*/ 82 w 120"/>
                <a:gd name="T5" fmla="*/ 28 h 238"/>
                <a:gd name="T6" fmla="*/ 82 w 120"/>
                <a:gd name="T7" fmla="*/ 40 h 238"/>
                <a:gd name="T8" fmla="*/ 80 w 120"/>
                <a:gd name="T9" fmla="*/ 44 h 238"/>
                <a:gd name="T10" fmla="*/ 72 w 120"/>
                <a:gd name="T11" fmla="*/ 44 h 238"/>
                <a:gd name="T12" fmla="*/ 68 w 120"/>
                <a:gd name="T13" fmla="*/ 52 h 238"/>
                <a:gd name="T14" fmla="*/ 60 w 120"/>
                <a:gd name="T15" fmla="*/ 62 h 238"/>
                <a:gd name="T16" fmla="*/ 56 w 120"/>
                <a:gd name="T17" fmla="*/ 70 h 238"/>
                <a:gd name="T18" fmla="*/ 50 w 120"/>
                <a:gd name="T19" fmla="*/ 72 h 238"/>
                <a:gd name="T20" fmla="*/ 48 w 120"/>
                <a:gd name="T21" fmla="*/ 66 h 238"/>
                <a:gd name="T22" fmla="*/ 46 w 120"/>
                <a:gd name="T23" fmla="*/ 60 h 238"/>
                <a:gd name="T24" fmla="*/ 38 w 120"/>
                <a:gd name="T25" fmla="*/ 62 h 238"/>
                <a:gd name="T26" fmla="*/ 36 w 120"/>
                <a:gd name="T27" fmla="*/ 70 h 238"/>
                <a:gd name="T28" fmla="*/ 28 w 120"/>
                <a:gd name="T29" fmla="*/ 72 h 238"/>
                <a:gd name="T30" fmla="*/ 26 w 120"/>
                <a:gd name="T31" fmla="*/ 80 h 238"/>
                <a:gd name="T32" fmla="*/ 22 w 120"/>
                <a:gd name="T33" fmla="*/ 86 h 238"/>
                <a:gd name="T34" fmla="*/ 16 w 120"/>
                <a:gd name="T35" fmla="*/ 96 h 238"/>
                <a:gd name="T36" fmla="*/ 16 w 120"/>
                <a:gd name="T37" fmla="*/ 116 h 238"/>
                <a:gd name="T38" fmla="*/ 22 w 120"/>
                <a:gd name="T39" fmla="*/ 128 h 238"/>
                <a:gd name="T40" fmla="*/ 28 w 120"/>
                <a:gd name="T41" fmla="*/ 132 h 238"/>
                <a:gd name="T42" fmla="*/ 26 w 120"/>
                <a:gd name="T43" fmla="*/ 142 h 238"/>
                <a:gd name="T44" fmla="*/ 20 w 120"/>
                <a:gd name="T45" fmla="*/ 152 h 238"/>
                <a:gd name="T46" fmla="*/ 18 w 120"/>
                <a:gd name="T47" fmla="*/ 160 h 238"/>
                <a:gd name="T48" fmla="*/ 10 w 120"/>
                <a:gd name="T49" fmla="*/ 164 h 238"/>
                <a:gd name="T50" fmla="*/ 4 w 120"/>
                <a:gd name="T51" fmla="*/ 170 h 238"/>
                <a:gd name="T52" fmla="*/ 0 w 120"/>
                <a:gd name="T53" fmla="*/ 176 h 238"/>
                <a:gd name="T54" fmla="*/ 0 w 120"/>
                <a:gd name="T55" fmla="*/ 190 h 238"/>
                <a:gd name="T56" fmla="*/ 8 w 120"/>
                <a:gd name="T57" fmla="*/ 190 h 238"/>
                <a:gd name="T58" fmla="*/ 14 w 120"/>
                <a:gd name="T59" fmla="*/ 192 h 238"/>
                <a:gd name="T60" fmla="*/ 14 w 120"/>
                <a:gd name="T61" fmla="*/ 200 h 238"/>
                <a:gd name="T62" fmla="*/ 10 w 120"/>
                <a:gd name="T63" fmla="*/ 224 h 238"/>
                <a:gd name="T64" fmla="*/ 14 w 120"/>
                <a:gd name="T65" fmla="*/ 230 h 238"/>
                <a:gd name="T66" fmla="*/ 22 w 120"/>
                <a:gd name="T67" fmla="*/ 228 h 238"/>
                <a:gd name="T68" fmla="*/ 28 w 120"/>
                <a:gd name="T69" fmla="*/ 236 h 238"/>
                <a:gd name="T70" fmla="*/ 36 w 120"/>
                <a:gd name="T71" fmla="*/ 238 h 238"/>
                <a:gd name="T72" fmla="*/ 44 w 120"/>
                <a:gd name="T73" fmla="*/ 228 h 238"/>
                <a:gd name="T74" fmla="*/ 56 w 120"/>
                <a:gd name="T75" fmla="*/ 226 h 238"/>
                <a:gd name="T76" fmla="*/ 68 w 120"/>
                <a:gd name="T77" fmla="*/ 220 h 238"/>
                <a:gd name="T78" fmla="*/ 70 w 120"/>
                <a:gd name="T79" fmla="*/ 212 h 238"/>
                <a:gd name="T80" fmla="*/ 72 w 120"/>
                <a:gd name="T81" fmla="*/ 200 h 238"/>
                <a:gd name="T82" fmla="*/ 80 w 120"/>
                <a:gd name="T83" fmla="*/ 196 h 238"/>
                <a:gd name="T84" fmla="*/ 80 w 120"/>
                <a:gd name="T85" fmla="*/ 176 h 238"/>
                <a:gd name="T86" fmla="*/ 82 w 120"/>
                <a:gd name="T87" fmla="*/ 170 h 238"/>
                <a:gd name="T88" fmla="*/ 86 w 120"/>
                <a:gd name="T89" fmla="*/ 160 h 238"/>
                <a:gd name="T90" fmla="*/ 82 w 120"/>
                <a:gd name="T91" fmla="*/ 138 h 238"/>
                <a:gd name="T92" fmla="*/ 88 w 120"/>
                <a:gd name="T93" fmla="*/ 130 h 238"/>
                <a:gd name="T94" fmla="*/ 100 w 120"/>
                <a:gd name="T95" fmla="*/ 122 h 238"/>
                <a:gd name="T96" fmla="*/ 100 w 120"/>
                <a:gd name="T97" fmla="*/ 110 h 238"/>
                <a:gd name="T98" fmla="*/ 100 w 120"/>
                <a:gd name="T99" fmla="*/ 92 h 238"/>
                <a:gd name="T100" fmla="*/ 108 w 120"/>
                <a:gd name="T101" fmla="*/ 86 h 238"/>
                <a:gd name="T102" fmla="*/ 108 w 120"/>
                <a:gd name="T103" fmla="*/ 72 h 238"/>
                <a:gd name="T104" fmla="*/ 112 w 120"/>
                <a:gd name="T105" fmla="*/ 66 h 238"/>
                <a:gd name="T106" fmla="*/ 120 w 120"/>
                <a:gd name="T107" fmla="*/ 60 h 238"/>
                <a:gd name="T108" fmla="*/ 120 w 120"/>
                <a:gd name="T109" fmla="*/ 42 h 238"/>
                <a:gd name="T110" fmla="*/ 116 w 120"/>
                <a:gd name="T111" fmla="*/ 30 h 238"/>
                <a:gd name="T112" fmla="*/ 108 w 120"/>
                <a:gd name="T113" fmla="*/ 26 h 238"/>
                <a:gd name="T114" fmla="*/ 108 w 120"/>
                <a:gd name="T115" fmla="*/ 18 h 238"/>
                <a:gd name="T116" fmla="*/ 108 w 120"/>
                <a:gd name="T117" fmla="*/ 8 h 238"/>
                <a:gd name="T118" fmla="*/ 98 w 120"/>
                <a:gd name="T119" fmla="*/ 2 h 238"/>
                <a:gd name="T120" fmla="*/ 92 w 120"/>
                <a:gd name="T121" fmla="*/ 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 h="238">
                  <a:moveTo>
                    <a:pt x="90" y="4"/>
                  </a:moveTo>
                  <a:lnTo>
                    <a:pt x="90" y="4"/>
                  </a:lnTo>
                  <a:lnTo>
                    <a:pt x="88" y="4"/>
                  </a:lnTo>
                  <a:lnTo>
                    <a:pt x="88" y="6"/>
                  </a:lnTo>
                  <a:lnTo>
                    <a:pt x="88" y="8"/>
                  </a:lnTo>
                  <a:lnTo>
                    <a:pt x="88" y="8"/>
                  </a:lnTo>
                  <a:lnTo>
                    <a:pt x="88" y="12"/>
                  </a:lnTo>
                  <a:lnTo>
                    <a:pt x="90" y="14"/>
                  </a:lnTo>
                  <a:lnTo>
                    <a:pt x="90" y="18"/>
                  </a:lnTo>
                  <a:lnTo>
                    <a:pt x="90" y="20"/>
                  </a:lnTo>
                  <a:lnTo>
                    <a:pt x="90" y="22"/>
                  </a:lnTo>
                  <a:lnTo>
                    <a:pt x="90" y="22"/>
                  </a:lnTo>
                  <a:lnTo>
                    <a:pt x="90" y="24"/>
                  </a:lnTo>
                  <a:lnTo>
                    <a:pt x="88" y="24"/>
                  </a:lnTo>
                  <a:lnTo>
                    <a:pt x="88" y="26"/>
                  </a:lnTo>
                  <a:lnTo>
                    <a:pt x="88" y="26"/>
                  </a:lnTo>
                  <a:lnTo>
                    <a:pt x="86" y="26"/>
                  </a:lnTo>
                  <a:lnTo>
                    <a:pt x="84" y="26"/>
                  </a:lnTo>
                  <a:lnTo>
                    <a:pt x="84" y="26"/>
                  </a:lnTo>
                  <a:lnTo>
                    <a:pt x="84" y="28"/>
                  </a:lnTo>
                  <a:lnTo>
                    <a:pt x="82" y="28"/>
                  </a:lnTo>
                  <a:lnTo>
                    <a:pt x="82" y="28"/>
                  </a:lnTo>
                  <a:lnTo>
                    <a:pt x="82" y="30"/>
                  </a:lnTo>
                  <a:lnTo>
                    <a:pt x="82" y="30"/>
                  </a:lnTo>
                  <a:lnTo>
                    <a:pt x="82" y="32"/>
                  </a:lnTo>
                  <a:lnTo>
                    <a:pt x="82" y="36"/>
                  </a:lnTo>
                  <a:lnTo>
                    <a:pt x="82" y="38"/>
                  </a:lnTo>
                  <a:lnTo>
                    <a:pt x="82" y="40"/>
                  </a:lnTo>
                  <a:lnTo>
                    <a:pt x="82" y="40"/>
                  </a:lnTo>
                  <a:lnTo>
                    <a:pt x="82" y="42"/>
                  </a:lnTo>
                  <a:lnTo>
                    <a:pt x="82" y="42"/>
                  </a:lnTo>
                  <a:lnTo>
                    <a:pt x="82" y="42"/>
                  </a:lnTo>
                  <a:lnTo>
                    <a:pt x="80" y="44"/>
                  </a:lnTo>
                  <a:lnTo>
                    <a:pt x="80" y="44"/>
                  </a:lnTo>
                  <a:lnTo>
                    <a:pt x="80" y="44"/>
                  </a:lnTo>
                  <a:lnTo>
                    <a:pt x="78" y="44"/>
                  </a:lnTo>
                  <a:lnTo>
                    <a:pt x="76" y="44"/>
                  </a:lnTo>
                  <a:lnTo>
                    <a:pt x="74" y="42"/>
                  </a:lnTo>
                  <a:lnTo>
                    <a:pt x="72" y="42"/>
                  </a:lnTo>
                  <a:lnTo>
                    <a:pt x="72" y="42"/>
                  </a:lnTo>
                  <a:lnTo>
                    <a:pt x="72" y="42"/>
                  </a:lnTo>
                  <a:lnTo>
                    <a:pt x="72" y="44"/>
                  </a:lnTo>
                  <a:lnTo>
                    <a:pt x="70" y="44"/>
                  </a:lnTo>
                  <a:lnTo>
                    <a:pt x="70" y="46"/>
                  </a:lnTo>
                  <a:lnTo>
                    <a:pt x="70" y="46"/>
                  </a:lnTo>
                  <a:lnTo>
                    <a:pt x="68" y="48"/>
                  </a:lnTo>
                  <a:lnTo>
                    <a:pt x="68" y="48"/>
                  </a:lnTo>
                  <a:lnTo>
                    <a:pt x="68" y="50"/>
                  </a:lnTo>
                  <a:lnTo>
                    <a:pt x="68" y="52"/>
                  </a:lnTo>
                  <a:lnTo>
                    <a:pt x="66" y="56"/>
                  </a:lnTo>
                  <a:lnTo>
                    <a:pt x="66" y="56"/>
                  </a:lnTo>
                  <a:lnTo>
                    <a:pt x="66" y="58"/>
                  </a:lnTo>
                  <a:lnTo>
                    <a:pt x="66" y="58"/>
                  </a:lnTo>
                  <a:lnTo>
                    <a:pt x="64" y="58"/>
                  </a:lnTo>
                  <a:lnTo>
                    <a:pt x="62" y="60"/>
                  </a:lnTo>
                  <a:lnTo>
                    <a:pt x="60" y="62"/>
                  </a:lnTo>
                  <a:lnTo>
                    <a:pt x="58" y="62"/>
                  </a:lnTo>
                  <a:lnTo>
                    <a:pt x="58" y="64"/>
                  </a:lnTo>
                  <a:lnTo>
                    <a:pt x="58" y="64"/>
                  </a:lnTo>
                  <a:lnTo>
                    <a:pt x="58" y="66"/>
                  </a:lnTo>
                  <a:lnTo>
                    <a:pt x="56" y="68"/>
                  </a:lnTo>
                  <a:lnTo>
                    <a:pt x="56" y="70"/>
                  </a:lnTo>
                  <a:lnTo>
                    <a:pt x="56" y="70"/>
                  </a:lnTo>
                  <a:lnTo>
                    <a:pt x="56" y="72"/>
                  </a:lnTo>
                  <a:lnTo>
                    <a:pt x="54" y="72"/>
                  </a:lnTo>
                  <a:lnTo>
                    <a:pt x="54" y="72"/>
                  </a:lnTo>
                  <a:lnTo>
                    <a:pt x="54" y="72"/>
                  </a:lnTo>
                  <a:lnTo>
                    <a:pt x="52" y="72"/>
                  </a:lnTo>
                  <a:lnTo>
                    <a:pt x="52" y="72"/>
                  </a:lnTo>
                  <a:lnTo>
                    <a:pt x="50" y="72"/>
                  </a:lnTo>
                  <a:lnTo>
                    <a:pt x="50" y="70"/>
                  </a:lnTo>
                  <a:lnTo>
                    <a:pt x="48" y="70"/>
                  </a:lnTo>
                  <a:lnTo>
                    <a:pt x="48" y="70"/>
                  </a:lnTo>
                  <a:lnTo>
                    <a:pt x="48" y="70"/>
                  </a:lnTo>
                  <a:lnTo>
                    <a:pt x="48" y="68"/>
                  </a:lnTo>
                  <a:lnTo>
                    <a:pt x="48" y="68"/>
                  </a:lnTo>
                  <a:lnTo>
                    <a:pt x="48" y="66"/>
                  </a:lnTo>
                  <a:lnTo>
                    <a:pt x="48" y="64"/>
                  </a:lnTo>
                  <a:lnTo>
                    <a:pt x="48" y="64"/>
                  </a:lnTo>
                  <a:lnTo>
                    <a:pt x="48" y="62"/>
                  </a:lnTo>
                  <a:lnTo>
                    <a:pt x="48" y="62"/>
                  </a:lnTo>
                  <a:lnTo>
                    <a:pt x="48" y="62"/>
                  </a:lnTo>
                  <a:lnTo>
                    <a:pt x="46" y="62"/>
                  </a:lnTo>
                  <a:lnTo>
                    <a:pt x="46" y="60"/>
                  </a:lnTo>
                  <a:lnTo>
                    <a:pt x="44" y="60"/>
                  </a:lnTo>
                  <a:lnTo>
                    <a:pt x="42" y="60"/>
                  </a:lnTo>
                  <a:lnTo>
                    <a:pt x="42" y="62"/>
                  </a:lnTo>
                  <a:lnTo>
                    <a:pt x="40" y="62"/>
                  </a:lnTo>
                  <a:lnTo>
                    <a:pt x="40" y="62"/>
                  </a:lnTo>
                  <a:lnTo>
                    <a:pt x="38" y="62"/>
                  </a:lnTo>
                  <a:lnTo>
                    <a:pt x="38" y="62"/>
                  </a:lnTo>
                  <a:lnTo>
                    <a:pt x="38" y="64"/>
                  </a:lnTo>
                  <a:lnTo>
                    <a:pt x="38" y="66"/>
                  </a:lnTo>
                  <a:lnTo>
                    <a:pt x="36" y="68"/>
                  </a:lnTo>
                  <a:lnTo>
                    <a:pt x="36" y="68"/>
                  </a:lnTo>
                  <a:lnTo>
                    <a:pt x="36" y="70"/>
                  </a:lnTo>
                  <a:lnTo>
                    <a:pt x="36" y="70"/>
                  </a:lnTo>
                  <a:lnTo>
                    <a:pt x="36" y="70"/>
                  </a:lnTo>
                  <a:lnTo>
                    <a:pt x="34" y="70"/>
                  </a:lnTo>
                  <a:lnTo>
                    <a:pt x="32" y="70"/>
                  </a:lnTo>
                  <a:lnTo>
                    <a:pt x="32" y="70"/>
                  </a:lnTo>
                  <a:lnTo>
                    <a:pt x="30" y="72"/>
                  </a:lnTo>
                  <a:lnTo>
                    <a:pt x="28" y="72"/>
                  </a:lnTo>
                  <a:lnTo>
                    <a:pt x="28" y="72"/>
                  </a:lnTo>
                  <a:lnTo>
                    <a:pt x="28" y="72"/>
                  </a:lnTo>
                  <a:lnTo>
                    <a:pt x="26" y="72"/>
                  </a:lnTo>
                  <a:lnTo>
                    <a:pt x="26" y="72"/>
                  </a:lnTo>
                  <a:lnTo>
                    <a:pt x="26" y="74"/>
                  </a:lnTo>
                  <a:lnTo>
                    <a:pt x="26" y="76"/>
                  </a:lnTo>
                  <a:lnTo>
                    <a:pt x="26" y="76"/>
                  </a:lnTo>
                  <a:lnTo>
                    <a:pt x="26" y="78"/>
                  </a:lnTo>
                  <a:lnTo>
                    <a:pt x="26" y="80"/>
                  </a:lnTo>
                  <a:lnTo>
                    <a:pt x="26" y="82"/>
                  </a:lnTo>
                  <a:lnTo>
                    <a:pt x="26" y="84"/>
                  </a:lnTo>
                  <a:lnTo>
                    <a:pt x="24" y="84"/>
                  </a:lnTo>
                  <a:lnTo>
                    <a:pt x="24" y="84"/>
                  </a:lnTo>
                  <a:lnTo>
                    <a:pt x="24" y="86"/>
                  </a:lnTo>
                  <a:lnTo>
                    <a:pt x="24" y="86"/>
                  </a:lnTo>
                  <a:lnTo>
                    <a:pt x="22" y="86"/>
                  </a:lnTo>
                  <a:lnTo>
                    <a:pt x="20" y="86"/>
                  </a:lnTo>
                  <a:lnTo>
                    <a:pt x="20" y="86"/>
                  </a:lnTo>
                  <a:lnTo>
                    <a:pt x="18" y="86"/>
                  </a:lnTo>
                  <a:lnTo>
                    <a:pt x="18" y="88"/>
                  </a:lnTo>
                  <a:lnTo>
                    <a:pt x="16" y="90"/>
                  </a:lnTo>
                  <a:lnTo>
                    <a:pt x="16" y="94"/>
                  </a:lnTo>
                  <a:lnTo>
                    <a:pt x="16" y="96"/>
                  </a:lnTo>
                  <a:lnTo>
                    <a:pt x="16" y="98"/>
                  </a:lnTo>
                  <a:lnTo>
                    <a:pt x="14" y="102"/>
                  </a:lnTo>
                  <a:lnTo>
                    <a:pt x="14" y="104"/>
                  </a:lnTo>
                  <a:lnTo>
                    <a:pt x="14" y="108"/>
                  </a:lnTo>
                  <a:lnTo>
                    <a:pt x="16" y="112"/>
                  </a:lnTo>
                  <a:lnTo>
                    <a:pt x="16" y="114"/>
                  </a:lnTo>
                  <a:lnTo>
                    <a:pt x="16" y="116"/>
                  </a:lnTo>
                  <a:lnTo>
                    <a:pt x="16" y="120"/>
                  </a:lnTo>
                  <a:lnTo>
                    <a:pt x="18" y="122"/>
                  </a:lnTo>
                  <a:lnTo>
                    <a:pt x="18" y="124"/>
                  </a:lnTo>
                  <a:lnTo>
                    <a:pt x="20" y="126"/>
                  </a:lnTo>
                  <a:lnTo>
                    <a:pt x="22" y="128"/>
                  </a:lnTo>
                  <a:lnTo>
                    <a:pt x="22" y="128"/>
                  </a:lnTo>
                  <a:lnTo>
                    <a:pt x="22" y="128"/>
                  </a:lnTo>
                  <a:lnTo>
                    <a:pt x="24" y="128"/>
                  </a:lnTo>
                  <a:lnTo>
                    <a:pt x="24" y="128"/>
                  </a:lnTo>
                  <a:lnTo>
                    <a:pt x="26" y="128"/>
                  </a:lnTo>
                  <a:lnTo>
                    <a:pt x="26" y="128"/>
                  </a:lnTo>
                  <a:lnTo>
                    <a:pt x="26" y="130"/>
                  </a:lnTo>
                  <a:lnTo>
                    <a:pt x="26" y="132"/>
                  </a:lnTo>
                  <a:lnTo>
                    <a:pt x="28" y="132"/>
                  </a:lnTo>
                  <a:lnTo>
                    <a:pt x="28" y="134"/>
                  </a:lnTo>
                  <a:lnTo>
                    <a:pt x="28" y="136"/>
                  </a:lnTo>
                  <a:lnTo>
                    <a:pt x="28" y="138"/>
                  </a:lnTo>
                  <a:lnTo>
                    <a:pt x="28" y="138"/>
                  </a:lnTo>
                  <a:lnTo>
                    <a:pt x="26" y="140"/>
                  </a:lnTo>
                  <a:lnTo>
                    <a:pt x="26" y="140"/>
                  </a:lnTo>
                  <a:lnTo>
                    <a:pt x="26" y="142"/>
                  </a:lnTo>
                  <a:lnTo>
                    <a:pt x="24" y="142"/>
                  </a:lnTo>
                  <a:lnTo>
                    <a:pt x="22" y="144"/>
                  </a:lnTo>
                  <a:lnTo>
                    <a:pt x="22" y="144"/>
                  </a:lnTo>
                  <a:lnTo>
                    <a:pt x="22" y="146"/>
                  </a:lnTo>
                  <a:lnTo>
                    <a:pt x="22" y="146"/>
                  </a:lnTo>
                  <a:lnTo>
                    <a:pt x="20" y="148"/>
                  </a:lnTo>
                  <a:lnTo>
                    <a:pt x="20" y="152"/>
                  </a:lnTo>
                  <a:lnTo>
                    <a:pt x="20" y="154"/>
                  </a:lnTo>
                  <a:lnTo>
                    <a:pt x="20" y="156"/>
                  </a:lnTo>
                  <a:lnTo>
                    <a:pt x="20" y="158"/>
                  </a:lnTo>
                  <a:lnTo>
                    <a:pt x="20" y="158"/>
                  </a:lnTo>
                  <a:lnTo>
                    <a:pt x="18" y="158"/>
                  </a:lnTo>
                  <a:lnTo>
                    <a:pt x="18" y="158"/>
                  </a:lnTo>
                  <a:lnTo>
                    <a:pt x="18" y="160"/>
                  </a:lnTo>
                  <a:lnTo>
                    <a:pt x="14" y="160"/>
                  </a:lnTo>
                  <a:lnTo>
                    <a:pt x="12" y="160"/>
                  </a:lnTo>
                  <a:lnTo>
                    <a:pt x="12" y="160"/>
                  </a:lnTo>
                  <a:lnTo>
                    <a:pt x="12" y="162"/>
                  </a:lnTo>
                  <a:lnTo>
                    <a:pt x="10" y="162"/>
                  </a:lnTo>
                  <a:lnTo>
                    <a:pt x="10" y="162"/>
                  </a:lnTo>
                  <a:lnTo>
                    <a:pt x="10" y="164"/>
                  </a:lnTo>
                  <a:lnTo>
                    <a:pt x="10" y="166"/>
                  </a:lnTo>
                  <a:lnTo>
                    <a:pt x="10" y="168"/>
                  </a:lnTo>
                  <a:lnTo>
                    <a:pt x="10" y="168"/>
                  </a:lnTo>
                  <a:lnTo>
                    <a:pt x="10" y="168"/>
                  </a:lnTo>
                  <a:lnTo>
                    <a:pt x="8" y="170"/>
                  </a:lnTo>
                  <a:lnTo>
                    <a:pt x="6" y="170"/>
                  </a:lnTo>
                  <a:lnTo>
                    <a:pt x="4" y="170"/>
                  </a:lnTo>
                  <a:lnTo>
                    <a:pt x="4" y="170"/>
                  </a:lnTo>
                  <a:lnTo>
                    <a:pt x="2" y="170"/>
                  </a:lnTo>
                  <a:lnTo>
                    <a:pt x="2" y="172"/>
                  </a:lnTo>
                  <a:lnTo>
                    <a:pt x="2" y="172"/>
                  </a:lnTo>
                  <a:lnTo>
                    <a:pt x="2" y="172"/>
                  </a:lnTo>
                  <a:lnTo>
                    <a:pt x="0" y="174"/>
                  </a:lnTo>
                  <a:lnTo>
                    <a:pt x="0" y="176"/>
                  </a:lnTo>
                  <a:lnTo>
                    <a:pt x="0" y="178"/>
                  </a:lnTo>
                  <a:lnTo>
                    <a:pt x="0" y="182"/>
                  </a:lnTo>
                  <a:lnTo>
                    <a:pt x="0" y="184"/>
                  </a:lnTo>
                  <a:lnTo>
                    <a:pt x="0" y="186"/>
                  </a:lnTo>
                  <a:lnTo>
                    <a:pt x="0" y="188"/>
                  </a:lnTo>
                  <a:lnTo>
                    <a:pt x="0" y="188"/>
                  </a:lnTo>
                  <a:lnTo>
                    <a:pt x="0" y="190"/>
                  </a:lnTo>
                  <a:lnTo>
                    <a:pt x="2" y="190"/>
                  </a:lnTo>
                  <a:lnTo>
                    <a:pt x="2" y="192"/>
                  </a:lnTo>
                  <a:lnTo>
                    <a:pt x="2" y="192"/>
                  </a:lnTo>
                  <a:lnTo>
                    <a:pt x="4" y="192"/>
                  </a:lnTo>
                  <a:lnTo>
                    <a:pt x="4" y="192"/>
                  </a:lnTo>
                  <a:lnTo>
                    <a:pt x="6" y="192"/>
                  </a:lnTo>
                  <a:lnTo>
                    <a:pt x="8" y="190"/>
                  </a:lnTo>
                  <a:lnTo>
                    <a:pt x="10" y="190"/>
                  </a:lnTo>
                  <a:lnTo>
                    <a:pt x="10" y="190"/>
                  </a:lnTo>
                  <a:lnTo>
                    <a:pt x="12" y="190"/>
                  </a:lnTo>
                  <a:lnTo>
                    <a:pt x="12" y="190"/>
                  </a:lnTo>
                  <a:lnTo>
                    <a:pt x="12" y="190"/>
                  </a:lnTo>
                  <a:lnTo>
                    <a:pt x="12" y="190"/>
                  </a:lnTo>
                  <a:lnTo>
                    <a:pt x="14" y="192"/>
                  </a:lnTo>
                  <a:lnTo>
                    <a:pt x="14" y="192"/>
                  </a:lnTo>
                  <a:lnTo>
                    <a:pt x="14" y="192"/>
                  </a:lnTo>
                  <a:lnTo>
                    <a:pt x="14" y="194"/>
                  </a:lnTo>
                  <a:lnTo>
                    <a:pt x="14" y="194"/>
                  </a:lnTo>
                  <a:lnTo>
                    <a:pt x="14" y="196"/>
                  </a:lnTo>
                  <a:lnTo>
                    <a:pt x="14" y="198"/>
                  </a:lnTo>
                  <a:lnTo>
                    <a:pt x="14" y="200"/>
                  </a:lnTo>
                  <a:lnTo>
                    <a:pt x="14" y="204"/>
                  </a:lnTo>
                  <a:lnTo>
                    <a:pt x="12" y="210"/>
                  </a:lnTo>
                  <a:lnTo>
                    <a:pt x="12" y="216"/>
                  </a:lnTo>
                  <a:lnTo>
                    <a:pt x="10" y="218"/>
                  </a:lnTo>
                  <a:lnTo>
                    <a:pt x="10" y="220"/>
                  </a:lnTo>
                  <a:lnTo>
                    <a:pt x="10" y="224"/>
                  </a:lnTo>
                  <a:lnTo>
                    <a:pt x="10" y="224"/>
                  </a:lnTo>
                  <a:lnTo>
                    <a:pt x="10" y="226"/>
                  </a:lnTo>
                  <a:lnTo>
                    <a:pt x="10" y="226"/>
                  </a:lnTo>
                  <a:lnTo>
                    <a:pt x="12" y="228"/>
                  </a:lnTo>
                  <a:lnTo>
                    <a:pt x="12" y="228"/>
                  </a:lnTo>
                  <a:lnTo>
                    <a:pt x="12" y="228"/>
                  </a:lnTo>
                  <a:lnTo>
                    <a:pt x="12" y="228"/>
                  </a:lnTo>
                  <a:lnTo>
                    <a:pt x="14" y="230"/>
                  </a:lnTo>
                  <a:lnTo>
                    <a:pt x="14" y="230"/>
                  </a:lnTo>
                  <a:lnTo>
                    <a:pt x="16" y="230"/>
                  </a:lnTo>
                  <a:lnTo>
                    <a:pt x="16" y="228"/>
                  </a:lnTo>
                  <a:lnTo>
                    <a:pt x="20" y="228"/>
                  </a:lnTo>
                  <a:lnTo>
                    <a:pt x="20" y="228"/>
                  </a:lnTo>
                  <a:lnTo>
                    <a:pt x="22" y="228"/>
                  </a:lnTo>
                  <a:lnTo>
                    <a:pt x="22" y="228"/>
                  </a:lnTo>
                  <a:lnTo>
                    <a:pt x="22" y="230"/>
                  </a:lnTo>
                  <a:lnTo>
                    <a:pt x="24" y="230"/>
                  </a:lnTo>
                  <a:lnTo>
                    <a:pt x="24" y="232"/>
                  </a:lnTo>
                  <a:lnTo>
                    <a:pt x="26" y="234"/>
                  </a:lnTo>
                  <a:lnTo>
                    <a:pt x="26" y="234"/>
                  </a:lnTo>
                  <a:lnTo>
                    <a:pt x="26" y="234"/>
                  </a:lnTo>
                  <a:lnTo>
                    <a:pt x="28" y="236"/>
                  </a:lnTo>
                  <a:lnTo>
                    <a:pt x="30" y="236"/>
                  </a:lnTo>
                  <a:lnTo>
                    <a:pt x="32" y="238"/>
                  </a:lnTo>
                  <a:lnTo>
                    <a:pt x="32" y="238"/>
                  </a:lnTo>
                  <a:lnTo>
                    <a:pt x="34" y="238"/>
                  </a:lnTo>
                  <a:lnTo>
                    <a:pt x="34" y="238"/>
                  </a:lnTo>
                  <a:lnTo>
                    <a:pt x="36" y="238"/>
                  </a:lnTo>
                  <a:lnTo>
                    <a:pt x="36" y="238"/>
                  </a:lnTo>
                  <a:lnTo>
                    <a:pt x="36" y="236"/>
                  </a:lnTo>
                  <a:lnTo>
                    <a:pt x="38" y="236"/>
                  </a:lnTo>
                  <a:lnTo>
                    <a:pt x="40" y="234"/>
                  </a:lnTo>
                  <a:lnTo>
                    <a:pt x="42" y="232"/>
                  </a:lnTo>
                  <a:lnTo>
                    <a:pt x="42" y="230"/>
                  </a:lnTo>
                  <a:lnTo>
                    <a:pt x="44" y="230"/>
                  </a:lnTo>
                  <a:lnTo>
                    <a:pt x="44" y="228"/>
                  </a:lnTo>
                  <a:lnTo>
                    <a:pt x="46" y="228"/>
                  </a:lnTo>
                  <a:lnTo>
                    <a:pt x="48" y="228"/>
                  </a:lnTo>
                  <a:lnTo>
                    <a:pt x="52" y="228"/>
                  </a:lnTo>
                  <a:lnTo>
                    <a:pt x="52" y="228"/>
                  </a:lnTo>
                  <a:lnTo>
                    <a:pt x="54" y="228"/>
                  </a:lnTo>
                  <a:lnTo>
                    <a:pt x="54" y="228"/>
                  </a:lnTo>
                  <a:lnTo>
                    <a:pt x="56" y="226"/>
                  </a:lnTo>
                  <a:lnTo>
                    <a:pt x="56" y="226"/>
                  </a:lnTo>
                  <a:lnTo>
                    <a:pt x="58" y="224"/>
                  </a:lnTo>
                  <a:lnTo>
                    <a:pt x="60" y="222"/>
                  </a:lnTo>
                  <a:lnTo>
                    <a:pt x="62" y="222"/>
                  </a:lnTo>
                  <a:lnTo>
                    <a:pt x="64" y="222"/>
                  </a:lnTo>
                  <a:lnTo>
                    <a:pt x="66" y="220"/>
                  </a:lnTo>
                  <a:lnTo>
                    <a:pt x="68" y="220"/>
                  </a:lnTo>
                  <a:lnTo>
                    <a:pt x="68" y="220"/>
                  </a:lnTo>
                  <a:lnTo>
                    <a:pt x="68" y="218"/>
                  </a:lnTo>
                  <a:lnTo>
                    <a:pt x="70" y="218"/>
                  </a:lnTo>
                  <a:lnTo>
                    <a:pt x="70" y="216"/>
                  </a:lnTo>
                  <a:lnTo>
                    <a:pt x="70" y="216"/>
                  </a:lnTo>
                  <a:lnTo>
                    <a:pt x="70" y="214"/>
                  </a:lnTo>
                  <a:lnTo>
                    <a:pt x="70" y="212"/>
                  </a:lnTo>
                  <a:lnTo>
                    <a:pt x="70" y="210"/>
                  </a:lnTo>
                  <a:lnTo>
                    <a:pt x="70" y="206"/>
                  </a:lnTo>
                  <a:lnTo>
                    <a:pt x="70" y="204"/>
                  </a:lnTo>
                  <a:lnTo>
                    <a:pt x="70" y="202"/>
                  </a:lnTo>
                  <a:lnTo>
                    <a:pt x="70" y="202"/>
                  </a:lnTo>
                  <a:lnTo>
                    <a:pt x="70" y="200"/>
                  </a:lnTo>
                  <a:lnTo>
                    <a:pt x="72" y="200"/>
                  </a:lnTo>
                  <a:lnTo>
                    <a:pt x="72" y="200"/>
                  </a:lnTo>
                  <a:lnTo>
                    <a:pt x="72" y="198"/>
                  </a:lnTo>
                  <a:lnTo>
                    <a:pt x="74" y="198"/>
                  </a:lnTo>
                  <a:lnTo>
                    <a:pt x="78" y="198"/>
                  </a:lnTo>
                  <a:lnTo>
                    <a:pt x="78" y="198"/>
                  </a:lnTo>
                  <a:lnTo>
                    <a:pt x="78" y="196"/>
                  </a:lnTo>
                  <a:lnTo>
                    <a:pt x="80" y="196"/>
                  </a:lnTo>
                  <a:lnTo>
                    <a:pt x="80" y="194"/>
                  </a:lnTo>
                  <a:lnTo>
                    <a:pt x="80" y="192"/>
                  </a:lnTo>
                  <a:lnTo>
                    <a:pt x="80" y="192"/>
                  </a:lnTo>
                  <a:lnTo>
                    <a:pt x="80" y="188"/>
                  </a:lnTo>
                  <a:lnTo>
                    <a:pt x="80" y="184"/>
                  </a:lnTo>
                  <a:lnTo>
                    <a:pt x="80" y="180"/>
                  </a:lnTo>
                  <a:lnTo>
                    <a:pt x="80" y="176"/>
                  </a:lnTo>
                  <a:lnTo>
                    <a:pt x="80" y="176"/>
                  </a:lnTo>
                  <a:lnTo>
                    <a:pt x="80" y="174"/>
                  </a:lnTo>
                  <a:lnTo>
                    <a:pt x="80" y="172"/>
                  </a:lnTo>
                  <a:lnTo>
                    <a:pt x="80" y="172"/>
                  </a:lnTo>
                  <a:lnTo>
                    <a:pt x="80" y="172"/>
                  </a:lnTo>
                  <a:lnTo>
                    <a:pt x="80" y="170"/>
                  </a:lnTo>
                  <a:lnTo>
                    <a:pt x="82" y="170"/>
                  </a:lnTo>
                  <a:lnTo>
                    <a:pt x="84" y="170"/>
                  </a:lnTo>
                  <a:lnTo>
                    <a:pt x="84" y="168"/>
                  </a:lnTo>
                  <a:lnTo>
                    <a:pt x="84" y="168"/>
                  </a:lnTo>
                  <a:lnTo>
                    <a:pt x="86" y="166"/>
                  </a:lnTo>
                  <a:lnTo>
                    <a:pt x="86" y="164"/>
                  </a:lnTo>
                  <a:lnTo>
                    <a:pt x="86" y="162"/>
                  </a:lnTo>
                  <a:lnTo>
                    <a:pt x="86" y="160"/>
                  </a:lnTo>
                  <a:lnTo>
                    <a:pt x="86" y="158"/>
                  </a:lnTo>
                  <a:lnTo>
                    <a:pt x="84" y="156"/>
                  </a:lnTo>
                  <a:lnTo>
                    <a:pt x="84" y="150"/>
                  </a:lnTo>
                  <a:lnTo>
                    <a:pt x="84" y="146"/>
                  </a:lnTo>
                  <a:lnTo>
                    <a:pt x="82" y="144"/>
                  </a:lnTo>
                  <a:lnTo>
                    <a:pt x="82" y="140"/>
                  </a:lnTo>
                  <a:lnTo>
                    <a:pt x="82" y="138"/>
                  </a:lnTo>
                  <a:lnTo>
                    <a:pt x="82" y="136"/>
                  </a:lnTo>
                  <a:lnTo>
                    <a:pt x="84" y="134"/>
                  </a:lnTo>
                  <a:lnTo>
                    <a:pt x="84" y="134"/>
                  </a:lnTo>
                  <a:lnTo>
                    <a:pt x="84" y="132"/>
                  </a:lnTo>
                  <a:lnTo>
                    <a:pt x="84" y="132"/>
                  </a:lnTo>
                  <a:lnTo>
                    <a:pt x="86" y="132"/>
                  </a:lnTo>
                  <a:lnTo>
                    <a:pt x="88" y="130"/>
                  </a:lnTo>
                  <a:lnTo>
                    <a:pt x="88" y="130"/>
                  </a:lnTo>
                  <a:lnTo>
                    <a:pt x="92" y="128"/>
                  </a:lnTo>
                  <a:lnTo>
                    <a:pt x="94" y="128"/>
                  </a:lnTo>
                  <a:lnTo>
                    <a:pt x="94" y="126"/>
                  </a:lnTo>
                  <a:lnTo>
                    <a:pt x="96" y="126"/>
                  </a:lnTo>
                  <a:lnTo>
                    <a:pt x="98" y="124"/>
                  </a:lnTo>
                  <a:lnTo>
                    <a:pt x="100" y="122"/>
                  </a:lnTo>
                  <a:lnTo>
                    <a:pt x="100" y="122"/>
                  </a:lnTo>
                  <a:lnTo>
                    <a:pt x="100" y="120"/>
                  </a:lnTo>
                  <a:lnTo>
                    <a:pt x="100" y="120"/>
                  </a:lnTo>
                  <a:lnTo>
                    <a:pt x="100" y="118"/>
                  </a:lnTo>
                  <a:lnTo>
                    <a:pt x="100" y="116"/>
                  </a:lnTo>
                  <a:lnTo>
                    <a:pt x="100" y="114"/>
                  </a:lnTo>
                  <a:lnTo>
                    <a:pt x="100" y="110"/>
                  </a:lnTo>
                  <a:lnTo>
                    <a:pt x="100" y="106"/>
                  </a:lnTo>
                  <a:lnTo>
                    <a:pt x="100" y="102"/>
                  </a:lnTo>
                  <a:lnTo>
                    <a:pt x="100" y="98"/>
                  </a:lnTo>
                  <a:lnTo>
                    <a:pt x="100" y="96"/>
                  </a:lnTo>
                  <a:lnTo>
                    <a:pt x="100" y="96"/>
                  </a:lnTo>
                  <a:lnTo>
                    <a:pt x="100" y="94"/>
                  </a:lnTo>
                  <a:lnTo>
                    <a:pt x="100" y="92"/>
                  </a:lnTo>
                  <a:lnTo>
                    <a:pt x="100" y="92"/>
                  </a:lnTo>
                  <a:lnTo>
                    <a:pt x="102" y="92"/>
                  </a:lnTo>
                  <a:lnTo>
                    <a:pt x="104" y="90"/>
                  </a:lnTo>
                  <a:lnTo>
                    <a:pt x="106" y="88"/>
                  </a:lnTo>
                  <a:lnTo>
                    <a:pt x="108" y="88"/>
                  </a:lnTo>
                  <a:lnTo>
                    <a:pt x="108" y="88"/>
                  </a:lnTo>
                  <a:lnTo>
                    <a:pt x="108" y="86"/>
                  </a:lnTo>
                  <a:lnTo>
                    <a:pt x="108" y="86"/>
                  </a:lnTo>
                  <a:lnTo>
                    <a:pt x="108" y="84"/>
                  </a:lnTo>
                  <a:lnTo>
                    <a:pt x="108" y="82"/>
                  </a:lnTo>
                  <a:lnTo>
                    <a:pt x="108" y="80"/>
                  </a:lnTo>
                  <a:lnTo>
                    <a:pt x="108" y="76"/>
                  </a:lnTo>
                  <a:lnTo>
                    <a:pt x="108" y="72"/>
                  </a:lnTo>
                  <a:lnTo>
                    <a:pt x="108" y="72"/>
                  </a:lnTo>
                  <a:lnTo>
                    <a:pt x="108" y="70"/>
                  </a:lnTo>
                  <a:lnTo>
                    <a:pt x="108" y="68"/>
                  </a:lnTo>
                  <a:lnTo>
                    <a:pt x="108" y="68"/>
                  </a:lnTo>
                  <a:lnTo>
                    <a:pt x="108" y="66"/>
                  </a:lnTo>
                  <a:lnTo>
                    <a:pt x="110" y="66"/>
                  </a:lnTo>
                  <a:lnTo>
                    <a:pt x="110" y="66"/>
                  </a:lnTo>
                  <a:lnTo>
                    <a:pt x="112" y="66"/>
                  </a:lnTo>
                  <a:lnTo>
                    <a:pt x="112" y="66"/>
                  </a:lnTo>
                  <a:lnTo>
                    <a:pt x="114" y="66"/>
                  </a:lnTo>
                  <a:lnTo>
                    <a:pt x="116" y="66"/>
                  </a:lnTo>
                  <a:lnTo>
                    <a:pt x="116" y="66"/>
                  </a:lnTo>
                  <a:lnTo>
                    <a:pt x="118" y="64"/>
                  </a:lnTo>
                  <a:lnTo>
                    <a:pt x="118" y="62"/>
                  </a:lnTo>
                  <a:lnTo>
                    <a:pt x="120" y="60"/>
                  </a:lnTo>
                  <a:lnTo>
                    <a:pt x="120" y="58"/>
                  </a:lnTo>
                  <a:lnTo>
                    <a:pt x="120" y="56"/>
                  </a:lnTo>
                  <a:lnTo>
                    <a:pt x="120" y="54"/>
                  </a:lnTo>
                  <a:lnTo>
                    <a:pt x="120" y="50"/>
                  </a:lnTo>
                  <a:lnTo>
                    <a:pt x="120" y="48"/>
                  </a:lnTo>
                  <a:lnTo>
                    <a:pt x="120" y="46"/>
                  </a:lnTo>
                  <a:lnTo>
                    <a:pt x="120" y="42"/>
                  </a:lnTo>
                  <a:lnTo>
                    <a:pt x="120" y="40"/>
                  </a:lnTo>
                  <a:lnTo>
                    <a:pt x="120" y="38"/>
                  </a:lnTo>
                  <a:lnTo>
                    <a:pt x="120" y="36"/>
                  </a:lnTo>
                  <a:lnTo>
                    <a:pt x="118" y="34"/>
                  </a:lnTo>
                  <a:lnTo>
                    <a:pt x="118" y="32"/>
                  </a:lnTo>
                  <a:lnTo>
                    <a:pt x="118" y="30"/>
                  </a:lnTo>
                  <a:lnTo>
                    <a:pt x="116" y="30"/>
                  </a:lnTo>
                  <a:lnTo>
                    <a:pt x="116" y="28"/>
                  </a:lnTo>
                  <a:lnTo>
                    <a:pt x="116" y="28"/>
                  </a:lnTo>
                  <a:lnTo>
                    <a:pt x="114" y="28"/>
                  </a:lnTo>
                  <a:lnTo>
                    <a:pt x="112" y="28"/>
                  </a:lnTo>
                  <a:lnTo>
                    <a:pt x="112" y="26"/>
                  </a:lnTo>
                  <a:lnTo>
                    <a:pt x="110" y="26"/>
                  </a:lnTo>
                  <a:lnTo>
                    <a:pt x="108" y="26"/>
                  </a:lnTo>
                  <a:lnTo>
                    <a:pt x="108" y="26"/>
                  </a:lnTo>
                  <a:lnTo>
                    <a:pt x="108" y="24"/>
                  </a:lnTo>
                  <a:lnTo>
                    <a:pt x="108" y="24"/>
                  </a:lnTo>
                  <a:lnTo>
                    <a:pt x="108" y="22"/>
                  </a:lnTo>
                  <a:lnTo>
                    <a:pt x="108" y="22"/>
                  </a:lnTo>
                  <a:lnTo>
                    <a:pt x="108" y="22"/>
                  </a:lnTo>
                  <a:lnTo>
                    <a:pt x="108" y="18"/>
                  </a:lnTo>
                  <a:lnTo>
                    <a:pt x="108" y="16"/>
                  </a:lnTo>
                  <a:lnTo>
                    <a:pt x="108" y="14"/>
                  </a:lnTo>
                  <a:lnTo>
                    <a:pt x="108" y="10"/>
                  </a:lnTo>
                  <a:lnTo>
                    <a:pt x="108" y="10"/>
                  </a:lnTo>
                  <a:lnTo>
                    <a:pt x="108" y="8"/>
                  </a:lnTo>
                  <a:lnTo>
                    <a:pt x="108" y="8"/>
                  </a:lnTo>
                  <a:lnTo>
                    <a:pt x="108" y="8"/>
                  </a:lnTo>
                  <a:lnTo>
                    <a:pt x="106" y="6"/>
                  </a:lnTo>
                  <a:lnTo>
                    <a:pt x="106" y="6"/>
                  </a:lnTo>
                  <a:lnTo>
                    <a:pt x="104" y="4"/>
                  </a:lnTo>
                  <a:lnTo>
                    <a:pt x="104" y="4"/>
                  </a:lnTo>
                  <a:lnTo>
                    <a:pt x="102" y="2"/>
                  </a:lnTo>
                  <a:lnTo>
                    <a:pt x="100" y="2"/>
                  </a:lnTo>
                  <a:lnTo>
                    <a:pt x="98" y="2"/>
                  </a:lnTo>
                  <a:lnTo>
                    <a:pt x="98" y="0"/>
                  </a:lnTo>
                  <a:lnTo>
                    <a:pt x="96" y="0"/>
                  </a:lnTo>
                  <a:lnTo>
                    <a:pt x="96" y="2"/>
                  </a:lnTo>
                  <a:lnTo>
                    <a:pt x="94" y="2"/>
                  </a:lnTo>
                  <a:lnTo>
                    <a:pt x="94" y="2"/>
                  </a:lnTo>
                  <a:lnTo>
                    <a:pt x="92" y="2"/>
                  </a:lnTo>
                  <a:lnTo>
                    <a:pt x="92" y="2"/>
                  </a:lnTo>
                  <a:lnTo>
                    <a:pt x="90" y="4"/>
                  </a:lnTo>
                  <a:lnTo>
                    <a:pt x="90" y="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8" name="Freeform 447">
              <a:extLst>
                <a:ext uri="{FF2B5EF4-FFF2-40B4-BE49-F238E27FC236}">
                  <a16:creationId xmlns:a16="http://schemas.microsoft.com/office/drawing/2014/main" id="{627F251F-624F-4F81-8419-A488A303A4EA}"/>
                </a:ext>
              </a:extLst>
            </p:cNvPr>
            <p:cNvSpPr>
              <a:spLocks/>
            </p:cNvSpPr>
            <p:nvPr/>
          </p:nvSpPr>
          <p:spPr bwMode="auto">
            <a:xfrm>
              <a:off x="5329242" y="4982233"/>
              <a:ext cx="207849" cy="412234"/>
            </a:xfrm>
            <a:custGeom>
              <a:avLst/>
              <a:gdLst>
                <a:gd name="T0" fmla="*/ 88 w 120"/>
                <a:gd name="T1" fmla="*/ 12 h 238"/>
                <a:gd name="T2" fmla="*/ 88 w 120"/>
                <a:gd name="T3" fmla="*/ 24 h 238"/>
                <a:gd name="T4" fmla="*/ 82 w 120"/>
                <a:gd name="T5" fmla="*/ 28 h 238"/>
                <a:gd name="T6" fmla="*/ 82 w 120"/>
                <a:gd name="T7" fmla="*/ 40 h 238"/>
                <a:gd name="T8" fmla="*/ 80 w 120"/>
                <a:gd name="T9" fmla="*/ 44 h 238"/>
                <a:gd name="T10" fmla="*/ 72 w 120"/>
                <a:gd name="T11" fmla="*/ 44 h 238"/>
                <a:gd name="T12" fmla="*/ 68 w 120"/>
                <a:gd name="T13" fmla="*/ 52 h 238"/>
                <a:gd name="T14" fmla="*/ 60 w 120"/>
                <a:gd name="T15" fmla="*/ 62 h 238"/>
                <a:gd name="T16" fmla="*/ 56 w 120"/>
                <a:gd name="T17" fmla="*/ 70 h 238"/>
                <a:gd name="T18" fmla="*/ 50 w 120"/>
                <a:gd name="T19" fmla="*/ 72 h 238"/>
                <a:gd name="T20" fmla="*/ 48 w 120"/>
                <a:gd name="T21" fmla="*/ 66 h 238"/>
                <a:gd name="T22" fmla="*/ 46 w 120"/>
                <a:gd name="T23" fmla="*/ 60 h 238"/>
                <a:gd name="T24" fmla="*/ 38 w 120"/>
                <a:gd name="T25" fmla="*/ 62 h 238"/>
                <a:gd name="T26" fmla="*/ 36 w 120"/>
                <a:gd name="T27" fmla="*/ 70 h 238"/>
                <a:gd name="T28" fmla="*/ 28 w 120"/>
                <a:gd name="T29" fmla="*/ 72 h 238"/>
                <a:gd name="T30" fmla="*/ 26 w 120"/>
                <a:gd name="T31" fmla="*/ 80 h 238"/>
                <a:gd name="T32" fmla="*/ 22 w 120"/>
                <a:gd name="T33" fmla="*/ 86 h 238"/>
                <a:gd name="T34" fmla="*/ 16 w 120"/>
                <a:gd name="T35" fmla="*/ 96 h 238"/>
                <a:gd name="T36" fmla="*/ 16 w 120"/>
                <a:gd name="T37" fmla="*/ 116 h 238"/>
                <a:gd name="T38" fmla="*/ 22 w 120"/>
                <a:gd name="T39" fmla="*/ 128 h 238"/>
                <a:gd name="T40" fmla="*/ 28 w 120"/>
                <a:gd name="T41" fmla="*/ 132 h 238"/>
                <a:gd name="T42" fmla="*/ 26 w 120"/>
                <a:gd name="T43" fmla="*/ 142 h 238"/>
                <a:gd name="T44" fmla="*/ 20 w 120"/>
                <a:gd name="T45" fmla="*/ 152 h 238"/>
                <a:gd name="T46" fmla="*/ 18 w 120"/>
                <a:gd name="T47" fmla="*/ 160 h 238"/>
                <a:gd name="T48" fmla="*/ 10 w 120"/>
                <a:gd name="T49" fmla="*/ 164 h 238"/>
                <a:gd name="T50" fmla="*/ 4 w 120"/>
                <a:gd name="T51" fmla="*/ 170 h 238"/>
                <a:gd name="T52" fmla="*/ 0 w 120"/>
                <a:gd name="T53" fmla="*/ 176 h 238"/>
                <a:gd name="T54" fmla="*/ 0 w 120"/>
                <a:gd name="T55" fmla="*/ 190 h 238"/>
                <a:gd name="T56" fmla="*/ 8 w 120"/>
                <a:gd name="T57" fmla="*/ 190 h 238"/>
                <a:gd name="T58" fmla="*/ 14 w 120"/>
                <a:gd name="T59" fmla="*/ 192 h 238"/>
                <a:gd name="T60" fmla="*/ 14 w 120"/>
                <a:gd name="T61" fmla="*/ 200 h 238"/>
                <a:gd name="T62" fmla="*/ 10 w 120"/>
                <a:gd name="T63" fmla="*/ 224 h 238"/>
                <a:gd name="T64" fmla="*/ 14 w 120"/>
                <a:gd name="T65" fmla="*/ 230 h 238"/>
                <a:gd name="T66" fmla="*/ 22 w 120"/>
                <a:gd name="T67" fmla="*/ 228 h 238"/>
                <a:gd name="T68" fmla="*/ 28 w 120"/>
                <a:gd name="T69" fmla="*/ 236 h 238"/>
                <a:gd name="T70" fmla="*/ 36 w 120"/>
                <a:gd name="T71" fmla="*/ 238 h 238"/>
                <a:gd name="T72" fmla="*/ 44 w 120"/>
                <a:gd name="T73" fmla="*/ 228 h 238"/>
                <a:gd name="T74" fmla="*/ 56 w 120"/>
                <a:gd name="T75" fmla="*/ 226 h 238"/>
                <a:gd name="T76" fmla="*/ 68 w 120"/>
                <a:gd name="T77" fmla="*/ 220 h 238"/>
                <a:gd name="T78" fmla="*/ 70 w 120"/>
                <a:gd name="T79" fmla="*/ 212 h 238"/>
                <a:gd name="T80" fmla="*/ 72 w 120"/>
                <a:gd name="T81" fmla="*/ 200 h 238"/>
                <a:gd name="T82" fmla="*/ 80 w 120"/>
                <a:gd name="T83" fmla="*/ 196 h 238"/>
                <a:gd name="T84" fmla="*/ 80 w 120"/>
                <a:gd name="T85" fmla="*/ 176 h 238"/>
                <a:gd name="T86" fmla="*/ 82 w 120"/>
                <a:gd name="T87" fmla="*/ 170 h 238"/>
                <a:gd name="T88" fmla="*/ 86 w 120"/>
                <a:gd name="T89" fmla="*/ 160 h 238"/>
                <a:gd name="T90" fmla="*/ 82 w 120"/>
                <a:gd name="T91" fmla="*/ 138 h 238"/>
                <a:gd name="T92" fmla="*/ 88 w 120"/>
                <a:gd name="T93" fmla="*/ 130 h 238"/>
                <a:gd name="T94" fmla="*/ 100 w 120"/>
                <a:gd name="T95" fmla="*/ 122 h 238"/>
                <a:gd name="T96" fmla="*/ 100 w 120"/>
                <a:gd name="T97" fmla="*/ 110 h 238"/>
                <a:gd name="T98" fmla="*/ 100 w 120"/>
                <a:gd name="T99" fmla="*/ 92 h 238"/>
                <a:gd name="T100" fmla="*/ 108 w 120"/>
                <a:gd name="T101" fmla="*/ 86 h 238"/>
                <a:gd name="T102" fmla="*/ 108 w 120"/>
                <a:gd name="T103" fmla="*/ 72 h 238"/>
                <a:gd name="T104" fmla="*/ 112 w 120"/>
                <a:gd name="T105" fmla="*/ 66 h 238"/>
                <a:gd name="T106" fmla="*/ 120 w 120"/>
                <a:gd name="T107" fmla="*/ 60 h 238"/>
                <a:gd name="T108" fmla="*/ 120 w 120"/>
                <a:gd name="T109" fmla="*/ 42 h 238"/>
                <a:gd name="T110" fmla="*/ 116 w 120"/>
                <a:gd name="T111" fmla="*/ 30 h 238"/>
                <a:gd name="T112" fmla="*/ 108 w 120"/>
                <a:gd name="T113" fmla="*/ 26 h 238"/>
                <a:gd name="T114" fmla="*/ 108 w 120"/>
                <a:gd name="T115" fmla="*/ 18 h 238"/>
                <a:gd name="T116" fmla="*/ 108 w 120"/>
                <a:gd name="T117" fmla="*/ 8 h 238"/>
                <a:gd name="T118" fmla="*/ 98 w 120"/>
                <a:gd name="T119" fmla="*/ 2 h 238"/>
                <a:gd name="T120" fmla="*/ 92 w 120"/>
                <a:gd name="T121" fmla="*/ 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 h="238">
                  <a:moveTo>
                    <a:pt x="90" y="4"/>
                  </a:moveTo>
                  <a:lnTo>
                    <a:pt x="90" y="4"/>
                  </a:lnTo>
                  <a:lnTo>
                    <a:pt x="88" y="4"/>
                  </a:lnTo>
                  <a:lnTo>
                    <a:pt x="88" y="6"/>
                  </a:lnTo>
                  <a:lnTo>
                    <a:pt x="88" y="8"/>
                  </a:lnTo>
                  <a:lnTo>
                    <a:pt x="88" y="8"/>
                  </a:lnTo>
                  <a:lnTo>
                    <a:pt x="88" y="12"/>
                  </a:lnTo>
                  <a:lnTo>
                    <a:pt x="90" y="14"/>
                  </a:lnTo>
                  <a:lnTo>
                    <a:pt x="90" y="18"/>
                  </a:lnTo>
                  <a:lnTo>
                    <a:pt x="90" y="20"/>
                  </a:lnTo>
                  <a:lnTo>
                    <a:pt x="90" y="22"/>
                  </a:lnTo>
                  <a:lnTo>
                    <a:pt x="90" y="22"/>
                  </a:lnTo>
                  <a:lnTo>
                    <a:pt x="90" y="24"/>
                  </a:lnTo>
                  <a:lnTo>
                    <a:pt x="88" y="24"/>
                  </a:lnTo>
                  <a:lnTo>
                    <a:pt x="88" y="26"/>
                  </a:lnTo>
                  <a:lnTo>
                    <a:pt x="88" y="26"/>
                  </a:lnTo>
                  <a:lnTo>
                    <a:pt x="86" y="26"/>
                  </a:lnTo>
                  <a:lnTo>
                    <a:pt x="84" y="26"/>
                  </a:lnTo>
                  <a:lnTo>
                    <a:pt x="84" y="26"/>
                  </a:lnTo>
                  <a:lnTo>
                    <a:pt x="84" y="28"/>
                  </a:lnTo>
                  <a:lnTo>
                    <a:pt x="82" y="28"/>
                  </a:lnTo>
                  <a:lnTo>
                    <a:pt x="82" y="28"/>
                  </a:lnTo>
                  <a:lnTo>
                    <a:pt x="82" y="30"/>
                  </a:lnTo>
                  <a:lnTo>
                    <a:pt x="82" y="30"/>
                  </a:lnTo>
                  <a:lnTo>
                    <a:pt x="82" y="32"/>
                  </a:lnTo>
                  <a:lnTo>
                    <a:pt x="82" y="36"/>
                  </a:lnTo>
                  <a:lnTo>
                    <a:pt x="82" y="38"/>
                  </a:lnTo>
                  <a:lnTo>
                    <a:pt x="82" y="40"/>
                  </a:lnTo>
                  <a:lnTo>
                    <a:pt x="82" y="40"/>
                  </a:lnTo>
                  <a:lnTo>
                    <a:pt x="82" y="42"/>
                  </a:lnTo>
                  <a:lnTo>
                    <a:pt x="82" y="42"/>
                  </a:lnTo>
                  <a:lnTo>
                    <a:pt x="82" y="42"/>
                  </a:lnTo>
                  <a:lnTo>
                    <a:pt x="80" y="44"/>
                  </a:lnTo>
                  <a:lnTo>
                    <a:pt x="80" y="44"/>
                  </a:lnTo>
                  <a:lnTo>
                    <a:pt x="80" y="44"/>
                  </a:lnTo>
                  <a:lnTo>
                    <a:pt x="78" y="44"/>
                  </a:lnTo>
                  <a:lnTo>
                    <a:pt x="76" y="44"/>
                  </a:lnTo>
                  <a:lnTo>
                    <a:pt x="74" y="42"/>
                  </a:lnTo>
                  <a:lnTo>
                    <a:pt x="72" y="42"/>
                  </a:lnTo>
                  <a:lnTo>
                    <a:pt x="72" y="42"/>
                  </a:lnTo>
                  <a:lnTo>
                    <a:pt x="72" y="42"/>
                  </a:lnTo>
                  <a:lnTo>
                    <a:pt x="72" y="44"/>
                  </a:lnTo>
                  <a:lnTo>
                    <a:pt x="70" y="44"/>
                  </a:lnTo>
                  <a:lnTo>
                    <a:pt x="70" y="46"/>
                  </a:lnTo>
                  <a:lnTo>
                    <a:pt x="70" y="46"/>
                  </a:lnTo>
                  <a:lnTo>
                    <a:pt x="68" y="48"/>
                  </a:lnTo>
                  <a:lnTo>
                    <a:pt x="68" y="48"/>
                  </a:lnTo>
                  <a:lnTo>
                    <a:pt x="68" y="50"/>
                  </a:lnTo>
                  <a:lnTo>
                    <a:pt x="68" y="52"/>
                  </a:lnTo>
                  <a:lnTo>
                    <a:pt x="66" y="56"/>
                  </a:lnTo>
                  <a:lnTo>
                    <a:pt x="66" y="56"/>
                  </a:lnTo>
                  <a:lnTo>
                    <a:pt x="66" y="58"/>
                  </a:lnTo>
                  <a:lnTo>
                    <a:pt x="66" y="58"/>
                  </a:lnTo>
                  <a:lnTo>
                    <a:pt x="64" y="58"/>
                  </a:lnTo>
                  <a:lnTo>
                    <a:pt x="62" y="60"/>
                  </a:lnTo>
                  <a:lnTo>
                    <a:pt x="60" y="62"/>
                  </a:lnTo>
                  <a:lnTo>
                    <a:pt x="58" y="62"/>
                  </a:lnTo>
                  <a:lnTo>
                    <a:pt x="58" y="64"/>
                  </a:lnTo>
                  <a:lnTo>
                    <a:pt x="58" y="64"/>
                  </a:lnTo>
                  <a:lnTo>
                    <a:pt x="58" y="66"/>
                  </a:lnTo>
                  <a:lnTo>
                    <a:pt x="56" y="68"/>
                  </a:lnTo>
                  <a:lnTo>
                    <a:pt x="56" y="70"/>
                  </a:lnTo>
                  <a:lnTo>
                    <a:pt x="56" y="70"/>
                  </a:lnTo>
                  <a:lnTo>
                    <a:pt x="56" y="72"/>
                  </a:lnTo>
                  <a:lnTo>
                    <a:pt x="54" y="72"/>
                  </a:lnTo>
                  <a:lnTo>
                    <a:pt x="54" y="72"/>
                  </a:lnTo>
                  <a:lnTo>
                    <a:pt x="54" y="72"/>
                  </a:lnTo>
                  <a:lnTo>
                    <a:pt x="52" y="72"/>
                  </a:lnTo>
                  <a:lnTo>
                    <a:pt x="52" y="72"/>
                  </a:lnTo>
                  <a:lnTo>
                    <a:pt x="50" y="72"/>
                  </a:lnTo>
                  <a:lnTo>
                    <a:pt x="50" y="70"/>
                  </a:lnTo>
                  <a:lnTo>
                    <a:pt x="48" y="70"/>
                  </a:lnTo>
                  <a:lnTo>
                    <a:pt x="48" y="70"/>
                  </a:lnTo>
                  <a:lnTo>
                    <a:pt x="48" y="70"/>
                  </a:lnTo>
                  <a:lnTo>
                    <a:pt x="48" y="68"/>
                  </a:lnTo>
                  <a:lnTo>
                    <a:pt x="48" y="68"/>
                  </a:lnTo>
                  <a:lnTo>
                    <a:pt x="48" y="66"/>
                  </a:lnTo>
                  <a:lnTo>
                    <a:pt x="48" y="64"/>
                  </a:lnTo>
                  <a:lnTo>
                    <a:pt x="48" y="64"/>
                  </a:lnTo>
                  <a:lnTo>
                    <a:pt x="48" y="62"/>
                  </a:lnTo>
                  <a:lnTo>
                    <a:pt x="48" y="62"/>
                  </a:lnTo>
                  <a:lnTo>
                    <a:pt x="48" y="62"/>
                  </a:lnTo>
                  <a:lnTo>
                    <a:pt x="46" y="62"/>
                  </a:lnTo>
                  <a:lnTo>
                    <a:pt x="46" y="60"/>
                  </a:lnTo>
                  <a:lnTo>
                    <a:pt x="44" y="60"/>
                  </a:lnTo>
                  <a:lnTo>
                    <a:pt x="42" y="60"/>
                  </a:lnTo>
                  <a:lnTo>
                    <a:pt x="42" y="62"/>
                  </a:lnTo>
                  <a:lnTo>
                    <a:pt x="40" y="62"/>
                  </a:lnTo>
                  <a:lnTo>
                    <a:pt x="40" y="62"/>
                  </a:lnTo>
                  <a:lnTo>
                    <a:pt x="38" y="62"/>
                  </a:lnTo>
                  <a:lnTo>
                    <a:pt x="38" y="62"/>
                  </a:lnTo>
                  <a:lnTo>
                    <a:pt x="38" y="64"/>
                  </a:lnTo>
                  <a:lnTo>
                    <a:pt x="38" y="66"/>
                  </a:lnTo>
                  <a:lnTo>
                    <a:pt x="36" y="68"/>
                  </a:lnTo>
                  <a:lnTo>
                    <a:pt x="36" y="68"/>
                  </a:lnTo>
                  <a:lnTo>
                    <a:pt x="36" y="70"/>
                  </a:lnTo>
                  <a:lnTo>
                    <a:pt x="36" y="70"/>
                  </a:lnTo>
                  <a:lnTo>
                    <a:pt x="36" y="70"/>
                  </a:lnTo>
                  <a:lnTo>
                    <a:pt x="34" y="70"/>
                  </a:lnTo>
                  <a:lnTo>
                    <a:pt x="32" y="70"/>
                  </a:lnTo>
                  <a:lnTo>
                    <a:pt x="32" y="70"/>
                  </a:lnTo>
                  <a:lnTo>
                    <a:pt x="30" y="72"/>
                  </a:lnTo>
                  <a:lnTo>
                    <a:pt x="28" y="72"/>
                  </a:lnTo>
                  <a:lnTo>
                    <a:pt x="28" y="72"/>
                  </a:lnTo>
                  <a:lnTo>
                    <a:pt x="28" y="72"/>
                  </a:lnTo>
                  <a:lnTo>
                    <a:pt x="26" y="72"/>
                  </a:lnTo>
                  <a:lnTo>
                    <a:pt x="26" y="72"/>
                  </a:lnTo>
                  <a:lnTo>
                    <a:pt x="26" y="74"/>
                  </a:lnTo>
                  <a:lnTo>
                    <a:pt x="26" y="76"/>
                  </a:lnTo>
                  <a:lnTo>
                    <a:pt x="26" y="76"/>
                  </a:lnTo>
                  <a:lnTo>
                    <a:pt x="26" y="78"/>
                  </a:lnTo>
                  <a:lnTo>
                    <a:pt x="26" y="80"/>
                  </a:lnTo>
                  <a:lnTo>
                    <a:pt x="26" y="82"/>
                  </a:lnTo>
                  <a:lnTo>
                    <a:pt x="26" y="84"/>
                  </a:lnTo>
                  <a:lnTo>
                    <a:pt x="24" y="84"/>
                  </a:lnTo>
                  <a:lnTo>
                    <a:pt x="24" y="84"/>
                  </a:lnTo>
                  <a:lnTo>
                    <a:pt x="24" y="86"/>
                  </a:lnTo>
                  <a:lnTo>
                    <a:pt x="24" y="86"/>
                  </a:lnTo>
                  <a:lnTo>
                    <a:pt x="22" y="86"/>
                  </a:lnTo>
                  <a:lnTo>
                    <a:pt x="20" y="86"/>
                  </a:lnTo>
                  <a:lnTo>
                    <a:pt x="20" y="86"/>
                  </a:lnTo>
                  <a:lnTo>
                    <a:pt x="18" y="86"/>
                  </a:lnTo>
                  <a:lnTo>
                    <a:pt x="18" y="88"/>
                  </a:lnTo>
                  <a:lnTo>
                    <a:pt x="16" y="90"/>
                  </a:lnTo>
                  <a:lnTo>
                    <a:pt x="16" y="94"/>
                  </a:lnTo>
                  <a:lnTo>
                    <a:pt x="16" y="96"/>
                  </a:lnTo>
                  <a:lnTo>
                    <a:pt x="16" y="98"/>
                  </a:lnTo>
                  <a:lnTo>
                    <a:pt x="14" y="102"/>
                  </a:lnTo>
                  <a:lnTo>
                    <a:pt x="14" y="104"/>
                  </a:lnTo>
                  <a:lnTo>
                    <a:pt x="14" y="108"/>
                  </a:lnTo>
                  <a:lnTo>
                    <a:pt x="16" y="112"/>
                  </a:lnTo>
                  <a:lnTo>
                    <a:pt x="16" y="114"/>
                  </a:lnTo>
                  <a:lnTo>
                    <a:pt x="16" y="116"/>
                  </a:lnTo>
                  <a:lnTo>
                    <a:pt x="16" y="120"/>
                  </a:lnTo>
                  <a:lnTo>
                    <a:pt x="18" y="122"/>
                  </a:lnTo>
                  <a:lnTo>
                    <a:pt x="18" y="124"/>
                  </a:lnTo>
                  <a:lnTo>
                    <a:pt x="20" y="126"/>
                  </a:lnTo>
                  <a:lnTo>
                    <a:pt x="22" y="128"/>
                  </a:lnTo>
                  <a:lnTo>
                    <a:pt x="22" y="128"/>
                  </a:lnTo>
                  <a:lnTo>
                    <a:pt x="22" y="128"/>
                  </a:lnTo>
                  <a:lnTo>
                    <a:pt x="24" y="128"/>
                  </a:lnTo>
                  <a:lnTo>
                    <a:pt x="24" y="128"/>
                  </a:lnTo>
                  <a:lnTo>
                    <a:pt x="26" y="128"/>
                  </a:lnTo>
                  <a:lnTo>
                    <a:pt x="26" y="128"/>
                  </a:lnTo>
                  <a:lnTo>
                    <a:pt x="26" y="130"/>
                  </a:lnTo>
                  <a:lnTo>
                    <a:pt x="26" y="132"/>
                  </a:lnTo>
                  <a:lnTo>
                    <a:pt x="28" y="132"/>
                  </a:lnTo>
                  <a:lnTo>
                    <a:pt x="28" y="134"/>
                  </a:lnTo>
                  <a:lnTo>
                    <a:pt x="28" y="136"/>
                  </a:lnTo>
                  <a:lnTo>
                    <a:pt x="28" y="138"/>
                  </a:lnTo>
                  <a:lnTo>
                    <a:pt x="28" y="138"/>
                  </a:lnTo>
                  <a:lnTo>
                    <a:pt x="26" y="140"/>
                  </a:lnTo>
                  <a:lnTo>
                    <a:pt x="26" y="140"/>
                  </a:lnTo>
                  <a:lnTo>
                    <a:pt x="26" y="142"/>
                  </a:lnTo>
                  <a:lnTo>
                    <a:pt x="24" y="142"/>
                  </a:lnTo>
                  <a:lnTo>
                    <a:pt x="22" y="144"/>
                  </a:lnTo>
                  <a:lnTo>
                    <a:pt x="22" y="144"/>
                  </a:lnTo>
                  <a:lnTo>
                    <a:pt x="22" y="146"/>
                  </a:lnTo>
                  <a:lnTo>
                    <a:pt x="22" y="146"/>
                  </a:lnTo>
                  <a:lnTo>
                    <a:pt x="20" y="148"/>
                  </a:lnTo>
                  <a:lnTo>
                    <a:pt x="20" y="152"/>
                  </a:lnTo>
                  <a:lnTo>
                    <a:pt x="20" y="154"/>
                  </a:lnTo>
                  <a:lnTo>
                    <a:pt x="20" y="156"/>
                  </a:lnTo>
                  <a:lnTo>
                    <a:pt x="20" y="158"/>
                  </a:lnTo>
                  <a:lnTo>
                    <a:pt x="20" y="158"/>
                  </a:lnTo>
                  <a:lnTo>
                    <a:pt x="18" y="158"/>
                  </a:lnTo>
                  <a:lnTo>
                    <a:pt x="18" y="158"/>
                  </a:lnTo>
                  <a:lnTo>
                    <a:pt x="18" y="160"/>
                  </a:lnTo>
                  <a:lnTo>
                    <a:pt x="14" y="160"/>
                  </a:lnTo>
                  <a:lnTo>
                    <a:pt x="12" y="160"/>
                  </a:lnTo>
                  <a:lnTo>
                    <a:pt x="12" y="160"/>
                  </a:lnTo>
                  <a:lnTo>
                    <a:pt x="12" y="162"/>
                  </a:lnTo>
                  <a:lnTo>
                    <a:pt x="10" y="162"/>
                  </a:lnTo>
                  <a:lnTo>
                    <a:pt x="10" y="162"/>
                  </a:lnTo>
                  <a:lnTo>
                    <a:pt x="10" y="164"/>
                  </a:lnTo>
                  <a:lnTo>
                    <a:pt x="10" y="166"/>
                  </a:lnTo>
                  <a:lnTo>
                    <a:pt x="10" y="168"/>
                  </a:lnTo>
                  <a:lnTo>
                    <a:pt x="10" y="168"/>
                  </a:lnTo>
                  <a:lnTo>
                    <a:pt x="10" y="168"/>
                  </a:lnTo>
                  <a:lnTo>
                    <a:pt x="8" y="170"/>
                  </a:lnTo>
                  <a:lnTo>
                    <a:pt x="6" y="170"/>
                  </a:lnTo>
                  <a:lnTo>
                    <a:pt x="4" y="170"/>
                  </a:lnTo>
                  <a:lnTo>
                    <a:pt x="4" y="170"/>
                  </a:lnTo>
                  <a:lnTo>
                    <a:pt x="2" y="170"/>
                  </a:lnTo>
                  <a:lnTo>
                    <a:pt x="2" y="172"/>
                  </a:lnTo>
                  <a:lnTo>
                    <a:pt x="2" y="172"/>
                  </a:lnTo>
                  <a:lnTo>
                    <a:pt x="2" y="172"/>
                  </a:lnTo>
                  <a:lnTo>
                    <a:pt x="0" y="174"/>
                  </a:lnTo>
                  <a:lnTo>
                    <a:pt x="0" y="176"/>
                  </a:lnTo>
                  <a:lnTo>
                    <a:pt x="0" y="178"/>
                  </a:lnTo>
                  <a:lnTo>
                    <a:pt x="0" y="182"/>
                  </a:lnTo>
                  <a:lnTo>
                    <a:pt x="0" y="184"/>
                  </a:lnTo>
                  <a:lnTo>
                    <a:pt x="0" y="186"/>
                  </a:lnTo>
                  <a:lnTo>
                    <a:pt x="0" y="188"/>
                  </a:lnTo>
                  <a:lnTo>
                    <a:pt x="0" y="188"/>
                  </a:lnTo>
                  <a:lnTo>
                    <a:pt x="0" y="190"/>
                  </a:lnTo>
                  <a:lnTo>
                    <a:pt x="2" y="190"/>
                  </a:lnTo>
                  <a:lnTo>
                    <a:pt x="2" y="192"/>
                  </a:lnTo>
                  <a:lnTo>
                    <a:pt x="2" y="192"/>
                  </a:lnTo>
                  <a:lnTo>
                    <a:pt x="4" y="192"/>
                  </a:lnTo>
                  <a:lnTo>
                    <a:pt x="4" y="192"/>
                  </a:lnTo>
                  <a:lnTo>
                    <a:pt x="6" y="192"/>
                  </a:lnTo>
                  <a:lnTo>
                    <a:pt x="8" y="190"/>
                  </a:lnTo>
                  <a:lnTo>
                    <a:pt x="10" y="190"/>
                  </a:lnTo>
                  <a:lnTo>
                    <a:pt x="10" y="190"/>
                  </a:lnTo>
                  <a:lnTo>
                    <a:pt x="12" y="190"/>
                  </a:lnTo>
                  <a:lnTo>
                    <a:pt x="12" y="190"/>
                  </a:lnTo>
                  <a:lnTo>
                    <a:pt x="12" y="190"/>
                  </a:lnTo>
                  <a:lnTo>
                    <a:pt x="12" y="190"/>
                  </a:lnTo>
                  <a:lnTo>
                    <a:pt x="14" y="192"/>
                  </a:lnTo>
                  <a:lnTo>
                    <a:pt x="14" y="192"/>
                  </a:lnTo>
                  <a:lnTo>
                    <a:pt x="14" y="192"/>
                  </a:lnTo>
                  <a:lnTo>
                    <a:pt x="14" y="194"/>
                  </a:lnTo>
                  <a:lnTo>
                    <a:pt x="14" y="194"/>
                  </a:lnTo>
                  <a:lnTo>
                    <a:pt x="14" y="196"/>
                  </a:lnTo>
                  <a:lnTo>
                    <a:pt x="14" y="198"/>
                  </a:lnTo>
                  <a:lnTo>
                    <a:pt x="14" y="200"/>
                  </a:lnTo>
                  <a:lnTo>
                    <a:pt x="14" y="204"/>
                  </a:lnTo>
                  <a:lnTo>
                    <a:pt x="12" y="210"/>
                  </a:lnTo>
                  <a:lnTo>
                    <a:pt x="12" y="216"/>
                  </a:lnTo>
                  <a:lnTo>
                    <a:pt x="10" y="218"/>
                  </a:lnTo>
                  <a:lnTo>
                    <a:pt x="10" y="220"/>
                  </a:lnTo>
                  <a:lnTo>
                    <a:pt x="10" y="224"/>
                  </a:lnTo>
                  <a:lnTo>
                    <a:pt x="10" y="224"/>
                  </a:lnTo>
                  <a:lnTo>
                    <a:pt x="10" y="226"/>
                  </a:lnTo>
                  <a:lnTo>
                    <a:pt x="10" y="226"/>
                  </a:lnTo>
                  <a:lnTo>
                    <a:pt x="12" y="228"/>
                  </a:lnTo>
                  <a:lnTo>
                    <a:pt x="12" y="228"/>
                  </a:lnTo>
                  <a:lnTo>
                    <a:pt x="12" y="228"/>
                  </a:lnTo>
                  <a:lnTo>
                    <a:pt x="12" y="228"/>
                  </a:lnTo>
                  <a:lnTo>
                    <a:pt x="14" y="230"/>
                  </a:lnTo>
                  <a:lnTo>
                    <a:pt x="14" y="230"/>
                  </a:lnTo>
                  <a:lnTo>
                    <a:pt x="16" y="230"/>
                  </a:lnTo>
                  <a:lnTo>
                    <a:pt x="16" y="228"/>
                  </a:lnTo>
                  <a:lnTo>
                    <a:pt x="20" y="228"/>
                  </a:lnTo>
                  <a:lnTo>
                    <a:pt x="20" y="228"/>
                  </a:lnTo>
                  <a:lnTo>
                    <a:pt x="22" y="228"/>
                  </a:lnTo>
                  <a:lnTo>
                    <a:pt x="22" y="228"/>
                  </a:lnTo>
                  <a:lnTo>
                    <a:pt x="22" y="230"/>
                  </a:lnTo>
                  <a:lnTo>
                    <a:pt x="24" y="230"/>
                  </a:lnTo>
                  <a:lnTo>
                    <a:pt x="24" y="232"/>
                  </a:lnTo>
                  <a:lnTo>
                    <a:pt x="26" y="234"/>
                  </a:lnTo>
                  <a:lnTo>
                    <a:pt x="26" y="234"/>
                  </a:lnTo>
                  <a:lnTo>
                    <a:pt x="26" y="234"/>
                  </a:lnTo>
                  <a:lnTo>
                    <a:pt x="28" y="236"/>
                  </a:lnTo>
                  <a:lnTo>
                    <a:pt x="30" y="236"/>
                  </a:lnTo>
                  <a:lnTo>
                    <a:pt x="32" y="238"/>
                  </a:lnTo>
                  <a:lnTo>
                    <a:pt x="32" y="238"/>
                  </a:lnTo>
                  <a:lnTo>
                    <a:pt x="34" y="238"/>
                  </a:lnTo>
                  <a:lnTo>
                    <a:pt x="34" y="238"/>
                  </a:lnTo>
                  <a:lnTo>
                    <a:pt x="36" y="238"/>
                  </a:lnTo>
                  <a:lnTo>
                    <a:pt x="36" y="238"/>
                  </a:lnTo>
                  <a:lnTo>
                    <a:pt x="36" y="236"/>
                  </a:lnTo>
                  <a:lnTo>
                    <a:pt x="38" y="236"/>
                  </a:lnTo>
                  <a:lnTo>
                    <a:pt x="40" y="234"/>
                  </a:lnTo>
                  <a:lnTo>
                    <a:pt x="42" y="232"/>
                  </a:lnTo>
                  <a:lnTo>
                    <a:pt x="42" y="230"/>
                  </a:lnTo>
                  <a:lnTo>
                    <a:pt x="44" y="230"/>
                  </a:lnTo>
                  <a:lnTo>
                    <a:pt x="44" y="228"/>
                  </a:lnTo>
                  <a:lnTo>
                    <a:pt x="46" y="228"/>
                  </a:lnTo>
                  <a:lnTo>
                    <a:pt x="48" y="228"/>
                  </a:lnTo>
                  <a:lnTo>
                    <a:pt x="52" y="228"/>
                  </a:lnTo>
                  <a:lnTo>
                    <a:pt x="52" y="228"/>
                  </a:lnTo>
                  <a:lnTo>
                    <a:pt x="54" y="228"/>
                  </a:lnTo>
                  <a:lnTo>
                    <a:pt x="54" y="228"/>
                  </a:lnTo>
                  <a:lnTo>
                    <a:pt x="56" y="226"/>
                  </a:lnTo>
                  <a:lnTo>
                    <a:pt x="56" y="226"/>
                  </a:lnTo>
                  <a:lnTo>
                    <a:pt x="58" y="224"/>
                  </a:lnTo>
                  <a:lnTo>
                    <a:pt x="60" y="222"/>
                  </a:lnTo>
                  <a:lnTo>
                    <a:pt x="62" y="222"/>
                  </a:lnTo>
                  <a:lnTo>
                    <a:pt x="64" y="222"/>
                  </a:lnTo>
                  <a:lnTo>
                    <a:pt x="66" y="220"/>
                  </a:lnTo>
                  <a:lnTo>
                    <a:pt x="68" y="220"/>
                  </a:lnTo>
                  <a:lnTo>
                    <a:pt x="68" y="220"/>
                  </a:lnTo>
                  <a:lnTo>
                    <a:pt x="68" y="218"/>
                  </a:lnTo>
                  <a:lnTo>
                    <a:pt x="70" y="218"/>
                  </a:lnTo>
                  <a:lnTo>
                    <a:pt x="70" y="216"/>
                  </a:lnTo>
                  <a:lnTo>
                    <a:pt x="70" y="216"/>
                  </a:lnTo>
                  <a:lnTo>
                    <a:pt x="70" y="214"/>
                  </a:lnTo>
                  <a:lnTo>
                    <a:pt x="70" y="212"/>
                  </a:lnTo>
                  <a:lnTo>
                    <a:pt x="70" y="210"/>
                  </a:lnTo>
                  <a:lnTo>
                    <a:pt x="70" y="206"/>
                  </a:lnTo>
                  <a:lnTo>
                    <a:pt x="70" y="204"/>
                  </a:lnTo>
                  <a:lnTo>
                    <a:pt x="70" y="202"/>
                  </a:lnTo>
                  <a:lnTo>
                    <a:pt x="70" y="202"/>
                  </a:lnTo>
                  <a:lnTo>
                    <a:pt x="70" y="200"/>
                  </a:lnTo>
                  <a:lnTo>
                    <a:pt x="72" y="200"/>
                  </a:lnTo>
                  <a:lnTo>
                    <a:pt x="72" y="200"/>
                  </a:lnTo>
                  <a:lnTo>
                    <a:pt x="72" y="198"/>
                  </a:lnTo>
                  <a:lnTo>
                    <a:pt x="74" y="198"/>
                  </a:lnTo>
                  <a:lnTo>
                    <a:pt x="78" y="198"/>
                  </a:lnTo>
                  <a:lnTo>
                    <a:pt x="78" y="198"/>
                  </a:lnTo>
                  <a:lnTo>
                    <a:pt x="78" y="196"/>
                  </a:lnTo>
                  <a:lnTo>
                    <a:pt x="80" y="196"/>
                  </a:lnTo>
                  <a:lnTo>
                    <a:pt x="80" y="194"/>
                  </a:lnTo>
                  <a:lnTo>
                    <a:pt x="80" y="192"/>
                  </a:lnTo>
                  <a:lnTo>
                    <a:pt x="80" y="192"/>
                  </a:lnTo>
                  <a:lnTo>
                    <a:pt x="80" y="188"/>
                  </a:lnTo>
                  <a:lnTo>
                    <a:pt x="80" y="184"/>
                  </a:lnTo>
                  <a:lnTo>
                    <a:pt x="80" y="180"/>
                  </a:lnTo>
                  <a:lnTo>
                    <a:pt x="80" y="176"/>
                  </a:lnTo>
                  <a:lnTo>
                    <a:pt x="80" y="176"/>
                  </a:lnTo>
                  <a:lnTo>
                    <a:pt x="80" y="174"/>
                  </a:lnTo>
                  <a:lnTo>
                    <a:pt x="80" y="172"/>
                  </a:lnTo>
                  <a:lnTo>
                    <a:pt x="80" y="172"/>
                  </a:lnTo>
                  <a:lnTo>
                    <a:pt x="80" y="172"/>
                  </a:lnTo>
                  <a:lnTo>
                    <a:pt x="80" y="170"/>
                  </a:lnTo>
                  <a:lnTo>
                    <a:pt x="82" y="170"/>
                  </a:lnTo>
                  <a:lnTo>
                    <a:pt x="84" y="170"/>
                  </a:lnTo>
                  <a:lnTo>
                    <a:pt x="84" y="168"/>
                  </a:lnTo>
                  <a:lnTo>
                    <a:pt x="84" y="168"/>
                  </a:lnTo>
                  <a:lnTo>
                    <a:pt x="86" y="166"/>
                  </a:lnTo>
                  <a:lnTo>
                    <a:pt x="86" y="164"/>
                  </a:lnTo>
                  <a:lnTo>
                    <a:pt x="86" y="162"/>
                  </a:lnTo>
                  <a:lnTo>
                    <a:pt x="86" y="160"/>
                  </a:lnTo>
                  <a:lnTo>
                    <a:pt x="86" y="158"/>
                  </a:lnTo>
                  <a:lnTo>
                    <a:pt x="84" y="156"/>
                  </a:lnTo>
                  <a:lnTo>
                    <a:pt x="84" y="150"/>
                  </a:lnTo>
                  <a:lnTo>
                    <a:pt x="84" y="146"/>
                  </a:lnTo>
                  <a:lnTo>
                    <a:pt x="82" y="144"/>
                  </a:lnTo>
                  <a:lnTo>
                    <a:pt x="82" y="140"/>
                  </a:lnTo>
                  <a:lnTo>
                    <a:pt x="82" y="138"/>
                  </a:lnTo>
                  <a:lnTo>
                    <a:pt x="82" y="136"/>
                  </a:lnTo>
                  <a:lnTo>
                    <a:pt x="84" y="134"/>
                  </a:lnTo>
                  <a:lnTo>
                    <a:pt x="84" y="134"/>
                  </a:lnTo>
                  <a:lnTo>
                    <a:pt x="84" y="132"/>
                  </a:lnTo>
                  <a:lnTo>
                    <a:pt x="84" y="132"/>
                  </a:lnTo>
                  <a:lnTo>
                    <a:pt x="86" y="132"/>
                  </a:lnTo>
                  <a:lnTo>
                    <a:pt x="88" y="130"/>
                  </a:lnTo>
                  <a:lnTo>
                    <a:pt x="88" y="130"/>
                  </a:lnTo>
                  <a:lnTo>
                    <a:pt x="92" y="128"/>
                  </a:lnTo>
                  <a:lnTo>
                    <a:pt x="94" y="128"/>
                  </a:lnTo>
                  <a:lnTo>
                    <a:pt x="94" y="126"/>
                  </a:lnTo>
                  <a:lnTo>
                    <a:pt x="96" y="126"/>
                  </a:lnTo>
                  <a:lnTo>
                    <a:pt x="98" y="124"/>
                  </a:lnTo>
                  <a:lnTo>
                    <a:pt x="100" y="122"/>
                  </a:lnTo>
                  <a:lnTo>
                    <a:pt x="100" y="122"/>
                  </a:lnTo>
                  <a:lnTo>
                    <a:pt x="100" y="120"/>
                  </a:lnTo>
                  <a:lnTo>
                    <a:pt x="100" y="120"/>
                  </a:lnTo>
                  <a:lnTo>
                    <a:pt x="100" y="118"/>
                  </a:lnTo>
                  <a:lnTo>
                    <a:pt x="100" y="116"/>
                  </a:lnTo>
                  <a:lnTo>
                    <a:pt x="100" y="114"/>
                  </a:lnTo>
                  <a:lnTo>
                    <a:pt x="100" y="110"/>
                  </a:lnTo>
                  <a:lnTo>
                    <a:pt x="100" y="106"/>
                  </a:lnTo>
                  <a:lnTo>
                    <a:pt x="100" y="102"/>
                  </a:lnTo>
                  <a:lnTo>
                    <a:pt x="100" y="98"/>
                  </a:lnTo>
                  <a:lnTo>
                    <a:pt x="100" y="96"/>
                  </a:lnTo>
                  <a:lnTo>
                    <a:pt x="100" y="96"/>
                  </a:lnTo>
                  <a:lnTo>
                    <a:pt x="100" y="94"/>
                  </a:lnTo>
                  <a:lnTo>
                    <a:pt x="100" y="92"/>
                  </a:lnTo>
                  <a:lnTo>
                    <a:pt x="100" y="92"/>
                  </a:lnTo>
                  <a:lnTo>
                    <a:pt x="102" y="92"/>
                  </a:lnTo>
                  <a:lnTo>
                    <a:pt x="104" y="90"/>
                  </a:lnTo>
                  <a:lnTo>
                    <a:pt x="106" y="88"/>
                  </a:lnTo>
                  <a:lnTo>
                    <a:pt x="108" y="88"/>
                  </a:lnTo>
                  <a:lnTo>
                    <a:pt x="108" y="88"/>
                  </a:lnTo>
                  <a:lnTo>
                    <a:pt x="108" y="86"/>
                  </a:lnTo>
                  <a:lnTo>
                    <a:pt x="108" y="86"/>
                  </a:lnTo>
                  <a:lnTo>
                    <a:pt x="108" y="84"/>
                  </a:lnTo>
                  <a:lnTo>
                    <a:pt x="108" y="82"/>
                  </a:lnTo>
                  <a:lnTo>
                    <a:pt x="108" y="80"/>
                  </a:lnTo>
                  <a:lnTo>
                    <a:pt x="108" y="76"/>
                  </a:lnTo>
                  <a:lnTo>
                    <a:pt x="108" y="72"/>
                  </a:lnTo>
                  <a:lnTo>
                    <a:pt x="108" y="72"/>
                  </a:lnTo>
                  <a:lnTo>
                    <a:pt x="108" y="70"/>
                  </a:lnTo>
                  <a:lnTo>
                    <a:pt x="108" y="68"/>
                  </a:lnTo>
                  <a:lnTo>
                    <a:pt x="108" y="68"/>
                  </a:lnTo>
                  <a:lnTo>
                    <a:pt x="108" y="66"/>
                  </a:lnTo>
                  <a:lnTo>
                    <a:pt x="110" y="66"/>
                  </a:lnTo>
                  <a:lnTo>
                    <a:pt x="110" y="66"/>
                  </a:lnTo>
                  <a:lnTo>
                    <a:pt x="112" y="66"/>
                  </a:lnTo>
                  <a:lnTo>
                    <a:pt x="112" y="66"/>
                  </a:lnTo>
                  <a:lnTo>
                    <a:pt x="114" y="66"/>
                  </a:lnTo>
                  <a:lnTo>
                    <a:pt x="116" y="66"/>
                  </a:lnTo>
                  <a:lnTo>
                    <a:pt x="116" y="66"/>
                  </a:lnTo>
                  <a:lnTo>
                    <a:pt x="118" y="64"/>
                  </a:lnTo>
                  <a:lnTo>
                    <a:pt x="118" y="62"/>
                  </a:lnTo>
                  <a:lnTo>
                    <a:pt x="120" y="60"/>
                  </a:lnTo>
                  <a:lnTo>
                    <a:pt x="120" y="58"/>
                  </a:lnTo>
                  <a:lnTo>
                    <a:pt x="120" y="56"/>
                  </a:lnTo>
                  <a:lnTo>
                    <a:pt x="120" y="54"/>
                  </a:lnTo>
                  <a:lnTo>
                    <a:pt x="120" y="50"/>
                  </a:lnTo>
                  <a:lnTo>
                    <a:pt x="120" y="48"/>
                  </a:lnTo>
                  <a:lnTo>
                    <a:pt x="120" y="46"/>
                  </a:lnTo>
                  <a:lnTo>
                    <a:pt x="120" y="42"/>
                  </a:lnTo>
                  <a:lnTo>
                    <a:pt x="120" y="40"/>
                  </a:lnTo>
                  <a:lnTo>
                    <a:pt x="120" y="38"/>
                  </a:lnTo>
                  <a:lnTo>
                    <a:pt x="120" y="36"/>
                  </a:lnTo>
                  <a:lnTo>
                    <a:pt x="118" y="34"/>
                  </a:lnTo>
                  <a:lnTo>
                    <a:pt x="118" y="32"/>
                  </a:lnTo>
                  <a:lnTo>
                    <a:pt x="118" y="30"/>
                  </a:lnTo>
                  <a:lnTo>
                    <a:pt x="116" y="30"/>
                  </a:lnTo>
                  <a:lnTo>
                    <a:pt x="116" y="28"/>
                  </a:lnTo>
                  <a:lnTo>
                    <a:pt x="116" y="28"/>
                  </a:lnTo>
                  <a:lnTo>
                    <a:pt x="114" y="28"/>
                  </a:lnTo>
                  <a:lnTo>
                    <a:pt x="112" y="28"/>
                  </a:lnTo>
                  <a:lnTo>
                    <a:pt x="112" y="26"/>
                  </a:lnTo>
                  <a:lnTo>
                    <a:pt x="110" y="26"/>
                  </a:lnTo>
                  <a:lnTo>
                    <a:pt x="108" y="26"/>
                  </a:lnTo>
                  <a:lnTo>
                    <a:pt x="108" y="26"/>
                  </a:lnTo>
                  <a:lnTo>
                    <a:pt x="108" y="24"/>
                  </a:lnTo>
                  <a:lnTo>
                    <a:pt x="108" y="24"/>
                  </a:lnTo>
                  <a:lnTo>
                    <a:pt x="108" y="22"/>
                  </a:lnTo>
                  <a:lnTo>
                    <a:pt x="108" y="22"/>
                  </a:lnTo>
                  <a:lnTo>
                    <a:pt x="108" y="22"/>
                  </a:lnTo>
                  <a:lnTo>
                    <a:pt x="108" y="18"/>
                  </a:lnTo>
                  <a:lnTo>
                    <a:pt x="108" y="16"/>
                  </a:lnTo>
                  <a:lnTo>
                    <a:pt x="108" y="14"/>
                  </a:lnTo>
                  <a:lnTo>
                    <a:pt x="108" y="10"/>
                  </a:lnTo>
                  <a:lnTo>
                    <a:pt x="108" y="10"/>
                  </a:lnTo>
                  <a:lnTo>
                    <a:pt x="108" y="8"/>
                  </a:lnTo>
                  <a:lnTo>
                    <a:pt x="108" y="8"/>
                  </a:lnTo>
                  <a:lnTo>
                    <a:pt x="108" y="8"/>
                  </a:lnTo>
                  <a:lnTo>
                    <a:pt x="106" y="6"/>
                  </a:lnTo>
                  <a:lnTo>
                    <a:pt x="106" y="6"/>
                  </a:lnTo>
                  <a:lnTo>
                    <a:pt x="104" y="4"/>
                  </a:lnTo>
                  <a:lnTo>
                    <a:pt x="104" y="4"/>
                  </a:lnTo>
                  <a:lnTo>
                    <a:pt x="102" y="2"/>
                  </a:lnTo>
                  <a:lnTo>
                    <a:pt x="100" y="2"/>
                  </a:lnTo>
                  <a:lnTo>
                    <a:pt x="98" y="2"/>
                  </a:lnTo>
                  <a:lnTo>
                    <a:pt x="98" y="0"/>
                  </a:lnTo>
                  <a:lnTo>
                    <a:pt x="96" y="0"/>
                  </a:lnTo>
                  <a:lnTo>
                    <a:pt x="96" y="2"/>
                  </a:lnTo>
                  <a:lnTo>
                    <a:pt x="94" y="2"/>
                  </a:lnTo>
                  <a:lnTo>
                    <a:pt x="94" y="2"/>
                  </a:lnTo>
                  <a:lnTo>
                    <a:pt x="92" y="2"/>
                  </a:lnTo>
                  <a:lnTo>
                    <a:pt x="92" y="2"/>
                  </a:lnTo>
                  <a:lnTo>
                    <a:pt x="90" y="4"/>
                  </a:lnTo>
                  <a:lnTo>
                    <a:pt x="90" y="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9" name="Freeform 448">
              <a:extLst>
                <a:ext uri="{FF2B5EF4-FFF2-40B4-BE49-F238E27FC236}">
                  <a16:creationId xmlns:a16="http://schemas.microsoft.com/office/drawing/2014/main" id="{1B8B5C6B-A863-42F0-A364-9E08B1A623D2}"/>
                </a:ext>
              </a:extLst>
            </p:cNvPr>
            <p:cNvSpPr>
              <a:spLocks/>
            </p:cNvSpPr>
            <p:nvPr/>
          </p:nvSpPr>
          <p:spPr bwMode="auto">
            <a:xfrm>
              <a:off x="5301528" y="4299796"/>
              <a:ext cx="55426" cy="51962"/>
            </a:xfrm>
            <a:custGeom>
              <a:avLst/>
              <a:gdLst>
                <a:gd name="T0" fmla="*/ 18 w 32"/>
                <a:gd name="T1" fmla="*/ 30 h 30"/>
                <a:gd name="T2" fmla="*/ 18 w 32"/>
                <a:gd name="T3" fmla="*/ 30 h 30"/>
                <a:gd name="T4" fmla="*/ 14 w 32"/>
                <a:gd name="T5" fmla="*/ 30 h 30"/>
                <a:gd name="T6" fmla="*/ 12 w 32"/>
                <a:gd name="T7" fmla="*/ 30 h 30"/>
                <a:gd name="T8" fmla="*/ 10 w 32"/>
                <a:gd name="T9" fmla="*/ 30 h 30"/>
                <a:gd name="T10" fmla="*/ 8 w 32"/>
                <a:gd name="T11" fmla="*/ 30 h 30"/>
                <a:gd name="T12" fmla="*/ 4 w 32"/>
                <a:gd name="T13" fmla="*/ 28 h 30"/>
                <a:gd name="T14" fmla="*/ 4 w 32"/>
                <a:gd name="T15" fmla="*/ 28 h 30"/>
                <a:gd name="T16" fmla="*/ 2 w 32"/>
                <a:gd name="T17" fmla="*/ 28 h 30"/>
                <a:gd name="T18" fmla="*/ 2 w 32"/>
                <a:gd name="T19" fmla="*/ 28 h 30"/>
                <a:gd name="T20" fmla="*/ 0 w 32"/>
                <a:gd name="T21" fmla="*/ 28 h 30"/>
                <a:gd name="T22" fmla="*/ 0 w 32"/>
                <a:gd name="T23" fmla="*/ 26 h 30"/>
                <a:gd name="T24" fmla="*/ 0 w 32"/>
                <a:gd name="T25" fmla="*/ 26 h 30"/>
                <a:gd name="T26" fmla="*/ 0 w 32"/>
                <a:gd name="T27" fmla="*/ 24 h 30"/>
                <a:gd name="T28" fmla="*/ 0 w 32"/>
                <a:gd name="T29" fmla="*/ 22 h 30"/>
                <a:gd name="T30" fmla="*/ 0 w 32"/>
                <a:gd name="T31" fmla="*/ 20 h 30"/>
                <a:gd name="T32" fmla="*/ 0 w 32"/>
                <a:gd name="T33" fmla="*/ 18 h 30"/>
                <a:gd name="T34" fmla="*/ 0 w 32"/>
                <a:gd name="T35" fmla="*/ 16 h 30"/>
                <a:gd name="T36" fmla="*/ 0 w 32"/>
                <a:gd name="T37" fmla="*/ 12 h 30"/>
                <a:gd name="T38" fmla="*/ 2 w 32"/>
                <a:gd name="T39" fmla="*/ 8 h 30"/>
                <a:gd name="T40" fmla="*/ 2 w 32"/>
                <a:gd name="T41" fmla="*/ 4 h 30"/>
                <a:gd name="T42" fmla="*/ 4 w 32"/>
                <a:gd name="T43" fmla="*/ 0 h 30"/>
                <a:gd name="T44" fmla="*/ 32 w 32"/>
                <a:gd name="T45" fmla="*/ 18 h 30"/>
                <a:gd name="T46" fmla="*/ 18 w 32"/>
                <a:gd name="T4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0">
                  <a:moveTo>
                    <a:pt x="18" y="30"/>
                  </a:moveTo>
                  <a:lnTo>
                    <a:pt x="18" y="30"/>
                  </a:lnTo>
                  <a:lnTo>
                    <a:pt x="14" y="30"/>
                  </a:lnTo>
                  <a:lnTo>
                    <a:pt x="12" y="30"/>
                  </a:lnTo>
                  <a:lnTo>
                    <a:pt x="10" y="30"/>
                  </a:lnTo>
                  <a:lnTo>
                    <a:pt x="8" y="30"/>
                  </a:lnTo>
                  <a:lnTo>
                    <a:pt x="4" y="28"/>
                  </a:lnTo>
                  <a:lnTo>
                    <a:pt x="4" y="28"/>
                  </a:lnTo>
                  <a:lnTo>
                    <a:pt x="2" y="28"/>
                  </a:lnTo>
                  <a:lnTo>
                    <a:pt x="2" y="28"/>
                  </a:lnTo>
                  <a:lnTo>
                    <a:pt x="0" y="28"/>
                  </a:lnTo>
                  <a:lnTo>
                    <a:pt x="0" y="26"/>
                  </a:lnTo>
                  <a:lnTo>
                    <a:pt x="0" y="26"/>
                  </a:lnTo>
                  <a:lnTo>
                    <a:pt x="0" y="24"/>
                  </a:lnTo>
                  <a:lnTo>
                    <a:pt x="0" y="22"/>
                  </a:lnTo>
                  <a:lnTo>
                    <a:pt x="0" y="20"/>
                  </a:lnTo>
                  <a:lnTo>
                    <a:pt x="0" y="18"/>
                  </a:lnTo>
                  <a:lnTo>
                    <a:pt x="0" y="16"/>
                  </a:lnTo>
                  <a:lnTo>
                    <a:pt x="0" y="12"/>
                  </a:lnTo>
                  <a:lnTo>
                    <a:pt x="2" y="8"/>
                  </a:lnTo>
                  <a:lnTo>
                    <a:pt x="2" y="4"/>
                  </a:lnTo>
                  <a:lnTo>
                    <a:pt x="4" y="0"/>
                  </a:lnTo>
                  <a:lnTo>
                    <a:pt x="32" y="18"/>
                  </a:lnTo>
                  <a:lnTo>
                    <a:pt x="18" y="3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0" name="Freeform 449">
              <a:extLst>
                <a:ext uri="{FF2B5EF4-FFF2-40B4-BE49-F238E27FC236}">
                  <a16:creationId xmlns:a16="http://schemas.microsoft.com/office/drawing/2014/main" id="{30204AF0-A94C-4B56-BA26-E0B0DA3F909B}"/>
                </a:ext>
              </a:extLst>
            </p:cNvPr>
            <p:cNvSpPr>
              <a:spLocks/>
            </p:cNvSpPr>
            <p:nvPr/>
          </p:nvSpPr>
          <p:spPr bwMode="auto">
            <a:xfrm>
              <a:off x="5301528" y="4299796"/>
              <a:ext cx="55426" cy="51962"/>
            </a:xfrm>
            <a:custGeom>
              <a:avLst/>
              <a:gdLst>
                <a:gd name="T0" fmla="*/ 18 w 32"/>
                <a:gd name="T1" fmla="*/ 30 h 30"/>
                <a:gd name="T2" fmla="*/ 18 w 32"/>
                <a:gd name="T3" fmla="*/ 30 h 30"/>
                <a:gd name="T4" fmla="*/ 14 w 32"/>
                <a:gd name="T5" fmla="*/ 30 h 30"/>
                <a:gd name="T6" fmla="*/ 12 w 32"/>
                <a:gd name="T7" fmla="*/ 30 h 30"/>
                <a:gd name="T8" fmla="*/ 10 w 32"/>
                <a:gd name="T9" fmla="*/ 30 h 30"/>
                <a:gd name="T10" fmla="*/ 8 w 32"/>
                <a:gd name="T11" fmla="*/ 30 h 30"/>
                <a:gd name="T12" fmla="*/ 4 w 32"/>
                <a:gd name="T13" fmla="*/ 28 h 30"/>
                <a:gd name="T14" fmla="*/ 4 w 32"/>
                <a:gd name="T15" fmla="*/ 28 h 30"/>
                <a:gd name="T16" fmla="*/ 2 w 32"/>
                <a:gd name="T17" fmla="*/ 28 h 30"/>
                <a:gd name="T18" fmla="*/ 2 w 32"/>
                <a:gd name="T19" fmla="*/ 28 h 30"/>
                <a:gd name="T20" fmla="*/ 0 w 32"/>
                <a:gd name="T21" fmla="*/ 28 h 30"/>
                <a:gd name="T22" fmla="*/ 0 w 32"/>
                <a:gd name="T23" fmla="*/ 26 h 30"/>
                <a:gd name="T24" fmla="*/ 0 w 32"/>
                <a:gd name="T25" fmla="*/ 26 h 30"/>
                <a:gd name="T26" fmla="*/ 0 w 32"/>
                <a:gd name="T27" fmla="*/ 24 h 30"/>
                <a:gd name="T28" fmla="*/ 0 w 32"/>
                <a:gd name="T29" fmla="*/ 22 h 30"/>
                <a:gd name="T30" fmla="*/ 0 w 32"/>
                <a:gd name="T31" fmla="*/ 20 h 30"/>
                <a:gd name="T32" fmla="*/ 0 w 32"/>
                <a:gd name="T33" fmla="*/ 18 h 30"/>
                <a:gd name="T34" fmla="*/ 0 w 32"/>
                <a:gd name="T35" fmla="*/ 16 h 30"/>
                <a:gd name="T36" fmla="*/ 0 w 32"/>
                <a:gd name="T37" fmla="*/ 12 h 30"/>
                <a:gd name="T38" fmla="*/ 2 w 32"/>
                <a:gd name="T39" fmla="*/ 8 h 30"/>
                <a:gd name="T40" fmla="*/ 2 w 32"/>
                <a:gd name="T41" fmla="*/ 4 h 30"/>
                <a:gd name="T42" fmla="*/ 4 w 32"/>
                <a:gd name="T43" fmla="*/ 0 h 30"/>
                <a:gd name="T44" fmla="*/ 32 w 32"/>
                <a:gd name="T45" fmla="*/ 18 h 30"/>
                <a:gd name="T46" fmla="*/ 18 w 32"/>
                <a:gd name="T4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0">
                  <a:moveTo>
                    <a:pt x="18" y="30"/>
                  </a:moveTo>
                  <a:lnTo>
                    <a:pt x="18" y="30"/>
                  </a:lnTo>
                  <a:lnTo>
                    <a:pt x="14" y="30"/>
                  </a:lnTo>
                  <a:lnTo>
                    <a:pt x="12" y="30"/>
                  </a:lnTo>
                  <a:lnTo>
                    <a:pt x="10" y="30"/>
                  </a:lnTo>
                  <a:lnTo>
                    <a:pt x="8" y="30"/>
                  </a:lnTo>
                  <a:lnTo>
                    <a:pt x="4" y="28"/>
                  </a:lnTo>
                  <a:lnTo>
                    <a:pt x="4" y="28"/>
                  </a:lnTo>
                  <a:lnTo>
                    <a:pt x="2" y="28"/>
                  </a:lnTo>
                  <a:lnTo>
                    <a:pt x="2" y="28"/>
                  </a:lnTo>
                  <a:lnTo>
                    <a:pt x="0" y="28"/>
                  </a:lnTo>
                  <a:lnTo>
                    <a:pt x="0" y="26"/>
                  </a:lnTo>
                  <a:lnTo>
                    <a:pt x="0" y="26"/>
                  </a:lnTo>
                  <a:lnTo>
                    <a:pt x="0" y="24"/>
                  </a:lnTo>
                  <a:lnTo>
                    <a:pt x="0" y="22"/>
                  </a:lnTo>
                  <a:lnTo>
                    <a:pt x="0" y="20"/>
                  </a:lnTo>
                  <a:lnTo>
                    <a:pt x="0" y="18"/>
                  </a:lnTo>
                  <a:lnTo>
                    <a:pt x="0" y="16"/>
                  </a:lnTo>
                  <a:lnTo>
                    <a:pt x="0" y="12"/>
                  </a:lnTo>
                  <a:lnTo>
                    <a:pt x="2" y="8"/>
                  </a:lnTo>
                  <a:lnTo>
                    <a:pt x="2" y="4"/>
                  </a:lnTo>
                  <a:lnTo>
                    <a:pt x="4" y="0"/>
                  </a:lnTo>
                  <a:lnTo>
                    <a:pt x="32" y="18"/>
                  </a:lnTo>
                  <a:lnTo>
                    <a:pt x="18" y="3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1" name="Freeform 450">
              <a:extLst>
                <a:ext uri="{FF2B5EF4-FFF2-40B4-BE49-F238E27FC236}">
                  <a16:creationId xmlns:a16="http://schemas.microsoft.com/office/drawing/2014/main" id="{41CF9FE8-B4AD-42B4-9A77-1E9DDE89E525}"/>
                </a:ext>
              </a:extLst>
            </p:cNvPr>
            <p:cNvSpPr>
              <a:spLocks/>
            </p:cNvSpPr>
            <p:nvPr/>
          </p:nvSpPr>
          <p:spPr bwMode="auto">
            <a:xfrm>
              <a:off x="5090215" y="4933735"/>
              <a:ext cx="79675" cy="193992"/>
            </a:xfrm>
            <a:custGeom>
              <a:avLst/>
              <a:gdLst>
                <a:gd name="T0" fmla="*/ 0 w 46"/>
                <a:gd name="T1" fmla="*/ 68 h 112"/>
                <a:gd name="T2" fmla="*/ 0 w 46"/>
                <a:gd name="T3" fmla="*/ 54 h 112"/>
                <a:gd name="T4" fmla="*/ 2 w 46"/>
                <a:gd name="T5" fmla="*/ 46 h 112"/>
                <a:gd name="T6" fmla="*/ 2 w 46"/>
                <a:gd name="T7" fmla="*/ 42 h 112"/>
                <a:gd name="T8" fmla="*/ 8 w 46"/>
                <a:gd name="T9" fmla="*/ 40 h 112"/>
                <a:gd name="T10" fmla="*/ 10 w 46"/>
                <a:gd name="T11" fmla="*/ 38 h 112"/>
                <a:gd name="T12" fmla="*/ 10 w 46"/>
                <a:gd name="T13" fmla="*/ 34 h 112"/>
                <a:gd name="T14" fmla="*/ 10 w 46"/>
                <a:gd name="T15" fmla="*/ 30 h 112"/>
                <a:gd name="T16" fmla="*/ 6 w 46"/>
                <a:gd name="T17" fmla="*/ 22 h 112"/>
                <a:gd name="T18" fmla="*/ 6 w 46"/>
                <a:gd name="T19" fmla="*/ 14 h 112"/>
                <a:gd name="T20" fmla="*/ 10 w 46"/>
                <a:gd name="T21" fmla="*/ 0 h 112"/>
                <a:gd name="T22" fmla="*/ 18 w 46"/>
                <a:gd name="T23" fmla="*/ 4 h 112"/>
                <a:gd name="T24" fmla="*/ 28 w 46"/>
                <a:gd name="T25" fmla="*/ 16 h 112"/>
                <a:gd name="T26" fmla="*/ 28 w 46"/>
                <a:gd name="T27" fmla="*/ 24 h 112"/>
                <a:gd name="T28" fmla="*/ 28 w 46"/>
                <a:gd name="T29" fmla="*/ 30 h 112"/>
                <a:gd name="T30" fmla="*/ 24 w 46"/>
                <a:gd name="T31" fmla="*/ 40 h 112"/>
                <a:gd name="T32" fmla="*/ 24 w 46"/>
                <a:gd name="T33" fmla="*/ 46 h 112"/>
                <a:gd name="T34" fmla="*/ 24 w 46"/>
                <a:gd name="T35" fmla="*/ 48 h 112"/>
                <a:gd name="T36" fmla="*/ 26 w 46"/>
                <a:gd name="T37" fmla="*/ 52 h 112"/>
                <a:gd name="T38" fmla="*/ 34 w 46"/>
                <a:gd name="T39" fmla="*/ 60 h 112"/>
                <a:gd name="T40" fmla="*/ 40 w 46"/>
                <a:gd name="T41" fmla="*/ 70 h 112"/>
                <a:gd name="T42" fmla="*/ 42 w 46"/>
                <a:gd name="T43" fmla="*/ 76 h 112"/>
                <a:gd name="T44" fmla="*/ 46 w 46"/>
                <a:gd name="T45" fmla="*/ 86 h 112"/>
                <a:gd name="T46" fmla="*/ 46 w 46"/>
                <a:gd name="T47" fmla="*/ 92 h 112"/>
                <a:gd name="T48" fmla="*/ 46 w 46"/>
                <a:gd name="T49" fmla="*/ 92 h 112"/>
                <a:gd name="T50" fmla="*/ 42 w 46"/>
                <a:gd name="T51" fmla="*/ 96 h 112"/>
                <a:gd name="T52" fmla="*/ 38 w 46"/>
                <a:gd name="T53" fmla="*/ 98 h 112"/>
                <a:gd name="T54" fmla="*/ 36 w 46"/>
                <a:gd name="T55" fmla="*/ 102 h 112"/>
                <a:gd name="T56" fmla="*/ 34 w 46"/>
                <a:gd name="T57" fmla="*/ 108 h 112"/>
                <a:gd name="T58" fmla="*/ 32 w 46"/>
                <a:gd name="T59" fmla="*/ 110 h 112"/>
                <a:gd name="T60" fmla="*/ 28 w 46"/>
                <a:gd name="T61" fmla="*/ 112 h 112"/>
                <a:gd name="T62" fmla="*/ 24 w 46"/>
                <a:gd name="T63" fmla="*/ 112 h 112"/>
                <a:gd name="T64" fmla="*/ 22 w 46"/>
                <a:gd name="T65" fmla="*/ 112 h 112"/>
                <a:gd name="T66" fmla="*/ 18 w 46"/>
                <a:gd name="T67" fmla="*/ 110 h 112"/>
                <a:gd name="T68" fmla="*/ 16 w 46"/>
                <a:gd name="T69" fmla="*/ 106 h 112"/>
                <a:gd name="T70" fmla="*/ 16 w 46"/>
                <a:gd name="T71" fmla="*/ 104 h 112"/>
                <a:gd name="T72" fmla="*/ 18 w 46"/>
                <a:gd name="T73" fmla="*/ 98 h 112"/>
                <a:gd name="T74" fmla="*/ 22 w 46"/>
                <a:gd name="T75" fmla="*/ 90 h 112"/>
                <a:gd name="T76" fmla="*/ 22 w 46"/>
                <a:gd name="T77" fmla="*/ 84 h 112"/>
                <a:gd name="T78" fmla="*/ 22 w 46"/>
                <a:gd name="T79" fmla="*/ 80 h 112"/>
                <a:gd name="T80" fmla="*/ 20 w 46"/>
                <a:gd name="T81" fmla="*/ 78 h 112"/>
                <a:gd name="T82" fmla="*/ 16 w 46"/>
                <a:gd name="T83" fmla="*/ 78 h 112"/>
                <a:gd name="T84" fmla="*/ 10 w 46"/>
                <a:gd name="T85" fmla="*/ 76 h 112"/>
                <a:gd name="T86" fmla="*/ 0 w 46"/>
                <a:gd name="T87"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 h="112">
                  <a:moveTo>
                    <a:pt x="0" y="70"/>
                  </a:moveTo>
                  <a:lnTo>
                    <a:pt x="0" y="70"/>
                  </a:lnTo>
                  <a:lnTo>
                    <a:pt x="0" y="68"/>
                  </a:lnTo>
                  <a:lnTo>
                    <a:pt x="0" y="64"/>
                  </a:lnTo>
                  <a:lnTo>
                    <a:pt x="0" y="60"/>
                  </a:lnTo>
                  <a:lnTo>
                    <a:pt x="0" y="54"/>
                  </a:lnTo>
                  <a:lnTo>
                    <a:pt x="0" y="50"/>
                  </a:lnTo>
                  <a:lnTo>
                    <a:pt x="0" y="48"/>
                  </a:lnTo>
                  <a:lnTo>
                    <a:pt x="2" y="46"/>
                  </a:lnTo>
                  <a:lnTo>
                    <a:pt x="2" y="44"/>
                  </a:lnTo>
                  <a:lnTo>
                    <a:pt x="2" y="44"/>
                  </a:lnTo>
                  <a:lnTo>
                    <a:pt x="2" y="42"/>
                  </a:lnTo>
                  <a:lnTo>
                    <a:pt x="4" y="42"/>
                  </a:lnTo>
                  <a:lnTo>
                    <a:pt x="6" y="40"/>
                  </a:lnTo>
                  <a:lnTo>
                    <a:pt x="8" y="40"/>
                  </a:lnTo>
                  <a:lnTo>
                    <a:pt x="8" y="38"/>
                  </a:lnTo>
                  <a:lnTo>
                    <a:pt x="10" y="38"/>
                  </a:lnTo>
                  <a:lnTo>
                    <a:pt x="10" y="38"/>
                  </a:lnTo>
                  <a:lnTo>
                    <a:pt x="10" y="36"/>
                  </a:lnTo>
                  <a:lnTo>
                    <a:pt x="10" y="36"/>
                  </a:lnTo>
                  <a:lnTo>
                    <a:pt x="10" y="34"/>
                  </a:lnTo>
                  <a:lnTo>
                    <a:pt x="10" y="34"/>
                  </a:lnTo>
                  <a:lnTo>
                    <a:pt x="10" y="32"/>
                  </a:lnTo>
                  <a:lnTo>
                    <a:pt x="10" y="30"/>
                  </a:lnTo>
                  <a:lnTo>
                    <a:pt x="8" y="28"/>
                  </a:lnTo>
                  <a:lnTo>
                    <a:pt x="8" y="24"/>
                  </a:lnTo>
                  <a:lnTo>
                    <a:pt x="6" y="22"/>
                  </a:lnTo>
                  <a:lnTo>
                    <a:pt x="6" y="20"/>
                  </a:lnTo>
                  <a:lnTo>
                    <a:pt x="6" y="18"/>
                  </a:lnTo>
                  <a:lnTo>
                    <a:pt x="6" y="14"/>
                  </a:lnTo>
                  <a:lnTo>
                    <a:pt x="6" y="8"/>
                  </a:lnTo>
                  <a:lnTo>
                    <a:pt x="8" y="0"/>
                  </a:lnTo>
                  <a:lnTo>
                    <a:pt x="10" y="0"/>
                  </a:lnTo>
                  <a:lnTo>
                    <a:pt x="12" y="2"/>
                  </a:lnTo>
                  <a:lnTo>
                    <a:pt x="14" y="2"/>
                  </a:lnTo>
                  <a:lnTo>
                    <a:pt x="18" y="4"/>
                  </a:lnTo>
                  <a:lnTo>
                    <a:pt x="22" y="6"/>
                  </a:lnTo>
                  <a:lnTo>
                    <a:pt x="26" y="10"/>
                  </a:lnTo>
                  <a:lnTo>
                    <a:pt x="28" y="16"/>
                  </a:lnTo>
                  <a:lnTo>
                    <a:pt x="28" y="20"/>
                  </a:lnTo>
                  <a:lnTo>
                    <a:pt x="28" y="22"/>
                  </a:lnTo>
                  <a:lnTo>
                    <a:pt x="28" y="24"/>
                  </a:lnTo>
                  <a:lnTo>
                    <a:pt x="28" y="26"/>
                  </a:lnTo>
                  <a:lnTo>
                    <a:pt x="28" y="26"/>
                  </a:lnTo>
                  <a:lnTo>
                    <a:pt x="28" y="30"/>
                  </a:lnTo>
                  <a:lnTo>
                    <a:pt x="26" y="34"/>
                  </a:lnTo>
                  <a:lnTo>
                    <a:pt x="26" y="36"/>
                  </a:lnTo>
                  <a:lnTo>
                    <a:pt x="24" y="40"/>
                  </a:lnTo>
                  <a:lnTo>
                    <a:pt x="24" y="42"/>
                  </a:lnTo>
                  <a:lnTo>
                    <a:pt x="24" y="44"/>
                  </a:lnTo>
                  <a:lnTo>
                    <a:pt x="24" y="46"/>
                  </a:lnTo>
                  <a:lnTo>
                    <a:pt x="24" y="46"/>
                  </a:lnTo>
                  <a:lnTo>
                    <a:pt x="24" y="48"/>
                  </a:lnTo>
                  <a:lnTo>
                    <a:pt x="24" y="48"/>
                  </a:lnTo>
                  <a:lnTo>
                    <a:pt x="24" y="50"/>
                  </a:lnTo>
                  <a:lnTo>
                    <a:pt x="26" y="50"/>
                  </a:lnTo>
                  <a:lnTo>
                    <a:pt x="26" y="52"/>
                  </a:lnTo>
                  <a:lnTo>
                    <a:pt x="28" y="54"/>
                  </a:lnTo>
                  <a:lnTo>
                    <a:pt x="30" y="56"/>
                  </a:lnTo>
                  <a:lnTo>
                    <a:pt x="34" y="60"/>
                  </a:lnTo>
                  <a:lnTo>
                    <a:pt x="36" y="64"/>
                  </a:lnTo>
                  <a:lnTo>
                    <a:pt x="38" y="66"/>
                  </a:lnTo>
                  <a:lnTo>
                    <a:pt x="40" y="70"/>
                  </a:lnTo>
                  <a:lnTo>
                    <a:pt x="40" y="72"/>
                  </a:lnTo>
                  <a:lnTo>
                    <a:pt x="42" y="74"/>
                  </a:lnTo>
                  <a:lnTo>
                    <a:pt x="42" y="76"/>
                  </a:lnTo>
                  <a:lnTo>
                    <a:pt x="44" y="80"/>
                  </a:lnTo>
                  <a:lnTo>
                    <a:pt x="44" y="82"/>
                  </a:lnTo>
                  <a:lnTo>
                    <a:pt x="46" y="86"/>
                  </a:lnTo>
                  <a:lnTo>
                    <a:pt x="46" y="88"/>
                  </a:lnTo>
                  <a:lnTo>
                    <a:pt x="46" y="90"/>
                  </a:lnTo>
                  <a:lnTo>
                    <a:pt x="46" y="92"/>
                  </a:lnTo>
                  <a:lnTo>
                    <a:pt x="46" y="92"/>
                  </a:lnTo>
                  <a:lnTo>
                    <a:pt x="46" y="92"/>
                  </a:lnTo>
                  <a:lnTo>
                    <a:pt x="46" y="92"/>
                  </a:lnTo>
                  <a:lnTo>
                    <a:pt x="44" y="94"/>
                  </a:lnTo>
                  <a:lnTo>
                    <a:pt x="44" y="94"/>
                  </a:lnTo>
                  <a:lnTo>
                    <a:pt x="42" y="96"/>
                  </a:lnTo>
                  <a:lnTo>
                    <a:pt x="42" y="96"/>
                  </a:lnTo>
                  <a:lnTo>
                    <a:pt x="38" y="98"/>
                  </a:lnTo>
                  <a:lnTo>
                    <a:pt x="38" y="98"/>
                  </a:lnTo>
                  <a:lnTo>
                    <a:pt x="36" y="100"/>
                  </a:lnTo>
                  <a:lnTo>
                    <a:pt x="36" y="100"/>
                  </a:lnTo>
                  <a:lnTo>
                    <a:pt x="36" y="102"/>
                  </a:lnTo>
                  <a:lnTo>
                    <a:pt x="34" y="104"/>
                  </a:lnTo>
                  <a:lnTo>
                    <a:pt x="34" y="106"/>
                  </a:lnTo>
                  <a:lnTo>
                    <a:pt x="34" y="108"/>
                  </a:lnTo>
                  <a:lnTo>
                    <a:pt x="32" y="110"/>
                  </a:lnTo>
                  <a:lnTo>
                    <a:pt x="32" y="110"/>
                  </a:lnTo>
                  <a:lnTo>
                    <a:pt x="32" y="110"/>
                  </a:lnTo>
                  <a:lnTo>
                    <a:pt x="32" y="110"/>
                  </a:lnTo>
                  <a:lnTo>
                    <a:pt x="30" y="112"/>
                  </a:lnTo>
                  <a:lnTo>
                    <a:pt x="28" y="112"/>
                  </a:lnTo>
                  <a:lnTo>
                    <a:pt x="28" y="112"/>
                  </a:lnTo>
                  <a:lnTo>
                    <a:pt x="26" y="112"/>
                  </a:lnTo>
                  <a:lnTo>
                    <a:pt x="24" y="112"/>
                  </a:lnTo>
                  <a:lnTo>
                    <a:pt x="24" y="112"/>
                  </a:lnTo>
                  <a:lnTo>
                    <a:pt x="22" y="112"/>
                  </a:lnTo>
                  <a:lnTo>
                    <a:pt x="22" y="112"/>
                  </a:lnTo>
                  <a:lnTo>
                    <a:pt x="20" y="110"/>
                  </a:lnTo>
                  <a:lnTo>
                    <a:pt x="20" y="110"/>
                  </a:lnTo>
                  <a:lnTo>
                    <a:pt x="18" y="110"/>
                  </a:lnTo>
                  <a:lnTo>
                    <a:pt x="18" y="108"/>
                  </a:lnTo>
                  <a:lnTo>
                    <a:pt x="18" y="108"/>
                  </a:lnTo>
                  <a:lnTo>
                    <a:pt x="16" y="106"/>
                  </a:lnTo>
                  <a:lnTo>
                    <a:pt x="16" y="106"/>
                  </a:lnTo>
                  <a:lnTo>
                    <a:pt x="16" y="104"/>
                  </a:lnTo>
                  <a:lnTo>
                    <a:pt x="16" y="104"/>
                  </a:lnTo>
                  <a:lnTo>
                    <a:pt x="16" y="102"/>
                  </a:lnTo>
                  <a:lnTo>
                    <a:pt x="18" y="100"/>
                  </a:lnTo>
                  <a:lnTo>
                    <a:pt x="18" y="98"/>
                  </a:lnTo>
                  <a:lnTo>
                    <a:pt x="20" y="94"/>
                  </a:lnTo>
                  <a:lnTo>
                    <a:pt x="20" y="92"/>
                  </a:lnTo>
                  <a:lnTo>
                    <a:pt x="22" y="90"/>
                  </a:lnTo>
                  <a:lnTo>
                    <a:pt x="22" y="88"/>
                  </a:lnTo>
                  <a:lnTo>
                    <a:pt x="22" y="84"/>
                  </a:lnTo>
                  <a:lnTo>
                    <a:pt x="22" y="84"/>
                  </a:lnTo>
                  <a:lnTo>
                    <a:pt x="22" y="82"/>
                  </a:lnTo>
                  <a:lnTo>
                    <a:pt x="22" y="80"/>
                  </a:lnTo>
                  <a:lnTo>
                    <a:pt x="22" y="80"/>
                  </a:lnTo>
                  <a:lnTo>
                    <a:pt x="22" y="80"/>
                  </a:lnTo>
                  <a:lnTo>
                    <a:pt x="22" y="78"/>
                  </a:lnTo>
                  <a:lnTo>
                    <a:pt x="20" y="78"/>
                  </a:lnTo>
                  <a:lnTo>
                    <a:pt x="20" y="78"/>
                  </a:lnTo>
                  <a:lnTo>
                    <a:pt x="18" y="78"/>
                  </a:lnTo>
                  <a:lnTo>
                    <a:pt x="16" y="78"/>
                  </a:lnTo>
                  <a:lnTo>
                    <a:pt x="14" y="76"/>
                  </a:lnTo>
                  <a:lnTo>
                    <a:pt x="12" y="76"/>
                  </a:lnTo>
                  <a:lnTo>
                    <a:pt x="10" y="76"/>
                  </a:lnTo>
                  <a:lnTo>
                    <a:pt x="8" y="74"/>
                  </a:lnTo>
                  <a:lnTo>
                    <a:pt x="4" y="74"/>
                  </a:lnTo>
                  <a:lnTo>
                    <a:pt x="0" y="7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2" name="Freeform 451">
              <a:extLst>
                <a:ext uri="{FF2B5EF4-FFF2-40B4-BE49-F238E27FC236}">
                  <a16:creationId xmlns:a16="http://schemas.microsoft.com/office/drawing/2014/main" id="{F7B774B8-B645-4083-A565-14FC34783115}"/>
                </a:ext>
              </a:extLst>
            </p:cNvPr>
            <p:cNvSpPr>
              <a:spLocks/>
            </p:cNvSpPr>
            <p:nvPr/>
          </p:nvSpPr>
          <p:spPr bwMode="auto">
            <a:xfrm>
              <a:off x="5090215" y="4933735"/>
              <a:ext cx="79675" cy="193992"/>
            </a:xfrm>
            <a:custGeom>
              <a:avLst/>
              <a:gdLst>
                <a:gd name="T0" fmla="*/ 0 w 46"/>
                <a:gd name="T1" fmla="*/ 68 h 112"/>
                <a:gd name="T2" fmla="*/ 0 w 46"/>
                <a:gd name="T3" fmla="*/ 54 h 112"/>
                <a:gd name="T4" fmla="*/ 2 w 46"/>
                <a:gd name="T5" fmla="*/ 46 h 112"/>
                <a:gd name="T6" fmla="*/ 2 w 46"/>
                <a:gd name="T7" fmla="*/ 42 h 112"/>
                <a:gd name="T8" fmla="*/ 8 w 46"/>
                <a:gd name="T9" fmla="*/ 40 h 112"/>
                <a:gd name="T10" fmla="*/ 10 w 46"/>
                <a:gd name="T11" fmla="*/ 38 h 112"/>
                <a:gd name="T12" fmla="*/ 10 w 46"/>
                <a:gd name="T13" fmla="*/ 34 h 112"/>
                <a:gd name="T14" fmla="*/ 10 w 46"/>
                <a:gd name="T15" fmla="*/ 30 h 112"/>
                <a:gd name="T16" fmla="*/ 6 w 46"/>
                <a:gd name="T17" fmla="*/ 22 h 112"/>
                <a:gd name="T18" fmla="*/ 6 w 46"/>
                <a:gd name="T19" fmla="*/ 14 h 112"/>
                <a:gd name="T20" fmla="*/ 10 w 46"/>
                <a:gd name="T21" fmla="*/ 0 h 112"/>
                <a:gd name="T22" fmla="*/ 18 w 46"/>
                <a:gd name="T23" fmla="*/ 4 h 112"/>
                <a:gd name="T24" fmla="*/ 28 w 46"/>
                <a:gd name="T25" fmla="*/ 16 h 112"/>
                <a:gd name="T26" fmla="*/ 28 w 46"/>
                <a:gd name="T27" fmla="*/ 24 h 112"/>
                <a:gd name="T28" fmla="*/ 28 w 46"/>
                <a:gd name="T29" fmla="*/ 30 h 112"/>
                <a:gd name="T30" fmla="*/ 24 w 46"/>
                <a:gd name="T31" fmla="*/ 40 h 112"/>
                <a:gd name="T32" fmla="*/ 24 w 46"/>
                <a:gd name="T33" fmla="*/ 46 h 112"/>
                <a:gd name="T34" fmla="*/ 24 w 46"/>
                <a:gd name="T35" fmla="*/ 48 h 112"/>
                <a:gd name="T36" fmla="*/ 26 w 46"/>
                <a:gd name="T37" fmla="*/ 52 h 112"/>
                <a:gd name="T38" fmla="*/ 34 w 46"/>
                <a:gd name="T39" fmla="*/ 60 h 112"/>
                <a:gd name="T40" fmla="*/ 40 w 46"/>
                <a:gd name="T41" fmla="*/ 70 h 112"/>
                <a:gd name="T42" fmla="*/ 42 w 46"/>
                <a:gd name="T43" fmla="*/ 76 h 112"/>
                <a:gd name="T44" fmla="*/ 46 w 46"/>
                <a:gd name="T45" fmla="*/ 86 h 112"/>
                <a:gd name="T46" fmla="*/ 46 w 46"/>
                <a:gd name="T47" fmla="*/ 92 h 112"/>
                <a:gd name="T48" fmla="*/ 46 w 46"/>
                <a:gd name="T49" fmla="*/ 92 h 112"/>
                <a:gd name="T50" fmla="*/ 42 w 46"/>
                <a:gd name="T51" fmla="*/ 96 h 112"/>
                <a:gd name="T52" fmla="*/ 38 w 46"/>
                <a:gd name="T53" fmla="*/ 98 h 112"/>
                <a:gd name="T54" fmla="*/ 36 w 46"/>
                <a:gd name="T55" fmla="*/ 102 h 112"/>
                <a:gd name="T56" fmla="*/ 34 w 46"/>
                <a:gd name="T57" fmla="*/ 108 h 112"/>
                <a:gd name="T58" fmla="*/ 32 w 46"/>
                <a:gd name="T59" fmla="*/ 110 h 112"/>
                <a:gd name="T60" fmla="*/ 28 w 46"/>
                <a:gd name="T61" fmla="*/ 112 h 112"/>
                <a:gd name="T62" fmla="*/ 24 w 46"/>
                <a:gd name="T63" fmla="*/ 112 h 112"/>
                <a:gd name="T64" fmla="*/ 22 w 46"/>
                <a:gd name="T65" fmla="*/ 112 h 112"/>
                <a:gd name="T66" fmla="*/ 18 w 46"/>
                <a:gd name="T67" fmla="*/ 110 h 112"/>
                <a:gd name="T68" fmla="*/ 16 w 46"/>
                <a:gd name="T69" fmla="*/ 106 h 112"/>
                <a:gd name="T70" fmla="*/ 16 w 46"/>
                <a:gd name="T71" fmla="*/ 104 h 112"/>
                <a:gd name="T72" fmla="*/ 18 w 46"/>
                <a:gd name="T73" fmla="*/ 98 h 112"/>
                <a:gd name="T74" fmla="*/ 22 w 46"/>
                <a:gd name="T75" fmla="*/ 90 h 112"/>
                <a:gd name="T76" fmla="*/ 22 w 46"/>
                <a:gd name="T77" fmla="*/ 84 h 112"/>
                <a:gd name="T78" fmla="*/ 22 w 46"/>
                <a:gd name="T79" fmla="*/ 80 h 112"/>
                <a:gd name="T80" fmla="*/ 20 w 46"/>
                <a:gd name="T81" fmla="*/ 78 h 112"/>
                <a:gd name="T82" fmla="*/ 16 w 46"/>
                <a:gd name="T83" fmla="*/ 78 h 112"/>
                <a:gd name="T84" fmla="*/ 10 w 46"/>
                <a:gd name="T85" fmla="*/ 76 h 112"/>
                <a:gd name="T86" fmla="*/ 0 w 46"/>
                <a:gd name="T87"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 h="112">
                  <a:moveTo>
                    <a:pt x="0" y="70"/>
                  </a:moveTo>
                  <a:lnTo>
                    <a:pt x="0" y="70"/>
                  </a:lnTo>
                  <a:lnTo>
                    <a:pt x="0" y="68"/>
                  </a:lnTo>
                  <a:lnTo>
                    <a:pt x="0" y="64"/>
                  </a:lnTo>
                  <a:lnTo>
                    <a:pt x="0" y="60"/>
                  </a:lnTo>
                  <a:lnTo>
                    <a:pt x="0" y="54"/>
                  </a:lnTo>
                  <a:lnTo>
                    <a:pt x="0" y="50"/>
                  </a:lnTo>
                  <a:lnTo>
                    <a:pt x="0" y="48"/>
                  </a:lnTo>
                  <a:lnTo>
                    <a:pt x="2" y="46"/>
                  </a:lnTo>
                  <a:lnTo>
                    <a:pt x="2" y="44"/>
                  </a:lnTo>
                  <a:lnTo>
                    <a:pt x="2" y="44"/>
                  </a:lnTo>
                  <a:lnTo>
                    <a:pt x="2" y="42"/>
                  </a:lnTo>
                  <a:lnTo>
                    <a:pt x="4" y="42"/>
                  </a:lnTo>
                  <a:lnTo>
                    <a:pt x="6" y="40"/>
                  </a:lnTo>
                  <a:lnTo>
                    <a:pt x="8" y="40"/>
                  </a:lnTo>
                  <a:lnTo>
                    <a:pt x="8" y="38"/>
                  </a:lnTo>
                  <a:lnTo>
                    <a:pt x="10" y="38"/>
                  </a:lnTo>
                  <a:lnTo>
                    <a:pt x="10" y="38"/>
                  </a:lnTo>
                  <a:lnTo>
                    <a:pt x="10" y="36"/>
                  </a:lnTo>
                  <a:lnTo>
                    <a:pt x="10" y="36"/>
                  </a:lnTo>
                  <a:lnTo>
                    <a:pt x="10" y="34"/>
                  </a:lnTo>
                  <a:lnTo>
                    <a:pt x="10" y="34"/>
                  </a:lnTo>
                  <a:lnTo>
                    <a:pt x="10" y="32"/>
                  </a:lnTo>
                  <a:lnTo>
                    <a:pt x="10" y="30"/>
                  </a:lnTo>
                  <a:lnTo>
                    <a:pt x="8" y="28"/>
                  </a:lnTo>
                  <a:lnTo>
                    <a:pt x="8" y="24"/>
                  </a:lnTo>
                  <a:lnTo>
                    <a:pt x="6" y="22"/>
                  </a:lnTo>
                  <a:lnTo>
                    <a:pt x="6" y="20"/>
                  </a:lnTo>
                  <a:lnTo>
                    <a:pt x="6" y="18"/>
                  </a:lnTo>
                  <a:lnTo>
                    <a:pt x="6" y="14"/>
                  </a:lnTo>
                  <a:lnTo>
                    <a:pt x="6" y="8"/>
                  </a:lnTo>
                  <a:lnTo>
                    <a:pt x="8" y="0"/>
                  </a:lnTo>
                  <a:lnTo>
                    <a:pt x="10" y="0"/>
                  </a:lnTo>
                  <a:lnTo>
                    <a:pt x="12" y="2"/>
                  </a:lnTo>
                  <a:lnTo>
                    <a:pt x="14" y="2"/>
                  </a:lnTo>
                  <a:lnTo>
                    <a:pt x="18" y="4"/>
                  </a:lnTo>
                  <a:lnTo>
                    <a:pt x="22" y="6"/>
                  </a:lnTo>
                  <a:lnTo>
                    <a:pt x="26" y="10"/>
                  </a:lnTo>
                  <a:lnTo>
                    <a:pt x="28" y="16"/>
                  </a:lnTo>
                  <a:lnTo>
                    <a:pt x="28" y="20"/>
                  </a:lnTo>
                  <a:lnTo>
                    <a:pt x="28" y="22"/>
                  </a:lnTo>
                  <a:lnTo>
                    <a:pt x="28" y="24"/>
                  </a:lnTo>
                  <a:lnTo>
                    <a:pt x="28" y="26"/>
                  </a:lnTo>
                  <a:lnTo>
                    <a:pt x="28" y="26"/>
                  </a:lnTo>
                  <a:lnTo>
                    <a:pt x="28" y="30"/>
                  </a:lnTo>
                  <a:lnTo>
                    <a:pt x="26" y="34"/>
                  </a:lnTo>
                  <a:lnTo>
                    <a:pt x="26" y="36"/>
                  </a:lnTo>
                  <a:lnTo>
                    <a:pt x="24" y="40"/>
                  </a:lnTo>
                  <a:lnTo>
                    <a:pt x="24" y="42"/>
                  </a:lnTo>
                  <a:lnTo>
                    <a:pt x="24" y="44"/>
                  </a:lnTo>
                  <a:lnTo>
                    <a:pt x="24" y="46"/>
                  </a:lnTo>
                  <a:lnTo>
                    <a:pt x="24" y="46"/>
                  </a:lnTo>
                  <a:lnTo>
                    <a:pt x="24" y="48"/>
                  </a:lnTo>
                  <a:lnTo>
                    <a:pt x="24" y="48"/>
                  </a:lnTo>
                  <a:lnTo>
                    <a:pt x="24" y="50"/>
                  </a:lnTo>
                  <a:lnTo>
                    <a:pt x="26" y="50"/>
                  </a:lnTo>
                  <a:lnTo>
                    <a:pt x="26" y="52"/>
                  </a:lnTo>
                  <a:lnTo>
                    <a:pt x="28" y="54"/>
                  </a:lnTo>
                  <a:lnTo>
                    <a:pt x="30" y="56"/>
                  </a:lnTo>
                  <a:lnTo>
                    <a:pt x="34" y="60"/>
                  </a:lnTo>
                  <a:lnTo>
                    <a:pt x="36" y="64"/>
                  </a:lnTo>
                  <a:lnTo>
                    <a:pt x="38" y="66"/>
                  </a:lnTo>
                  <a:lnTo>
                    <a:pt x="40" y="70"/>
                  </a:lnTo>
                  <a:lnTo>
                    <a:pt x="40" y="72"/>
                  </a:lnTo>
                  <a:lnTo>
                    <a:pt x="42" y="74"/>
                  </a:lnTo>
                  <a:lnTo>
                    <a:pt x="42" y="76"/>
                  </a:lnTo>
                  <a:lnTo>
                    <a:pt x="44" y="80"/>
                  </a:lnTo>
                  <a:lnTo>
                    <a:pt x="44" y="82"/>
                  </a:lnTo>
                  <a:lnTo>
                    <a:pt x="46" y="86"/>
                  </a:lnTo>
                  <a:lnTo>
                    <a:pt x="46" y="88"/>
                  </a:lnTo>
                  <a:lnTo>
                    <a:pt x="46" y="90"/>
                  </a:lnTo>
                  <a:lnTo>
                    <a:pt x="46" y="92"/>
                  </a:lnTo>
                  <a:lnTo>
                    <a:pt x="46" y="92"/>
                  </a:lnTo>
                  <a:lnTo>
                    <a:pt x="46" y="92"/>
                  </a:lnTo>
                  <a:lnTo>
                    <a:pt x="46" y="92"/>
                  </a:lnTo>
                  <a:lnTo>
                    <a:pt x="44" y="94"/>
                  </a:lnTo>
                  <a:lnTo>
                    <a:pt x="44" y="94"/>
                  </a:lnTo>
                  <a:lnTo>
                    <a:pt x="42" y="96"/>
                  </a:lnTo>
                  <a:lnTo>
                    <a:pt x="42" y="96"/>
                  </a:lnTo>
                  <a:lnTo>
                    <a:pt x="38" y="98"/>
                  </a:lnTo>
                  <a:lnTo>
                    <a:pt x="38" y="98"/>
                  </a:lnTo>
                  <a:lnTo>
                    <a:pt x="36" y="100"/>
                  </a:lnTo>
                  <a:lnTo>
                    <a:pt x="36" y="100"/>
                  </a:lnTo>
                  <a:lnTo>
                    <a:pt x="36" y="102"/>
                  </a:lnTo>
                  <a:lnTo>
                    <a:pt x="34" y="104"/>
                  </a:lnTo>
                  <a:lnTo>
                    <a:pt x="34" y="106"/>
                  </a:lnTo>
                  <a:lnTo>
                    <a:pt x="34" y="108"/>
                  </a:lnTo>
                  <a:lnTo>
                    <a:pt x="32" y="110"/>
                  </a:lnTo>
                  <a:lnTo>
                    <a:pt x="32" y="110"/>
                  </a:lnTo>
                  <a:lnTo>
                    <a:pt x="32" y="110"/>
                  </a:lnTo>
                  <a:lnTo>
                    <a:pt x="32" y="110"/>
                  </a:lnTo>
                  <a:lnTo>
                    <a:pt x="30" y="112"/>
                  </a:lnTo>
                  <a:lnTo>
                    <a:pt x="28" y="112"/>
                  </a:lnTo>
                  <a:lnTo>
                    <a:pt x="28" y="112"/>
                  </a:lnTo>
                  <a:lnTo>
                    <a:pt x="26" y="112"/>
                  </a:lnTo>
                  <a:lnTo>
                    <a:pt x="24" y="112"/>
                  </a:lnTo>
                  <a:lnTo>
                    <a:pt x="24" y="112"/>
                  </a:lnTo>
                  <a:lnTo>
                    <a:pt x="22" y="112"/>
                  </a:lnTo>
                  <a:lnTo>
                    <a:pt x="22" y="112"/>
                  </a:lnTo>
                  <a:lnTo>
                    <a:pt x="20" y="110"/>
                  </a:lnTo>
                  <a:lnTo>
                    <a:pt x="20" y="110"/>
                  </a:lnTo>
                  <a:lnTo>
                    <a:pt x="18" y="110"/>
                  </a:lnTo>
                  <a:lnTo>
                    <a:pt x="18" y="108"/>
                  </a:lnTo>
                  <a:lnTo>
                    <a:pt x="18" y="108"/>
                  </a:lnTo>
                  <a:lnTo>
                    <a:pt x="16" y="106"/>
                  </a:lnTo>
                  <a:lnTo>
                    <a:pt x="16" y="106"/>
                  </a:lnTo>
                  <a:lnTo>
                    <a:pt x="16" y="104"/>
                  </a:lnTo>
                  <a:lnTo>
                    <a:pt x="16" y="104"/>
                  </a:lnTo>
                  <a:lnTo>
                    <a:pt x="16" y="102"/>
                  </a:lnTo>
                  <a:lnTo>
                    <a:pt x="18" y="100"/>
                  </a:lnTo>
                  <a:lnTo>
                    <a:pt x="18" y="98"/>
                  </a:lnTo>
                  <a:lnTo>
                    <a:pt x="20" y="94"/>
                  </a:lnTo>
                  <a:lnTo>
                    <a:pt x="20" y="92"/>
                  </a:lnTo>
                  <a:lnTo>
                    <a:pt x="22" y="90"/>
                  </a:lnTo>
                  <a:lnTo>
                    <a:pt x="22" y="88"/>
                  </a:lnTo>
                  <a:lnTo>
                    <a:pt x="22" y="84"/>
                  </a:lnTo>
                  <a:lnTo>
                    <a:pt x="22" y="84"/>
                  </a:lnTo>
                  <a:lnTo>
                    <a:pt x="22" y="82"/>
                  </a:lnTo>
                  <a:lnTo>
                    <a:pt x="22" y="80"/>
                  </a:lnTo>
                  <a:lnTo>
                    <a:pt x="22" y="80"/>
                  </a:lnTo>
                  <a:lnTo>
                    <a:pt x="22" y="80"/>
                  </a:lnTo>
                  <a:lnTo>
                    <a:pt x="22" y="78"/>
                  </a:lnTo>
                  <a:lnTo>
                    <a:pt x="20" y="78"/>
                  </a:lnTo>
                  <a:lnTo>
                    <a:pt x="20" y="78"/>
                  </a:lnTo>
                  <a:lnTo>
                    <a:pt x="18" y="78"/>
                  </a:lnTo>
                  <a:lnTo>
                    <a:pt x="16" y="78"/>
                  </a:lnTo>
                  <a:lnTo>
                    <a:pt x="14" y="76"/>
                  </a:lnTo>
                  <a:lnTo>
                    <a:pt x="12" y="76"/>
                  </a:lnTo>
                  <a:lnTo>
                    <a:pt x="10" y="76"/>
                  </a:lnTo>
                  <a:lnTo>
                    <a:pt x="8" y="74"/>
                  </a:lnTo>
                  <a:lnTo>
                    <a:pt x="4" y="74"/>
                  </a:lnTo>
                  <a:lnTo>
                    <a:pt x="0" y="7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3" name="Freeform 452">
              <a:extLst>
                <a:ext uri="{FF2B5EF4-FFF2-40B4-BE49-F238E27FC236}">
                  <a16:creationId xmlns:a16="http://schemas.microsoft.com/office/drawing/2014/main" id="{7C553B87-1CCA-4BF0-810D-FA1BCBC9510D}"/>
                </a:ext>
              </a:extLst>
            </p:cNvPr>
            <p:cNvSpPr>
              <a:spLocks/>
            </p:cNvSpPr>
            <p:nvPr/>
          </p:nvSpPr>
          <p:spPr bwMode="auto">
            <a:xfrm>
              <a:off x="4449347" y="3537683"/>
              <a:ext cx="100460" cy="187064"/>
            </a:xfrm>
            <a:custGeom>
              <a:avLst/>
              <a:gdLst>
                <a:gd name="T0" fmla="*/ 28 w 58"/>
                <a:gd name="T1" fmla="*/ 108 h 108"/>
                <a:gd name="T2" fmla="*/ 24 w 58"/>
                <a:gd name="T3" fmla="*/ 106 h 108"/>
                <a:gd name="T4" fmla="*/ 22 w 58"/>
                <a:gd name="T5" fmla="*/ 104 h 108"/>
                <a:gd name="T6" fmla="*/ 22 w 58"/>
                <a:gd name="T7" fmla="*/ 96 h 108"/>
                <a:gd name="T8" fmla="*/ 20 w 58"/>
                <a:gd name="T9" fmla="*/ 92 h 108"/>
                <a:gd name="T10" fmla="*/ 18 w 58"/>
                <a:gd name="T11" fmla="*/ 88 h 108"/>
                <a:gd name="T12" fmla="*/ 10 w 58"/>
                <a:gd name="T13" fmla="*/ 86 h 108"/>
                <a:gd name="T14" fmla="*/ 6 w 58"/>
                <a:gd name="T15" fmla="*/ 84 h 108"/>
                <a:gd name="T16" fmla="*/ 2 w 58"/>
                <a:gd name="T17" fmla="*/ 76 h 108"/>
                <a:gd name="T18" fmla="*/ 0 w 58"/>
                <a:gd name="T19" fmla="*/ 68 h 108"/>
                <a:gd name="T20" fmla="*/ 2 w 58"/>
                <a:gd name="T21" fmla="*/ 60 h 108"/>
                <a:gd name="T22" fmla="*/ 6 w 58"/>
                <a:gd name="T23" fmla="*/ 54 h 108"/>
                <a:gd name="T24" fmla="*/ 12 w 58"/>
                <a:gd name="T25" fmla="*/ 52 h 108"/>
                <a:gd name="T26" fmla="*/ 18 w 58"/>
                <a:gd name="T27" fmla="*/ 50 h 108"/>
                <a:gd name="T28" fmla="*/ 18 w 58"/>
                <a:gd name="T29" fmla="*/ 48 h 108"/>
                <a:gd name="T30" fmla="*/ 16 w 58"/>
                <a:gd name="T31" fmla="*/ 44 h 108"/>
                <a:gd name="T32" fmla="*/ 12 w 58"/>
                <a:gd name="T33" fmla="*/ 38 h 108"/>
                <a:gd name="T34" fmla="*/ 10 w 58"/>
                <a:gd name="T35" fmla="*/ 34 h 108"/>
                <a:gd name="T36" fmla="*/ 12 w 58"/>
                <a:gd name="T37" fmla="*/ 28 h 108"/>
                <a:gd name="T38" fmla="*/ 14 w 58"/>
                <a:gd name="T39" fmla="*/ 26 h 108"/>
                <a:gd name="T40" fmla="*/ 20 w 58"/>
                <a:gd name="T41" fmla="*/ 26 h 108"/>
                <a:gd name="T42" fmla="*/ 20 w 58"/>
                <a:gd name="T43" fmla="*/ 24 h 108"/>
                <a:gd name="T44" fmla="*/ 20 w 58"/>
                <a:gd name="T45" fmla="*/ 16 h 108"/>
                <a:gd name="T46" fmla="*/ 22 w 58"/>
                <a:gd name="T47" fmla="*/ 6 h 108"/>
                <a:gd name="T48" fmla="*/ 28 w 58"/>
                <a:gd name="T49" fmla="*/ 2 h 108"/>
                <a:gd name="T50" fmla="*/ 34 w 58"/>
                <a:gd name="T51" fmla="*/ 0 h 108"/>
                <a:gd name="T52" fmla="*/ 40 w 58"/>
                <a:gd name="T53" fmla="*/ 4 h 108"/>
                <a:gd name="T54" fmla="*/ 48 w 58"/>
                <a:gd name="T55" fmla="*/ 8 h 108"/>
                <a:gd name="T56" fmla="*/ 54 w 58"/>
                <a:gd name="T57" fmla="*/ 10 h 108"/>
                <a:gd name="T58" fmla="*/ 54 w 58"/>
                <a:gd name="T59" fmla="*/ 12 h 108"/>
                <a:gd name="T60" fmla="*/ 52 w 58"/>
                <a:gd name="T61" fmla="*/ 18 h 108"/>
                <a:gd name="T62" fmla="*/ 50 w 58"/>
                <a:gd name="T63" fmla="*/ 22 h 108"/>
                <a:gd name="T64" fmla="*/ 52 w 58"/>
                <a:gd name="T65" fmla="*/ 26 h 108"/>
                <a:gd name="T66" fmla="*/ 56 w 58"/>
                <a:gd name="T67" fmla="*/ 32 h 108"/>
                <a:gd name="T68" fmla="*/ 56 w 58"/>
                <a:gd name="T69" fmla="*/ 42 h 108"/>
                <a:gd name="T70" fmla="*/ 54 w 58"/>
                <a:gd name="T71" fmla="*/ 48 h 108"/>
                <a:gd name="T72" fmla="*/ 50 w 58"/>
                <a:gd name="T73" fmla="*/ 50 h 108"/>
                <a:gd name="T74" fmla="*/ 44 w 58"/>
                <a:gd name="T75" fmla="*/ 50 h 108"/>
                <a:gd name="T76" fmla="*/ 42 w 58"/>
                <a:gd name="T77" fmla="*/ 54 h 108"/>
                <a:gd name="T78" fmla="*/ 42 w 58"/>
                <a:gd name="T79" fmla="*/ 62 h 108"/>
                <a:gd name="T80" fmla="*/ 42 w 58"/>
                <a:gd name="T81" fmla="*/ 66 h 108"/>
                <a:gd name="T82" fmla="*/ 46 w 58"/>
                <a:gd name="T83" fmla="*/ 66 h 108"/>
                <a:gd name="T84" fmla="*/ 52 w 58"/>
                <a:gd name="T85" fmla="*/ 70 h 108"/>
                <a:gd name="T86" fmla="*/ 58 w 58"/>
                <a:gd name="T87" fmla="*/ 78 h 108"/>
                <a:gd name="T88" fmla="*/ 56 w 58"/>
                <a:gd name="T89" fmla="*/ 92 h 108"/>
                <a:gd name="T90" fmla="*/ 54 w 58"/>
                <a:gd name="T91" fmla="*/ 98 h 108"/>
                <a:gd name="T92" fmla="*/ 52 w 58"/>
                <a:gd name="T93" fmla="*/ 100 h 108"/>
                <a:gd name="T94" fmla="*/ 42 w 58"/>
                <a:gd name="T95" fmla="*/ 10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 h="108">
                  <a:moveTo>
                    <a:pt x="32" y="106"/>
                  </a:moveTo>
                  <a:lnTo>
                    <a:pt x="32" y="106"/>
                  </a:lnTo>
                  <a:lnTo>
                    <a:pt x="32" y="106"/>
                  </a:lnTo>
                  <a:lnTo>
                    <a:pt x="28" y="108"/>
                  </a:lnTo>
                  <a:lnTo>
                    <a:pt x="28" y="108"/>
                  </a:lnTo>
                  <a:lnTo>
                    <a:pt x="26" y="108"/>
                  </a:lnTo>
                  <a:lnTo>
                    <a:pt x="24" y="108"/>
                  </a:lnTo>
                  <a:lnTo>
                    <a:pt x="24" y="106"/>
                  </a:lnTo>
                  <a:lnTo>
                    <a:pt x="24" y="106"/>
                  </a:lnTo>
                  <a:lnTo>
                    <a:pt x="24" y="106"/>
                  </a:lnTo>
                  <a:lnTo>
                    <a:pt x="22" y="106"/>
                  </a:lnTo>
                  <a:lnTo>
                    <a:pt x="22" y="104"/>
                  </a:lnTo>
                  <a:lnTo>
                    <a:pt x="22" y="104"/>
                  </a:lnTo>
                  <a:lnTo>
                    <a:pt x="22" y="102"/>
                  </a:lnTo>
                  <a:lnTo>
                    <a:pt x="22" y="98"/>
                  </a:lnTo>
                  <a:lnTo>
                    <a:pt x="22" y="96"/>
                  </a:lnTo>
                  <a:lnTo>
                    <a:pt x="22" y="94"/>
                  </a:lnTo>
                  <a:lnTo>
                    <a:pt x="20" y="92"/>
                  </a:lnTo>
                  <a:lnTo>
                    <a:pt x="20" y="92"/>
                  </a:lnTo>
                  <a:lnTo>
                    <a:pt x="20" y="92"/>
                  </a:lnTo>
                  <a:lnTo>
                    <a:pt x="20" y="90"/>
                  </a:lnTo>
                  <a:lnTo>
                    <a:pt x="20" y="90"/>
                  </a:lnTo>
                  <a:lnTo>
                    <a:pt x="18" y="90"/>
                  </a:lnTo>
                  <a:lnTo>
                    <a:pt x="18" y="88"/>
                  </a:lnTo>
                  <a:lnTo>
                    <a:pt x="16" y="88"/>
                  </a:lnTo>
                  <a:lnTo>
                    <a:pt x="14" y="88"/>
                  </a:lnTo>
                  <a:lnTo>
                    <a:pt x="12" y="88"/>
                  </a:lnTo>
                  <a:lnTo>
                    <a:pt x="10" y="86"/>
                  </a:lnTo>
                  <a:lnTo>
                    <a:pt x="8" y="86"/>
                  </a:lnTo>
                  <a:lnTo>
                    <a:pt x="8" y="86"/>
                  </a:lnTo>
                  <a:lnTo>
                    <a:pt x="8" y="86"/>
                  </a:lnTo>
                  <a:lnTo>
                    <a:pt x="6" y="84"/>
                  </a:lnTo>
                  <a:lnTo>
                    <a:pt x="4" y="82"/>
                  </a:lnTo>
                  <a:lnTo>
                    <a:pt x="4" y="80"/>
                  </a:lnTo>
                  <a:lnTo>
                    <a:pt x="2" y="78"/>
                  </a:lnTo>
                  <a:lnTo>
                    <a:pt x="2" y="76"/>
                  </a:lnTo>
                  <a:lnTo>
                    <a:pt x="2" y="74"/>
                  </a:lnTo>
                  <a:lnTo>
                    <a:pt x="0" y="72"/>
                  </a:lnTo>
                  <a:lnTo>
                    <a:pt x="0" y="70"/>
                  </a:lnTo>
                  <a:lnTo>
                    <a:pt x="0" y="68"/>
                  </a:lnTo>
                  <a:lnTo>
                    <a:pt x="0" y="66"/>
                  </a:lnTo>
                  <a:lnTo>
                    <a:pt x="2" y="64"/>
                  </a:lnTo>
                  <a:lnTo>
                    <a:pt x="2" y="62"/>
                  </a:lnTo>
                  <a:lnTo>
                    <a:pt x="2" y="60"/>
                  </a:lnTo>
                  <a:lnTo>
                    <a:pt x="2" y="58"/>
                  </a:lnTo>
                  <a:lnTo>
                    <a:pt x="4" y="56"/>
                  </a:lnTo>
                  <a:lnTo>
                    <a:pt x="4" y="54"/>
                  </a:lnTo>
                  <a:lnTo>
                    <a:pt x="6" y="54"/>
                  </a:lnTo>
                  <a:lnTo>
                    <a:pt x="6" y="54"/>
                  </a:lnTo>
                  <a:lnTo>
                    <a:pt x="8" y="52"/>
                  </a:lnTo>
                  <a:lnTo>
                    <a:pt x="10" y="52"/>
                  </a:lnTo>
                  <a:lnTo>
                    <a:pt x="12" y="52"/>
                  </a:lnTo>
                  <a:lnTo>
                    <a:pt x="14" y="52"/>
                  </a:lnTo>
                  <a:lnTo>
                    <a:pt x="16" y="52"/>
                  </a:lnTo>
                  <a:lnTo>
                    <a:pt x="18" y="50"/>
                  </a:lnTo>
                  <a:lnTo>
                    <a:pt x="18" y="50"/>
                  </a:lnTo>
                  <a:lnTo>
                    <a:pt x="18" y="50"/>
                  </a:lnTo>
                  <a:lnTo>
                    <a:pt x="18" y="50"/>
                  </a:lnTo>
                  <a:lnTo>
                    <a:pt x="18" y="48"/>
                  </a:lnTo>
                  <a:lnTo>
                    <a:pt x="18" y="48"/>
                  </a:lnTo>
                  <a:lnTo>
                    <a:pt x="18" y="48"/>
                  </a:lnTo>
                  <a:lnTo>
                    <a:pt x="18" y="46"/>
                  </a:lnTo>
                  <a:lnTo>
                    <a:pt x="16" y="46"/>
                  </a:lnTo>
                  <a:lnTo>
                    <a:pt x="16" y="44"/>
                  </a:lnTo>
                  <a:lnTo>
                    <a:pt x="14" y="42"/>
                  </a:lnTo>
                  <a:lnTo>
                    <a:pt x="12" y="40"/>
                  </a:lnTo>
                  <a:lnTo>
                    <a:pt x="12" y="40"/>
                  </a:lnTo>
                  <a:lnTo>
                    <a:pt x="12" y="38"/>
                  </a:lnTo>
                  <a:lnTo>
                    <a:pt x="10" y="38"/>
                  </a:lnTo>
                  <a:lnTo>
                    <a:pt x="10" y="36"/>
                  </a:lnTo>
                  <a:lnTo>
                    <a:pt x="10" y="36"/>
                  </a:lnTo>
                  <a:lnTo>
                    <a:pt x="10" y="34"/>
                  </a:lnTo>
                  <a:lnTo>
                    <a:pt x="12" y="32"/>
                  </a:lnTo>
                  <a:lnTo>
                    <a:pt x="12" y="30"/>
                  </a:lnTo>
                  <a:lnTo>
                    <a:pt x="12" y="28"/>
                  </a:lnTo>
                  <a:lnTo>
                    <a:pt x="12" y="28"/>
                  </a:lnTo>
                  <a:lnTo>
                    <a:pt x="14" y="28"/>
                  </a:lnTo>
                  <a:lnTo>
                    <a:pt x="14" y="26"/>
                  </a:lnTo>
                  <a:lnTo>
                    <a:pt x="14" y="26"/>
                  </a:lnTo>
                  <a:lnTo>
                    <a:pt x="14" y="26"/>
                  </a:lnTo>
                  <a:lnTo>
                    <a:pt x="16" y="26"/>
                  </a:lnTo>
                  <a:lnTo>
                    <a:pt x="18" y="28"/>
                  </a:lnTo>
                  <a:lnTo>
                    <a:pt x="20" y="28"/>
                  </a:lnTo>
                  <a:lnTo>
                    <a:pt x="20" y="26"/>
                  </a:lnTo>
                  <a:lnTo>
                    <a:pt x="20" y="26"/>
                  </a:lnTo>
                  <a:lnTo>
                    <a:pt x="20" y="26"/>
                  </a:lnTo>
                  <a:lnTo>
                    <a:pt x="20" y="24"/>
                  </a:lnTo>
                  <a:lnTo>
                    <a:pt x="20" y="24"/>
                  </a:lnTo>
                  <a:lnTo>
                    <a:pt x="20" y="22"/>
                  </a:lnTo>
                  <a:lnTo>
                    <a:pt x="20" y="20"/>
                  </a:lnTo>
                  <a:lnTo>
                    <a:pt x="20" y="20"/>
                  </a:lnTo>
                  <a:lnTo>
                    <a:pt x="20" y="16"/>
                  </a:lnTo>
                  <a:lnTo>
                    <a:pt x="20" y="14"/>
                  </a:lnTo>
                  <a:lnTo>
                    <a:pt x="18" y="10"/>
                  </a:lnTo>
                  <a:lnTo>
                    <a:pt x="18" y="8"/>
                  </a:lnTo>
                  <a:lnTo>
                    <a:pt x="22" y="6"/>
                  </a:lnTo>
                  <a:lnTo>
                    <a:pt x="24" y="2"/>
                  </a:lnTo>
                  <a:lnTo>
                    <a:pt x="26" y="2"/>
                  </a:lnTo>
                  <a:lnTo>
                    <a:pt x="28" y="2"/>
                  </a:lnTo>
                  <a:lnTo>
                    <a:pt x="28" y="2"/>
                  </a:lnTo>
                  <a:lnTo>
                    <a:pt x="30" y="0"/>
                  </a:lnTo>
                  <a:lnTo>
                    <a:pt x="34" y="0"/>
                  </a:lnTo>
                  <a:lnTo>
                    <a:pt x="34" y="0"/>
                  </a:lnTo>
                  <a:lnTo>
                    <a:pt x="34" y="0"/>
                  </a:lnTo>
                  <a:lnTo>
                    <a:pt x="36" y="2"/>
                  </a:lnTo>
                  <a:lnTo>
                    <a:pt x="36" y="2"/>
                  </a:lnTo>
                  <a:lnTo>
                    <a:pt x="38" y="4"/>
                  </a:lnTo>
                  <a:lnTo>
                    <a:pt x="40" y="4"/>
                  </a:lnTo>
                  <a:lnTo>
                    <a:pt x="42" y="6"/>
                  </a:lnTo>
                  <a:lnTo>
                    <a:pt x="44" y="6"/>
                  </a:lnTo>
                  <a:lnTo>
                    <a:pt x="44" y="8"/>
                  </a:lnTo>
                  <a:lnTo>
                    <a:pt x="48" y="8"/>
                  </a:lnTo>
                  <a:lnTo>
                    <a:pt x="50" y="8"/>
                  </a:lnTo>
                  <a:lnTo>
                    <a:pt x="52" y="10"/>
                  </a:lnTo>
                  <a:lnTo>
                    <a:pt x="52" y="10"/>
                  </a:lnTo>
                  <a:lnTo>
                    <a:pt x="54" y="10"/>
                  </a:lnTo>
                  <a:lnTo>
                    <a:pt x="54" y="10"/>
                  </a:lnTo>
                  <a:lnTo>
                    <a:pt x="54" y="10"/>
                  </a:lnTo>
                  <a:lnTo>
                    <a:pt x="54" y="12"/>
                  </a:lnTo>
                  <a:lnTo>
                    <a:pt x="54" y="12"/>
                  </a:lnTo>
                  <a:lnTo>
                    <a:pt x="54" y="14"/>
                  </a:lnTo>
                  <a:lnTo>
                    <a:pt x="54" y="14"/>
                  </a:lnTo>
                  <a:lnTo>
                    <a:pt x="52" y="16"/>
                  </a:lnTo>
                  <a:lnTo>
                    <a:pt x="52" y="18"/>
                  </a:lnTo>
                  <a:lnTo>
                    <a:pt x="50" y="20"/>
                  </a:lnTo>
                  <a:lnTo>
                    <a:pt x="50" y="20"/>
                  </a:lnTo>
                  <a:lnTo>
                    <a:pt x="50" y="22"/>
                  </a:lnTo>
                  <a:lnTo>
                    <a:pt x="50" y="22"/>
                  </a:lnTo>
                  <a:lnTo>
                    <a:pt x="50" y="24"/>
                  </a:lnTo>
                  <a:lnTo>
                    <a:pt x="52" y="24"/>
                  </a:lnTo>
                  <a:lnTo>
                    <a:pt x="52" y="26"/>
                  </a:lnTo>
                  <a:lnTo>
                    <a:pt x="52" y="26"/>
                  </a:lnTo>
                  <a:lnTo>
                    <a:pt x="54" y="28"/>
                  </a:lnTo>
                  <a:lnTo>
                    <a:pt x="56" y="30"/>
                  </a:lnTo>
                  <a:lnTo>
                    <a:pt x="56" y="30"/>
                  </a:lnTo>
                  <a:lnTo>
                    <a:pt x="56" y="32"/>
                  </a:lnTo>
                  <a:lnTo>
                    <a:pt x="56" y="34"/>
                  </a:lnTo>
                  <a:lnTo>
                    <a:pt x="56" y="38"/>
                  </a:lnTo>
                  <a:lnTo>
                    <a:pt x="56" y="40"/>
                  </a:lnTo>
                  <a:lnTo>
                    <a:pt x="56" y="42"/>
                  </a:lnTo>
                  <a:lnTo>
                    <a:pt x="56" y="44"/>
                  </a:lnTo>
                  <a:lnTo>
                    <a:pt x="54" y="46"/>
                  </a:lnTo>
                  <a:lnTo>
                    <a:pt x="54" y="48"/>
                  </a:lnTo>
                  <a:lnTo>
                    <a:pt x="54" y="48"/>
                  </a:lnTo>
                  <a:lnTo>
                    <a:pt x="54" y="48"/>
                  </a:lnTo>
                  <a:lnTo>
                    <a:pt x="52" y="48"/>
                  </a:lnTo>
                  <a:lnTo>
                    <a:pt x="52" y="50"/>
                  </a:lnTo>
                  <a:lnTo>
                    <a:pt x="50" y="50"/>
                  </a:lnTo>
                  <a:lnTo>
                    <a:pt x="48" y="50"/>
                  </a:lnTo>
                  <a:lnTo>
                    <a:pt x="48" y="50"/>
                  </a:lnTo>
                  <a:lnTo>
                    <a:pt x="46" y="50"/>
                  </a:lnTo>
                  <a:lnTo>
                    <a:pt x="44" y="50"/>
                  </a:lnTo>
                  <a:lnTo>
                    <a:pt x="44" y="52"/>
                  </a:lnTo>
                  <a:lnTo>
                    <a:pt x="44" y="52"/>
                  </a:lnTo>
                  <a:lnTo>
                    <a:pt x="42" y="52"/>
                  </a:lnTo>
                  <a:lnTo>
                    <a:pt x="42" y="54"/>
                  </a:lnTo>
                  <a:lnTo>
                    <a:pt x="42" y="56"/>
                  </a:lnTo>
                  <a:lnTo>
                    <a:pt x="42" y="58"/>
                  </a:lnTo>
                  <a:lnTo>
                    <a:pt x="42" y="60"/>
                  </a:lnTo>
                  <a:lnTo>
                    <a:pt x="42" y="62"/>
                  </a:lnTo>
                  <a:lnTo>
                    <a:pt x="42" y="64"/>
                  </a:lnTo>
                  <a:lnTo>
                    <a:pt x="42" y="64"/>
                  </a:lnTo>
                  <a:lnTo>
                    <a:pt x="42" y="66"/>
                  </a:lnTo>
                  <a:lnTo>
                    <a:pt x="42" y="66"/>
                  </a:lnTo>
                  <a:lnTo>
                    <a:pt x="44" y="66"/>
                  </a:lnTo>
                  <a:lnTo>
                    <a:pt x="44" y="66"/>
                  </a:lnTo>
                  <a:lnTo>
                    <a:pt x="46" y="66"/>
                  </a:lnTo>
                  <a:lnTo>
                    <a:pt x="46" y="66"/>
                  </a:lnTo>
                  <a:lnTo>
                    <a:pt x="50" y="68"/>
                  </a:lnTo>
                  <a:lnTo>
                    <a:pt x="50" y="68"/>
                  </a:lnTo>
                  <a:lnTo>
                    <a:pt x="52" y="68"/>
                  </a:lnTo>
                  <a:lnTo>
                    <a:pt x="52" y="70"/>
                  </a:lnTo>
                  <a:lnTo>
                    <a:pt x="52" y="70"/>
                  </a:lnTo>
                  <a:lnTo>
                    <a:pt x="54" y="72"/>
                  </a:lnTo>
                  <a:lnTo>
                    <a:pt x="58" y="76"/>
                  </a:lnTo>
                  <a:lnTo>
                    <a:pt x="58" y="78"/>
                  </a:lnTo>
                  <a:lnTo>
                    <a:pt x="58" y="82"/>
                  </a:lnTo>
                  <a:lnTo>
                    <a:pt x="58" y="86"/>
                  </a:lnTo>
                  <a:lnTo>
                    <a:pt x="58" y="88"/>
                  </a:lnTo>
                  <a:lnTo>
                    <a:pt x="56" y="92"/>
                  </a:lnTo>
                  <a:lnTo>
                    <a:pt x="56" y="94"/>
                  </a:lnTo>
                  <a:lnTo>
                    <a:pt x="56" y="96"/>
                  </a:lnTo>
                  <a:lnTo>
                    <a:pt x="56" y="98"/>
                  </a:lnTo>
                  <a:lnTo>
                    <a:pt x="54" y="98"/>
                  </a:lnTo>
                  <a:lnTo>
                    <a:pt x="54" y="98"/>
                  </a:lnTo>
                  <a:lnTo>
                    <a:pt x="52" y="100"/>
                  </a:lnTo>
                  <a:lnTo>
                    <a:pt x="52" y="100"/>
                  </a:lnTo>
                  <a:lnTo>
                    <a:pt x="52" y="100"/>
                  </a:lnTo>
                  <a:lnTo>
                    <a:pt x="48" y="100"/>
                  </a:lnTo>
                  <a:lnTo>
                    <a:pt x="48" y="100"/>
                  </a:lnTo>
                  <a:lnTo>
                    <a:pt x="46" y="100"/>
                  </a:lnTo>
                  <a:lnTo>
                    <a:pt x="42" y="102"/>
                  </a:lnTo>
                  <a:lnTo>
                    <a:pt x="38" y="104"/>
                  </a:lnTo>
                  <a:lnTo>
                    <a:pt x="32" y="10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4" name="Freeform 453">
              <a:extLst>
                <a:ext uri="{FF2B5EF4-FFF2-40B4-BE49-F238E27FC236}">
                  <a16:creationId xmlns:a16="http://schemas.microsoft.com/office/drawing/2014/main" id="{B07C38CC-506E-4D7F-BADB-A0C1E6AA170F}"/>
                </a:ext>
              </a:extLst>
            </p:cNvPr>
            <p:cNvSpPr>
              <a:spLocks/>
            </p:cNvSpPr>
            <p:nvPr/>
          </p:nvSpPr>
          <p:spPr bwMode="auto">
            <a:xfrm>
              <a:off x="4449347" y="3537683"/>
              <a:ext cx="100460" cy="187064"/>
            </a:xfrm>
            <a:custGeom>
              <a:avLst/>
              <a:gdLst>
                <a:gd name="T0" fmla="*/ 28 w 58"/>
                <a:gd name="T1" fmla="*/ 108 h 108"/>
                <a:gd name="T2" fmla="*/ 24 w 58"/>
                <a:gd name="T3" fmla="*/ 106 h 108"/>
                <a:gd name="T4" fmla="*/ 22 w 58"/>
                <a:gd name="T5" fmla="*/ 104 h 108"/>
                <a:gd name="T6" fmla="*/ 22 w 58"/>
                <a:gd name="T7" fmla="*/ 96 h 108"/>
                <a:gd name="T8" fmla="*/ 20 w 58"/>
                <a:gd name="T9" fmla="*/ 92 h 108"/>
                <a:gd name="T10" fmla="*/ 18 w 58"/>
                <a:gd name="T11" fmla="*/ 88 h 108"/>
                <a:gd name="T12" fmla="*/ 10 w 58"/>
                <a:gd name="T13" fmla="*/ 86 h 108"/>
                <a:gd name="T14" fmla="*/ 6 w 58"/>
                <a:gd name="T15" fmla="*/ 84 h 108"/>
                <a:gd name="T16" fmla="*/ 2 w 58"/>
                <a:gd name="T17" fmla="*/ 76 h 108"/>
                <a:gd name="T18" fmla="*/ 0 w 58"/>
                <a:gd name="T19" fmla="*/ 68 h 108"/>
                <a:gd name="T20" fmla="*/ 2 w 58"/>
                <a:gd name="T21" fmla="*/ 60 h 108"/>
                <a:gd name="T22" fmla="*/ 6 w 58"/>
                <a:gd name="T23" fmla="*/ 54 h 108"/>
                <a:gd name="T24" fmla="*/ 12 w 58"/>
                <a:gd name="T25" fmla="*/ 52 h 108"/>
                <a:gd name="T26" fmla="*/ 18 w 58"/>
                <a:gd name="T27" fmla="*/ 50 h 108"/>
                <a:gd name="T28" fmla="*/ 18 w 58"/>
                <a:gd name="T29" fmla="*/ 48 h 108"/>
                <a:gd name="T30" fmla="*/ 16 w 58"/>
                <a:gd name="T31" fmla="*/ 44 h 108"/>
                <a:gd name="T32" fmla="*/ 12 w 58"/>
                <a:gd name="T33" fmla="*/ 38 h 108"/>
                <a:gd name="T34" fmla="*/ 10 w 58"/>
                <a:gd name="T35" fmla="*/ 34 h 108"/>
                <a:gd name="T36" fmla="*/ 12 w 58"/>
                <a:gd name="T37" fmla="*/ 28 h 108"/>
                <a:gd name="T38" fmla="*/ 14 w 58"/>
                <a:gd name="T39" fmla="*/ 26 h 108"/>
                <a:gd name="T40" fmla="*/ 20 w 58"/>
                <a:gd name="T41" fmla="*/ 26 h 108"/>
                <a:gd name="T42" fmla="*/ 20 w 58"/>
                <a:gd name="T43" fmla="*/ 24 h 108"/>
                <a:gd name="T44" fmla="*/ 20 w 58"/>
                <a:gd name="T45" fmla="*/ 16 h 108"/>
                <a:gd name="T46" fmla="*/ 22 w 58"/>
                <a:gd name="T47" fmla="*/ 6 h 108"/>
                <a:gd name="T48" fmla="*/ 28 w 58"/>
                <a:gd name="T49" fmla="*/ 2 h 108"/>
                <a:gd name="T50" fmla="*/ 34 w 58"/>
                <a:gd name="T51" fmla="*/ 0 h 108"/>
                <a:gd name="T52" fmla="*/ 40 w 58"/>
                <a:gd name="T53" fmla="*/ 4 h 108"/>
                <a:gd name="T54" fmla="*/ 48 w 58"/>
                <a:gd name="T55" fmla="*/ 8 h 108"/>
                <a:gd name="T56" fmla="*/ 54 w 58"/>
                <a:gd name="T57" fmla="*/ 10 h 108"/>
                <a:gd name="T58" fmla="*/ 54 w 58"/>
                <a:gd name="T59" fmla="*/ 12 h 108"/>
                <a:gd name="T60" fmla="*/ 52 w 58"/>
                <a:gd name="T61" fmla="*/ 18 h 108"/>
                <a:gd name="T62" fmla="*/ 50 w 58"/>
                <a:gd name="T63" fmla="*/ 22 h 108"/>
                <a:gd name="T64" fmla="*/ 52 w 58"/>
                <a:gd name="T65" fmla="*/ 26 h 108"/>
                <a:gd name="T66" fmla="*/ 56 w 58"/>
                <a:gd name="T67" fmla="*/ 32 h 108"/>
                <a:gd name="T68" fmla="*/ 56 w 58"/>
                <a:gd name="T69" fmla="*/ 42 h 108"/>
                <a:gd name="T70" fmla="*/ 54 w 58"/>
                <a:gd name="T71" fmla="*/ 48 h 108"/>
                <a:gd name="T72" fmla="*/ 50 w 58"/>
                <a:gd name="T73" fmla="*/ 50 h 108"/>
                <a:gd name="T74" fmla="*/ 44 w 58"/>
                <a:gd name="T75" fmla="*/ 50 h 108"/>
                <a:gd name="T76" fmla="*/ 42 w 58"/>
                <a:gd name="T77" fmla="*/ 54 h 108"/>
                <a:gd name="T78" fmla="*/ 42 w 58"/>
                <a:gd name="T79" fmla="*/ 62 h 108"/>
                <a:gd name="T80" fmla="*/ 42 w 58"/>
                <a:gd name="T81" fmla="*/ 66 h 108"/>
                <a:gd name="T82" fmla="*/ 46 w 58"/>
                <a:gd name="T83" fmla="*/ 66 h 108"/>
                <a:gd name="T84" fmla="*/ 52 w 58"/>
                <a:gd name="T85" fmla="*/ 70 h 108"/>
                <a:gd name="T86" fmla="*/ 58 w 58"/>
                <a:gd name="T87" fmla="*/ 78 h 108"/>
                <a:gd name="T88" fmla="*/ 56 w 58"/>
                <a:gd name="T89" fmla="*/ 92 h 108"/>
                <a:gd name="T90" fmla="*/ 54 w 58"/>
                <a:gd name="T91" fmla="*/ 98 h 108"/>
                <a:gd name="T92" fmla="*/ 52 w 58"/>
                <a:gd name="T93" fmla="*/ 100 h 108"/>
                <a:gd name="T94" fmla="*/ 42 w 58"/>
                <a:gd name="T95" fmla="*/ 10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 h="108">
                  <a:moveTo>
                    <a:pt x="32" y="106"/>
                  </a:moveTo>
                  <a:lnTo>
                    <a:pt x="32" y="106"/>
                  </a:lnTo>
                  <a:lnTo>
                    <a:pt x="32" y="106"/>
                  </a:lnTo>
                  <a:lnTo>
                    <a:pt x="28" y="108"/>
                  </a:lnTo>
                  <a:lnTo>
                    <a:pt x="28" y="108"/>
                  </a:lnTo>
                  <a:lnTo>
                    <a:pt x="26" y="108"/>
                  </a:lnTo>
                  <a:lnTo>
                    <a:pt x="24" y="108"/>
                  </a:lnTo>
                  <a:lnTo>
                    <a:pt x="24" y="106"/>
                  </a:lnTo>
                  <a:lnTo>
                    <a:pt x="24" y="106"/>
                  </a:lnTo>
                  <a:lnTo>
                    <a:pt x="24" y="106"/>
                  </a:lnTo>
                  <a:lnTo>
                    <a:pt x="22" y="106"/>
                  </a:lnTo>
                  <a:lnTo>
                    <a:pt x="22" y="104"/>
                  </a:lnTo>
                  <a:lnTo>
                    <a:pt x="22" y="104"/>
                  </a:lnTo>
                  <a:lnTo>
                    <a:pt x="22" y="102"/>
                  </a:lnTo>
                  <a:lnTo>
                    <a:pt x="22" y="98"/>
                  </a:lnTo>
                  <a:lnTo>
                    <a:pt x="22" y="96"/>
                  </a:lnTo>
                  <a:lnTo>
                    <a:pt x="22" y="94"/>
                  </a:lnTo>
                  <a:lnTo>
                    <a:pt x="20" y="92"/>
                  </a:lnTo>
                  <a:lnTo>
                    <a:pt x="20" y="92"/>
                  </a:lnTo>
                  <a:lnTo>
                    <a:pt x="20" y="92"/>
                  </a:lnTo>
                  <a:lnTo>
                    <a:pt x="20" y="90"/>
                  </a:lnTo>
                  <a:lnTo>
                    <a:pt x="20" y="90"/>
                  </a:lnTo>
                  <a:lnTo>
                    <a:pt x="18" y="90"/>
                  </a:lnTo>
                  <a:lnTo>
                    <a:pt x="18" y="88"/>
                  </a:lnTo>
                  <a:lnTo>
                    <a:pt x="16" y="88"/>
                  </a:lnTo>
                  <a:lnTo>
                    <a:pt x="14" y="88"/>
                  </a:lnTo>
                  <a:lnTo>
                    <a:pt x="12" y="88"/>
                  </a:lnTo>
                  <a:lnTo>
                    <a:pt x="10" y="86"/>
                  </a:lnTo>
                  <a:lnTo>
                    <a:pt x="8" y="86"/>
                  </a:lnTo>
                  <a:lnTo>
                    <a:pt x="8" y="86"/>
                  </a:lnTo>
                  <a:lnTo>
                    <a:pt x="8" y="86"/>
                  </a:lnTo>
                  <a:lnTo>
                    <a:pt x="6" y="84"/>
                  </a:lnTo>
                  <a:lnTo>
                    <a:pt x="4" y="82"/>
                  </a:lnTo>
                  <a:lnTo>
                    <a:pt x="4" y="80"/>
                  </a:lnTo>
                  <a:lnTo>
                    <a:pt x="2" y="78"/>
                  </a:lnTo>
                  <a:lnTo>
                    <a:pt x="2" y="76"/>
                  </a:lnTo>
                  <a:lnTo>
                    <a:pt x="2" y="74"/>
                  </a:lnTo>
                  <a:lnTo>
                    <a:pt x="0" y="72"/>
                  </a:lnTo>
                  <a:lnTo>
                    <a:pt x="0" y="70"/>
                  </a:lnTo>
                  <a:lnTo>
                    <a:pt x="0" y="68"/>
                  </a:lnTo>
                  <a:lnTo>
                    <a:pt x="0" y="66"/>
                  </a:lnTo>
                  <a:lnTo>
                    <a:pt x="2" y="64"/>
                  </a:lnTo>
                  <a:lnTo>
                    <a:pt x="2" y="62"/>
                  </a:lnTo>
                  <a:lnTo>
                    <a:pt x="2" y="60"/>
                  </a:lnTo>
                  <a:lnTo>
                    <a:pt x="2" y="58"/>
                  </a:lnTo>
                  <a:lnTo>
                    <a:pt x="4" y="56"/>
                  </a:lnTo>
                  <a:lnTo>
                    <a:pt x="4" y="54"/>
                  </a:lnTo>
                  <a:lnTo>
                    <a:pt x="6" y="54"/>
                  </a:lnTo>
                  <a:lnTo>
                    <a:pt x="6" y="54"/>
                  </a:lnTo>
                  <a:lnTo>
                    <a:pt x="8" y="52"/>
                  </a:lnTo>
                  <a:lnTo>
                    <a:pt x="10" y="52"/>
                  </a:lnTo>
                  <a:lnTo>
                    <a:pt x="12" y="52"/>
                  </a:lnTo>
                  <a:lnTo>
                    <a:pt x="14" y="52"/>
                  </a:lnTo>
                  <a:lnTo>
                    <a:pt x="16" y="52"/>
                  </a:lnTo>
                  <a:lnTo>
                    <a:pt x="18" y="50"/>
                  </a:lnTo>
                  <a:lnTo>
                    <a:pt x="18" y="50"/>
                  </a:lnTo>
                  <a:lnTo>
                    <a:pt x="18" y="50"/>
                  </a:lnTo>
                  <a:lnTo>
                    <a:pt x="18" y="50"/>
                  </a:lnTo>
                  <a:lnTo>
                    <a:pt x="18" y="48"/>
                  </a:lnTo>
                  <a:lnTo>
                    <a:pt x="18" y="48"/>
                  </a:lnTo>
                  <a:lnTo>
                    <a:pt x="18" y="48"/>
                  </a:lnTo>
                  <a:lnTo>
                    <a:pt x="18" y="46"/>
                  </a:lnTo>
                  <a:lnTo>
                    <a:pt x="16" y="46"/>
                  </a:lnTo>
                  <a:lnTo>
                    <a:pt x="16" y="44"/>
                  </a:lnTo>
                  <a:lnTo>
                    <a:pt x="14" y="42"/>
                  </a:lnTo>
                  <a:lnTo>
                    <a:pt x="12" y="40"/>
                  </a:lnTo>
                  <a:lnTo>
                    <a:pt x="12" y="40"/>
                  </a:lnTo>
                  <a:lnTo>
                    <a:pt x="12" y="38"/>
                  </a:lnTo>
                  <a:lnTo>
                    <a:pt x="10" y="38"/>
                  </a:lnTo>
                  <a:lnTo>
                    <a:pt x="10" y="36"/>
                  </a:lnTo>
                  <a:lnTo>
                    <a:pt x="10" y="36"/>
                  </a:lnTo>
                  <a:lnTo>
                    <a:pt x="10" y="34"/>
                  </a:lnTo>
                  <a:lnTo>
                    <a:pt x="12" y="32"/>
                  </a:lnTo>
                  <a:lnTo>
                    <a:pt x="12" y="30"/>
                  </a:lnTo>
                  <a:lnTo>
                    <a:pt x="12" y="28"/>
                  </a:lnTo>
                  <a:lnTo>
                    <a:pt x="12" y="28"/>
                  </a:lnTo>
                  <a:lnTo>
                    <a:pt x="14" y="28"/>
                  </a:lnTo>
                  <a:lnTo>
                    <a:pt x="14" y="26"/>
                  </a:lnTo>
                  <a:lnTo>
                    <a:pt x="14" y="26"/>
                  </a:lnTo>
                  <a:lnTo>
                    <a:pt x="14" y="26"/>
                  </a:lnTo>
                  <a:lnTo>
                    <a:pt x="16" y="26"/>
                  </a:lnTo>
                  <a:lnTo>
                    <a:pt x="18" y="28"/>
                  </a:lnTo>
                  <a:lnTo>
                    <a:pt x="20" y="28"/>
                  </a:lnTo>
                  <a:lnTo>
                    <a:pt x="20" y="26"/>
                  </a:lnTo>
                  <a:lnTo>
                    <a:pt x="20" y="26"/>
                  </a:lnTo>
                  <a:lnTo>
                    <a:pt x="20" y="26"/>
                  </a:lnTo>
                  <a:lnTo>
                    <a:pt x="20" y="24"/>
                  </a:lnTo>
                  <a:lnTo>
                    <a:pt x="20" y="24"/>
                  </a:lnTo>
                  <a:lnTo>
                    <a:pt x="20" y="22"/>
                  </a:lnTo>
                  <a:lnTo>
                    <a:pt x="20" y="20"/>
                  </a:lnTo>
                  <a:lnTo>
                    <a:pt x="20" y="20"/>
                  </a:lnTo>
                  <a:lnTo>
                    <a:pt x="20" y="16"/>
                  </a:lnTo>
                  <a:lnTo>
                    <a:pt x="20" y="14"/>
                  </a:lnTo>
                  <a:lnTo>
                    <a:pt x="18" y="10"/>
                  </a:lnTo>
                  <a:lnTo>
                    <a:pt x="18" y="8"/>
                  </a:lnTo>
                  <a:lnTo>
                    <a:pt x="22" y="6"/>
                  </a:lnTo>
                  <a:lnTo>
                    <a:pt x="24" y="2"/>
                  </a:lnTo>
                  <a:lnTo>
                    <a:pt x="26" y="2"/>
                  </a:lnTo>
                  <a:lnTo>
                    <a:pt x="28" y="2"/>
                  </a:lnTo>
                  <a:lnTo>
                    <a:pt x="28" y="2"/>
                  </a:lnTo>
                  <a:lnTo>
                    <a:pt x="30" y="0"/>
                  </a:lnTo>
                  <a:lnTo>
                    <a:pt x="34" y="0"/>
                  </a:lnTo>
                  <a:lnTo>
                    <a:pt x="34" y="0"/>
                  </a:lnTo>
                  <a:lnTo>
                    <a:pt x="34" y="0"/>
                  </a:lnTo>
                  <a:lnTo>
                    <a:pt x="36" y="2"/>
                  </a:lnTo>
                  <a:lnTo>
                    <a:pt x="36" y="2"/>
                  </a:lnTo>
                  <a:lnTo>
                    <a:pt x="38" y="4"/>
                  </a:lnTo>
                  <a:lnTo>
                    <a:pt x="40" y="4"/>
                  </a:lnTo>
                  <a:lnTo>
                    <a:pt x="42" y="6"/>
                  </a:lnTo>
                  <a:lnTo>
                    <a:pt x="44" y="6"/>
                  </a:lnTo>
                  <a:lnTo>
                    <a:pt x="44" y="8"/>
                  </a:lnTo>
                  <a:lnTo>
                    <a:pt x="48" y="8"/>
                  </a:lnTo>
                  <a:lnTo>
                    <a:pt x="50" y="8"/>
                  </a:lnTo>
                  <a:lnTo>
                    <a:pt x="52" y="10"/>
                  </a:lnTo>
                  <a:lnTo>
                    <a:pt x="52" y="10"/>
                  </a:lnTo>
                  <a:lnTo>
                    <a:pt x="54" y="10"/>
                  </a:lnTo>
                  <a:lnTo>
                    <a:pt x="54" y="10"/>
                  </a:lnTo>
                  <a:lnTo>
                    <a:pt x="54" y="10"/>
                  </a:lnTo>
                  <a:lnTo>
                    <a:pt x="54" y="12"/>
                  </a:lnTo>
                  <a:lnTo>
                    <a:pt x="54" y="12"/>
                  </a:lnTo>
                  <a:lnTo>
                    <a:pt x="54" y="14"/>
                  </a:lnTo>
                  <a:lnTo>
                    <a:pt x="54" y="14"/>
                  </a:lnTo>
                  <a:lnTo>
                    <a:pt x="52" y="16"/>
                  </a:lnTo>
                  <a:lnTo>
                    <a:pt x="52" y="18"/>
                  </a:lnTo>
                  <a:lnTo>
                    <a:pt x="50" y="20"/>
                  </a:lnTo>
                  <a:lnTo>
                    <a:pt x="50" y="20"/>
                  </a:lnTo>
                  <a:lnTo>
                    <a:pt x="50" y="22"/>
                  </a:lnTo>
                  <a:lnTo>
                    <a:pt x="50" y="22"/>
                  </a:lnTo>
                  <a:lnTo>
                    <a:pt x="50" y="24"/>
                  </a:lnTo>
                  <a:lnTo>
                    <a:pt x="52" y="24"/>
                  </a:lnTo>
                  <a:lnTo>
                    <a:pt x="52" y="26"/>
                  </a:lnTo>
                  <a:lnTo>
                    <a:pt x="52" y="26"/>
                  </a:lnTo>
                  <a:lnTo>
                    <a:pt x="54" y="28"/>
                  </a:lnTo>
                  <a:lnTo>
                    <a:pt x="56" y="30"/>
                  </a:lnTo>
                  <a:lnTo>
                    <a:pt x="56" y="30"/>
                  </a:lnTo>
                  <a:lnTo>
                    <a:pt x="56" y="32"/>
                  </a:lnTo>
                  <a:lnTo>
                    <a:pt x="56" y="34"/>
                  </a:lnTo>
                  <a:lnTo>
                    <a:pt x="56" y="38"/>
                  </a:lnTo>
                  <a:lnTo>
                    <a:pt x="56" y="40"/>
                  </a:lnTo>
                  <a:lnTo>
                    <a:pt x="56" y="42"/>
                  </a:lnTo>
                  <a:lnTo>
                    <a:pt x="56" y="44"/>
                  </a:lnTo>
                  <a:lnTo>
                    <a:pt x="54" y="46"/>
                  </a:lnTo>
                  <a:lnTo>
                    <a:pt x="54" y="48"/>
                  </a:lnTo>
                  <a:lnTo>
                    <a:pt x="54" y="48"/>
                  </a:lnTo>
                  <a:lnTo>
                    <a:pt x="54" y="48"/>
                  </a:lnTo>
                  <a:lnTo>
                    <a:pt x="52" y="48"/>
                  </a:lnTo>
                  <a:lnTo>
                    <a:pt x="52" y="50"/>
                  </a:lnTo>
                  <a:lnTo>
                    <a:pt x="50" y="50"/>
                  </a:lnTo>
                  <a:lnTo>
                    <a:pt x="48" y="50"/>
                  </a:lnTo>
                  <a:lnTo>
                    <a:pt x="48" y="50"/>
                  </a:lnTo>
                  <a:lnTo>
                    <a:pt x="46" y="50"/>
                  </a:lnTo>
                  <a:lnTo>
                    <a:pt x="44" y="50"/>
                  </a:lnTo>
                  <a:lnTo>
                    <a:pt x="44" y="52"/>
                  </a:lnTo>
                  <a:lnTo>
                    <a:pt x="44" y="52"/>
                  </a:lnTo>
                  <a:lnTo>
                    <a:pt x="42" y="52"/>
                  </a:lnTo>
                  <a:lnTo>
                    <a:pt x="42" y="54"/>
                  </a:lnTo>
                  <a:lnTo>
                    <a:pt x="42" y="56"/>
                  </a:lnTo>
                  <a:lnTo>
                    <a:pt x="42" y="58"/>
                  </a:lnTo>
                  <a:lnTo>
                    <a:pt x="42" y="60"/>
                  </a:lnTo>
                  <a:lnTo>
                    <a:pt x="42" y="62"/>
                  </a:lnTo>
                  <a:lnTo>
                    <a:pt x="42" y="64"/>
                  </a:lnTo>
                  <a:lnTo>
                    <a:pt x="42" y="64"/>
                  </a:lnTo>
                  <a:lnTo>
                    <a:pt x="42" y="66"/>
                  </a:lnTo>
                  <a:lnTo>
                    <a:pt x="42" y="66"/>
                  </a:lnTo>
                  <a:lnTo>
                    <a:pt x="44" y="66"/>
                  </a:lnTo>
                  <a:lnTo>
                    <a:pt x="44" y="66"/>
                  </a:lnTo>
                  <a:lnTo>
                    <a:pt x="46" y="66"/>
                  </a:lnTo>
                  <a:lnTo>
                    <a:pt x="46" y="66"/>
                  </a:lnTo>
                  <a:lnTo>
                    <a:pt x="50" y="68"/>
                  </a:lnTo>
                  <a:lnTo>
                    <a:pt x="50" y="68"/>
                  </a:lnTo>
                  <a:lnTo>
                    <a:pt x="52" y="68"/>
                  </a:lnTo>
                  <a:lnTo>
                    <a:pt x="52" y="70"/>
                  </a:lnTo>
                  <a:lnTo>
                    <a:pt x="52" y="70"/>
                  </a:lnTo>
                  <a:lnTo>
                    <a:pt x="54" y="72"/>
                  </a:lnTo>
                  <a:lnTo>
                    <a:pt x="58" y="76"/>
                  </a:lnTo>
                  <a:lnTo>
                    <a:pt x="58" y="78"/>
                  </a:lnTo>
                  <a:lnTo>
                    <a:pt x="58" y="82"/>
                  </a:lnTo>
                  <a:lnTo>
                    <a:pt x="58" y="86"/>
                  </a:lnTo>
                  <a:lnTo>
                    <a:pt x="58" y="88"/>
                  </a:lnTo>
                  <a:lnTo>
                    <a:pt x="56" y="92"/>
                  </a:lnTo>
                  <a:lnTo>
                    <a:pt x="56" y="94"/>
                  </a:lnTo>
                  <a:lnTo>
                    <a:pt x="56" y="96"/>
                  </a:lnTo>
                  <a:lnTo>
                    <a:pt x="56" y="98"/>
                  </a:lnTo>
                  <a:lnTo>
                    <a:pt x="54" y="98"/>
                  </a:lnTo>
                  <a:lnTo>
                    <a:pt x="54" y="98"/>
                  </a:lnTo>
                  <a:lnTo>
                    <a:pt x="52" y="100"/>
                  </a:lnTo>
                  <a:lnTo>
                    <a:pt x="52" y="100"/>
                  </a:lnTo>
                  <a:lnTo>
                    <a:pt x="52" y="100"/>
                  </a:lnTo>
                  <a:lnTo>
                    <a:pt x="48" y="100"/>
                  </a:lnTo>
                  <a:lnTo>
                    <a:pt x="48" y="100"/>
                  </a:lnTo>
                  <a:lnTo>
                    <a:pt x="46" y="100"/>
                  </a:lnTo>
                  <a:lnTo>
                    <a:pt x="42" y="102"/>
                  </a:lnTo>
                  <a:lnTo>
                    <a:pt x="38" y="104"/>
                  </a:lnTo>
                  <a:lnTo>
                    <a:pt x="32" y="10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5" name="Freeform 454">
              <a:extLst>
                <a:ext uri="{FF2B5EF4-FFF2-40B4-BE49-F238E27FC236}">
                  <a16:creationId xmlns:a16="http://schemas.microsoft.com/office/drawing/2014/main" id="{0C812931-E2AF-4E9C-BC70-08B94BE0E86F}"/>
                </a:ext>
              </a:extLst>
            </p:cNvPr>
            <p:cNvSpPr>
              <a:spLocks/>
            </p:cNvSpPr>
            <p:nvPr/>
          </p:nvSpPr>
          <p:spPr bwMode="auto">
            <a:xfrm>
              <a:off x="3981687" y="3589645"/>
              <a:ext cx="259811" cy="245955"/>
            </a:xfrm>
            <a:custGeom>
              <a:avLst/>
              <a:gdLst>
                <a:gd name="T0" fmla="*/ 120 w 150"/>
                <a:gd name="T1" fmla="*/ 16 h 142"/>
                <a:gd name="T2" fmla="*/ 128 w 150"/>
                <a:gd name="T3" fmla="*/ 16 h 142"/>
                <a:gd name="T4" fmla="*/ 142 w 150"/>
                <a:gd name="T5" fmla="*/ 20 h 142"/>
                <a:gd name="T6" fmla="*/ 148 w 150"/>
                <a:gd name="T7" fmla="*/ 26 h 142"/>
                <a:gd name="T8" fmla="*/ 146 w 150"/>
                <a:gd name="T9" fmla="*/ 30 h 142"/>
                <a:gd name="T10" fmla="*/ 140 w 150"/>
                <a:gd name="T11" fmla="*/ 38 h 142"/>
                <a:gd name="T12" fmla="*/ 140 w 150"/>
                <a:gd name="T13" fmla="*/ 42 h 142"/>
                <a:gd name="T14" fmla="*/ 146 w 150"/>
                <a:gd name="T15" fmla="*/ 44 h 142"/>
                <a:gd name="T16" fmla="*/ 150 w 150"/>
                <a:gd name="T17" fmla="*/ 48 h 142"/>
                <a:gd name="T18" fmla="*/ 148 w 150"/>
                <a:gd name="T19" fmla="*/ 60 h 142"/>
                <a:gd name="T20" fmla="*/ 144 w 150"/>
                <a:gd name="T21" fmla="*/ 68 h 142"/>
                <a:gd name="T22" fmla="*/ 140 w 150"/>
                <a:gd name="T23" fmla="*/ 72 h 142"/>
                <a:gd name="T24" fmla="*/ 130 w 150"/>
                <a:gd name="T25" fmla="*/ 72 h 142"/>
                <a:gd name="T26" fmla="*/ 126 w 150"/>
                <a:gd name="T27" fmla="*/ 74 h 142"/>
                <a:gd name="T28" fmla="*/ 124 w 150"/>
                <a:gd name="T29" fmla="*/ 80 h 142"/>
                <a:gd name="T30" fmla="*/ 124 w 150"/>
                <a:gd name="T31" fmla="*/ 84 h 142"/>
                <a:gd name="T32" fmla="*/ 130 w 150"/>
                <a:gd name="T33" fmla="*/ 88 h 142"/>
                <a:gd name="T34" fmla="*/ 130 w 150"/>
                <a:gd name="T35" fmla="*/ 94 h 142"/>
                <a:gd name="T36" fmla="*/ 120 w 150"/>
                <a:gd name="T37" fmla="*/ 102 h 142"/>
                <a:gd name="T38" fmla="*/ 110 w 150"/>
                <a:gd name="T39" fmla="*/ 110 h 142"/>
                <a:gd name="T40" fmla="*/ 98 w 150"/>
                <a:gd name="T41" fmla="*/ 120 h 142"/>
                <a:gd name="T42" fmla="*/ 88 w 150"/>
                <a:gd name="T43" fmla="*/ 126 h 142"/>
                <a:gd name="T44" fmla="*/ 80 w 150"/>
                <a:gd name="T45" fmla="*/ 126 h 142"/>
                <a:gd name="T46" fmla="*/ 76 w 150"/>
                <a:gd name="T47" fmla="*/ 130 h 142"/>
                <a:gd name="T48" fmla="*/ 74 w 150"/>
                <a:gd name="T49" fmla="*/ 134 h 142"/>
                <a:gd name="T50" fmla="*/ 66 w 150"/>
                <a:gd name="T51" fmla="*/ 132 h 142"/>
                <a:gd name="T52" fmla="*/ 64 w 150"/>
                <a:gd name="T53" fmla="*/ 132 h 142"/>
                <a:gd name="T54" fmla="*/ 62 w 150"/>
                <a:gd name="T55" fmla="*/ 136 h 142"/>
                <a:gd name="T56" fmla="*/ 62 w 150"/>
                <a:gd name="T57" fmla="*/ 140 h 142"/>
                <a:gd name="T58" fmla="*/ 56 w 150"/>
                <a:gd name="T59" fmla="*/ 142 h 142"/>
                <a:gd name="T60" fmla="*/ 46 w 150"/>
                <a:gd name="T61" fmla="*/ 140 h 142"/>
                <a:gd name="T62" fmla="*/ 48 w 150"/>
                <a:gd name="T63" fmla="*/ 134 h 142"/>
                <a:gd name="T64" fmla="*/ 44 w 150"/>
                <a:gd name="T65" fmla="*/ 132 h 142"/>
                <a:gd name="T66" fmla="*/ 0 w 150"/>
                <a:gd name="T67" fmla="*/ 134 h 142"/>
                <a:gd name="T68" fmla="*/ 10 w 150"/>
                <a:gd name="T69" fmla="*/ 120 h 142"/>
                <a:gd name="T70" fmla="*/ 16 w 150"/>
                <a:gd name="T71" fmla="*/ 118 h 142"/>
                <a:gd name="T72" fmla="*/ 24 w 150"/>
                <a:gd name="T73" fmla="*/ 110 h 142"/>
                <a:gd name="T74" fmla="*/ 28 w 150"/>
                <a:gd name="T75" fmla="*/ 98 h 142"/>
                <a:gd name="T76" fmla="*/ 30 w 150"/>
                <a:gd name="T77" fmla="*/ 66 h 142"/>
                <a:gd name="T78" fmla="*/ 34 w 150"/>
                <a:gd name="T79" fmla="*/ 52 h 142"/>
                <a:gd name="T80" fmla="*/ 38 w 150"/>
                <a:gd name="T81" fmla="*/ 50 h 142"/>
                <a:gd name="T82" fmla="*/ 42 w 150"/>
                <a:gd name="T83" fmla="*/ 52 h 142"/>
                <a:gd name="T84" fmla="*/ 44 w 150"/>
                <a:gd name="T85" fmla="*/ 48 h 142"/>
                <a:gd name="T86" fmla="*/ 44 w 150"/>
                <a:gd name="T87" fmla="*/ 42 h 142"/>
                <a:gd name="T88" fmla="*/ 50 w 150"/>
                <a:gd name="T89" fmla="*/ 40 h 142"/>
                <a:gd name="T90" fmla="*/ 62 w 150"/>
                <a:gd name="T91" fmla="*/ 42 h 142"/>
                <a:gd name="T92" fmla="*/ 68 w 150"/>
                <a:gd name="T93" fmla="*/ 40 h 142"/>
                <a:gd name="T94" fmla="*/ 68 w 150"/>
                <a:gd name="T95" fmla="*/ 34 h 142"/>
                <a:gd name="T96" fmla="*/ 68 w 150"/>
                <a:gd name="T97" fmla="*/ 28 h 142"/>
                <a:gd name="T98" fmla="*/ 76 w 150"/>
                <a:gd name="T99" fmla="*/ 20 h 142"/>
                <a:gd name="T100" fmla="*/ 82 w 150"/>
                <a:gd name="T101" fmla="*/ 8 h 142"/>
                <a:gd name="T102" fmla="*/ 84 w 150"/>
                <a:gd name="T103" fmla="*/ 0 h 142"/>
                <a:gd name="T104" fmla="*/ 88 w 150"/>
                <a:gd name="T105" fmla="*/ 0 h 142"/>
                <a:gd name="T106" fmla="*/ 96 w 150"/>
                <a:gd name="T107" fmla="*/ 6 h 142"/>
                <a:gd name="T108" fmla="*/ 104 w 150"/>
                <a:gd name="T109" fmla="*/ 8 h 142"/>
                <a:gd name="T110" fmla="*/ 112 w 150"/>
                <a:gd name="T111" fmla="*/ 10 h 142"/>
                <a:gd name="T112" fmla="*/ 118 w 150"/>
                <a:gd name="T113"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142">
                  <a:moveTo>
                    <a:pt x="120" y="18"/>
                  </a:moveTo>
                  <a:lnTo>
                    <a:pt x="120" y="18"/>
                  </a:lnTo>
                  <a:lnTo>
                    <a:pt x="120" y="18"/>
                  </a:lnTo>
                  <a:lnTo>
                    <a:pt x="120" y="18"/>
                  </a:lnTo>
                  <a:lnTo>
                    <a:pt x="120" y="16"/>
                  </a:lnTo>
                  <a:lnTo>
                    <a:pt x="120" y="16"/>
                  </a:lnTo>
                  <a:lnTo>
                    <a:pt x="122" y="16"/>
                  </a:lnTo>
                  <a:lnTo>
                    <a:pt x="124" y="16"/>
                  </a:lnTo>
                  <a:lnTo>
                    <a:pt x="124" y="16"/>
                  </a:lnTo>
                  <a:lnTo>
                    <a:pt x="128" y="16"/>
                  </a:lnTo>
                  <a:lnTo>
                    <a:pt x="130" y="16"/>
                  </a:lnTo>
                  <a:lnTo>
                    <a:pt x="134" y="16"/>
                  </a:lnTo>
                  <a:lnTo>
                    <a:pt x="136" y="16"/>
                  </a:lnTo>
                  <a:lnTo>
                    <a:pt x="138" y="16"/>
                  </a:lnTo>
                  <a:lnTo>
                    <a:pt x="142" y="20"/>
                  </a:lnTo>
                  <a:lnTo>
                    <a:pt x="144" y="22"/>
                  </a:lnTo>
                  <a:lnTo>
                    <a:pt x="146" y="24"/>
                  </a:lnTo>
                  <a:lnTo>
                    <a:pt x="146" y="24"/>
                  </a:lnTo>
                  <a:lnTo>
                    <a:pt x="146" y="26"/>
                  </a:lnTo>
                  <a:lnTo>
                    <a:pt x="148" y="26"/>
                  </a:lnTo>
                  <a:lnTo>
                    <a:pt x="148" y="26"/>
                  </a:lnTo>
                  <a:lnTo>
                    <a:pt x="148" y="28"/>
                  </a:lnTo>
                  <a:lnTo>
                    <a:pt x="148" y="28"/>
                  </a:lnTo>
                  <a:lnTo>
                    <a:pt x="146" y="28"/>
                  </a:lnTo>
                  <a:lnTo>
                    <a:pt x="146" y="30"/>
                  </a:lnTo>
                  <a:lnTo>
                    <a:pt x="144" y="32"/>
                  </a:lnTo>
                  <a:lnTo>
                    <a:pt x="144" y="34"/>
                  </a:lnTo>
                  <a:lnTo>
                    <a:pt x="142" y="36"/>
                  </a:lnTo>
                  <a:lnTo>
                    <a:pt x="140" y="38"/>
                  </a:lnTo>
                  <a:lnTo>
                    <a:pt x="140" y="38"/>
                  </a:lnTo>
                  <a:lnTo>
                    <a:pt x="140" y="40"/>
                  </a:lnTo>
                  <a:lnTo>
                    <a:pt x="140" y="40"/>
                  </a:lnTo>
                  <a:lnTo>
                    <a:pt x="140" y="40"/>
                  </a:lnTo>
                  <a:lnTo>
                    <a:pt x="140" y="42"/>
                  </a:lnTo>
                  <a:lnTo>
                    <a:pt x="140" y="42"/>
                  </a:lnTo>
                  <a:lnTo>
                    <a:pt x="142" y="42"/>
                  </a:lnTo>
                  <a:lnTo>
                    <a:pt x="142" y="42"/>
                  </a:lnTo>
                  <a:lnTo>
                    <a:pt x="144" y="44"/>
                  </a:lnTo>
                  <a:lnTo>
                    <a:pt x="146" y="44"/>
                  </a:lnTo>
                  <a:lnTo>
                    <a:pt x="146" y="44"/>
                  </a:lnTo>
                  <a:lnTo>
                    <a:pt x="148" y="44"/>
                  </a:lnTo>
                  <a:lnTo>
                    <a:pt x="148" y="46"/>
                  </a:lnTo>
                  <a:lnTo>
                    <a:pt x="148" y="46"/>
                  </a:lnTo>
                  <a:lnTo>
                    <a:pt x="150" y="46"/>
                  </a:lnTo>
                  <a:lnTo>
                    <a:pt x="150" y="48"/>
                  </a:lnTo>
                  <a:lnTo>
                    <a:pt x="150" y="50"/>
                  </a:lnTo>
                  <a:lnTo>
                    <a:pt x="150" y="52"/>
                  </a:lnTo>
                  <a:lnTo>
                    <a:pt x="150" y="54"/>
                  </a:lnTo>
                  <a:lnTo>
                    <a:pt x="150" y="56"/>
                  </a:lnTo>
                  <a:lnTo>
                    <a:pt x="148" y="60"/>
                  </a:lnTo>
                  <a:lnTo>
                    <a:pt x="148" y="62"/>
                  </a:lnTo>
                  <a:lnTo>
                    <a:pt x="146" y="64"/>
                  </a:lnTo>
                  <a:lnTo>
                    <a:pt x="146" y="66"/>
                  </a:lnTo>
                  <a:lnTo>
                    <a:pt x="146" y="68"/>
                  </a:lnTo>
                  <a:lnTo>
                    <a:pt x="144" y="68"/>
                  </a:lnTo>
                  <a:lnTo>
                    <a:pt x="144" y="70"/>
                  </a:lnTo>
                  <a:lnTo>
                    <a:pt x="142" y="72"/>
                  </a:lnTo>
                  <a:lnTo>
                    <a:pt x="142" y="72"/>
                  </a:lnTo>
                  <a:lnTo>
                    <a:pt x="140" y="72"/>
                  </a:lnTo>
                  <a:lnTo>
                    <a:pt x="140" y="72"/>
                  </a:lnTo>
                  <a:lnTo>
                    <a:pt x="140" y="72"/>
                  </a:lnTo>
                  <a:lnTo>
                    <a:pt x="136" y="72"/>
                  </a:lnTo>
                  <a:lnTo>
                    <a:pt x="134" y="72"/>
                  </a:lnTo>
                  <a:lnTo>
                    <a:pt x="132" y="72"/>
                  </a:lnTo>
                  <a:lnTo>
                    <a:pt x="130" y="72"/>
                  </a:lnTo>
                  <a:lnTo>
                    <a:pt x="128" y="72"/>
                  </a:lnTo>
                  <a:lnTo>
                    <a:pt x="128" y="72"/>
                  </a:lnTo>
                  <a:lnTo>
                    <a:pt x="126" y="72"/>
                  </a:lnTo>
                  <a:lnTo>
                    <a:pt x="126" y="72"/>
                  </a:lnTo>
                  <a:lnTo>
                    <a:pt x="126" y="74"/>
                  </a:lnTo>
                  <a:lnTo>
                    <a:pt x="124" y="74"/>
                  </a:lnTo>
                  <a:lnTo>
                    <a:pt x="124" y="76"/>
                  </a:lnTo>
                  <a:lnTo>
                    <a:pt x="124" y="78"/>
                  </a:lnTo>
                  <a:lnTo>
                    <a:pt x="124" y="78"/>
                  </a:lnTo>
                  <a:lnTo>
                    <a:pt x="124" y="80"/>
                  </a:lnTo>
                  <a:lnTo>
                    <a:pt x="124" y="82"/>
                  </a:lnTo>
                  <a:lnTo>
                    <a:pt x="124" y="82"/>
                  </a:lnTo>
                  <a:lnTo>
                    <a:pt x="124" y="82"/>
                  </a:lnTo>
                  <a:lnTo>
                    <a:pt x="124" y="84"/>
                  </a:lnTo>
                  <a:lnTo>
                    <a:pt x="124" y="84"/>
                  </a:lnTo>
                  <a:lnTo>
                    <a:pt x="126" y="86"/>
                  </a:lnTo>
                  <a:lnTo>
                    <a:pt x="128" y="86"/>
                  </a:lnTo>
                  <a:lnTo>
                    <a:pt x="128" y="88"/>
                  </a:lnTo>
                  <a:lnTo>
                    <a:pt x="130" y="88"/>
                  </a:lnTo>
                  <a:lnTo>
                    <a:pt x="130" y="88"/>
                  </a:lnTo>
                  <a:lnTo>
                    <a:pt x="130" y="90"/>
                  </a:lnTo>
                  <a:lnTo>
                    <a:pt x="132" y="90"/>
                  </a:lnTo>
                  <a:lnTo>
                    <a:pt x="130" y="92"/>
                  </a:lnTo>
                  <a:lnTo>
                    <a:pt x="130" y="92"/>
                  </a:lnTo>
                  <a:lnTo>
                    <a:pt x="130" y="94"/>
                  </a:lnTo>
                  <a:lnTo>
                    <a:pt x="128" y="94"/>
                  </a:lnTo>
                  <a:lnTo>
                    <a:pt x="128" y="96"/>
                  </a:lnTo>
                  <a:lnTo>
                    <a:pt x="126" y="96"/>
                  </a:lnTo>
                  <a:lnTo>
                    <a:pt x="124" y="100"/>
                  </a:lnTo>
                  <a:lnTo>
                    <a:pt x="120" y="102"/>
                  </a:lnTo>
                  <a:lnTo>
                    <a:pt x="118" y="102"/>
                  </a:lnTo>
                  <a:lnTo>
                    <a:pt x="114" y="104"/>
                  </a:lnTo>
                  <a:lnTo>
                    <a:pt x="114" y="106"/>
                  </a:lnTo>
                  <a:lnTo>
                    <a:pt x="112" y="106"/>
                  </a:lnTo>
                  <a:lnTo>
                    <a:pt x="110" y="110"/>
                  </a:lnTo>
                  <a:lnTo>
                    <a:pt x="106" y="112"/>
                  </a:lnTo>
                  <a:lnTo>
                    <a:pt x="102" y="116"/>
                  </a:lnTo>
                  <a:lnTo>
                    <a:pt x="102" y="118"/>
                  </a:lnTo>
                  <a:lnTo>
                    <a:pt x="100" y="120"/>
                  </a:lnTo>
                  <a:lnTo>
                    <a:pt x="98" y="120"/>
                  </a:lnTo>
                  <a:lnTo>
                    <a:pt x="94" y="122"/>
                  </a:lnTo>
                  <a:lnTo>
                    <a:pt x="92" y="124"/>
                  </a:lnTo>
                  <a:lnTo>
                    <a:pt x="90" y="126"/>
                  </a:lnTo>
                  <a:lnTo>
                    <a:pt x="88" y="126"/>
                  </a:lnTo>
                  <a:lnTo>
                    <a:pt x="88" y="126"/>
                  </a:lnTo>
                  <a:lnTo>
                    <a:pt x="86" y="126"/>
                  </a:lnTo>
                  <a:lnTo>
                    <a:pt x="84" y="126"/>
                  </a:lnTo>
                  <a:lnTo>
                    <a:pt x="82" y="126"/>
                  </a:lnTo>
                  <a:lnTo>
                    <a:pt x="80" y="126"/>
                  </a:lnTo>
                  <a:lnTo>
                    <a:pt x="80" y="126"/>
                  </a:lnTo>
                  <a:lnTo>
                    <a:pt x="78" y="126"/>
                  </a:lnTo>
                  <a:lnTo>
                    <a:pt x="78" y="126"/>
                  </a:lnTo>
                  <a:lnTo>
                    <a:pt x="78" y="126"/>
                  </a:lnTo>
                  <a:lnTo>
                    <a:pt x="76" y="130"/>
                  </a:lnTo>
                  <a:lnTo>
                    <a:pt x="76" y="130"/>
                  </a:lnTo>
                  <a:lnTo>
                    <a:pt x="76" y="132"/>
                  </a:lnTo>
                  <a:lnTo>
                    <a:pt x="76" y="132"/>
                  </a:lnTo>
                  <a:lnTo>
                    <a:pt x="74" y="132"/>
                  </a:lnTo>
                  <a:lnTo>
                    <a:pt x="74" y="134"/>
                  </a:lnTo>
                  <a:lnTo>
                    <a:pt x="74" y="134"/>
                  </a:lnTo>
                  <a:lnTo>
                    <a:pt x="74" y="134"/>
                  </a:lnTo>
                  <a:lnTo>
                    <a:pt x="72" y="134"/>
                  </a:lnTo>
                  <a:lnTo>
                    <a:pt x="70" y="132"/>
                  </a:lnTo>
                  <a:lnTo>
                    <a:pt x="68" y="132"/>
                  </a:lnTo>
                  <a:lnTo>
                    <a:pt x="66" y="132"/>
                  </a:lnTo>
                  <a:lnTo>
                    <a:pt x="66" y="132"/>
                  </a:lnTo>
                  <a:lnTo>
                    <a:pt x="64" y="132"/>
                  </a:lnTo>
                  <a:lnTo>
                    <a:pt x="64" y="132"/>
                  </a:lnTo>
                  <a:lnTo>
                    <a:pt x="64" y="132"/>
                  </a:lnTo>
                  <a:lnTo>
                    <a:pt x="64" y="132"/>
                  </a:lnTo>
                  <a:lnTo>
                    <a:pt x="62" y="132"/>
                  </a:lnTo>
                  <a:lnTo>
                    <a:pt x="62" y="132"/>
                  </a:lnTo>
                  <a:lnTo>
                    <a:pt x="62" y="134"/>
                  </a:lnTo>
                  <a:lnTo>
                    <a:pt x="62" y="134"/>
                  </a:lnTo>
                  <a:lnTo>
                    <a:pt x="62" y="136"/>
                  </a:lnTo>
                  <a:lnTo>
                    <a:pt x="62" y="138"/>
                  </a:lnTo>
                  <a:lnTo>
                    <a:pt x="62" y="138"/>
                  </a:lnTo>
                  <a:lnTo>
                    <a:pt x="62" y="140"/>
                  </a:lnTo>
                  <a:lnTo>
                    <a:pt x="62" y="140"/>
                  </a:lnTo>
                  <a:lnTo>
                    <a:pt x="62" y="140"/>
                  </a:lnTo>
                  <a:lnTo>
                    <a:pt x="62" y="142"/>
                  </a:lnTo>
                  <a:lnTo>
                    <a:pt x="60" y="142"/>
                  </a:lnTo>
                  <a:lnTo>
                    <a:pt x="60" y="142"/>
                  </a:lnTo>
                  <a:lnTo>
                    <a:pt x="58" y="142"/>
                  </a:lnTo>
                  <a:lnTo>
                    <a:pt x="56" y="142"/>
                  </a:lnTo>
                  <a:lnTo>
                    <a:pt x="54" y="142"/>
                  </a:lnTo>
                  <a:lnTo>
                    <a:pt x="50" y="142"/>
                  </a:lnTo>
                  <a:lnTo>
                    <a:pt x="48" y="142"/>
                  </a:lnTo>
                  <a:lnTo>
                    <a:pt x="46" y="142"/>
                  </a:lnTo>
                  <a:lnTo>
                    <a:pt x="46" y="140"/>
                  </a:lnTo>
                  <a:lnTo>
                    <a:pt x="48" y="138"/>
                  </a:lnTo>
                  <a:lnTo>
                    <a:pt x="48" y="136"/>
                  </a:lnTo>
                  <a:lnTo>
                    <a:pt x="48" y="136"/>
                  </a:lnTo>
                  <a:lnTo>
                    <a:pt x="48" y="134"/>
                  </a:lnTo>
                  <a:lnTo>
                    <a:pt x="48" y="134"/>
                  </a:lnTo>
                  <a:lnTo>
                    <a:pt x="48" y="134"/>
                  </a:lnTo>
                  <a:lnTo>
                    <a:pt x="48" y="134"/>
                  </a:lnTo>
                  <a:lnTo>
                    <a:pt x="46" y="134"/>
                  </a:lnTo>
                  <a:lnTo>
                    <a:pt x="46" y="132"/>
                  </a:lnTo>
                  <a:lnTo>
                    <a:pt x="44" y="132"/>
                  </a:lnTo>
                  <a:lnTo>
                    <a:pt x="44" y="132"/>
                  </a:lnTo>
                  <a:lnTo>
                    <a:pt x="40" y="134"/>
                  </a:lnTo>
                  <a:lnTo>
                    <a:pt x="38" y="134"/>
                  </a:lnTo>
                  <a:lnTo>
                    <a:pt x="38" y="134"/>
                  </a:lnTo>
                  <a:lnTo>
                    <a:pt x="0" y="134"/>
                  </a:lnTo>
                  <a:lnTo>
                    <a:pt x="0" y="132"/>
                  </a:lnTo>
                  <a:lnTo>
                    <a:pt x="4" y="128"/>
                  </a:lnTo>
                  <a:lnTo>
                    <a:pt x="6" y="124"/>
                  </a:lnTo>
                  <a:lnTo>
                    <a:pt x="8" y="122"/>
                  </a:lnTo>
                  <a:lnTo>
                    <a:pt x="10" y="120"/>
                  </a:lnTo>
                  <a:lnTo>
                    <a:pt x="10" y="120"/>
                  </a:lnTo>
                  <a:lnTo>
                    <a:pt x="12" y="120"/>
                  </a:lnTo>
                  <a:lnTo>
                    <a:pt x="14" y="118"/>
                  </a:lnTo>
                  <a:lnTo>
                    <a:pt x="16" y="118"/>
                  </a:lnTo>
                  <a:lnTo>
                    <a:pt x="16" y="118"/>
                  </a:lnTo>
                  <a:lnTo>
                    <a:pt x="18" y="118"/>
                  </a:lnTo>
                  <a:lnTo>
                    <a:pt x="20" y="116"/>
                  </a:lnTo>
                  <a:lnTo>
                    <a:pt x="22" y="112"/>
                  </a:lnTo>
                  <a:lnTo>
                    <a:pt x="24" y="110"/>
                  </a:lnTo>
                  <a:lnTo>
                    <a:pt x="24" y="110"/>
                  </a:lnTo>
                  <a:lnTo>
                    <a:pt x="26" y="108"/>
                  </a:lnTo>
                  <a:lnTo>
                    <a:pt x="26" y="106"/>
                  </a:lnTo>
                  <a:lnTo>
                    <a:pt x="26" y="104"/>
                  </a:lnTo>
                  <a:lnTo>
                    <a:pt x="28" y="102"/>
                  </a:lnTo>
                  <a:lnTo>
                    <a:pt x="28" y="98"/>
                  </a:lnTo>
                  <a:lnTo>
                    <a:pt x="28" y="92"/>
                  </a:lnTo>
                  <a:lnTo>
                    <a:pt x="28" y="86"/>
                  </a:lnTo>
                  <a:lnTo>
                    <a:pt x="30" y="74"/>
                  </a:lnTo>
                  <a:lnTo>
                    <a:pt x="30" y="68"/>
                  </a:lnTo>
                  <a:lnTo>
                    <a:pt x="30" y="66"/>
                  </a:lnTo>
                  <a:lnTo>
                    <a:pt x="32" y="64"/>
                  </a:lnTo>
                  <a:lnTo>
                    <a:pt x="32" y="60"/>
                  </a:lnTo>
                  <a:lnTo>
                    <a:pt x="32" y="56"/>
                  </a:lnTo>
                  <a:lnTo>
                    <a:pt x="34" y="54"/>
                  </a:lnTo>
                  <a:lnTo>
                    <a:pt x="34" y="52"/>
                  </a:lnTo>
                  <a:lnTo>
                    <a:pt x="34" y="52"/>
                  </a:lnTo>
                  <a:lnTo>
                    <a:pt x="36" y="50"/>
                  </a:lnTo>
                  <a:lnTo>
                    <a:pt x="36" y="50"/>
                  </a:lnTo>
                  <a:lnTo>
                    <a:pt x="36" y="50"/>
                  </a:lnTo>
                  <a:lnTo>
                    <a:pt x="38" y="50"/>
                  </a:lnTo>
                  <a:lnTo>
                    <a:pt x="38" y="50"/>
                  </a:lnTo>
                  <a:lnTo>
                    <a:pt x="40" y="50"/>
                  </a:lnTo>
                  <a:lnTo>
                    <a:pt x="42" y="52"/>
                  </a:lnTo>
                  <a:lnTo>
                    <a:pt x="42" y="52"/>
                  </a:lnTo>
                  <a:lnTo>
                    <a:pt x="42" y="52"/>
                  </a:lnTo>
                  <a:lnTo>
                    <a:pt x="42" y="52"/>
                  </a:lnTo>
                  <a:lnTo>
                    <a:pt x="44" y="50"/>
                  </a:lnTo>
                  <a:lnTo>
                    <a:pt x="44" y="50"/>
                  </a:lnTo>
                  <a:lnTo>
                    <a:pt x="44" y="50"/>
                  </a:lnTo>
                  <a:lnTo>
                    <a:pt x="44" y="48"/>
                  </a:lnTo>
                  <a:lnTo>
                    <a:pt x="44" y="46"/>
                  </a:lnTo>
                  <a:lnTo>
                    <a:pt x="44" y="44"/>
                  </a:lnTo>
                  <a:lnTo>
                    <a:pt x="44" y="44"/>
                  </a:lnTo>
                  <a:lnTo>
                    <a:pt x="44" y="42"/>
                  </a:lnTo>
                  <a:lnTo>
                    <a:pt x="44" y="42"/>
                  </a:lnTo>
                  <a:lnTo>
                    <a:pt x="44" y="42"/>
                  </a:lnTo>
                  <a:lnTo>
                    <a:pt x="44" y="40"/>
                  </a:lnTo>
                  <a:lnTo>
                    <a:pt x="46" y="40"/>
                  </a:lnTo>
                  <a:lnTo>
                    <a:pt x="48" y="40"/>
                  </a:lnTo>
                  <a:lnTo>
                    <a:pt x="50" y="40"/>
                  </a:lnTo>
                  <a:lnTo>
                    <a:pt x="50" y="40"/>
                  </a:lnTo>
                  <a:lnTo>
                    <a:pt x="52" y="40"/>
                  </a:lnTo>
                  <a:lnTo>
                    <a:pt x="56" y="40"/>
                  </a:lnTo>
                  <a:lnTo>
                    <a:pt x="60" y="40"/>
                  </a:lnTo>
                  <a:lnTo>
                    <a:pt x="62" y="42"/>
                  </a:lnTo>
                  <a:lnTo>
                    <a:pt x="62" y="42"/>
                  </a:lnTo>
                  <a:lnTo>
                    <a:pt x="64" y="42"/>
                  </a:lnTo>
                  <a:lnTo>
                    <a:pt x="66" y="40"/>
                  </a:lnTo>
                  <a:lnTo>
                    <a:pt x="66" y="40"/>
                  </a:lnTo>
                  <a:lnTo>
                    <a:pt x="68" y="40"/>
                  </a:lnTo>
                  <a:lnTo>
                    <a:pt x="68" y="40"/>
                  </a:lnTo>
                  <a:lnTo>
                    <a:pt x="68" y="38"/>
                  </a:lnTo>
                  <a:lnTo>
                    <a:pt x="68" y="38"/>
                  </a:lnTo>
                  <a:lnTo>
                    <a:pt x="68" y="36"/>
                  </a:lnTo>
                  <a:lnTo>
                    <a:pt x="68" y="34"/>
                  </a:lnTo>
                  <a:lnTo>
                    <a:pt x="68" y="30"/>
                  </a:lnTo>
                  <a:lnTo>
                    <a:pt x="68" y="30"/>
                  </a:lnTo>
                  <a:lnTo>
                    <a:pt x="68" y="28"/>
                  </a:lnTo>
                  <a:lnTo>
                    <a:pt x="68" y="28"/>
                  </a:lnTo>
                  <a:lnTo>
                    <a:pt x="68" y="28"/>
                  </a:lnTo>
                  <a:lnTo>
                    <a:pt x="70" y="26"/>
                  </a:lnTo>
                  <a:lnTo>
                    <a:pt x="70" y="24"/>
                  </a:lnTo>
                  <a:lnTo>
                    <a:pt x="72" y="24"/>
                  </a:lnTo>
                  <a:lnTo>
                    <a:pt x="74" y="20"/>
                  </a:lnTo>
                  <a:lnTo>
                    <a:pt x="76" y="20"/>
                  </a:lnTo>
                  <a:lnTo>
                    <a:pt x="76" y="18"/>
                  </a:lnTo>
                  <a:lnTo>
                    <a:pt x="78" y="16"/>
                  </a:lnTo>
                  <a:lnTo>
                    <a:pt x="80" y="14"/>
                  </a:lnTo>
                  <a:lnTo>
                    <a:pt x="82" y="10"/>
                  </a:lnTo>
                  <a:lnTo>
                    <a:pt x="82" y="8"/>
                  </a:lnTo>
                  <a:lnTo>
                    <a:pt x="82" y="6"/>
                  </a:lnTo>
                  <a:lnTo>
                    <a:pt x="84" y="4"/>
                  </a:lnTo>
                  <a:lnTo>
                    <a:pt x="84" y="2"/>
                  </a:lnTo>
                  <a:lnTo>
                    <a:pt x="84" y="0"/>
                  </a:lnTo>
                  <a:lnTo>
                    <a:pt x="84" y="0"/>
                  </a:lnTo>
                  <a:lnTo>
                    <a:pt x="84" y="0"/>
                  </a:lnTo>
                  <a:lnTo>
                    <a:pt x="86" y="0"/>
                  </a:lnTo>
                  <a:lnTo>
                    <a:pt x="86" y="0"/>
                  </a:lnTo>
                  <a:lnTo>
                    <a:pt x="86" y="0"/>
                  </a:lnTo>
                  <a:lnTo>
                    <a:pt x="88" y="0"/>
                  </a:lnTo>
                  <a:lnTo>
                    <a:pt x="88" y="0"/>
                  </a:lnTo>
                  <a:lnTo>
                    <a:pt x="90" y="0"/>
                  </a:lnTo>
                  <a:lnTo>
                    <a:pt x="92" y="2"/>
                  </a:lnTo>
                  <a:lnTo>
                    <a:pt x="94" y="4"/>
                  </a:lnTo>
                  <a:lnTo>
                    <a:pt x="96" y="6"/>
                  </a:lnTo>
                  <a:lnTo>
                    <a:pt x="96" y="6"/>
                  </a:lnTo>
                  <a:lnTo>
                    <a:pt x="96" y="6"/>
                  </a:lnTo>
                  <a:lnTo>
                    <a:pt x="98" y="6"/>
                  </a:lnTo>
                  <a:lnTo>
                    <a:pt x="100" y="8"/>
                  </a:lnTo>
                  <a:lnTo>
                    <a:pt x="104" y="8"/>
                  </a:lnTo>
                  <a:lnTo>
                    <a:pt x="106" y="8"/>
                  </a:lnTo>
                  <a:lnTo>
                    <a:pt x="108" y="8"/>
                  </a:lnTo>
                  <a:lnTo>
                    <a:pt x="110" y="8"/>
                  </a:lnTo>
                  <a:lnTo>
                    <a:pt x="110" y="8"/>
                  </a:lnTo>
                  <a:lnTo>
                    <a:pt x="112" y="10"/>
                  </a:lnTo>
                  <a:lnTo>
                    <a:pt x="114" y="10"/>
                  </a:lnTo>
                  <a:lnTo>
                    <a:pt x="116" y="12"/>
                  </a:lnTo>
                  <a:lnTo>
                    <a:pt x="116" y="14"/>
                  </a:lnTo>
                  <a:lnTo>
                    <a:pt x="118" y="16"/>
                  </a:lnTo>
                  <a:lnTo>
                    <a:pt x="118" y="16"/>
                  </a:lnTo>
                  <a:lnTo>
                    <a:pt x="120" y="16"/>
                  </a:lnTo>
                  <a:lnTo>
                    <a:pt x="120" y="18"/>
                  </a:lnTo>
                  <a:lnTo>
                    <a:pt x="120" y="1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6" name="Freeform 455">
              <a:extLst>
                <a:ext uri="{FF2B5EF4-FFF2-40B4-BE49-F238E27FC236}">
                  <a16:creationId xmlns:a16="http://schemas.microsoft.com/office/drawing/2014/main" id="{E095FEB0-085A-4FE7-9FF9-44B52FF795DE}"/>
                </a:ext>
              </a:extLst>
            </p:cNvPr>
            <p:cNvSpPr>
              <a:spLocks/>
            </p:cNvSpPr>
            <p:nvPr/>
          </p:nvSpPr>
          <p:spPr bwMode="auto">
            <a:xfrm>
              <a:off x="3981687" y="3589645"/>
              <a:ext cx="259811" cy="245955"/>
            </a:xfrm>
            <a:custGeom>
              <a:avLst/>
              <a:gdLst>
                <a:gd name="T0" fmla="*/ 120 w 150"/>
                <a:gd name="T1" fmla="*/ 16 h 142"/>
                <a:gd name="T2" fmla="*/ 128 w 150"/>
                <a:gd name="T3" fmla="*/ 16 h 142"/>
                <a:gd name="T4" fmla="*/ 142 w 150"/>
                <a:gd name="T5" fmla="*/ 20 h 142"/>
                <a:gd name="T6" fmla="*/ 148 w 150"/>
                <a:gd name="T7" fmla="*/ 26 h 142"/>
                <a:gd name="T8" fmla="*/ 146 w 150"/>
                <a:gd name="T9" fmla="*/ 30 h 142"/>
                <a:gd name="T10" fmla="*/ 140 w 150"/>
                <a:gd name="T11" fmla="*/ 38 h 142"/>
                <a:gd name="T12" fmla="*/ 140 w 150"/>
                <a:gd name="T13" fmla="*/ 42 h 142"/>
                <a:gd name="T14" fmla="*/ 146 w 150"/>
                <a:gd name="T15" fmla="*/ 44 h 142"/>
                <a:gd name="T16" fmla="*/ 150 w 150"/>
                <a:gd name="T17" fmla="*/ 48 h 142"/>
                <a:gd name="T18" fmla="*/ 148 w 150"/>
                <a:gd name="T19" fmla="*/ 60 h 142"/>
                <a:gd name="T20" fmla="*/ 144 w 150"/>
                <a:gd name="T21" fmla="*/ 68 h 142"/>
                <a:gd name="T22" fmla="*/ 140 w 150"/>
                <a:gd name="T23" fmla="*/ 72 h 142"/>
                <a:gd name="T24" fmla="*/ 130 w 150"/>
                <a:gd name="T25" fmla="*/ 72 h 142"/>
                <a:gd name="T26" fmla="*/ 126 w 150"/>
                <a:gd name="T27" fmla="*/ 74 h 142"/>
                <a:gd name="T28" fmla="*/ 124 w 150"/>
                <a:gd name="T29" fmla="*/ 80 h 142"/>
                <a:gd name="T30" fmla="*/ 124 w 150"/>
                <a:gd name="T31" fmla="*/ 84 h 142"/>
                <a:gd name="T32" fmla="*/ 130 w 150"/>
                <a:gd name="T33" fmla="*/ 88 h 142"/>
                <a:gd name="T34" fmla="*/ 130 w 150"/>
                <a:gd name="T35" fmla="*/ 94 h 142"/>
                <a:gd name="T36" fmla="*/ 120 w 150"/>
                <a:gd name="T37" fmla="*/ 102 h 142"/>
                <a:gd name="T38" fmla="*/ 110 w 150"/>
                <a:gd name="T39" fmla="*/ 110 h 142"/>
                <a:gd name="T40" fmla="*/ 98 w 150"/>
                <a:gd name="T41" fmla="*/ 120 h 142"/>
                <a:gd name="T42" fmla="*/ 88 w 150"/>
                <a:gd name="T43" fmla="*/ 126 h 142"/>
                <a:gd name="T44" fmla="*/ 80 w 150"/>
                <a:gd name="T45" fmla="*/ 126 h 142"/>
                <a:gd name="T46" fmla="*/ 76 w 150"/>
                <a:gd name="T47" fmla="*/ 130 h 142"/>
                <a:gd name="T48" fmla="*/ 74 w 150"/>
                <a:gd name="T49" fmla="*/ 134 h 142"/>
                <a:gd name="T50" fmla="*/ 66 w 150"/>
                <a:gd name="T51" fmla="*/ 132 h 142"/>
                <a:gd name="T52" fmla="*/ 64 w 150"/>
                <a:gd name="T53" fmla="*/ 132 h 142"/>
                <a:gd name="T54" fmla="*/ 62 w 150"/>
                <a:gd name="T55" fmla="*/ 136 h 142"/>
                <a:gd name="T56" fmla="*/ 62 w 150"/>
                <a:gd name="T57" fmla="*/ 140 h 142"/>
                <a:gd name="T58" fmla="*/ 56 w 150"/>
                <a:gd name="T59" fmla="*/ 142 h 142"/>
                <a:gd name="T60" fmla="*/ 46 w 150"/>
                <a:gd name="T61" fmla="*/ 140 h 142"/>
                <a:gd name="T62" fmla="*/ 48 w 150"/>
                <a:gd name="T63" fmla="*/ 134 h 142"/>
                <a:gd name="T64" fmla="*/ 44 w 150"/>
                <a:gd name="T65" fmla="*/ 132 h 142"/>
                <a:gd name="T66" fmla="*/ 0 w 150"/>
                <a:gd name="T67" fmla="*/ 134 h 142"/>
                <a:gd name="T68" fmla="*/ 10 w 150"/>
                <a:gd name="T69" fmla="*/ 120 h 142"/>
                <a:gd name="T70" fmla="*/ 16 w 150"/>
                <a:gd name="T71" fmla="*/ 118 h 142"/>
                <a:gd name="T72" fmla="*/ 24 w 150"/>
                <a:gd name="T73" fmla="*/ 110 h 142"/>
                <a:gd name="T74" fmla="*/ 28 w 150"/>
                <a:gd name="T75" fmla="*/ 98 h 142"/>
                <a:gd name="T76" fmla="*/ 30 w 150"/>
                <a:gd name="T77" fmla="*/ 66 h 142"/>
                <a:gd name="T78" fmla="*/ 34 w 150"/>
                <a:gd name="T79" fmla="*/ 52 h 142"/>
                <a:gd name="T80" fmla="*/ 38 w 150"/>
                <a:gd name="T81" fmla="*/ 50 h 142"/>
                <a:gd name="T82" fmla="*/ 42 w 150"/>
                <a:gd name="T83" fmla="*/ 52 h 142"/>
                <a:gd name="T84" fmla="*/ 44 w 150"/>
                <a:gd name="T85" fmla="*/ 48 h 142"/>
                <a:gd name="T86" fmla="*/ 44 w 150"/>
                <a:gd name="T87" fmla="*/ 42 h 142"/>
                <a:gd name="T88" fmla="*/ 50 w 150"/>
                <a:gd name="T89" fmla="*/ 40 h 142"/>
                <a:gd name="T90" fmla="*/ 62 w 150"/>
                <a:gd name="T91" fmla="*/ 42 h 142"/>
                <a:gd name="T92" fmla="*/ 68 w 150"/>
                <a:gd name="T93" fmla="*/ 40 h 142"/>
                <a:gd name="T94" fmla="*/ 68 w 150"/>
                <a:gd name="T95" fmla="*/ 34 h 142"/>
                <a:gd name="T96" fmla="*/ 68 w 150"/>
                <a:gd name="T97" fmla="*/ 28 h 142"/>
                <a:gd name="T98" fmla="*/ 76 w 150"/>
                <a:gd name="T99" fmla="*/ 20 h 142"/>
                <a:gd name="T100" fmla="*/ 82 w 150"/>
                <a:gd name="T101" fmla="*/ 8 h 142"/>
                <a:gd name="T102" fmla="*/ 84 w 150"/>
                <a:gd name="T103" fmla="*/ 0 h 142"/>
                <a:gd name="T104" fmla="*/ 88 w 150"/>
                <a:gd name="T105" fmla="*/ 0 h 142"/>
                <a:gd name="T106" fmla="*/ 96 w 150"/>
                <a:gd name="T107" fmla="*/ 6 h 142"/>
                <a:gd name="T108" fmla="*/ 104 w 150"/>
                <a:gd name="T109" fmla="*/ 8 h 142"/>
                <a:gd name="T110" fmla="*/ 112 w 150"/>
                <a:gd name="T111" fmla="*/ 10 h 142"/>
                <a:gd name="T112" fmla="*/ 118 w 150"/>
                <a:gd name="T113"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142">
                  <a:moveTo>
                    <a:pt x="120" y="18"/>
                  </a:moveTo>
                  <a:lnTo>
                    <a:pt x="120" y="18"/>
                  </a:lnTo>
                  <a:lnTo>
                    <a:pt x="120" y="18"/>
                  </a:lnTo>
                  <a:lnTo>
                    <a:pt x="120" y="18"/>
                  </a:lnTo>
                  <a:lnTo>
                    <a:pt x="120" y="16"/>
                  </a:lnTo>
                  <a:lnTo>
                    <a:pt x="120" y="16"/>
                  </a:lnTo>
                  <a:lnTo>
                    <a:pt x="122" y="16"/>
                  </a:lnTo>
                  <a:lnTo>
                    <a:pt x="124" y="16"/>
                  </a:lnTo>
                  <a:lnTo>
                    <a:pt x="124" y="16"/>
                  </a:lnTo>
                  <a:lnTo>
                    <a:pt x="128" y="16"/>
                  </a:lnTo>
                  <a:lnTo>
                    <a:pt x="130" y="16"/>
                  </a:lnTo>
                  <a:lnTo>
                    <a:pt x="134" y="16"/>
                  </a:lnTo>
                  <a:lnTo>
                    <a:pt x="136" y="16"/>
                  </a:lnTo>
                  <a:lnTo>
                    <a:pt x="138" y="16"/>
                  </a:lnTo>
                  <a:lnTo>
                    <a:pt x="142" y="20"/>
                  </a:lnTo>
                  <a:lnTo>
                    <a:pt x="144" y="22"/>
                  </a:lnTo>
                  <a:lnTo>
                    <a:pt x="146" y="24"/>
                  </a:lnTo>
                  <a:lnTo>
                    <a:pt x="146" y="24"/>
                  </a:lnTo>
                  <a:lnTo>
                    <a:pt x="146" y="26"/>
                  </a:lnTo>
                  <a:lnTo>
                    <a:pt x="148" y="26"/>
                  </a:lnTo>
                  <a:lnTo>
                    <a:pt x="148" y="26"/>
                  </a:lnTo>
                  <a:lnTo>
                    <a:pt x="148" y="28"/>
                  </a:lnTo>
                  <a:lnTo>
                    <a:pt x="148" y="28"/>
                  </a:lnTo>
                  <a:lnTo>
                    <a:pt x="146" y="28"/>
                  </a:lnTo>
                  <a:lnTo>
                    <a:pt x="146" y="30"/>
                  </a:lnTo>
                  <a:lnTo>
                    <a:pt x="144" y="32"/>
                  </a:lnTo>
                  <a:lnTo>
                    <a:pt x="144" y="34"/>
                  </a:lnTo>
                  <a:lnTo>
                    <a:pt x="142" y="36"/>
                  </a:lnTo>
                  <a:lnTo>
                    <a:pt x="140" y="38"/>
                  </a:lnTo>
                  <a:lnTo>
                    <a:pt x="140" y="38"/>
                  </a:lnTo>
                  <a:lnTo>
                    <a:pt x="140" y="40"/>
                  </a:lnTo>
                  <a:lnTo>
                    <a:pt x="140" y="40"/>
                  </a:lnTo>
                  <a:lnTo>
                    <a:pt x="140" y="40"/>
                  </a:lnTo>
                  <a:lnTo>
                    <a:pt x="140" y="42"/>
                  </a:lnTo>
                  <a:lnTo>
                    <a:pt x="140" y="42"/>
                  </a:lnTo>
                  <a:lnTo>
                    <a:pt x="142" y="42"/>
                  </a:lnTo>
                  <a:lnTo>
                    <a:pt x="142" y="42"/>
                  </a:lnTo>
                  <a:lnTo>
                    <a:pt x="144" y="44"/>
                  </a:lnTo>
                  <a:lnTo>
                    <a:pt x="146" y="44"/>
                  </a:lnTo>
                  <a:lnTo>
                    <a:pt x="146" y="44"/>
                  </a:lnTo>
                  <a:lnTo>
                    <a:pt x="148" y="44"/>
                  </a:lnTo>
                  <a:lnTo>
                    <a:pt x="148" y="46"/>
                  </a:lnTo>
                  <a:lnTo>
                    <a:pt x="148" y="46"/>
                  </a:lnTo>
                  <a:lnTo>
                    <a:pt x="150" y="46"/>
                  </a:lnTo>
                  <a:lnTo>
                    <a:pt x="150" y="48"/>
                  </a:lnTo>
                  <a:lnTo>
                    <a:pt x="150" y="50"/>
                  </a:lnTo>
                  <a:lnTo>
                    <a:pt x="150" y="52"/>
                  </a:lnTo>
                  <a:lnTo>
                    <a:pt x="150" y="54"/>
                  </a:lnTo>
                  <a:lnTo>
                    <a:pt x="150" y="56"/>
                  </a:lnTo>
                  <a:lnTo>
                    <a:pt x="148" y="60"/>
                  </a:lnTo>
                  <a:lnTo>
                    <a:pt x="148" y="62"/>
                  </a:lnTo>
                  <a:lnTo>
                    <a:pt x="146" y="64"/>
                  </a:lnTo>
                  <a:lnTo>
                    <a:pt x="146" y="66"/>
                  </a:lnTo>
                  <a:lnTo>
                    <a:pt x="146" y="68"/>
                  </a:lnTo>
                  <a:lnTo>
                    <a:pt x="144" y="68"/>
                  </a:lnTo>
                  <a:lnTo>
                    <a:pt x="144" y="70"/>
                  </a:lnTo>
                  <a:lnTo>
                    <a:pt x="142" y="72"/>
                  </a:lnTo>
                  <a:lnTo>
                    <a:pt x="142" y="72"/>
                  </a:lnTo>
                  <a:lnTo>
                    <a:pt x="140" y="72"/>
                  </a:lnTo>
                  <a:lnTo>
                    <a:pt x="140" y="72"/>
                  </a:lnTo>
                  <a:lnTo>
                    <a:pt x="140" y="72"/>
                  </a:lnTo>
                  <a:lnTo>
                    <a:pt x="136" y="72"/>
                  </a:lnTo>
                  <a:lnTo>
                    <a:pt x="134" y="72"/>
                  </a:lnTo>
                  <a:lnTo>
                    <a:pt x="132" y="72"/>
                  </a:lnTo>
                  <a:lnTo>
                    <a:pt x="130" y="72"/>
                  </a:lnTo>
                  <a:lnTo>
                    <a:pt x="128" y="72"/>
                  </a:lnTo>
                  <a:lnTo>
                    <a:pt x="128" y="72"/>
                  </a:lnTo>
                  <a:lnTo>
                    <a:pt x="126" y="72"/>
                  </a:lnTo>
                  <a:lnTo>
                    <a:pt x="126" y="72"/>
                  </a:lnTo>
                  <a:lnTo>
                    <a:pt x="126" y="74"/>
                  </a:lnTo>
                  <a:lnTo>
                    <a:pt x="124" y="74"/>
                  </a:lnTo>
                  <a:lnTo>
                    <a:pt x="124" y="76"/>
                  </a:lnTo>
                  <a:lnTo>
                    <a:pt x="124" y="78"/>
                  </a:lnTo>
                  <a:lnTo>
                    <a:pt x="124" y="78"/>
                  </a:lnTo>
                  <a:lnTo>
                    <a:pt x="124" y="80"/>
                  </a:lnTo>
                  <a:lnTo>
                    <a:pt x="124" y="82"/>
                  </a:lnTo>
                  <a:lnTo>
                    <a:pt x="124" y="82"/>
                  </a:lnTo>
                  <a:lnTo>
                    <a:pt x="124" y="82"/>
                  </a:lnTo>
                  <a:lnTo>
                    <a:pt x="124" y="84"/>
                  </a:lnTo>
                  <a:lnTo>
                    <a:pt x="124" y="84"/>
                  </a:lnTo>
                  <a:lnTo>
                    <a:pt x="126" y="86"/>
                  </a:lnTo>
                  <a:lnTo>
                    <a:pt x="128" y="86"/>
                  </a:lnTo>
                  <a:lnTo>
                    <a:pt x="128" y="88"/>
                  </a:lnTo>
                  <a:lnTo>
                    <a:pt x="130" y="88"/>
                  </a:lnTo>
                  <a:lnTo>
                    <a:pt x="130" y="88"/>
                  </a:lnTo>
                  <a:lnTo>
                    <a:pt x="130" y="90"/>
                  </a:lnTo>
                  <a:lnTo>
                    <a:pt x="132" y="90"/>
                  </a:lnTo>
                  <a:lnTo>
                    <a:pt x="130" y="92"/>
                  </a:lnTo>
                  <a:lnTo>
                    <a:pt x="130" y="92"/>
                  </a:lnTo>
                  <a:lnTo>
                    <a:pt x="130" y="94"/>
                  </a:lnTo>
                  <a:lnTo>
                    <a:pt x="128" y="94"/>
                  </a:lnTo>
                  <a:lnTo>
                    <a:pt x="128" y="96"/>
                  </a:lnTo>
                  <a:lnTo>
                    <a:pt x="126" y="96"/>
                  </a:lnTo>
                  <a:lnTo>
                    <a:pt x="124" y="100"/>
                  </a:lnTo>
                  <a:lnTo>
                    <a:pt x="120" y="102"/>
                  </a:lnTo>
                  <a:lnTo>
                    <a:pt x="118" y="102"/>
                  </a:lnTo>
                  <a:lnTo>
                    <a:pt x="114" y="104"/>
                  </a:lnTo>
                  <a:lnTo>
                    <a:pt x="114" y="106"/>
                  </a:lnTo>
                  <a:lnTo>
                    <a:pt x="112" y="106"/>
                  </a:lnTo>
                  <a:lnTo>
                    <a:pt x="110" y="110"/>
                  </a:lnTo>
                  <a:lnTo>
                    <a:pt x="106" y="112"/>
                  </a:lnTo>
                  <a:lnTo>
                    <a:pt x="102" y="116"/>
                  </a:lnTo>
                  <a:lnTo>
                    <a:pt x="102" y="118"/>
                  </a:lnTo>
                  <a:lnTo>
                    <a:pt x="100" y="120"/>
                  </a:lnTo>
                  <a:lnTo>
                    <a:pt x="98" y="120"/>
                  </a:lnTo>
                  <a:lnTo>
                    <a:pt x="94" y="122"/>
                  </a:lnTo>
                  <a:lnTo>
                    <a:pt x="92" y="124"/>
                  </a:lnTo>
                  <a:lnTo>
                    <a:pt x="90" y="126"/>
                  </a:lnTo>
                  <a:lnTo>
                    <a:pt x="88" y="126"/>
                  </a:lnTo>
                  <a:lnTo>
                    <a:pt x="88" y="126"/>
                  </a:lnTo>
                  <a:lnTo>
                    <a:pt x="86" y="126"/>
                  </a:lnTo>
                  <a:lnTo>
                    <a:pt x="84" y="126"/>
                  </a:lnTo>
                  <a:lnTo>
                    <a:pt x="82" y="126"/>
                  </a:lnTo>
                  <a:lnTo>
                    <a:pt x="80" y="126"/>
                  </a:lnTo>
                  <a:lnTo>
                    <a:pt x="80" y="126"/>
                  </a:lnTo>
                  <a:lnTo>
                    <a:pt x="78" y="126"/>
                  </a:lnTo>
                  <a:lnTo>
                    <a:pt x="78" y="126"/>
                  </a:lnTo>
                  <a:lnTo>
                    <a:pt x="78" y="126"/>
                  </a:lnTo>
                  <a:lnTo>
                    <a:pt x="76" y="130"/>
                  </a:lnTo>
                  <a:lnTo>
                    <a:pt x="76" y="130"/>
                  </a:lnTo>
                  <a:lnTo>
                    <a:pt x="76" y="132"/>
                  </a:lnTo>
                  <a:lnTo>
                    <a:pt x="76" y="132"/>
                  </a:lnTo>
                  <a:lnTo>
                    <a:pt x="74" y="132"/>
                  </a:lnTo>
                  <a:lnTo>
                    <a:pt x="74" y="134"/>
                  </a:lnTo>
                  <a:lnTo>
                    <a:pt x="74" y="134"/>
                  </a:lnTo>
                  <a:lnTo>
                    <a:pt x="74" y="134"/>
                  </a:lnTo>
                  <a:lnTo>
                    <a:pt x="72" y="134"/>
                  </a:lnTo>
                  <a:lnTo>
                    <a:pt x="70" y="132"/>
                  </a:lnTo>
                  <a:lnTo>
                    <a:pt x="68" y="132"/>
                  </a:lnTo>
                  <a:lnTo>
                    <a:pt x="66" y="132"/>
                  </a:lnTo>
                  <a:lnTo>
                    <a:pt x="66" y="132"/>
                  </a:lnTo>
                  <a:lnTo>
                    <a:pt x="64" y="132"/>
                  </a:lnTo>
                  <a:lnTo>
                    <a:pt x="64" y="132"/>
                  </a:lnTo>
                  <a:lnTo>
                    <a:pt x="64" y="132"/>
                  </a:lnTo>
                  <a:lnTo>
                    <a:pt x="64" y="132"/>
                  </a:lnTo>
                  <a:lnTo>
                    <a:pt x="62" y="132"/>
                  </a:lnTo>
                  <a:lnTo>
                    <a:pt x="62" y="132"/>
                  </a:lnTo>
                  <a:lnTo>
                    <a:pt x="62" y="134"/>
                  </a:lnTo>
                  <a:lnTo>
                    <a:pt x="62" y="134"/>
                  </a:lnTo>
                  <a:lnTo>
                    <a:pt x="62" y="136"/>
                  </a:lnTo>
                  <a:lnTo>
                    <a:pt x="62" y="138"/>
                  </a:lnTo>
                  <a:lnTo>
                    <a:pt x="62" y="138"/>
                  </a:lnTo>
                  <a:lnTo>
                    <a:pt x="62" y="140"/>
                  </a:lnTo>
                  <a:lnTo>
                    <a:pt x="62" y="140"/>
                  </a:lnTo>
                  <a:lnTo>
                    <a:pt x="62" y="140"/>
                  </a:lnTo>
                  <a:lnTo>
                    <a:pt x="62" y="142"/>
                  </a:lnTo>
                  <a:lnTo>
                    <a:pt x="60" y="142"/>
                  </a:lnTo>
                  <a:lnTo>
                    <a:pt x="60" y="142"/>
                  </a:lnTo>
                  <a:lnTo>
                    <a:pt x="58" y="142"/>
                  </a:lnTo>
                  <a:lnTo>
                    <a:pt x="56" y="142"/>
                  </a:lnTo>
                  <a:lnTo>
                    <a:pt x="54" y="142"/>
                  </a:lnTo>
                  <a:lnTo>
                    <a:pt x="50" y="142"/>
                  </a:lnTo>
                  <a:lnTo>
                    <a:pt x="48" y="142"/>
                  </a:lnTo>
                  <a:lnTo>
                    <a:pt x="46" y="142"/>
                  </a:lnTo>
                  <a:lnTo>
                    <a:pt x="46" y="140"/>
                  </a:lnTo>
                  <a:lnTo>
                    <a:pt x="48" y="138"/>
                  </a:lnTo>
                  <a:lnTo>
                    <a:pt x="48" y="136"/>
                  </a:lnTo>
                  <a:lnTo>
                    <a:pt x="48" y="136"/>
                  </a:lnTo>
                  <a:lnTo>
                    <a:pt x="48" y="134"/>
                  </a:lnTo>
                  <a:lnTo>
                    <a:pt x="48" y="134"/>
                  </a:lnTo>
                  <a:lnTo>
                    <a:pt x="48" y="134"/>
                  </a:lnTo>
                  <a:lnTo>
                    <a:pt x="48" y="134"/>
                  </a:lnTo>
                  <a:lnTo>
                    <a:pt x="46" y="134"/>
                  </a:lnTo>
                  <a:lnTo>
                    <a:pt x="46" y="132"/>
                  </a:lnTo>
                  <a:lnTo>
                    <a:pt x="44" y="132"/>
                  </a:lnTo>
                  <a:lnTo>
                    <a:pt x="44" y="132"/>
                  </a:lnTo>
                  <a:lnTo>
                    <a:pt x="40" y="134"/>
                  </a:lnTo>
                  <a:lnTo>
                    <a:pt x="38" y="134"/>
                  </a:lnTo>
                  <a:lnTo>
                    <a:pt x="38" y="134"/>
                  </a:lnTo>
                  <a:lnTo>
                    <a:pt x="0" y="134"/>
                  </a:lnTo>
                  <a:lnTo>
                    <a:pt x="0" y="132"/>
                  </a:lnTo>
                  <a:lnTo>
                    <a:pt x="4" y="128"/>
                  </a:lnTo>
                  <a:lnTo>
                    <a:pt x="6" y="124"/>
                  </a:lnTo>
                  <a:lnTo>
                    <a:pt x="8" y="122"/>
                  </a:lnTo>
                  <a:lnTo>
                    <a:pt x="10" y="120"/>
                  </a:lnTo>
                  <a:lnTo>
                    <a:pt x="10" y="120"/>
                  </a:lnTo>
                  <a:lnTo>
                    <a:pt x="12" y="120"/>
                  </a:lnTo>
                  <a:lnTo>
                    <a:pt x="14" y="118"/>
                  </a:lnTo>
                  <a:lnTo>
                    <a:pt x="16" y="118"/>
                  </a:lnTo>
                  <a:lnTo>
                    <a:pt x="16" y="118"/>
                  </a:lnTo>
                  <a:lnTo>
                    <a:pt x="18" y="118"/>
                  </a:lnTo>
                  <a:lnTo>
                    <a:pt x="20" y="116"/>
                  </a:lnTo>
                  <a:lnTo>
                    <a:pt x="22" y="112"/>
                  </a:lnTo>
                  <a:lnTo>
                    <a:pt x="24" y="110"/>
                  </a:lnTo>
                  <a:lnTo>
                    <a:pt x="24" y="110"/>
                  </a:lnTo>
                  <a:lnTo>
                    <a:pt x="26" y="108"/>
                  </a:lnTo>
                  <a:lnTo>
                    <a:pt x="26" y="106"/>
                  </a:lnTo>
                  <a:lnTo>
                    <a:pt x="26" y="104"/>
                  </a:lnTo>
                  <a:lnTo>
                    <a:pt x="28" y="102"/>
                  </a:lnTo>
                  <a:lnTo>
                    <a:pt x="28" y="98"/>
                  </a:lnTo>
                  <a:lnTo>
                    <a:pt x="28" y="92"/>
                  </a:lnTo>
                  <a:lnTo>
                    <a:pt x="28" y="86"/>
                  </a:lnTo>
                  <a:lnTo>
                    <a:pt x="30" y="74"/>
                  </a:lnTo>
                  <a:lnTo>
                    <a:pt x="30" y="68"/>
                  </a:lnTo>
                  <a:lnTo>
                    <a:pt x="30" y="66"/>
                  </a:lnTo>
                  <a:lnTo>
                    <a:pt x="32" y="64"/>
                  </a:lnTo>
                  <a:lnTo>
                    <a:pt x="32" y="60"/>
                  </a:lnTo>
                  <a:lnTo>
                    <a:pt x="32" y="56"/>
                  </a:lnTo>
                  <a:lnTo>
                    <a:pt x="34" y="54"/>
                  </a:lnTo>
                  <a:lnTo>
                    <a:pt x="34" y="52"/>
                  </a:lnTo>
                  <a:lnTo>
                    <a:pt x="34" y="52"/>
                  </a:lnTo>
                  <a:lnTo>
                    <a:pt x="36" y="50"/>
                  </a:lnTo>
                  <a:lnTo>
                    <a:pt x="36" y="50"/>
                  </a:lnTo>
                  <a:lnTo>
                    <a:pt x="36" y="50"/>
                  </a:lnTo>
                  <a:lnTo>
                    <a:pt x="38" y="50"/>
                  </a:lnTo>
                  <a:lnTo>
                    <a:pt x="38" y="50"/>
                  </a:lnTo>
                  <a:lnTo>
                    <a:pt x="40" y="50"/>
                  </a:lnTo>
                  <a:lnTo>
                    <a:pt x="42" y="52"/>
                  </a:lnTo>
                  <a:lnTo>
                    <a:pt x="42" y="52"/>
                  </a:lnTo>
                  <a:lnTo>
                    <a:pt x="42" y="52"/>
                  </a:lnTo>
                  <a:lnTo>
                    <a:pt x="42" y="52"/>
                  </a:lnTo>
                  <a:lnTo>
                    <a:pt x="44" y="50"/>
                  </a:lnTo>
                  <a:lnTo>
                    <a:pt x="44" y="50"/>
                  </a:lnTo>
                  <a:lnTo>
                    <a:pt x="44" y="50"/>
                  </a:lnTo>
                  <a:lnTo>
                    <a:pt x="44" y="48"/>
                  </a:lnTo>
                  <a:lnTo>
                    <a:pt x="44" y="46"/>
                  </a:lnTo>
                  <a:lnTo>
                    <a:pt x="44" y="44"/>
                  </a:lnTo>
                  <a:lnTo>
                    <a:pt x="44" y="44"/>
                  </a:lnTo>
                  <a:lnTo>
                    <a:pt x="44" y="42"/>
                  </a:lnTo>
                  <a:lnTo>
                    <a:pt x="44" y="42"/>
                  </a:lnTo>
                  <a:lnTo>
                    <a:pt x="44" y="42"/>
                  </a:lnTo>
                  <a:lnTo>
                    <a:pt x="44" y="40"/>
                  </a:lnTo>
                  <a:lnTo>
                    <a:pt x="46" y="40"/>
                  </a:lnTo>
                  <a:lnTo>
                    <a:pt x="48" y="40"/>
                  </a:lnTo>
                  <a:lnTo>
                    <a:pt x="50" y="40"/>
                  </a:lnTo>
                  <a:lnTo>
                    <a:pt x="50" y="40"/>
                  </a:lnTo>
                  <a:lnTo>
                    <a:pt x="52" y="40"/>
                  </a:lnTo>
                  <a:lnTo>
                    <a:pt x="56" y="40"/>
                  </a:lnTo>
                  <a:lnTo>
                    <a:pt x="60" y="40"/>
                  </a:lnTo>
                  <a:lnTo>
                    <a:pt x="62" y="42"/>
                  </a:lnTo>
                  <a:lnTo>
                    <a:pt x="62" y="42"/>
                  </a:lnTo>
                  <a:lnTo>
                    <a:pt x="64" y="42"/>
                  </a:lnTo>
                  <a:lnTo>
                    <a:pt x="66" y="40"/>
                  </a:lnTo>
                  <a:lnTo>
                    <a:pt x="66" y="40"/>
                  </a:lnTo>
                  <a:lnTo>
                    <a:pt x="68" y="40"/>
                  </a:lnTo>
                  <a:lnTo>
                    <a:pt x="68" y="40"/>
                  </a:lnTo>
                  <a:lnTo>
                    <a:pt x="68" y="38"/>
                  </a:lnTo>
                  <a:lnTo>
                    <a:pt x="68" y="38"/>
                  </a:lnTo>
                  <a:lnTo>
                    <a:pt x="68" y="36"/>
                  </a:lnTo>
                  <a:lnTo>
                    <a:pt x="68" y="34"/>
                  </a:lnTo>
                  <a:lnTo>
                    <a:pt x="68" y="30"/>
                  </a:lnTo>
                  <a:lnTo>
                    <a:pt x="68" y="30"/>
                  </a:lnTo>
                  <a:lnTo>
                    <a:pt x="68" y="28"/>
                  </a:lnTo>
                  <a:lnTo>
                    <a:pt x="68" y="28"/>
                  </a:lnTo>
                  <a:lnTo>
                    <a:pt x="68" y="28"/>
                  </a:lnTo>
                  <a:lnTo>
                    <a:pt x="70" y="26"/>
                  </a:lnTo>
                  <a:lnTo>
                    <a:pt x="70" y="24"/>
                  </a:lnTo>
                  <a:lnTo>
                    <a:pt x="72" y="24"/>
                  </a:lnTo>
                  <a:lnTo>
                    <a:pt x="74" y="20"/>
                  </a:lnTo>
                  <a:lnTo>
                    <a:pt x="76" y="20"/>
                  </a:lnTo>
                  <a:lnTo>
                    <a:pt x="76" y="18"/>
                  </a:lnTo>
                  <a:lnTo>
                    <a:pt x="78" y="16"/>
                  </a:lnTo>
                  <a:lnTo>
                    <a:pt x="80" y="14"/>
                  </a:lnTo>
                  <a:lnTo>
                    <a:pt x="82" y="10"/>
                  </a:lnTo>
                  <a:lnTo>
                    <a:pt x="82" y="8"/>
                  </a:lnTo>
                  <a:lnTo>
                    <a:pt x="82" y="6"/>
                  </a:lnTo>
                  <a:lnTo>
                    <a:pt x="84" y="4"/>
                  </a:lnTo>
                  <a:lnTo>
                    <a:pt x="84" y="2"/>
                  </a:lnTo>
                  <a:lnTo>
                    <a:pt x="84" y="0"/>
                  </a:lnTo>
                  <a:lnTo>
                    <a:pt x="84" y="0"/>
                  </a:lnTo>
                  <a:lnTo>
                    <a:pt x="84" y="0"/>
                  </a:lnTo>
                  <a:lnTo>
                    <a:pt x="86" y="0"/>
                  </a:lnTo>
                  <a:lnTo>
                    <a:pt x="86" y="0"/>
                  </a:lnTo>
                  <a:lnTo>
                    <a:pt x="86" y="0"/>
                  </a:lnTo>
                  <a:lnTo>
                    <a:pt x="88" y="0"/>
                  </a:lnTo>
                  <a:lnTo>
                    <a:pt x="88" y="0"/>
                  </a:lnTo>
                  <a:lnTo>
                    <a:pt x="90" y="0"/>
                  </a:lnTo>
                  <a:lnTo>
                    <a:pt x="92" y="2"/>
                  </a:lnTo>
                  <a:lnTo>
                    <a:pt x="94" y="4"/>
                  </a:lnTo>
                  <a:lnTo>
                    <a:pt x="96" y="6"/>
                  </a:lnTo>
                  <a:lnTo>
                    <a:pt x="96" y="6"/>
                  </a:lnTo>
                  <a:lnTo>
                    <a:pt x="96" y="6"/>
                  </a:lnTo>
                  <a:lnTo>
                    <a:pt x="98" y="6"/>
                  </a:lnTo>
                  <a:lnTo>
                    <a:pt x="100" y="8"/>
                  </a:lnTo>
                  <a:lnTo>
                    <a:pt x="104" y="8"/>
                  </a:lnTo>
                  <a:lnTo>
                    <a:pt x="106" y="8"/>
                  </a:lnTo>
                  <a:lnTo>
                    <a:pt x="108" y="8"/>
                  </a:lnTo>
                  <a:lnTo>
                    <a:pt x="110" y="8"/>
                  </a:lnTo>
                  <a:lnTo>
                    <a:pt x="110" y="8"/>
                  </a:lnTo>
                  <a:lnTo>
                    <a:pt x="112" y="10"/>
                  </a:lnTo>
                  <a:lnTo>
                    <a:pt x="114" y="10"/>
                  </a:lnTo>
                  <a:lnTo>
                    <a:pt x="116" y="12"/>
                  </a:lnTo>
                  <a:lnTo>
                    <a:pt x="116" y="14"/>
                  </a:lnTo>
                  <a:lnTo>
                    <a:pt x="118" y="16"/>
                  </a:lnTo>
                  <a:lnTo>
                    <a:pt x="118" y="16"/>
                  </a:lnTo>
                  <a:lnTo>
                    <a:pt x="120" y="16"/>
                  </a:lnTo>
                  <a:lnTo>
                    <a:pt x="120" y="18"/>
                  </a:lnTo>
                  <a:lnTo>
                    <a:pt x="120" y="1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7" name="Freeform 456">
              <a:extLst>
                <a:ext uri="{FF2B5EF4-FFF2-40B4-BE49-F238E27FC236}">
                  <a16:creationId xmlns:a16="http://schemas.microsoft.com/office/drawing/2014/main" id="{D41F9CCB-9C34-4E18-9CD4-24C9CCC3B617}"/>
                </a:ext>
              </a:extLst>
            </p:cNvPr>
            <p:cNvSpPr>
              <a:spLocks/>
            </p:cNvSpPr>
            <p:nvPr/>
          </p:nvSpPr>
          <p:spPr bwMode="auto">
            <a:xfrm>
              <a:off x="3981687" y="3589645"/>
              <a:ext cx="259811" cy="245955"/>
            </a:xfrm>
            <a:custGeom>
              <a:avLst/>
              <a:gdLst>
                <a:gd name="T0" fmla="*/ 120 w 150"/>
                <a:gd name="T1" fmla="*/ 16 h 142"/>
                <a:gd name="T2" fmla="*/ 128 w 150"/>
                <a:gd name="T3" fmla="*/ 16 h 142"/>
                <a:gd name="T4" fmla="*/ 142 w 150"/>
                <a:gd name="T5" fmla="*/ 20 h 142"/>
                <a:gd name="T6" fmla="*/ 148 w 150"/>
                <a:gd name="T7" fmla="*/ 26 h 142"/>
                <a:gd name="T8" fmla="*/ 146 w 150"/>
                <a:gd name="T9" fmla="*/ 30 h 142"/>
                <a:gd name="T10" fmla="*/ 140 w 150"/>
                <a:gd name="T11" fmla="*/ 38 h 142"/>
                <a:gd name="T12" fmla="*/ 140 w 150"/>
                <a:gd name="T13" fmla="*/ 42 h 142"/>
                <a:gd name="T14" fmla="*/ 146 w 150"/>
                <a:gd name="T15" fmla="*/ 44 h 142"/>
                <a:gd name="T16" fmla="*/ 150 w 150"/>
                <a:gd name="T17" fmla="*/ 48 h 142"/>
                <a:gd name="T18" fmla="*/ 148 w 150"/>
                <a:gd name="T19" fmla="*/ 60 h 142"/>
                <a:gd name="T20" fmla="*/ 144 w 150"/>
                <a:gd name="T21" fmla="*/ 68 h 142"/>
                <a:gd name="T22" fmla="*/ 140 w 150"/>
                <a:gd name="T23" fmla="*/ 72 h 142"/>
                <a:gd name="T24" fmla="*/ 130 w 150"/>
                <a:gd name="T25" fmla="*/ 72 h 142"/>
                <a:gd name="T26" fmla="*/ 126 w 150"/>
                <a:gd name="T27" fmla="*/ 74 h 142"/>
                <a:gd name="T28" fmla="*/ 124 w 150"/>
                <a:gd name="T29" fmla="*/ 80 h 142"/>
                <a:gd name="T30" fmla="*/ 124 w 150"/>
                <a:gd name="T31" fmla="*/ 84 h 142"/>
                <a:gd name="T32" fmla="*/ 130 w 150"/>
                <a:gd name="T33" fmla="*/ 88 h 142"/>
                <a:gd name="T34" fmla="*/ 130 w 150"/>
                <a:gd name="T35" fmla="*/ 94 h 142"/>
                <a:gd name="T36" fmla="*/ 120 w 150"/>
                <a:gd name="T37" fmla="*/ 102 h 142"/>
                <a:gd name="T38" fmla="*/ 110 w 150"/>
                <a:gd name="T39" fmla="*/ 110 h 142"/>
                <a:gd name="T40" fmla="*/ 98 w 150"/>
                <a:gd name="T41" fmla="*/ 120 h 142"/>
                <a:gd name="T42" fmla="*/ 88 w 150"/>
                <a:gd name="T43" fmla="*/ 126 h 142"/>
                <a:gd name="T44" fmla="*/ 80 w 150"/>
                <a:gd name="T45" fmla="*/ 126 h 142"/>
                <a:gd name="T46" fmla="*/ 76 w 150"/>
                <a:gd name="T47" fmla="*/ 130 h 142"/>
                <a:gd name="T48" fmla="*/ 74 w 150"/>
                <a:gd name="T49" fmla="*/ 134 h 142"/>
                <a:gd name="T50" fmla="*/ 66 w 150"/>
                <a:gd name="T51" fmla="*/ 132 h 142"/>
                <a:gd name="T52" fmla="*/ 64 w 150"/>
                <a:gd name="T53" fmla="*/ 132 h 142"/>
                <a:gd name="T54" fmla="*/ 62 w 150"/>
                <a:gd name="T55" fmla="*/ 136 h 142"/>
                <a:gd name="T56" fmla="*/ 62 w 150"/>
                <a:gd name="T57" fmla="*/ 140 h 142"/>
                <a:gd name="T58" fmla="*/ 56 w 150"/>
                <a:gd name="T59" fmla="*/ 142 h 142"/>
                <a:gd name="T60" fmla="*/ 46 w 150"/>
                <a:gd name="T61" fmla="*/ 140 h 142"/>
                <a:gd name="T62" fmla="*/ 48 w 150"/>
                <a:gd name="T63" fmla="*/ 134 h 142"/>
                <a:gd name="T64" fmla="*/ 44 w 150"/>
                <a:gd name="T65" fmla="*/ 132 h 142"/>
                <a:gd name="T66" fmla="*/ 0 w 150"/>
                <a:gd name="T67" fmla="*/ 134 h 142"/>
                <a:gd name="T68" fmla="*/ 10 w 150"/>
                <a:gd name="T69" fmla="*/ 120 h 142"/>
                <a:gd name="T70" fmla="*/ 16 w 150"/>
                <a:gd name="T71" fmla="*/ 118 h 142"/>
                <a:gd name="T72" fmla="*/ 24 w 150"/>
                <a:gd name="T73" fmla="*/ 110 h 142"/>
                <a:gd name="T74" fmla="*/ 28 w 150"/>
                <a:gd name="T75" fmla="*/ 98 h 142"/>
                <a:gd name="T76" fmla="*/ 30 w 150"/>
                <a:gd name="T77" fmla="*/ 66 h 142"/>
                <a:gd name="T78" fmla="*/ 34 w 150"/>
                <a:gd name="T79" fmla="*/ 52 h 142"/>
                <a:gd name="T80" fmla="*/ 38 w 150"/>
                <a:gd name="T81" fmla="*/ 50 h 142"/>
                <a:gd name="T82" fmla="*/ 42 w 150"/>
                <a:gd name="T83" fmla="*/ 52 h 142"/>
                <a:gd name="T84" fmla="*/ 44 w 150"/>
                <a:gd name="T85" fmla="*/ 48 h 142"/>
                <a:gd name="T86" fmla="*/ 44 w 150"/>
                <a:gd name="T87" fmla="*/ 42 h 142"/>
                <a:gd name="T88" fmla="*/ 50 w 150"/>
                <a:gd name="T89" fmla="*/ 40 h 142"/>
                <a:gd name="T90" fmla="*/ 62 w 150"/>
                <a:gd name="T91" fmla="*/ 42 h 142"/>
                <a:gd name="T92" fmla="*/ 68 w 150"/>
                <a:gd name="T93" fmla="*/ 40 h 142"/>
                <a:gd name="T94" fmla="*/ 68 w 150"/>
                <a:gd name="T95" fmla="*/ 34 h 142"/>
                <a:gd name="T96" fmla="*/ 68 w 150"/>
                <a:gd name="T97" fmla="*/ 28 h 142"/>
                <a:gd name="T98" fmla="*/ 76 w 150"/>
                <a:gd name="T99" fmla="*/ 20 h 142"/>
                <a:gd name="T100" fmla="*/ 82 w 150"/>
                <a:gd name="T101" fmla="*/ 8 h 142"/>
                <a:gd name="T102" fmla="*/ 84 w 150"/>
                <a:gd name="T103" fmla="*/ 0 h 142"/>
                <a:gd name="T104" fmla="*/ 88 w 150"/>
                <a:gd name="T105" fmla="*/ 0 h 142"/>
                <a:gd name="T106" fmla="*/ 96 w 150"/>
                <a:gd name="T107" fmla="*/ 6 h 142"/>
                <a:gd name="T108" fmla="*/ 104 w 150"/>
                <a:gd name="T109" fmla="*/ 8 h 142"/>
                <a:gd name="T110" fmla="*/ 112 w 150"/>
                <a:gd name="T111" fmla="*/ 10 h 142"/>
                <a:gd name="T112" fmla="*/ 118 w 150"/>
                <a:gd name="T113"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142">
                  <a:moveTo>
                    <a:pt x="120" y="18"/>
                  </a:moveTo>
                  <a:lnTo>
                    <a:pt x="120" y="18"/>
                  </a:lnTo>
                  <a:lnTo>
                    <a:pt x="120" y="18"/>
                  </a:lnTo>
                  <a:lnTo>
                    <a:pt x="120" y="18"/>
                  </a:lnTo>
                  <a:lnTo>
                    <a:pt x="120" y="16"/>
                  </a:lnTo>
                  <a:lnTo>
                    <a:pt x="120" y="16"/>
                  </a:lnTo>
                  <a:lnTo>
                    <a:pt x="122" y="16"/>
                  </a:lnTo>
                  <a:lnTo>
                    <a:pt x="124" y="16"/>
                  </a:lnTo>
                  <a:lnTo>
                    <a:pt x="124" y="16"/>
                  </a:lnTo>
                  <a:lnTo>
                    <a:pt x="128" y="16"/>
                  </a:lnTo>
                  <a:lnTo>
                    <a:pt x="130" y="16"/>
                  </a:lnTo>
                  <a:lnTo>
                    <a:pt x="134" y="16"/>
                  </a:lnTo>
                  <a:lnTo>
                    <a:pt x="136" y="16"/>
                  </a:lnTo>
                  <a:lnTo>
                    <a:pt x="138" y="16"/>
                  </a:lnTo>
                  <a:lnTo>
                    <a:pt x="142" y="20"/>
                  </a:lnTo>
                  <a:lnTo>
                    <a:pt x="144" y="22"/>
                  </a:lnTo>
                  <a:lnTo>
                    <a:pt x="146" y="24"/>
                  </a:lnTo>
                  <a:lnTo>
                    <a:pt x="146" y="24"/>
                  </a:lnTo>
                  <a:lnTo>
                    <a:pt x="146" y="26"/>
                  </a:lnTo>
                  <a:lnTo>
                    <a:pt x="148" y="26"/>
                  </a:lnTo>
                  <a:lnTo>
                    <a:pt x="148" y="26"/>
                  </a:lnTo>
                  <a:lnTo>
                    <a:pt x="148" y="28"/>
                  </a:lnTo>
                  <a:lnTo>
                    <a:pt x="148" y="28"/>
                  </a:lnTo>
                  <a:lnTo>
                    <a:pt x="146" y="28"/>
                  </a:lnTo>
                  <a:lnTo>
                    <a:pt x="146" y="30"/>
                  </a:lnTo>
                  <a:lnTo>
                    <a:pt x="144" y="32"/>
                  </a:lnTo>
                  <a:lnTo>
                    <a:pt x="144" y="34"/>
                  </a:lnTo>
                  <a:lnTo>
                    <a:pt x="142" y="36"/>
                  </a:lnTo>
                  <a:lnTo>
                    <a:pt x="140" y="38"/>
                  </a:lnTo>
                  <a:lnTo>
                    <a:pt x="140" y="38"/>
                  </a:lnTo>
                  <a:lnTo>
                    <a:pt x="140" y="40"/>
                  </a:lnTo>
                  <a:lnTo>
                    <a:pt x="140" y="40"/>
                  </a:lnTo>
                  <a:lnTo>
                    <a:pt x="140" y="40"/>
                  </a:lnTo>
                  <a:lnTo>
                    <a:pt x="140" y="42"/>
                  </a:lnTo>
                  <a:lnTo>
                    <a:pt x="140" y="42"/>
                  </a:lnTo>
                  <a:lnTo>
                    <a:pt x="142" y="42"/>
                  </a:lnTo>
                  <a:lnTo>
                    <a:pt x="142" y="42"/>
                  </a:lnTo>
                  <a:lnTo>
                    <a:pt x="144" y="44"/>
                  </a:lnTo>
                  <a:lnTo>
                    <a:pt x="146" y="44"/>
                  </a:lnTo>
                  <a:lnTo>
                    <a:pt x="146" y="44"/>
                  </a:lnTo>
                  <a:lnTo>
                    <a:pt x="148" y="44"/>
                  </a:lnTo>
                  <a:lnTo>
                    <a:pt x="148" y="46"/>
                  </a:lnTo>
                  <a:lnTo>
                    <a:pt x="148" y="46"/>
                  </a:lnTo>
                  <a:lnTo>
                    <a:pt x="150" y="46"/>
                  </a:lnTo>
                  <a:lnTo>
                    <a:pt x="150" y="48"/>
                  </a:lnTo>
                  <a:lnTo>
                    <a:pt x="150" y="50"/>
                  </a:lnTo>
                  <a:lnTo>
                    <a:pt x="150" y="52"/>
                  </a:lnTo>
                  <a:lnTo>
                    <a:pt x="150" y="54"/>
                  </a:lnTo>
                  <a:lnTo>
                    <a:pt x="150" y="56"/>
                  </a:lnTo>
                  <a:lnTo>
                    <a:pt x="148" y="60"/>
                  </a:lnTo>
                  <a:lnTo>
                    <a:pt x="148" y="62"/>
                  </a:lnTo>
                  <a:lnTo>
                    <a:pt x="146" y="64"/>
                  </a:lnTo>
                  <a:lnTo>
                    <a:pt x="146" y="66"/>
                  </a:lnTo>
                  <a:lnTo>
                    <a:pt x="146" y="68"/>
                  </a:lnTo>
                  <a:lnTo>
                    <a:pt x="144" y="68"/>
                  </a:lnTo>
                  <a:lnTo>
                    <a:pt x="144" y="70"/>
                  </a:lnTo>
                  <a:lnTo>
                    <a:pt x="142" y="72"/>
                  </a:lnTo>
                  <a:lnTo>
                    <a:pt x="142" y="72"/>
                  </a:lnTo>
                  <a:lnTo>
                    <a:pt x="140" y="72"/>
                  </a:lnTo>
                  <a:lnTo>
                    <a:pt x="140" y="72"/>
                  </a:lnTo>
                  <a:lnTo>
                    <a:pt x="140" y="72"/>
                  </a:lnTo>
                  <a:lnTo>
                    <a:pt x="136" y="72"/>
                  </a:lnTo>
                  <a:lnTo>
                    <a:pt x="134" y="72"/>
                  </a:lnTo>
                  <a:lnTo>
                    <a:pt x="132" y="72"/>
                  </a:lnTo>
                  <a:lnTo>
                    <a:pt x="130" y="72"/>
                  </a:lnTo>
                  <a:lnTo>
                    <a:pt x="128" y="72"/>
                  </a:lnTo>
                  <a:lnTo>
                    <a:pt x="128" y="72"/>
                  </a:lnTo>
                  <a:lnTo>
                    <a:pt x="126" y="72"/>
                  </a:lnTo>
                  <a:lnTo>
                    <a:pt x="126" y="72"/>
                  </a:lnTo>
                  <a:lnTo>
                    <a:pt x="126" y="74"/>
                  </a:lnTo>
                  <a:lnTo>
                    <a:pt x="124" y="74"/>
                  </a:lnTo>
                  <a:lnTo>
                    <a:pt x="124" y="76"/>
                  </a:lnTo>
                  <a:lnTo>
                    <a:pt x="124" y="78"/>
                  </a:lnTo>
                  <a:lnTo>
                    <a:pt x="124" y="78"/>
                  </a:lnTo>
                  <a:lnTo>
                    <a:pt x="124" y="80"/>
                  </a:lnTo>
                  <a:lnTo>
                    <a:pt x="124" y="82"/>
                  </a:lnTo>
                  <a:lnTo>
                    <a:pt x="124" y="82"/>
                  </a:lnTo>
                  <a:lnTo>
                    <a:pt x="124" y="82"/>
                  </a:lnTo>
                  <a:lnTo>
                    <a:pt x="124" y="84"/>
                  </a:lnTo>
                  <a:lnTo>
                    <a:pt x="124" y="84"/>
                  </a:lnTo>
                  <a:lnTo>
                    <a:pt x="126" y="86"/>
                  </a:lnTo>
                  <a:lnTo>
                    <a:pt x="128" y="86"/>
                  </a:lnTo>
                  <a:lnTo>
                    <a:pt x="128" y="88"/>
                  </a:lnTo>
                  <a:lnTo>
                    <a:pt x="130" y="88"/>
                  </a:lnTo>
                  <a:lnTo>
                    <a:pt x="130" y="88"/>
                  </a:lnTo>
                  <a:lnTo>
                    <a:pt x="130" y="90"/>
                  </a:lnTo>
                  <a:lnTo>
                    <a:pt x="132" y="90"/>
                  </a:lnTo>
                  <a:lnTo>
                    <a:pt x="130" y="92"/>
                  </a:lnTo>
                  <a:lnTo>
                    <a:pt x="130" y="92"/>
                  </a:lnTo>
                  <a:lnTo>
                    <a:pt x="130" y="94"/>
                  </a:lnTo>
                  <a:lnTo>
                    <a:pt x="128" y="94"/>
                  </a:lnTo>
                  <a:lnTo>
                    <a:pt x="128" y="96"/>
                  </a:lnTo>
                  <a:lnTo>
                    <a:pt x="126" y="96"/>
                  </a:lnTo>
                  <a:lnTo>
                    <a:pt x="124" y="100"/>
                  </a:lnTo>
                  <a:lnTo>
                    <a:pt x="120" y="102"/>
                  </a:lnTo>
                  <a:lnTo>
                    <a:pt x="118" y="102"/>
                  </a:lnTo>
                  <a:lnTo>
                    <a:pt x="114" y="104"/>
                  </a:lnTo>
                  <a:lnTo>
                    <a:pt x="114" y="106"/>
                  </a:lnTo>
                  <a:lnTo>
                    <a:pt x="112" y="106"/>
                  </a:lnTo>
                  <a:lnTo>
                    <a:pt x="110" y="110"/>
                  </a:lnTo>
                  <a:lnTo>
                    <a:pt x="106" y="112"/>
                  </a:lnTo>
                  <a:lnTo>
                    <a:pt x="102" y="116"/>
                  </a:lnTo>
                  <a:lnTo>
                    <a:pt x="102" y="118"/>
                  </a:lnTo>
                  <a:lnTo>
                    <a:pt x="100" y="120"/>
                  </a:lnTo>
                  <a:lnTo>
                    <a:pt x="98" y="120"/>
                  </a:lnTo>
                  <a:lnTo>
                    <a:pt x="94" y="122"/>
                  </a:lnTo>
                  <a:lnTo>
                    <a:pt x="92" y="124"/>
                  </a:lnTo>
                  <a:lnTo>
                    <a:pt x="90" y="126"/>
                  </a:lnTo>
                  <a:lnTo>
                    <a:pt x="88" y="126"/>
                  </a:lnTo>
                  <a:lnTo>
                    <a:pt x="88" y="126"/>
                  </a:lnTo>
                  <a:lnTo>
                    <a:pt x="86" y="126"/>
                  </a:lnTo>
                  <a:lnTo>
                    <a:pt x="84" y="126"/>
                  </a:lnTo>
                  <a:lnTo>
                    <a:pt x="82" y="126"/>
                  </a:lnTo>
                  <a:lnTo>
                    <a:pt x="80" y="126"/>
                  </a:lnTo>
                  <a:lnTo>
                    <a:pt x="80" y="126"/>
                  </a:lnTo>
                  <a:lnTo>
                    <a:pt x="78" y="126"/>
                  </a:lnTo>
                  <a:lnTo>
                    <a:pt x="78" y="126"/>
                  </a:lnTo>
                  <a:lnTo>
                    <a:pt x="78" y="126"/>
                  </a:lnTo>
                  <a:lnTo>
                    <a:pt x="76" y="130"/>
                  </a:lnTo>
                  <a:lnTo>
                    <a:pt x="76" y="130"/>
                  </a:lnTo>
                  <a:lnTo>
                    <a:pt x="76" y="132"/>
                  </a:lnTo>
                  <a:lnTo>
                    <a:pt x="76" y="132"/>
                  </a:lnTo>
                  <a:lnTo>
                    <a:pt x="74" y="132"/>
                  </a:lnTo>
                  <a:lnTo>
                    <a:pt x="74" y="134"/>
                  </a:lnTo>
                  <a:lnTo>
                    <a:pt x="74" y="134"/>
                  </a:lnTo>
                  <a:lnTo>
                    <a:pt x="74" y="134"/>
                  </a:lnTo>
                  <a:lnTo>
                    <a:pt x="72" y="134"/>
                  </a:lnTo>
                  <a:lnTo>
                    <a:pt x="70" y="132"/>
                  </a:lnTo>
                  <a:lnTo>
                    <a:pt x="68" y="132"/>
                  </a:lnTo>
                  <a:lnTo>
                    <a:pt x="66" y="132"/>
                  </a:lnTo>
                  <a:lnTo>
                    <a:pt x="66" y="132"/>
                  </a:lnTo>
                  <a:lnTo>
                    <a:pt x="64" y="132"/>
                  </a:lnTo>
                  <a:lnTo>
                    <a:pt x="64" y="132"/>
                  </a:lnTo>
                  <a:lnTo>
                    <a:pt x="64" y="132"/>
                  </a:lnTo>
                  <a:lnTo>
                    <a:pt x="64" y="132"/>
                  </a:lnTo>
                  <a:lnTo>
                    <a:pt x="62" y="132"/>
                  </a:lnTo>
                  <a:lnTo>
                    <a:pt x="62" y="132"/>
                  </a:lnTo>
                  <a:lnTo>
                    <a:pt x="62" y="134"/>
                  </a:lnTo>
                  <a:lnTo>
                    <a:pt x="62" y="134"/>
                  </a:lnTo>
                  <a:lnTo>
                    <a:pt x="62" y="136"/>
                  </a:lnTo>
                  <a:lnTo>
                    <a:pt x="62" y="138"/>
                  </a:lnTo>
                  <a:lnTo>
                    <a:pt x="62" y="138"/>
                  </a:lnTo>
                  <a:lnTo>
                    <a:pt x="62" y="140"/>
                  </a:lnTo>
                  <a:lnTo>
                    <a:pt x="62" y="140"/>
                  </a:lnTo>
                  <a:lnTo>
                    <a:pt x="62" y="140"/>
                  </a:lnTo>
                  <a:lnTo>
                    <a:pt x="62" y="142"/>
                  </a:lnTo>
                  <a:lnTo>
                    <a:pt x="60" y="142"/>
                  </a:lnTo>
                  <a:lnTo>
                    <a:pt x="60" y="142"/>
                  </a:lnTo>
                  <a:lnTo>
                    <a:pt x="58" y="142"/>
                  </a:lnTo>
                  <a:lnTo>
                    <a:pt x="56" y="142"/>
                  </a:lnTo>
                  <a:lnTo>
                    <a:pt x="54" y="142"/>
                  </a:lnTo>
                  <a:lnTo>
                    <a:pt x="50" y="142"/>
                  </a:lnTo>
                  <a:lnTo>
                    <a:pt x="48" y="142"/>
                  </a:lnTo>
                  <a:lnTo>
                    <a:pt x="46" y="142"/>
                  </a:lnTo>
                  <a:lnTo>
                    <a:pt x="46" y="140"/>
                  </a:lnTo>
                  <a:lnTo>
                    <a:pt x="48" y="138"/>
                  </a:lnTo>
                  <a:lnTo>
                    <a:pt x="48" y="136"/>
                  </a:lnTo>
                  <a:lnTo>
                    <a:pt x="48" y="136"/>
                  </a:lnTo>
                  <a:lnTo>
                    <a:pt x="48" y="134"/>
                  </a:lnTo>
                  <a:lnTo>
                    <a:pt x="48" y="134"/>
                  </a:lnTo>
                  <a:lnTo>
                    <a:pt x="48" y="134"/>
                  </a:lnTo>
                  <a:lnTo>
                    <a:pt x="48" y="134"/>
                  </a:lnTo>
                  <a:lnTo>
                    <a:pt x="46" y="134"/>
                  </a:lnTo>
                  <a:lnTo>
                    <a:pt x="46" y="132"/>
                  </a:lnTo>
                  <a:lnTo>
                    <a:pt x="44" y="132"/>
                  </a:lnTo>
                  <a:lnTo>
                    <a:pt x="44" y="132"/>
                  </a:lnTo>
                  <a:lnTo>
                    <a:pt x="40" y="134"/>
                  </a:lnTo>
                  <a:lnTo>
                    <a:pt x="38" y="134"/>
                  </a:lnTo>
                  <a:lnTo>
                    <a:pt x="38" y="134"/>
                  </a:lnTo>
                  <a:lnTo>
                    <a:pt x="0" y="134"/>
                  </a:lnTo>
                  <a:lnTo>
                    <a:pt x="0" y="132"/>
                  </a:lnTo>
                  <a:lnTo>
                    <a:pt x="4" y="128"/>
                  </a:lnTo>
                  <a:lnTo>
                    <a:pt x="6" y="124"/>
                  </a:lnTo>
                  <a:lnTo>
                    <a:pt x="8" y="122"/>
                  </a:lnTo>
                  <a:lnTo>
                    <a:pt x="10" y="120"/>
                  </a:lnTo>
                  <a:lnTo>
                    <a:pt x="10" y="120"/>
                  </a:lnTo>
                  <a:lnTo>
                    <a:pt x="12" y="120"/>
                  </a:lnTo>
                  <a:lnTo>
                    <a:pt x="14" y="118"/>
                  </a:lnTo>
                  <a:lnTo>
                    <a:pt x="16" y="118"/>
                  </a:lnTo>
                  <a:lnTo>
                    <a:pt x="16" y="118"/>
                  </a:lnTo>
                  <a:lnTo>
                    <a:pt x="18" y="118"/>
                  </a:lnTo>
                  <a:lnTo>
                    <a:pt x="20" y="116"/>
                  </a:lnTo>
                  <a:lnTo>
                    <a:pt x="22" y="112"/>
                  </a:lnTo>
                  <a:lnTo>
                    <a:pt x="24" y="110"/>
                  </a:lnTo>
                  <a:lnTo>
                    <a:pt x="24" y="110"/>
                  </a:lnTo>
                  <a:lnTo>
                    <a:pt x="26" y="108"/>
                  </a:lnTo>
                  <a:lnTo>
                    <a:pt x="26" y="106"/>
                  </a:lnTo>
                  <a:lnTo>
                    <a:pt x="26" y="104"/>
                  </a:lnTo>
                  <a:lnTo>
                    <a:pt x="28" y="102"/>
                  </a:lnTo>
                  <a:lnTo>
                    <a:pt x="28" y="98"/>
                  </a:lnTo>
                  <a:lnTo>
                    <a:pt x="28" y="92"/>
                  </a:lnTo>
                  <a:lnTo>
                    <a:pt x="28" y="86"/>
                  </a:lnTo>
                  <a:lnTo>
                    <a:pt x="30" y="74"/>
                  </a:lnTo>
                  <a:lnTo>
                    <a:pt x="30" y="68"/>
                  </a:lnTo>
                  <a:lnTo>
                    <a:pt x="30" y="66"/>
                  </a:lnTo>
                  <a:lnTo>
                    <a:pt x="32" y="64"/>
                  </a:lnTo>
                  <a:lnTo>
                    <a:pt x="32" y="60"/>
                  </a:lnTo>
                  <a:lnTo>
                    <a:pt x="32" y="56"/>
                  </a:lnTo>
                  <a:lnTo>
                    <a:pt x="34" y="54"/>
                  </a:lnTo>
                  <a:lnTo>
                    <a:pt x="34" y="52"/>
                  </a:lnTo>
                  <a:lnTo>
                    <a:pt x="34" y="52"/>
                  </a:lnTo>
                  <a:lnTo>
                    <a:pt x="36" y="50"/>
                  </a:lnTo>
                  <a:lnTo>
                    <a:pt x="36" y="50"/>
                  </a:lnTo>
                  <a:lnTo>
                    <a:pt x="36" y="50"/>
                  </a:lnTo>
                  <a:lnTo>
                    <a:pt x="38" y="50"/>
                  </a:lnTo>
                  <a:lnTo>
                    <a:pt x="38" y="50"/>
                  </a:lnTo>
                  <a:lnTo>
                    <a:pt x="40" y="50"/>
                  </a:lnTo>
                  <a:lnTo>
                    <a:pt x="42" y="52"/>
                  </a:lnTo>
                  <a:lnTo>
                    <a:pt x="42" y="52"/>
                  </a:lnTo>
                  <a:lnTo>
                    <a:pt x="42" y="52"/>
                  </a:lnTo>
                  <a:lnTo>
                    <a:pt x="42" y="52"/>
                  </a:lnTo>
                  <a:lnTo>
                    <a:pt x="44" y="50"/>
                  </a:lnTo>
                  <a:lnTo>
                    <a:pt x="44" y="50"/>
                  </a:lnTo>
                  <a:lnTo>
                    <a:pt x="44" y="50"/>
                  </a:lnTo>
                  <a:lnTo>
                    <a:pt x="44" y="48"/>
                  </a:lnTo>
                  <a:lnTo>
                    <a:pt x="44" y="46"/>
                  </a:lnTo>
                  <a:lnTo>
                    <a:pt x="44" y="44"/>
                  </a:lnTo>
                  <a:lnTo>
                    <a:pt x="44" y="44"/>
                  </a:lnTo>
                  <a:lnTo>
                    <a:pt x="44" y="42"/>
                  </a:lnTo>
                  <a:lnTo>
                    <a:pt x="44" y="42"/>
                  </a:lnTo>
                  <a:lnTo>
                    <a:pt x="44" y="42"/>
                  </a:lnTo>
                  <a:lnTo>
                    <a:pt x="44" y="40"/>
                  </a:lnTo>
                  <a:lnTo>
                    <a:pt x="46" y="40"/>
                  </a:lnTo>
                  <a:lnTo>
                    <a:pt x="48" y="40"/>
                  </a:lnTo>
                  <a:lnTo>
                    <a:pt x="50" y="40"/>
                  </a:lnTo>
                  <a:lnTo>
                    <a:pt x="50" y="40"/>
                  </a:lnTo>
                  <a:lnTo>
                    <a:pt x="52" y="40"/>
                  </a:lnTo>
                  <a:lnTo>
                    <a:pt x="56" y="40"/>
                  </a:lnTo>
                  <a:lnTo>
                    <a:pt x="60" y="40"/>
                  </a:lnTo>
                  <a:lnTo>
                    <a:pt x="62" y="42"/>
                  </a:lnTo>
                  <a:lnTo>
                    <a:pt x="62" y="42"/>
                  </a:lnTo>
                  <a:lnTo>
                    <a:pt x="64" y="42"/>
                  </a:lnTo>
                  <a:lnTo>
                    <a:pt x="66" y="40"/>
                  </a:lnTo>
                  <a:lnTo>
                    <a:pt x="66" y="40"/>
                  </a:lnTo>
                  <a:lnTo>
                    <a:pt x="68" y="40"/>
                  </a:lnTo>
                  <a:lnTo>
                    <a:pt x="68" y="40"/>
                  </a:lnTo>
                  <a:lnTo>
                    <a:pt x="68" y="38"/>
                  </a:lnTo>
                  <a:lnTo>
                    <a:pt x="68" y="38"/>
                  </a:lnTo>
                  <a:lnTo>
                    <a:pt x="68" y="36"/>
                  </a:lnTo>
                  <a:lnTo>
                    <a:pt x="68" y="34"/>
                  </a:lnTo>
                  <a:lnTo>
                    <a:pt x="68" y="30"/>
                  </a:lnTo>
                  <a:lnTo>
                    <a:pt x="68" y="30"/>
                  </a:lnTo>
                  <a:lnTo>
                    <a:pt x="68" y="28"/>
                  </a:lnTo>
                  <a:lnTo>
                    <a:pt x="68" y="28"/>
                  </a:lnTo>
                  <a:lnTo>
                    <a:pt x="68" y="28"/>
                  </a:lnTo>
                  <a:lnTo>
                    <a:pt x="70" y="26"/>
                  </a:lnTo>
                  <a:lnTo>
                    <a:pt x="70" y="24"/>
                  </a:lnTo>
                  <a:lnTo>
                    <a:pt x="72" y="24"/>
                  </a:lnTo>
                  <a:lnTo>
                    <a:pt x="74" y="20"/>
                  </a:lnTo>
                  <a:lnTo>
                    <a:pt x="76" y="20"/>
                  </a:lnTo>
                  <a:lnTo>
                    <a:pt x="76" y="18"/>
                  </a:lnTo>
                  <a:lnTo>
                    <a:pt x="78" y="16"/>
                  </a:lnTo>
                  <a:lnTo>
                    <a:pt x="80" y="14"/>
                  </a:lnTo>
                  <a:lnTo>
                    <a:pt x="82" y="10"/>
                  </a:lnTo>
                  <a:lnTo>
                    <a:pt x="82" y="8"/>
                  </a:lnTo>
                  <a:lnTo>
                    <a:pt x="82" y="6"/>
                  </a:lnTo>
                  <a:lnTo>
                    <a:pt x="84" y="4"/>
                  </a:lnTo>
                  <a:lnTo>
                    <a:pt x="84" y="2"/>
                  </a:lnTo>
                  <a:lnTo>
                    <a:pt x="84" y="0"/>
                  </a:lnTo>
                  <a:lnTo>
                    <a:pt x="84" y="0"/>
                  </a:lnTo>
                  <a:lnTo>
                    <a:pt x="84" y="0"/>
                  </a:lnTo>
                  <a:lnTo>
                    <a:pt x="86" y="0"/>
                  </a:lnTo>
                  <a:lnTo>
                    <a:pt x="86" y="0"/>
                  </a:lnTo>
                  <a:lnTo>
                    <a:pt x="86" y="0"/>
                  </a:lnTo>
                  <a:lnTo>
                    <a:pt x="88" y="0"/>
                  </a:lnTo>
                  <a:lnTo>
                    <a:pt x="88" y="0"/>
                  </a:lnTo>
                  <a:lnTo>
                    <a:pt x="90" y="0"/>
                  </a:lnTo>
                  <a:lnTo>
                    <a:pt x="92" y="2"/>
                  </a:lnTo>
                  <a:lnTo>
                    <a:pt x="94" y="4"/>
                  </a:lnTo>
                  <a:lnTo>
                    <a:pt x="96" y="6"/>
                  </a:lnTo>
                  <a:lnTo>
                    <a:pt x="96" y="6"/>
                  </a:lnTo>
                  <a:lnTo>
                    <a:pt x="96" y="6"/>
                  </a:lnTo>
                  <a:lnTo>
                    <a:pt x="98" y="6"/>
                  </a:lnTo>
                  <a:lnTo>
                    <a:pt x="100" y="8"/>
                  </a:lnTo>
                  <a:lnTo>
                    <a:pt x="104" y="8"/>
                  </a:lnTo>
                  <a:lnTo>
                    <a:pt x="106" y="8"/>
                  </a:lnTo>
                  <a:lnTo>
                    <a:pt x="108" y="8"/>
                  </a:lnTo>
                  <a:lnTo>
                    <a:pt x="110" y="8"/>
                  </a:lnTo>
                  <a:lnTo>
                    <a:pt x="110" y="8"/>
                  </a:lnTo>
                  <a:lnTo>
                    <a:pt x="112" y="10"/>
                  </a:lnTo>
                  <a:lnTo>
                    <a:pt x="114" y="10"/>
                  </a:lnTo>
                  <a:lnTo>
                    <a:pt x="116" y="12"/>
                  </a:lnTo>
                  <a:lnTo>
                    <a:pt x="116" y="14"/>
                  </a:lnTo>
                  <a:lnTo>
                    <a:pt x="118" y="16"/>
                  </a:lnTo>
                  <a:lnTo>
                    <a:pt x="118" y="16"/>
                  </a:lnTo>
                  <a:lnTo>
                    <a:pt x="120" y="16"/>
                  </a:lnTo>
                  <a:lnTo>
                    <a:pt x="120" y="18"/>
                  </a:lnTo>
                  <a:lnTo>
                    <a:pt x="120" y="1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8" name="Freeform 457">
              <a:extLst>
                <a:ext uri="{FF2B5EF4-FFF2-40B4-BE49-F238E27FC236}">
                  <a16:creationId xmlns:a16="http://schemas.microsoft.com/office/drawing/2014/main" id="{DE0AA670-E610-405D-ABC4-6EB367FE5695}"/>
                </a:ext>
              </a:extLst>
            </p:cNvPr>
            <p:cNvSpPr>
              <a:spLocks/>
            </p:cNvSpPr>
            <p:nvPr/>
          </p:nvSpPr>
          <p:spPr bwMode="auto">
            <a:xfrm>
              <a:off x="3981687" y="3589645"/>
              <a:ext cx="259811" cy="245955"/>
            </a:xfrm>
            <a:custGeom>
              <a:avLst/>
              <a:gdLst>
                <a:gd name="T0" fmla="*/ 120 w 150"/>
                <a:gd name="T1" fmla="*/ 16 h 142"/>
                <a:gd name="T2" fmla="*/ 128 w 150"/>
                <a:gd name="T3" fmla="*/ 16 h 142"/>
                <a:gd name="T4" fmla="*/ 142 w 150"/>
                <a:gd name="T5" fmla="*/ 20 h 142"/>
                <a:gd name="T6" fmla="*/ 148 w 150"/>
                <a:gd name="T7" fmla="*/ 26 h 142"/>
                <a:gd name="T8" fmla="*/ 146 w 150"/>
                <a:gd name="T9" fmla="*/ 30 h 142"/>
                <a:gd name="T10" fmla="*/ 140 w 150"/>
                <a:gd name="T11" fmla="*/ 38 h 142"/>
                <a:gd name="T12" fmla="*/ 140 w 150"/>
                <a:gd name="T13" fmla="*/ 42 h 142"/>
                <a:gd name="T14" fmla="*/ 146 w 150"/>
                <a:gd name="T15" fmla="*/ 44 h 142"/>
                <a:gd name="T16" fmla="*/ 150 w 150"/>
                <a:gd name="T17" fmla="*/ 48 h 142"/>
                <a:gd name="T18" fmla="*/ 148 w 150"/>
                <a:gd name="T19" fmla="*/ 60 h 142"/>
                <a:gd name="T20" fmla="*/ 144 w 150"/>
                <a:gd name="T21" fmla="*/ 68 h 142"/>
                <a:gd name="T22" fmla="*/ 140 w 150"/>
                <a:gd name="T23" fmla="*/ 72 h 142"/>
                <a:gd name="T24" fmla="*/ 130 w 150"/>
                <a:gd name="T25" fmla="*/ 72 h 142"/>
                <a:gd name="T26" fmla="*/ 126 w 150"/>
                <a:gd name="T27" fmla="*/ 74 h 142"/>
                <a:gd name="T28" fmla="*/ 124 w 150"/>
                <a:gd name="T29" fmla="*/ 80 h 142"/>
                <a:gd name="T30" fmla="*/ 124 w 150"/>
                <a:gd name="T31" fmla="*/ 84 h 142"/>
                <a:gd name="T32" fmla="*/ 130 w 150"/>
                <a:gd name="T33" fmla="*/ 88 h 142"/>
                <a:gd name="T34" fmla="*/ 130 w 150"/>
                <a:gd name="T35" fmla="*/ 94 h 142"/>
                <a:gd name="T36" fmla="*/ 120 w 150"/>
                <a:gd name="T37" fmla="*/ 102 h 142"/>
                <a:gd name="T38" fmla="*/ 110 w 150"/>
                <a:gd name="T39" fmla="*/ 110 h 142"/>
                <a:gd name="T40" fmla="*/ 98 w 150"/>
                <a:gd name="T41" fmla="*/ 120 h 142"/>
                <a:gd name="T42" fmla="*/ 88 w 150"/>
                <a:gd name="T43" fmla="*/ 126 h 142"/>
                <a:gd name="T44" fmla="*/ 80 w 150"/>
                <a:gd name="T45" fmla="*/ 126 h 142"/>
                <a:gd name="T46" fmla="*/ 76 w 150"/>
                <a:gd name="T47" fmla="*/ 130 h 142"/>
                <a:gd name="T48" fmla="*/ 74 w 150"/>
                <a:gd name="T49" fmla="*/ 134 h 142"/>
                <a:gd name="T50" fmla="*/ 66 w 150"/>
                <a:gd name="T51" fmla="*/ 132 h 142"/>
                <a:gd name="T52" fmla="*/ 64 w 150"/>
                <a:gd name="T53" fmla="*/ 132 h 142"/>
                <a:gd name="T54" fmla="*/ 62 w 150"/>
                <a:gd name="T55" fmla="*/ 136 h 142"/>
                <a:gd name="T56" fmla="*/ 62 w 150"/>
                <a:gd name="T57" fmla="*/ 140 h 142"/>
                <a:gd name="T58" fmla="*/ 56 w 150"/>
                <a:gd name="T59" fmla="*/ 142 h 142"/>
                <a:gd name="T60" fmla="*/ 46 w 150"/>
                <a:gd name="T61" fmla="*/ 140 h 142"/>
                <a:gd name="T62" fmla="*/ 48 w 150"/>
                <a:gd name="T63" fmla="*/ 134 h 142"/>
                <a:gd name="T64" fmla="*/ 44 w 150"/>
                <a:gd name="T65" fmla="*/ 132 h 142"/>
                <a:gd name="T66" fmla="*/ 0 w 150"/>
                <a:gd name="T67" fmla="*/ 134 h 142"/>
                <a:gd name="T68" fmla="*/ 10 w 150"/>
                <a:gd name="T69" fmla="*/ 120 h 142"/>
                <a:gd name="T70" fmla="*/ 16 w 150"/>
                <a:gd name="T71" fmla="*/ 118 h 142"/>
                <a:gd name="T72" fmla="*/ 24 w 150"/>
                <a:gd name="T73" fmla="*/ 110 h 142"/>
                <a:gd name="T74" fmla="*/ 28 w 150"/>
                <a:gd name="T75" fmla="*/ 98 h 142"/>
                <a:gd name="T76" fmla="*/ 30 w 150"/>
                <a:gd name="T77" fmla="*/ 66 h 142"/>
                <a:gd name="T78" fmla="*/ 34 w 150"/>
                <a:gd name="T79" fmla="*/ 52 h 142"/>
                <a:gd name="T80" fmla="*/ 38 w 150"/>
                <a:gd name="T81" fmla="*/ 50 h 142"/>
                <a:gd name="T82" fmla="*/ 42 w 150"/>
                <a:gd name="T83" fmla="*/ 52 h 142"/>
                <a:gd name="T84" fmla="*/ 44 w 150"/>
                <a:gd name="T85" fmla="*/ 48 h 142"/>
                <a:gd name="T86" fmla="*/ 44 w 150"/>
                <a:gd name="T87" fmla="*/ 42 h 142"/>
                <a:gd name="T88" fmla="*/ 50 w 150"/>
                <a:gd name="T89" fmla="*/ 40 h 142"/>
                <a:gd name="T90" fmla="*/ 62 w 150"/>
                <a:gd name="T91" fmla="*/ 42 h 142"/>
                <a:gd name="T92" fmla="*/ 68 w 150"/>
                <a:gd name="T93" fmla="*/ 40 h 142"/>
                <a:gd name="T94" fmla="*/ 68 w 150"/>
                <a:gd name="T95" fmla="*/ 34 h 142"/>
                <a:gd name="T96" fmla="*/ 68 w 150"/>
                <a:gd name="T97" fmla="*/ 28 h 142"/>
                <a:gd name="T98" fmla="*/ 76 w 150"/>
                <a:gd name="T99" fmla="*/ 20 h 142"/>
                <a:gd name="T100" fmla="*/ 82 w 150"/>
                <a:gd name="T101" fmla="*/ 8 h 142"/>
                <a:gd name="T102" fmla="*/ 84 w 150"/>
                <a:gd name="T103" fmla="*/ 0 h 142"/>
                <a:gd name="T104" fmla="*/ 88 w 150"/>
                <a:gd name="T105" fmla="*/ 0 h 142"/>
                <a:gd name="T106" fmla="*/ 96 w 150"/>
                <a:gd name="T107" fmla="*/ 6 h 142"/>
                <a:gd name="T108" fmla="*/ 104 w 150"/>
                <a:gd name="T109" fmla="*/ 8 h 142"/>
                <a:gd name="T110" fmla="*/ 112 w 150"/>
                <a:gd name="T111" fmla="*/ 10 h 142"/>
                <a:gd name="T112" fmla="*/ 118 w 150"/>
                <a:gd name="T113"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142">
                  <a:moveTo>
                    <a:pt x="120" y="18"/>
                  </a:moveTo>
                  <a:lnTo>
                    <a:pt x="120" y="18"/>
                  </a:lnTo>
                  <a:lnTo>
                    <a:pt x="120" y="18"/>
                  </a:lnTo>
                  <a:lnTo>
                    <a:pt x="120" y="18"/>
                  </a:lnTo>
                  <a:lnTo>
                    <a:pt x="120" y="16"/>
                  </a:lnTo>
                  <a:lnTo>
                    <a:pt x="120" y="16"/>
                  </a:lnTo>
                  <a:lnTo>
                    <a:pt x="122" y="16"/>
                  </a:lnTo>
                  <a:lnTo>
                    <a:pt x="124" y="16"/>
                  </a:lnTo>
                  <a:lnTo>
                    <a:pt x="124" y="16"/>
                  </a:lnTo>
                  <a:lnTo>
                    <a:pt x="128" y="16"/>
                  </a:lnTo>
                  <a:lnTo>
                    <a:pt x="130" y="16"/>
                  </a:lnTo>
                  <a:lnTo>
                    <a:pt x="134" y="16"/>
                  </a:lnTo>
                  <a:lnTo>
                    <a:pt x="136" y="16"/>
                  </a:lnTo>
                  <a:lnTo>
                    <a:pt x="138" y="16"/>
                  </a:lnTo>
                  <a:lnTo>
                    <a:pt x="142" y="20"/>
                  </a:lnTo>
                  <a:lnTo>
                    <a:pt x="144" y="22"/>
                  </a:lnTo>
                  <a:lnTo>
                    <a:pt x="146" y="24"/>
                  </a:lnTo>
                  <a:lnTo>
                    <a:pt x="146" y="24"/>
                  </a:lnTo>
                  <a:lnTo>
                    <a:pt x="146" y="26"/>
                  </a:lnTo>
                  <a:lnTo>
                    <a:pt x="148" y="26"/>
                  </a:lnTo>
                  <a:lnTo>
                    <a:pt x="148" y="26"/>
                  </a:lnTo>
                  <a:lnTo>
                    <a:pt x="148" y="28"/>
                  </a:lnTo>
                  <a:lnTo>
                    <a:pt x="148" y="28"/>
                  </a:lnTo>
                  <a:lnTo>
                    <a:pt x="146" y="28"/>
                  </a:lnTo>
                  <a:lnTo>
                    <a:pt x="146" y="30"/>
                  </a:lnTo>
                  <a:lnTo>
                    <a:pt x="144" y="32"/>
                  </a:lnTo>
                  <a:lnTo>
                    <a:pt x="144" y="34"/>
                  </a:lnTo>
                  <a:lnTo>
                    <a:pt x="142" y="36"/>
                  </a:lnTo>
                  <a:lnTo>
                    <a:pt x="140" y="38"/>
                  </a:lnTo>
                  <a:lnTo>
                    <a:pt x="140" y="38"/>
                  </a:lnTo>
                  <a:lnTo>
                    <a:pt x="140" y="40"/>
                  </a:lnTo>
                  <a:lnTo>
                    <a:pt x="140" y="40"/>
                  </a:lnTo>
                  <a:lnTo>
                    <a:pt x="140" y="40"/>
                  </a:lnTo>
                  <a:lnTo>
                    <a:pt x="140" y="42"/>
                  </a:lnTo>
                  <a:lnTo>
                    <a:pt x="140" y="42"/>
                  </a:lnTo>
                  <a:lnTo>
                    <a:pt x="142" y="42"/>
                  </a:lnTo>
                  <a:lnTo>
                    <a:pt x="142" y="42"/>
                  </a:lnTo>
                  <a:lnTo>
                    <a:pt x="144" y="44"/>
                  </a:lnTo>
                  <a:lnTo>
                    <a:pt x="146" y="44"/>
                  </a:lnTo>
                  <a:lnTo>
                    <a:pt x="146" y="44"/>
                  </a:lnTo>
                  <a:lnTo>
                    <a:pt x="148" y="44"/>
                  </a:lnTo>
                  <a:lnTo>
                    <a:pt x="148" y="46"/>
                  </a:lnTo>
                  <a:lnTo>
                    <a:pt x="148" y="46"/>
                  </a:lnTo>
                  <a:lnTo>
                    <a:pt x="150" y="46"/>
                  </a:lnTo>
                  <a:lnTo>
                    <a:pt x="150" y="48"/>
                  </a:lnTo>
                  <a:lnTo>
                    <a:pt x="150" y="50"/>
                  </a:lnTo>
                  <a:lnTo>
                    <a:pt x="150" y="52"/>
                  </a:lnTo>
                  <a:lnTo>
                    <a:pt x="150" y="54"/>
                  </a:lnTo>
                  <a:lnTo>
                    <a:pt x="150" y="56"/>
                  </a:lnTo>
                  <a:lnTo>
                    <a:pt x="148" y="60"/>
                  </a:lnTo>
                  <a:lnTo>
                    <a:pt x="148" y="62"/>
                  </a:lnTo>
                  <a:lnTo>
                    <a:pt x="146" y="64"/>
                  </a:lnTo>
                  <a:lnTo>
                    <a:pt x="146" y="66"/>
                  </a:lnTo>
                  <a:lnTo>
                    <a:pt x="146" y="68"/>
                  </a:lnTo>
                  <a:lnTo>
                    <a:pt x="144" y="68"/>
                  </a:lnTo>
                  <a:lnTo>
                    <a:pt x="144" y="70"/>
                  </a:lnTo>
                  <a:lnTo>
                    <a:pt x="142" y="72"/>
                  </a:lnTo>
                  <a:lnTo>
                    <a:pt x="142" y="72"/>
                  </a:lnTo>
                  <a:lnTo>
                    <a:pt x="140" y="72"/>
                  </a:lnTo>
                  <a:lnTo>
                    <a:pt x="140" y="72"/>
                  </a:lnTo>
                  <a:lnTo>
                    <a:pt x="140" y="72"/>
                  </a:lnTo>
                  <a:lnTo>
                    <a:pt x="136" y="72"/>
                  </a:lnTo>
                  <a:lnTo>
                    <a:pt x="134" y="72"/>
                  </a:lnTo>
                  <a:lnTo>
                    <a:pt x="132" y="72"/>
                  </a:lnTo>
                  <a:lnTo>
                    <a:pt x="130" y="72"/>
                  </a:lnTo>
                  <a:lnTo>
                    <a:pt x="128" y="72"/>
                  </a:lnTo>
                  <a:lnTo>
                    <a:pt x="128" y="72"/>
                  </a:lnTo>
                  <a:lnTo>
                    <a:pt x="126" y="72"/>
                  </a:lnTo>
                  <a:lnTo>
                    <a:pt x="126" y="72"/>
                  </a:lnTo>
                  <a:lnTo>
                    <a:pt x="126" y="74"/>
                  </a:lnTo>
                  <a:lnTo>
                    <a:pt x="124" y="74"/>
                  </a:lnTo>
                  <a:lnTo>
                    <a:pt x="124" y="76"/>
                  </a:lnTo>
                  <a:lnTo>
                    <a:pt x="124" y="78"/>
                  </a:lnTo>
                  <a:lnTo>
                    <a:pt x="124" y="78"/>
                  </a:lnTo>
                  <a:lnTo>
                    <a:pt x="124" y="80"/>
                  </a:lnTo>
                  <a:lnTo>
                    <a:pt x="124" y="82"/>
                  </a:lnTo>
                  <a:lnTo>
                    <a:pt x="124" y="82"/>
                  </a:lnTo>
                  <a:lnTo>
                    <a:pt x="124" y="82"/>
                  </a:lnTo>
                  <a:lnTo>
                    <a:pt x="124" y="84"/>
                  </a:lnTo>
                  <a:lnTo>
                    <a:pt x="124" y="84"/>
                  </a:lnTo>
                  <a:lnTo>
                    <a:pt x="126" y="86"/>
                  </a:lnTo>
                  <a:lnTo>
                    <a:pt x="128" y="86"/>
                  </a:lnTo>
                  <a:lnTo>
                    <a:pt x="128" y="88"/>
                  </a:lnTo>
                  <a:lnTo>
                    <a:pt x="130" y="88"/>
                  </a:lnTo>
                  <a:lnTo>
                    <a:pt x="130" y="88"/>
                  </a:lnTo>
                  <a:lnTo>
                    <a:pt x="130" y="90"/>
                  </a:lnTo>
                  <a:lnTo>
                    <a:pt x="132" y="90"/>
                  </a:lnTo>
                  <a:lnTo>
                    <a:pt x="130" y="92"/>
                  </a:lnTo>
                  <a:lnTo>
                    <a:pt x="130" y="92"/>
                  </a:lnTo>
                  <a:lnTo>
                    <a:pt x="130" y="94"/>
                  </a:lnTo>
                  <a:lnTo>
                    <a:pt x="128" y="94"/>
                  </a:lnTo>
                  <a:lnTo>
                    <a:pt x="128" y="96"/>
                  </a:lnTo>
                  <a:lnTo>
                    <a:pt x="126" y="96"/>
                  </a:lnTo>
                  <a:lnTo>
                    <a:pt x="124" y="100"/>
                  </a:lnTo>
                  <a:lnTo>
                    <a:pt x="120" y="102"/>
                  </a:lnTo>
                  <a:lnTo>
                    <a:pt x="118" y="102"/>
                  </a:lnTo>
                  <a:lnTo>
                    <a:pt x="114" y="104"/>
                  </a:lnTo>
                  <a:lnTo>
                    <a:pt x="114" y="106"/>
                  </a:lnTo>
                  <a:lnTo>
                    <a:pt x="112" y="106"/>
                  </a:lnTo>
                  <a:lnTo>
                    <a:pt x="110" y="110"/>
                  </a:lnTo>
                  <a:lnTo>
                    <a:pt x="106" y="112"/>
                  </a:lnTo>
                  <a:lnTo>
                    <a:pt x="102" y="116"/>
                  </a:lnTo>
                  <a:lnTo>
                    <a:pt x="102" y="118"/>
                  </a:lnTo>
                  <a:lnTo>
                    <a:pt x="100" y="120"/>
                  </a:lnTo>
                  <a:lnTo>
                    <a:pt x="98" y="120"/>
                  </a:lnTo>
                  <a:lnTo>
                    <a:pt x="94" y="122"/>
                  </a:lnTo>
                  <a:lnTo>
                    <a:pt x="92" y="124"/>
                  </a:lnTo>
                  <a:lnTo>
                    <a:pt x="90" y="126"/>
                  </a:lnTo>
                  <a:lnTo>
                    <a:pt x="88" y="126"/>
                  </a:lnTo>
                  <a:lnTo>
                    <a:pt x="88" y="126"/>
                  </a:lnTo>
                  <a:lnTo>
                    <a:pt x="86" y="126"/>
                  </a:lnTo>
                  <a:lnTo>
                    <a:pt x="84" y="126"/>
                  </a:lnTo>
                  <a:lnTo>
                    <a:pt x="82" y="126"/>
                  </a:lnTo>
                  <a:lnTo>
                    <a:pt x="80" y="126"/>
                  </a:lnTo>
                  <a:lnTo>
                    <a:pt x="80" y="126"/>
                  </a:lnTo>
                  <a:lnTo>
                    <a:pt x="78" y="126"/>
                  </a:lnTo>
                  <a:lnTo>
                    <a:pt x="78" y="126"/>
                  </a:lnTo>
                  <a:lnTo>
                    <a:pt x="78" y="126"/>
                  </a:lnTo>
                  <a:lnTo>
                    <a:pt x="76" y="130"/>
                  </a:lnTo>
                  <a:lnTo>
                    <a:pt x="76" y="130"/>
                  </a:lnTo>
                  <a:lnTo>
                    <a:pt x="76" y="132"/>
                  </a:lnTo>
                  <a:lnTo>
                    <a:pt x="76" y="132"/>
                  </a:lnTo>
                  <a:lnTo>
                    <a:pt x="74" y="132"/>
                  </a:lnTo>
                  <a:lnTo>
                    <a:pt x="74" y="134"/>
                  </a:lnTo>
                  <a:lnTo>
                    <a:pt x="74" y="134"/>
                  </a:lnTo>
                  <a:lnTo>
                    <a:pt x="74" y="134"/>
                  </a:lnTo>
                  <a:lnTo>
                    <a:pt x="72" y="134"/>
                  </a:lnTo>
                  <a:lnTo>
                    <a:pt x="70" y="132"/>
                  </a:lnTo>
                  <a:lnTo>
                    <a:pt x="68" y="132"/>
                  </a:lnTo>
                  <a:lnTo>
                    <a:pt x="66" y="132"/>
                  </a:lnTo>
                  <a:lnTo>
                    <a:pt x="66" y="132"/>
                  </a:lnTo>
                  <a:lnTo>
                    <a:pt x="64" y="132"/>
                  </a:lnTo>
                  <a:lnTo>
                    <a:pt x="64" y="132"/>
                  </a:lnTo>
                  <a:lnTo>
                    <a:pt x="64" y="132"/>
                  </a:lnTo>
                  <a:lnTo>
                    <a:pt x="64" y="132"/>
                  </a:lnTo>
                  <a:lnTo>
                    <a:pt x="62" y="132"/>
                  </a:lnTo>
                  <a:lnTo>
                    <a:pt x="62" y="132"/>
                  </a:lnTo>
                  <a:lnTo>
                    <a:pt x="62" y="134"/>
                  </a:lnTo>
                  <a:lnTo>
                    <a:pt x="62" y="134"/>
                  </a:lnTo>
                  <a:lnTo>
                    <a:pt x="62" y="136"/>
                  </a:lnTo>
                  <a:lnTo>
                    <a:pt x="62" y="138"/>
                  </a:lnTo>
                  <a:lnTo>
                    <a:pt x="62" y="138"/>
                  </a:lnTo>
                  <a:lnTo>
                    <a:pt x="62" y="140"/>
                  </a:lnTo>
                  <a:lnTo>
                    <a:pt x="62" y="140"/>
                  </a:lnTo>
                  <a:lnTo>
                    <a:pt x="62" y="140"/>
                  </a:lnTo>
                  <a:lnTo>
                    <a:pt x="62" y="142"/>
                  </a:lnTo>
                  <a:lnTo>
                    <a:pt x="60" y="142"/>
                  </a:lnTo>
                  <a:lnTo>
                    <a:pt x="60" y="142"/>
                  </a:lnTo>
                  <a:lnTo>
                    <a:pt x="58" y="142"/>
                  </a:lnTo>
                  <a:lnTo>
                    <a:pt x="56" y="142"/>
                  </a:lnTo>
                  <a:lnTo>
                    <a:pt x="54" y="142"/>
                  </a:lnTo>
                  <a:lnTo>
                    <a:pt x="50" y="142"/>
                  </a:lnTo>
                  <a:lnTo>
                    <a:pt x="48" y="142"/>
                  </a:lnTo>
                  <a:lnTo>
                    <a:pt x="46" y="142"/>
                  </a:lnTo>
                  <a:lnTo>
                    <a:pt x="46" y="140"/>
                  </a:lnTo>
                  <a:lnTo>
                    <a:pt x="48" y="138"/>
                  </a:lnTo>
                  <a:lnTo>
                    <a:pt x="48" y="136"/>
                  </a:lnTo>
                  <a:lnTo>
                    <a:pt x="48" y="136"/>
                  </a:lnTo>
                  <a:lnTo>
                    <a:pt x="48" y="134"/>
                  </a:lnTo>
                  <a:lnTo>
                    <a:pt x="48" y="134"/>
                  </a:lnTo>
                  <a:lnTo>
                    <a:pt x="48" y="134"/>
                  </a:lnTo>
                  <a:lnTo>
                    <a:pt x="48" y="134"/>
                  </a:lnTo>
                  <a:lnTo>
                    <a:pt x="46" y="134"/>
                  </a:lnTo>
                  <a:lnTo>
                    <a:pt x="46" y="132"/>
                  </a:lnTo>
                  <a:lnTo>
                    <a:pt x="44" y="132"/>
                  </a:lnTo>
                  <a:lnTo>
                    <a:pt x="44" y="132"/>
                  </a:lnTo>
                  <a:lnTo>
                    <a:pt x="40" y="134"/>
                  </a:lnTo>
                  <a:lnTo>
                    <a:pt x="38" y="134"/>
                  </a:lnTo>
                  <a:lnTo>
                    <a:pt x="38" y="134"/>
                  </a:lnTo>
                  <a:lnTo>
                    <a:pt x="0" y="134"/>
                  </a:lnTo>
                  <a:lnTo>
                    <a:pt x="0" y="132"/>
                  </a:lnTo>
                  <a:lnTo>
                    <a:pt x="4" y="128"/>
                  </a:lnTo>
                  <a:lnTo>
                    <a:pt x="6" y="124"/>
                  </a:lnTo>
                  <a:lnTo>
                    <a:pt x="8" y="122"/>
                  </a:lnTo>
                  <a:lnTo>
                    <a:pt x="10" y="120"/>
                  </a:lnTo>
                  <a:lnTo>
                    <a:pt x="10" y="120"/>
                  </a:lnTo>
                  <a:lnTo>
                    <a:pt x="12" y="120"/>
                  </a:lnTo>
                  <a:lnTo>
                    <a:pt x="14" y="118"/>
                  </a:lnTo>
                  <a:lnTo>
                    <a:pt x="16" y="118"/>
                  </a:lnTo>
                  <a:lnTo>
                    <a:pt x="16" y="118"/>
                  </a:lnTo>
                  <a:lnTo>
                    <a:pt x="18" y="118"/>
                  </a:lnTo>
                  <a:lnTo>
                    <a:pt x="20" y="116"/>
                  </a:lnTo>
                  <a:lnTo>
                    <a:pt x="22" y="112"/>
                  </a:lnTo>
                  <a:lnTo>
                    <a:pt x="24" y="110"/>
                  </a:lnTo>
                  <a:lnTo>
                    <a:pt x="24" y="110"/>
                  </a:lnTo>
                  <a:lnTo>
                    <a:pt x="26" y="108"/>
                  </a:lnTo>
                  <a:lnTo>
                    <a:pt x="26" y="106"/>
                  </a:lnTo>
                  <a:lnTo>
                    <a:pt x="26" y="104"/>
                  </a:lnTo>
                  <a:lnTo>
                    <a:pt x="28" y="102"/>
                  </a:lnTo>
                  <a:lnTo>
                    <a:pt x="28" y="98"/>
                  </a:lnTo>
                  <a:lnTo>
                    <a:pt x="28" y="92"/>
                  </a:lnTo>
                  <a:lnTo>
                    <a:pt x="28" y="86"/>
                  </a:lnTo>
                  <a:lnTo>
                    <a:pt x="30" y="74"/>
                  </a:lnTo>
                  <a:lnTo>
                    <a:pt x="30" y="68"/>
                  </a:lnTo>
                  <a:lnTo>
                    <a:pt x="30" y="66"/>
                  </a:lnTo>
                  <a:lnTo>
                    <a:pt x="32" y="64"/>
                  </a:lnTo>
                  <a:lnTo>
                    <a:pt x="32" y="60"/>
                  </a:lnTo>
                  <a:lnTo>
                    <a:pt x="32" y="56"/>
                  </a:lnTo>
                  <a:lnTo>
                    <a:pt x="34" y="54"/>
                  </a:lnTo>
                  <a:lnTo>
                    <a:pt x="34" y="52"/>
                  </a:lnTo>
                  <a:lnTo>
                    <a:pt x="34" y="52"/>
                  </a:lnTo>
                  <a:lnTo>
                    <a:pt x="36" y="50"/>
                  </a:lnTo>
                  <a:lnTo>
                    <a:pt x="36" y="50"/>
                  </a:lnTo>
                  <a:lnTo>
                    <a:pt x="36" y="50"/>
                  </a:lnTo>
                  <a:lnTo>
                    <a:pt x="38" y="50"/>
                  </a:lnTo>
                  <a:lnTo>
                    <a:pt x="38" y="50"/>
                  </a:lnTo>
                  <a:lnTo>
                    <a:pt x="40" y="50"/>
                  </a:lnTo>
                  <a:lnTo>
                    <a:pt x="42" y="52"/>
                  </a:lnTo>
                  <a:lnTo>
                    <a:pt x="42" y="52"/>
                  </a:lnTo>
                  <a:lnTo>
                    <a:pt x="42" y="52"/>
                  </a:lnTo>
                  <a:lnTo>
                    <a:pt x="42" y="52"/>
                  </a:lnTo>
                  <a:lnTo>
                    <a:pt x="44" y="50"/>
                  </a:lnTo>
                  <a:lnTo>
                    <a:pt x="44" y="50"/>
                  </a:lnTo>
                  <a:lnTo>
                    <a:pt x="44" y="50"/>
                  </a:lnTo>
                  <a:lnTo>
                    <a:pt x="44" y="48"/>
                  </a:lnTo>
                  <a:lnTo>
                    <a:pt x="44" y="46"/>
                  </a:lnTo>
                  <a:lnTo>
                    <a:pt x="44" y="44"/>
                  </a:lnTo>
                  <a:lnTo>
                    <a:pt x="44" y="44"/>
                  </a:lnTo>
                  <a:lnTo>
                    <a:pt x="44" y="42"/>
                  </a:lnTo>
                  <a:lnTo>
                    <a:pt x="44" y="42"/>
                  </a:lnTo>
                  <a:lnTo>
                    <a:pt x="44" y="42"/>
                  </a:lnTo>
                  <a:lnTo>
                    <a:pt x="44" y="40"/>
                  </a:lnTo>
                  <a:lnTo>
                    <a:pt x="46" y="40"/>
                  </a:lnTo>
                  <a:lnTo>
                    <a:pt x="48" y="40"/>
                  </a:lnTo>
                  <a:lnTo>
                    <a:pt x="50" y="40"/>
                  </a:lnTo>
                  <a:lnTo>
                    <a:pt x="50" y="40"/>
                  </a:lnTo>
                  <a:lnTo>
                    <a:pt x="52" y="40"/>
                  </a:lnTo>
                  <a:lnTo>
                    <a:pt x="56" y="40"/>
                  </a:lnTo>
                  <a:lnTo>
                    <a:pt x="60" y="40"/>
                  </a:lnTo>
                  <a:lnTo>
                    <a:pt x="62" y="42"/>
                  </a:lnTo>
                  <a:lnTo>
                    <a:pt x="62" y="42"/>
                  </a:lnTo>
                  <a:lnTo>
                    <a:pt x="64" y="42"/>
                  </a:lnTo>
                  <a:lnTo>
                    <a:pt x="66" y="40"/>
                  </a:lnTo>
                  <a:lnTo>
                    <a:pt x="66" y="40"/>
                  </a:lnTo>
                  <a:lnTo>
                    <a:pt x="68" y="40"/>
                  </a:lnTo>
                  <a:lnTo>
                    <a:pt x="68" y="40"/>
                  </a:lnTo>
                  <a:lnTo>
                    <a:pt x="68" y="38"/>
                  </a:lnTo>
                  <a:lnTo>
                    <a:pt x="68" y="38"/>
                  </a:lnTo>
                  <a:lnTo>
                    <a:pt x="68" y="36"/>
                  </a:lnTo>
                  <a:lnTo>
                    <a:pt x="68" y="34"/>
                  </a:lnTo>
                  <a:lnTo>
                    <a:pt x="68" y="30"/>
                  </a:lnTo>
                  <a:lnTo>
                    <a:pt x="68" y="30"/>
                  </a:lnTo>
                  <a:lnTo>
                    <a:pt x="68" y="28"/>
                  </a:lnTo>
                  <a:lnTo>
                    <a:pt x="68" y="28"/>
                  </a:lnTo>
                  <a:lnTo>
                    <a:pt x="68" y="28"/>
                  </a:lnTo>
                  <a:lnTo>
                    <a:pt x="70" y="26"/>
                  </a:lnTo>
                  <a:lnTo>
                    <a:pt x="70" y="24"/>
                  </a:lnTo>
                  <a:lnTo>
                    <a:pt x="72" y="24"/>
                  </a:lnTo>
                  <a:lnTo>
                    <a:pt x="74" y="20"/>
                  </a:lnTo>
                  <a:lnTo>
                    <a:pt x="76" y="20"/>
                  </a:lnTo>
                  <a:lnTo>
                    <a:pt x="76" y="18"/>
                  </a:lnTo>
                  <a:lnTo>
                    <a:pt x="78" y="16"/>
                  </a:lnTo>
                  <a:lnTo>
                    <a:pt x="80" y="14"/>
                  </a:lnTo>
                  <a:lnTo>
                    <a:pt x="82" y="10"/>
                  </a:lnTo>
                  <a:lnTo>
                    <a:pt x="82" y="8"/>
                  </a:lnTo>
                  <a:lnTo>
                    <a:pt x="82" y="6"/>
                  </a:lnTo>
                  <a:lnTo>
                    <a:pt x="84" y="4"/>
                  </a:lnTo>
                  <a:lnTo>
                    <a:pt x="84" y="2"/>
                  </a:lnTo>
                  <a:lnTo>
                    <a:pt x="84" y="0"/>
                  </a:lnTo>
                  <a:lnTo>
                    <a:pt x="84" y="0"/>
                  </a:lnTo>
                  <a:lnTo>
                    <a:pt x="84" y="0"/>
                  </a:lnTo>
                  <a:lnTo>
                    <a:pt x="86" y="0"/>
                  </a:lnTo>
                  <a:lnTo>
                    <a:pt x="86" y="0"/>
                  </a:lnTo>
                  <a:lnTo>
                    <a:pt x="86" y="0"/>
                  </a:lnTo>
                  <a:lnTo>
                    <a:pt x="88" y="0"/>
                  </a:lnTo>
                  <a:lnTo>
                    <a:pt x="88" y="0"/>
                  </a:lnTo>
                  <a:lnTo>
                    <a:pt x="90" y="0"/>
                  </a:lnTo>
                  <a:lnTo>
                    <a:pt x="92" y="2"/>
                  </a:lnTo>
                  <a:lnTo>
                    <a:pt x="94" y="4"/>
                  </a:lnTo>
                  <a:lnTo>
                    <a:pt x="96" y="6"/>
                  </a:lnTo>
                  <a:lnTo>
                    <a:pt x="96" y="6"/>
                  </a:lnTo>
                  <a:lnTo>
                    <a:pt x="96" y="6"/>
                  </a:lnTo>
                  <a:lnTo>
                    <a:pt x="98" y="6"/>
                  </a:lnTo>
                  <a:lnTo>
                    <a:pt x="100" y="8"/>
                  </a:lnTo>
                  <a:lnTo>
                    <a:pt x="104" y="8"/>
                  </a:lnTo>
                  <a:lnTo>
                    <a:pt x="106" y="8"/>
                  </a:lnTo>
                  <a:lnTo>
                    <a:pt x="108" y="8"/>
                  </a:lnTo>
                  <a:lnTo>
                    <a:pt x="110" y="8"/>
                  </a:lnTo>
                  <a:lnTo>
                    <a:pt x="110" y="8"/>
                  </a:lnTo>
                  <a:lnTo>
                    <a:pt x="112" y="10"/>
                  </a:lnTo>
                  <a:lnTo>
                    <a:pt x="114" y="10"/>
                  </a:lnTo>
                  <a:lnTo>
                    <a:pt x="116" y="12"/>
                  </a:lnTo>
                  <a:lnTo>
                    <a:pt x="116" y="14"/>
                  </a:lnTo>
                  <a:lnTo>
                    <a:pt x="118" y="16"/>
                  </a:lnTo>
                  <a:lnTo>
                    <a:pt x="118" y="16"/>
                  </a:lnTo>
                  <a:lnTo>
                    <a:pt x="120" y="16"/>
                  </a:lnTo>
                  <a:lnTo>
                    <a:pt x="120" y="18"/>
                  </a:lnTo>
                  <a:lnTo>
                    <a:pt x="120" y="18"/>
                  </a:lnTo>
                </a:path>
              </a:pathLst>
            </a:custGeom>
            <a:grp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9" name="Freeform 458">
              <a:extLst>
                <a:ext uri="{FF2B5EF4-FFF2-40B4-BE49-F238E27FC236}">
                  <a16:creationId xmlns:a16="http://schemas.microsoft.com/office/drawing/2014/main" id="{F9D33167-0994-4902-9B19-4A0ECAE7E440}"/>
                </a:ext>
              </a:extLst>
            </p:cNvPr>
            <p:cNvSpPr>
              <a:spLocks/>
            </p:cNvSpPr>
            <p:nvPr/>
          </p:nvSpPr>
          <p:spPr bwMode="auto">
            <a:xfrm>
              <a:off x="3981687" y="3589645"/>
              <a:ext cx="259811" cy="245955"/>
            </a:xfrm>
            <a:custGeom>
              <a:avLst/>
              <a:gdLst>
                <a:gd name="T0" fmla="*/ 120 w 150"/>
                <a:gd name="T1" fmla="*/ 16 h 142"/>
                <a:gd name="T2" fmla="*/ 128 w 150"/>
                <a:gd name="T3" fmla="*/ 16 h 142"/>
                <a:gd name="T4" fmla="*/ 142 w 150"/>
                <a:gd name="T5" fmla="*/ 20 h 142"/>
                <a:gd name="T6" fmla="*/ 148 w 150"/>
                <a:gd name="T7" fmla="*/ 26 h 142"/>
                <a:gd name="T8" fmla="*/ 146 w 150"/>
                <a:gd name="T9" fmla="*/ 30 h 142"/>
                <a:gd name="T10" fmla="*/ 140 w 150"/>
                <a:gd name="T11" fmla="*/ 38 h 142"/>
                <a:gd name="T12" fmla="*/ 140 w 150"/>
                <a:gd name="T13" fmla="*/ 42 h 142"/>
                <a:gd name="T14" fmla="*/ 146 w 150"/>
                <a:gd name="T15" fmla="*/ 44 h 142"/>
                <a:gd name="T16" fmla="*/ 150 w 150"/>
                <a:gd name="T17" fmla="*/ 48 h 142"/>
                <a:gd name="T18" fmla="*/ 148 w 150"/>
                <a:gd name="T19" fmla="*/ 60 h 142"/>
                <a:gd name="T20" fmla="*/ 144 w 150"/>
                <a:gd name="T21" fmla="*/ 68 h 142"/>
                <a:gd name="T22" fmla="*/ 140 w 150"/>
                <a:gd name="T23" fmla="*/ 72 h 142"/>
                <a:gd name="T24" fmla="*/ 130 w 150"/>
                <a:gd name="T25" fmla="*/ 72 h 142"/>
                <a:gd name="T26" fmla="*/ 126 w 150"/>
                <a:gd name="T27" fmla="*/ 74 h 142"/>
                <a:gd name="T28" fmla="*/ 124 w 150"/>
                <a:gd name="T29" fmla="*/ 80 h 142"/>
                <a:gd name="T30" fmla="*/ 124 w 150"/>
                <a:gd name="T31" fmla="*/ 84 h 142"/>
                <a:gd name="T32" fmla="*/ 130 w 150"/>
                <a:gd name="T33" fmla="*/ 88 h 142"/>
                <a:gd name="T34" fmla="*/ 130 w 150"/>
                <a:gd name="T35" fmla="*/ 94 h 142"/>
                <a:gd name="T36" fmla="*/ 120 w 150"/>
                <a:gd name="T37" fmla="*/ 102 h 142"/>
                <a:gd name="T38" fmla="*/ 110 w 150"/>
                <a:gd name="T39" fmla="*/ 110 h 142"/>
                <a:gd name="T40" fmla="*/ 98 w 150"/>
                <a:gd name="T41" fmla="*/ 120 h 142"/>
                <a:gd name="T42" fmla="*/ 88 w 150"/>
                <a:gd name="T43" fmla="*/ 126 h 142"/>
                <a:gd name="T44" fmla="*/ 80 w 150"/>
                <a:gd name="T45" fmla="*/ 126 h 142"/>
                <a:gd name="T46" fmla="*/ 76 w 150"/>
                <a:gd name="T47" fmla="*/ 130 h 142"/>
                <a:gd name="T48" fmla="*/ 74 w 150"/>
                <a:gd name="T49" fmla="*/ 134 h 142"/>
                <a:gd name="T50" fmla="*/ 66 w 150"/>
                <a:gd name="T51" fmla="*/ 132 h 142"/>
                <a:gd name="T52" fmla="*/ 64 w 150"/>
                <a:gd name="T53" fmla="*/ 132 h 142"/>
                <a:gd name="T54" fmla="*/ 62 w 150"/>
                <a:gd name="T55" fmla="*/ 136 h 142"/>
                <a:gd name="T56" fmla="*/ 62 w 150"/>
                <a:gd name="T57" fmla="*/ 140 h 142"/>
                <a:gd name="T58" fmla="*/ 56 w 150"/>
                <a:gd name="T59" fmla="*/ 142 h 142"/>
                <a:gd name="T60" fmla="*/ 46 w 150"/>
                <a:gd name="T61" fmla="*/ 140 h 142"/>
                <a:gd name="T62" fmla="*/ 48 w 150"/>
                <a:gd name="T63" fmla="*/ 134 h 142"/>
                <a:gd name="T64" fmla="*/ 44 w 150"/>
                <a:gd name="T65" fmla="*/ 132 h 142"/>
                <a:gd name="T66" fmla="*/ 0 w 150"/>
                <a:gd name="T67" fmla="*/ 134 h 142"/>
                <a:gd name="T68" fmla="*/ 10 w 150"/>
                <a:gd name="T69" fmla="*/ 120 h 142"/>
                <a:gd name="T70" fmla="*/ 16 w 150"/>
                <a:gd name="T71" fmla="*/ 118 h 142"/>
                <a:gd name="T72" fmla="*/ 24 w 150"/>
                <a:gd name="T73" fmla="*/ 110 h 142"/>
                <a:gd name="T74" fmla="*/ 28 w 150"/>
                <a:gd name="T75" fmla="*/ 98 h 142"/>
                <a:gd name="T76" fmla="*/ 30 w 150"/>
                <a:gd name="T77" fmla="*/ 66 h 142"/>
                <a:gd name="T78" fmla="*/ 34 w 150"/>
                <a:gd name="T79" fmla="*/ 52 h 142"/>
                <a:gd name="T80" fmla="*/ 38 w 150"/>
                <a:gd name="T81" fmla="*/ 50 h 142"/>
                <a:gd name="T82" fmla="*/ 42 w 150"/>
                <a:gd name="T83" fmla="*/ 52 h 142"/>
                <a:gd name="T84" fmla="*/ 44 w 150"/>
                <a:gd name="T85" fmla="*/ 48 h 142"/>
                <a:gd name="T86" fmla="*/ 44 w 150"/>
                <a:gd name="T87" fmla="*/ 42 h 142"/>
                <a:gd name="T88" fmla="*/ 50 w 150"/>
                <a:gd name="T89" fmla="*/ 40 h 142"/>
                <a:gd name="T90" fmla="*/ 62 w 150"/>
                <a:gd name="T91" fmla="*/ 42 h 142"/>
                <a:gd name="T92" fmla="*/ 68 w 150"/>
                <a:gd name="T93" fmla="*/ 40 h 142"/>
                <a:gd name="T94" fmla="*/ 68 w 150"/>
                <a:gd name="T95" fmla="*/ 34 h 142"/>
                <a:gd name="T96" fmla="*/ 68 w 150"/>
                <a:gd name="T97" fmla="*/ 28 h 142"/>
                <a:gd name="T98" fmla="*/ 76 w 150"/>
                <a:gd name="T99" fmla="*/ 20 h 142"/>
                <a:gd name="T100" fmla="*/ 82 w 150"/>
                <a:gd name="T101" fmla="*/ 8 h 142"/>
                <a:gd name="T102" fmla="*/ 84 w 150"/>
                <a:gd name="T103" fmla="*/ 0 h 142"/>
                <a:gd name="T104" fmla="*/ 88 w 150"/>
                <a:gd name="T105" fmla="*/ 0 h 142"/>
                <a:gd name="T106" fmla="*/ 96 w 150"/>
                <a:gd name="T107" fmla="*/ 6 h 142"/>
                <a:gd name="T108" fmla="*/ 104 w 150"/>
                <a:gd name="T109" fmla="*/ 8 h 142"/>
                <a:gd name="T110" fmla="*/ 112 w 150"/>
                <a:gd name="T111" fmla="*/ 10 h 142"/>
                <a:gd name="T112" fmla="*/ 118 w 150"/>
                <a:gd name="T113"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142">
                  <a:moveTo>
                    <a:pt x="120" y="18"/>
                  </a:moveTo>
                  <a:lnTo>
                    <a:pt x="120" y="18"/>
                  </a:lnTo>
                  <a:lnTo>
                    <a:pt x="120" y="18"/>
                  </a:lnTo>
                  <a:lnTo>
                    <a:pt x="120" y="18"/>
                  </a:lnTo>
                  <a:lnTo>
                    <a:pt x="120" y="16"/>
                  </a:lnTo>
                  <a:lnTo>
                    <a:pt x="120" y="16"/>
                  </a:lnTo>
                  <a:lnTo>
                    <a:pt x="122" y="16"/>
                  </a:lnTo>
                  <a:lnTo>
                    <a:pt x="124" y="16"/>
                  </a:lnTo>
                  <a:lnTo>
                    <a:pt x="124" y="16"/>
                  </a:lnTo>
                  <a:lnTo>
                    <a:pt x="128" y="16"/>
                  </a:lnTo>
                  <a:lnTo>
                    <a:pt x="130" y="16"/>
                  </a:lnTo>
                  <a:lnTo>
                    <a:pt x="134" y="16"/>
                  </a:lnTo>
                  <a:lnTo>
                    <a:pt x="136" y="16"/>
                  </a:lnTo>
                  <a:lnTo>
                    <a:pt x="138" y="16"/>
                  </a:lnTo>
                  <a:lnTo>
                    <a:pt x="142" y="20"/>
                  </a:lnTo>
                  <a:lnTo>
                    <a:pt x="144" y="22"/>
                  </a:lnTo>
                  <a:lnTo>
                    <a:pt x="146" y="24"/>
                  </a:lnTo>
                  <a:lnTo>
                    <a:pt x="146" y="24"/>
                  </a:lnTo>
                  <a:lnTo>
                    <a:pt x="146" y="26"/>
                  </a:lnTo>
                  <a:lnTo>
                    <a:pt x="148" y="26"/>
                  </a:lnTo>
                  <a:lnTo>
                    <a:pt x="148" y="26"/>
                  </a:lnTo>
                  <a:lnTo>
                    <a:pt x="148" y="28"/>
                  </a:lnTo>
                  <a:lnTo>
                    <a:pt x="148" y="28"/>
                  </a:lnTo>
                  <a:lnTo>
                    <a:pt x="146" y="28"/>
                  </a:lnTo>
                  <a:lnTo>
                    <a:pt x="146" y="30"/>
                  </a:lnTo>
                  <a:lnTo>
                    <a:pt x="144" y="32"/>
                  </a:lnTo>
                  <a:lnTo>
                    <a:pt x="144" y="34"/>
                  </a:lnTo>
                  <a:lnTo>
                    <a:pt x="142" y="36"/>
                  </a:lnTo>
                  <a:lnTo>
                    <a:pt x="140" y="38"/>
                  </a:lnTo>
                  <a:lnTo>
                    <a:pt x="140" y="38"/>
                  </a:lnTo>
                  <a:lnTo>
                    <a:pt x="140" y="40"/>
                  </a:lnTo>
                  <a:lnTo>
                    <a:pt x="140" y="40"/>
                  </a:lnTo>
                  <a:lnTo>
                    <a:pt x="140" y="40"/>
                  </a:lnTo>
                  <a:lnTo>
                    <a:pt x="140" y="42"/>
                  </a:lnTo>
                  <a:lnTo>
                    <a:pt x="140" y="42"/>
                  </a:lnTo>
                  <a:lnTo>
                    <a:pt x="142" y="42"/>
                  </a:lnTo>
                  <a:lnTo>
                    <a:pt x="142" y="42"/>
                  </a:lnTo>
                  <a:lnTo>
                    <a:pt x="144" y="44"/>
                  </a:lnTo>
                  <a:lnTo>
                    <a:pt x="146" y="44"/>
                  </a:lnTo>
                  <a:lnTo>
                    <a:pt x="146" y="44"/>
                  </a:lnTo>
                  <a:lnTo>
                    <a:pt x="148" y="44"/>
                  </a:lnTo>
                  <a:lnTo>
                    <a:pt x="148" y="46"/>
                  </a:lnTo>
                  <a:lnTo>
                    <a:pt x="148" y="46"/>
                  </a:lnTo>
                  <a:lnTo>
                    <a:pt x="150" y="46"/>
                  </a:lnTo>
                  <a:lnTo>
                    <a:pt x="150" y="48"/>
                  </a:lnTo>
                  <a:lnTo>
                    <a:pt x="150" y="50"/>
                  </a:lnTo>
                  <a:lnTo>
                    <a:pt x="150" y="52"/>
                  </a:lnTo>
                  <a:lnTo>
                    <a:pt x="150" y="54"/>
                  </a:lnTo>
                  <a:lnTo>
                    <a:pt x="150" y="56"/>
                  </a:lnTo>
                  <a:lnTo>
                    <a:pt x="148" y="60"/>
                  </a:lnTo>
                  <a:lnTo>
                    <a:pt x="148" y="62"/>
                  </a:lnTo>
                  <a:lnTo>
                    <a:pt x="146" y="64"/>
                  </a:lnTo>
                  <a:lnTo>
                    <a:pt x="146" y="66"/>
                  </a:lnTo>
                  <a:lnTo>
                    <a:pt x="146" y="68"/>
                  </a:lnTo>
                  <a:lnTo>
                    <a:pt x="144" y="68"/>
                  </a:lnTo>
                  <a:lnTo>
                    <a:pt x="144" y="70"/>
                  </a:lnTo>
                  <a:lnTo>
                    <a:pt x="142" y="72"/>
                  </a:lnTo>
                  <a:lnTo>
                    <a:pt x="142" y="72"/>
                  </a:lnTo>
                  <a:lnTo>
                    <a:pt x="140" y="72"/>
                  </a:lnTo>
                  <a:lnTo>
                    <a:pt x="140" y="72"/>
                  </a:lnTo>
                  <a:lnTo>
                    <a:pt x="140" y="72"/>
                  </a:lnTo>
                  <a:lnTo>
                    <a:pt x="136" y="72"/>
                  </a:lnTo>
                  <a:lnTo>
                    <a:pt x="134" y="72"/>
                  </a:lnTo>
                  <a:lnTo>
                    <a:pt x="132" y="72"/>
                  </a:lnTo>
                  <a:lnTo>
                    <a:pt x="130" y="72"/>
                  </a:lnTo>
                  <a:lnTo>
                    <a:pt x="128" y="72"/>
                  </a:lnTo>
                  <a:lnTo>
                    <a:pt x="128" y="72"/>
                  </a:lnTo>
                  <a:lnTo>
                    <a:pt x="126" y="72"/>
                  </a:lnTo>
                  <a:lnTo>
                    <a:pt x="126" y="72"/>
                  </a:lnTo>
                  <a:lnTo>
                    <a:pt x="126" y="74"/>
                  </a:lnTo>
                  <a:lnTo>
                    <a:pt x="124" y="74"/>
                  </a:lnTo>
                  <a:lnTo>
                    <a:pt x="124" y="76"/>
                  </a:lnTo>
                  <a:lnTo>
                    <a:pt x="124" y="78"/>
                  </a:lnTo>
                  <a:lnTo>
                    <a:pt x="124" y="78"/>
                  </a:lnTo>
                  <a:lnTo>
                    <a:pt x="124" y="80"/>
                  </a:lnTo>
                  <a:lnTo>
                    <a:pt x="124" y="82"/>
                  </a:lnTo>
                  <a:lnTo>
                    <a:pt x="124" y="82"/>
                  </a:lnTo>
                  <a:lnTo>
                    <a:pt x="124" y="82"/>
                  </a:lnTo>
                  <a:lnTo>
                    <a:pt x="124" y="84"/>
                  </a:lnTo>
                  <a:lnTo>
                    <a:pt x="124" y="84"/>
                  </a:lnTo>
                  <a:lnTo>
                    <a:pt x="126" y="86"/>
                  </a:lnTo>
                  <a:lnTo>
                    <a:pt x="128" y="86"/>
                  </a:lnTo>
                  <a:lnTo>
                    <a:pt x="128" y="88"/>
                  </a:lnTo>
                  <a:lnTo>
                    <a:pt x="130" y="88"/>
                  </a:lnTo>
                  <a:lnTo>
                    <a:pt x="130" y="88"/>
                  </a:lnTo>
                  <a:lnTo>
                    <a:pt x="130" y="90"/>
                  </a:lnTo>
                  <a:lnTo>
                    <a:pt x="132" y="90"/>
                  </a:lnTo>
                  <a:lnTo>
                    <a:pt x="130" y="92"/>
                  </a:lnTo>
                  <a:lnTo>
                    <a:pt x="130" y="92"/>
                  </a:lnTo>
                  <a:lnTo>
                    <a:pt x="130" y="94"/>
                  </a:lnTo>
                  <a:lnTo>
                    <a:pt x="128" y="94"/>
                  </a:lnTo>
                  <a:lnTo>
                    <a:pt x="128" y="96"/>
                  </a:lnTo>
                  <a:lnTo>
                    <a:pt x="126" y="96"/>
                  </a:lnTo>
                  <a:lnTo>
                    <a:pt x="124" y="100"/>
                  </a:lnTo>
                  <a:lnTo>
                    <a:pt x="120" y="102"/>
                  </a:lnTo>
                  <a:lnTo>
                    <a:pt x="118" y="102"/>
                  </a:lnTo>
                  <a:lnTo>
                    <a:pt x="114" y="104"/>
                  </a:lnTo>
                  <a:lnTo>
                    <a:pt x="114" y="106"/>
                  </a:lnTo>
                  <a:lnTo>
                    <a:pt x="112" y="106"/>
                  </a:lnTo>
                  <a:lnTo>
                    <a:pt x="110" y="110"/>
                  </a:lnTo>
                  <a:lnTo>
                    <a:pt x="106" y="112"/>
                  </a:lnTo>
                  <a:lnTo>
                    <a:pt x="102" y="116"/>
                  </a:lnTo>
                  <a:lnTo>
                    <a:pt x="102" y="118"/>
                  </a:lnTo>
                  <a:lnTo>
                    <a:pt x="100" y="120"/>
                  </a:lnTo>
                  <a:lnTo>
                    <a:pt x="98" y="120"/>
                  </a:lnTo>
                  <a:lnTo>
                    <a:pt x="94" y="122"/>
                  </a:lnTo>
                  <a:lnTo>
                    <a:pt x="92" y="124"/>
                  </a:lnTo>
                  <a:lnTo>
                    <a:pt x="90" y="126"/>
                  </a:lnTo>
                  <a:lnTo>
                    <a:pt x="88" y="126"/>
                  </a:lnTo>
                  <a:lnTo>
                    <a:pt x="88" y="126"/>
                  </a:lnTo>
                  <a:lnTo>
                    <a:pt x="86" y="126"/>
                  </a:lnTo>
                  <a:lnTo>
                    <a:pt x="84" y="126"/>
                  </a:lnTo>
                  <a:lnTo>
                    <a:pt x="82" y="126"/>
                  </a:lnTo>
                  <a:lnTo>
                    <a:pt x="80" y="126"/>
                  </a:lnTo>
                  <a:lnTo>
                    <a:pt x="80" y="126"/>
                  </a:lnTo>
                  <a:lnTo>
                    <a:pt x="78" y="126"/>
                  </a:lnTo>
                  <a:lnTo>
                    <a:pt x="78" y="126"/>
                  </a:lnTo>
                  <a:lnTo>
                    <a:pt x="78" y="126"/>
                  </a:lnTo>
                  <a:lnTo>
                    <a:pt x="76" y="130"/>
                  </a:lnTo>
                  <a:lnTo>
                    <a:pt x="76" y="130"/>
                  </a:lnTo>
                  <a:lnTo>
                    <a:pt x="76" y="132"/>
                  </a:lnTo>
                  <a:lnTo>
                    <a:pt x="76" y="132"/>
                  </a:lnTo>
                  <a:lnTo>
                    <a:pt x="74" y="132"/>
                  </a:lnTo>
                  <a:lnTo>
                    <a:pt x="74" y="134"/>
                  </a:lnTo>
                  <a:lnTo>
                    <a:pt x="74" y="134"/>
                  </a:lnTo>
                  <a:lnTo>
                    <a:pt x="74" y="134"/>
                  </a:lnTo>
                  <a:lnTo>
                    <a:pt x="72" y="134"/>
                  </a:lnTo>
                  <a:lnTo>
                    <a:pt x="70" y="132"/>
                  </a:lnTo>
                  <a:lnTo>
                    <a:pt x="68" y="132"/>
                  </a:lnTo>
                  <a:lnTo>
                    <a:pt x="66" y="132"/>
                  </a:lnTo>
                  <a:lnTo>
                    <a:pt x="66" y="132"/>
                  </a:lnTo>
                  <a:lnTo>
                    <a:pt x="64" y="132"/>
                  </a:lnTo>
                  <a:lnTo>
                    <a:pt x="64" y="132"/>
                  </a:lnTo>
                  <a:lnTo>
                    <a:pt x="64" y="132"/>
                  </a:lnTo>
                  <a:lnTo>
                    <a:pt x="64" y="132"/>
                  </a:lnTo>
                  <a:lnTo>
                    <a:pt x="62" y="132"/>
                  </a:lnTo>
                  <a:lnTo>
                    <a:pt x="62" y="132"/>
                  </a:lnTo>
                  <a:lnTo>
                    <a:pt x="62" y="134"/>
                  </a:lnTo>
                  <a:lnTo>
                    <a:pt x="62" y="134"/>
                  </a:lnTo>
                  <a:lnTo>
                    <a:pt x="62" y="136"/>
                  </a:lnTo>
                  <a:lnTo>
                    <a:pt x="62" y="138"/>
                  </a:lnTo>
                  <a:lnTo>
                    <a:pt x="62" y="138"/>
                  </a:lnTo>
                  <a:lnTo>
                    <a:pt x="62" y="140"/>
                  </a:lnTo>
                  <a:lnTo>
                    <a:pt x="62" y="140"/>
                  </a:lnTo>
                  <a:lnTo>
                    <a:pt x="62" y="140"/>
                  </a:lnTo>
                  <a:lnTo>
                    <a:pt x="62" y="142"/>
                  </a:lnTo>
                  <a:lnTo>
                    <a:pt x="60" y="142"/>
                  </a:lnTo>
                  <a:lnTo>
                    <a:pt x="60" y="142"/>
                  </a:lnTo>
                  <a:lnTo>
                    <a:pt x="58" y="142"/>
                  </a:lnTo>
                  <a:lnTo>
                    <a:pt x="56" y="142"/>
                  </a:lnTo>
                  <a:lnTo>
                    <a:pt x="54" y="142"/>
                  </a:lnTo>
                  <a:lnTo>
                    <a:pt x="50" y="142"/>
                  </a:lnTo>
                  <a:lnTo>
                    <a:pt x="48" y="142"/>
                  </a:lnTo>
                  <a:lnTo>
                    <a:pt x="46" y="142"/>
                  </a:lnTo>
                  <a:lnTo>
                    <a:pt x="46" y="140"/>
                  </a:lnTo>
                  <a:lnTo>
                    <a:pt x="48" y="138"/>
                  </a:lnTo>
                  <a:lnTo>
                    <a:pt x="48" y="136"/>
                  </a:lnTo>
                  <a:lnTo>
                    <a:pt x="48" y="136"/>
                  </a:lnTo>
                  <a:lnTo>
                    <a:pt x="48" y="134"/>
                  </a:lnTo>
                  <a:lnTo>
                    <a:pt x="48" y="134"/>
                  </a:lnTo>
                  <a:lnTo>
                    <a:pt x="48" y="134"/>
                  </a:lnTo>
                  <a:lnTo>
                    <a:pt x="48" y="134"/>
                  </a:lnTo>
                  <a:lnTo>
                    <a:pt x="46" y="134"/>
                  </a:lnTo>
                  <a:lnTo>
                    <a:pt x="46" y="132"/>
                  </a:lnTo>
                  <a:lnTo>
                    <a:pt x="44" y="132"/>
                  </a:lnTo>
                  <a:lnTo>
                    <a:pt x="44" y="132"/>
                  </a:lnTo>
                  <a:lnTo>
                    <a:pt x="40" y="134"/>
                  </a:lnTo>
                  <a:lnTo>
                    <a:pt x="38" y="134"/>
                  </a:lnTo>
                  <a:lnTo>
                    <a:pt x="38" y="134"/>
                  </a:lnTo>
                  <a:lnTo>
                    <a:pt x="0" y="134"/>
                  </a:lnTo>
                  <a:lnTo>
                    <a:pt x="0" y="132"/>
                  </a:lnTo>
                  <a:lnTo>
                    <a:pt x="4" y="128"/>
                  </a:lnTo>
                  <a:lnTo>
                    <a:pt x="6" y="124"/>
                  </a:lnTo>
                  <a:lnTo>
                    <a:pt x="8" y="122"/>
                  </a:lnTo>
                  <a:lnTo>
                    <a:pt x="10" y="120"/>
                  </a:lnTo>
                  <a:lnTo>
                    <a:pt x="10" y="120"/>
                  </a:lnTo>
                  <a:lnTo>
                    <a:pt x="12" y="120"/>
                  </a:lnTo>
                  <a:lnTo>
                    <a:pt x="14" y="118"/>
                  </a:lnTo>
                  <a:lnTo>
                    <a:pt x="16" y="118"/>
                  </a:lnTo>
                  <a:lnTo>
                    <a:pt x="16" y="118"/>
                  </a:lnTo>
                  <a:lnTo>
                    <a:pt x="18" y="118"/>
                  </a:lnTo>
                  <a:lnTo>
                    <a:pt x="20" y="116"/>
                  </a:lnTo>
                  <a:lnTo>
                    <a:pt x="22" y="112"/>
                  </a:lnTo>
                  <a:lnTo>
                    <a:pt x="24" y="110"/>
                  </a:lnTo>
                  <a:lnTo>
                    <a:pt x="24" y="110"/>
                  </a:lnTo>
                  <a:lnTo>
                    <a:pt x="26" y="108"/>
                  </a:lnTo>
                  <a:lnTo>
                    <a:pt x="26" y="106"/>
                  </a:lnTo>
                  <a:lnTo>
                    <a:pt x="26" y="104"/>
                  </a:lnTo>
                  <a:lnTo>
                    <a:pt x="28" y="102"/>
                  </a:lnTo>
                  <a:lnTo>
                    <a:pt x="28" y="98"/>
                  </a:lnTo>
                  <a:lnTo>
                    <a:pt x="28" y="92"/>
                  </a:lnTo>
                  <a:lnTo>
                    <a:pt x="28" y="86"/>
                  </a:lnTo>
                  <a:lnTo>
                    <a:pt x="30" y="74"/>
                  </a:lnTo>
                  <a:lnTo>
                    <a:pt x="30" y="68"/>
                  </a:lnTo>
                  <a:lnTo>
                    <a:pt x="30" y="66"/>
                  </a:lnTo>
                  <a:lnTo>
                    <a:pt x="32" y="64"/>
                  </a:lnTo>
                  <a:lnTo>
                    <a:pt x="32" y="60"/>
                  </a:lnTo>
                  <a:lnTo>
                    <a:pt x="32" y="56"/>
                  </a:lnTo>
                  <a:lnTo>
                    <a:pt x="34" y="54"/>
                  </a:lnTo>
                  <a:lnTo>
                    <a:pt x="34" y="52"/>
                  </a:lnTo>
                  <a:lnTo>
                    <a:pt x="34" y="52"/>
                  </a:lnTo>
                  <a:lnTo>
                    <a:pt x="36" y="50"/>
                  </a:lnTo>
                  <a:lnTo>
                    <a:pt x="36" y="50"/>
                  </a:lnTo>
                  <a:lnTo>
                    <a:pt x="36" y="50"/>
                  </a:lnTo>
                  <a:lnTo>
                    <a:pt x="38" y="50"/>
                  </a:lnTo>
                  <a:lnTo>
                    <a:pt x="38" y="50"/>
                  </a:lnTo>
                  <a:lnTo>
                    <a:pt x="40" y="50"/>
                  </a:lnTo>
                  <a:lnTo>
                    <a:pt x="42" y="52"/>
                  </a:lnTo>
                  <a:lnTo>
                    <a:pt x="42" y="52"/>
                  </a:lnTo>
                  <a:lnTo>
                    <a:pt x="42" y="52"/>
                  </a:lnTo>
                  <a:lnTo>
                    <a:pt x="42" y="52"/>
                  </a:lnTo>
                  <a:lnTo>
                    <a:pt x="44" y="50"/>
                  </a:lnTo>
                  <a:lnTo>
                    <a:pt x="44" y="50"/>
                  </a:lnTo>
                  <a:lnTo>
                    <a:pt x="44" y="50"/>
                  </a:lnTo>
                  <a:lnTo>
                    <a:pt x="44" y="48"/>
                  </a:lnTo>
                  <a:lnTo>
                    <a:pt x="44" y="46"/>
                  </a:lnTo>
                  <a:lnTo>
                    <a:pt x="44" y="44"/>
                  </a:lnTo>
                  <a:lnTo>
                    <a:pt x="44" y="44"/>
                  </a:lnTo>
                  <a:lnTo>
                    <a:pt x="44" y="42"/>
                  </a:lnTo>
                  <a:lnTo>
                    <a:pt x="44" y="42"/>
                  </a:lnTo>
                  <a:lnTo>
                    <a:pt x="44" y="42"/>
                  </a:lnTo>
                  <a:lnTo>
                    <a:pt x="44" y="40"/>
                  </a:lnTo>
                  <a:lnTo>
                    <a:pt x="46" y="40"/>
                  </a:lnTo>
                  <a:lnTo>
                    <a:pt x="48" y="40"/>
                  </a:lnTo>
                  <a:lnTo>
                    <a:pt x="50" y="40"/>
                  </a:lnTo>
                  <a:lnTo>
                    <a:pt x="50" y="40"/>
                  </a:lnTo>
                  <a:lnTo>
                    <a:pt x="52" y="40"/>
                  </a:lnTo>
                  <a:lnTo>
                    <a:pt x="56" y="40"/>
                  </a:lnTo>
                  <a:lnTo>
                    <a:pt x="60" y="40"/>
                  </a:lnTo>
                  <a:lnTo>
                    <a:pt x="62" y="42"/>
                  </a:lnTo>
                  <a:lnTo>
                    <a:pt x="62" y="42"/>
                  </a:lnTo>
                  <a:lnTo>
                    <a:pt x="64" y="42"/>
                  </a:lnTo>
                  <a:lnTo>
                    <a:pt x="66" y="40"/>
                  </a:lnTo>
                  <a:lnTo>
                    <a:pt x="66" y="40"/>
                  </a:lnTo>
                  <a:lnTo>
                    <a:pt x="68" y="40"/>
                  </a:lnTo>
                  <a:lnTo>
                    <a:pt x="68" y="40"/>
                  </a:lnTo>
                  <a:lnTo>
                    <a:pt x="68" y="38"/>
                  </a:lnTo>
                  <a:lnTo>
                    <a:pt x="68" y="38"/>
                  </a:lnTo>
                  <a:lnTo>
                    <a:pt x="68" y="36"/>
                  </a:lnTo>
                  <a:lnTo>
                    <a:pt x="68" y="34"/>
                  </a:lnTo>
                  <a:lnTo>
                    <a:pt x="68" y="30"/>
                  </a:lnTo>
                  <a:lnTo>
                    <a:pt x="68" y="30"/>
                  </a:lnTo>
                  <a:lnTo>
                    <a:pt x="68" y="28"/>
                  </a:lnTo>
                  <a:lnTo>
                    <a:pt x="68" y="28"/>
                  </a:lnTo>
                  <a:lnTo>
                    <a:pt x="68" y="28"/>
                  </a:lnTo>
                  <a:lnTo>
                    <a:pt x="70" y="26"/>
                  </a:lnTo>
                  <a:lnTo>
                    <a:pt x="70" y="24"/>
                  </a:lnTo>
                  <a:lnTo>
                    <a:pt x="72" y="24"/>
                  </a:lnTo>
                  <a:lnTo>
                    <a:pt x="74" y="20"/>
                  </a:lnTo>
                  <a:lnTo>
                    <a:pt x="76" y="20"/>
                  </a:lnTo>
                  <a:lnTo>
                    <a:pt x="76" y="18"/>
                  </a:lnTo>
                  <a:lnTo>
                    <a:pt x="78" y="16"/>
                  </a:lnTo>
                  <a:lnTo>
                    <a:pt x="80" y="14"/>
                  </a:lnTo>
                  <a:lnTo>
                    <a:pt x="82" y="10"/>
                  </a:lnTo>
                  <a:lnTo>
                    <a:pt x="82" y="8"/>
                  </a:lnTo>
                  <a:lnTo>
                    <a:pt x="82" y="6"/>
                  </a:lnTo>
                  <a:lnTo>
                    <a:pt x="84" y="4"/>
                  </a:lnTo>
                  <a:lnTo>
                    <a:pt x="84" y="2"/>
                  </a:lnTo>
                  <a:lnTo>
                    <a:pt x="84" y="0"/>
                  </a:lnTo>
                  <a:lnTo>
                    <a:pt x="84" y="0"/>
                  </a:lnTo>
                  <a:lnTo>
                    <a:pt x="84" y="0"/>
                  </a:lnTo>
                  <a:lnTo>
                    <a:pt x="86" y="0"/>
                  </a:lnTo>
                  <a:lnTo>
                    <a:pt x="86" y="0"/>
                  </a:lnTo>
                  <a:lnTo>
                    <a:pt x="86" y="0"/>
                  </a:lnTo>
                  <a:lnTo>
                    <a:pt x="88" y="0"/>
                  </a:lnTo>
                  <a:lnTo>
                    <a:pt x="88" y="0"/>
                  </a:lnTo>
                  <a:lnTo>
                    <a:pt x="90" y="0"/>
                  </a:lnTo>
                  <a:lnTo>
                    <a:pt x="92" y="2"/>
                  </a:lnTo>
                  <a:lnTo>
                    <a:pt x="94" y="4"/>
                  </a:lnTo>
                  <a:lnTo>
                    <a:pt x="96" y="6"/>
                  </a:lnTo>
                  <a:lnTo>
                    <a:pt x="96" y="6"/>
                  </a:lnTo>
                  <a:lnTo>
                    <a:pt x="96" y="6"/>
                  </a:lnTo>
                  <a:lnTo>
                    <a:pt x="98" y="6"/>
                  </a:lnTo>
                  <a:lnTo>
                    <a:pt x="100" y="8"/>
                  </a:lnTo>
                  <a:lnTo>
                    <a:pt x="104" y="8"/>
                  </a:lnTo>
                  <a:lnTo>
                    <a:pt x="106" y="8"/>
                  </a:lnTo>
                  <a:lnTo>
                    <a:pt x="108" y="8"/>
                  </a:lnTo>
                  <a:lnTo>
                    <a:pt x="110" y="8"/>
                  </a:lnTo>
                  <a:lnTo>
                    <a:pt x="110" y="8"/>
                  </a:lnTo>
                  <a:lnTo>
                    <a:pt x="112" y="10"/>
                  </a:lnTo>
                  <a:lnTo>
                    <a:pt x="114" y="10"/>
                  </a:lnTo>
                  <a:lnTo>
                    <a:pt x="116" y="12"/>
                  </a:lnTo>
                  <a:lnTo>
                    <a:pt x="116" y="14"/>
                  </a:lnTo>
                  <a:lnTo>
                    <a:pt x="118" y="16"/>
                  </a:lnTo>
                  <a:lnTo>
                    <a:pt x="118" y="16"/>
                  </a:lnTo>
                  <a:lnTo>
                    <a:pt x="120" y="16"/>
                  </a:lnTo>
                  <a:lnTo>
                    <a:pt x="120" y="18"/>
                  </a:lnTo>
                  <a:lnTo>
                    <a:pt x="120" y="18"/>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0" name="Freeform 459">
              <a:extLst>
                <a:ext uri="{FF2B5EF4-FFF2-40B4-BE49-F238E27FC236}">
                  <a16:creationId xmlns:a16="http://schemas.microsoft.com/office/drawing/2014/main" id="{4232269C-76D6-4DF8-8B17-29837510A0AE}"/>
                </a:ext>
              </a:extLst>
            </p:cNvPr>
            <p:cNvSpPr>
              <a:spLocks/>
            </p:cNvSpPr>
            <p:nvPr/>
          </p:nvSpPr>
          <p:spPr bwMode="auto">
            <a:xfrm>
              <a:off x="5027861" y="5408324"/>
              <a:ext cx="38106" cy="45034"/>
            </a:xfrm>
            <a:custGeom>
              <a:avLst/>
              <a:gdLst>
                <a:gd name="T0" fmla="*/ 22 w 22"/>
                <a:gd name="T1" fmla="*/ 22 h 26"/>
                <a:gd name="T2" fmla="*/ 22 w 22"/>
                <a:gd name="T3" fmla="*/ 22 h 26"/>
                <a:gd name="T4" fmla="*/ 20 w 22"/>
                <a:gd name="T5" fmla="*/ 18 h 26"/>
                <a:gd name="T6" fmla="*/ 18 w 22"/>
                <a:gd name="T7" fmla="*/ 14 h 26"/>
                <a:gd name="T8" fmla="*/ 18 w 22"/>
                <a:gd name="T9" fmla="*/ 10 h 26"/>
                <a:gd name="T10" fmla="*/ 16 w 22"/>
                <a:gd name="T11" fmla="*/ 8 h 26"/>
                <a:gd name="T12" fmla="*/ 14 w 22"/>
                <a:gd name="T13" fmla="*/ 4 h 26"/>
                <a:gd name="T14" fmla="*/ 12 w 22"/>
                <a:gd name="T15" fmla="*/ 0 h 26"/>
                <a:gd name="T16" fmla="*/ 10 w 22"/>
                <a:gd name="T17" fmla="*/ 0 h 26"/>
                <a:gd name="T18" fmla="*/ 8 w 22"/>
                <a:gd name="T19" fmla="*/ 2 h 26"/>
                <a:gd name="T20" fmla="*/ 6 w 22"/>
                <a:gd name="T21" fmla="*/ 2 h 26"/>
                <a:gd name="T22" fmla="*/ 4 w 22"/>
                <a:gd name="T23" fmla="*/ 4 h 26"/>
                <a:gd name="T24" fmla="*/ 2 w 22"/>
                <a:gd name="T25" fmla="*/ 4 h 26"/>
                <a:gd name="T26" fmla="*/ 2 w 22"/>
                <a:gd name="T27" fmla="*/ 4 h 26"/>
                <a:gd name="T28" fmla="*/ 2 w 22"/>
                <a:gd name="T29" fmla="*/ 6 h 26"/>
                <a:gd name="T30" fmla="*/ 2 w 22"/>
                <a:gd name="T31" fmla="*/ 6 h 26"/>
                <a:gd name="T32" fmla="*/ 0 w 22"/>
                <a:gd name="T33" fmla="*/ 6 h 26"/>
                <a:gd name="T34" fmla="*/ 0 w 22"/>
                <a:gd name="T35" fmla="*/ 8 h 26"/>
                <a:gd name="T36" fmla="*/ 0 w 22"/>
                <a:gd name="T37" fmla="*/ 10 h 26"/>
                <a:gd name="T38" fmla="*/ 0 w 22"/>
                <a:gd name="T39" fmla="*/ 12 h 26"/>
                <a:gd name="T40" fmla="*/ 0 w 22"/>
                <a:gd name="T41" fmla="*/ 14 h 26"/>
                <a:gd name="T42" fmla="*/ 0 w 22"/>
                <a:gd name="T43" fmla="*/ 16 h 26"/>
                <a:gd name="T44" fmla="*/ 0 w 22"/>
                <a:gd name="T45" fmla="*/ 18 h 26"/>
                <a:gd name="T46" fmla="*/ 0 w 22"/>
                <a:gd name="T47" fmla="*/ 20 h 26"/>
                <a:gd name="T48" fmla="*/ 0 w 22"/>
                <a:gd name="T49" fmla="*/ 20 h 26"/>
                <a:gd name="T50" fmla="*/ 0 w 22"/>
                <a:gd name="T51" fmla="*/ 20 h 26"/>
                <a:gd name="T52" fmla="*/ 2 w 22"/>
                <a:gd name="T53" fmla="*/ 22 h 26"/>
                <a:gd name="T54" fmla="*/ 2 w 22"/>
                <a:gd name="T55" fmla="*/ 22 h 26"/>
                <a:gd name="T56" fmla="*/ 4 w 22"/>
                <a:gd name="T57" fmla="*/ 22 h 26"/>
                <a:gd name="T58" fmla="*/ 8 w 22"/>
                <a:gd name="T59" fmla="*/ 24 h 26"/>
                <a:gd name="T60" fmla="*/ 12 w 22"/>
                <a:gd name="T61" fmla="*/ 24 h 26"/>
                <a:gd name="T62" fmla="*/ 12 w 22"/>
                <a:gd name="T63" fmla="*/ 26 h 26"/>
                <a:gd name="T64" fmla="*/ 14 w 22"/>
                <a:gd name="T65" fmla="*/ 26 h 26"/>
                <a:gd name="T66" fmla="*/ 16 w 22"/>
                <a:gd name="T67" fmla="*/ 26 h 26"/>
                <a:gd name="T68" fmla="*/ 16 w 22"/>
                <a:gd name="T69" fmla="*/ 26 h 26"/>
                <a:gd name="T70" fmla="*/ 16 w 22"/>
                <a:gd name="T71" fmla="*/ 26 h 26"/>
                <a:gd name="T72" fmla="*/ 18 w 22"/>
                <a:gd name="T73" fmla="*/ 24 h 26"/>
                <a:gd name="T74" fmla="*/ 20 w 22"/>
                <a:gd name="T75" fmla="*/ 24 h 26"/>
                <a:gd name="T76" fmla="*/ 22 w 22"/>
                <a:gd name="T77"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 h="26">
                  <a:moveTo>
                    <a:pt x="22" y="22"/>
                  </a:moveTo>
                  <a:lnTo>
                    <a:pt x="22" y="22"/>
                  </a:lnTo>
                  <a:lnTo>
                    <a:pt x="20" y="18"/>
                  </a:lnTo>
                  <a:lnTo>
                    <a:pt x="18" y="14"/>
                  </a:lnTo>
                  <a:lnTo>
                    <a:pt x="18" y="10"/>
                  </a:lnTo>
                  <a:lnTo>
                    <a:pt x="16" y="8"/>
                  </a:lnTo>
                  <a:lnTo>
                    <a:pt x="14" y="4"/>
                  </a:lnTo>
                  <a:lnTo>
                    <a:pt x="12" y="0"/>
                  </a:lnTo>
                  <a:lnTo>
                    <a:pt x="10" y="0"/>
                  </a:lnTo>
                  <a:lnTo>
                    <a:pt x="8" y="2"/>
                  </a:lnTo>
                  <a:lnTo>
                    <a:pt x="6" y="2"/>
                  </a:lnTo>
                  <a:lnTo>
                    <a:pt x="4" y="4"/>
                  </a:lnTo>
                  <a:lnTo>
                    <a:pt x="2" y="4"/>
                  </a:lnTo>
                  <a:lnTo>
                    <a:pt x="2" y="4"/>
                  </a:lnTo>
                  <a:lnTo>
                    <a:pt x="2" y="6"/>
                  </a:lnTo>
                  <a:lnTo>
                    <a:pt x="2" y="6"/>
                  </a:lnTo>
                  <a:lnTo>
                    <a:pt x="0" y="6"/>
                  </a:lnTo>
                  <a:lnTo>
                    <a:pt x="0" y="8"/>
                  </a:lnTo>
                  <a:lnTo>
                    <a:pt x="0" y="10"/>
                  </a:lnTo>
                  <a:lnTo>
                    <a:pt x="0" y="12"/>
                  </a:lnTo>
                  <a:lnTo>
                    <a:pt x="0" y="14"/>
                  </a:lnTo>
                  <a:lnTo>
                    <a:pt x="0" y="16"/>
                  </a:lnTo>
                  <a:lnTo>
                    <a:pt x="0" y="18"/>
                  </a:lnTo>
                  <a:lnTo>
                    <a:pt x="0" y="20"/>
                  </a:lnTo>
                  <a:lnTo>
                    <a:pt x="0" y="20"/>
                  </a:lnTo>
                  <a:lnTo>
                    <a:pt x="0" y="20"/>
                  </a:lnTo>
                  <a:lnTo>
                    <a:pt x="2" y="22"/>
                  </a:lnTo>
                  <a:lnTo>
                    <a:pt x="2" y="22"/>
                  </a:lnTo>
                  <a:lnTo>
                    <a:pt x="4" y="22"/>
                  </a:lnTo>
                  <a:lnTo>
                    <a:pt x="8" y="24"/>
                  </a:lnTo>
                  <a:lnTo>
                    <a:pt x="12" y="24"/>
                  </a:lnTo>
                  <a:lnTo>
                    <a:pt x="12" y="26"/>
                  </a:lnTo>
                  <a:lnTo>
                    <a:pt x="14" y="26"/>
                  </a:lnTo>
                  <a:lnTo>
                    <a:pt x="16" y="26"/>
                  </a:lnTo>
                  <a:lnTo>
                    <a:pt x="16" y="26"/>
                  </a:lnTo>
                  <a:lnTo>
                    <a:pt x="16" y="26"/>
                  </a:lnTo>
                  <a:lnTo>
                    <a:pt x="18" y="24"/>
                  </a:lnTo>
                  <a:lnTo>
                    <a:pt x="20" y="24"/>
                  </a:lnTo>
                  <a:lnTo>
                    <a:pt x="22" y="2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1" name="Freeform 460">
              <a:extLst>
                <a:ext uri="{FF2B5EF4-FFF2-40B4-BE49-F238E27FC236}">
                  <a16:creationId xmlns:a16="http://schemas.microsoft.com/office/drawing/2014/main" id="{315F3A8E-1FE0-4B88-AD71-312DD54DC7A2}"/>
                </a:ext>
              </a:extLst>
            </p:cNvPr>
            <p:cNvSpPr>
              <a:spLocks/>
            </p:cNvSpPr>
            <p:nvPr/>
          </p:nvSpPr>
          <p:spPr bwMode="auto">
            <a:xfrm>
              <a:off x="5027861" y="5408324"/>
              <a:ext cx="38106" cy="45034"/>
            </a:xfrm>
            <a:custGeom>
              <a:avLst/>
              <a:gdLst>
                <a:gd name="T0" fmla="*/ 22 w 22"/>
                <a:gd name="T1" fmla="*/ 22 h 26"/>
                <a:gd name="T2" fmla="*/ 22 w 22"/>
                <a:gd name="T3" fmla="*/ 22 h 26"/>
                <a:gd name="T4" fmla="*/ 20 w 22"/>
                <a:gd name="T5" fmla="*/ 18 h 26"/>
                <a:gd name="T6" fmla="*/ 18 w 22"/>
                <a:gd name="T7" fmla="*/ 14 h 26"/>
                <a:gd name="T8" fmla="*/ 18 w 22"/>
                <a:gd name="T9" fmla="*/ 10 h 26"/>
                <a:gd name="T10" fmla="*/ 16 w 22"/>
                <a:gd name="T11" fmla="*/ 8 h 26"/>
                <a:gd name="T12" fmla="*/ 14 w 22"/>
                <a:gd name="T13" fmla="*/ 4 h 26"/>
                <a:gd name="T14" fmla="*/ 12 w 22"/>
                <a:gd name="T15" fmla="*/ 0 h 26"/>
                <a:gd name="T16" fmla="*/ 10 w 22"/>
                <a:gd name="T17" fmla="*/ 0 h 26"/>
                <a:gd name="T18" fmla="*/ 8 w 22"/>
                <a:gd name="T19" fmla="*/ 2 h 26"/>
                <a:gd name="T20" fmla="*/ 6 w 22"/>
                <a:gd name="T21" fmla="*/ 2 h 26"/>
                <a:gd name="T22" fmla="*/ 4 w 22"/>
                <a:gd name="T23" fmla="*/ 4 h 26"/>
                <a:gd name="T24" fmla="*/ 2 w 22"/>
                <a:gd name="T25" fmla="*/ 4 h 26"/>
                <a:gd name="T26" fmla="*/ 2 w 22"/>
                <a:gd name="T27" fmla="*/ 4 h 26"/>
                <a:gd name="T28" fmla="*/ 2 w 22"/>
                <a:gd name="T29" fmla="*/ 6 h 26"/>
                <a:gd name="T30" fmla="*/ 2 w 22"/>
                <a:gd name="T31" fmla="*/ 6 h 26"/>
                <a:gd name="T32" fmla="*/ 0 w 22"/>
                <a:gd name="T33" fmla="*/ 6 h 26"/>
                <a:gd name="T34" fmla="*/ 0 w 22"/>
                <a:gd name="T35" fmla="*/ 8 h 26"/>
                <a:gd name="T36" fmla="*/ 0 w 22"/>
                <a:gd name="T37" fmla="*/ 10 h 26"/>
                <a:gd name="T38" fmla="*/ 0 w 22"/>
                <a:gd name="T39" fmla="*/ 12 h 26"/>
                <a:gd name="T40" fmla="*/ 0 w 22"/>
                <a:gd name="T41" fmla="*/ 14 h 26"/>
                <a:gd name="T42" fmla="*/ 0 w 22"/>
                <a:gd name="T43" fmla="*/ 16 h 26"/>
                <a:gd name="T44" fmla="*/ 0 w 22"/>
                <a:gd name="T45" fmla="*/ 18 h 26"/>
                <a:gd name="T46" fmla="*/ 0 w 22"/>
                <a:gd name="T47" fmla="*/ 20 h 26"/>
                <a:gd name="T48" fmla="*/ 0 w 22"/>
                <a:gd name="T49" fmla="*/ 20 h 26"/>
                <a:gd name="T50" fmla="*/ 0 w 22"/>
                <a:gd name="T51" fmla="*/ 20 h 26"/>
                <a:gd name="T52" fmla="*/ 2 w 22"/>
                <a:gd name="T53" fmla="*/ 22 h 26"/>
                <a:gd name="T54" fmla="*/ 2 w 22"/>
                <a:gd name="T55" fmla="*/ 22 h 26"/>
                <a:gd name="T56" fmla="*/ 4 w 22"/>
                <a:gd name="T57" fmla="*/ 22 h 26"/>
                <a:gd name="T58" fmla="*/ 8 w 22"/>
                <a:gd name="T59" fmla="*/ 24 h 26"/>
                <a:gd name="T60" fmla="*/ 12 w 22"/>
                <a:gd name="T61" fmla="*/ 24 h 26"/>
                <a:gd name="T62" fmla="*/ 12 w 22"/>
                <a:gd name="T63" fmla="*/ 26 h 26"/>
                <a:gd name="T64" fmla="*/ 14 w 22"/>
                <a:gd name="T65" fmla="*/ 26 h 26"/>
                <a:gd name="T66" fmla="*/ 16 w 22"/>
                <a:gd name="T67" fmla="*/ 26 h 26"/>
                <a:gd name="T68" fmla="*/ 16 w 22"/>
                <a:gd name="T69" fmla="*/ 26 h 26"/>
                <a:gd name="T70" fmla="*/ 16 w 22"/>
                <a:gd name="T71" fmla="*/ 26 h 26"/>
                <a:gd name="T72" fmla="*/ 18 w 22"/>
                <a:gd name="T73" fmla="*/ 24 h 26"/>
                <a:gd name="T74" fmla="*/ 20 w 22"/>
                <a:gd name="T75" fmla="*/ 24 h 26"/>
                <a:gd name="T76" fmla="*/ 22 w 22"/>
                <a:gd name="T77"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 h="26">
                  <a:moveTo>
                    <a:pt x="22" y="22"/>
                  </a:moveTo>
                  <a:lnTo>
                    <a:pt x="22" y="22"/>
                  </a:lnTo>
                  <a:lnTo>
                    <a:pt x="20" y="18"/>
                  </a:lnTo>
                  <a:lnTo>
                    <a:pt x="18" y="14"/>
                  </a:lnTo>
                  <a:lnTo>
                    <a:pt x="18" y="10"/>
                  </a:lnTo>
                  <a:lnTo>
                    <a:pt x="16" y="8"/>
                  </a:lnTo>
                  <a:lnTo>
                    <a:pt x="14" y="4"/>
                  </a:lnTo>
                  <a:lnTo>
                    <a:pt x="12" y="0"/>
                  </a:lnTo>
                  <a:lnTo>
                    <a:pt x="10" y="0"/>
                  </a:lnTo>
                  <a:lnTo>
                    <a:pt x="8" y="2"/>
                  </a:lnTo>
                  <a:lnTo>
                    <a:pt x="6" y="2"/>
                  </a:lnTo>
                  <a:lnTo>
                    <a:pt x="4" y="4"/>
                  </a:lnTo>
                  <a:lnTo>
                    <a:pt x="2" y="4"/>
                  </a:lnTo>
                  <a:lnTo>
                    <a:pt x="2" y="4"/>
                  </a:lnTo>
                  <a:lnTo>
                    <a:pt x="2" y="6"/>
                  </a:lnTo>
                  <a:lnTo>
                    <a:pt x="2" y="6"/>
                  </a:lnTo>
                  <a:lnTo>
                    <a:pt x="0" y="6"/>
                  </a:lnTo>
                  <a:lnTo>
                    <a:pt x="0" y="8"/>
                  </a:lnTo>
                  <a:lnTo>
                    <a:pt x="0" y="10"/>
                  </a:lnTo>
                  <a:lnTo>
                    <a:pt x="0" y="12"/>
                  </a:lnTo>
                  <a:lnTo>
                    <a:pt x="0" y="14"/>
                  </a:lnTo>
                  <a:lnTo>
                    <a:pt x="0" y="16"/>
                  </a:lnTo>
                  <a:lnTo>
                    <a:pt x="0" y="18"/>
                  </a:lnTo>
                  <a:lnTo>
                    <a:pt x="0" y="20"/>
                  </a:lnTo>
                  <a:lnTo>
                    <a:pt x="0" y="20"/>
                  </a:lnTo>
                  <a:lnTo>
                    <a:pt x="0" y="20"/>
                  </a:lnTo>
                  <a:lnTo>
                    <a:pt x="2" y="22"/>
                  </a:lnTo>
                  <a:lnTo>
                    <a:pt x="2" y="22"/>
                  </a:lnTo>
                  <a:lnTo>
                    <a:pt x="4" y="22"/>
                  </a:lnTo>
                  <a:lnTo>
                    <a:pt x="8" y="24"/>
                  </a:lnTo>
                  <a:lnTo>
                    <a:pt x="12" y="24"/>
                  </a:lnTo>
                  <a:lnTo>
                    <a:pt x="12" y="26"/>
                  </a:lnTo>
                  <a:lnTo>
                    <a:pt x="14" y="26"/>
                  </a:lnTo>
                  <a:lnTo>
                    <a:pt x="16" y="26"/>
                  </a:lnTo>
                  <a:lnTo>
                    <a:pt x="16" y="26"/>
                  </a:lnTo>
                  <a:lnTo>
                    <a:pt x="16" y="26"/>
                  </a:lnTo>
                  <a:lnTo>
                    <a:pt x="18" y="24"/>
                  </a:lnTo>
                  <a:lnTo>
                    <a:pt x="20" y="24"/>
                  </a:lnTo>
                  <a:lnTo>
                    <a:pt x="22" y="2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2" name="Freeform 461">
              <a:extLst>
                <a:ext uri="{FF2B5EF4-FFF2-40B4-BE49-F238E27FC236}">
                  <a16:creationId xmlns:a16="http://schemas.microsoft.com/office/drawing/2014/main" id="{AB6A574C-D121-4A5D-9C04-096363D84F47}"/>
                </a:ext>
              </a:extLst>
            </p:cNvPr>
            <p:cNvSpPr>
              <a:spLocks/>
            </p:cNvSpPr>
            <p:nvPr/>
          </p:nvSpPr>
          <p:spPr bwMode="auto">
            <a:xfrm>
              <a:off x="4920472" y="5491463"/>
              <a:ext cx="72747" cy="62355"/>
            </a:xfrm>
            <a:custGeom>
              <a:avLst/>
              <a:gdLst>
                <a:gd name="T0" fmla="*/ 16 w 42"/>
                <a:gd name="T1" fmla="*/ 2 h 36"/>
                <a:gd name="T2" fmla="*/ 16 w 42"/>
                <a:gd name="T3" fmla="*/ 4 h 36"/>
                <a:gd name="T4" fmla="*/ 14 w 42"/>
                <a:gd name="T5" fmla="*/ 8 h 36"/>
                <a:gd name="T6" fmla="*/ 14 w 42"/>
                <a:gd name="T7" fmla="*/ 10 h 36"/>
                <a:gd name="T8" fmla="*/ 12 w 42"/>
                <a:gd name="T9" fmla="*/ 10 h 36"/>
                <a:gd name="T10" fmla="*/ 10 w 42"/>
                <a:gd name="T11" fmla="*/ 10 h 36"/>
                <a:gd name="T12" fmla="*/ 6 w 42"/>
                <a:gd name="T13" fmla="*/ 10 h 36"/>
                <a:gd name="T14" fmla="*/ 4 w 42"/>
                <a:gd name="T15" fmla="*/ 10 h 36"/>
                <a:gd name="T16" fmla="*/ 4 w 42"/>
                <a:gd name="T17" fmla="*/ 12 h 36"/>
                <a:gd name="T18" fmla="*/ 2 w 42"/>
                <a:gd name="T19" fmla="*/ 14 h 36"/>
                <a:gd name="T20" fmla="*/ 2 w 42"/>
                <a:gd name="T21" fmla="*/ 16 h 36"/>
                <a:gd name="T22" fmla="*/ 0 w 42"/>
                <a:gd name="T23" fmla="*/ 20 h 36"/>
                <a:gd name="T24" fmla="*/ 0 w 42"/>
                <a:gd name="T25" fmla="*/ 24 h 36"/>
                <a:gd name="T26" fmla="*/ 2 w 42"/>
                <a:gd name="T27" fmla="*/ 28 h 36"/>
                <a:gd name="T28" fmla="*/ 2 w 42"/>
                <a:gd name="T29" fmla="*/ 30 h 36"/>
                <a:gd name="T30" fmla="*/ 4 w 42"/>
                <a:gd name="T31" fmla="*/ 32 h 36"/>
                <a:gd name="T32" fmla="*/ 4 w 42"/>
                <a:gd name="T33" fmla="*/ 34 h 36"/>
                <a:gd name="T34" fmla="*/ 6 w 42"/>
                <a:gd name="T35" fmla="*/ 34 h 36"/>
                <a:gd name="T36" fmla="*/ 8 w 42"/>
                <a:gd name="T37" fmla="*/ 34 h 36"/>
                <a:gd name="T38" fmla="*/ 12 w 42"/>
                <a:gd name="T39" fmla="*/ 32 h 36"/>
                <a:gd name="T40" fmla="*/ 16 w 42"/>
                <a:gd name="T41" fmla="*/ 32 h 36"/>
                <a:gd name="T42" fmla="*/ 16 w 42"/>
                <a:gd name="T43" fmla="*/ 32 h 36"/>
                <a:gd name="T44" fmla="*/ 18 w 42"/>
                <a:gd name="T45" fmla="*/ 34 h 36"/>
                <a:gd name="T46" fmla="*/ 18 w 42"/>
                <a:gd name="T47" fmla="*/ 36 h 36"/>
                <a:gd name="T48" fmla="*/ 20 w 42"/>
                <a:gd name="T49" fmla="*/ 36 h 36"/>
                <a:gd name="T50" fmla="*/ 22 w 42"/>
                <a:gd name="T51" fmla="*/ 36 h 36"/>
                <a:gd name="T52" fmla="*/ 24 w 42"/>
                <a:gd name="T53" fmla="*/ 36 h 36"/>
                <a:gd name="T54" fmla="*/ 26 w 42"/>
                <a:gd name="T55" fmla="*/ 36 h 36"/>
                <a:gd name="T56" fmla="*/ 28 w 42"/>
                <a:gd name="T57" fmla="*/ 34 h 36"/>
                <a:gd name="T58" fmla="*/ 32 w 42"/>
                <a:gd name="T59" fmla="*/ 30 h 36"/>
                <a:gd name="T60" fmla="*/ 32 w 42"/>
                <a:gd name="T61" fmla="*/ 28 h 36"/>
                <a:gd name="T62" fmla="*/ 32 w 42"/>
                <a:gd name="T63" fmla="*/ 24 h 36"/>
                <a:gd name="T64" fmla="*/ 32 w 42"/>
                <a:gd name="T65" fmla="*/ 24 h 36"/>
                <a:gd name="T66" fmla="*/ 34 w 42"/>
                <a:gd name="T67" fmla="*/ 22 h 36"/>
                <a:gd name="T68" fmla="*/ 36 w 42"/>
                <a:gd name="T69" fmla="*/ 22 h 36"/>
                <a:gd name="T70" fmla="*/ 40 w 42"/>
                <a:gd name="T71" fmla="*/ 22 h 36"/>
                <a:gd name="T72" fmla="*/ 40 w 42"/>
                <a:gd name="T73" fmla="*/ 22 h 36"/>
                <a:gd name="T74" fmla="*/ 42 w 42"/>
                <a:gd name="T75" fmla="*/ 20 h 36"/>
                <a:gd name="T76" fmla="*/ 42 w 42"/>
                <a:gd name="T77" fmla="*/ 16 h 36"/>
                <a:gd name="T78" fmla="*/ 42 w 42"/>
                <a:gd name="T79" fmla="*/ 12 h 36"/>
                <a:gd name="T80" fmla="*/ 42 w 42"/>
                <a:gd name="T81" fmla="*/ 6 h 36"/>
                <a:gd name="T82" fmla="*/ 42 w 42"/>
                <a:gd name="T83" fmla="*/ 4 h 36"/>
                <a:gd name="T84" fmla="*/ 40 w 42"/>
                <a:gd name="T85" fmla="*/ 2 h 36"/>
                <a:gd name="T86" fmla="*/ 40 w 42"/>
                <a:gd name="T87" fmla="*/ 0 h 36"/>
                <a:gd name="T88" fmla="*/ 38 w 42"/>
                <a:gd name="T89" fmla="*/ 0 h 36"/>
                <a:gd name="T90" fmla="*/ 34 w 42"/>
                <a:gd name="T91" fmla="*/ 0 h 36"/>
                <a:gd name="T92" fmla="*/ 26 w 42"/>
                <a:gd name="T93" fmla="*/ 0 h 36"/>
                <a:gd name="T94" fmla="*/ 22 w 42"/>
                <a:gd name="T95" fmla="*/ 0 h 36"/>
                <a:gd name="T96" fmla="*/ 18 w 42"/>
                <a:gd name="T97" fmla="*/ 0 h 36"/>
                <a:gd name="T98" fmla="*/ 16 w 42"/>
                <a:gd name="T99"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 h="36">
                  <a:moveTo>
                    <a:pt x="16" y="2"/>
                  </a:moveTo>
                  <a:lnTo>
                    <a:pt x="16" y="2"/>
                  </a:lnTo>
                  <a:lnTo>
                    <a:pt x="16" y="2"/>
                  </a:lnTo>
                  <a:lnTo>
                    <a:pt x="16" y="4"/>
                  </a:lnTo>
                  <a:lnTo>
                    <a:pt x="14" y="6"/>
                  </a:lnTo>
                  <a:lnTo>
                    <a:pt x="14" y="8"/>
                  </a:lnTo>
                  <a:lnTo>
                    <a:pt x="14" y="10"/>
                  </a:lnTo>
                  <a:lnTo>
                    <a:pt x="14" y="10"/>
                  </a:lnTo>
                  <a:lnTo>
                    <a:pt x="12" y="10"/>
                  </a:lnTo>
                  <a:lnTo>
                    <a:pt x="12" y="10"/>
                  </a:lnTo>
                  <a:lnTo>
                    <a:pt x="10" y="10"/>
                  </a:lnTo>
                  <a:lnTo>
                    <a:pt x="10" y="10"/>
                  </a:lnTo>
                  <a:lnTo>
                    <a:pt x="8" y="10"/>
                  </a:lnTo>
                  <a:lnTo>
                    <a:pt x="6" y="10"/>
                  </a:lnTo>
                  <a:lnTo>
                    <a:pt x="6" y="10"/>
                  </a:lnTo>
                  <a:lnTo>
                    <a:pt x="4" y="10"/>
                  </a:lnTo>
                  <a:lnTo>
                    <a:pt x="4" y="10"/>
                  </a:lnTo>
                  <a:lnTo>
                    <a:pt x="4" y="12"/>
                  </a:lnTo>
                  <a:lnTo>
                    <a:pt x="2" y="12"/>
                  </a:lnTo>
                  <a:lnTo>
                    <a:pt x="2" y="14"/>
                  </a:lnTo>
                  <a:lnTo>
                    <a:pt x="2" y="14"/>
                  </a:lnTo>
                  <a:lnTo>
                    <a:pt x="2" y="16"/>
                  </a:lnTo>
                  <a:lnTo>
                    <a:pt x="2" y="18"/>
                  </a:lnTo>
                  <a:lnTo>
                    <a:pt x="0" y="20"/>
                  </a:lnTo>
                  <a:lnTo>
                    <a:pt x="0" y="22"/>
                  </a:lnTo>
                  <a:lnTo>
                    <a:pt x="0" y="24"/>
                  </a:lnTo>
                  <a:lnTo>
                    <a:pt x="2" y="26"/>
                  </a:lnTo>
                  <a:lnTo>
                    <a:pt x="2" y="28"/>
                  </a:lnTo>
                  <a:lnTo>
                    <a:pt x="2" y="30"/>
                  </a:lnTo>
                  <a:lnTo>
                    <a:pt x="2" y="30"/>
                  </a:lnTo>
                  <a:lnTo>
                    <a:pt x="2" y="32"/>
                  </a:lnTo>
                  <a:lnTo>
                    <a:pt x="4" y="32"/>
                  </a:lnTo>
                  <a:lnTo>
                    <a:pt x="4" y="34"/>
                  </a:lnTo>
                  <a:lnTo>
                    <a:pt x="4" y="34"/>
                  </a:lnTo>
                  <a:lnTo>
                    <a:pt x="6" y="34"/>
                  </a:lnTo>
                  <a:lnTo>
                    <a:pt x="6" y="34"/>
                  </a:lnTo>
                  <a:lnTo>
                    <a:pt x="6" y="34"/>
                  </a:lnTo>
                  <a:lnTo>
                    <a:pt x="8" y="34"/>
                  </a:lnTo>
                  <a:lnTo>
                    <a:pt x="10" y="34"/>
                  </a:lnTo>
                  <a:lnTo>
                    <a:pt x="12" y="32"/>
                  </a:lnTo>
                  <a:lnTo>
                    <a:pt x="14" y="32"/>
                  </a:lnTo>
                  <a:lnTo>
                    <a:pt x="16" y="32"/>
                  </a:lnTo>
                  <a:lnTo>
                    <a:pt x="16" y="32"/>
                  </a:lnTo>
                  <a:lnTo>
                    <a:pt x="16" y="32"/>
                  </a:lnTo>
                  <a:lnTo>
                    <a:pt x="18" y="32"/>
                  </a:lnTo>
                  <a:lnTo>
                    <a:pt x="18" y="34"/>
                  </a:lnTo>
                  <a:lnTo>
                    <a:pt x="18" y="34"/>
                  </a:lnTo>
                  <a:lnTo>
                    <a:pt x="18" y="36"/>
                  </a:lnTo>
                  <a:lnTo>
                    <a:pt x="20" y="36"/>
                  </a:lnTo>
                  <a:lnTo>
                    <a:pt x="20" y="36"/>
                  </a:lnTo>
                  <a:lnTo>
                    <a:pt x="20" y="36"/>
                  </a:lnTo>
                  <a:lnTo>
                    <a:pt x="22" y="36"/>
                  </a:lnTo>
                  <a:lnTo>
                    <a:pt x="22" y="36"/>
                  </a:lnTo>
                  <a:lnTo>
                    <a:pt x="24" y="36"/>
                  </a:lnTo>
                  <a:lnTo>
                    <a:pt x="26" y="36"/>
                  </a:lnTo>
                  <a:lnTo>
                    <a:pt x="26" y="36"/>
                  </a:lnTo>
                  <a:lnTo>
                    <a:pt x="28" y="36"/>
                  </a:lnTo>
                  <a:lnTo>
                    <a:pt x="28" y="34"/>
                  </a:lnTo>
                  <a:lnTo>
                    <a:pt x="30" y="32"/>
                  </a:lnTo>
                  <a:lnTo>
                    <a:pt x="32" y="30"/>
                  </a:lnTo>
                  <a:lnTo>
                    <a:pt x="32" y="30"/>
                  </a:lnTo>
                  <a:lnTo>
                    <a:pt x="32" y="28"/>
                  </a:lnTo>
                  <a:lnTo>
                    <a:pt x="32" y="26"/>
                  </a:lnTo>
                  <a:lnTo>
                    <a:pt x="32" y="24"/>
                  </a:lnTo>
                  <a:lnTo>
                    <a:pt x="32" y="24"/>
                  </a:lnTo>
                  <a:lnTo>
                    <a:pt x="32" y="24"/>
                  </a:lnTo>
                  <a:lnTo>
                    <a:pt x="34" y="22"/>
                  </a:lnTo>
                  <a:lnTo>
                    <a:pt x="34" y="22"/>
                  </a:lnTo>
                  <a:lnTo>
                    <a:pt x="34" y="22"/>
                  </a:lnTo>
                  <a:lnTo>
                    <a:pt x="36" y="22"/>
                  </a:lnTo>
                  <a:lnTo>
                    <a:pt x="38" y="22"/>
                  </a:lnTo>
                  <a:lnTo>
                    <a:pt x="40" y="22"/>
                  </a:lnTo>
                  <a:lnTo>
                    <a:pt x="40" y="22"/>
                  </a:lnTo>
                  <a:lnTo>
                    <a:pt x="40" y="22"/>
                  </a:lnTo>
                  <a:lnTo>
                    <a:pt x="42" y="20"/>
                  </a:lnTo>
                  <a:lnTo>
                    <a:pt x="42" y="20"/>
                  </a:lnTo>
                  <a:lnTo>
                    <a:pt x="42" y="18"/>
                  </a:lnTo>
                  <a:lnTo>
                    <a:pt x="42" y="16"/>
                  </a:lnTo>
                  <a:lnTo>
                    <a:pt x="42" y="14"/>
                  </a:lnTo>
                  <a:lnTo>
                    <a:pt x="42" y="12"/>
                  </a:lnTo>
                  <a:lnTo>
                    <a:pt x="42" y="8"/>
                  </a:lnTo>
                  <a:lnTo>
                    <a:pt x="42" y="6"/>
                  </a:lnTo>
                  <a:lnTo>
                    <a:pt x="42" y="6"/>
                  </a:lnTo>
                  <a:lnTo>
                    <a:pt x="42" y="4"/>
                  </a:lnTo>
                  <a:lnTo>
                    <a:pt x="42" y="2"/>
                  </a:lnTo>
                  <a:lnTo>
                    <a:pt x="40" y="2"/>
                  </a:lnTo>
                  <a:lnTo>
                    <a:pt x="40" y="0"/>
                  </a:lnTo>
                  <a:lnTo>
                    <a:pt x="40" y="0"/>
                  </a:lnTo>
                  <a:lnTo>
                    <a:pt x="38" y="0"/>
                  </a:lnTo>
                  <a:lnTo>
                    <a:pt x="38" y="0"/>
                  </a:lnTo>
                  <a:lnTo>
                    <a:pt x="36" y="0"/>
                  </a:lnTo>
                  <a:lnTo>
                    <a:pt x="34" y="0"/>
                  </a:lnTo>
                  <a:lnTo>
                    <a:pt x="30" y="0"/>
                  </a:lnTo>
                  <a:lnTo>
                    <a:pt x="26" y="0"/>
                  </a:lnTo>
                  <a:lnTo>
                    <a:pt x="24" y="0"/>
                  </a:lnTo>
                  <a:lnTo>
                    <a:pt x="22" y="0"/>
                  </a:lnTo>
                  <a:lnTo>
                    <a:pt x="20" y="0"/>
                  </a:lnTo>
                  <a:lnTo>
                    <a:pt x="18" y="0"/>
                  </a:lnTo>
                  <a:lnTo>
                    <a:pt x="18" y="2"/>
                  </a:lnTo>
                  <a:lnTo>
                    <a:pt x="16"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3" name="Freeform 462">
              <a:extLst>
                <a:ext uri="{FF2B5EF4-FFF2-40B4-BE49-F238E27FC236}">
                  <a16:creationId xmlns:a16="http://schemas.microsoft.com/office/drawing/2014/main" id="{45AF66F4-AD2A-454A-8258-D6843E9009FE}"/>
                </a:ext>
              </a:extLst>
            </p:cNvPr>
            <p:cNvSpPr>
              <a:spLocks/>
            </p:cNvSpPr>
            <p:nvPr/>
          </p:nvSpPr>
          <p:spPr bwMode="auto">
            <a:xfrm>
              <a:off x="4920472" y="5491463"/>
              <a:ext cx="72747" cy="62355"/>
            </a:xfrm>
            <a:custGeom>
              <a:avLst/>
              <a:gdLst>
                <a:gd name="T0" fmla="*/ 16 w 42"/>
                <a:gd name="T1" fmla="*/ 2 h 36"/>
                <a:gd name="T2" fmla="*/ 16 w 42"/>
                <a:gd name="T3" fmla="*/ 4 h 36"/>
                <a:gd name="T4" fmla="*/ 14 w 42"/>
                <a:gd name="T5" fmla="*/ 8 h 36"/>
                <a:gd name="T6" fmla="*/ 14 w 42"/>
                <a:gd name="T7" fmla="*/ 10 h 36"/>
                <a:gd name="T8" fmla="*/ 12 w 42"/>
                <a:gd name="T9" fmla="*/ 10 h 36"/>
                <a:gd name="T10" fmla="*/ 10 w 42"/>
                <a:gd name="T11" fmla="*/ 10 h 36"/>
                <a:gd name="T12" fmla="*/ 6 w 42"/>
                <a:gd name="T13" fmla="*/ 10 h 36"/>
                <a:gd name="T14" fmla="*/ 4 w 42"/>
                <a:gd name="T15" fmla="*/ 10 h 36"/>
                <a:gd name="T16" fmla="*/ 4 w 42"/>
                <a:gd name="T17" fmla="*/ 12 h 36"/>
                <a:gd name="T18" fmla="*/ 2 w 42"/>
                <a:gd name="T19" fmla="*/ 14 h 36"/>
                <a:gd name="T20" fmla="*/ 2 w 42"/>
                <a:gd name="T21" fmla="*/ 16 h 36"/>
                <a:gd name="T22" fmla="*/ 0 w 42"/>
                <a:gd name="T23" fmla="*/ 20 h 36"/>
                <a:gd name="T24" fmla="*/ 0 w 42"/>
                <a:gd name="T25" fmla="*/ 24 h 36"/>
                <a:gd name="T26" fmla="*/ 2 w 42"/>
                <a:gd name="T27" fmla="*/ 28 h 36"/>
                <a:gd name="T28" fmla="*/ 2 w 42"/>
                <a:gd name="T29" fmla="*/ 30 h 36"/>
                <a:gd name="T30" fmla="*/ 4 w 42"/>
                <a:gd name="T31" fmla="*/ 32 h 36"/>
                <a:gd name="T32" fmla="*/ 4 w 42"/>
                <a:gd name="T33" fmla="*/ 34 h 36"/>
                <a:gd name="T34" fmla="*/ 6 w 42"/>
                <a:gd name="T35" fmla="*/ 34 h 36"/>
                <a:gd name="T36" fmla="*/ 8 w 42"/>
                <a:gd name="T37" fmla="*/ 34 h 36"/>
                <a:gd name="T38" fmla="*/ 12 w 42"/>
                <a:gd name="T39" fmla="*/ 32 h 36"/>
                <a:gd name="T40" fmla="*/ 16 w 42"/>
                <a:gd name="T41" fmla="*/ 32 h 36"/>
                <a:gd name="T42" fmla="*/ 16 w 42"/>
                <a:gd name="T43" fmla="*/ 32 h 36"/>
                <a:gd name="T44" fmla="*/ 18 w 42"/>
                <a:gd name="T45" fmla="*/ 34 h 36"/>
                <a:gd name="T46" fmla="*/ 18 w 42"/>
                <a:gd name="T47" fmla="*/ 36 h 36"/>
                <a:gd name="T48" fmla="*/ 20 w 42"/>
                <a:gd name="T49" fmla="*/ 36 h 36"/>
                <a:gd name="T50" fmla="*/ 22 w 42"/>
                <a:gd name="T51" fmla="*/ 36 h 36"/>
                <a:gd name="T52" fmla="*/ 24 w 42"/>
                <a:gd name="T53" fmla="*/ 36 h 36"/>
                <a:gd name="T54" fmla="*/ 26 w 42"/>
                <a:gd name="T55" fmla="*/ 36 h 36"/>
                <a:gd name="T56" fmla="*/ 28 w 42"/>
                <a:gd name="T57" fmla="*/ 34 h 36"/>
                <a:gd name="T58" fmla="*/ 32 w 42"/>
                <a:gd name="T59" fmla="*/ 30 h 36"/>
                <a:gd name="T60" fmla="*/ 32 w 42"/>
                <a:gd name="T61" fmla="*/ 28 h 36"/>
                <a:gd name="T62" fmla="*/ 32 w 42"/>
                <a:gd name="T63" fmla="*/ 24 h 36"/>
                <a:gd name="T64" fmla="*/ 32 w 42"/>
                <a:gd name="T65" fmla="*/ 24 h 36"/>
                <a:gd name="T66" fmla="*/ 34 w 42"/>
                <a:gd name="T67" fmla="*/ 22 h 36"/>
                <a:gd name="T68" fmla="*/ 36 w 42"/>
                <a:gd name="T69" fmla="*/ 22 h 36"/>
                <a:gd name="T70" fmla="*/ 40 w 42"/>
                <a:gd name="T71" fmla="*/ 22 h 36"/>
                <a:gd name="T72" fmla="*/ 40 w 42"/>
                <a:gd name="T73" fmla="*/ 22 h 36"/>
                <a:gd name="T74" fmla="*/ 42 w 42"/>
                <a:gd name="T75" fmla="*/ 20 h 36"/>
                <a:gd name="T76" fmla="*/ 42 w 42"/>
                <a:gd name="T77" fmla="*/ 16 h 36"/>
                <a:gd name="T78" fmla="*/ 42 w 42"/>
                <a:gd name="T79" fmla="*/ 12 h 36"/>
                <a:gd name="T80" fmla="*/ 42 w 42"/>
                <a:gd name="T81" fmla="*/ 6 h 36"/>
                <a:gd name="T82" fmla="*/ 42 w 42"/>
                <a:gd name="T83" fmla="*/ 4 h 36"/>
                <a:gd name="T84" fmla="*/ 40 w 42"/>
                <a:gd name="T85" fmla="*/ 2 h 36"/>
                <a:gd name="T86" fmla="*/ 40 w 42"/>
                <a:gd name="T87" fmla="*/ 0 h 36"/>
                <a:gd name="T88" fmla="*/ 38 w 42"/>
                <a:gd name="T89" fmla="*/ 0 h 36"/>
                <a:gd name="T90" fmla="*/ 34 w 42"/>
                <a:gd name="T91" fmla="*/ 0 h 36"/>
                <a:gd name="T92" fmla="*/ 26 w 42"/>
                <a:gd name="T93" fmla="*/ 0 h 36"/>
                <a:gd name="T94" fmla="*/ 22 w 42"/>
                <a:gd name="T95" fmla="*/ 0 h 36"/>
                <a:gd name="T96" fmla="*/ 18 w 42"/>
                <a:gd name="T97" fmla="*/ 0 h 36"/>
                <a:gd name="T98" fmla="*/ 16 w 42"/>
                <a:gd name="T99"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 h="36">
                  <a:moveTo>
                    <a:pt x="16" y="2"/>
                  </a:moveTo>
                  <a:lnTo>
                    <a:pt x="16" y="2"/>
                  </a:lnTo>
                  <a:lnTo>
                    <a:pt x="16" y="2"/>
                  </a:lnTo>
                  <a:lnTo>
                    <a:pt x="16" y="4"/>
                  </a:lnTo>
                  <a:lnTo>
                    <a:pt x="14" y="6"/>
                  </a:lnTo>
                  <a:lnTo>
                    <a:pt x="14" y="8"/>
                  </a:lnTo>
                  <a:lnTo>
                    <a:pt x="14" y="10"/>
                  </a:lnTo>
                  <a:lnTo>
                    <a:pt x="14" y="10"/>
                  </a:lnTo>
                  <a:lnTo>
                    <a:pt x="12" y="10"/>
                  </a:lnTo>
                  <a:lnTo>
                    <a:pt x="12" y="10"/>
                  </a:lnTo>
                  <a:lnTo>
                    <a:pt x="10" y="10"/>
                  </a:lnTo>
                  <a:lnTo>
                    <a:pt x="10" y="10"/>
                  </a:lnTo>
                  <a:lnTo>
                    <a:pt x="8" y="10"/>
                  </a:lnTo>
                  <a:lnTo>
                    <a:pt x="6" y="10"/>
                  </a:lnTo>
                  <a:lnTo>
                    <a:pt x="6" y="10"/>
                  </a:lnTo>
                  <a:lnTo>
                    <a:pt x="4" y="10"/>
                  </a:lnTo>
                  <a:lnTo>
                    <a:pt x="4" y="10"/>
                  </a:lnTo>
                  <a:lnTo>
                    <a:pt x="4" y="12"/>
                  </a:lnTo>
                  <a:lnTo>
                    <a:pt x="2" y="12"/>
                  </a:lnTo>
                  <a:lnTo>
                    <a:pt x="2" y="14"/>
                  </a:lnTo>
                  <a:lnTo>
                    <a:pt x="2" y="14"/>
                  </a:lnTo>
                  <a:lnTo>
                    <a:pt x="2" y="16"/>
                  </a:lnTo>
                  <a:lnTo>
                    <a:pt x="2" y="18"/>
                  </a:lnTo>
                  <a:lnTo>
                    <a:pt x="0" y="20"/>
                  </a:lnTo>
                  <a:lnTo>
                    <a:pt x="0" y="22"/>
                  </a:lnTo>
                  <a:lnTo>
                    <a:pt x="0" y="24"/>
                  </a:lnTo>
                  <a:lnTo>
                    <a:pt x="2" y="26"/>
                  </a:lnTo>
                  <a:lnTo>
                    <a:pt x="2" y="28"/>
                  </a:lnTo>
                  <a:lnTo>
                    <a:pt x="2" y="30"/>
                  </a:lnTo>
                  <a:lnTo>
                    <a:pt x="2" y="30"/>
                  </a:lnTo>
                  <a:lnTo>
                    <a:pt x="2" y="32"/>
                  </a:lnTo>
                  <a:lnTo>
                    <a:pt x="4" y="32"/>
                  </a:lnTo>
                  <a:lnTo>
                    <a:pt x="4" y="34"/>
                  </a:lnTo>
                  <a:lnTo>
                    <a:pt x="4" y="34"/>
                  </a:lnTo>
                  <a:lnTo>
                    <a:pt x="6" y="34"/>
                  </a:lnTo>
                  <a:lnTo>
                    <a:pt x="6" y="34"/>
                  </a:lnTo>
                  <a:lnTo>
                    <a:pt x="6" y="34"/>
                  </a:lnTo>
                  <a:lnTo>
                    <a:pt x="8" y="34"/>
                  </a:lnTo>
                  <a:lnTo>
                    <a:pt x="10" y="34"/>
                  </a:lnTo>
                  <a:lnTo>
                    <a:pt x="12" y="32"/>
                  </a:lnTo>
                  <a:lnTo>
                    <a:pt x="14" y="32"/>
                  </a:lnTo>
                  <a:lnTo>
                    <a:pt x="16" y="32"/>
                  </a:lnTo>
                  <a:lnTo>
                    <a:pt x="16" y="32"/>
                  </a:lnTo>
                  <a:lnTo>
                    <a:pt x="16" y="32"/>
                  </a:lnTo>
                  <a:lnTo>
                    <a:pt x="18" y="32"/>
                  </a:lnTo>
                  <a:lnTo>
                    <a:pt x="18" y="34"/>
                  </a:lnTo>
                  <a:lnTo>
                    <a:pt x="18" y="34"/>
                  </a:lnTo>
                  <a:lnTo>
                    <a:pt x="18" y="36"/>
                  </a:lnTo>
                  <a:lnTo>
                    <a:pt x="20" y="36"/>
                  </a:lnTo>
                  <a:lnTo>
                    <a:pt x="20" y="36"/>
                  </a:lnTo>
                  <a:lnTo>
                    <a:pt x="20" y="36"/>
                  </a:lnTo>
                  <a:lnTo>
                    <a:pt x="22" y="36"/>
                  </a:lnTo>
                  <a:lnTo>
                    <a:pt x="22" y="36"/>
                  </a:lnTo>
                  <a:lnTo>
                    <a:pt x="24" y="36"/>
                  </a:lnTo>
                  <a:lnTo>
                    <a:pt x="26" y="36"/>
                  </a:lnTo>
                  <a:lnTo>
                    <a:pt x="26" y="36"/>
                  </a:lnTo>
                  <a:lnTo>
                    <a:pt x="28" y="36"/>
                  </a:lnTo>
                  <a:lnTo>
                    <a:pt x="28" y="34"/>
                  </a:lnTo>
                  <a:lnTo>
                    <a:pt x="30" y="32"/>
                  </a:lnTo>
                  <a:lnTo>
                    <a:pt x="32" y="30"/>
                  </a:lnTo>
                  <a:lnTo>
                    <a:pt x="32" y="30"/>
                  </a:lnTo>
                  <a:lnTo>
                    <a:pt x="32" y="28"/>
                  </a:lnTo>
                  <a:lnTo>
                    <a:pt x="32" y="26"/>
                  </a:lnTo>
                  <a:lnTo>
                    <a:pt x="32" y="24"/>
                  </a:lnTo>
                  <a:lnTo>
                    <a:pt x="32" y="24"/>
                  </a:lnTo>
                  <a:lnTo>
                    <a:pt x="32" y="24"/>
                  </a:lnTo>
                  <a:lnTo>
                    <a:pt x="34" y="22"/>
                  </a:lnTo>
                  <a:lnTo>
                    <a:pt x="34" y="22"/>
                  </a:lnTo>
                  <a:lnTo>
                    <a:pt x="34" y="22"/>
                  </a:lnTo>
                  <a:lnTo>
                    <a:pt x="36" y="22"/>
                  </a:lnTo>
                  <a:lnTo>
                    <a:pt x="38" y="22"/>
                  </a:lnTo>
                  <a:lnTo>
                    <a:pt x="40" y="22"/>
                  </a:lnTo>
                  <a:lnTo>
                    <a:pt x="40" y="22"/>
                  </a:lnTo>
                  <a:lnTo>
                    <a:pt x="40" y="22"/>
                  </a:lnTo>
                  <a:lnTo>
                    <a:pt x="42" y="20"/>
                  </a:lnTo>
                  <a:lnTo>
                    <a:pt x="42" y="20"/>
                  </a:lnTo>
                  <a:lnTo>
                    <a:pt x="42" y="18"/>
                  </a:lnTo>
                  <a:lnTo>
                    <a:pt x="42" y="16"/>
                  </a:lnTo>
                  <a:lnTo>
                    <a:pt x="42" y="14"/>
                  </a:lnTo>
                  <a:lnTo>
                    <a:pt x="42" y="12"/>
                  </a:lnTo>
                  <a:lnTo>
                    <a:pt x="42" y="8"/>
                  </a:lnTo>
                  <a:lnTo>
                    <a:pt x="42" y="6"/>
                  </a:lnTo>
                  <a:lnTo>
                    <a:pt x="42" y="6"/>
                  </a:lnTo>
                  <a:lnTo>
                    <a:pt x="42" y="4"/>
                  </a:lnTo>
                  <a:lnTo>
                    <a:pt x="42" y="2"/>
                  </a:lnTo>
                  <a:lnTo>
                    <a:pt x="40" y="2"/>
                  </a:lnTo>
                  <a:lnTo>
                    <a:pt x="40" y="0"/>
                  </a:lnTo>
                  <a:lnTo>
                    <a:pt x="40" y="0"/>
                  </a:lnTo>
                  <a:lnTo>
                    <a:pt x="38" y="0"/>
                  </a:lnTo>
                  <a:lnTo>
                    <a:pt x="38" y="0"/>
                  </a:lnTo>
                  <a:lnTo>
                    <a:pt x="36" y="0"/>
                  </a:lnTo>
                  <a:lnTo>
                    <a:pt x="34" y="0"/>
                  </a:lnTo>
                  <a:lnTo>
                    <a:pt x="30" y="0"/>
                  </a:lnTo>
                  <a:lnTo>
                    <a:pt x="26" y="0"/>
                  </a:lnTo>
                  <a:lnTo>
                    <a:pt x="24" y="0"/>
                  </a:lnTo>
                  <a:lnTo>
                    <a:pt x="22" y="0"/>
                  </a:lnTo>
                  <a:lnTo>
                    <a:pt x="20" y="0"/>
                  </a:lnTo>
                  <a:lnTo>
                    <a:pt x="18" y="0"/>
                  </a:lnTo>
                  <a:lnTo>
                    <a:pt x="18" y="2"/>
                  </a:lnTo>
                  <a:lnTo>
                    <a:pt x="16"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4" name="Freeform 463">
              <a:extLst>
                <a:ext uri="{FF2B5EF4-FFF2-40B4-BE49-F238E27FC236}">
                  <a16:creationId xmlns:a16="http://schemas.microsoft.com/office/drawing/2014/main" id="{E4AC63DB-3C57-4D1A-98B5-F4A024523D89}"/>
                </a:ext>
              </a:extLst>
            </p:cNvPr>
            <p:cNvSpPr>
              <a:spLocks/>
            </p:cNvSpPr>
            <p:nvPr/>
          </p:nvSpPr>
          <p:spPr bwMode="auto">
            <a:xfrm>
              <a:off x="2436676" y="4074626"/>
              <a:ext cx="76211" cy="69283"/>
            </a:xfrm>
            <a:custGeom>
              <a:avLst/>
              <a:gdLst>
                <a:gd name="T0" fmla="*/ 32 w 44"/>
                <a:gd name="T1" fmla="*/ 2 h 40"/>
                <a:gd name="T2" fmla="*/ 30 w 44"/>
                <a:gd name="T3" fmla="*/ 4 h 40"/>
                <a:gd name="T4" fmla="*/ 28 w 44"/>
                <a:gd name="T5" fmla="*/ 8 h 40"/>
                <a:gd name="T6" fmla="*/ 26 w 44"/>
                <a:gd name="T7" fmla="*/ 12 h 40"/>
                <a:gd name="T8" fmla="*/ 26 w 44"/>
                <a:gd name="T9" fmla="*/ 14 h 40"/>
                <a:gd name="T10" fmla="*/ 26 w 44"/>
                <a:gd name="T11" fmla="*/ 16 h 40"/>
                <a:gd name="T12" fmla="*/ 28 w 44"/>
                <a:gd name="T13" fmla="*/ 16 h 40"/>
                <a:gd name="T14" fmla="*/ 30 w 44"/>
                <a:gd name="T15" fmla="*/ 18 h 40"/>
                <a:gd name="T16" fmla="*/ 32 w 44"/>
                <a:gd name="T17" fmla="*/ 20 h 40"/>
                <a:gd name="T18" fmla="*/ 32 w 44"/>
                <a:gd name="T19" fmla="*/ 22 h 40"/>
                <a:gd name="T20" fmla="*/ 32 w 44"/>
                <a:gd name="T21" fmla="*/ 22 h 40"/>
                <a:gd name="T22" fmla="*/ 30 w 44"/>
                <a:gd name="T23" fmla="*/ 24 h 40"/>
                <a:gd name="T24" fmla="*/ 28 w 44"/>
                <a:gd name="T25" fmla="*/ 26 h 40"/>
                <a:gd name="T26" fmla="*/ 24 w 44"/>
                <a:gd name="T27" fmla="*/ 26 h 40"/>
                <a:gd name="T28" fmla="*/ 22 w 44"/>
                <a:gd name="T29" fmla="*/ 26 h 40"/>
                <a:gd name="T30" fmla="*/ 18 w 44"/>
                <a:gd name="T31" fmla="*/ 26 h 40"/>
                <a:gd name="T32" fmla="*/ 12 w 44"/>
                <a:gd name="T33" fmla="*/ 26 h 40"/>
                <a:gd name="T34" fmla="*/ 6 w 44"/>
                <a:gd name="T35" fmla="*/ 24 h 40"/>
                <a:gd name="T36" fmla="*/ 4 w 44"/>
                <a:gd name="T37" fmla="*/ 24 h 40"/>
                <a:gd name="T38" fmla="*/ 2 w 44"/>
                <a:gd name="T39" fmla="*/ 26 h 40"/>
                <a:gd name="T40" fmla="*/ 0 w 44"/>
                <a:gd name="T41" fmla="*/ 26 h 40"/>
                <a:gd name="T42" fmla="*/ 0 w 44"/>
                <a:gd name="T43" fmla="*/ 28 h 40"/>
                <a:gd name="T44" fmla="*/ 0 w 44"/>
                <a:gd name="T45" fmla="*/ 30 h 40"/>
                <a:gd name="T46" fmla="*/ 2 w 44"/>
                <a:gd name="T47" fmla="*/ 34 h 40"/>
                <a:gd name="T48" fmla="*/ 4 w 44"/>
                <a:gd name="T49" fmla="*/ 36 h 40"/>
                <a:gd name="T50" fmla="*/ 4 w 44"/>
                <a:gd name="T51" fmla="*/ 38 h 40"/>
                <a:gd name="T52" fmla="*/ 8 w 44"/>
                <a:gd name="T53" fmla="*/ 38 h 40"/>
                <a:gd name="T54" fmla="*/ 12 w 44"/>
                <a:gd name="T55" fmla="*/ 38 h 40"/>
                <a:gd name="T56" fmla="*/ 20 w 44"/>
                <a:gd name="T57" fmla="*/ 38 h 40"/>
                <a:gd name="T58" fmla="*/ 38 w 44"/>
                <a:gd name="T59" fmla="*/ 40 h 40"/>
                <a:gd name="T60" fmla="*/ 42 w 44"/>
                <a:gd name="T61" fmla="*/ 32 h 40"/>
                <a:gd name="T62" fmla="*/ 42 w 44"/>
                <a:gd name="T63" fmla="*/ 28 h 40"/>
                <a:gd name="T64" fmla="*/ 44 w 44"/>
                <a:gd name="T65" fmla="*/ 24 h 40"/>
                <a:gd name="T66" fmla="*/ 44 w 44"/>
                <a:gd name="T67" fmla="*/ 18 h 40"/>
                <a:gd name="T68" fmla="*/ 42 w 44"/>
                <a:gd name="T69" fmla="*/ 8 h 40"/>
                <a:gd name="T70" fmla="*/ 42 w 44"/>
                <a:gd name="T71" fmla="*/ 0 h 40"/>
                <a:gd name="T72" fmla="*/ 36 w 44"/>
                <a:gd name="T73" fmla="*/ 0 h 40"/>
                <a:gd name="T74" fmla="*/ 34 w 44"/>
                <a:gd name="T75"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40">
                  <a:moveTo>
                    <a:pt x="32" y="2"/>
                  </a:moveTo>
                  <a:lnTo>
                    <a:pt x="32" y="2"/>
                  </a:lnTo>
                  <a:lnTo>
                    <a:pt x="32" y="2"/>
                  </a:lnTo>
                  <a:lnTo>
                    <a:pt x="30" y="4"/>
                  </a:lnTo>
                  <a:lnTo>
                    <a:pt x="30" y="6"/>
                  </a:lnTo>
                  <a:lnTo>
                    <a:pt x="28" y="8"/>
                  </a:lnTo>
                  <a:lnTo>
                    <a:pt x="28" y="10"/>
                  </a:lnTo>
                  <a:lnTo>
                    <a:pt x="26" y="12"/>
                  </a:lnTo>
                  <a:lnTo>
                    <a:pt x="26" y="12"/>
                  </a:lnTo>
                  <a:lnTo>
                    <a:pt x="26" y="14"/>
                  </a:lnTo>
                  <a:lnTo>
                    <a:pt x="26" y="14"/>
                  </a:lnTo>
                  <a:lnTo>
                    <a:pt x="26" y="16"/>
                  </a:lnTo>
                  <a:lnTo>
                    <a:pt x="28" y="16"/>
                  </a:lnTo>
                  <a:lnTo>
                    <a:pt x="28" y="16"/>
                  </a:lnTo>
                  <a:lnTo>
                    <a:pt x="30" y="18"/>
                  </a:lnTo>
                  <a:lnTo>
                    <a:pt x="30" y="18"/>
                  </a:lnTo>
                  <a:lnTo>
                    <a:pt x="32" y="20"/>
                  </a:lnTo>
                  <a:lnTo>
                    <a:pt x="32" y="20"/>
                  </a:lnTo>
                  <a:lnTo>
                    <a:pt x="32" y="22"/>
                  </a:lnTo>
                  <a:lnTo>
                    <a:pt x="32" y="22"/>
                  </a:lnTo>
                  <a:lnTo>
                    <a:pt x="32" y="22"/>
                  </a:lnTo>
                  <a:lnTo>
                    <a:pt x="32" y="22"/>
                  </a:lnTo>
                  <a:lnTo>
                    <a:pt x="32" y="24"/>
                  </a:lnTo>
                  <a:lnTo>
                    <a:pt x="30" y="24"/>
                  </a:lnTo>
                  <a:lnTo>
                    <a:pt x="28" y="24"/>
                  </a:lnTo>
                  <a:lnTo>
                    <a:pt x="28" y="26"/>
                  </a:lnTo>
                  <a:lnTo>
                    <a:pt x="26" y="26"/>
                  </a:lnTo>
                  <a:lnTo>
                    <a:pt x="24" y="26"/>
                  </a:lnTo>
                  <a:lnTo>
                    <a:pt x="22" y="26"/>
                  </a:lnTo>
                  <a:lnTo>
                    <a:pt x="22" y="26"/>
                  </a:lnTo>
                  <a:lnTo>
                    <a:pt x="20" y="26"/>
                  </a:lnTo>
                  <a:lnTo>
                    <a:pt x="18" y="26"/>
                  </a:lnTo>
                  <a:lnTo>
                    <a:pt x="14" y="26"/>
                  </a:lnTo>
                  <a:lnTo>
                    <a:pt x="12" y="26"/>
                  </a:lnTo>
                  <a:lnTo>
                    <a:pt x="8" y="24"/>
                  </a:lnTo>
                  <a:lnTo>
                    <a:pt x="6" y="24"/>
                  </a:lnTo>
                  <a:lnTo>
                    <a:pt x="4" y="24"/>
                  </a:lnTo>
                  <a:lnTo>
                    <a:pt x="4" y="24"/>
                  </a:lnTo>
                  <a:lnTo>
                    <a:pt x="2" y="26"/>
                  </a:lnTo>
                  <a:lnTo>
                    <a:pt x="2" y="26"/>
                  </a:lnTo>
                  <a:lnTo>
                    <a:pt x="0" y="26"/>
                  </a:lnTo>
                  <a:lnTo>
                    <a:pt x="0" y="26"/>
                  </a:lnTo>
                  <a:lnTo>
                    <a:pt x="0" y="28"/>
                  </a:lnTo>
                  <a:lnTo>
                    <a:pt x="0" y="28"/>
                  </a:lnTo>
                  <a:lnTo>
                    <a:pt x="0" y="28"/>
                  </a:lnTo>
                  <a:lnTo>
                    <a:pt x="0" y="30"/>
                  </a:lnTo>
                  <a:lnTo>
                    <a:pt x="0" y="32"/>
                  </a:lnTo>
                  <a:lnTo>
                    <a:pt x="2" y="34"/>
                  </a:lnTo>
                  <a:lnTo>
                    <a:pt x="2" y="36"/>
                  </a:lnTo>
                  <a:lnTo>
                    <a:pt x="4" y="36"/>
                  </a:lnTo>
                  <a:lnTo>
                    <a:pt x="4" y="38"/>
                  </a:lnTo>
                  <a:lnTo>
                    <a:pt x="4" y="38"/>
                  </a:lnTo>
                  <a:lnTo>
                    <a:pt x="6" y="38"/>
                  </a:lnTo>
                  <a:lnTo>
                    <a:pt x="8" y="38"/>
                  </a:lnTo>
                  <a:lnTo>
                    <a:pt x="10" y="38"/>
                  </a:lnTo>
                  <a:lnTo>
                    <a:pt x="12" y="38"/>
                  </a:lnTo>
                  <a:lnTo>
                    <a:pt x="16" y="38"/>
                  </a:lnTo>
                  <a:lnTo>
                    <a:pt x="20" y="38"/>
                  </a:lnTo>
                  <a:lnTo>
                    <a:pt x="20" y="38"/>
                  </a:lnTo>
                  <a:lnTo>
                    <a:pt x="38" y="40"/>
                  </a:lnTo>
                  <a:lnTo>
                    <a:pt x="40" y="36"/>
                  </a:lnTo>
                  <a:lnTo>
                    <a:pt x="42" y="32"/>
                  </a:lnTo>
                  <a:lnTo>
                    <a:pt x="42" y="30"/>
                  </a:lnTo>
                  <a:lnTo>
                    <a:pt x="42" y="28"/>
                  </a:lnTo>
                  <a:lnTo>
                    <a:pt x="42" y="26"/>
                  </a:lnTo>
                  <a:lnTo>
                    <a:pt x="44" y="24"/>
                  </a:lnTo>
                  <a:lnTo>
                    <a:pt x="44" y="22"/>
                  </a:lnTo>
                  <a:lnTo>
                    <a:pt x="44" y="18"/>
                  </a:lnTo>
                  <a:lnTo>
                    <a:pt x="42" y="12"/>
                  </a:lnTo>
                  <a:lnTo>
                    <a:pt x="42" y="8"/>
                  </a:lnTo>
                  <a:lnTo>
                    <a:pt x="42" y="0"/>
                  </a:lnTo>
                  <a:lnTo>
                    <a:pt x="42" y="0"/>
                  </a:lnTo>
                  <a:lnTo>
                    <a:pt x="38" y="0"/>
                  </a:lnTo>
                  <a:lnTo>
                    <a:pt x="36" y="0"/>
                  </a:lnTo>
                  <a:lnTo>
                    <a:pt x="34" y="2"/>
                  </a:lnTo>
                  <a:lnTo>
                    <a:pt x="34" y="2"/>
                  </a:lnTo>
                  <a:lnTo>
                    <a:pt x="32"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5" name="Freeform 464">
              <a:extLst>
                <a:ext uri="{FF2B5EF4-FFF2-40B4-BE49-F238E27FC236}">
                  <a16:creationId xmlns:a16="http://schemas.microsoft.com/office/drawing/2014/main" id="{8027785E-B8BE-4038-A044-41D540422E4E}"/>
                </a:ext>
              </a:extLst>
            </p:cNvPr>
            <p:cNvSpPr>
              <a:spLocks/>
            </p:cNvSpPr>
            <p:nvPr/>
          </p:nvSpPr>
          <p:spPr bwMode="auto">
            <a:xfrm>
              <a:off x="2436676" y="4074626"/>
              <a:ext cx="76211" cy="69283"/>
            </a:xfrm>
            <a:custGeom>
              <a:avLst/>
              <a:gdLst>
                <a:gd name="T0" fmla="*/ 32 w 44"/>
                <a:gd name="T1" fmla="*/ 2 h 40"/>
                <a:gd name="T2" fmla="*/ 30 w 44"/>
                <a:gd name="T3" fmla="*/ 4 h 40"/>
                <a:gd name="T4" fmla="*/ 28 w 44"/>
                <a:gd name="T5" fmla="*/ 8 h 40"/>
                <a:gd name="T6" fmla="*/ 26 w 44"/>
                <a:gd name="T7" fmla="*/ 12 h 40"/>
                <a:gd name="T8" fmla="*/ 26 w 44"/>
                <a:gd name="T9" fmla="*/ 14 h 40"/>
                <a:gd name="T10" fmla="*/ 26 w 44"/>
                <a:gd name="T11" fmla="*/ 16 h 40"/>
                <a:gd name="T12" fmla="*/ 28 w 44"/>
                <a:gd name="T13" fmla="*/ 16 h 40"/>
                <a:gd name="T14" fmla="*/ 30 w 44"/>
                <a:gd name="T15" fmla="*/ 18 h 40"/>
                <a:gd name="T16" fmla="*/ 32 w 44"/>
                <a:gd name="T17" fmla="*/ 20 h 40"/>
                <a:gd name="T18" fmla="*/ 32 w 44"/>
                <a:gd name="T19" fmla="*/ 22 h 40"/>
                <a:gd name="T20" fmla="*/ 32 w 44"/>
                <a:gd name="T21" fmla="*/ 22 h 40"/>
                <a:gd name="T22" fmla="*/ 30 w 44"/>
                <a:gd name="T23" fmla="*/ 24 h 40"/>
                <a:gd name="T24" fmla="*/ 28 w 44"/>
                <a:gd name="T25" fmla="*/ 26 h 40"/>
                <a:gd name="T26" fmla="*/ 24 w 44"/>
                <a:gd name="T27" fmla="*/ 26 h 40"/>
                <a:gd name="T28" fmla="*/ 22 w 44"/>
                <a:gd name="T29" fmla="*/ 26 h 40"/>
                <a:gd name="T30" fmla="*/ 18 w 44"/>
                <a:gd name="T31" fmla="*/ 26 h 40"/>
                <a:gd name="T32" fmla="*/ 12 w 44"/>
                <a:gd name="T33" fmla="*/ 26 h 40"/>
                <a:gd name="T34" fmla="*/ 6 w 44"/>
                <a:gd name="T35" fmla="*/ 24 h 40"/>
                <a:gd name="T36" fmla="*/ 4 w 44"/>
                <a:gd name="T37" fmla="*/ 24 h 40"/>
                <a:gd name="T38" fmla="*/ 2 w 44"/>
                <a:gd name="T39" fmla="*/ 26 h 40"/>
                <a:gd name="T40" fmla="*/ 0 w 44"/>
                <a:gd name="T41" fmla="*/ 26 h 40"/>
                <a:gd name="T42" fmla="*/ 0 w 44"/>
                <a:gd name="T43" fmla="*/ 28 h 40"/>
                <a:gd name="T44" fmla="*/ 0 w 44"/>
                <a:gd name="T45" fmla="*/ 30 h 40"/>
                <a:gd name="T46" fmla="*/ 2 w 44"/>
                <a:gd name="T47" fmla="*/ 34 h 40"/>
                <a:gd name="T48" fmla="*/ 4 w 44"/>
                <a:gd name="T49" fmla="*/ 36 h 40"/>
                <a:gd name="T50" fmla="*/ 4 w 44"/>
                <a:gd name="T51" fmla="*/ 38 h 40"/>
                <a:gd name="T52" fmla="*/ 8 w 44"/>
                <a:gd name="T53" fmla="*/ 38 h 40"/>
                <a:gd name="T54" fmla="*/ 12 w 44"/>
                <a:gd name="T55" fmla="*/ 38 h 40"/>
                <a:gd name="T56" fmla="*/ 20 w 44"/>
                <a:gd name="T57" fmla="*/ 38 h 40"/>
                <a:gd name="T58" fmla="*/ 38 w 44"/>
                <a:gd name="T59" fmla="*/ 40 h 40"/>
                <a:gd name="T60" fmla="*/ 42 w 44"/>
                <a:gd name="T61" fmla="*/ 32 h 40"/>
                <a:gd name="T62" fmla="*/ 42 w 44"/>
                <a:gd name="T63" fmla="*/ 28 h 40"/>
                <a:gd name="T64" fmla="*/ 44 w 44"/>
                <a:gd name="T65" fmla="*/ 24 h 40"/>
                <a:gd name="T66" fmla="*/ 44 w 44"/>
                <a:gd name="T67" fmla="*/ 18 h 40"/>
                <a:gd name="T68" fmla="*/ 42 w 44"/>
                <a:gd name="T69" fmla="*/ 8 h 40"/>
                <a:gd name="T70" fmla="*/ 42 w 44"/>
                <a:gd name="T71" fmla="*/ 0 h 40"/>
                <a:gd name="T72" fmla="*/ 36 w 44"/>
                <a:gd name="T73" fmla="*/ 0 h 40"/>
                <a:gd name="T74" fmla="*/ 34 w 44"/>
                <a:gd name="T75"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40">
                  <a:moveTo>
                    <a:pt x="32" y="2"/>
                  </a:moveTo>
                  <a:lnTo>
                    <a:pt x="32" y="2"/>
                  </a:lnTo>
                  <a:lnTo>
                    <a:pt x="32" y="2"/>
                  </a:lnTo>
                  <a:lnTo>
                    <a:pt x="30" y="4"/>
                  </a:lnTo>
                  <a:lnTo>
                    <a:pt x="30" y="6"/>
                  </a:lnTo>
                  <a:lnTo>
                    <a:pt x="28" y="8"/>
                  </a:lnTo>
                  <a:lnTo>
                    <a:pt x="28" y="10"/>
                  </a:lnTo>
                  <a:lnTo>
                    <a:pt x="26" y="12"/>
                  </a:lnTo>
                  <a:lnTo>
                    <a:pt x="26" y="12"/>
                  </a:lnTo>
                  <a:lnTo>
                    <a:pt x="26" y="14"/>
                  </a:lnTo>
                  <a:lnTo>
                    <a:pt x="26" y="14"/>
                  </a:lnTo>
                  <a:lnTo>
                    <a:pt x="26" y="16"/>
                  </a:lnTo>
                  <a:lnTo>
                    <a:pt x="28" y="16"/>
                  </a:lnTo>
                  <a:lnTo>
                    <a:pt x="28" y="16"/>
                  </a:lnTo>
                  <a:lnTo>
                    <a:pt x="30" y="18"/>
                  </a:lnTo>
                  <a:lnTo>
                    <a:pt x="30" y="18"/>
                  </a:lnTo>
                  <a:lnTo>
                    <a:pt x="32" y="20"/>
                  </a:lnTo>
                  <a:lnTo>
                    <a:pt x="32" y="20"/>
                  </a:lnTo>
                  <a:lnTo>
                    <a:pt x="32" y="22"/>
                  </a:lnTo>
                  <a:lnTo>
                    <a:pt x="32" y="22"/>
                  </a:lnTo>
                  <a:lnTo>
                    <a:pt x="32" y="22"/>
                  </a:lnTo>
                  <a:lnTo>
                    <a:pt x="32" y="22"/>
                  </a:lnTo>
                  <a:lnTo>
                    <a:pt x="32" y="24"/>
                  </a:lnTo>
                  <a:lnTo>
                    <a:pt x="30" y="24"/>
                  </a:lnTo>
                  <a:lnTo>
                    <a:pt x="28" y="24"/>
                  </a:lnTo>
                  <a:lnTo>
                    <a:pt x="28" y="26"/>
                  </a:lnTo>
                  <a:lnTo>
                    <a:pt x="26" y="26"/>
                  </a:lnTo>
                  <a:lnTo>
                    <a:pt x="24" y="26"/>
                  </a:lnTo>
                  <a:lnTo>
                    <a:pt x="22" y="26"/>
                  </a:lnTo>
                  <a:lnTo>
                    <a:pt x="22" y="26"/>
                  </a:lnTo>
                  <a:lnTo>
                    <a:pt x="20" y="26"/>
                  </a:lnTo>
                  <a:lnTo>
                    <a:pt x="18" y="26"/>
                  </a:lnTo>
                  <a:lnTo>
                    <a:pt x="14" y="26"/>
                  </a:lnTo>
                  <a:lnTo>
                    <a:pt x="12" y="26"/>
                  </a:lnTo>
                  <a:lnTo>
                    <a:pt x="8" y="24"/>
                  </a:lnTo>
                  <a:lnTo>
                    <a:pt x="6" y="24"/>
                  </a:lnTo>
                  <a:lnTo>
                    <a:pt x="4" y="24"/>
                  </a:lnTo>
                  <a:lnTo>
                    <a:pt x="4" y="24"/>
                  </a:lnTo>
                  <a:lnTo>
                    <a:pt x="2" y="26"/>
                  </a:lnTo>
                  <a:lnTo>
                    <a:pt x="2" y="26"/>
                  </a:lnTo>
                  <a:lnTo>
                    <a:pt x="0" y="26"/>
                  </a:lnTo>
                  <a:lnTo>
                    <a:pt x="0" y="26"/>
                  </a:lnTo>
                  <a:lnTo>
                    <a:pt x="0" y="28"/>
                  </a:lnTo>
                  <a:lnTo>
                    <a:pt x="0" y="28"/>
                  </a:lnTo>
                  <a:lnTo>
                    <a:pt x="0" y="28"/>
                  </a:lnTo>
                  <a:lnTo>
                    <a:pt x="0" y="30"/>
                  </a:lnTo>
                  <a:lnTo>
                    <a:pt x="0" y="32"/>
                  </a:lnTo>
                  <a:lnTo>
                    <a:pt x="2" y="34"/>
                  </a:lnTo>
                  <a:lnTo>
                    <a:pt x="2" y="36"/>
                  </a:lnTo>
                  <a:lnTo>
                    <a:pt x="4" y="36"/>
                  </a:lnTo>
                  <a:lnTo>
                    <a:pt x="4" y="38"/>
                  </a:lnTo>
                  <a:lnTo>
                    <a:pt x="4" y="38"/>
                  </a:lnTo>
                  <a:lnTo>
                    <a:pt x="6" y="38"/>
                  </a:lnTo>
                  <a:lnTo>
                    <a:pt x="8" y="38"/>
                  </a:lnTo>
                  <a:lnTo>
                    <a:pt x="10" y="38"/>
                  </a:lnTo>
                  <a:lnTo>
                    <a:pt x="12" y="38"/>
                  </a:lnTo>
                  <a:lnTo>
                    <a:pt x="16" y="38"/>
                  </a:lnTo>
                  <a:lnTo>
                    <a:pt x="20" y="38"/>
                  </a:lnTo>
                  <a:lnTo>
                    <a:pt x="20" y="38"/>
                  </a:lnTo>
                  <a:lnTo>
                    <a:pt x="38" y="40"/>
                  </a:lnTo>
                  <a:lnTo>
                    <a:pt x="40" y="36"/>
                  </a:lnTo>
                  <a:lnTo>
                    <a:pt x="42" y="32"/>
                  </a:lnTo>
                  <a:lnTo>
                    <a:pt x="42" y="30"/>
                  </a:lnTo>
                  <a:lnTo>
                    <a:pt x="42" y="28"/>
                  </a:lnTo>
                  <a:lnTo>
                    <a:pt x="42" y="26"/>
                  </a:lnTo>
                  <a:lnTo>
                    <a:pt x="44" y="24"/>
                  </a:lnTo>
                  <a:lnTo>
                    <a:pt x="44" y="22"/>
                  </a:lnTo>
                  <a:lnTo>
                    <a:pt x="44" y="18"/>
                  </a:lnTo>
                  <a:lnTo>
                    <a:pt x="42" y="12"/>
                  </a:lnTo>
                  <a:lnTo>
                    <a:pt x="42" y="8"/>
                  </a:lnTo>
                  <a:lnTo>
                    <a:pt x="42" y="0"/>
                  </a:lnTo>
                  <a:lnTo>
                    <a:pt x="42" y="0"/>
                  </a:lnTo>
                  <a:lnTo>
                    <a:pt x="38" y="0"/>
                  </a:lnTo>
                  <a:lnTo>
                    <a:pt x="36" y="0"/>
                  </a:lnTo>
                  <a:lnTo>
                    <a:pt x="34" y="2"/>
                  </a:lnTo>
                  <a:lnTo>
                    <a:pt x="34" y="2"/>
                  </a:lnTo>
                  <a:lnTo>
                    <a:pt x="32"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6" name="Freeform 465">
              <a:extLst>
                <a:ext uri="{FF2B5EF4-FFF2-40B4-BE49-F238E27FC236}">
                  <a16:creationId xmlns:a16="http://schemas.microsoft.com/office/drawing/2014/main" id="{A8F26F31-9BD0-498F-8059-7E3215AF5C14}"/>
                </a:ext>
              </a:extLst>
            </p:cNvPr>
            <p:cNvSpPr>
              <a:spLocks/>
            </p:cNvSpPr>
            <p:nvPr/>
          </p:nvSpPr>
          <p:spPr bwMode="auto">
            <a:xfrm>
              <a:off x="2751914" y="4414113"/>
              <a:ext cx="110853" cy="218241"/>
            </a:xfrm>
            <a:custGeom>
              <a:avLst/>
              <a:gdLst>
                <a:gd name="T0" fmla="*/ 18 w 64"/>
                <a:gd name="T1" fmla="*/ 6 h 126"/>
                <a:gd name="T2" fmla="*/ 18 w 64"/>
                <a:gd name="T3" fmla="*/ 14 h 126"/>
                <a:gd name="T4" fmla="*/ 16 w 64"/>
                <a:gd name="T5" fmla="*/ 18 h 126"/>
                <a:gd name="T6" fmla="*/ 12 w 64"/>
                <a:gd name="T7" fmla="*/ 22 h 126"/>
                <a:gd name="T8" fmla="*/ 10 w 64"/>
                <a:gd name="T9" fmla="*/ 28 h 126"/>
                <a:gd name="T10" fmla="*/ 2 w 64"/>
                <a:gd name="T11" fmla="*/ 34 h 126"/>
                <a:gd name="T12" fmla="*/ 0 w 64"/>
                <a:gd name="T13" fmla="*/ 40 h 126"/>
                <a:gd name="T14" fmla="*/ 0 w 64"/>
                <a:gd name="T15" fmla="*/ 48 h 126"/>
                <a:gd name="T16" fmla="*/ 2 w 64"/>
                <a:gd name="T17" fmla="*/ 54 h 126"/>
                <a:gd name="T18" fmla="*/ 6 w 64"/>
                <a:gd name="T19" fmla="*/ 60 h 126"/>
                <a:gd name="T20" fmla="*/ 8 w 64"/>
                <a:gd name="T21" fmla="*/ 70 h 126"/>
                <a:gd name="T22" fmla="*/ 16 w 64"/>
                <a:gd name="T23" fmla="*/ 72 h 126"/>
                <a:gd name="T24" fmla="*/ 20 w 64"/>
                <a:gd name="T25" fmla="*/ 76 h 126"/>
                <a:gd name="T26" fmla="*/ 22 w 64"/>
                <a:gd name="T27" fmla="*/ 82 h 126"/>
                <a:gd name="T28" fmla="*/ 22 w 64"/>
                <a:gd name="T29" fmla="*/ 92 h 126"/>
                <a:gd name="T30" fmla="*/ 18 w 64"/>
                <a:gd name="T31" fmla="*/ 100 h 126"/>
                <a:gd name="T32" fmla="*/ 18 w 64"/>
                <a:gd name="T33" fmla="*/ 106 h 126"/>
                <a:gd name="T34" fmla="*/ 24 w 64"/>
                <a:gd name="T35" fmla="*/ 116 h 126"/>
                <a:gd name="T36" fmla="*/ 30 w 64"/>
                <a:gd name="T37" fmla="*/ 124 h 126"/>
                <a:gd name="T38" fmla="*/ 34 w 64"/>
                <a:gd name="T39" fmla="*/ 126 h 126"/>
                <a:gd name="T40" fmla="*/ 40 w 64"/>
                <a:gd name="T41" fmla="*/ 124 h 126"/>
                <a:gd name="T42" fmla="*/ 44 w 64"/>
                <a:gd name="T43" fmla="*/ 122 h 126"/>
                <a:gd name="T44" fmla="*/ 46 w 64"/>
                <a:gd name="T45" fmla="*/ 118 h 126"/>
                <a:gd name="T46" fmla="*/ 50 w 64"/>
                <a:gd name="T47" fmla="*/ 116 h 126"/>
                <a:gd name="T48" fmla="*/ 60 w 64"/>
                <a:gd name="T49" fmla="*/ 114 h 126"/>
                <a:gd name="T50" fmla="*/ 62 w 64"/>
                <a:gd name="T51" fmla="*/ 106 h 126"/>
                <a:gd name="T52" fmla="*/ 60 w 64"/>
                <a:gd name="T53" fmla="*/ 98 h 126"/>
                <a:gd name="T54" fmla="*/ 58 w 64"/>
                <a:gd name="T55" fmla="*/ 94 h 126"/>
                <a:gd name="T56" fmla="*/ 52 w 64"/>
                <a:gd name="T57" fmla="*/ 90 h 126"/>
                <a:gd name="T58" fmla="*/ 46 w 64"/>
                <a:gd name="T59" fmla="*/ 86 h 126"/>
                <a:gd name="T60" fmla="*/ 44 w 64"/>
                <a:gd name="T61" fmla="*/ 80 h 126"/>
                <a:gd name="T62" fmla="*/ 44 w 64"/>
                <a:gd name="T63" fmla="*/ 74 h 126"/>
                <a:gd name="T64" fmla="*/ 46 w 64"/>
                <a:gd name="T65" fmla="*/ 70 h 126"/>
                <a:gd name="T66" fmla="*/ 52 w 64"/>
                <a:gd name="T67" fmla="*/ 66 h 126"/>
                <a:gd name="T68" fmla="*/ 60 w 64"/>
                <a:gd name="T69" fmla="*/ 68 h 126"/>
                <a:gd name="T70" fmla="*/ 62 w 64"/>
                <a:gd name="T71" fmla="*/ 66 h 126"/>
                <a:gd name="T72" fmla="*/ 64 w 64"/>
                <a:gd name="T73" fmla="*/ 64 h 126"/>
                <a:gd name="T74" fmla="*/ 64 w 64"/>
                <a:gd name="T75" fmla="*/ 54 h 126"/>
                <a:gd name="T76" fmla="*/ 64 w 64"/>
                <a:gd name="T77" fmla="*/ 44 h 126"/>
                <a:gd name="T78" fmla="*/ 62 w 64"/>
                <a:gd name="T79" fmla="*/ 36 h 126"/>
                <a:gd name="T80" fmla="*/ 58 w 64"/>
                <a:gd name="T81" fmla="*/ 32 h 126"/>
                <a:gd name="T82" fmla="*/ 50 w 64"/>
                <a:gd name="T83" fmla="*/ 30 h 126"/>
                <a:gd name="T84" fmla="*/ 44 w 64"/>
                <a:gd name="T85" fmla="*/ 30 h 126"/>
                <a:gd name="T86" fmla="*/ 44 w 64"/>
                <a:gd name="T87" fmla="*/ 28 h 126"/>
                <a:gd name="T88" fmla="*/ 44 w 64"/>
                <a:gd name="T89" fmla="*/ 20 h 126"/>
                <a:gd name="T90" fmla="*/ 42 w 64"/>
                <a:gd name="T91" fmla="*/ 16 h 126"/>
                <a:gd name="T92" fmla="*/ 40 w 64"/>
                <a:gd name="T93" fmla="*/ 16 h 126"/>
                <a:gd name="T94" fmla="*/ 34 w 64"/>
                <a:gd name="T95" fmla="*/ 14 h 126"/>
                <a:gd name="T96" fmla="*/ 32 w 64"/>
                <a:gd name="T97" fmla="*/ 12 h 126"/>
                <a:gd name="T98" fmla="*/ 30 w 64"/>
                <a:gd name="T99" fmla="*/ 4 h 126"/>
                <a:gd name="T100" fmla="*/ 28 w 64"/>
                <a:gd name="T101" fmla="*/ 2 h 126"/>
                <a:gd name="T102" fmla="*/ 22 w 64"/>
                <a:gd name="T103"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126">
                  <a:moveTo>
                    <a:pt x="18" y="0"/>
                  </a:moveTo>
                  <a:lnTo>
                    <a:pt x="18" y="0"/>
                  </a:lnTo>
                  <a:lnTo>
                    <a:pt x="18" y="2"/>
                  </a:lnTo>
                  <a:lnTo>
                    <a:pt x="18" y="6"/>
                  </a:lnTo>
                  <a:lnTo>
                    <a:pt x="18" y="8"/>
                  </a:lnTo>
                  <a:lnTo>
                    <a:pt x="18" y="10"/>
                  </a:lnTo>
                  <a:lnTo>
                    <a:pt x="18" y="12"/>
                  </a:lnTo>
                  <a:lnTo>
                    <a:pt x="18" y="14"/>
                  </a:lnTo>
                  <a:lnTo>
                    <a:pt x="18" y="14"/>
                  </a:lnTo>
                  <a:lnTo>
                    <a:pt x="18" y="16"/>
                  </a:lnTo>
                  <a:lnTo>
                    <a:pt x="18" y="16"/>
                  </a:lnTo>
                  <a:lnTo>
                    <a:pt x="16" y="18"/>
                  </a:lnTo>
                  <a:lnTo>
                    <a:pt x="14" y="20"/>
                  </a:lnTo>
                  <a:lnTo>
                    <a:pt x="12" y="20"/>
                  </a:lnTo>
                  <a:lnTo>
                    <a:pt x="12" y="20"/>
                  </a:lnTo>
                  <a:lnTo>
                    <a:pt x="12" y="22"/>
                  </a:lnTo>
                  <a:lnTo>
                    <a:pt x="10" y="24"/>
                  </a:lnTo>
                  <a:lnTo>
                    <a:pt x="10" y="26"/>
                  </a:lnTo>
                  <a:lnTo>
                    <a:pt x="10" y="28"/>
                  </a:lnTo>
                  <a:lnTo>
                    <a:pt x="10" y="28"/>
                  </a:lnTo>
                  <a:lnTo>
                    <a:pt x="8" y="30"/>
                  </a:lnTo>
                  <a:lnTo>
                    <a:pt x="8" y="30"/>
                  </a:lnTo>
                  <a:lnTo>
                    <a:pt x="4" y="32"/>
                  </a:lnTo>
                  <a:lnTo>
                    <a:pt x="2" y="34"/>
                  </a:lnTo>
                  <a:lnTo>
                    <a:pt x="2" y="36"/>
                  </a:lnTo>
                  <a:lnTo>
                    <a:pt x="2" y="36"/>
                  </a:lnTo>
                  <a:lnTo>
                    <a:pt x="0" y="38"/>
                  </a:lnTo>
                  <a:lnTo>
                    <a:pt x="0" y="40"/>
                  </a:lnTo>
                  <a:lnTo>
                    <a:pt x="0" y="42"/>
                  </a:lnTo>
                  <a:lnTo>
                    <a:pt x="0" y="44"/>
                  </a:lnTo>
                  <a:lnTo>
                    <a:pt x="0" y="46"/>
                  </a:lnTo>
                  <a:lnTo>
                    <a:pt x="0" y="48"/>
                  </a:lnTo>
                  <a:lnTo>
                    <a:pt x="0" y="50"/>
                  </a:lnTo>
                  <a:lnTo>
                    <a:pt x="0" y="50"/>
                  </a:lnTo>
                  <a:lnTo>
                    <a:pt x="0" y="52"/>
                  </a:lnTo>
                  <a:lnTo>
                    <a:pt x="2" y="54"/>
                  </a:lnTo>
                  <a:lnTo>
                    <a:pt x="4" y="56"/>
                  </a:lnTo>
                  <a:lnTo>
                    <a:pt x="6" y="58"/>
                  </a:lnTo>
                  <a:lnTo>
                    <a:pt x="6" y="58"/>
                  </a:lnTo>
                  <a:lnTo>
                    <a:pt x="6" y="60"/>
                  </a:lnTo>
                  <a:lnTo>
                    <a:pt x="8" y="62"/>
                  </a:lnTo>
                  <a:lnTo>
                    <a:pt x="8" y="62"/>
                  </a:lnTo>
                  <a:lnTo>
                    <a:pt x="8" y="66"/>
                  </a:lnTo>
                  <a:lnTo>
                    <a:pt x="8" y="70"/>
                  </a:lnTo>
                  <a:lnTo>
                    <a:pt x="8" y="70"/>
                  </a:lnTo>
                  <a:lnTo>
                    <a:pt x="12" y="72"/>
                  </a:lnTo>
                  <a:lnTo>
                    <a:pt x="14" y="72"/>
                  </a:lnTo>
                  <a:lnTo>
                    <a:pt x="16" y="72"/>
                  </a:lnTo>
                  <a:lnTo>
                    <a:pt x="18" y="74"/>
                  </a:lnTo>
                  <a:lnTo>
                    <a:pt x="18" y="74"/>
                  </a:lnTo>
                  <a:lnTo>
                    <a:pt x="20" y="74"/>
                  </a:lnTo>
                  <a:lnTo>
                    <a:pt x="20" y="76"/>
                  </a:lnTo>
                  <a:lnTo>
                    <a:pt x="20" y="76"/>
                  </a:lnTo>
                  <a:lnTo>
                    <a:pt x="20" y="78"/>
                  </a:lnTo>
                  <a:lnTo>
                    <a:pt x="22" y="80"/>
                  </a:lnTo>
                  <a:lnTo>
                    <a:pt x="22" y="82"/>
                  </a:lnTo>
                  <a:lnTo>
                    <a:pt x="22" y="84"/>
                  </a:lnTo>
                  <a:lnTo>
                    <a:pt x="22" y="86"/>
                  </a:lnTo>
                  <a:lnTo>
                    <a:pt x="22" y="90"/>
                  </a:lnTo>
                  <a:lnTo>
                    <a:pt x="22" y="92"/>
                  </a:lnTo>
                  <a:lnTo>
                    <a:pt x="22" y="94"/>
                  </a:lnTo>
                  <a:lnTo>
                    <a:pt x="20" y="96"/>
                  </a:lnTo>
                  <a:lnTo>
                    <a:pt x="20" y="98"/>
                  </a:lnTo>
                  <a:lnTo>
                    <a:pt x="18" y="100"/>
                  </a:lnTo>
                  <a:lnTo>
                    <a:pt x="18" y="100"/>
                  </a:lnTo>
                  <a:lnTo>
                    <a:pt x="18" y="102"/>
                  </a:lnTo>
                  <a:lnTo>
                    <a:pt x="18" y="104"/>
                  </a:lnTo>
                  <a:lnTo>
                    <a:pt x="18" y="106"/>
                  </a:lnTo>
                  <a:lnTo>
                    <a:pt x="20" y="108"/>
                  </a:lnTo>
                  <a:lnTo>
                    <a:pt x="20" y="110"/>
                  </a:lnTo>
                  <a:lnTo>
                    <a:pt x="24" y="114"/>
                  </a:lnTo>
                  <a:lnTo>
                    <a:pt x="24" y="116"/>
                  </a:lnTo>
                  <a:lnTo>
                    <a:pt x="26" y="118"/>
                  </a:lnTo>
                  <a:lnTo>
                    <a:pt x="28" y="122"/>
                  </a:lnTo>
                  <a:lnTo>
                    <a:pt x="30" y="122"/>
                  </a:lnTo>
                  <a:lnTo>
                    <a:pt x="30" y="124"/>
                  </a:lnTo>
                  <a:lnTo>
                    <a:pt x="30" y="124"/>
                  </a:lnTo>
                  <a:lnTo>
                    <a:pt x="32" y="124"/>
                  </a:lnTo>
                  <a:lnTo>
                    <a:pt x="32" y="124"/>
                  </a:lnTo>
                  <a:lnTo>
                    <a:pt x="34" y="126"/>
                  </a:lnTo>
                  <a:lnTo>
                    <a:pt x="36" y="126"/>
                  </a:lnTo>
                  <a:lnTo>
                    <a:pt x="38" y="126"/>
                  </a:lnTo>
                  <a:lnTo>
                    <a:pt x="38" y="126"/>
                  </a:lnTo>
                  <a:lnTo>
                    <a:pt x="40" y="124"/>
                  </a:lnTo>
                  <a:lnTo>
                    <a:pt x="42" y="124"/>
                  </a:lnTo>
                  <a:lnTo>
                    <a:pt x="42" y="124"/>
                  </a:lnTo>
                  <a:lnTo>
                    <a:pt x="42" y="124"/>
                  </a:lnTo>
                  <a:lnTo>
                    <a:pt x="44" y="122"/>
                  </a:lnTo>
                  <a:lnTo>
                    <a:pt x="44" y="120"/>
                  </a:lnTo>
                  <a:lnTo>
                    <a:pt x="44" y="120"/>
                  </a:lnTo>
                  <a:lnTo>
                    <a:pt x="46" y="118"/>
                  </a:lnTo>
                  <a:lnTo>
                    <a:pt x="46" y="118"/>
                  </a:lnTo>
                  <a:lnTo>
                    <a:pt x="46" y="118"/>
                  </a:lnTo>
                  <a:lnTo>
                    <a:pt x="46" y="118"/>
                  </a:lnTo>
                  <a:lnTo>
                    <a:pt x="48" y="118"/>
                  </a:lnTo>
                  <a:lnTo>
                    <a:pt x="50" y="116"/>
                  </a:lnTo>
                  <a:lnTo>
                    <a:pt x="52" y="116"/>
                  </a:lnTo>
                  <a:lnTo>
                    <a:pt x="56" y="118"/>
                  </a:lnTo>
                  <a:lnTo>
                    <a:pt x="58" y="118"/>
                  </a:lnTo>
                  <a:lnTo>
                    <a:pt x="60" y="114"/>
                  </a:lnTo>
                  <a:lnTo>
                    <a:pt x="60" y="112"/>
                  </a:lnTo>
                  <a:lnTo>
                    <a:pt x="60" y="110"/>
                  </a:lnTo>
                  <a:lnTo>
                    <a:pt x="60" y="110"/>
                  </a:lnTo>
                  <a:lnTo>
                    <a:pt x="62" y="106"/>
                  </a:lnTo>
                  <a:lnTo>
                    <a:pt x="62" y="104"/>
                  </a:lnTo>
                  <a:lnTo>
                    <a:pt x="62" y="102"/>
                  </a:lnTo>
                  <a:lnTo>
                    <a:pt x="60" y="100"/>
                  </a:lnTo>
                  <a:lnTo>
                    <a:pt x="60" y="98"/>
                  </a:lnTo>
                  <a:lnTo>
                    <a:pt x="60" y="96"/>
                  </a:lnTo>
                  <a:lnTo>
                    <a:pt x="60" y="96"/>
                  </a:lnTo>
                  <a:lnTo>
                    <a:pt x="58" y="94"/>
                  </a:lnTo>
                  <a:lnTo>
                    <a:pt x="58" y="94"/>
                  </a:lnTo>
                  <a:lnTo>
                    <a:pt x="56" y="94"/>
                  </a:lnTo>
                  <a:lnTo>
                    <a:pt x="56" y="92"/>
                  </a:lnTo>
                  <a:lnTo>
                    <a:pt x="54" y="92"/>
                  </a:lnTo>
                  <a:lnTo>
                    <a:pt x="52" y="90"/>
                  </a:lnTo>
                  <a:lnTo>
                    <a:pt x="52" y="90"/>
                  </a:lnTo>
                  <a:lnTo>
                    <a:pt x="50" y="88"/>
                  </a:lnTo>
                  <a:lnTo>
                    <a:pt x="48" y="88"/>
                  </a:lnTo>
                  <a:lnTo>
                    <a:pt x="46" y="86"/>
                  </a:lnTo>
                  <a:lnTo>
                    <a:pt x="46" y="84"/>
                  </a:lnTo>
                  <a:lnTo>
                    <a:pt x="46" y="84"/>
                  </a:lnTo>
                  <a:lnTo>
                    <a:pt x="46" y="82"/>
                  </a:lnTo>
                  <a:lnTo>
                    <a:pt x="44" y="80"/>
                  </a:lnTo>
                  <a:lnTo>
                    <a:pt x="44" y="78"/>
                  </a:lnTo>
                  <a:lnTo>
                    <a:pt x="44" y="78"/>
                  </a:lnTo>
                  <a:lnTo>
                    <a:pt x="44" y="76"/>
                  </a:lnTo>
                  <a:lnTo>
                    <a:pt x="44" y="74"/>
                  </a:lnTo>
                  <a:lnTo>
                    <a:pt x="44" y="72"/>
                  </a:lnTo>
                  <a:lnTo>
                    <a:pt x="46" y="70"/>
                  </a:lnTo>
                  <a:lnTo>
                    <a:pt x="46" y="70"/>
                  </a:lnTo>
                  <a:lnTo>
                    <a:pt x="46" y="70"/>
                  </a:lnTo>
                  <a:lnTo>
                    <a:pt x="48" y="68"/>
                  </a:lnTo>
                  <a:lnTo>
                    <a:pt x="48" y="68"/>
                  </a:lnTo>
                  <a:lnTo>
                    <a:pt x="50" y="66"/>
                  </a:lnTo>
                  <a:lnTo>
                    <a:pt x="52" y="66"/>
                  </a:lnTo>
                  <a:lnTo>
                    <a:pt x="54" y="66"/>
                  </a:lnTo>
                  <a:lnTo>
                    <a:pt x="54" y="66"/>
                  </a:lnTo>
                  <a:lnTo>
                    <a:pt x="58" y="66"/>
                  </a:lnTo>
                  <a:lnTo>
                    <a:pt x="60" y="68"/>
                  </a:lnTo>
                  <a:lnTo>
                    <a:pt x="60" y="68"/>
                  </a:lnTo>
                  <a:lnTo>
                    <a:pt x="62" y="68"/>
                  </a:lnTo>
                  <a:lnTo>
                    <a:pt x="62" y="68"/>
                  </a:lnTo>
                  <a:lnTo>
                    <a:pt x="62" y="66"/>
                  </a:lnTo>
                  <a:lnTo>
                    <a:pt x="64" y="66"/>
                  </a:lnTo>
                  <a:lnTo>
                    <a:pt x="64" y="66"/>
                  </a:lnTo>
                  <a:lnTo>
                    <a:pt x="64" y="64"/>
                  </a:lnTo>
                  <a:lnTo>
                    <a:pt x="64" y="64"/>
                  </a:lnTo>
                  <a:lnTo>
                    <a:pt x="64" y="60"/>
                  </a:lnTo>
                  <a:lnTo>
                    <a:pt x="64" y="58"/>
                  </a:lnTo>
                  <a:lnTo>
                    <a:pt x="64" y="56"/>
                  </a:lnTo>
                  <a:lnTo>
                    <a:pt x="64" y="54"/>
                  </a:lnTo>
                  <a:lnTo>
                    <a:pt x="64" y="52"/>
                  </a:lnTo>
                  <a:lnTo>
                    <a:pt x="64" y="50"/>
                  </a:lnTo>
                  <a:lnTo>
                    <a:pt x="64" y="46"/>
                  </a:lnTo>
                  <a:lnTo>
                    <a:pt x="64" y="44"/>
                  </a:lnTo>
                  <a:lnTo>
                    <a:pt x="64" y="40"/>
                  </a:lnTo>
                  <a:lnTo>
                    <a:pt x="62" y="38"/>
                  </a:lnTo>
                  <a:lnTo>
                    <a:pt x="62" y="36"/>
                  </a:lnTo>
                  <a:lnTo>
                    <a:pt x="62" y="36"/>
                  </a:lnTo>
                  <a:lnTo>
                    <a:pt x="62" y="36"/>
                  </a:lnTo>
                  <a:lnTo>
                    <a:pt x="60" y="34"/>
                  </a:lnTo>
                  <a:lnTo>
                    <a:pt x="60" y="34"/>
                  </a:lnTo>
                  <a:lnTo>
                    <a:pt x="58" y="32"/>
                  </a:lnTo>
                  <a:lnTo>
                    <a:pt x="56" y="30"/>
                  </a:lnTo>
                  <a:lnTo>
                    <a:pt x="54" y="30"/>
                  </a:lnTo>
                  <a:lnTo>
                    <a:pt x="54" y="30"/>
                  </a:lnTo>
                  <a:lnTo>
                    <a:pt x="50" y="30"/>
                  </a:lnTo>
                  <a:lnTo>
                    <a:pt x="48" y="30"/>
                  </a:lnTo>
                  <a:lnTo>
                    <a:pt x="46" y="30"/>
                  </a:lnTo>
                  <a:lnTo>
                    <a:pt x="44" y="30"/>
                  </a:lnTo>
                  <a:lnTo>
                    <a:pt x="44" y="30"/>
                  </a:lnTo>
                  <a:lnTo>
                    <a:pt x="44" y="30"/>
                  </a:lnTo>
                  <a:lnTo>
                    <a:pt x="44" y="30"/>
                  </a:lnTo>
                  <a:lnTo>
                    <a:pt x="44" y="28"/>
                  </a:lnTo>
                  <a:lnTo>
                    <a:pt x="44" y="28"/>
                  </a:lnTo>
                  <a:lnTo>
                    <a:pt x="42" y="26"/>
                  </a:lnTo>
                  <a:lnTo>
                    <a:pt x="42" y="24"/>
                  </a:lnTo>
                  <a:lnTo>
                    <a:pt x="42" y="22"/>
                  </a:lnTo>
                  <a:lnTo>
                    <a:pt x="44" y="20"/>
                  </a:lnTo>
                  <a:lnTo>
                    <a:pt x="42" y="18"/>
                  </a:lnTo>
                  <a:lnTo>
                    <a:pt x="42" y="18"/>
                  </a:lnTo>
                  <a:lnTo>
                    <a:pt x="42" y="16"/>
                  </a:lnTo>
                  <a:lnTo>
                    <a:pt x="42" y="16"/>
                  </a:lnTo>
                  <a:lnTo>
                    <a:pt x="42" y="16"/>
                  </a:lnTo>
                  <a:lnTo>
                    <a:pt x="42" y="16"/>
                  </a:lnTo>
                  <a:lnTo>
                    <a:pt x="42" y="16"/>
                  </a:lnTo>
                  <a:lnTo>
                    <a:pt x="40" y="16"/>
                  </a:lnTo>
                  <a:lnTo>
                    <a:pt x="40" y="16"/>
                  </a:lnTo>
                  <a:lnTo>
                    <a:pt x="38" y="16"/>
                  </a:lnTo>
                  <a:lnTo>
                    <a:pt x="36" y="16"/>
                  </a:lnTo>
                  <a:lnTo>
                    <a:pt x="34" y="14"/>
                  </a:lnTo>
                  <a:lnTo>
                    <a:pt x="34" y="14"/>
                  </a:lnTo>
                  <a:lnTo>
                    <a:pt x="34" y="14"/>
                  </a:lnTo>
                  <a:lnTo>
                    <a:pt x="32" y="14"/>
                  </a:lnTo>
                  <a:lnTo>
                    <a:pt x="32" y="12"/>
                  </a:lnTo>
                  <a:lnTo>
                    <a:pt x="32" y="10"/>
                  </a:lnTo>
                  <a:lnTo>
                    <a:pt x="32" y="8"/>
                  </a:lnTo>
                  <a:lnTo>
                    <a:pt x="30" y="6"/>
                  </a:lnTo>
                  <a:lnTo>
                    <a:pt x="30" y="4"/>
                  </a:lnTo>
                  <a:lnTo>
                    <a:pt x="30" y="4"/>
                  </a:lnTo>
                  <a:lnTo>
                    <a:pt x="30" y="2"/>
                  </a:lnTo>
                  <a:lnTo>
                    <a:pt x="28" y="2"/>
                  </a:lnTo>
                  <a:lnTo>
                    <a:pt x="28" y="2"/>
                  </a:lnTo>
                  <a:lnTo>
                    <a:pt x="28" y="2"/>
                  </a:lnTo>
                  <a:lnTo>
                    <a:pt x="26" y="0"/>
                  </a:lnTo>
                  <a:lnTo>
                    <a:pt x="24" y="0"/>
                  </a:lnTo>
                  <a:lnTo>
                    <a:pt x="22" y="0"/>
                  </a:lnTo>
                  <a:lnTo>
                    <a:pt x="18" y="0"/>
                  </a:lnTo>
                  <a:lnTo>
                    <a:pt x="18"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7" name="Freeform 466">
              <a:extLst>
                <a:ext uri="{FF2B5EF4-FFF2-40B4-BE49-F238E27FC236}">
                  <a16:creationId xmlns:a16="http://schemas.microsoft.com/office/drawing/2014/main" id="{0B9700F5-3B30-4475-8547-ADB8826166F1}"/>
                </a:ext>
              </a:extLst>
            </p:cNvPr>
            <p:cNvSpPr>
              <a:spLocks/>
            </p:cNvSpPr>
            <p:nvPr/>
          </p:nvSpPr>
          <p:spPr bwMode="auto">
            <a:xfrm>
              <a:off x="2751914" y="4414113"/>
              <a:ext cx="110853" cy="218241"/>
            </a:xfrm>
            <a:custGeom>
              <a:avLst/>
              <a:gdLst>
                <a:gd name="T0" fmla="*/ 18 w 64"/>
                <a:gd name="T1" fmla="*/ 6 h 126"/>
                <a:gd name="T2" fmla="*/ 18 w 64"/>
                <a:gd name="T3" fmla="*/ 14 h 126"/>
                <a:gd name="T4" fmla="*/ 16 w 64"/>
                <a:gd name="T5" fmla="*/ 18 h 126"/>
                <a:gd name="T6" fmla="*/ 12 w 64"/>
                <a:gd name="T7" fmla="*/ 22 h 126"/>
                <a:gd name="T8" fmla="*/ 10 w 64"/>
                <a:gd name="T9" fmla="*/ 28 h 126"/>
                <a:gd name="T10" fmla="*/ 2 w 64"/>
                <a:gd name="T11" fmla="*/ 34 h 126"/>
                <a:gd name="T12" fmla="*/ 0 w 64"/>
                <a:gd name="T13" fmla="*/ 40 h 126"/>
                <a:gd name="T14" fmla="*/ 0 w 64"/>
                <a:gd name="T15" fmla="*/ 48 h 126"/>
                <a:gd name="T16" fmla="*/ 2 w 64"/>
                <a:gd name="T17" fmla="*/ 54 h 126"/>
                <a:gd name="T18" fmla="*/ 6 w 64"/>
                <a:gd name="T19" fmla="*/ 60 h 126"/>
                <a:gd name="T20" fmla="*/ 8 w 64"/>
                <a:gd name="T21" fmla="*/ 70 h 126"/>
                <a:gd name="T22" fmla="*/ 16 w 64"/>
                <a:gd name="T23" fmla="*/ 72 h 126"/>
                <a:gd name="T24" fmla="*/ 20 w 64"/>
                <a:gd name="T25" fmla="*/ 76 h 126"/>
                <a:gd name="T26" fmla="*/ 22 w 64"/>
                <a:gd name="T27" fmla="*/ 82 h 126"/>
                <a:gd name="T28" fmla="*/ 22 w 64"/>
                <a:gd name="T29" fmla="*/ 92 h 126"/>
                <a:gd name="T30" fmla="*/ 18 w 64"/>
                <a:gd name="T31" fmla="*/ 100 h 126"/>
                <a:gd name="T32" fmla="*/ 18 w 64"/>
                <a:gd name="T33" fmla="*/ 106 h 126"/>
                <a:gd name="T34" fmla="*/ 24 w 64"/>
                <a:gd name="T35" fmla="*/ 116 h 126"/>
                <a:gd name="T36" fmla="*/ 30 w 64"/>
                <a:gd name="T37" fmla="*/ 124 h 126"/>
                <a:gd name="T38" fmla="*/ 34 w 64"/>
                <a:gd name="T39" fmla="*/ 126 h 126"/>
                <a:gd name="T40" fmla="*/ 40 w 64"/>
                <a:gd name="T41" fmla="*/ 124 h 126"/>
                <a:gd name="T42" fmla="*/ 44 w 64"/>
                <a:gd name="T43" fmla="*/ 122 h 126"/>
                <a:gd name="T44" fmla="*/ 46 w 64"/>
                <a:gd name="T45" fmla="*/ 118 h 126"/>
                <a:gd name="T46" fmla="*/ 50 w 64"/>
                <a:gd name="T47" fmla="*/ 116 h 126"/>
                <a:gd name="T48" fmla="*/ 60 w 64"/>
                <a:gd name="T49" fmla="*/ 114 h 126"/>
                <a:gd name="T50" fmla="*/ 62 w 64"/>
                <a:gd name="T51" fmla="*/ 106 h 126"/>
                <a:gd name="T52" fmla="*/ 60 w 64"/>
                <a:gd name="T53" fmla="*/ 98 h 126"/>
                <a:gd name="T54" fmla="*/ 58 w 64"/>
                <a:gd name="T55" fmla="*/ 94 h 126"/>
                <a:gd name="T56" fmla="*/ 52 w 64"/>
                <a:gd name="T57" fmla="*/ 90 h 126"/>
                <a:gd name="T58" fmla="*/ 46 w 64"/>
                <a:gd name="T59" fmla="*/ 86 h 126"/>
                <a:gd name="T60" fmla="*/ 44 w 64"/>
                <a:gd name="T61" fmla="*/ 80 h 126"/>
                <a:gd name="T62" fmla="*/ 44 w 64"/>
                <a:gd name="T63" fmla="*/ 74 h 126"/>
                <a:gd name="T64" fmla="*/ 46 w 64"/>
                <a:gd name="T65" fmla="*/ 70 h 126"/>
                <a:gd name="T66" fmla="*/ 52 w 64"/>
                <a:gd name="T67" fmla="*/ 66 h 126"/>
                <a:gd name="T68" fmla="*/ 60 w 64"/>
                <a:gd name="T69" fmla="*/ 68 h 126"/>
                <a:gd name="T70" fmla="*/ 62 w 64"/>
                <a:gd name="T71" fmla="*/ 66 h 126"/>
                <a:gd name="T72" fmla="*/ 64 w 64"/>
                <a:gd name="T73" fmla="*/ 64 h 126"/>
                <a:gd name="T74" fmla="*/ 64 w 64"/>
                <a:gd name="T75" fmla="*/ 54 h 126"/>
                <a:gd name="T76" fmla="*/ 64 w 64"/>
                <a:gd name="T77" fmla="*/ 44 h 126"/>
                <a:gd name="T78" fmla="*/ 62 w 64"/>
                <a:gd name="T79" fmla="*/ 36 h 126"/>
                <a:gd name="T80" fmla="*/ 58 w 64"/>
                <a:gd name="T81" fmla="*/ 32 h 126"/>
                <a:gd name="T82" fmla="*/ 50 w 64"/>
                <a:gd name="T83" fmla="*/ 30 h 126"/>
                <a:gd name="T84" fmla="*/ 44 w 64"/>
                <a:gd name="T85" fmla="*/ 30 h 126"/>
                <a:gd name="T86" fmla="*/ 44 w 64"/>
                <a:gd name="T87" fmla="*/ 28 h 126"/>
                <a:gd name="T88" fmla="*/ 44 w 64"/>
                <a:gd name="T89" fmla="*/ 20 h 126"/>
                <a:gd name="T90" fmla="*/ 42 w 64"/>
                <a:gd name="T91" fmla="*/ 16 h 126"/>
                <a:gd name="T92" fmla="*/ 40 w 64"/>
                <a:gd name="T93" fmla="*/ 16 h 126"/>
                <a:gd name="T94" fmla="*/ 34 w 64"/>
                <a:gd name="T95" fmla="*/ 14 h 126"/>
                <a:gd name="T96" fmla="*/ 32 w 64"/>
                <a:gd name="T97" fmla="*/ 12 h 126"/>
                <a:gd name="T98" fmla="*/ 30 w 64"/>
                <a:gd name="T99" fmla="*/ 4 h 126"/>
                <a:gd name="T100" fmla="*/ 28 w 64"/>
                <a:gd name="T101" fmla="*/ 2 h 126"/>
                <a:gd name="T102" fmla="*/ 22 w 64"/>
                <a:gd name="T103"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126">
                  <a:moveTo>
                    <a:pt x="18" y="0"/>
                  </a:moveTo>
                  <a:lnTo>
                    <a:pt x="18" y="0"/>
                  </a:lnTo>
                  <a:lnTo>
                    <a:pt x="18" y="2"/>
                  </a:lnTo>
                  <a:lnTo>
                    <a:pt x="18" y="6"/>
                  </a:lnTo>
                  <a:lnTo>
                    <a:pt x="18" y="8"/>
                  </a:lnTo>
                  <a:lnTo>
                    <a:pt x="18" y="10"/>
                  </a:lnTo>
                  <a:lnTo>
                    <a:pt x="18" y="12"/>
                  </a:lnTo>
                  <a:lnTo>
                    <a:pt x="18" y="14"/>
                  </a:lnTo>
                  <a:lnTo>
                    <a:pt x="18" y="14"/>
                  </a:lnTo>
                  <a:lnTo>
                    <a:pt x="18" y="16"/>
                  </a:lnTo>
                  <a:lnTo>
                    <a:pt x="18" y="16"/>
                  </a:lnTo>
                  <a:lnTo>
                    <a:pt x="16" y="18"/>
                  </a:lnTo>
                  <a:lnTo>
                    <a:pt x="14" y="20"/>
                  </a:lnTo>
                  <a:lnTo>
                    <a:pt x="12" y="20"/>
                  </a:lnTo>
                  <a:lnTo>
                    <a:pt x="12" y="20"/>
                  </a:lnTo>
                  <a:lnTo>
                    <a:pt x="12" y="22"/>
                  </a:lnTo>
                  <a:lnTo>
                    <a:pt x="10" y="24"/>
                  </a:lnTo>
                  <a:lnTo>
                    <a:pt x="10" y="26"/>
                  </a:lnTo>
                  <a:lnTo>
                    <a:pt x="10" y="28"/>
                  </a:lnTo>
                  <a:lnTo>
                    <a:pt x="10" y="28"/>
                  </a:lnTo>
                  <a:lnTo>
                    <a:pt x="8" y="30"/>
                  </a:lnTo>
                  <a:lnTo>
                    <a:pt x="8" y="30"/>
                  </a:lnTo>
                  <a:lnTo>
                    <a:pt x="4" y="32"/>
                  </a:lnTo>
                  <a:lnTo>
                    <a:pt x="2" y="34"/>
                  </a:lnTo>
                  <a:lnTo>
                    <a:pt x="2" y="36"/>
                  </a:lnTo>
                  <a:lnTo>
                    <a:pt x="2" y="36"/>
                  </a:lnTo>
                  <a:lnTo>
                    <a:pt x="0" y="38"/>
                  </a:lnTo>
                  <a:lnTo>
                    <a:pt x="0" y="40"/>
                  </a:lnTo>
                  <a:lnTo>
                    <a:pt x="0" y="42"/>
                  </a:lnTo>
                  <a:lnTo>
                    <a:pt x="0" y="44"/>
                  </a:lnTo>
                  <a:lnTo>
                    <a:pt x="0" y="46"/>
                  </a:lnTo>
                  <a:lnTo>
                    <a:pt x="0" y="48"/>
                  </a:lnTo>
                  <a:lnTo>
                    <a:pt x="0" y="50"/>
                  </a:lnTo>
                  <a:lnTo>
                    <a:pt x="0" y="50"/>
                  </a:lnTo>
                  <a:lnTo>
                    <a:pt x="0" y="52"/>
                  </a:lnTo>
                  <a:lnTo>
                    <a:pt x="2" y="54"/>
                  </a:lnTo>
                  <a:lnTo>
                    <a:pt x="4" y="56"/>
                  </a:lnTo>
                  <a:lnTo>
                    <a:pt x="6" y="58"/>
                  </a:lnTo>
                  <a:lnTo>
                    <a:pt x="6" y="58"/>
                  </a:lnTo>
                  <a:lnTo>
                    <a:pt x="6" y="60"/>
                  </a:lnTo>
                  <a:lnTo>
                    <a:pt x="8" y="62"/>
                  </a:lnTo>
                  <a:lnTo>
                    <a:pt x="8" y="62"/>
                  </a:lnTo>
                  <a:lnTo>
                    <a:pt x="8" y="66"/>
                  </a:lnTo>
                  <a:lnTo>
                    <a:pt x="8" y="70"/>
                  </a:lnTo>
                  <a:lnTo>
                    <a:pt x="8" y="70"/>
                  </a:lnTo>
                  <a:lnTo>
                    <a:pt x="12" y="72"/>
                  </a:lnTo>
                  <a:lnTo>
                    <a:pt x="14" y="72"/>
                  </a:lnTo>
                  <a:lnTo>
                    <a:pt x="16" y="72"/>
                  </a:lnTo>
                  <a:lnTo>
                    <a:pt x="18" y="74"/>
                  </a:lnTo>
                  <a:lnTo>
                    <a:pt x="18" y="74"/>
                  </a:lnTo>
                  <a:lnTo>
                    <a:pt x="20" y="74"/>
                  </a:lnTo>
                  <a:lnTo>
                    <a:pt x="20" y="76"/>
                  </a:lnTo>
                  <a:lnTo>
                    <a:pt x="20" y="76"/>
                  </a:lnTo>
                  <a:lnTo>
                    <a:pt x="20" y="78"/>
                  </a:lnTo>
                  <a:lnTo>
                    <a:pt x="22" y="80"/>
                  </a:lnTo>
                  <a:lnTo>
                    <a:pt x="22" y="82"/>
                  </a:lnTo>
                  <a:lnTo>
                    <a:pt x="22" y="84"/>
                  </a:lnTo>
                  <a:lnTo>
                    <a:pt x="22" y="86"/>
                  </a:lnTo>
                  <a:lnTo>
                    <a:pt x="22" y="90"/>
                  </a:lnTo>
                  <a:lnTo>
                    <a:pt x="22" y="92"/>
                  </a:lnTo>
                  <a:lnTo>
                    <a:pt x="22" y="94"/>
                  </a:lnTo>
                  <a:lnTo>
                    <a:pt x="20" y="96"/>
                  </a:lnTo>
                  <a:lnTo>
                    <a:pt x="20" y="98"/>
                  </a:lnTo>
                  <a:lnTo>
                    <a:pt x="18" y="100"/>
                  </a:lnTo>
                  <a:lnTo>
                    <a:pt x="18" y="100"/>
                  </a:lnTo>
                  <a:lnTo>
                    <a:pt x="18" y="102"/>
                  </a:lnTo>
                  <a:lnTo>
                    <a:pt x="18" y="104"/>
                  </a:lnTo>
                  <a:lnTo>
                    <a:pt x="18" y="106"/>
                  </a:lnTo>
                  <a:lnTo>
                    <a:pt x="20" y="108"/>
                  </a:lnTo>
                  <a:lnTo>
                    <a:pt x="20" y="110"/>
                  </a:lnTo>
                  <a:lnTo>
                    <a:pt x="24" y="114"/>
                  </a:lnTo>
                  <a:lnTo>
                    <a:pt x="24" y="116"/>
                  </a:lnTo>
                  <a:lnTo>
                    <a:pt x="26" y="118"/>
                  </a:lnTo>
                  <a:lnTo>
                    <a:pt x="28" y="122"/>
                  </a:lnTo>
                  <a:lnTo>
                    <a:pt x="30" y="122"/>
                  </a:lnTo>
                  <a:lnTo>
                    <a:pt x="30" y="124"/>
                  </a:lnTo>
                  <a:lnTo>
                    <a:pt x="30" y="124"/>
                  </a:lnTo>
                  <a:lnTo>
                    <a:pt x="32" y="124"/>
                  </a:lnTo>
                  <a:lnTo>
                    <a:pt x="32" y="124"/>
                  </a:lnTo>
                  <a:lnTo>
                    <a:pt x="34" y="126"/>
                  </a:lnTo>
                  <a:lnTo>
                    <a:pt x="36" y="126"/>
                  </a:lnTo>
                  <a:lnTo>
                    <a:pt x="38" y="126"/>
                  </a:lnTo>
                  <a:lnTo>
                    <a:pt x="38" y="126"/>
                  </a:lnTo>
                  <a:lnTo>
                    <a:pt x="40" y="124"/>
                  </a:lnTo>
                  <a:lnTo>
                    <a:pt x="42" y="124"/>
                  </a:lnTo>
                  <a:lnTo>
                    <a:pt x="42" y="124"/>
                  </a:lnTo>
                  <a:lnTo>
                    <a:pt x="42" y="124"/>
                  </a:lnTo>
                  <a:lnTo>
                    <a:pt x="44" y="122"/>
                  </a:lnTo>
                  <a:lnTo>
                    <a:pt x="44" y="120"/>
                  </a:lnTo>
                  <a:lnTo>
                    <a:pt x="44" y="120"/>
                  </a:lnTo>
                  <a:lnTo>
                    <a:pt x="46" y="118"/>
                  </a:lnTo>
                  <a:lnTo>
                    <a:pt x="46" y="118"/>
                  </a:lnTo>
                  <a:lnTo>
                    <a:pt x="46" y="118"/>
                  </a:lnTo>
                  <a:lnTo>
                    <a:pt x="46" y="118"/>
                  </a:lnTo>
                  <a:lnTo>
                    <a:pt x="48" y="118"/>
                  </a:lnTo>
                  <a:lnTo>
                    <a:pt x="50" y="116"/>
                  </a:lnTo>
                  <a:lnTo>
                    <a:pt x="52" y="116"/>
                  </a:lnTo>
                  <a:lnTo>
                    <a:pt x="56" y="118"/>
                  </a:lnTo>
                  <a:lnTo>
                    <a:pt x="58" y="118"/>
                  </a:lnTo>
                  <a:lnTo>
                    <a:pt x="60" y="114"/>
                  </a:lnTo>
                  <a:lnTo>
                    <a:pt x="60" y="112"/>
                  </a:lnTo>
                  <a:lnTo>
                    <a:pt x="60" y="110"/>
                  </a:lnTo>
                  <a:lnTo>
                    <a:pt x="60" y="110"/>
                  </a:lnTo>
                  <a:lnTo>
                    <a:pt x="62" y="106"/>
                  </a:lnTo>
                  <a:lnTo>
                    <a:pt x="62" y="104"/>
                  </a:lnTo>
                  <a:lnTo>
                    <a:pt x="62" y="102"/>
                  </a:lnTo>
                  <a:lnTo>
                    <a:pt x="60" y="100"/>
                  </a:lnTo>
                  <a:lnTo>
                    <a:pt x="60" y="98"/>
                  </a:lnTo>
                  <a:lnTo>
                    <a:pt x="60" y="96"/>
                  </a:lnTo>
                  <a:lnTo>
                    <a:pt x="60" y="96"/>
                  </a:lnTo>
                  <a:lnTo>
                    <a:pt x="58" y="94"/>
                  </a:lnTo>
                  <a:lnTo>
                    <a:pt x="58" y="94"/>
                  </a:lnTo>
                  <a:lnTo>
                    <a:pt x="56" y="94"/>
                  </a:lnTo>
                  <a:lnTo>
                    <a:pt x="56" y="92"/>
                  </a:lnTo>
                  <a:lnTo>
                    <a:pt x="54" y="92"/>
                  </a:lnTo>
                  <a:lnTo>
                    <a:pt x="52" y="90"/>
                  </a:lnTo>
                  <a:lnTo>
                    <a:pt x="52" y="90"/>
                  </a:lnTo>
                  <a:lnTo>
                    <a:pt x="50" y="88"/>
                  </a:lnTo>
                  <a:lnTo>
                    <a:pt x="48" y="88"/>
                  </a:lnTo>
                  <a:lnTo>
                    <a:pt x="46" y="86"/>
                  </a:lnTo>
                  <a:lnTo>
                    <a:pt x="46" y="84"/>
                  </a:lnTo>
                  <a:lnTo>
                    <a:pt x="46" y="84"/>
                  </a:lnTo>
                  <a:lnTo>
                    <a:pt x="46" y="82"/>
                  </a:lnTo>
                  <a:lnTo>
                    <a:pt x="44" y="80"/>
                  </a:lnTo>
                  <a:lnTo>
                    <a:pt x="44" y="78"/>
                  </a:lnTo>
                  <a:lnTo>
                    <a:pt x="44" y="78"/>
                  </a:lnTo>
                  <a:lnTo>
                    <a:pt x="44" y="76"/>
                  </a:lnTo>
                  <a:lnTo>
                    <a:pt x="44" y="74"/>
                  </a:lnTo>
                  <a:lnTo>
                    <a:pt x="44" y="72"/>
                  </a:lnTo>
                  <a:lnTo>
                    <a:pt x="46" y="70"/>
                  </a:lnTo>
                  <a:lnTo>
                    <a:pt x="46" y="70"/>
                  </a:lnTo>
                  <a:lnTo>
                    <a:pt x="46" y="70"/>
                  </a:lnTo>
                  <a:lnTo>
                    <a:pt x="48" y="68"/>
                  </a:lnTo>
                  <a:lnTo>
                    <a:pt x="48" y="68"/>
                  </a:lnTo>
                  <a:lnTo>
                    <a:pt x="50" y="66"/>
                  </a:lnTo>
                  <a:lnTo>
                    <a:pt x="52" y="66"/>
                  </a:lnTo>
                  <a:lnTo>
                    <a:pt x="54" y="66"/>
                  </a:lnTo>
                  <a:lnTo>
                    <a:pt x="54" y="66"/>
                  </a:lnTo>
                  <a:lnTo>
                    <a:pt x="58" y="66"/>
                  </a:lnTo>
                  <a:lnTo>
                    <a:pt x="60" y="68"/>
                  </a:lnTo>
                  <a:lnTo>
                    <a:pt x="60" y="68"/>
                  </a:lnTo>
                  <a:lnTo>
                    <a:pt x="62" y="68"/>
                  </a:lnTo>
                  <a:lnTo>
                    <a:pt x="62" y="68"/>
                  </a:lnTo>
                  <a:lnTo>
                    <a:pt x="62" y="66"/>
                  </a:lnTo>
                  <a:lnTo>
                    <a:pt x="64" y="66"/>
                  </a:lnTo>
                  <a:lnTo>
                    <a:pt x="64" y="66"/>
                  </a:lnTo>
                  <a:lnTo>
                    <a:pt x="64" y="64"/>
                  </a:lnTo>
                  <a:lnTo>
                    <a:pt x="64" y="64"/>
                  </a:lnTo>
                  <a:lnTo>
                    <a:pt x="64" y="60"/>
                  </a:lnTo>
                  <a:lnTo>
                    <a:pt x="64" y="58"/>
                  </a:lnTo>
                  <a:lnTo>
                    <a:pt x="64" y="56"/>
                  </a:lnTo>
                  <a:lnTo>
                    <a:pt x="64" y="54"/>
                  </a:lnTo>
                  <a:lnTo>
                    <a:pt x="64" y="52"/>
                  </a:lnTo>
                  <a:lnTo>
                    <a:pt x="64" y="50"/>
                  </a:lnTo>
                  <a:lnTo>
                    <a:pt x="64" y="46"/>
                  </a:lnTo>
                  <a:lnTo>
                    <a:pt x="64" y="44"/>
                  </a:lnTo>
                  <a:lnTo>
                    <a:pt x="64" y="40"/>
                  </a:lnTo>
                  <a:lnTo>
                    <a:pt x="62" y="38"/>
                  </a:lnTo>
                  <a:lnTo>
                    <a:pt x="62" y="36"/>
                  </a:lnTo>
                  <a:lnTo>
                    <a:pt x="62" y="36"/>
                  </a:lnTo>
                  <a:lnTo>
                    <a:pt x="62" y="36"/>
                  </a:lnTo>
                  <a:lnTo>
                    <a:pt x="60" y="34"/>
                  </a:lnTo>
                  <a:lnTo>
                    <a:pt x="60" y="34"/>
                  </a:lnTo>
                  <a:lnTo>
                    <a:pt x="58" y="32"/>
                  </a:lnTo>
                  <a:lnTo>
                    <a:pt x="56" y="30"/>
                  </a:lnTo>
                  <a:lnTo>
                    <a:pt x="54" y="30"/>
                  </a:lnTo>
                  <a:lnTo>
                    <a:pt x="54" y="30"/>
                  </a:lnTo>
                  <a:lnTo>
                    <a:pt x="50" y="30"/>
                  </a:lnTo>
                  <a:lnTo>
                    <a:pt x="48" y="30"/>
                  </a:lnTo>
                  <a:lnTo>
                    <a:pt x="46" y="30"/>
                  </a:lnTo>
                  <a:lnTo>
                    <a:pt x="44" y="30"/>
                  </a:lnTo>
                  <a:lnTo>
                    <a:pt x="44" y="30"/>
                  </a:lnTo>
                  <a:lnTo>
                    <a:pt x="44" y="30"/>
                  </a:lnTo>
                  <a:lnTo>
                    <a:pt x="44" y="30"/>
                  </a:lnTo>
                  <a:lnTo>
                    <a:pt x="44" y="28"/>
                  </a:lnTo>
                  <a:lnTo>
                    <a:pt x="44" y="28"/>
                  </a:lnTo>
                  <a:lnTo>
                    <a:pt x="42" y="26"/>
                  </a:lnTo>
                  <a:lnTo>
                    <a:pt x="42" y="24"/>
                  </a:lnTo>
                  <a:lnTo>
                    <a:pt x="42" y="22"/>
                  </a:lnTo>
                  <a:lnTo>
                    <a:pt x="44" y="20"/>
                  </a:lnTo>
                  <a:lnTo>
                    <a:pt x="42" y="18"/>
                  </a:lnTo>
                  <a:lnTo>
                    <a:pt x="42" y="18"/>
                  </a:lnTo>
                  <a:lnTo>
                    <a:pt x="42" y="16"/>
                  </a:lnTo>
                  <a:lnTo>
                    <a:pt x="42" y="16"/>
                  </a:lnTo>
                  <a:lnTo>
                    <a:pt x="42" y="16"/>
                  </a:lnTo>
                  <a:lnTo>
                    <a:pt x="42" y="16"/>
                  </a:lnTo>
                  <a:lnTo>
                    <a:pt x="42" y="16"/>
                  </a:lnTo>
                  <a:lnTo>
                    <a:pt x="40" y="16"/>
                  </a:lnTo>
                  <a:lnTo>
                    <a:pt x="40" y="16"/>
                  </a:lnTo>
                  <a:lnTo>
                    <a:pt x="38" y="16"/>
                  </a:lnTo>
                  <a:lnTo>
                    <a:pt x="36" y="16"/>
                  </a:lnTo>
                  <a:lnTo>
                    <a:pt x="34" y="14"/>
                  </a:lnTo>
                  <a:lnTo>
                    <a:pt x="34" y="14"/>
                  </a:lnTo>
                  <a:lnTo>
                    <a:pt x="34" y="14"/>
                  </a:lnTo>
                  <a:lnTo>
                    <a:pt x="32" y="14"/>
                  </a:lnTo>
                  <a:lnTo>
                    <a:pt x="32" y="12"/>
                  </a:lnTo>
                  <a:lnTo>
                    <a:pt x="32" y="10"/>
                  </a:lnTo>
                  <a:lnTo>
                    <a:pt x="32" y="8"/>
                  </a:lnTo>
                  <a:lnTo>
                    <a:pt x="30" y="6"/>
                  </a:lnTo>
                  <a:lnTo>
                    <a:pt x="30" y="4"/>
                  </a:lnTo>
                  <a:lnTo>
                    <a:pt x="30" y="4"/>
                  </a:lnTo>
                  <a:lnTo>
                    <a:pt x="30" y="2"/>
                  </a:lnTo>
                  <a:lnTo>
                    <a:pt x="28" y="2"/>
                  </a:lnTo>
                  <a:lnTo>
                    <a:pt x="28" y="2"/>
                  </a:lnTo>
                  <a:lnTo>
                    <a:pt x="28" y="2"/>
                  </a:lnTo>
                  <a:lnTo>
                    <a:pt x="26" y="0"/>
                  </a:lnTo>
                  <a:lnTo>
                    <a:pt x="24" y="0"/>
                  </a:lnTo>
                  <a:lnTo>
                    <a:pt x="22" y="0"/>
                  </a:lnTo>
                  <a:lnTo>
                    <a:pt x="18" y="0"/>
                  </a:lnTo>
                  <a:lnTo>
                    <a:pt x="18"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8" name="Freeform 467">
              <a:extLst>
                <a:ext uri="{FF2B5EF4-FFF2-40B4-BE49-F238E27FC236}">
                  <a16:creationId xmlns:a16="http://schemas.microsoft.com/office/drawing/2014/main" id="{5E1B580E-ED8E-4A82-8E26-F167BDBCA297}"/>
                </a:ext>
              </a:extLst>
            </p:cNvPr>
            <p:cNvSpPr>
              <a:spLocks/>
            </p:cNvSpPr>
            <p:nvPr/>
          </p:nvSpPr>
          <p:spPr bwMode="auto">
            <a:xfrm>
              <a:off x="2429748" y="4535358"/>
              <a:ext cx="1001139" cy="1118920"/>
            </a:xfrm>
            <a:custGeom>
              <a:avLst/>
              <a:gdLst>
                <a:gd name="T0" fmla="*/ 64 w 578"/>
                <a:gd name="T1" fmla="*/ 62 h 646"/>
                <a:gd name="T2" fmla="*/ 62 w 578"/>
                <a:gd name="T3" fmla="*/ 94 h 646"/>
                <a:gd name="T4" fmla="*/ 56 w 578"/>
                <a:gd name="T5" fmla="*/ 128 h 646"/>
                <a:gd name="T6" fmla="*/ 38 w 578"/>
                <a:gd name="T7" fmla="*/ 152 h 646"/>
                <a:gd name="T8" fmla="*/ 16 w 578"/>
                <a:gd name="T9" fmla="*/ 172 h 646"/>
                <a:gd name="T10" fmla="*/ 0 w 578"/>
                <a:gd name="T11" fmla="*/ 198 h 646"/>
                <a:gd name="T12" fmla="*/ 18 w 578"/>
                <a:gd name="T13" fmla="*/ 232 h 646"/>
                <a:gd name="T14" fmla="*/ 38 w 578"/>
                <a:gd name="T15" fmla="*/ 244 h 646"/>
                <a:gd name="T16" fmla="*/ 58 w 578"/>
                <a:gd name="T17" fmla="*/ 252 h 646"/>
                <a:gd name="T18" fmla="*/ 96 w 578"/>
                <a:gd name="T19" fmla="*/ 254 h 646"/>
                <a:gd name="T20" fmla="*/ 110 w 578"/>
                <a:gd name="T21" fmla="*/ 240 h 646"/>
                <a:gd name="T22" fmla="*/ 132 w 578"/>
                <a:gd name="T23" fmla="*/ 262 h 646"/>
                <a:gd name="T24" fmla="*/ 162 w 578"/>
                <a:gd name="T25" fmla="*/ 286 h 646"/>
                <a:gd name="T26" fmla="*/ 176 w 578"/>
                <a:gd name="T27" fmla="*/ 300 h 646"/>
                <a:gd name="T28" fmla="*/ 200 w 578"/>
                <a:gd name="T29" fmla="*/ 316 h 646"/>
                <a:gd name="T30" fmla="*/ 202 w 578"/>
                <a:gd name="T31" fmla="*/ 326 h 646"/>
                <a:gd name="T32" fmla="*/ 214 w 578"/>
                <a:gd name="T33" fmla="*/ 354 h 646"/>
                <a:gd name="T34" fmla="*/ 236 w 578"/>
                <a:gd name="T35" fmla="*/ 364 h 646"/>
                <a:gd name="T36" fmla="*/ 248 w 578"/>
                <a:gd name="T37" fmla="*/ 382 h 646"/>
                <a:gd name="T38" fmla="*/ 234 w 578"/>
                <a:gd name="T39" fmla="*/ 420 h 646"/>
                <a:gd name="T40" fmla="*/ 248 w 578"/>
                <a:gd name="T41" fmla="*/ 438 h 646"/>
                <a:gd name="T42" fmla="*/ 282 w 578"/>
                <a:gd name="T43" fmla="*/ 450 h 646"/>
                <a:gd name="T44" fmla="*/ 294 w 578"/>
                <a:gd name="T45" fmla="*/ 468 h 646"/>
                <a:gd name="T46" fmla="*/ 302 w 578"/>
                <a:gd name="T47" fmla="*/ 512 h 646"/>
                <a:gd name="T48" fmla="*/ 314 w 578"/>
                <a:gd name="T49" fmla="*/ 532 h 646"/>
                <a:gd name="T50" fmla="*/ 294 w 578"/>
                <a:gd name="T51" fmla="*/ 550 h 646"/>
                <a:gd name="T52" fmla="*/ 278 w 578"/>
                <a:gd name="T53" fmla="*/ 592 h 646"/>
                <a:gd name="T54" fmla="*/ 332 w 578"/>
                <a:gd name="T55" fmla="*/ 640 h 646"/>
                <a:gd name="T56" fmla="*/ 338 w 578"/>
                <a:gd name="T57" fmla="*/ 588 h 646"/>
                <a:gd name="T58" fmla="*/ 342 w 578"/>
                <a:gd name="T59" fmla="*/ 606 h 646"/>
                <a:gd name="T60" fmla="*/ 358 w 578"/>
                <a:gd name="T61" fmla="*/ 590 h 646"/>
                <a:gd name="T62" fmla="*/ 368 w 578"/>
                <a:gd name="T63" fmla="*/ 562 h 646"/>
                <a:gd name="T64" fmla="*/ 388 w 578"/>
                <a:gd name="T65" fmla="*/ 502 h 646"/>
                <a:gd name="T66" fmla="*/ 408 w 578"/>
                <a:gd name="T67" fmla="*/ 478 h 646"/>
                <a:gd name="T68" fmla="*/ 464 w 578"/>
                <a:gd name="T69" fmla="*/ 454 h 646"/>
                <a:gd name="T70" fmla="*/ 490 w 578"/>
                <a:gd name="T71" fmla="*/ 434 h 646"/>
                <a:gd name="T72" fmla="*/ 504 w 578"/>
                <a:gd name="T73" fmla="*/ 372 h 646"/>
                <a:gd name="T74" fmla="*/ 512 w 578"/>
                <a:gd name="T75" fmla="*/ 304 h 646"/>
                <a:gd name="T76" fmla="*/ 530 w 578"/>
                <a:gd name="T77" fmla="*/ 276 h 646"/>
                <a:gd name="T78" fmla="*/ 542 w 578"/>
                <a:gd name="T79" fmla="*/ 248 h 646"/>
                <a:gd name="T80" fmla="*/ 562 w 578"/>
                <a:gd name="T81" fmla="*/ 230 h 646"/>
                <a:gd name="T82" fmla="*/ 568 w 578"/>
                <a:gd name="T83" fmla="*/ 208 h 646"/>
                <a:gd name="T84" fmla="*/ 576 w 578"/>
                <a:gd name="T85" fmla="*/ 186 h 646"/>
                <a:gd name="T86" fmla="*/ 564 w 578"/>
                <a:gd name="T87" fmla="*/ 158 h 646"/>
                <a:gd name="T88" fmla="*/ 532 w 578"/>
                <a:gd name="T89" fmla="*/ 132 h 646"/>
                <a:gd name="T90" fmla="*/ 512 w 578"/>
                <a:gd name="T91" fmla="*/ 118 h 646"/>
                <a:gd name="T92" fmla="*/ 470 w 578"/>
                <a:gd name="T93" fmla="*/ 106 h 646"/>
                <a:gd name="T94" fmla="*/ 432 w 578"/>
                <a:gd name="T95" fmla="*/ 96 h 646"/>
                <a:gd name="T96" fmla="*/ 376 w 578"/>
                <a:gd name="T97" fmla="*/ 90 h 646"/>
                <a:gd name="T98" fmla="*/ 366 w 578"/>
                <a:gd name="T99" fmla="*/ 94 h 646"/>
                <a:gd name="T100" fmla="*/ 354 w 578"/>
                <a:gd name="T101" fmla="*/ 76 h 646"/>
                <a:gd name="T102" fmla="*/ 320 w 578"/>
                <a:gd name="T103" fmla="*/ 104 h 646"/>
                <a:gd name="T104" fmla="*/ 350 w 578"/>
                <a:gd name="T105" fmla="*/ 54 h 646"/>
                <a:gd name="T106" fmla="*/ 322 w 578"/>
                <a:gd name="T107" fmla="*/ 16 h 646"/>
                <a:gd name="T108" fmla="*/ 292 w 578"/>
                <a:gd name="T109" fmla="*/ 40 h 646"/>
                <a:gd name="T110" fmla="*/ 262 w 578"/>
                <a:gd name="T111" fmla="*/ 42 h 646"/>
                <a:gd name="T112" fmla="*/ 230 w 578"/>
                <a:gd name="T113" fmla="*/ 50 h 646"/>
                <a:gd name="T114" fmla="*/ 204 w 578"/>
                <a:gd name="T115" fmla="*/ 34 h 646"/>
                <a:gd name="T116" fmla="*/ 194 w 578"/>
                <a:gd name="T117" fmla="*/ 0 h 646"/>
                <a:gd name="T118" fmla="*/ 158 w 578"/>
                <a:gd name="T119" fmla="*/ 16 h 646"/>
                <a:gd name="T120" fmla="*/ 136 w 578"/>
                <a:gd name="T121" fmla="*/ 10 h 646"/>
                <a:gd name="T122" fmla="*/ 146 w 578"/>
                <a:gd name="T123" fmla="*/ 40 h 646"/>
                <a:gd name="T124" fmla="*/ 116 w 578"/>
                <a:gd name="T125" fmla="*/ 58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8" h="646">
                  <a:moveTo>
                    <a:pt x="90" y="40"/>
                  </a:moveTo>
                  <a:lnTo>
                    <a:pt x="90" y="40"/>
                  </a:lnTo>
                  <a:lnTo>
                    <a:pt x="88" y="40"/>
                  </a:lnTo>
                  <a:lnTo>
                    <a:pt x="80" y="42"/>
                  </a:lnTo>
                  <a:lnTo>
                    <a:pt x="76" y="44"/>
                  </a:lnTo>
                  <a:lnTo>
                    <a:pt x="72" y="46"/>
                  </a:lnTo>
                  <a:lnTo>
                    <a:pt x="68" y="48"/>
                  </a:lnTo>
                  <a:lnTo>
                    <a:pt x="66" y="48"/>
                  </a:lnTo>
                  <a:lnTo>
                    <a:pt x="66" y="48"/>
                  </a:lnTo>
                  <a:lnTo>
                    <a:pt x="64" y="50"/>
                  </a:lnTo>
                  <a:lnTo>
                    <a:pt x="64" y="50"/>
                  </a:lnTo>
                  <a:lnTo>
                    <a:pt x="62" y="52"/>
                  </a:lnTo>
                  <a:lnTo>
                    <a:pt x="62" y="54"/>
                  </a:lnTo>
                  <a:lnTo>
                    <a:pt x="60" y="54"/>
                  </a:lnTo>
                  <a:lnTo>
                    <a:pt x="60" y="56"/>
                  </a:lnTo>
                  <a:lnTo>
                    <a:pt x="60" y="58"/>
                  </a:lnTo>
                  <a:lnTo>
                    <a:pt x="60" y="58"/>
                  </a:lnTo>
                  <a:lnTo>
                    <a:pt x="60" y="58"/>
                  </a:lnTo>
                  <a:lnTo>
                    <a:pt x="60" y="60"/>
                  </a:lnTo>
                  <a:lnTo>
                    <a:pt x="60" y="60"/>
                  </a:lnTo>
                  <a:lnTo>
                    <a:pt x="60" y="60"/>
                  </a:lnTo>
                  <a:lnTo>
                    <a:pt x="62" y="62"/>
                  </a:lnTo>
                  <a:lnTo>
                    <a:pt x="64" y="62"/>
                  </a:lnTo>
                  <a:lnTo>
                    <a:pt x="64" y="64"/>
                  </a:lnTo>
                  <a:lnTo>
                    <a:pt x="66" y="64"/>
                  </a:lnTo>
                  <a:lnTo>
                    <a:pt x="66" y="64"/>
                  </a:lnTo>
                  <a:lnTo>
                    <a:pt x="66" y="66"/>
                  </a:lnTo>
                  <a:lnTo>
                    <a:pt x="66" y="66"/>
                  </a:lnTo>
                  <a:lnTo>
                    <a:pt x="66" y="66"/>
                  </a:lnTo>
                  <a:lnTo>
                    <a:pt x="66" y="66"/>
                  </a:lnTo>
                  <a:lnTo>
                    <a:pt x="66" y="66"/>
                  </a:lnTo>
                  <a:lnTo>
                    <a:pt x="66" y="68"/>
                  </a:lnTo>
                  <a:lnTo>
                    <a:pt x="64" y="68"/>
                  </a:lnTo>
                  <a:lnTo>
                    <a:pt x="64" y="68"/>
                  </a:lnTo>
                  <a:lnTo>
                    <a:pt x="60" y="70"/>
                  </a:lnTo>
                  <a:lnTo>
                    <a:pt x="60" y="70"/>
                  </a:lnTo>
                  <a:lnTo>
                    <a:pt x="60" y="70"/>
                  </a:lnTo>
                  <a:lnTo>
                    <a:pt x="60" y="72"/>
                  </a:lnTo>
                  <a:lnTo>
                    <a:pt x="58" y="72"/>
                  </a:lnTo>
                  <a:lnTo>
                    <a:pt x="58" y="74"/>
                  </a:lnTo>
                  <a:lnTo>
                    <a:pt x="58" y="76"/>
                  </a:lnTo>
                  <a:lnTo>
                    <a:pt x="58" y="78"/>
                  </a:lnTo>
                  <a:lnTo>
                    <a:pt x="58" y="80"/>
                  </a:lnTo>
                  <a:lnTo>
                    <a:pt x="58" y="82"/>
                  </a:lnTo>
                  <a:lnTo>
                    <a:pt x="60" y="86"/>
                  </a:lnTo>
                  <a:lnTo>
                    <a:pt x="62" y="94"/>
                  </a:lnTo>
                  <a:lnTo>
                    <a:pt x="62" y="98"/>
                  </a:lnTo>
                  <a:lnTo>
                    <a:pt x="62" y="98"/>
                  </a:lnTo>
                  <a:lnTo>
                    <a:pt x="62" y="100"/>
                  </a:lnTo>
                  <a:lnTo>
                    <a:pt x="64" y="104"/>
                  </a:lnTo>
                  <a:lnTo>
                    <a:pt x="64" y="106"/>
                  </a:lnTo>
                  <a:lnTo>
                    <a:pt x="64" y="108"/>
                  </a:lnTo>
                  <a:lnTo>
                    <a:pt x="64" y="110"/>
                  </a:lnTo>
                  <a:lnTo>
                    <a:pt x="64" y="112"/>
                  </a:lnTo>
                  <a:lnTo>
                    <a:pt x="64" y="112"/>
                  </a:lnTo>
                  <a:lnTo>
                    <a:pt x="62" y="112"/>
                  </a:lnTo>
                  <a:lnTo>
                    <a:pt x="62" y="114"/>
                  </a:lnTo>
                  <a:lnTo>
                    <a:pt x="62" y="114"/>
                  </a:lnTo>
                  <a:lnTo>
                    <a:pt x="60" y="114"/>
                  </a:lnTo>
                  <a:lnTo>
                    <a:pt x="60" y="114"/>
                  </a:lnTo>
                  <a:lnTo>
                    <a:pt x="56" y="114"/>
                  </a:lnTo>
                  <a:lnTo>
                    <a:pt x="54" y="114"/>
                  </a:lnTo>
                  <a:lnTo>
                    <a:pt x="52" y="114"/>
                  </a:lnTo>
                  <a:lnTo>
                    <a:pt x="50" y="114"/>
                  </a:lnTo>
                  <a:lnTo>
                    <a:pt x="48" y="114"/>
                  </a:lnTo>
                  <a:lnTo>
                    <a:pt x="50" y="116"/>
                  </a:lnTo>
                  <a:lnTo>
                    <a:pt x="52" y="122"/>
                  </a:lnTo>
                  <a:lnTo>
                    <a:pt x="54" y="124"/>
                  </a:lnTo>
                  <a:lnTo>
                    <a:pt x="56" y="128"/>
                  </a:lnTo>
                  <a:lnTo>
                    <a:pt x="58" y="132"/>
                  </a:lnTo>
                  <a:lnTo>
                    <a:pt x="58" y="132"/>
                  </a:lnTo>
                  <a:lnTo>
                    <a:pt x="58" y="134"/>
                  </a:lnTo>
                  <a:lnTo>
                    <a:pt x="58" y="134"/>
                  </a:lnTo>
                  <a:lnTo>
                    <a:pt x="58" y="136"/>
                  </a:lnTo>
                  <a:lnTo>
                    <a:pt x="58" y="138"/>
                  </a:lnTo>
                  <a:lnTo>
                    <a:pt x="56" y="140"/>
                  </a:lnTo>
                  <a:lnTo>
                    <a:pt x="56" y="142"/>
                  </a:lnTo>
                  <a:lnTo>
                    <a:pt x="56" y="144"/>
                  </a:lnTo>
                  <a:lnTo>
                    <a:pt x="54" y="146"/>
                  </a:lnTo>
                  <a:lnTo>
                    <a:pt x="54" y="146"/>
                  </a:lnTo>
                  <a:lnTo>
                    <a:pt x="54" y="148"/>
                  </a:lnTo>
                  <a:lnTo>
                    <a:pt x="52" y="148"/>
                  </a:lnTo>
                  <a:lnTo>
                    <a:pt x="50" y="150"/>
                  </a:lnTo>
                  <a:lnTo>
                    <a:pt x="48" y="150"/>
                  </a:lnTo>
                  <a:lnTo>
                    <a:pt x="48" y="152"/>
                  </a:lnTo>
                  <a:lnTo>
                    <a:pt x="46" y="152"/>
                  </a:lnTo>
                  <a:lnTo>
                    <a:pt x="44" y="152"/>
                  </a:lnTo>
                  <a:lnTo>
                    <a:pt x="42" y="154"/>
                  </a:lnTo>
                  <a:lnTo>
                    <a:pt x="42" y="154"/>
                  </a:lnTo>
                  <a:lnTo>
                    <a:pt x="42" y="154"/>
                  </a:lnTo>
                  <a:lnTo>
                    <a:pt x="40" y="152"/>
                  </a:lnTo>
                  <a:lnTo>
                    <a:pt x="38" y="152"/>
                  </a:lnTo>
                  <a:lnTo>
                    <a:pt x="36" y="152"/>
                  </a:lnTo>
                  <a:lnTo>
                    <a:pt x="34" y="150"/>
                  </a:lnTo>
                  <a:lnTo>
                    <a:pt x="32" y="150"/>
                  </a:lnTo>
                  <a:lnTo>
                    <a:pt x="30" y="150"/>
                  </a:lnTo>
                  <a:lnTo>
                    <a:pt x="30" y="150"/>
                  </a:lnTo>
                  <a:lnTo>
                    <a:pt x="30" y="150"/>
                  </a:lnTo>
                  <a:lnTo>
                    <a:pt x="28" y="150"/>
                  </a:lnTo>
                  <a:lnTo>
                    <a:pt x="26" y="150"/>
                  </a:lnTo>
                  <a:lnTo>
                    <a:pt x="26" y="152"/>
                  </a:lnTo>
                  <a:lnTo>
                    <a:pt x="24" y="152"/>
                  </a:lnTo>
                  <a:lnTo>
                    <a:pt x="22" y="154"/>
                  </a:lnTo>
                  <a:lnTo>
                    <a:pt x="22" y="154"/>
                  </a:lnTo>
                  <a:lnTo>
                    <a:pt x="20" y="156"/>
                  </a:lnTo>
                  <a:lnTo>
                    <a:pt x="20" y="156"/>
                  </a:lnTo>
                  <a:lnTo>
                    <a:pt x="18" y="158"/>
                  </a:lnTo>
                  <a:lnTo>
                    <a:pt x="18" y="160"/>
                  </a:lnTo>
                  <a:lnTo>
                    <a:pt x="18" y="162"/>
                  </a:lnTo>
                  <a:lnTo>
                    <a:pt x="16" y="164"/>
                  </a:lnTo>
                  <a:lnTo>
                    <a:pt x="16" y="166"/>
                  </a:lnTo>
                  <a:lnTo>
                    <a:pt x="16" y="168"/>
                  </a:lnTo>
                  <a:lnTo>
                    <a:pt x="16" y="170"/>
                  </a:lnTo>
                  <a:lnTo>
                    <a:pt x="16" y="172"/>
                  </a:lnTo>
                  <a:lnTo>
                    <a:pt x="16" y="172"/>
                  </a:lnTo>
                  <a:lnTo>
                    <a:pt x="18" y="176"/>
                  </a:lnTo>
                  <a:lnTo>
                    <a:pt x="18" y="176"/>
                  </a:lnTo>
                  <a:lnTo>
                    <a:pt x="18" y="178"/>
                  </a:lnTo>
                  <a:lnTo>
                    <a:pt x="18" y="180"/>
                  </a:lnTo>
                  <a:lnTo>
                    <a:pt x="18" y="180"/>
                  </a:lnTo>
                  <a:lnTo>
                    <a:pt x="18" y="180"/>
                  </a:lnTo>
                  <a:lnTo>
                    <a:pt x="18" y="182"/>
                  </a:lnTo>
                  <a:lnTo>
                    <a:pt x="16" y="182"/>
                  </a:lnTo>
                  <a:lnTo>
                    <a:pt x="16" y="184"/>
                  </a:lnTo>
                  <a:lnTo>
                    <a:pt x="14" y="184"/>
                  </a:lnTo>
                  <a:lnTo>
                    <a:pt x="12" y="186"/>
                  </a:lnTo>
                  <a:lnTo>
                    <a:pt x="10" y="186"/>
                  </a:lnTo>
                  <a:lnTo>
                    <a:pt x="10" y="186"/>
                  </a:lnTo>
                  <a:lnTo>
                    <a:pt x="8" y="188"/>
                  </a:lnTo>
                  <a:lnTo>
                    <a:pt x="6" y="188"/>
                  </a:lnTo>
                  <a:lnTo>
                    <a:pt x="4" y="188"/>
                  </a:lnTo>
                  <a:lnTo>
                    <a:pt x="4" y="188"/>
                  </a:lnTo>
                  <a:lnTo>
                    <a:pt x="4" y="190"/>
                  </a:lnTo>
                  <a:lnTo>
                    <a:pt x="2" y="190"/>
                  </a:lnTo>
                  <a:lnTo>
                    <a:pt x="2" y="192"/>
                  </a:lnTo>
                  <a:lnTo>
                    <a:pt x="2" y="194"/>
                  </a:lnTo>
                  <a:lnTo>
                    <a:pt x="0" y="196"/>
                  </a:lnTo>
                  <a:lnTo>
                    <a:pt x="0" y="198"/>
                  </a:lnTo>
                  <a:lnTo>
                    <a:pt x="0" y="200"/>
                  </a:lnTo>
                  <a:lnTo>
                    <a:pt x="0" y="202"/>
                  </a:lnTo>
                  <a:lnTo>
                    <a:pt x="0" y="202"/>
                  </a:lnTo>
                  <a:lnTo>
                    <a:pt x="0" y="204"/>
                  </a:lnTo>
                  <a:lnTo>
                    <a:pt x="0" y="206"/>
                  </a:lnTo>
                  <a:lnTo>
                    <a:pt x="2" y="208"/>
                  </a:lnTo>
                  <a:lnTo>
                    <a:pt x="2" y="210"/>
                  </a:lnTo>
                  <a:lnTo>
                    <a:pt x="4" y="212"/>
                  </a:lnTo>
                  <a:lnTo>
                    <a:pt x="4" y="212"/>
                  </a:lnTo>
                  <a:lnTo>
                    <a:pt x="4" y="214"/>
                  </a:lnTo>
                  <a:lnTo>
                    <a:pt x="6" y="214"/>
                  </a:lnTo>
                  <a:lnTo>
                    <a:pt x="8" y="216"/>
                  </a:lnTo>
                  <a:lnTo>
                    <a:pt x="12" y="220"/>
                  </a:lnTo>
                  <a:lnTo>
                    <a:pt x="12" y="220"/>
                  </a:lnTo>
                  <a:lnTo>
                    <a:pt x="14" y="220"/>
                  </a:lnTo>
                  <a:lnTo>
                    <a:pt x="14" y="222"/>
                  </a:lnTo>
                  <a:lnTo>
                    <a:pt x="14" y="224"/>
                  </a:lnTo>
                  <a:lnTo>
                    <a:pt x="16" y="226"/>
                  </a:lnTo>
                  <a:lnTo>
                    <a:pt x="16" y="228"/>
                  </a:lnTo>
                  <a:lnTo>
                    <a:pt x="16" y="230"/>
                  </a:lnTo>
                  <a:lnTo>
                    <a:pt x="16" y="230"/>
                  </a:lnTo>
                  <a:lnTo>
                    <a:pt x="18" y="232"/>
                  </a:lnTo>
                  <a:lnTo>
                    <a:pt x="18" y="232"/>
                  </a:lnTo>
                  <a:lnTo>
                    <a:pt x="18" y="232"/>
                  </a:lnTo>
                  <a:lnTo>
                    <a:pt x="20" y="232"/>
                  </a:lnTo>
                  <a:lnTo>
                    <a:pt x="22" y="232"/>
                  </a:lnTo>
                  <a:lnTo>
                    <a:pt x="22" y="232"/>
                  </a:lnTo>
                  <a:lnTo>
                    <a:pt x="24" y="232"/>
                  </a:lnTo>
                  <a:lnTo>
                    <a:pt x="26" y="232"/>
                  </a:lnTo>
                  <a:lnTo>
                    <a:pt x="26" y="232"/>
                  </a:lnTo>
                  <a:lnTo>
                    <a:pt x="28" y="232"/>
                  </a:lnTo>
                  <a:lnTo>
                    <a:pt x="28" y="234"/>
                  </a:lnTo>
                  <a:lnTo>
                    <a:pt x="28" y="234"/>
                  </a:lnTo>
                  <a:lnTo>
                    <a:pt x="28" y="234"/>
                  </a:lnTo>
                  <a:lnTo>
                    <a:pt x="28" y="238"/>
                  </a:lnTo>
                  <a:lnTo>
                    <a:pt x="28" y="238"/>
                  </a:lnTo>
                  <a:lnTo>
                    <a:pt x="28" y="240"/>
                  </a:lnTo>
                  <a:lnTo>
                    <a:pt x="30" y="240"/>
                  </a:lnTo>
                  <a:lnTo>
                    <a:pt x="30" y="242"/>
                  </a:lnTo>
                  <a:lnTo>
                    <a:pt x="30" y="242"/>
                  </a:lnTo>
                  <a:lnTo>
                    <a:pt x="30" y="242"/>
                  </a:lnTo>
                  <a:lnTo>
                    <a:pt x="30" y="242"/>
                  </a:lnTo>
                  <a:lnTo>
                    <a:pt x="32" y="242"/>
                  </a:lnTo>
                  <a:lnTo>
                    <a:pt x="34" y="242"/>
                  </a:lnTo>
                  <a:lnTo>
                    <a:pt x="36" y="244"/>
                  </a:lnTo>
                  <a:lnTo>
                    <a:pt x="38" y="244"/>
                  </a:lnTo>
                  <a:lnTo>
                    <a:pt x="40" y="244"/>
                  </a:lnTo>
                  <a:lnTo>
                    <a:pt x="42" y="244"/>
                  </a:lnTo>
                  <a:lnTo>
                    <a:pt x="42" y="244"/>
                  </a:lnTo>
                  <a:lnTo>
                    <a:pt x="44" y="242"/>
                  </a:lnTo>
                  <a:lnTo>
                    <a:pt x="44" y="242"/>
                  </a:lnTo>
                  <a:lnTo>
                    <a:pt x="46" y="242"/>
                  </a:lnTo>
                  <a:lnTo>
                    <a:pt x="48" y="238"/>
                  </a:lnTo>
                  <a:lnTo>
                    <a:pt x="50" y="238"/>
                  </a:lnTo>
                  <a:lnTo>
                    <a:pt x="52" y="236"/>
                  </a:lnTo>
                  <a:lnTo>
                    <a:pt x="52" y="236"/>
                  </a:lnTo>
                  <a:lnTo>
                    <a:pt x="52" y="236"/>
                  </a:lnTo>
                  <a:lnTo>
                    <a:pt x="54" y="236"/>
                  </a:lnTo>
                  <a:lnTo>
                    <a:pt x="54" y="236"/>
                  </a:lnTo>
                  <a:lnTo>
                    <a:pt x="54" y="236"/>
                  </a:lnTo>
                  <a:lnTo>
                    <a:pt x="56" y="238"/>
                  </a:lnTo>
                  <a:lnTo>
                    <a:pt x="56" y="238"/>
                  </a:lnTo>
                  <a:lnTo>
                    <a:pt x="56" y="240"/>
                  </a:lnTo>
                  <a:lnTo>
                    <a:pt x="56" y="240"/>
                  </a:lnTo>
                  <a:lnTo>
                    <a:pt x="56" y="242"/>
                  </a:lnTo>
                  <a:lnTo>
                    <a:pt x="58" y="244"/>
                  </a:lnTo>
                  <a:lnTo>
                    <a:pt x="58" y="248"/>
                  </a:lnTo>
                  <a:lnTo>
                    <a:pt x="58" y="250"/>
                  </a:lnTo>
                  <a:lnTo>
                    <a:pt x="58" y="252"/>
                  </a:lnTo>
                  <a:lnTo>
                    <a:pt x="58" y="254"/>
                  </a:lnTo>
                  <a:lnTo>
                    <a:pt x="60" y="254"/>
                  </a:lnTo>
                  <a:lnTo>
                    <a:pt x="60" y="256"/>
                  </a:lnTo>
                  <a:lnTo>
                    <a:pt x="60" y="256"/>
                  </a:lnTo>
                  <a:lnTo>
                    <a:pt x="60" y="256"/>
                  </a:lnTo>
                  <a:lnTo>
                    <a:pt x="62" y="258"/>
                  </a:lnTo>
                  <a:lnTo>
                    <a:pt x="64" y="258"/>
                  </a:lnTo>
                  <a:lnTo>
                    <a:pt x="66" y="260"/>
                  </a:lnTo>
                  <a:lnTo>
                    <a:pt x="70" y="260"/>
                  </a:lnTo>
                  <a:lnTo>
                    <a:pt x="72" y="262"/>
                  </a:lnTo>
                  <a:lnTo>
                    <a:pt x="76" y="262"/>
                  </a:lnTo>
                  <a:lnTo>
                    <a:pt x="80" y="262"/>
                  </a:lnTo>
                  <a:lnTo>
                    <a:pt x="82" y="262"/>
                  </a:lnTo>
                  <a:lnTo>
                    <a:pt x="84" y="262"/>
                  </a:lnTo>
                  <a:lnTo>
                    <a:pt x="84" y="262"/>
                  </a:lnTo>
                  <a:lnTo>
                    <a:pt x="86" y="262"/>
                  </a:lnTo>
                  <a:lnTo>
                    <a:pt x="88" y="262"/>
                  </a:lnTo>
                  <a:lnTo>
                    <a:pt x="90" y="260"/>
                  </a:lnTo>
                  <a:lnTo>
                    <a:pt x="92" y="258"/>
                  </a:lnTo>
                  <a:lnTo>
                    <a:pt x="94" y="258"/>
                  </a:lnTo>
                  <a:lnTo>
                    <a:pt x="94" y="256"/>
                  </a:lnTo>
                  <a:lnTo>
                    <a:pt x="96" y="256"/>
                  </a:lnTo>
                  <a:lnTo>
                    <a:pt x="96" y="254"/>
                  </a:lnTo>
                  <a:lnTo>
                    <a:pt x="98" y="254"/>
                  </a:lnTo>
                  <a:lnTo>
                    <a:pt x="98" y="252"/>
                  </a:lnTo>
                  <a:lnTo>
                    <a:pt x="98" y="250"/>
                  </a:lnTo>
                  <a:lnTo>
                    <a:pt x="100" y="250"/>
                  </a:lnTo>
                  <a:lnTo>
                    <a:pt x="100" y="248"/>
                  </a:lnTo>
                  <a:lnTo>
                    <a:pt x="100" y="248"/>
                  </a:lnTo>
                  <a:lnTo>
                    <a:pt x="100" y="248"/>
                  </a:lnTo>
                  <a:lnTo>
                    <a:pt x="102" y="248"/>
                  </a:lnTo>
                  <a:lnTo>
                    <a:pt x="102" y="248"/>
                  </a:lnTo>
                  <a:lnTo>
                    <a:pt x="102" y="248"/>
                  </a:lnTo>
                  <a:lnTo>
                    <a:pt x="104" y="248"/>
                  </a:lnTo>
                  <a:lnTo>
                    <a:pt x="106" y="248"/>
                  </a:lnTo>
                  <a:lnTo>
                    <a:pt x="106" y="248"/>
                  </a:lnTo>
                  <a:lnTo>
                    <a:pt x="108" y="250"/>
                  </a:lnTo>
                  <a:lnTo>
                    <a:pt x="108" y="248"/>
                  </a:lnTo>
                  <a:lnTo>
                    <a:pt x="108" y="248"/>
                  </a:lnTo>
                  <a:lnTo>
                    <a:pt x="108" y="248"/>
                  </a:lnTo>
                  <a:lnTo>
                    <a:pt x="108" y="248"/>
                  </a:lnTo>
                  <a:lnTo>
                    <a:pt x="110" y="246"/>
                  </a:lnTo>
                  <a:lnTo>
                    <a:pt x="110" y="246"/>
                  </a:lnTo>
                  <a:lnTo>
                    <a:pt x="110" y="244"/>
                  </a:lnTo>
                  <a:lnTo>
                    <a:pt x="110" y="242"/>
                  </a:lnTo>
                  <a:lnTo>
                    <a:pt x="110" y="240"/>
                  </a:lnTo>
                  <a:lnTo>
                    <a:pt x="110" y="240"/>
                  </a:lnTo>
                  <a:lnTo>
                    <a:pt x="110" y="238"/>
                  </a:lnTo>
                  <a:lnTo>
                    <a:pt x="110" y="238"/>
                  </a:lnTo>
                  <a:lnTo>
                    <a:pt x="112" y="238"/>
                  </a:lnTo>
                  <a:lnTo>
                    <a:pt x="112" y="238"/>
                  </a:lnTo>
                  <a:lnTo>
                    <a:pt x="112" y="236"/>
                  </a:lnTo>
                  <a:lnTo>
                    <a:pt x="114" y="236"/>
                  </a:lnTo>
                  <a:lnTo>
                    <a:pt x="118" y="236"/>
                  </a:lnTo>
                  <a:lnTo>
                    <a:pt x="120" y="236"/>
                  </a:lnTo>
                  <a:lnTo>
                    <a:pt x="122" y="238"/>
                  </a:lnTo>
                  <a:lnTo>
                    <a:pt x="126" y="238"/>
                  </a:lnTo>
                  <a:lnTo>
                    <a:pt x="126" y="238"/>
                  </a:lnTo>
                  <a:lnTo>
                    <a:pt x="128" y="238"/>
                  </a:lnTo>
                  <a:lnTo>
                    <a:pt x="128" y="240"/>
                  </a:lnTo>
                  <a:lnTo>
                    <a:pt x="130" y="240"/>
                  </a:lnTo>
                  <a:lnTo>
                    <a:pt x="130" y="242"/>
                  </a:lnTo>
                  <a:lnTo>
                    <a:pt x="130" y="242"/>
                  </a:lnTo>
                  <a:lnTo>
                    <a:pt x="130" y="244"/>
                  </a:lnTo>
                  <a:lnTo>
                    <a:pt x="132" y="246"/>
                  </a:lnTo>
                  <a:lnTo>
                    <a:pt x="132" y="248"/>
                  </a:lnTo>
                  <a:lnTo>
                    <a:pt x="132" y="250"/>
                  </a:lnTo>
                  <a:lnTo>
                    <a:pt x="132" y="254"/>
                  </a:lnTo>
                  <a:lnTo>
                    <a:pt x="132" y="262"/>
                  </a:lnTo>
                  <a:lnTo>
                    <a:pt x="132" y="266"/>
                  </a:lnTo>
                  <a:lnTo>
                    <a:pt x="132" y="268"/>
                  </a:lnTo>
                  <a:lnTo>
                    <a:pt x="132" y="270"/>
                  </a:lnTo>
                  <a:lnTo>
                    <a:pt x="132" y="272"/>
                  </a:lnTo>
                  <a:lnTo>
                    <a:pt x="134" y="276"/>
                  </a:lnTo>
                  <a:lnTo>
                    <a:pt x="136" y="278"/>
                  </a:lnTo>
                  <a:lnTo>
                    <a:pt x="136" y="280"/>
                  </a:lnTo>
                  <a:lnTo>
                    <a:pt x="138" y="284"/>
                  </a:lnTo>
                  <a:lnTo>
                    <a:pt x="138" y="284"/>
                  </a:lnTo>
                  <a:lnTo>
                    <a:pt x="140" y="286"/>
                  </a:lnTo>
                  <a:lnTo>
                    <a:pt x="140" y="286"/>
                  </a:lnTo>
                  <a:lnTo>
                    <a:pt x="140" y="286"/>
                  </a:lnTo>
                  <a:lnTo>
                    <a:pt x="142" y="286"/>
                  </a:lnTo>
                  <a:lnTo>
                    <a:pt x="144" y="286"/>
                  </a:lnTo>
                  <a:lnTo>
                    <a:pt x="144" y="286"/>
                  </a:lnTo>
                  <a:lnTo>
                    <a:pt x="148" y="286"/>
                  </a:lnTo>
                  <a:lnTo>
                    <a:pt x="152" y="286"/>
                  </a:lnTo>
                  <a:lnTo>
                    <a:pt x="154" y="286"/>
                  </a:lnTo>
                  <a:lnTo>
                    <a:pt x="158" y="286"/>
                  </a:lnTo>
                  <a:lnTo>
                    <a:pt x="158" y="286"/>
                  </a:lnTo>
                  <a:lnTo>
                    <a:pt x="160" y="286"/>
                  </a:lnTo>
                  <a:lnTo>
                    <a:pt x="162" y="286"/>
                  </a:lnTo>
                  <a:lnTo>
                    <a:pt x="162" y="286"/>
                  </a:lnTo>
                  <a:lnTo>
                    <a:pt x="162" y="286"/>
                  </a:lnTo>
                  <a:lnTo>
                    <a:pt x="164" y="286"/>
                  </a:lnTo>
                  <a:lnTo>
                    <a:pt x="164" y="288"/>
                  </a:lnTo>
                  <a:lnTo>
                    <a:pt x="164" y="288"/>
                  </a:lnTo>
                  <a:lnTo>
                    <a:pt x="164" y="290"/>
                  </a:lnTo>
                  <a:lnTo>
                    <a:pt x="166" y="290"/>
                  </a:lnTo>
                  <a:lnTo>
                    <a:pt x="168" y="290"/>
                  </a:lnTo>
                  <a:lnTo>
                    <a:pt x="170" y="290"/>
                  </a:lnTo>
                  <a:lnTo>
                    <a:pt x="172" y="290"/>
                  </a:lnTo>
                  <a:lnTo>
                    <a:pt x="174" y="290"/>
                  </a:lnTo>
                  <a:lnTo>
                    <a:pt x="174" y="292"/>
                  </a:lnTo>
                  <a:lnTo>
                    <a:pt x="174" y="292"/>
                  </a:lnTo>
                  <a:lnTo>
                    <a:pt x="174" y="292"/>
                  </a:lnTo>
                  <a:lnTo>
                    <a:pt x="176" y="292"/>
                  </a:lnTo>
                  <a:lnTo>
                    <a:pt x="176" y="292"/>
                  </a:lnTo>
                  <a:lnTo>
                    <a:pt x="176" y="294"/>
                  </a:lnTo>
                  <a:lnTo>
                    <a:pt x="176" y="294"/>
                  </a:lnTo>
                  <a:lnTo>
                    <a:pt x="176" y="296"/>
                  </a:lnTo>
                  <a:lnTo>
                    <a:pt x="176" y="298"/>
                  </a:lnTo>
                  <a:lnTo>
                    <a:pt x="176" y="298"/>
                  </a:lnTo>
                  <a:lnTo>
                    <a:pt x="176" y="300"/>
                  </a:lnTo>
                  <a:lnTo>
                    <a:pt x="176" y="300"/>
                  </a:lnTo>
                  <a:lnTo>
                    <a:pt x="176" y="300"/>
                  </a:lnTo>
                  <a:lnTo>
                    <a:pt x="178" y="300"/>
                  </a:lnTo>
                  <a:lnTo>
                    <a:pt x="178" y="302"/>
                  </a:lnTo>
                  <a:lnTo>
                    <a:pt x="180" y="302"/>
                  </a:lnTo>
                  <a:lnTo>
                    <a:pt x="182" y="302"/>
                  </a:lnTo>
                  <a:lnTo>
                    <a:pt x="184" y="302"/>
                  </a:lnTo>
                  <a:lnTo>
                    <a:pt x="188" y="302"/>
                  </a:lnTo>
                  <a:lnTo>
                    <a:pt x="190" y="302"/>
                  </a:lnTo>
                  <a:lnTo>
                    <a:pt x="192" y="302"/>
                  </a:lnTo>
                  <a:lnTo>
                    <a:pt x="194" y="302"/>
                  </a:lnTo>
                  <a:lnTo>
                    <a:pt x="196" y="302"/>
                  </a:lnTo>
                  <a:lnTo>
                    <a:pt x="196" y="304"/>
                  </a:lnTo>
                  <a:lnTo>
                    <a:pt x="198" y="304"/>
                  </a:lnTo>
                  <a:lnTo>
                    <a:pt x="198" y="304"/>
                  </a:lnTo>
                  <a:lnTo>
                    <a:pt x="200" y="304"/>
                  </a:lnTo>
                  <a:lnTo>
                    <a:pt x="200" y="304"/>
                  </a:lnTo>
                  <a:lnTo>
                    <a:pt x="200" y="306"/>
                  </a:lnTo>
                  <a:lnTo>
                    <a:pt x="200" y="306"/>
                  </a:lnTo>
                  <a:lnTo>
                    <a:pt x="200" y="308"/>
                  </a:lnTo>
                  <a:lnTo>
                    <a:pt x="200" y="310"/>
                  </a:lnTo>
                  <a:lnTo>
                    <a:pt x="200" y="312"/>
                  </a:lnTo>
                  <a:lnTo>
                    <a:pt x="200" y="314"/>
                  </a:lnTo>
                  <a:lnTo>
                    <a:pt x="200" y="316"/>
                  </a:lnTo>
                  <a:lnTo>
                    <a:pt x="200" y="316"/>
                  </a:lnTo>
                  <a:lnTo>
                    <a:pt x="200" y="318"/>
                  </a:lnTo>
                  <a:lnTo>
                    <a:pt x="202" y="318"/>
                  </a:lnTo>
                  <a:lnTo>
                    <a:pt x="202" y="318"/>
                  </a:lnTo>
                  <a:lnTo>
                    <a:pt x="202" y="318"/>
                  </a:lnTo>
                  <a:lnTo>
                    <a:pt x="202" y="320"/>
                  </a:lnTo>
                  <a:lnTo>
                    <a:pt x="204" y="320"/>
                  </a:lnTo>
                  <a:lnTo>
                    <a:pt x="206" y="320"/>
                  </a:lnTo>
                  <a:lnTo>
                    <a:pt x="206" y="320"/>
                  </a:lnTo>
                  <a:lnTo>
                    <a:pt x="208" y="320"/>
                  </a:lnTo>
                  <a:lnTo>
                    <a:pt x="208" y="320"/>
                  </a:lnTo>
                  <a:lnTo>
                    <a:pt x="208" y="320"/>
                  </a:lnTo>
                  <a:lnTo>
                    <a:pt x="208" y="320"/>
                  </a:lnTo>
                  <a:lnTo>
                    <a:pt x="208" y="320"/>
                  </a:lnTo>
                  <a:lnTo>
                    <a:pt x="208" y="320"/>
                  </a:lnTo>
                  <a:lnTo>
                    <a:pt x="208" y="322"/>
                  </a:lnTo>
                  <a:lnTo>
                    <a:pt x="208" y="322"/>
                  </a:lnTo>
                  <a:lnTo>
                    <a:pt x="208" y="322"/>
                  </a:lnTo>
                  <a:lnTo>
                    <a:pt x="206" y="322"/>
                  </a:lnTo>
                  <a:lnTo>
                    <a:pt x="204" y="324"/>
                  </a:lnTo>
                  <a:lnTo>
                    <a:pt x="202" y="324"/>
                  </a:lnTo>
                  <a:lnTo>
                    <a:pt x="202" y="326"/>
                  </a:lnTo>
                  <a:lnTo>
                    <a:pt x="202" y="326"/>
                  </a:lnTo>
                  <a:lnTo>
                    <a:pt x="202" y="326"/>
                  </a:lnTo>
                  <a:lnTo>
                    <a:pt x="200" y="328"/>
                  </a:lnTo>
                  <a:lnTo>
                    <a:pt x="200" y="330"/>
                  </a:lnTo>
                  <a:lnTo>
                    <a:pt x="200" y="332"/>
                  </a:lnTo>
                  <a:lnTo>
                    <a:pt x="200" y="336"/>
                  </a:lnTo>
                  <a:lnTo>
                    <a:pt x="200" y="338"/>
                  </a:lnTo>
                  <a:lnTo>
                    <a:pt x="200" y="342"/>
                  </a:lnTo>
                  <a:lnTo>
                    <a:pt x="202" y="344"/>
                  </a:lnTo>
                  <a:lnTo>
                    <a:pt x="202" y="344"/>
                  </a:lnTo>
                  <a:lnTo>
                    <a:pt x="202" y="346"/>
                  </a:lnTo>
                  <a:lnTo>
                    <a:pt x="202" y="346"/>
                  </a:lnTo>
                  <a:lnTo>
                    <a:pt x="202" y="346"/>
                  </a:lnTo>
                  <a:lnTo>
                    <a:pt x="204" y="346"/>
                  </a:lnTo>
                  <a:lnTo>
                    <a:pt x="206" y="348"/>
                  </a:lnTo>
                  <a:lnTo>
                    <a:pt x="206" y="348"/>
                  </a:lnTo>
                  <a:lnTo>
                    <a:pt x="208" y="348"/>
                  </a:lnTo>
                  <a:lnTo>
                    <a:pt x="208" y="348"/>
                  </a:lnTo>
                  <a:lnTo>
                    <a:pt x="208" y="350"/>
                  </a:lnTo>
                  <a:lnTo>
                    <a:pt x="210" y="352"/>
                  </a:lnTo>
                  <a:lnTo>
                    <a:pt x="210" y="352"/>
                  </a:lnTo>
                  <a:lnTo>
                    <a:pt x="210" y="352"/>
                  </a:lnTo>
                  <a:lnTo>
                    <a:pt x="212" y="354"/>
                  </a:lnTo>
                  <a:lnTo>
                    <a:pt x="214" y="354"/>
                  </a:lnTo>
                  <a:lnTo>
                    <a:pt x="214" y="354"/>
                  </a:lnTo>
                  <a:lnTo>
                    <a:pt x="216" y="354"/>
                  </a:lnTo>
                  <a:lnTo>
                    <a:pt x="218" y="352"/>
                  </a:lnTo>
                  <a:lnTo>
                    <a:pt x="222" y="352"/>
                  </a:lnTo>
                  <a:lnTo>
                    <a:pt x="224" y="352"/>
                  </a:lnTo>
                  <a:lnTo>
                    <a:pt x="226" y="352"/>
                  </a:lnTo>
                  <a:lnTo>
                    <a:pt x="228" y="352"/>
                  </a:lnTo>
                  <a:lnTo>
                    <a:pt x="230" y="352"/>
                  </a:lnTo>
                  <a:lnTo>
                    <a:pt x="230" y="352"/>
                  </a:lnTo>
                  <a:lnTo>
                    <a:pt x="232" y="352"/>
                  </a:lnTo>
                  <a:lnTo>
                    <a:pt x="232" y="352"/>
                  </a:lnTo>
                  <a:lnTo>
                    <a:pt x="232" y="354"/>
                  </a:lnTo>
                  <a:lnTo>
                    <a:pt x="232" y="354"/>
                  </a:lnTo>
                  <a:lnTo>
                    <a:pt x="232" y="356"/>
                  </a:lnTo>
                  <a:lnTo>
                    <a:pt x="232" y="358"/>
                  </a:lnTo>
                  <a:lnTo>
                    <a:pt x="232" y="360"/>
                  </a:lnTo>
                  <a:lnTo>
                    <a:pt x="232" y="362"/>
                  </a:lnTo>
                  <a:lnTo>
                    <a:pt x="232" y="362"/>
                  </a:lnTo>
                  <a:lnTo>
                    <a:pt x="232" y="362"/>
                  </a:lnTo>
                  <a:lnTo>
                    <a:pt x="232" y="364"/>
                  </a:lnTo>
                  <a:lnTo>
                    <a:pt x="232" y="364"/>
                  </a:lnTo>
                  <a:lnTo>
                    <a:pt x="234" y="364"/>
                  </a:lnTo>
                  <a:lnTo>
                    <a:pt x="234" y="364"/>
                  </a:lnTo>
                  <a:lnTo>
                    <a:pt x="236" y="364"/>
                  </a:lnTo>
                  <a:lnTo>
                    <a:pt x="236" y="364"/>
                  </a:lnTo>
                  <a:lnTo>
                    <a:pt x="238" y="364"/>
                  </a:lnTo>
                  <a:lnTo>
                    <a:pt x="238" y="364"/>
                  </a:lnTo>
                  <a:lnTo>
                    <a:pt x="240" y="364"/>
                  </a:lnTo>
                  <a:lnTo>
                    <a:pt x="240" y="364"/>
                  </a:lnTo>
                  <a:lnTo>
                    <a:pt x="240" y="364"/>
                  </a:lnTo>
                  <a:lnTo>
                    <a:pt x="240" y="366"/>
                  </a:lnTo>
                  <a:lnTo>
                    <a:pt x="242" y="366"/>
                  </a:lnTo>
                  <a:lnTo>
                    <a:pt x="242" y="368"/>
                  </a:lnTo>
                  <a:lnTo>
                    <a:pt x="242" y="368"/>
                  </a:lnTo>
                  <a:lnTo>
                    <a:pt x="242" y="370"/>
                  </a:lnTo>
                  <a:lnTo>
                    <a:pt x="242" y="374"/>
                  </a:lnTo>
                  <a:lnTo>
                    <a:pt x="242" y="374"/>
                  </a:lnTo>
                  <a:lnTo>
                    <a:pt x="242" y="376"/>
                  </a:lnTo>
                  <a:lnTo>
                    <a:pt x="242" y="376"/>
                  </a:lnTo>
                  <a:lnTo>
                    <a:pt x="242" y="376"/>
                  </a:lnTo>
                  <a:lnTo>
                    <a:pt x="244" y="378"/>
                  </a:lnTo>
                  <a:lnTo>
                    <a:pt x="246" y="378"/>
                  </a:lnTo>
                  <a:lnTo>
                    <a:pt x="246" y="378"/>
                  </a:lnTo>
                  <a:lnTo>
                    <a:pt x="248" y="380"/>
                  </a:lnTo>
                  <a:lnTo>
                    <a:pt x="248" y="380"/>
                  </a:lnTo>
                  <a:lnTo>
                    <a:pt x="248" y="380"/>
                  </a:lnTo>
                  <a:lnTo>
                    <a:pt x="248" y="382"/>
                  </a:lnTo>
                  <a:lnTo>
                    <a:pt x="248" y="384"/>
                  </a:lnTo>
                  <a:lnTo>
                    <a:pt x="248" y="386"/>
                  </a:lnTo>
                  <a:lnTo>
                    <a:pt x="248" y="390"/>
                  </a:lnTo>
                  <a:lnTo>
                    <a:pt x="248" y="392"/>
                  </a:lnTo>
                  <a:lnTo>
                    <a:pt x="248" y="394"/>
                  </a:lnTo>
                  <a:lnTo>
                    <a:pt x="246" y="396"/>
                  </a:lnTo>
                  <a:lnTo>
                    <a:pt x="246" y="398"/>
                  </a:lnTo>
                  <a:lnTo>
                    <a:pt x="246" y="400"/>
                  </a:lnTo>
                  <a:lnTo>
                    <a:pt x="244" y="404"/>
                  </a:lnTo>
                  <a:lnTo>
                    <a:pt x="242" y="406"/>
                  </a:lnTo>
                  <a:lnTo>
                    <a:pt x="242" y="406"/>
                  </a:lnTo>
                  <a:lnTo>
                    <a:pt x="240" y="408"/>
                  </a:lnTo>
                  <a:lnTo>
                    <a:pt x="240" y="408"/>
                  </a:lnTo>
                  <a:lnTo>
                    <a:pt x="238" y="408"/>
                  </a:lnTo>
                  <a:lnTo>
                    <a:pt x="236" y="408"/>
                  </a:lnTo>
                  <a:lnTo>
                    <a:pt x="232" y="410"/>
                  </a:lnTo>
                  <a:lnTo>
                    <a:pt x="232" y="410"/>
                  </a:lnTo>
                  <a:lnTo>
                    <a:pt x="232" y="414"/>
                  </a:lnTo>
                  <a:lnTo>
                    <a:pt x="234" y="416"/>
                  </a:lnTo>
                  <a:lnTo>
                    <a:pt x="234" y="418"/>
                  </a:lnTo>
                  <a:lnTo>
                    <a:pt x="234" y="420"/>
                  </a:lnTo>
                  <a:lnTo>
                    <a:pt x="234" y="420"/>
                  </a:lnTo>
                  <a:lnTo>
                    <a:pt x="234" y="420"/>
                  </a:lnTo>
                  <a:lnTo>
                    <a:pt x="234" y="420"/>
                  </a:lnTo>
                  <a:lnTo>
                    <a:pt x="236" y="420"/>
                  </a:lnTo>
                  <a:lnTo>
                    <a:pt x="236" y="422"/>
                  </a:lnTo>
                  <a:lnTo>
                    <a:pt x="238" y="422"/>
                  </a:lnTo>
                  <a:lnTo>
                    <a:pt x="240" y="422"/>
                  </a:lnTo>
                  <a:lnTo>
                    <a:pt x="240" y="422"/>
                  </a:lnTo>
                  <a:lnTo>
                    <a:pt x="242" y="422"/>
                  </a:lnTo>
                  <a:lnTo>
                    <a:pt x="244" y="424"/>
                  </a:lnTo>
                  <a:lnTo>
                    <a:pt x="244" y="424"/>
                  </a:lnTo>
                  <a:lnTo>
                    <a:pt x="244" y="424"/>
                  </a:lnTo>
                  <a:lnTo>
                    <a:pt x="244" y="424"/>
                  </a:lnTo>
                  <a:lnTo>
                    <a:pt x="244" y="426"/>
                  </a:lnTo>
                  <a:lnTo>
                    <a:pt x="246" y="426"/>
                  </a:lnTo>
                  <a:lnTo>
                    <a:pt x="246" y="428"/>
                  </a:lnTo>
                  <a:lnTo>
                    <a:pt x="244" y="430"/>
                  </a:lnTo>
                  <a:lnTo>
                    <a:pt x="244" y="432"/>
                  </a:lnTo>
                  <a:lnTo>
                    <a:pt x="244" y="434"/>
                  </a:lnTo>
                  <a:lnTo>
                    <a:pt x="246" y="436"/>
                  </a:lnTo>
                  <a:lnTo>
                    <a:pt x="246" y="436"/>
                  </a:lnTo>
                  <a:lnTo>
                    <a:pt x="246" y="436"/>
                  </a:lnTo>
                  <a:lnTo>
                    <a:pt x="246" y="436"/>
                  </a:lnTo>
                  <a:lnTo>
                    <a:pt x="246" y="438"/>
                  </a:lnTo>
                  <a:lnTo>
                    <a:pt x="248" y="438"/>
                  </a:lnTo>
                  <a:lnTo>
                    <a:pt x="250" y="438"/>
                  </a:lnTo>
                  <a:lnTo>
                    <a:pt x="252" y="438"/>
                  </a:lnTo>
                  <a:lnTo>
                    <a:pt x="254" y="438"/>
                  </a:lnTo>
                  <a:lnTo>
                    <a:pt x="256" y="438"/>
                  </a:lnTo>
                  <a:lnTo>
                    <a:pt x="258" y="438"/>
                  </a:lnTo>
                  <a:lnTo>
                    <a:pt x="258" y="438"/>
                  </a:lnTo>
                  <a:lnTo>
                    <a:pt x="258" y="440"/>
                  </a:lnTo>
                  <a:lnTo>
                    <a:pt x="260" y="440"/>
                  </a:lnTo>
                  <a:lnTo>
                    <a:pt x="260" y="440"/>
                  </a:lnTo>
                  <a:lnTo>
                    <a:pt x="260" y="442"/>
                  </a:lnTo>
                  <a:lnTo>
                    <a:pt x="262" y="444"/>
                  </a:lnTo>
                  <a:lnTo>
                    <a:pt x="262" y="446"/>
                  </a:lnTo>
                  <a:lnTo>
                    <a:pt x="262" y="446"/>
                  </a:lnTo>
                  <a:lnTo>
                    <a:pt x="264" y="448"/>
                  </a:lnTo>
                  <a:lnTo>
                    <a:pt x="264" y="448"/>
                  </a:lnTo>
                  <a:lnTo>
                    <a:pt x="266" y="448"/>
                  </a:lnTo>
                  <a:lnTo>
                    <a:pt x="268" y="450"/>
                  </a:lnTo>
                  <a:lnTo>
                    <a:pt x="270" y="450"/>
                  </a:lnTo>
                  <a:lnTo>
                    <a:pt x="272" y="450"/>
                  </a:lnTo>
                  <a:lnTo>
                    <a:pt x="274" y="450"/>
                  </a:lnTo>
                  <a:lnTo>
                    <a:pt x="278" y="450"/>
                  </a:lnTo>
                  <a:lnTo>
                    <a:pt x="280" y="450"/>
                  </a:lnTo>
                  <a:lnTo>
                    <a:pt x="282" y="450"/>
                  </a:lnTo>
                  <a:lnTo>
                    <a:pt x="282" y="450"/>
                  </a:lnTo>
                  <a:lnTo>
                    <a:pt x="282" y="450"/>
                  </a:lnTo>
                  <a:lnTo>
                    <a:pt x="284" y="450"/>
                  </a:lnTo>
                  <a:lnTo>
                    <a:pt x="284" y="450"/>
                  </a:lnTo>
                  <a:lnTo>
                    <a:pt x="284" y="452"/>
                  </a:lnTo>
                  <a:lnTo>
                    <a:pt x="284" y="452"/>
                  </a:lnTo>
                  <a:lnTo>
                    <a:pt x="286" y="452"/>
                  </a:lnTo>
                  <a:lnTo>
                    <a:pt x="286" y="454"/>
                  </a:lnTo>
                  <a:lnTo>
                    <a:pt x="286" y="456"/>
                  </a:lnTo>
                  <a:lnTo>
                    <a:pt x="284" y="458"/>
                  </a:lnTo>
                  <a:lnTo>
                    <a:pt x="284" y="462"/>
                  </a:lnTo>
                  <a:lnTo>
                    <a:pt x="284" y="464"/>
                  </a:lnTo>
                  <a:lnTo>
                    <a:pt x="284" y="464"/>
                  </a:lnTo>
                  <a:lnTo>
                    <a:pt x="284" y="466"/>
                  </a:lnTo>
                  <a:lnTo>
                    <a:pt x="284" y="466"/>
                  </a:lnTo>
                  <a:lnTo>
                    <a:pt x="286" y="468"/>
                  </a:lnTo>
                  <a:lnTo>
                    <a:pt x="286" y="468"/>
                  </a:lnTo>
                  <a:lnTo>
                    <a:pt x="286" y="468"/>
                  </a:lnTo>
                  <a:lnTo>
                    <a:pt x="288" y="468"/>
                  </a:lnTo>
                  <a:lnTo>
                    <a:pt x="288" y="468"/>
                  </a:lnTo>
                  <a:lnTo>
                    <a:pt x="290" y="468"/>
                  </a:lnTo>
                  <a:lnTo>
                    <a:pt x="292" y="468"/>
                  </a:lnTo>
                  <a:lnTo>
                    <a:pt x="294" y="468"/>
                  </a:lnTo>
                  <a:lnTo>
                    <a:pt x="296" y="468"/>
                  </a:lnTo>
                  <a:lnTo>
                    <a:pt x="296" y="468"/>
                  </a:lnTo>
                  <a:lnTo>
                    <a:pt x="296" y="468"/>
                  </a:lnTo>
                  <a:lnTo>
                    <a:pt x="298" y="468"/>
                  </a:lnTo>
                  <a:lnTo>
                    <a:pt x="298" y="468"/>
                  </a:lnTo>
                  <a:lnTo>
                    <a:pt x="298" y="470"/>
                  </a:lnTo>
                  <a:lnTo>
                    <a:pt x="300" y="470"/>
                  </a:lnTo>
                  <a:lnTo>
                    <a:pt x="300" y="472"/>
                  </a:lnTo>
                  <a:lnTo>
                    <a:pt x="300" y="474"/>
                  </a:lnTo>
                  <a:lnTo>
                    <a:pt x="300" y="476"/>
                  </a:lnTo>
                  <a:lnTo>
                    <a:pt x="300" y="478"/>
                  </a:lnTo>
                  <a:lnTo>
                    <a:pt x="302" y="482"/>
                  </a:lnTo>
                  <a:lnTo>
                    <a:pt x="300" y="486"/>
                  </a:lnTo>
                  <a:lnTo>
                    <a:pt x="300" y="492"/>
                  </a:lnTo>
                  <a:lnTo>
                    <a:pt x="300" y="498"/>
                  </a:lnTo>
                  <a:lnTo>
                    <a:pt x="300" y="500"/>
                  </a:lnTo>
                  <a:lnTo>
                    <a:pt x="300" y="502"/>
                  </a:lnTo>
                  <a:lnTo>
                    <a:pt x="300" y="504"/>
                  </a:lnTo>
                  <a:lnTo>
                    <a:pt x="302" y="506"/>
                  </a:lnTo>
                  <a:lnTo>
                    <a:pt x="302" y="508"/>
                  </a:lnTo>
                  <a:lnTo>
                    <a:pt x="302" y="508"/>
                  </a:lnTo>
                  <a:lnTo>
                    <a:pt x="302" y="510"/>
                  </a:lnTo>
                  <a:lnTo>
                    <a:pt x="302" y="512"/>
                  </a:lnTo>
                  <a:lnTo>
                    <a:pt x="302" y="514"/>
                  </a:lnTo>
                  <a:lnTo>
                    <a:pt x="302" y="516"/>
                  </a:lnTo>
                  <a:lnTo>
                    <a:pt x="302" y="520"/>
                  </a:lnTo>
                  <a:lnTo>
                    <a:pt x="304" y="522"/>
                  </a:lnTo>
                  <a:lnTo>
                    <a:pt x="304" y="522"/>
                  </a:lnTo>
                  <a:lnTo>
                    <a:pt x="304" y="524"/>
                  </a:lnTo>
                  <a:lnTo>
                    <a:pt x="304" y="524"/>
                  </a:lnTo>
                  <a:lnTo>
                    <a:pt x="304" y="526"/>
                  </a:lnTo>
                  <a:lnTo>
                    <a:pt x="306" y="526"/>
                  </a:lnTo>
                  <a:lnTo>
                    <a:pt x="306" y="526"/>
                  </a:lnTo>
                  <a:lnTo>
                    <a:pt x="306" y="526"/>
                  </a:lnTo>
                  <a:lnTo>
                    <a:pt x="308" y="526"/>
                  </a:lnTo>
                  <a:lnTo>
                    <a:pt x="308" y="526"/>
                  </a:lnTo>
                  <a:lnTo>
                    <a:pt x="310" y="526"/>
                  </a:lnTo>
                  <a:lnTo>
                    <a:pt x="310" y="526"/>
                  </a:lnTo>
                  <a:lnTo>
                    <a:pt x="312" y="526"/>
                  </a:lnTo>
                  <a:lnTo>
                    <a:pt x="312" y="526"/>
                  </a:lnTo>
                  <a:lnTo>
                    <a:pt x="312" y="526"/>
                  </a:lnTo>
                  <a:lnTo>
                    <a:pt x="312" y="526"/>
                  </a:lnTo>
                  <a:lnTo>
                    <a:pt x="314" y="526"/>
                  </a:lnTo>
                  <a:lnTo>
                    <a:pt x="314" y="528"/>
                  </a:lnTo>
                  <a:lnTo>
                    <a:pt x="314" y="530"/>
                  </a:lnTo>
                  <a:lnTo>
                    <a:pt x="314" y="532"/>
                  </a:lnTo>
                  <a:lnTo>
                    <a:pt x="314" y="532"/>
                  </a:lnTo>
                  <a:lnTo>
                    <a:pt x="314" y="534"/>
                  </a:lnTo>
                  <a:lnTo>
                    <a:pt x="314" y="536"/>
                  </a:lnTo>
                  <a:lnTo>
                    <a:pt x="314" y="536"/>
                  </a:lnTo>
                  <a:lnTo>
                    <a:pt x="314" y="538"/>
                  </a:lnTo>
                  <a:lnTo>
                    <a:pt x="312" y="538"/>
                  </a:lnTo>
                  <a:lnTo>
                    <a:pt x="312" y="538"/>
                  </a:lnTo>
                  <a:lnTo>
                    <a:pt x="310" y="538"/>
                  </a:lnTo>
                  <a:lnTo>
                    <a:pt x="310" y="538"/>
                  </a:lnTo>
                  <a:lnTo>
                    <a:pt x="308" y="538"/>
                  </a:lnTo>
                  <a:lnTo>
                    <a:pt x="304" y="538"/>
                  </a:lnTo>
                  <a:lnTo>
                    <a:pt x="304" y="538"/>
                  </a:lnTo>
                  <a:lnTo>
                    <a:pt x="302" y="538"/>
                  </a:lnTo>
                  <a:lnTo>
                    <a:pt x="302" y="538"/>
                  </a:lnTo>
                  <a:lnTo>
                    <a:pt x="302" y="540"/>
                  </a:lnTo>
                  <a:lnTo>
                    <a:pt x="300" y="540"/>
                  </a:lnTo>
                  <a:lnTo>
                    <a:pt x="300" y="542"/>
                  </a:lnTo>
                  <a:lnTo>
                    <a:pt x="298" y="544"/>
                  </a:lnTo>
                  <a:lnTo>
                    <a:pt x="296" y="546"/>
                  </a:lnTo>
                  <a:lnTo>
                    <a:pt x="296" y="548"/>
                  </a:lnTo>
                  <a:lnTo>
                    <a:pt x="294" y="548"/>
                  </a:lnTo>
                  <a:lnTo>
                    <a:pt x="294" y="550"/>
                  </a:lnTo>
                  <a:lnTo>
                    <a:pt x="294" y="550"/>
                  </a:lnTo>
                  <a:lnTo>
                    <a:pt x="292" y="550"/>
                  </a:lnTo>
                  <a:lnTo>
                    <a:pt x="290" y="550"/>
                  </a:lnTo>
                  <a:lnTo>
                    <a:pt x="288" y="552"/>
                  </a:lnTo>
                  <a:lnTo>
                    <a:pt x="288" y="552"/>
                  </a:lnTo>
                  <a:lnTo>
                    <a:pt x="286" y="552"/>
                  </a:lnTo>
                  <a:lnTo>
                    <a:pt x="286" y="554"/>
                  </a:lnTo>
                  <a:lnTo>
                    <a:pt x="284" y="556"/>
                  </a:lnTo>
                  <a:lnTo>
                    <a:pt x="282" y="560"/>
                  </a:lnTo>
                  <a:lnTo>
                    <a:pt x="280" y="562"/>
                  </a:lnTo>
                  <a:lnTo>
                    <a:pt x="278" y="564"/>
                  </a:lnTo>
                  <a:lnTo>
                    <a:pt x="276" y="566"/>
                  </a:lnTo>
                  <a:lnTo>
                    <a:pt x="274" y="570"/>
                  </a:lnTo>
                  <a:lnTo>
                    <a:pt x="272" y="572"/>
                  </a:lnTo>
                  <a:lnTo>
                    <a:pt x="270" y="574"/>
                  </a:lnTo>
                  <a:lnTo>
                    <a:pt x="268" y="578"/>
                  </a:lnTo>
                  <a:lnTo>
                    <a:pt x="266" y="582"/>
                  </a:lnTo>
                  <a:lnTo>
                    <a:pt x="268" y="586"/>
                  </a:lnTo>
                  <a:lnTo>
                    <a:pt x="270" y="588"/>
                  </a:lnTo>
                  <a:lnTo>
                    <a:pt x="272" y="588"/>
                  </a:lnTo>
                  <a:lnTo>
                    <a:pt x="272" y="590"/>
                  </a:lnTo>
                  <a:lnTo>
                    <a:pt x="274" y="590"/>
                  </a:lnTo>
                  <a:lnTo>
                    <a:pt x="274" y="592"/>
                  </a:lnTo>
                  <a:lnTo>
                    <a:pt x="278" y="592"/>
                  </a:lnTo>
                  <a:lnTo>
                    <a:pt x="282" y="594"/>
                  </a:lnTo>
                  <a:lnTo>
                    <a:pt x="284" y="594"/>
                  </a:lnTo>
                  <a:lnTo>
                    <a:pt x="286" y="596"/>
                  </a:lnTo>
                  <a:lnTo>
                    <a:pt x="290" y="598"/>
                  </a:lnTo>
                  <a:lnTo>
                    <a:pt x="294" y="600"/>
                  </a:lnTo>
                  <a:lnTo>
                    <a:pt x="298" y="604"/>
                  </a:lnTo>
                  <a:lnTo>
                    <a:pt x="302" y="608"/>
                  </a:lnTo>
                  <a:lnTo>
                    <a:pt x="306" y="612"/>
                  </a:lnTo>
                  <a:lnTo>
                    <a:pt x="310" y="616"/>
                  </a:lnTo>
                  <a:lnTo>
                    <a:pt x="314" y="620"/>
                  </a:lnTo>
                  <a:lnTo>
                    <a:pt x="316" y="624"/>
                  </a:lnTo>
                  <a:lnTo>
                    <a:pt x="318" y="626"/>
                  </a:lnTo>
                  <a:lnTo>
                    <a:pt x="320" y="630"/>
                  </a:lnTo>
                  <a:lnTo>
                    <a:pt x="322" y="632"/>
                  </a:lnTo>
                  <a:lnTo>
                    <a:pt x="324" y="634"/>
                  </a:lnTo>
                  <a:lnTo>
                    <a:pt x="324" y="636"/>
                  </a:lnTo>
                  <a:lnTo>
                    <a:pt x="324" y="636"/>
                  </a:lnTo>
                  <a:lnTo>
                    <a:pt x="324" y="638"/>
                  </a:lnTo>
                  <a:lnTo>
                    <a:pt x="324" y="642"/>
                  </a:lnTo>
                  <a:lnTo>
                    <a:pt x="326" y="646"/>
                  </a:lnTo>
                  <a:lnTo>
                    <a:pt x="326" y="646"/>
                  </a:lnTo>
                  <a:lnTo>
                    <a:pt x="330" y="642"/>
                  </a:lnTo>
                  <a:lnTo>
                    <a:pt x="332" y="640"/>
                  </a:lnTo>
                  <a:lnTo>
                    <a:pt x="332" y="638"/>
                  </a:lnTo>
                  <a:lnTo>
                    <a:pt x="334" y="636"/>
                  </a:lnTo>
                  <a:lnTo>
                    <a:pt x="334" y="634"/>
                  </a:lnTo>
                  <a:lnTo>
                    <a:pt x="334" y="634"/>
                  </a:lnTo>
                  <a:lnTo>
                    <a:pt x="336" y="632"/>
                  </a:lnTo>
                  <a:lnTo>
                    <a:pt x="336" y="628"/>
                  </a:lnTo>
                  <a:lnTo>
                    <a:pt x="336" y="626"/>
                  </a:lnTo>
                  <a:lnTo>
                    <a:pt x="334" y="622"/>
                  </a:lnTo>
                  <a:lnTo>
                    <a:pt x="334" y="620"/>
                  </a:lnTo>
                  <a:lnTo>
                    <a:pt x="336" y="618"/>
                  </a:lnTo>
                  <a:lnTo>
                    <a:pt x="336" y="614"/>
                  </a:lnTo>
                  <a:lnTo>
                    <a:pt x="336" y="612"/>
                  </a:lnTo>
                  <a:lnTo>
                    <a:pt x="338" y="608"/>
                  </a:lnTo>
                  <a:lnTo>
                    <a:pt x="338" y="606"/>
                  </a:lnTo>
                  <a:lnTo>
                    <a:pt x="338" y="604"/>
                  </a:lnTo>
                  <a:lnTo>
                    <a:pt x="338" y="604"/>
                  </a:lnTo>
                  <a:lnTo>
                    <a:pt x="338" y="600"/>
                  </a:lnTo>
                  <a:lnTo>
                    <a:pt x="338" y="594"/>
                  </a:lnTo>
                  <a:lnTo>
                    <a:pt x="338" y="592"/>
                  </a:lnTo>
                  <a:lnTo>
                    <a:pt x="338" y="590"/>
                  </a:lnTo>
                  <a:lnTo>
                    <a:pt x="338" y="590"/>
                  </a:lnTo>
                  <a:lnTo>
                    <a:pt x="338" y="588"/>
                  </a:lnTo>
                  <a:lnTo>
                    <a:pt x="338" y="588"/>
                  </a:lnTo>
                  <a:lnTo>
                    <a:pt x="338" y="586"/>
                  </a:lnTo>
                  <a:lnTo>
                    <a:pt x="338" y="586"/>
                  </a:lnTo>
                  <a:lnTo>
                    <a:pt x="340" y="586"/>
                  </a:lnTo>
                  <a:lnTo>
                    <a:pt x="340" y="586"/>
                  </a:lnTo>
                  <a:lnTo>
                    <a:pt x="340" y="586"/>
                  </a:lnTo>
                  <a:lnTo>
                    <a:pt x="342" y="586"/>
                  </a:lnTo>
                  <a:lnTo>
                    <a:pt x="344" y="586"/>
                  </a:lnTo>
                  <a:lnTo>
                    <a:pt x="344" y="586"/>
                  </a:lnTo>
                  <a:lnTo>
                    <a:pt x="346" y="588"/>
                  </a:lnTo>
                  <a:lnTo>
                    <a:pt x="346" y="588"/>
                  </a:lnTo>
                  <a:lnTo>
                    <a:pt x="348" y="590"/>
                  </a:lnTo>
                  <a:lnTo>
                    <a:pt x="348" y="590"/>
                  </a:lnTo>
                  <a:lnTo>
                    <a:pt x="348" y="590"/>
                  </a:lnTo>
                  <a:lnTo>
                    <a:pt x="348" y="592"/>
                  </a:lnTo>
                  <a:lnTo>
                    <a:pt x="348" y="592"/>
                  </a:lnTo>
                  <a:lnTo>
                    <a:pt x="348" y="594"/>
                  </a:lnTo>
                  <a:lnTo>
                    <a:pt x="348" y="596"/>
                  </a:lnTo>
                  <a:lnTo>
                    <a:pt x="348" y="598"/>
                  </a:lnTo>
                  <a:lnTo>
                    <a:pt x="346" y="600"/>
                  </a:lnTo>
                  <a:lnTo>
                    <a:pt x="346" y="602"/>
                  </a:lnTo>
                  <a:lnTo>
                    <a:pt x="346" y="602"/>
                  </a:lnTo>
                  <a:lnTo>
                    <a:pt x="344" y="604"/>
                  </a:lnTo>
                  <a:lnTo>
                    <a:pt x="342" y="606"/>
                  </a:lnTo>
                  <a:lnTo>
                    <a:pt x="342" y="606"/>
                  </a:lnTo>
                  <a:lnTo>
                    <a:pt x="342" y="608"/>
                  </a:lnTo>
                  <a:lnTo>
                    <a:pt x="342" y="608"/>
                  </a:lnTo>
                  <a:lnTo>
                    <a:pt x="342" y="608"/>
                  </a:lnTo>
                  <a:lnTo>
                    <a:pt x="344" y="608"/>
                  </a:lnTo>
                  <a:lnTo>
                    <a:pt x="344" y="610"/>
                  </a:lnTo>
                  <a:lnTo>
                    <a:pt x="344" y="610"/>
                  </a:lnTo>
                  <a:lnTo>
                    <a:pt x="346" y="610"/>
                  </a:lnTo>
                  <a:lnTo>
                    <a:pt x="348" y="608"/>
                  </a:lnTo>
                  <a:lnTo>
                    <a:pt x="350" y="608"/>
                  </a:lnTo>
                  <a:lnTo>
                    <a:pt x="352" y="606"/>
                  </a:lnTo>
                  <a:lnTo>
                    <a:pt x="354" y="606"/>
                  </a:lnTo>
                  <a:lnTo>
                    <a:pt x="354" y="604"/>
                  </a:lnTo>
                  <a:lnTo>
                    <a:pt x="356" y="604"/>
                  </a:lnTo>
                  <a:lnTo>
                    <a:pt x="356" y="602"/>
                  </a:lnTo>
                  <a:lnTo>
                    <a:pt x="356" y="602"/>
                  </a:lnTo>
                  <a:lnTo>
                    <a:pt x="356" y="600"/>
                  </a:lnTo>
                  <a:lnTo>
                    <a:pt x="358" y="598"/>
                  </a:lnTo>
                  <a:lnTo>
                    <a:pt x="358" y="596"/>
                  </a:lnTo>
                  <a:lnTo>
                    <a:pt x="358" y="594"/>
                  </a:lnTo>
                  <a:lnTo>
                    <a:pt x="358" y="594"/>
                  </a:lnTo>
                  <a:lnTo>
                    <a:pt x="358" y="592"/>
                  </a:lnTo>
                  <a:lnTo>
                    <a:pt x="358" y="590"/>
                  </a:lnTo>
                  <a:lnTo>
                    <a:pt x="358" y="590"/>
                  </a:lnTo>
                  <a:lnTo>
                    <a:pt x="360" y="590"/>
                  </a:lnTo>
                  <a:lnTo>
                    <a:pt x="360" y="588"/>
                  </a:lnTo>
                  <a:lnTo>
                    <a:pt x="364" y="588"/>
                  </a:lnTo>
                  <a:lnTo>
                    <a:pt x="364" y="586"/>
                  </a:lnTo>
                  <a:lnTo>
                    <a:pt x="366" y="586"/>
                  </a:lnTo>
                  <a:lnTo>
                    <a:pt x="366" y="586"/>
                  </a:lnTo>
                  <a:lnTo>
                    <a:pt x="368" y="584"/>
                  </a:lnTo>
                  <a:lnTo>
                    <a:pt x="368" y="584"/>
                  </a:lnTo>
                  <a:lnTo>
                    <a:pt x="368" y="582"/>
                  </a:lnTo>
                  <a:lnTo>
                    <a:pt x="368" y="582"/>
                  </a:lnTo>
                  <a:lnTo>
                    <a:pt x="368" y="580"/>
                  </a:lnTo>
                  <a:lnTo>
                    <a:pt x="366" y="576"/>
                  </a:lnTo>
                  <a:lnTo>
                    <a:pt x="366" y="574"/>
                  </a:lnTo>
                  <a:lnTo>
                    <a:pt x="366" y="570"/>
                  </a:lnTo>
                  <a:lnTo>
                    <a:pt x="364" y="568"/>
                  </a:lnTo>
                  <a:lnTo>
                    <a:pt x="364" y="566"/>
                  </a:lnTo>
                  <a:lnTo>
                    <a:pt x="364" y="566"/>
                  </a:lnTo>
                  <a:lnTo>
                    <a:pt x="364" y="564"/>
                  </a:lnTo>
                  <a:lnTo>
                    <a:pt x="366" y="564"/>
                  </a:lnTo>
                  <a:lnTo>
                    <a:pt x="366" y="562"/>
                  </a:lnTo>
                  <a:lnTo>
                    <a:pt x="366" y="562"/>
                  </a:lnTo>
                  <a:lnTo>
                    <a:pt x="368" y="562"/>
                  </a:lnTo>
                  <a:lnTo>
                    <a:pt x="368" y="560"/>
                  </a:lnTo>
                  <a:lnTo>
                    <a:pt x="370" y="560"/>
                  </a:lnTo>
                  <a:lnTo>
                    <a:pt x="374" y="558"/>
                  </a:lnTo>
                  <a:lnTo>
                    <a:pt x="376" y="558"/>
                  </a:lnTo>
                  <a:lnTo>
                    <a:pt x="378" y="556"/>
                  </a:lnTo>
                  <a:lnTo>
                    <a:pt x="378" y="556"/>
                  </a:lnTo>
                  <a:lnTo>
                    <a:pt x="380" y="556"/>
                  </a:lnTo>
                  <a:lnTo>
                    <a:pt x="380" y="554"/>
                  </a:lnTo>
                  <a:lnTo>
                    <a:pt x="380" y="554"/>
                  </a:lnTo>
                  <a:lnTo>
                    <a:pt x="382" y="554"/>
                  </a:lnTo>
                  <a:lnTo>
                    <a:pt x="382" y="552"/>
                  </a:lnTo>
                  <a:lnTo>
                    <a:pt x="384" y="550"/>
                  </a:lnTo>
                  <a:lnTo>
                    <a:pt x="384" y="548"/>
                  </a:lnTo>
                  <a:lnTo>
                    <a:pt x="384" y="544"/>
                  </a:lnTo>
                  <a:lnTo>
                    <a:pt x="384" y="540"/>
                  </a:lnTo>
                  <a:lnTo>
                    <a:pt x="386" y="538"/>
                  </a:lnTo>
                  <a:lnTo>
                    <a:pt x="386" y="530"/>
                  </a:lnTo>
                  <a:lnTo>
                    <a:pt x="386" y="516"/>
                  </a:lnTo>
                  <a:lnTo>
                    <a:pt x="386" y="514"/>
                  </a:lnTo>
                  <a:lnTo>
                    <a:pt x="386" y="510"/>
                  </a:lnTo>
                  <a:lnTo>
                    <a:pt x="386" y="508"/>
                  </a:lnTo>
                  <a:lnTo>
                    <a:pt x="386" y="506"/>
                  </a:lnTo>
                  <a:lnTo>
                    <a:pt x="388" y="502"/>
                  </a:lnTo>
                  <a:lnTo>
                    <a:pt x="388" y="500"/>
                  </a:lnTo>
                  <a:lnTo>
                    <a:pt x="388" y="498"/>
                  </a:lnTo>
                  <a:lnTo>
                    <a:pt x="390" y="496"/>
                  </a:lnTo>
                  <a:lnTo>
                    <a:pt x="390" y="494"/>
                  </a:lnTo>
                  <a:lnTo>
                    <a:pt x="390" y="494"/>
                  </a:lnTo>
                  <a:lnTo>
                    <a:pt x="392" y="494"/>
                  </a:lnTo>
                  <a:lnTo>
                    <a:pt x="392" y="494"/>
                  </a:lnTo>
                  <a:lnTo>
                    <a:pt x="392" y="492"/>
                  </a:lnTo>
                  <a:lnTo>
                    <a:pt x="394" y="492"/>
                  </a:lnTo>
                  <a:lnTo>
                    <a:pt x="396" y="492"/>
                  </a:lnTo>
                  <a:lnTo>
                    <a:pt x="398" y="490"/>
                  </a:lnTo>
                  <a:lnTo>
                    <a:pt x="400" y="490"/>
                  </a:lnTo>
                  <a:lnTo>
                    <a:pt x="402" y="490"/>
                  </a:lnTo>
                  <a:lnTo>
                    <a:pt x="402" y="490"/>
                  </a:lnTo>
                  <a:lnTo>
                    <a:pt x="402" y="488"/>
                  </a:lnTo>
                  <a:lnTo>
                    <a:pt x="404" y="488"/>
                  </a:lnTo>
                  <a:lnTo>
                    <a:pt x="404" y="488"/>
                  </a:lnTo>
                  <a:lnTo>
                    <a:pt x="404" y="484"/>
                  </a:lnTo>
                  <a:lnTo>
                    <a:pt x="406" y="482"/>
                  </a:lnTo>
                  <a:lnTo>
                    <a:pt x="406" y="482"/>
                  </a:lnTo>
                  <a:lnTo>
                    <a:pt x="406" y="480"/>
                  </a:lnTo>
                  <a:lnTo>
                    <a:pt x="408" y="480"/>
                  </a:lnTo>
                  <a:lnTo>
                    <a:pt x="408" y="478"/>
                  </a:lnTo>
                  <a:lnTo>
                    <a:pt x="410" y="478"/>
                  </a:lnTo>
                  <a:lnTo>
                    <a:pt x="414" y="474"/>
                  </a:lnTo>
                  <a:lnTo>
                    <a:pt x="418" y="472"/>
                  </a:lnTo>
                  <a:lnTo>
                    <a:pt x="422" y="468"/>
                  </a:lnTo>
                  <a:lnTo>
                    <a:pt x="426" y="466"/>
                  </a:lnTo>
                  <a:lnTo>
                    <a:pt x="428" y="466"/>
                  </a:lnTo>
                  <a:lnTo>
                    <a:pt x="430" y="464"/>
                  </a:lnTo>
                  <a:lnTo>
                    <a:pt x="432" y="464"/>
                  </a:lnTo>
                  <a:lnTo>
                    <a:pt x="434" y="464"/>
                  </a:lnTo>
                  <a:lnTo>
                    <a:pt x="436" y="462"/>
                  </a:lnTo>
                  <a:lnTo>
                    <a:pt x="442" y="462"/>
                  </a:lnTo>
                  <a:lnTo>
                    <a:pt x="446" y="462"/>
                  </a:lnTo>
                  <a:lnTo>
                    <a:pt x="450" y="462"/>
                  </a:lnTo>
                  <a:lnTo>
                    <a:pt x="454" y="462"/>
                  </a:lnTo>
                  <a:lnTo>
                    <a:pt x="456" y="462"/>
                  </a:lnTo>
                  <a:lnTo>
                    <a:pt x="458" y="462"/>
                  </a:lnTo>
                  <a:lnTo>
                    <a:pt x="458" y="460"/>
                  </a:lnTo>
                  <a:lnTo>
                    <a:pt x="460" y="460"/>
                  </a:lnTo>
                  <a:lnTo>
                    <a:pt x="460" y="460"/>
                  </a:lnTo>
                  <a:lnTo>
                    <a:pt x="460" y="458"/>
                  </a:lnTo>
                  <a:lnTo>
                    <a:pt x="462" y="456"/>
                  </a:lnTo>
                  <a:lnTo>
                    <a:pt x="462" y="454"/>
                  </a:lnTo>
                  <a:lnTo>
                    <a:pt x="464" y="454"/>
                  </a:lnTo>
                  <a:lnTo>
                    <a:pt x="464" y="452"/>
                  </a:lnTo>
                  <a:lnTo>
                    <a:pt x="464" y="452"/>
                  </a:lnTo>
                  <a:lnTo>
                    <a:pt x="466" y="452"/>
                  </a:lnTo>
                  <a:lnTo>
                    <a:pt x="466" y="450"/>
                  </a:lnTo>
                  <a:lnTo>
                    <a:pt x="468" y="450"/>
                  </a:lnTo>
                  <a:lnTo>
                    <a:pt x="470" y="450"/>
                  </a:lnTo>
                  <a:lnTo>
                    <a:pt x="472" y="450"/>
                  </a:lnTo>
                  <a:lnTo>
                    <a:pt x="476" y="452"/>
                  </a:lnTo>
                  <a:lnTo>
                    <a:pt x="480" y="452"/>
                  </a:lnTo>
                  <a:lnTo>
                    <a:pt x="480" y="452"/>
                  </a:lnTo>
                  <a:lnTo>
                    <a:pt x="482" y="452"/>
                  </a:lnTo>
                  <a:lnTo>
                    <a:pt x="484" y="452"/>
                  </a:lnTo>
                  <a:lnTo>
                    <a:pt x="484" y="452"/>
                  </a:lnTo>
                  <a:lnTo>
                    <a:pt x="486" y="452"/>
                  </a:lnTo>
                  <a:lnTo>
                    <a:pt x="486" y="450"/>
                  </a:lnTo>
                  <a:lnTo>
                    <a:pt x="488" y="450"/>
                  </a:lnTo>
                  <a:lnTo>
                    <a:pt x="488" y="448"/>
                  </a:lnTo>
                  <a:lnTo>
                    <a:pt x="488" y="446"/>
                  </a:lnTo>
                  <a:lnTo>
                    <a:pt x="490" y="446"/>
                  </a:lnTo>
                  <a:lnTo>
                    <a:pt x="490" y="444"/>
                  </a:lnTo>
                  <a:lnTo>
                    <a:pt x="490" y="442"/>
                  </a:lnTo>
                  <a:lnTo>
                    <a:pt x="490" y="438"/>
                  </a:lnTo>
                  <a:lnTo>
                    <a:pt x="490" y="434"/>
                  </a:lnTo>
                  <a:lnTo>
                    <a:pt x="490" y="430"/>
                  </a:lnTo>
                  <a:lnTo>
                    <a:pt x="490" y="428"/>
                  </a:lnTo>
                  <a:lnTo>
                    <a:pt x="490" y="426"/>
                  </a:lnTo>
                  <a:lnTo>
                    <a:pt x="490" y="426"/>
                  </a:lnTo>
                  <a:lnTo>
                    <a:pt x="490" y="424"/>
                  </a:lnTo>
                  <a:lnTo>
                    <a:pt x="490" y="422"/>
                  </a:lnTo>
                  <a:lnTo>
                    <a:pt x="492" y="422"/>
                  </a:lnTo>
                  <a:lnTo>
                    <a:pt x="494" y="418"/>
                  </a:lnTo>
                  <a:lnTo>
                    <a:pt x="496" y="414"/>
                  </a:lnTo>
                  <a:lnTo>
                    <a:pt x="498" y="414"/>
                  </a:lnTo>
                  <a:lnTo>
                    <a:pt x="498" y="412"/>
                  </a:lnTo>
                  <a:lnTo>
                    <a:pt x="500" y="408"/>
                  </a:lnTo>
                  <a:lnTo>
                    <a:pt x="502" y="404"/>
                  </a:lnTo>
                  <a:lnTo>
                    <a:pt x="502" y="400"/>
                  </a:lnTo>
                  <a:lnTo>
                    <a:pt x="504" y="396"/>
                  </a:lnTo>
                  <a:lnTo>
                    <a:pt x="504" y="396"/>
                  </a:lnTo>
                  <a:lnTo>
                    <a:pt x="504" y="394"/>
                  </a:lnTo>
                  <a:lnTo>
                    <a:pt x="504" y="390"/>
                  </a:lnTo>
                  <a:lnTo>
                    <a:pt x="504" y="382"/>
                  </a:lnTo>
                  <a:lnTo>
                    <a:pt x="504" y="378"/>
                  </a:lnTo>
                  <a:lnTo>
                    <a:pt x="504" y="374"/>
                  </a:lnTo>
                  <a:lnTo>
                    <a:pt x="504" y="374"/>
                  </a:lnTo>
                  <a:lnTo>
                    <a:pt x="504" y="372"/>
                  </a:lnTo>
                  <a:lnTo>
                    <a:pt x="506" y="370"/>
                  </a:lnTo>
                  <a:lnTo>
                    <a:pt x="506" y="370"/>
                  </a:lnTo>
                  <a:lnTo>
                    <a:pt x="506" y="368"/>
                  </a:lnTo>
                  <a:lnTo>
                    <a:pt x="508" y="368"/>
                  </a:lnTo>
                  <a:lnTo>
                    <a:pt x="510" y="366"/>
                  </a:lnTo>
                  <a:lnTo>
                    <a:pt x="512" y="366"/>
                  </a:lnTo>
                  <a:lnTo>
                    <a:pt x="512" y="366"/>
                  </a:lnTo>
                  <a:lnTo>
                    <a:pt x="514" y="364"/>
                  </a:lnTo>
                  <a:lnTo>
                    <a:pt x="514" y="364"/>
                  </a:lnTo>
                  <a:lnTo>
                    <a:pt x="514" y="362"/>
                  </a:lnTo>
                  <a:lnTo>
                    <a:pt x="516" y="360"/>
                  </a:lnTo>
                  <a:lnTo>
                    <a:pt x="516" y="358"/>
                  </a:lnTo>
                  <a:lnTo>
                    <a:pt x="516" y="356"/>
                  </a:lnTo>
                  <a:lnTo>
                    <a:pt x="516" y="352"/>
                  </a:lnTo>
                  <a:lnTo>
                    <a:pt x="516" y="350"/>
                  </a:lnTo>
                  <a:lnTo>
                    <a:pt x="516" y="348"/>
                  </a:lnTo>
                  <a:lnTo>
                    <a:pt x="516" y="342"/>
                  </a:lnTo>
                  <a:lnTo>
                    <a:pt x="516" y="338"/>
                  </a:lnTo>
                  <a:lnTo>
                    <a:pt x="514" y="326"/>
                  </a:lnTo>
                  <a:lnTo>
                    <a:pt x="514" y="320"/>
                  </a:lnTo>
                  <a:lnTo>
                    <a:pt x="514" y="314"/>
                  </a:lnTo>
                  <a:lnTo>
                    <a:pt x="512" y="310"/>
                  </a:lnTo>
                  <a:lnTo>
                    <a:pt x="512" y="304"/>
                  </a:lnTo>
                  <a:lnTo>
                    <a:pt x="512" y="302"/>
                  </a:lnTo>
                  <a:lnTo>
                    <a:pt x="512" y="300"/>
                  </a:lnTo>
                  <a:lnTo>
                    <a:pt x="514" y="298"/>
                  </a:lnTo>
                  <a:lnTo>
                    <a:pt x="514" y="296"/>
                  </a:lnTo>
                  <a:lnTo>
                    <a:pt x="514" y="292"/>
                  </a:lnTo>
                  <a:lnTo>
                    <a:pt x="514" y="292"/>
                  </a:lnTo>
                  <a:lnTo>
                    <a:pt x="516" y="290"/>
                  </a:lnTo>
                  <a:lnTo>
                    <a:pt x="516" y="288"/>
                  </a:lnTo>
                  <a:lnTo>
                    <a:pt x="516" y="288"/>
                  </a:lnTo>
                  <a:lnTo>
                    <a:pt x="518" y="286"/>
                  </a:lnTo>
                  <a:lnTo>
                    <a:pt x="520" y="286"/>
                  </a:lnTo>
                  <a:lnTo>
                    <a:pt x="522" y="286"/>
                  </a:lnTo>
                  <a:lnTo>
                    <a:pt x="524" y="286"/>
                  </a:lnTo>
                  <a:lnTo>
                    <a:pt x="526" y="286"/>
                  </a:lnTo>
                  <a:lnTo>
                    <a:pt x="528" y="284"/>
                  </a:lnTo>
                  <a:lnTo>
                    <a:pt x="528" y="284"/>
                  </a:lnTo>
                  <a:lnTo>
                    <a:pt x="530" y="284"/>
                  </a:lnTo>
                  <a:lnTo>
                    <a:pt x="530" y="282"/>
                  </a:lnTo>
                  <a:lnTo>
                    <a:pt x="530" y="282"/>
                  </a:lnTo>
                  <a:lnTo>
                    <a:pt x="530" y="282"/>
                  </a:lnTo>
                  <a:lnTo>
                    <a:pt x="530" y="280"/>
                  </a:lnTo>
                  <a:lnTo>
                    <a:pt x="530" y="278"/>
                  </a:lnTo>
                  <a:lnTo>
                    <a:pt x="530" y="276"/>
                  </a:lnTo>
                  <a:lnTo>
                    <a:pt x="530" y="274"/>
                  </a:lnTo>
                  <a:lnTo>
                    <a:pt x="530" y="272"/>
                  </a:lnTo>
                  <a:lnTo>
                    <a:pt x="530" y="270"/>
                  </a:lnTo>
                  <a:lnTo>
                    <a:pt x="530" y="270"/>
                  </a:lnTo>
                  <a:lnTo>
                    <a:pt x="532" y="268"/>
                  </a:lnTo>
                  <a:lnTo>
                    <a:pt x="532" y="268"/>
                  </a:lnTo>
                  <a:lnTo>
                    <a:pt x="532" y="268"/>
                  </a:lnTo>
                  <a:lnTo>
                    <a:pt x="534" y="266"/>
                  </a:lnTo>
                  <a:lnTo>
                    <a:pt x="536" y="264"/>
                  </a:lnTo>
                  <a:lnTo>
                    <a:pt x="536" y="264"/>
                  </a:lnTo>
                  <a:lnTo>
                    <a:pt x="536" y="264"/>
                  </a:lnTo>
                  <a:lnTo>
                    <a:pt x="536" y="264"/>
                  </a:lnTo>
                  <a:lnTo>
                    <a:pt x="538" y="262"/>
                  </a:lnTo>
                  <a:lnTo>
                    <a:pt x="538" y="260"/>
                  </a:lnTo>
                  <a:lnTo>
                    <a:pt x="538" y="258"/>
                  </a:lnTo>
                  <a:lnTo>
                    <a:pt x="538" y="256"/>
                  </a:lnTo>
                  <a:lnTo>
                    <a:pt x="538" y="254"/>
                  </a:lnTo>
                  <a:lnTo>
                    <a:pt x="540" y="252"/>
                  </a:lnTo>
                  <a:lnTo>
                    <a:pt x="540" y="250"/>
                  </a:lnTo>
                  <a:lnTo>
                    <a:pt x="540" y="250"/>
                  </a:lnTo>
                  <a:lnTo>
                    <a:pt x="540" y="250"/>
                  </a:lnTo>
                  <a:lnTo>
                    <a:pt x="542" y="248"/>
                  </a:lnTo>
                  <a:lnTo>
                    <a:pt x="542" y="248"/>
                  </a:lnTo>
                  <a:lnTo>
                    <a:pt x="544" y="248"/>
                  </a:lnTo>
                  <a:lnTo>
                    <a:pt x="546" y="248"/>
                  </a:lnTo>
                  <a:lnTo>
                    <a:pt x="548" y="248"/>
                  </a:lnTo>
                  <a:lnTo>
                    <a:pt x="548" y="246"/>
                  </a:lnTo>
                  <a:lnTo>
                    <a:pt x="548" y="246"/>
                  </a:lnTo>
                  <a:lnTo>
                    <a:pt x="548" y="246"/>
                  </a:lnTo>
                  <a:lnTo>
                    <a:pt x="550" y="244"/>
                  </a:lnTo>
                  <a:lnTo>
                    <a:pt x="550" y="242"/>
                  </a:lnTo>
                  <a:lnTo>
                    <a:pt x="550" y="240"/>
                  </a:lnTo>
                  <a:lnTo>
                    <a:pt x="550" y="238"/>
                  </a:lnTo>
                  <a:lnTo>
                    <a:pt x="550" y="236"/>
                  </a:lnTo>
                  <a:lnTo>
                    <a:pt x="550" y="234"/>
                  </a:lnTo>
                  <a:lnTo>
                    <a:pt x="552" y="234"/>
                  </a:lnTo>
                  <a:lnTo>
                    <a:pt x="552" y="232"/>
                  </a:lnTo>
                  <a:lnTo>
                    <a:pt x="552" y="232"/>
                  </a:lnTo>
                  <a:lnTo>
                    <a:pt x="552" y="232"/>
                  </a:lnTo>
                  <a:lnTo>
                    <a:pt x="554" y="232"/>
                  </a:lnTo>
                  <a:lnTo>
                    <a:pt x="556" y="230"/>
                  </a:lnTo>
                  <a:lnTo>
                    <a:pt x="558" y="230"/>
                  </a:lnTo>
                  <a:lnTo>
                    <a:pt x="558" y="230"/>
                  </a:lnTo>
                  <a:lnTo>
                    <a:pt x="560" y="230"/>
                  </a:lnTo>
                  <a:lnTo>
                    <a:pt x="562" y="230"/>
                  </a:lnTo>
                  <a:lnTo>
                    <a:pt x="562" y="230"/>
                  </a:lnTo>
                  <a:lnTo>
                    <a:pt x="562" y="228"/>
                  </a:lnTo>
                  <a:lnTo>
                    <a:pt x="562" y="228"/>
                  </a:lnTo>
                  <a:lnTo>
                    <a:pt x="562" y="228"/>
                  </a:lnTo>
                  <a:lnTo>
                    <a:pt x="564" y="226"/>
                  </a:lnTo>
                  <a:lnTo>
                    <a:pt x="562" y="224"/>
                  </a:lnTo>
                  <a:lnTo>
                    <a:pt x="562" y="222"/>
                  </a:lnTo>
                  <a:lnTo>
                    <a:pt x="562" y="220"/>
                  </a:lnTo>
                  <a:lnTo>
                    <a:pt x="562" y="218"/>
                  </a:lnTo>
                  <a:lnTo>
                    <a:pt x="562" y="218"/>
                  </a:lnTo>
                  <a:lnTo>
                    <a:pt x="562" y="216"/>
                  </a:lnTo>
                  <a:lnTo>
                    <a:pt x="564" y="216"/>
                  </a:lnTo>
                  <a:lnTo>
                    <a:pt x="564" y="216"/>
                  </a:lnTo>
                  <a:lnTo>
                    <a:pt x="564" y="216"/>
                  </a:lnTo>
                  <a:lnTo>
                    <a:pt x="566" y="216"/>
                  </a:lnTo>
                  <a:lnTo>
                    <a:pt x="568" y="216"/>
                  </a:lnTo>
                  <a:lnTo>
                    <a:pt x="568" y="216"/>
                  </a:lnTo>
                  <a:lnTo>
                    <a:pt x="570" y="214"/>
                  </a:lnTo>
                  <a:lnTo>
                    <a:pt x="570" y="214"/>
                  </a:lnTo>
                  <a:lnTo>
                    <a:pt x="570" y="214"/>
                  </a:lnTo>
                  <a:lnTo>
                    <a:pt x="570" y="212"/>
                  </a:lnTo>
                  <a:lnTo>
                    <a:pt x="570" y="212"/>
                  </a:lnTo>
                  <a:lnTo>
                    <a:pt x="570" y="210"/>
                  </a:lnTo>
                  <a:lnTo>
                    <a:pt x="568" y="208"/>
                  </a:lnTo>
                  <a:lnTo>
                    <a:pt x="568" y="206"/>
                  </a:lnTo>
                  <a:lnTo>
                    <a:pt x="568" y="204"/>
                  </a:lnTo>
                  <a:lnTo>
                    <a:pt x="568" y="204"/>
                  </a:lnTo>
                  <a:lnTo>
                    <a:pt x="568" y="202"/>
                  </a:lnTo>
                  <a:lnTo>
                    <a:pt x="568" y="202"/>
                  </a:lnTo>
                  <a:lnTo>
                    <a:pt x="568" y="202"/>
                  </a:lnTo>
                  <a:lnTo>
                    <a:pt x="568" y="200"/>
                  </a:lnTo>
                  <a:lnTo>
                    <a:pt x="570" y="200"/>
                  </a:lnTo>
                  <a:lnTo>
                    <a:pt x="570" y="200"/>
                  </a:lnTo>
                  <a:lnTo>
                    <a:pt x="572" y="200"/>
                  </a:lnTo>
                  <a:lnTo>
                    <a:pt x="574" y="200"/>
                  </a:lnTo>
                  <a:lnTo>
                    <a:pt x="574" y="200"/>
                  </a:lnTo>
                  <a:lnTo>
                    <a:pt x="576" y="200"/>
                  </a:lnTo>
                  <a:lnTo>
                    <a:pt x="576" y="198"/>
                  </a:lnTo>
                  <a:lnTo>
                    <a:pt x="576" y="198"/>
                  </a:lnTo>
                  <a:lnTo>
                    <a:pt x="578" y="196"/>
                  </a:lnTo>
                  <a:lnTo>
                    <a:pt x="578" y="194"/>
                  </a:lnTo>
                  <a:lnTo>
                    <a:pt x="578" y="192"/>
                  </a:lnTo>
                  <a:lnTo>
                    <a:pt x="578" y="190"/>
                  </a:lnTo>
                  <a:lnTo>
                    <a:pt x="578" y="188"/>
                  </a:lnTo>
                  <a:lnTo>
                    <a:pt x="578" y="188"/>
                  </a:lnTo>
                  <a:lnTo>
                    <a:pt x="576" y="188"/>
                  </a:lnTo>
                  <a:lnTo>
                    <a:pt x="576" y="186"/>
                  </a:lnTo>
                  <a:lnTo>
                    <a:pt x="576" y="186"/>
                  </a:lnTo>
                  <a:lnTo>
                    <a:pt x="576" y="186"/>
                  </a:lnTo>
                  <a:lnTo>
                    <a:pt x="574" y="186"/>
                  </a:lnTo>
                  <a:lnTo>
                    <a:pt x="572" y="186"/>
                  </a:lnTo>
                  <a:lnTo>
                    <a:pt x="570" y="186"/>
                  </a:lnTo>
                  <a:lnTo>
                    <a:pt x="570" y="186"/>
                  </a:lnTo>
                  <a:lnTo>
                    <a:pt x="568" y="186"/>
                  </a:lnTo>
                  <a:lnTo>
                    <a:pt x="568" y="186"/>
                  </a:lnTo>
                  <a:lnTo>
                    <a:pt x="568" y="186"/>
                  </a:lnTo>
                  <a:lnTo>
                    <a:pt x="566" y="186"/>
                  </a:lnTo>
                  <a:lnTo>
                    <a:pt x="566" y="184"/>
                  </a:lnTo>
                  <a:lnTo>
                    <a:pt x="566" y="182"/>
                  </a:lnTo>
                  <a:lnTo>
                    <a:pt x="566" y="180"/>
                  </a:lnTo>
                  <a:lnTo>
                    <a:pt x="566" y="178"/>
                  </a:lnTo>
                  <a:lnTo>
                    <a:pt x="566" y="178"/>
                  </a:lnTo>
                  <a:lnTo>
                    <a:pt x="566" y="172"/>
                  </a:lnTo>
                  <a:lnTo>
                    <a:pt x="566" y="168"/>
                  </a:lnTo>
                  <a:lnTo>
                    <a:pt x="566" y="164"/>
                  </a:lnTo>
                  <a:lnTo>
                    <a:pt x="566" y="162"/>
                  </a:lnTo>
                  <a:lnTo>
                    <a:pt x="566" y="162"/>
                  </a:lnTo>
                  <a:lnTo>
                    <a:pt x="566" y="160"/>
                  </a:lnTo>
                  <a:lnTo>
                    <a:pt x="564" y="158"/>
                  </a:lnTo>
                  <a:lnTo>
                    <a:pt x="564" y="158"/>
                  </a:lnTo>
                  <a:lnTo>
                    <a:pt x="564" y="156"/>
                  </a:lnTo>
                  <a:lnTo>
                    <a:pt x="562" y="154"/>
                  </a:lnTo>
                  <a:lnTo>
                    <a:pt x="560" y="154"/>
                  </a:lnTo>
                  <a:lnTo>
                    <a:pt x="558" y="152"/>
                  </a:lnTo>
                  <a:lnTo>
                    <a:pt x="556" y="152"/>
                  </a:lnTo>
                  <a:lnTo>
                    <a:pt x="556" y="152"/>
                  </a:lnTo>
                  <a:lnTo>
                    <a:pt x="552" y="152"/>
                  </a:lnTo>
                  <a:lnTo>
                    <a:pt x="550" y="150"/>
                  </a:lnTo>
                  <a:lnTo>
                    <a:pt x="548" y="150"/>
                  </a:lnTo>
                  <a:lnTo>
                    <a:pt x="548" y="150"/>
                  </a:lnTo>
                  <a:lnTo>
                    <a:pt x="546" y="150"/>
                  </a:lnTo>
                  <a:lnTo>
                    <a:pt x="544" y="150"/>
                  </a:lnTo>
                  <a:lnTo>
                    <a:pt x="542" y="148"/>
                  </a:lnTo>
                  <a:lnTo>
                    <a:pt x="540" y="146"/>
                  </a:lnTo>
                  <a:lnTo>
                    <a:pt x="538" y="144"/>
                  </a:lnTo>
                  <a:lnTo>
                    <a:pt x="538" y="142"/>
                  </a:lnTo>
                  <a:lnTo>
                    <a:pt x="536" y="140"/>
                  </a:lnTo>
                  <a:lnTo>
                    <a:pt x="534" y="138"/>
                  </a:lnTo>
                  <a:lnTo>
                    <a:pt x="534" y="136"/>
                  </a:lnTo>
                  <a:lnTo>
                    <a:pt x="534" y="134"/>
                  </a:lnTo>
                  <a:lnTo>
                    <a:pt x="532" y="132"/>
                  </a:lnTo>
                  <a:lnTo>
                    <a:pt x="532" y="132"/>
                  </a:lnTo>
                  <a:lnTo>
                    <a:pt x="532" y="132"/>
                  </a:lnTo>
                  <a:lnTo>
                    <a:pt x="530" y="132"/>
                  </a:lnTo>
                  <a:lnTo>
                    <a:pt x="530" y="132"/>
                  </a:lnTo>
                  <a:lnTo>
                    <a:pt x="528" y="132"/>
                  </a:lnTo>
                  <a:lnTo>
                    <a:pt x="526" y="132"/>
                  </a:lnTo>
                  <a:lnTo>
                    <a:pt x="524" y="132"/>
                  </a:lnTo>
                  <a:lnTo>
                    <a:pt x="522" y="132"/>
                  </a:lnTo>
                  <a:lnTo>
                    <a:pt x="520" y="132"/>
                  </a:lnTo>
                  <a:lnTo>
                    <a:pt x="520" y="132"/>
                  </a:lnTo>
                  <a:lnTo>
                    <a:pt x="518" y="132"/>
                  </a:lnTo>
                  <a:lnTo>
                    <a:pt x="518" y="132"/>
                  </a:lnTo>
                  <a:lnTo>
                    <a:pt x="518" y="132"/>
                  </a:lnTo>
                  <a:lnTo>
                    <a:pt x="518" y="132"/>
                  </a:lnTo>
                  <a:lnTo>
                    <a:pt x="516" y="130"/>
                  </a:lnTo>
                  <a:lnTo>
                    <a:pt x="516" y="130"/>
                  </a:lnTo>
                  <a:lnTo>
                    <a:pt x="516" y="128"/>
                  </a:lnTo>
                  <a:lnTo>
                    <a:pt x="516" y="126"/>
                  </a:lnTo>
                  <a:lnTo>
                    <a:pt x="516" y="122"/>
                  </a:lnTo>
                  <a:lnTo>
                    <a:pt x="516" y="122"/>
                  </a:lnTo>
                  <a:lnTo>
                    <a:pt x="514" y="120"/>
                  </a:lnTo>
                  <a:lnTo>
                    <a:pt x="514" y="120"/>
                  </a:lnTo>
                  <a:lnTo>
                    <a:pt x="514" y="120"/>
                  </a:lnTo>
                  <a:lnTo>
                    <a:pt x="512" y="118"/>
                  </a:lnTo>
                  <a:lnTo>
                    <a:pt x="512" y="118"/>
                  </a:lnTo>
                  <a:lnTo>
                    <a:pt x="510" y="118"/>
                  </a:lnTo>
                  <a:lnTo>
                    <a:pt x="508" y="116"/>
                  </a:lnTo>
                  <a:lnTo>
                    <a:pt x="506" y="116"/>
                  </a:lnTo>
                  <a:lnTo>
                    <a:pt x="504" y="116"/>
                  </a:lnTo>
                  <a:lnTo>
                    <a:pt x="502" y="116"/>
                  </a:lnTo>
                  <a:lnTo>
                    <a:pt x="498" y="116"/>
                  </a:lnTo>
                  <a:lnTo>
                    <a:pt x="494" y="116"/>
                  </a:lnTo>
                  <a:lnTo>
                    <a:pt x="492" y="116"/>
                  </a:lnTo>
                  <a:lnTo>
                    <a:pt x="490" y="116"/>
                  </a:lnTo>
                  <a:lnTo>
                    <a:pt x="488" y="116"/>
                  </a:lnTo>
                  <a:lnTo>
                    <a:pt x="484" y="114"/>
                  </a:lnTo>
                  <a:lnTo>
                    <a:pt x="482" y="114"/>
                  </a:lnTo>
                  <a:lnTo>
                    <a:pt x="480" y="114"/>
                  </a:lnTo>
                  <a:lnTo>
                    <a:pt x="478" y="114"/>
                  </a:lnTo>
                  <a:lnTo>
                    <a:pt x="476" y="112"/>
                  </a:lnTo>
                  <a:lnTo>
                    <a:pt x="476" y="112"/>
                  </a:lnTo>
                  <a:lnTo>
                    <a:pt x="474" y="112"/>
                  </a:lnTo>
                  <a:lnTo>
                    <a:pt x="472" y="110"/>
                  </a:lnTo>
                  <a:lnTo>
                    <a:pt x="472" y="108"/>
                  </a:lnTo>
                  <a:lnTo>
                    <a:pt x="470" y="106"/>
                  </a:lnTo>
                  <a:lnTo>
                    <a:pt x="470" y="106"/>
                  </a:lnTo>
                  <a:lnTo>
                    <a:pt x="470" y="106"/>
                  </a:lnTo>
                  <a:lnTo>
                    <a:pt x="470" y="106"/>
                  </a:lnTo>
                  <a:lnTo>
                    <a:pt x="468" y="106"/>
                  </a:lnTo>
                  <a:lnTo>
                    <a:pt x="468" y="106"/>
                  </a:lnTo>
                  <a:lnTo>
                    <a:pt x="466" y="106"/>
                  </a:lnTo>
                  <a:lnTo>
                    <a:pt x="466" y="108"/>
                  </a:lnTo>
                  <a:lnTo>
                    <a:pt x="464" y="108"/>
                  </a:lnTo>
                  <a:lnTo>
                    <a:pt x="462" y="110"/>
                  </a:lnTo>
                  <a:lnTo>
                    <a:pt x="460" y="110"/>
                  </a:lnTo>
                  <a:lnTo>
                    <a:pt x="460" y="112"/>
                  </a:lnTo>
                  <a:lnTo>
                    <a:pt x="458" y="112"/>
                  </a:lnTo>
                  <a:lnTo>
                    <a:pt x="456" y="112"/>
                  </a:lnTo>
                  <a:lnTo>
                    <a:pt x="454" y="112"/>
                  </a:lnTo>
                  <a:lnTo>
                    <a:pt x="452" y="112"/>
                  </a:lnTo>
                  <a:lnTo>
                    <a:pt x="452" y="112"/>
                  </a:lnTo>
                  <a:lnTo>
                    <a:pt x="450" y="112"/>
                  </a:lnTo>
                  <a:lnTo>
                    <a:pt x="448" y="110"/>
                  </a:lnTo>
                  <a:lnTo>
                    <a:pt x="446" y="110"/>
                  </a:lnTo>
                  <a:lnTo>
                    <a:pt x="444" y="110"/>
                  </a:lnTo>
                  <a:lnTo>
                    <a:pt x="442" y="106"/>
                  </a:lnTo>
                  <a:lnTo>
                    <a:pt x="438" y="104"/>
                  </a:lnTo>
                  <a:lnTo>
                    <a:pt x="438" y="104"/>
                  </a:lnTo>
                  <a:lnTo>
                    <a:pt x="436" y="102"/>
                  </a:lnTo>
                  <a:lnTo>
                    <a:pt x="434" y="98"/>
                  </a:lnTo>
                  <a:lnTo>
                    <a:pt x="432" y="96"/>
                  </a:lnTo>
                  <a:lnTo>
                    <a:pt x="432" y="94"/>
                  </a:lnTo>
                  <a:lnTo>
                    <a:pt x="430" y="92"/>
                  </a:lnTo>
                  <a:lnTo>
                    <a:pt x="430" y="92"/>
                  </a:lnTo>
                  <a:lnTo>
                    <a:pt x="428" y="90"/>
                  </a:lnTo>
                  <a:lnTo>
                    <a:pt x="424" y="88"/>
                  </a:lnTo>
                  <a:lnTo>
                    <a:pt x="420" y="88"/>
                  </a:lnTo>
                  <a:lnTo>
                    <a:pt x="418" y="86"/>
                  </a:lnTo>
                  <a:lnTo>
                    <a:pt x="414" y="86"/>
                  </a:lnTo>
                  <a:lnTo>
                    <a:pt x="412" y="84"/>
                  </a:lnTo>
                  <a:lnTo>
                    <a:pt x="408" y="84"/>
                  </a:lnTo>
                  <a:lnTo>
                    <a:pt x="404" y="84"/>
                  </a:lnTo>
                  <a:lnTo>
                    <a:pt x="402" y="84"/>
                  </a:lnTo>
                  <a:lnTo>
                    <a:pt x="396" y="84"/>
                  </a:lnTo>
                  <a:lnTo>
                    <a:pt x="392" y="84"/>
                  </a:lnTo>
                  <a:lnTo>
                    <a:pt x="388" y="86"/>
                  </a:lnTo>
                  <a:lnTo>
                    <a:pt x="386" y="86"/>
                  </a:lnTo>
                  <a:lnTo>
                    <a:pt x="382" y="86"/>
                  </a:lnTo>
                  <a:lnTo>
                    <a:pt x="382" y="88"/>
                  </a:lnTo>
                  <a:lnTo>
                    <a:pt x="380" y="88"/>
                  </a:lnTo>
                  <a:lnTo>
                    <a:pt x="378" y="88"/>
                  </a:lnTo>
                  <a:lnTo>
                    <a:pt x="378" y="88"/>
                  </a:lnTo>
                  <a:lnTo>
                    <a:pt x="378" y="90"/>
                  </a:lnTo>
                  <a:lnTo>
                    <a:pt x="376" y="90"/>
                  </a:lnTo>
                  <a:lnTo>
                    <a:pt x="376" y="92"/>
                  </a:lnTo>
                  <a:lnTo>
                    <a:pt x="376" y="94"/>
                  </a:lnTo>
                  <a:lnTo>
                    <a:pt x="376" y="96"/>
                  </a:lnTo>
                  <a:lnTo>
                    <a:pt x="374" y="96"/>
                  </a:lnTo>
                  <a:lnTo>
                    <a:pt x="374" y="98"/>
                  </a:lnTo>
                  <a:lnTo>
                    <a:pt x="372" y="100"/>
                  </a:lnTo>
                  <a:lnTo>
                    <a:pt x="370" y="100"/>
                  </a:lnTo>
                  <a:lnTo>
                    <a:pt x="368" y="102"/>
                  </a:lnTo>
                  <a:lnTo>
                    <a:pt x="366" y="104"/>
                  </a:lnTo>
                  <a:lnTo>
                    <a:pt x="364" y="104"/>
                  </a:lnTo>
                  <a:lnTo>
                    <a:pt x="364" y="104"/>
                  </a:lnTo>
                  <a:lnTo>
                    <a:pt x="362" y="104"/>
                  </a:lnTo>
                  <a:lnTo>
                    <a:pt x="362" y="104"/>
                  </a:lnTo>
                  <a:lnTo>
                    <a:pt x="362" y="104"/>
                  </a:lnTo>
                  <a:lnTo>
                    <a:pt x="360" y="104"/>
                  </a:lnTo>
                  <a:lnTo>
                    <a:pt x="360" y="102"/>
                  </a:lnTo>
                  <a:lnTo>
                    <a:pt x="360" y="102"/>
                  </a:lnTo>
                  <a:lnTo>
                    <a:pt x="360" y="102"/>
                  </a:lnTo>
                  <a:lnTo>
                    <a:pt x="360" y="102"/>
                  </a:lnTo>
                  <a:lnTo>
                    <a:pt x="362" y="100"/>
                  </a:lnTo>
                  <a:lnTo>
                    <a:pt x="362" y="98"/>
                  </a:lnTo>
                  <a:lnTo>
                    <a:pt x="364" y="96"/>
                  </a:lnTo>
                  <a:lnTo>
                    <a:pt x="366" y="94"/>
                  </a:lnTo>
                  <a:lnTo>
                    <a:pt x="366" y="92"/>
                  </a:lnTo>
                  <a:lnTo>
                    <a:pt x="368" y="92"/>
                  </a:lnTo>
                  <a:lnTo>
                    <a:pt x="368" y="90"/>
                  </a:lnTo>
                  <a:lnTo>
                    <a:pt x="370" y="86"/>
                  </a:lnTo>
                  <a:lnTo>
                    <a:pt x="372" y="86"/>
                  </a:lnTo>
                  <a:lnTo>
                    <a:pt x="374" y="84"/>
                  </a:lnTo>
                  <a:lnTo>
                    <a:pt x="374" y="82"/>
                  </a:lnTo>
                  <a:lnTo>
                    <a:pt x="374" y="82"/>
                  </a:lnTo>
                  <a:lnTo>
                    <a:pt x="374" y="82"/>
                  </a:lnTo>
                  <a:lnTo>
                    <a:pt x="374" y="80"/>
                  </a:lnTo>
                  <a:lnTo>
                    <a:pt x="374" y="80"/>
                  </a:lnTo>
                  <a:lnTo>
                    <a:pt x="372" y="78"/>
                  </a:lnTo>
                  <a:lnTo>
                    <a:pt x="372" y="78"/>
                  </a:lnTo>
                  <a:lnTo>
                    <a:pt x="370" y="78"/>
                  </a:lnTo>
                  <a:lnTo>
                    <a:pt x="368" y="76"/>
                  </a:lnTo>
                  <a:lnTo>
                    <a:pt x="368" y="76"/>
                  </a:lnTo>
                  <a:lnTo>
                    <a:pt x="366" y="76"/>
                  </a:lnTo>
                  <a:lnTo>
                    <a:pt x="364" y="74"/>
                  </a:lnTo>
                  <a:lnTo>
                    <a:pt x="362" y="74"/>
                  </a:lnTo>
                  <a:lnTo>
                    <a:pt x="360" y="74"/>
                  </a:lnTo>
                  <a:lnTo>
                    <a:pt x="356" y="74"/>
                  </a:lnTo>
                  <a:lnTo>
                    <a:pt x="356" y="74"/>
                  </a:lnTo>
                  <a:lnTo>
                    <a:pt x="354" y="76"/>
                  </a:lnTo>
                  <a:lnTo>
                    <a:pt x="354" y="76"/>
                  </a:lnTo>
                  <a:lnTo>
                    <a:pt x="352" y="76"/>
                  </a:lnTo>
                  <a:lnTo>
                    <a:pt x="350" y="78"/>
                  </a:lnTo>
                  <a:lnTo>
                    <a:pt x="348" y="80"/>
                  </a:lnTo>
                  <a:lnTo>
                    <a:pt x="346" y="82"/>
                  </a:lnTo>
                  <a:lnTo>
                    <a:pt x="344" y="84"/>
                  </a:lnTo>
                  <a:lnTo>
                    <a:pt x="340" y="88"/>
                  </a:lnTo>
                  <a:lnTo>
                    <a:pt x="336" y="92"/>
                  </a:lnTo>
                  <a:lnTo>
                    <a:pt x="336" y="94"/>
                  </a:lnTo>
                  <a:lnTo>
                    <a:pt x="334" y="96"/>
                  </a:lnTo>
                  <a:lnTo>
                    <a:pt x="332" y="98"/>
                  </a:lnTo>
                  <a:lnTo>
                    <a:pt x="330" y="100"/>
                  </a:lnTo>
                  <a:lnTo>
                    <a:pt x="330" y="100"/>
                  </a:lnTo>
                  <a:lnTo>
                    <a:pt x="328" y="102"/>
                  </a:lnTo>
                  <a:lnTo>
                    <a:pt x="326" y="104"/>
                  </a:lnTo>
                  <a:lnTo>
                    <a:pt x="326" y="104"/>
                  </a:lnTo>
                  <a:lnTo>
                    <a:pt x="324" y="106"/>
                  </a:lnTo>
                  <a:lnTo>
                    <a:pt x="322" y="106"/>
                  </a:lnTo>
                  <a:lnTo>
                    <a:pt x="322" y="106"/>
                  </a:lnTo>
                  <a:lnTo>
                    <a:pt x="322" y="106"/>
                  </a:lnTo>
                  <a:lnTo>
                    <a:pt x="320" y="106"/>
                  </a:lnTo>
                  <a:lnTo>
                    <a:pt x="320" y="106"/>
                  </a:lnTo>
                  <a:lnTo>
                    <a:pt x="320" y="104"/>
                  </a:lnTo>
                  <a:lnTo>
                    <a:pt x="320" y="104"/>
                  </a:lnTo>
                  <a:lnTo>
                    <a:pt x="320" y="104"/>
                  </a:lnTo>
                  <a:lnTo>
                    <a:pt x="320" y="104"/>
                  </a:lnTo>
                  <a:lnTo>
                    <a:pt x="320" y="102"/>
                  </a:lnTo>
                  <a:lnTo>
                    <a:pt x="320" y="100"/>
                  </a:lnTo>
                  <a:lnTo>
                    <a:pt x="320" y="98"/>
                  </a:lnTo>
                  <a:lnTo>
                    <a:pt x="322" y="98"/>
                  </a:lnTo>
                  <a:lnTo>
                    <a:pt x="322" y="96"/>
                  </a:lnTo>
                  <a:lnTo>
                    <a:pt x="324" y="94"/>
                  </a:lnTo>
                  <a:lnTo>
                    <a:pt x="326" y="90"/>
                  </a:lnTo>
                  <a:lnTo>
                    <a:pt x="330" y="88"/>
                  </a:lnTo>
                  <a:lnTo>
                    <a:pt x="332" y="84"/>
                  </a:lnTo>
                  <a:lnTo>
                    <a:pt x="334" y="82"/>
                  </a:lnTo>
                  <a:lnTo>
                    <a:pt x="336" y="80"/>
                  </a:lnTo>
                  <a:lnTo>
                    <a:pt x="338" y="76"/>
                  </a:lnTo>
                  <a:lnTo>
                    <a:pt x="340" y="74"/>
                  </a:lnTo>
                  <a:lnTo>
                    <a:pt x="342" y="72"/>
                  </a:lnTo>
                  <a:lnTo>
                    <a:pt x="344" y="68"/>
                  </a:lnTo>
                  <a:lnTo>
                    <a:pt x="346" y="64"/>
                  </a:lnTo>
                  <a:lnTo>
                    <a:pt x="346" y="60"/>
                  </a:lnTo>
                  <a:lnTo>
                    <a:pt x="348" y="58"/>
                  </a:lnTo>
                  <a:lnTo>
                    <a:pt x="350" y="56"/>
                  </a:lnTo>
                  <a:lnTo>
                    <a:pt x="350" y="54"/>
                  </a:lnTo>
                  <a:lnTo>
                    <a:pt x="352" y="52"/>
                  </a:lnTo>
                  <a:lnTo>
                    <a:pt x="352" y="50"/>
                  </a:lnTo>
                  <a:lnTo>
                    <a:pt x="352" y="50"/>
                  </a:lnTo>
                  <a:lnTo>
                    <a:pt x="352" y="48"/>
                  </a:lnTo>
                  <a:lnTo>
                    <a:pt x="352" y="48"/>
                  </a:lnTo>
                  <a:lnTo>
                    <a:pt x="352" y="46"/>
                  </a:lnTo>
                  <a:lnTo>
                    <a:pt x="352" y="44"/>
                  </a:lnTo>
                  <a:lnTo>
                    <a:pt x="350" y="40"/>
                  </a:lnTo>
                  <a:lnTo>
                    <a:pt x="348" y="36"/>
                  </a:lnTo>
                  <a:lnTo>
                    <a:pt x="346" y="32"/>
                  </a:lnTo>
                  <a:lnTo>
                    <a:pt x="344" y="30"/>
                  </a:lnTo>
                  <a:lnTo>
                    <a:pt x="342" y="26"/>
                  </a:lnTo>
                  <a:lnTo>
                    <a:pt x="340" y="24"/>
                  </a:lnTo>
                  <a:lnTo>
                    <a:pt x="340" y="22"/>
                  </a:lnTo>
                  <a:lnTo>
                    <a:pt x="338" y="22"/>
                  </a:lnTo>
                  <a:lnTo>
                    <a:pt x="336" y="20"/>
                  </a:lnTo>
                  <a:lnTo>
                    <a:pt x="332" y="16"/>
                  </a:lnTo>
                  <a:lnTo>
                    <a:pt x="332" y="16"/>
                  </a:lnTo>
                  <a:lnTo>
                    <a:pt x="328" y="16"/>
                  </a:lnTo>
                  <a:lnTo>
                    <a:pt x="326" y="14"/>
                  </a:lnTo>
                  <a:lnTo>
                    <a:pt x="324" y="14"/>
                  </a:lnTo>
                  <a:lnTo>
                    <a:pt x="322" y="14"/>
                  </a:lnTo>
                  <a:lnTo>
                    <a:pt x="322" y="16"/>
                  </a:lnTo>
                  <a:lnTo>
                    <a:pt x="320" y="16"/>
                  </a:lnTo>
                  <a:lnTo>
                    <a:pt x="320" y="16"/>
                  </a:lnTo>
                  <a:lnTo>
                    <a:pt x="318" y="18"/>
                  </a:lnTo>
                  <a:lnTo>
                    <a:pt x="316" y="18"/>
                  </a:lnTo>
                  <a:lnTo>
                    <a:pt x="314" y="22"/>
                  </a:lnTo>
                  <a:lnTo>
                    <a:pt x="314" y="24"/>
                  </a:lnTo>
                  <a:lnTo>
                    <a:pt x="312" y="26"/>
                  </a:lnTo>
                  <a:lnTo>
                    <a:pt x="310" y="28"/>
                  </a:lnTo>
                  <a:lnTo>
                    <a:pt x="308" y="32"/>
                  </a:lnTo>
                  <a:lnTo>
                    <a:pt x="308" y="34"/>
                  </a:lnTo>
                  <a:lnTo>
                    <a:pt x="306" y="36"/>
                  </a:lnTo>
                  <a:lnTo>
                    <a:pt x="306" y="38"/>
                  </a:lnTo>
                  <a:lnTo>
                    <a:pt x="306" y="38"/>
                  </a:lnTo>
                  <a:lnTo>
                    <a:pt x="304" y="40"/>
                  </a:lnTo>
                  <a:lnTo>
                    <a:pt x="304" y="40"/>
                  </a:lnTo>
                  <a:lnTo>
                    <a:pt x="304" y="40"/>
                  </a:lnTo>
                  <a:lnTo>
                    <a:pt x="302" y="40"/>
                  </a:lnTo>
                  <a:lnTo>
                    <a:pt x="302" y="42"/>
                  </a:lnTo>
                  <a:lnTo>
                    <a:pt x="300" y="42"/>
                  </a:lnTo>
                  <a:lnTo>
                    <a:pt x="296" y="42"/>
                  </a:lnTo>
                  <a:lnTo>
                    <a:pt x="294" y="40"/>
                  </a:lnTo>
                  <a:lnTo>
                    <a:pt x="292" y="40"/>
                  </a:lnTo>
                  <a:lnTo>
                    <a:pt x="292" y="40"/>
                  </a:lnTo>
                  <a:lnTo>
                    <a:pt x="290" y="40"/>
                  </a:lnTo>
                  <a:lnTo>
                    <a:pt x="288" y="38"/>
                  </a:lnTo>
                  <a:lnTo>
                    <a:pt x="288" y="38"/>
                  </a:lnTo>
                  <a:lnTo>
                    <a:pt x="286" y="36"/>
                  </a:lnTo>
                  <a:lnTo>
                    <a:pt x="284" y="34"/>
                  </a:lnTo>
                  <a:lnTo>
                    <a:pt x="284" y="32"/>
                  </a:lnTo>
                  <a:lnTo>
                    <a:pt x="280" y="32"/>
                  </a:lnTo>
                  <a:lnTo>
                    <a:pt x="278" y="32"/>
                  </a:lnTo>
                  <a:lnTo>
                    <a:pt x="274" y="32"/>
                  </a:lnTo>
                  <a:lnTo>
                    <a:pt x="270" y="32"/>
                  </a:lnTo>
                  <a:lnTo>
                    <a:pt x="268" y="32"/>
                  </a:lnTo>
                  <a:lnTo>
                    <a:pt x="266" y="32"/>
                  </a:lnTo>
                  <a:lnTo>
                    <a:pt x="266" y="32"/>
                  </a:lnTo>
                  <a:lnTo>
                    <a:pt x="264" y="32"/>
                  </a:lnTo>
                  <a:lnTo>
                    <a:pt x="262" y="32"/>
                  </a:lnTo>
                  <a:lnTo>
                    <a:pt x="262" y="34"/>
                  </a:lnTo>
                  <a:lnTo>
                    <a:pt x="262" y="34"/>
                  </a:lnTo>
                  <a:lnTo>
                    <a:pt x="262" y="34"/>
                  </a:lnTo>
                  <a:lnTo>
                    <a:pt x="262" y="36"/>
                  </a:lnTo>
                  <a:lnTo>
                    <a:pt x="262" y="36"/>
                  </a:lnTo>
                  <a:lnTo>
                    <a:pt x="262" y="38"/>
                  </a:lnTo>
                  <a:lnTo>
                    <a:pt x="262" y="40"/>
                  </a:lnTo>
                  <a:lnTo>
                    <a:pt x="262" y="42"/>
                  </a:lnTo>
                  <a:lnTo>
                    <a:pt x="262" y="44"/>
                  </a:lnTo>
                  <a:lnTo>
                    <a:pt x="262" y="44"/>
                  </a:lnTo>
                  <a:lnTo>
                    <a:pt x="262" y="46"/>
                  </a:lnTo>
                  <a:lnTo>
                    <a:pt x="262" y="46"/>
                  </a:lnTo>
                  <a:lnTo>
                    <a:pt x="262" y="46"/>
                  </a:lnTo>
                  <a:lnTo>
                    <a:pt x="260" y="48"/>
                  </a:lnTo>
                  <a:lnTo>
                    <a:pt x="260" y="48"/>
                  </a:lnTo>
                  <a:lnTo>
                    <a:pt x="258" y="48"/>
                  </a:lnTo>
                  <a:lnTo>
                    <a:pt x="258" y="48"/>
                  </a:lnTo>
                  <a:lnTo>
                    <a:pt x="254" y="48"/>
                  </a:lnTo>
                  <a:lnTo>
                    <a:pt x="252" y="48"/>
                  </a:lnTo>
                  <a:lnTo>
                    <a:pt x="248" y="48"/>
                  </a:lnTo>
                  <a:lnTo>
                    <a:pt x="246" y="48"/>
                  </a:lnTo>
                  <a:lnTo>
                    <a:pt x="244" y="48"/>
                  </a:lnTo>
                  <a:lnTo>
                    <a:pt x="242" y="48"/>
                  </a:lnTo>
                  <a:lnTo>
                    <a:pt x="238" y="48"/>
                  </a:lnTo>
                  <a:lnTo>
                    <a:pt x="236" y="48"/>
                  </a:lnTo>
                  <a:lnTo>
                    <a:pt x="234" y="48"/>
                  </a:lnTo>
                  <a:lnTo>
                    <a:pt x="232" y="48"/>
                  </a:lnTo>
                  <a:lnTo>
                    <a:pt x="232" y="48"/>
                  </a:lnTo>
                  <a:lnTo>
                    <a:pt x="232" y="48"/>
                  </a:lnTo>
                  <a:lnTo>
                    <a:pt x="232" y="48"/>
                  </a:lnTo>
                  <a:lnTo>
                    <a:pt x="230" y="50"/>
                  </a:lnTo>
                  <a:lnTo>
                    <a:pt x="230" y="52"/>
                  </a:lnTo>
                  <a:lnTo>
                    <a:pt x="230" y="54"/>
                  </a:lnTo>
                  <a:lnTo>
                    <a:pt x="228" y="54"/>
                  </a:lnTo>
                  <a:lnTo>
                    <a:pt x="228" y="54"/>
                  </a:lnTo>
                  <a:lnTo>
                    <a:pt x="226" y="54"/>
                  </a:lnTo>
                  <a:lnTo>
                    <a:pt x="226" y="54"/>
                  </a:lnTo>
                  <a:lnTo>
                    <a:pt x="224" y="56"/>
                  </a:lnTo>
                  <a:lnTo>
                    <a:pt x="224" y="56"/>
                  </a:lnTo>
                  <a:lnTo>
                    <a:pt x="222" y="56"/>
                  </a:lnTo>
                  <a:lnTo>
                    <a:pt x="220" y="56"/>
                  </a:lnTo>
                  <a:lnTo>
                    <a:pt x="218" y="56"/>
                  </a:lnTo>
                  <a:lnTo>
                    <a:pt x="218" y="54"/>
                  </a:lnTo>
                  <a:lnTo>
                    <a:pt x="216" y="54"/>
                  </a:lnTo>
                  <a:lnTo>
                    <a:pt x="216" y="54"/>
                  </a:lnTo>
                  <a:lnTo>
                    <a:pt x="214" y="52"/>
                  </a:lnTo>
                  <a:lnTo>
                    <a:pt x="214" y="52"/>
                  </a:lnTo>
                  <a:lnTo>
                    <a:pt x="212" y="48"/>
                  </a:lnTo>
                  <a:lnTo>
                    <a:pt x="210" y="46"/>
                  </a:lnTo>
                  <a:lnTo>
                    <a:pt x="208" y="44"/>
                  </a:lnTo>
                  <a:lnTo>
                    <a:pt x="206" y="40"/>
                  </a:lnTo>
                  <a:lnTo>
                    <a:pt x="206" y="38"/>
                  </a:lnTo>
                  <a:lnTo>
                    <a:pt x="204" y="36"/>
                  </a:lnTo>
                  <a:lnTo>
                    <a:pt x="204" y="34"/>
                  </a:lnTo>
                  <a:lnTo>
                    <a:pt x="204" y="32"/>
                  </a:lnTo>
                  <a:lnTo>
                    <a:pt x="204" y="32"/>
                  </a:lnTo>
                  <a:lnTo>
                    <a:pt x="204" y="30"/>
                  </a:lnTo>
                  <a:lnTo>
                    <a:pt x="206" y="28"/>
                  </a:lnTo>
                  <a:lnTo>
                    <a:pt x="206" y="26"/>
                  </a:lnTo>
                  <a:lnTo>
                    <a:pt x="208" y="24"/>
                  </a:lnTo>
                  <a:lnTo>
                    <a:pt x="208" y="22"/>
                  </a:lnTo>
                  <a:lnTo>
                    <a:pt x="208" y="20"/>
                  </a:lnTo>
                  <a:lnTo>
                    <a:pt x="208" y="16"/>
                  </a:lnTo>
                  <a:lnTo>
                    <a:pt x="208" y="14"/>
                  </a:lnTo>
                  <a:lnTo>
                    <a:pt x="208" y="12"/>
                  </a:lnTo>
                  <a:lnTo>
                    <a:pt x="208" y="10"/>
                  </a:lnTo>
                  <a:lnTo>
                    <a:pt x="206" y="8"/>
                  </a:lnTo>
                  <a:lnTo>
                    <a:pt x="206" y="6"/>
                  </a:lnTo>
                  <a:lnTo>
                    <a:pt x="206" y="6"/>
                  </a:lnTo>
                  <a:lnTo>
                    <a:pt x="206" y="4"/>
                  </a:lnTo>
                  <a:lnTo>
                    <a:pt x="204" y="4"/>
                  </a:lnTo>
                  <a:lnTo>
                    <a:pt x="204" y="4"/>
                  </a:lnTo>
                  <a:lnTo>
                    <a:pt x="202" y="2"/>
                  </a:lnTo>
                  <a:lnTo>
                    <a:pt x="200" y="2"/>
                  </a:lnTo>
                  <a:lnTo>
                    <a:pt x="198" y="2"/>
                  </a:lnTo>
                  <a:lnTo>
                    <a:pt x="194" y="0"/>
                  </a:lnTo>
                  <a:lnTo>
                    <a:pt x="194" y="0"/>
                  </a:lnTo>
                  <a:lnTo>
                    <a:pt x="192" y="2"/>
                  </a:lnTo>
                  <a:lnTo>
                    <a:pt x="192" y="4"/>
                  </a:lnTo>
                  <a:lnTo>
                    <a:pt x="192" y="6"/>
                  </a:lnTo>
                  <a:lnTo>
                    <a:pt x="190" y="8"/>
                  </a:lnTo>
                  <a:lnTo>
                    <a:pt x="190" y="10"/>
                  </a:lnTo>
                  <a:lnTo>
                    <a:pt x="190" y="10"/>
                  </a:lnTo>
                  <a:lnTo>
                    <a:pt x="188" y="10"/>
                  </a:lnTo>
                  <a:lnTo>
                    <a:pt x="188" y="10"/>
                  </a:lnTo>
                  <a:lnTo>
                    <a:pt x="186" y="12"/>
                  </a:lnTo>
                  <a:lnTo>
                    <a:pt x="186" y="12"/>
                  </a:lnTo>
                  <a:lnTo>
                    <a:pt x="184" y="12"/>
                  </a:lnTo>
                  <a:lnTo>
                    <a:pt x="180" y="12"/>
                  </a:lnTo>
                  <a:lnTo>
                    <a:pt x="176" y="12"/>
                  </a:lnTo>
                  <a:lnTo>
                    <a:pt x="174" y="10"/>
                  </a:lnTo>
                  <a:lnTo>
                    <a:pt x="170" y="10"/>
                  </a:lnTo>
                  <a:lnTo>
                    <a:pt x="168" y="10"/>
                  </a:lnTo>
                  <a:lnTo>
                    <a:pt x="166" y="10"/>
                  </a:lnTo>
                  <a:lnTo>
                    <a:pt x="164" y="12"/>
                  </a:lnTo>
                  <a:lnTo>
                    <a:pt x="164" y="12"/>
                  </a:lnTo>
                  <a:lnTo>
                    <a:pt x="162" y="12"/>
                  </a:lnTo>
                  <a:lnTo>
                    <a:pt x="162" y="12"/>
                  </a:lnTo>
                  <a:lnTo>
                    <a:pt x="160" y="14"/>
                  </a:lnTo>
                  <a:lnTo>
                    <a:pt x="158" y="16"/>
                  </a:lnTo>
                  <a:lnTo>
                    <a:pt x="158" y="16"/>
                  </a:lnTo>
                  <a:lnTo>
                    <a:pt x="156" y="16"/>
                  </a:lnTo>
                  <a:lnTo>
                    <a:pt x="156" y="18"/>
                  </a:lnTo>
                  <a:lnTo>
                    <a:pt x="156" y="18"/>
                  </a:lnTo>
                  <a:lnTo>
                    <a:pt x="154" y="16"/>
                  </a:lnTo>
                  <a:lnTo>
                    <a:pt x="154" y="16"/>
                  </a:lnTo>
                  <a:lnTo>
                    <a:pt x="154" y="16"/>
                  </a:lnTo>
                  <a:lnTo>
                    <a:pt x="152" y="16"/>
                  </a:lnTo>
                  <a:lnTo>
                    <a:pt x="150" y="14"/>
                  </a:lnTo>
                  <a:lnTo>
                    <a:pt x="150" y="12"/>
                  </a:lnTo>
                  <a:lnTo>
                    <a:pt x="148" y="10"/>
                  </a:lnTo>
                  <a:lnTo>
                    <a:pt x="146" y="8"/>
                  </a:lnTo>
                  <a:lnTo>
                    <a:pt x="146" y="8"/>
                  </a:lnTo>
                  <a:lnTo>
                    <a:pt x="144" y="6"/>
                  </a:lnTo>
                  <a:lnTo>
                    <a:pt x="144" y="6"/>
                  </a:lnTo>
                  <a:lnTo>
                    <a:pt x="142" y="6"/>
                  </a:lnTo>
                  <a:lnTo>
                    <a:pt x="142" y="6"/>
                  </a:lnTo>
                  <a:lnTo>
                    <a:pt x="142" y="6"/>
                  </a:lnTo>
                  <a:lnTo>
                    <a:pt x="140" y="6"/>
                  </a:lnTo>
                  <a:lnTo>
                    <a:pt x="138" y="8"/>
                  </a:lnTo>
                  <a:lnTo>
                    <a:pt x="138" y="8"/>
                  </a:lnTo>
                  <a:lnTo>
                    <a:pt x="136" y="8"/>
                  </a:lnTo>
                  <a:lnTo>
                    <a:pt x="136" y="10"/>
                  </a:lnTo>
                  <a:lnTo>
                    <a:pt x="136" y="10"/>
                  </a:lnTo>
                  <a:lnTo>
                    <a:pt x="134" y="12"/>
                  </a:lnTo>
                  <a:lnTo>
                    <a:pt x="134" y="14"/>
                  </a:lnTo>
                  <a:lnTo>
                    <a:pt x="134" y="18"/>
                  </a:lnTo>
                  <a:lnTo>
                    <a:pt x="134" y="22"/>
                  </a:lnTo>
                  <a:lnTo>
                    <a:pt x="134" y="24"/>
                  </a:lnTo>
                  <a:lnTo>
                    <a:pt x="134" y="26"/>
                  </a:lnTo>
                  <a:lnTo>
                    <a:pt x="134" y="28"/>
                  </a:lnTo>
                  <a:lnTo>
                    <a:pt x="134" y="30"/>
                  </a:lnTo>
                  <a:lnTo>
                    <a:pt x="136" y="30"/>
                  </a:lnTo>
                  <a:lnTo>
                    <a:pt x="136" y="30"/>
                  </a:lnTo>
                  <a:lnTo>
                    <a:pt x="136" y="32"/>
                  </a:lnTo>
                  <a:lnTo>
                    <a:pt x="138" y="32"/>
                  </a:lnTo>
                  <a:lnTo>
                    <a:pt x="138" y="32"/>
                  </a:lnTo>
                  <a:lnTo>
                    <a:pt x="140" y="34"/>
                  </a:lnTo>
                  <a:lnTo>
                    <a:pt x="142" y="34"/>
                  </a:lnTo>
                  <a:lnTo>
                    <a:pt x="144" y="34"/>
                  </a:lnTo>
                  <a:lnTo>
                    <a:pt x="144" y="36"/>
                  </a:lnTo>
                  <a:lnTo>
                    <a:pt x="146" y="36"/>
                  </a:lnTo>
                  <a:lnTo>
                    <a:pt x="146" y="36"/>
                  </a:lnTo>
                  <a:lnTo>
                    <a:pt x="146" y="38"/>
                  </a:lnTo>
                  <a:lnTo>
                    <a:pt x="146" y="38"/>
                  </a:lnTo>
                  <a:lnTo>
                    <a:pt x="146" y="40"/>
                  </a:lnTo>
                  <a:lnTo>
                    <a:pt x="146" y="42"/>
                  </a:lnTo>
                  <a:lnTo>
                    <a:pt x="146" y="44"/>
                  </a:lnTo>
                  <a:lnTo>
                    <a:pt x="146" y="44"/>
                  </a:lnTo>
                  <a:lnTo>
                    <a:pt x="146" y="46"/>
                  </a:lnTo>
                  <a:lnTo>
                    <a:pt x="146" y="48"/>
                  </a:lnTo>
                  <a:lnTo>
                    <a:pt x="146" y="48"/>
                  </a:lnTo>
                  <a:lnTo>
                    <a:pt x="144" y="50"/>
                  </a:lnTo>
                  <a:lnTo>
                    <a:pt x="142" y="52"/>
                  </a:lnTo>
                  <a:lnTo>
                    <a:pt x="140" y="54"/>
                  </a:lnTo>
                  <a:lnTo>
                    <a:pt x="138" y="54"/>
                  </a:lnTo>
                  <a:lnTo>
                    <a:pt x="136" y="56"/>
                  </a:lnTo>
                  <a:lnTo>
                    <a:pt x="134" y="56"/>
                  </a:lnTo>
                  <a:lnTo>
                    <a:pt x="134" y="58"/>
                  </a:lnTo>
                  <a:lnTo>
                    <a:pt x="132" y="58"/>
                  </a:lnTo>
                  <a:lnTo>
                    <a:pt x="130" y="58"/>
                  </a:lnTo>
                  <a:lnTo>
                    <a:pt x="128" y="58"/>
                  </a:lnTo>
                  <a:lnTo>
                    <a:pt x="126" y="60"/>
                  </a:lnTo>
                  <a:lnTo>
                    <a:pt x="124" y="60"/>
                  </a:lnTo>
                  <a:lnTo>
                    <a:pt x="122" y="60"/>
                  </a:lnTo>
                  <a:lnTo>
                    <a:pt x="120" y="60"/>
                  </a:lnTo>
                  <a:lnTo>
                    <a:pt x="118" y="60"/>
                  </a:lnTo>
                  <a:lnTo>
                    <a:pt x="118" y="60"/>
                  </a:lnTo>
                  <a:lnTo>
                    <a:pt x="116" y="58"/>
                  </a:lnTo>
                  <a:lnTo>
                    <a:pt x="112" y="58"/>
                  </a:lnTo>
                  <a:lnTo>
                    <a:pt x="110" y="56"/>
                  </a:lnTo>
                  <a:lnTo>
                    <a:pt x="108" y="54"/>
                  </a:lnTo>
                  <a:lnTo>
                    <a:pt x="108" y="54"/>
                  </a:lnTo>
                  <a:lnTo>
                    <a:pt x="106" y="52"/>
                  </a:lnTo>
                  <a:lnTo>
                    <a:pt x="106" y="52"/>
                  </a:lnTo>
                  <a:lnTo>
                    <a:pt x="104" y="48"/>
                  </a:lnTo>
                  <a:lnTo>
                    <a:pt x="102" y="46"/>
                  </a:lnTo>
                  <a:lnTo>
                    <a:pt x="100" y="44"/>
                  </a:lnTo>
                  <a:lnTo>
                    <a:pt x="100" y="44"/>
                  </a:lnTo>
                  <a:lnTo>
                    <a:pt x="98" y="42"/>
                  </a:lnTo>
                  <a:lnTo>
                    <a:pt x="98" y="42"/>
                  </a:lnTo>
                  <a:lnTo>
                    <a:pt x="94" y="42"/>
                  </a:lnTo>
                  <a:lnTo>
                    <a:pt x="90" y="4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9" name="Freeform 468">
              <a:extLst>
                <a:ext uri="{FF2B5EF4-FFF2-40B4-BE49-F238E27FC236}">
                  <a16:creationId xmlns:a16="http://schemas.microsoft.com/office/drawing/2014/main" id="{7437A1F0-CD18-4474-B6C3-C30B5252D8B5}"/>
                </a:ext>
              </a:extLst>
            </p:cNvPr>
            <p:cNvSpPr>
              <a:spLocks/>
            </p:cNvSpPr>
            <p:nvPr/>
          </p:nvSpPr>
          <p:spPr bwMode="auto">
            <a:xfrm>
              <a:off x="2429748" y="4535358"/>
              <a:ext cx="1001139" cy="1118920"/>
            </a:xfrm>
            <a:custGeom>
              <a:avLst/>
              <a:gdLst>
                <a:gd name="T0" fmla="*/ 64 w 578"/>
                <a:gd name="T1" fmla="*/ 62 h 646"/>
                <a:gd name="T2" fmla="*/ 62 w 578"/>
                <a:gd name="T3" fmla="*/ 94 h 646"/>
                <a:gd name="T4" fmla="*/ 56 w 578"/>
                <a:gd name="T5" fmla="*/ 128 h 646"/>
                <a:gd name="T6" fmla="*/ 38 w 578"/>
                <a:gd name="T7" fmla="*/ 152 h 646"/>
                <a:gd name="T8" fmla="*/ 16 w 578"/>
                <a:gd name="T9" fmla="*/ 172 h 646"/>
                <a:gd name="T10" fmla="*/ 0 w 578"/>
                <a:gd name="T11" fmla="*/ 198 h 646"/>
                <a:gd name="T12" fmla="*/ 18 w 578"/>
                <a:gd name="T13" fmla="*/ 232 h 646"/>
                <a:gd name="T14" fmla="*/ 38 w 578"/>
                <a:gd name="T15" fmla="*/ 244 h 646"/>
                <a:gd name="T16" fmla="*/ 58 w 578"/>
                <a:gd name="T17" fmla="*/ 252 h 646"/>
                <a:gd name="T18" fmla="*/ 96 w 578"/>
                <a:gd name="T19" fmla="*/ 254 h 646"/>
                <a:gd name="T20" fmla="*/ 110 w 578"/>
                <a:gd name="T21" fmla="*/ 240 h 646"/>
                <a:gd name="T22" fmla="*/ 132 w 578"/>
                <a:gd name="T23" fmla="*/ 262 h 646"/>
                <a:gd name="T24" fmla="*/ 162 w 578"/>
                <a:gd name="T25" fmla="*/ 286 h 646"/>
                <a:gd name="T26" fmla="*/ 176 w 578"/>
                <a:gd name="T27" fmla="*/ 300 h 646"/>
                <a:gd name="T28" fmla="*/ 200 w 578"/>
                <a:gd name="T29" fmla="*/ 316 h 646"/>
                <a:gd name="T30" fmla="*/ 202 w 578"/>
                <a:gd name="T31" fmla="*/ 326 h 646"/>
                <a:gd name="T32" fmla="*/ 214 w 578"/>
                <a:gd name="T33" fmla="*/ 354 h 646"/>
                <a:gd name="T34" fmla="*/ 236 w 578"/>
                <a:gd name="T35" fmla="*/ 364 h 646"/>
                <a:gd name="T36" fmla="*/ 248 w 578"/>
                <a:gd name="T37" fmla="*/ 382 h 646"/>
                <a:gd name="T38" fmla="*/ 234 w 578"/>
                <a:gd name="T39" fmla="*/ 420 h 646"/>
                <a:gd name="T40" fmla="*/ 248 w 578"/>
                <a:gd name="T41" fmla="*/ 438 h 646"/>
                <a:gd name="T42" fmla="*/ 282 w 578"/>
                <a:gd name="T43" fmla="*/ 450 h 646"/>
                <a:gd name="T44" fmla="*/ 294 w 578"/>
                <a:gd name="T45" fmla="*/ 468 h 646"/>
                <a:gd name="T46" fmla="*/ 302 w 578"/>
                <a:gd name="T47" fmla="*/ 512 h 646"/>
                <a:gd name="T48" fmla="*/ 314 w 578"/>
                <a:gd name="T49" fmla="*/ 532 h 646"/>
                <a:gd name="T50" fmla="*/ 294 w 578"/>
                <a:gd name="T51" fmla="*/ 550 h 646"/>
                <a:gd name="T52" fmla="*/ 278 w 578"/>
                <a:gd name="T53" fmla="*/ 592 h 646"/>
                <a:gd name="T54" fmla="*/ 332 w 578"/>
                <a:gd name="T55" fmla="*/ 640 h 646"/>
                <a:gd name="T56" fmla="*/ 338 w 578"/>
                <a:gd name="T57" fmla="*/ 588 h 646"/>
                <a:gd name="T58" fmla="*/ 342 w 578"/>
                <a:gd name="T59" fmla="*/ 606 h 646"/>
                <a:gd name="T60" fmla="*/ 358 w 578"/>
                <a:gd name="T61" fmla="*/ 590 h 646"/>
                <a:gd name="T62" fmla="*/ 368 w 578"/>
                <a:gd name="T63" fmla="*/ 562 h 646"/>
                <a:gd name="T64" fmla="*/ 388 w 578"/>
                <a:gd name="T65" fmla="*/ 502 h 646"/>
                <a:gd name="T66" fmla="*/ 408 w 578"/>
                <a:gd name="T67" fmla="*/ 478 h 646"/>
                <a:gd name="T68" fmla="*/ 464 w 578"/>
                <a:gd name="T69" fmla="*/ 454 h 646"/>
                <a:gd name="T70" fmla="*/ 490 w 578"/>
                <a:gd name="T71" fmla="*/ 434 h 646"/>
                <a:gd name="T72" fmla="*/ 504 w 578"/>
                <a:gd name="T73" fmla="*/ 372 h 646"/>
                <a:gd name="T74" fmla="*/ 512 w 578"/>
                <a:gd name="T75" fmla="*/ 304 h 646"/>
                <a:gd name="T76" fmla="*/ 530 w 578"/>
                <a:gd name="T77" fmla="*/ 276 h 646"/>
                <a:gd name="T78" fmla="*/ 542 w 578"/>
                <a:gd name="T79" fmla="*/ 248 h 646"/>
                <a:gd name="T80" fmla="*/ 562 w 578"/>
                <a:gd name="T81" fmla="*/ 230 h 646"/>
                <a:gd name="T82" fmla="*/ 568 w 578"/>
                <a:gd name="T83" fmla="*/ 208 h 646"/>
                <a:gd name="T84" fmla="*/ 576 w 578"/>
                <a:gd name="T85" fmla="*/ 186 h 646"/>
                <a:gd name="T86" fmla="*/ 564 w 578"/>
                <a:gd name="T87" fmla="*/ 158 h 646"/>
                <a:gd name="T88" fmla="*/ 532 w 578"/>
                <a:gd name="T89" fmla="*/ 132 h 646"/>
                <a:gd name="T90" fmla="*/ 512 w 578"/>
                <a:gd name="T91" fmla="*/ 118 h 646"/>
                <a:gd name="T92" fmla="*/ 470 w 578"/>
                <a:gd name="T93" fmla="*/ 106 h 646"/>
                <a:gd name="T94" fmla="*/ 432 w 578"/>
                <a:gd name="T95" fmla="*/ 96 h 646"/>
                <a:gd name="T96" fmla="*/ 376 w 578"/>
                <a:gd name="T97" fmla="*/ 90 h 646"/>
                <a:gd name="T98" fmla="*/ 366 w 578"/>
                <a:gd name="T99" fmla="*/ 94 h 646"/>
                <a:gd name="T100" fmla="*/ 354 w 578"/>
                <a:gd name="T101" fmla="*/ 76 h 646"/>
                <a:gd name="T102" fmla="*/ 320 w 578"/>
                <a:gd name="T103" fmla="*/ 104 h 646"/>
                <a:gd name="T104" fmla="*/ 350 w 578"/>
                <a:gd name="T105" fmla="*/ 54 h 646"/>
                <a:gd name="T106" fmla="*/ 322 w 578"/>
                <a:gd name="T107" fmla="*/ 16 h 646"/>
                <a:gd name="T108" fmla="*/ 292 w 578"/>
                <a:gd name="T109" fmla="*/ 40 h 646"/>
                <a:gd name="T110" fmla="*/ 262 w 578"/>
                <a:gd name="T111" fmla="*/ 42 h 646"/>
                <a:gd name="T112" fmla="*/ 230 w 578"/>
                <a:gd name="T113" fmla="*/ 50 h 646"/>
                <a:gd name="T114" fmla="*/ 204 w 578"/>
                <a:gd name="T115" fmla="*/ 34 h 646"/>
                <a:gd name="T116" fmla="*/ 194 w 578"/>
                <a:gd name="T117" fmla="*/ 0 h 646"/>
                <a:gd name="T118" fmla="*/ 158 w 578"/>
                <a:gd name="T119" fmla="*/ 16 h 646"/>
                <a:gd name="T120" fmla="*/ 136 w 578"/>
                <a:gd name="T121" fmla="*/ 10 h 646"/>
                <a:gd name="T122" fmla="*/ 146 w 578"/>
                <a:gd name="T123" fmla="*/ 40 h 646"/>
                <a:gd name="T124" fmla="*/ 116 w 578"/>
                <a:gd name="T125" fmla="*/ 58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8" h="646">
                  <a:moveTo>
                    <a:pt x="90" y="40"/>
                  </a:moveTo>
                  <a:lnTo>
                    <a:pt x="90" y="40"/>
                  </a:lnTo>
                  <a:lnTo>
                    <a:pt x="88" y="40"/>
                  </a:lnTo>
                  <a:lnTo>
                    <a:pt x="80" y="42"/>
                  </a:lnTo>
                  <a:lnTo>
                    <a:pt x="76" y="44"/>
                  </a:lnTo>
                  <a:lnTo>
                    <a:pt x="72" y="46"/>
                  </a:lnTo>
                  <a:lnTo>
                    <a:pt x="68" y="48"/>
                  </a:lnTo>
                  <a:lnTo>
                    <a:pt x="66" y="48"/>
                  </a:lnTo>
                  <a:lnTo>
                    <a:pt x="66" y="48"/>
                  </a:lnTo>
                  <a:lnTo>
                    <a:pt x="64" y="50"/>
                  </a:lnTo>
                  <a:lnTo>
                    <a:pt x="64" y="50"/>
                  </a:lnTo>
                  <a:lnTo>
                    <a:pt x="62" y="52"/>
                  </a:lnTo>
                  <a:lnTo>
                    <a:pt x="62" y="54"/>
                  </a:lnTo>
                  <a:lnTo>
                    <a:pt x="60" y="54"/>
                  </a:lnTo>
                  <a:lnTo>
                    <a:pt x="60" y="56"/>
                  </a:lnTo>
                  <a:lnTo>
                    <a:pt x="60" y="58"/>
                  </a:lnTo>
                  <a:lnTo>
                    <a:pt x="60" y="58"/>
                  </a:lnTo>
                  <a:lnTo>
                    <a:pt x="60" y="58"/>
                  </a:lnTo>
                  <a:lnTo>
                    <a:pt x="60" y="60"/>
                  </a:lnTo>
                  <a:lnTo>
                    <a:pt x="60" y="60"/>
                  </a:lnTo>
                  <a:lnTo>
                    <a:pt x="60" y="60"/>
                  </a:lnTo>
                  <a:lnTo>
                    <a:pt x="62" y="62"/>
                  </a:lnTo>
                  <a:lnTo>
                    <a:pt x="64" y="62"/>
                  </a:lnTo>
                  <a:lnTo>
                    <a:pt x="64" y="64"/>
                  </a:lnTo>
                  <a:lnTo>
                    <a:pt x="66" y="64"/>
                  </a:lnTo>
                  <a:lnTo>
                    <a:pt x="66" y="64"/>
                  </a:lnTo>
                  <a:lnTo>
                    <a:pt x="66" y="66"/>
                  </a:lnTo>
                  <a:lnTo>
                    <a:pt x="66" y="66"/>
                  </a:lnTo>
                  <a:lnTo>
                    <a:pt x="66" y="66"/>
                  </a:lnTo>
                  <a:lnTo>
                    <a:pt x="66" y="66"/>
                  </a:lnTo>
                  <a:lnTo>
                    <a:pt x="66" y="66"/>
                  </a:lnTo>
                  <a:lnTo>
                    <a:pt x="66" y="68"/>
                  </a:lnTo>
                  <a:lnTo>
                    <a:pt x="64" y="68"/>
                  </a:lnTo>
                  <a:lnTo>
                    <a:pt x="64" y="68"/>
                  </a:lnTo>
                  <a:lnTo>
                    <a:pt x="60" y="70"/>
                  </a:lnTo>
                  <a:lnTo>
                    <a:pt x="60" y="70"/>
                  </a:lnTo>
                  <a:lnTo>
                    <a:pt x="60" y="70"/>
                  </a:lnTo>
                  <a:lnTo>
                    <a:pt x="60" y="72"/>
                  </a:lnTo>
                  <a:lnTo>
                    <a:pt x="58" y="72"/>
                  </a:lnTo>
                  <a:lnTo>
                    <a:pt x="58" y="74"/>
                  </a:lnTo>
                  <a:lnTo>
                    <a:pt x="58" y="76"/>
                  </a:lnTo>
                  <a:lnTo>
                    <a:pt x="58" y="78"/>
                  </a:lnTo>
                  <a:lnTo>
                    <a:pt x="58" y="80"/>
                  </a:lnTo>
                  <a:lnTo>
                    <a:pt x="58" y="82"/>
                  </a:lnTo>
                  <a:lnTo>
                    <a:pt x="60" y="86"/>
                  </a:lnTo>
                  <a:lnTo>
                    <a:pt x="62" y="94"/>
                  </a:lnTo>
                  <a:lnTo>
                    <a:pt x="62" y="98"/>
                  </a:lnTo>
                  <a:lnTo>
                    <a:pt x="62" y="98"/>
                  </a:lnTo>
                  <a:lnTo>
                    <a:pt x="62" y="100"/>
                  </a:lnTo>
                  <a:lnTo>
                    <a:pt x="64" y="104"/>
                  </a:lnTo>
                  <a:lnTo>
                    <a:pt x="64" y="106"/>
                  </a:lnTo>
                  <a:lnTo>
                    <a:pt x="64" y="108"/>
                  </a:lnTo>
                  <a:lnTo>
                    <a:pt x="64" y="110"/>
                  </a:lnTo>
                  <a:lnTo>
                    <a:pt x="64" y="112"/>
                  </a:lnTo>
                  <a:lnTo>
                    <a:pt x="64" y="112"/>
                  </a:lnTo>
                  <a:lnTo>
                    <a:pt x="62" y="112"/>
                  </a:lnTo>
                  <a:lnTo>
                    <a:pt x="62" y="114"/>
                  </a:lnTo>
                  <a:lnTo>
                    <a:pt x="62" y="114"/>
                  </a:lnTo>
                  <a:lnTo>
                    <a:pt x="60" y="114"/>
                  </a:lnTo>
                  <a:lnTo>
                    <a:pt x="60" y="114"/>
                  </a:lnTo>
                  <a:lnTo>
                    <a:pt x="56" y="114"/>
                  </a:lnTo>
                  <a:lnTo>
                    <a:pt x="54" y="114"/>
                  </a:lnTo>
                  <a:lnTo>
                    <a:pt x="52" y="114"/>
                  </a:lnTo>
                  <a:lnTo>
                    <a:pt x="50" y="114"/>
                  </a:lnTo>
                  <a:lnTo>
                    <a:pt x="48" y="114"/>
                  </a:lnTo>
                  <a:lnTo>
                    <a:pt x="50" y="116"/>
                  </a:lnTo>
                  <a:lnTo>
                    <a:pt x="52" y="122"/>
                  </a:lnTo>
                  <a:lnTo>
                    <a:pt x="54" y="124"/>
                  </a:lnTo>
                  <a:lnTo>
                    <a:pt x="56" y="128"/>
                  </a:lnTo>
                  <a:lnTo>
                    <a:pt x="58" y="132"/>
                  </a:lnTo>
                  <a:lnTo>
                    <a:pt x="58" y="132"/>
                  </a:lnTo>
                  <a:lnTo>
                    <a:pt x="58" y="134"/>
                  </a:lnTo>
                  <a:lnTo>
                    <a:pt x="58" y="134"/>
                  </a:lnTo>
                  <a:lnTo>
                    <a:pt x="58" y="136"/>
                  </a:lnTo>
                  <a:lnTo>
                    <a:pt x="58" y="138"/>
                  </a:lnTo>
                  <a:lnTo>
                    <a:pt x="56" y="140"/>
                  </a:lnTo>
                  <a:lnTo>
                    <a:pt x="56" y="142"/>
                  </a:lnTo>
                  <a:lnTo>
                    <a:pt x="56" y="144"/>
                  </a:lnTo>
                  <a:lnTo>
                    <a:pt x="54" y="146"/>
                  </a:lnTo>
                  <a:lnTo>
                    <a:pt x="54" y="146"/>
                  </a:lnTo>
                  <a:lnTo>
                    <a:pt x="54" y="148"/>
                  </a:lnTo>
                  <a:lnTo>
                    <a:pt x="52" y="148"/>
                  </a:lnTo>
                  <a:lnTo>
                    <a:pt x="50" y="150"/>
                  </a:lnTo>
                  <a:lnTo>
                    <a:pt x="48" y="150"/>
                  </a:lnTo>
                  <a:lnTo>
                    <a:pt x="48" y="152"/>
                  </a:lnTo>
                  <a:lnTo>
                    <a:pt x="46" y="152"/>
                  </a:lnTo>
                  <a:lnTo>
                    <a:pt x="44" y="152"/>
                  </a:lnTo>
                  <a:lnTo>
                    <a:pt x="42" y="154"/>
                  </a:lnTo>
                  <a:lnTo>
                    <a:pt x="42" y="154"/>
                  </a:lnTo>
                  <a:lnTo>
                    <a:pt x="42" y="154"/>
                  </a:lnTo>
                  <a:lnTo>
                    <a:pt x="40" y="152"/>
                  </a:lnTo>
                  <a:lnTo>
                    <a:pt x="38" y="152"/>
                  </a:lnTo>
                  <a:lnTo>
                    <a:pt x="36" y="152"/>
                  </a:lnTo>
                  <a:lnTo>
                    <a:pt x="34" y="150"/>
                  </a:lnTo>
                  <a:lnTo>
                    <a:pt x="32" y="150"/>
                  </a:lnTo>
                  <a:lnTo>
                    <a:pt x="30" y="150"/>
                  </a:lnTo>
                  <a:lnTo>
                    <a:pt x="30" y="150"/>
                  </a:lnTo>
                  <a:lnTo>
                    <a:pt x="30" y="150"/>
                  </a:lnTo>
                  <a:lnTo>
                    <a:pt x="28" y="150"/>
                  </a:lnTo>
                  <a:lnTo>
                    <a:pt x="26" y="150"/>
                  </a:lnTo>
                  <a:lnTo>
                    <a:pt x="26" y="152"/>
                  </a:lnTo>
                  <a:lnTo>
                    <a:pt x="24" y="152"/>
                  </a:lnTo>
                  <a:lnTo>
                    <a:pt x="22" y="154"/>
                  </a:lnTo>
                  <a:lnTo>
                    <a:pt x="22" y="154"/>
                  </a:lnTo>
                  <a:lnTo>
                    <a:pt x="20" y="156"/>
                  </a:lnTo>
                  <a:lnTo>
                    <a:pt x="20" y="156"/>
                  </a:lnTo>
                  <a:lnTo>
                    <a:pt x="18" y="158"/>
                  </a:lnTo>
                  <a:lnTo>
                    <a:pt x="18" y="160"/>
                  </a:lnTo>
                  <a:lnTo>
                    <a:pt x="18" y="162"/>
                  </a:lnTo>
                  <a:lnTo>
                    <a:pt x="16" y="164"/>
                  </a:lnTo>
                  <a:lnTo>
                    <a:pt x="16" y="166"/>
                  </a:lnTo>
                  <a:lnTo>
                    <a:pt x="16" y="168"/>
                  </a:lnTo>
                  <a:lnTo>
                    <a:pt x="16" y="170"/>
                  </a:lnTo>
                  <a:lnTo>
                    <a:pt x="16" y="172"/>
                  </a:lnTo>
                  <a:lnTo>
                    <a:pt x="16" y="172"/>
                  </a:lnTo>
                  <a:lnTo>
                    <a:pt x="18" y="176"/>
                  </a:lnTo>
                  <a:lnTo>
                    <a:pt x="18" y="176"/>
                  </a:lnTo>
                  <a:lnTo>
                    <a:pt x="18" y="178"/>
                  </a:lnTo>
                  <a:lnTo>
                    <a:pt x="18" y="180"/>
                  </a:lnTo>
                  <a:lnTo>
                    <a:pt x="18" y="180"/>
                  </a:lnTo>
                  <a:lnTo>
                    <a:pt x="18" y="180"/>
                  </a:lnTo>
                  <a:lnTo>
                    <a:pt x="18" y="182"/>
                  </a:lnTo>
                  <a:lnTo>
                    <a:pt x="16" y="182"/>
                  </a:lnTo>
                  <a:lnTo>
                    <a:pt x="16" y="184"/>
                  </a:lnTo>
                  <a:lnTo>
                    <a:pt x="14" y="184"/>
                  </a:lnTo>
                  <a:lnTo>
                    <a:pt x="12" y="186"/>
                  </a:lnTo>
                  <a:lnTo>
                    <a:pt x="10" y="186"/>
                  </a:lnTo>
                  <a:lnTo>
                    <a:pt x="10" y="186"/>
                  </a:lnTo>
                  <a:lnTo>
                    <a:pt x="8" y="188"/>
                  </a:lnTo>
                  <a:lnTo>
                    <a:pt x="6" y="188"/>
                  </a:lnTo>
                  <a:lnTo>
                    <a:pt x="4" y="188"/>
                  </a:lnTo>
                  <a:lnTo>
                    <a:pt x="4" y="188"/>
                  </a:lnTo>
                  <a:lnTo>
                    <a:pt x="4" y="190"/>
                  </a:lnTo>
                  <a:lnTo>
                    <a:pt x="2" y="190"/>
                  </a:lnTo>
                  <a:lnTo>
                    <a:pt x="2" y="192"/>
                  </a:lnTo>
                  <a:lnTo>
                    <a:pt x="2" y="194"/>
                  </a:lnTo>
                  <a:lnTo>
                    <a:pt x="0" y="196"/>
                  </a:lnTo>
                  <a:lnTo>
                    <a:pt x="0" y="198"/>
                  </a:lnTo>
                  <a:lnTo>
                    <a:pt x="0" y="200"/>
                  </a:lnTo>
                  <a:lnTo>
                    <a:pt x="0" y="202"/>
                  </a:lnTo>
                  <a:lnTo>
                    <a:pt x="0" y="202"/>
                  </a:lnTo>
                  <a:lnTo>
                    <a:pt x="0" y="204"/>
                  </a:lnTo>
                  <a:lnTo>
                    <a:pt x="0" y="206"/>
                  </a:lnTo>
                  <a:lnTo>
                    <a:pt x="2" y="208"/>
                  </a:lnTo>
                  <a:lnTo>
                    <a:pt x="2" y="210"/>
                  </a:lnTo>
                  <a:lnTo>
                    <a:pt x="4" y="212"/>
                  </a:lnTo>
                  <a:lnTo>
                    <a:pt x="4" y="212"/>
                  </a:lnTo>
                  <a:lnTo>
                    <a:pt x="4" y="214"/>
                  </a:lnTo>
                  <a:lnTo>
                    <a:pt x="6" y="214"/>
                  </a:lnTo>
                  <a:lnTo>
                    <a:pt x="8" y="216"/>
                  </a:lnTo>
                  <a:lnTo>
                    <a:pt x="12" y="220"/>
                  </a:lnTo>
                  <a:lnTo>
                    <a:pt x="12" y="220"/>
                  </a:lnTo>
                  <a:lnTo>
                    <a:pt x="14" y="220"/>
                  </a:lnTo>
                  <a:lnTo>
                    <a:pt x="14" y="222"/>
                  </a:lnTo>
                  <a:lnTo>
                    <a:pt x="14" y="224"/>
                  </a:lnTo>
                  <a:lnTo>
                    <a:pt x="16" y="226"/>
                  </a:lnTo>
                  <a:lnTo>
                    <a:pt x="16" y="228"/>
                  </a:lnTo>
                  <a:lnTo>
                    <a:pt x="16" y="230"/>
                  </a:lnTo>
                  <a:lnTo>
                    <a:pt x="16" y="230"/>
                  </a:lnTo>
                  <a:lnTo>
                    <a:pt x="18" y="232"/>
                  </a:lnTo>
                  <a:lnTo>
                    <a:pt x="18" y="232"/>
                  </a:lnTo>
                  <a:lnTo>
                    <a:pt x="18" y="232"/>
                  </a:lnTo>
                  <a:lnTo>
                    <a:pt x="20" y="232"/>
                  </a:lnTo>
                  <a:lnTo>
                    <a:pt x="22" y="232"/>
                  </a:lnTo>
                  <a:lnTo>
                    <a:pt x="22" y="232"/>
                  </a:lnTo>
                  <a:lnTo>
                    <a:pt x="24" y="232"/>
                  </a:lnTo>
                  <a:lnTo>
                    <a:pt x="26" y="232"/>
                  </a:lnTo>
                  <a:lnTo>
                    <a:pt x="26" y="232"/>
                  </a:lnTo>
                  <a:lnTo>
                    <a:pt x="28" y="232"/>
                  </a:lnTo>
                  <a:lnTo>
                    <a:pt x="28" y="234"/>
                  </a:lnTo>
                  <a:lnTo>
                    <a:pt x="28" y="234"/>
                  </a:lnTo>
                  <a:lnTo>
                    <a:pt x="28" y="234"/>
                  </a:lnTo>
                  <a:lnTo>
                    <a:pt x="28" y="238"/>
                  </a:lnTo>
                  <a:lnTo>
                    <a:pt x="28" y="238"/>
                  </a:lnTo>
                  <a:lnTo>
                    <a:pt x="28" y="240"/>
                  </a:lnTo>
                  <a:lnTo>
                    <a:pt x="30" y="240"/>
                  </a:lnTo>
                  <a:lnTo>
                    <a:pt x="30" y="242"/>
                  </a:lnTo>
                  <a:lnTo>
                    <a:pt x="30" y="242"/>
                  </a:lnTo>
                  <a:lnTo>
                    <a:pt x="30" y="242"/>
                  </a:lnTo>
                  <a:lnTo>
                    <a:pt x="30" y="242"/>
                  </a:lnTo>
                  <a:lnTo>
                    <a:pt x="32" y="242"/>
                  </a:lnTo>
                  <a:lnTo>
                    <a:pt x="34" y="242"/>
                  </a:lnTo>
                  <a:lnTo>
                    <a:pt x="36" y="244"/>
                  </a:lnTo>
                  <a:lnTo>
                    <a:pt x="38" y="244"/>
                  </a:lnTo>
                  <a:lnTo>
                    <a:pt x="40" y="244"/>
                  </a:lnTo>
                  <a:lnTo>
                    <a:pt x="42" y="244"/>
                  </a:lnTo>
                  <a:lnTo>
                    <a:pt x="42" y="244"/>
                  </a:lnTo>
                  <a:lnTo>
                    <a:pt x="44" y="242"/>
                  </a:lnTo>
                  <a:lnTo>
                    <a:pt x="44" y="242"/>
                  </a:lnTo>
                  <a:lnTo>
                    <a:pt x="46" y="242"/>
                  </a:lnTo>
                  <a:lnTo>
                    <a:pt x="48" y="238"/>
                  </a:lnTo>
                  <a:lnTo>
                    <a:pt x="50" y="238"/>
                  </a:lnTo>
                  <a:lnTo>
                    <a:pt x="52" y="236"/>
                  </a:lnTo>
                  <a:lnTo>
                    <a:pt x="52" y="236"/>
                  </a:lnTo>
                  <a:lnTo>
                    <a:pt x="52" y="236"/>
                  </a:lnTo>
                  <a:lnTo>
                    <a:pt x="54" y="236"/>
                  </a:lnTo>
                  <a:lnTo>
                    <a:pt x="54" y="236"/>
                  </a:lnTo>
                  <a:lnTo>
                    <a:pt x="54" y="236"/>
                  </a:lnTo>
                  <a:lnTo>
                    <a:pt x="56" y="238"/>
                  </a:lnTo>
                  <a:lnTo>
                    <a:pt x="56" y="238"/>
                  </a:lnTo>
                  <a:lnTo>
                    <a:pt x="56" y="240"/>
                  </a:lnTo>
                  <a:lnTo>
                    <a:pt x="56" y="240"/>
                  </a:lnTo>
                  <a:lnTo>
                    <a:pt x="56" y="242"/>
                  </a:lnTo>
                  <a:lnTo>
                    <a:pt x="58" y="244"/>
                  </a:lnTo>
                  <a:lnTo>
                    <a:pt x="58" y="248"/>
                  </a:lnTo>
                  <a:lnTo>
                    <a:pt x="58" y="250"/>
                  </a:lnTo>
                  <a:lnTo>
                    <a:pt x="58" y="252"/>
                  </a:lnTo>
                  <a:lnTo>
                    <a:pt x="58" y="254"/>
                  </a:lnTo>
                  <a:lnTo>
                    <a:pt x="60" y="254"/>
                  </a:lnTo>
                  <a:lnTo>
                    <a:pt x="60" y="256"/>
                  </a:lnTo>
                  <a:lnTo>
                    <a:pt x="60" y="256"/>
                  </a:lnTo>
                  <a:lnTo>
                    <a:pt x="60" y="256"/>
                  </a:lnTo>
                  <a:lnTo>
                    <a:pt x="62" y="258"/>
                  </a:lnTo>
                  <a:lnTo>
                    <a:pt x="64" y="258"/>
                  </a:lnTo>
                  <a:lnTo>
                    <a:pt x="66" y="260"/>
                  </a:lnTo>
                  <a:lnTo>
                    <a:pt x="70" y="260"/>
                  </a:lnTo>
                  <a:lnTo>
                    <a:pt x="72" y="262"/>
                  </a:lnTo>
                  <a:lnTo>
                    <a:pt x="76" y="262"/>
                  </a:lnTo>
                  <a:lnTo>
                    <a:pt x="80" y="262"/>
                  </a:lnTo>
                  <a:lnTo>
                    <a:pt x="82" y="262"/>
                  </a:lnTo>
                  <a:lnTo>
                    <a:pt x="84" y="262"/>
                  </a:lnTo>
                  <a:lnTo>
                    <a:pt x="84" y="262"/>
                  </a:lnTo>
                  <a:lnTo>
                    <a:pt x="86" y="262"/>
                  </a:lnTo>
                  <a:lnTo>
                    <a:pt x="88" y="262"/>
                  </a:lnTo>
                  <a:lnTo>
                    <a:pt x="90" y="260"/>
                  </a:lnTo>
                  <a:lnTo>
                    <a:pt x="92" y="258"/>
                  </a:lnTo>
                  <a:lnTo>
                    <a:pt x="94" y="258"/>
                  </a:lnTo>
                  <a:lnTo>
                    <a:pt x="94" y="256"/>
                  </a:lnTo>
                  <a:lnTo>
                    <a:pt x="96" y="256"/>
                  </a:lnTo>
                  <a:lnTo>
                    <a:pt x="96" y="254"/>
                  </a:lnTo>
                  <a:lnTo>
                    <a:pt x="98" y="254"/>
                  </a:lnTo>
                  <a:lnTo>
                    <a:pt x="98" y="252"/>
                  </a:lnTo>
                  <a:lnTo>
                    <a:pt x="98" y="250"/>
                  </a:lnTo>
                  <a:lnTo>
                    <a:pt x="100" y="250"/>
                  </a:lnTo>
                  <a:lnTo>
                    <a:pt x="100" y="248"/>
                  </a:lnTo>
                  <a:lnTo>
                    <a:pt x="100" y="248"/>
                  </a:lnTo>
                  <a:lnTo>
                    <a:pt x="100" y="248"/>
                  </a:lnTo>
                  <a:lnTo>
                    <a:pt x="102" y="248"/>
                  </a:lnTo>
                  <a:lnTo>
                    <a:pt x="102" y="248"/>
                  </a:lnTo>
                  <a:lnTo>
                    <a:pt x="102" y="248"/>
                  </a:lnTo>
                  <a:lnTo>
                    <a:pt x="104" y="248"/>
                  </a:lnTo>
                  <a:lnTo>
                    <a:pt x="106" y="248"/>
                  </a:lnTo>
                  <a:lnTo>
                    <a:pt x="106" y="248"/>
                  </a:lnTo>
                  <a:lnTo>
                    <a:pt x="108" y="250"/>
                  </a:lnTo>
                  <a:lnTo>
                    <a:pt x="108" y="248"/>
                  </a:lnTo>
                  <a:lnTo>
                    <a:pt x="108" y="248"/>
                  </a:lnTo>
                  <a:lnTo>
                    <a:pt x="108" y="248"/>
                  </a:lnTo>
                  <a:lnTo>
                    <a:pt x="108" y="248"/>
                  </a:lnTo>
                  <a:lnTo>
                    <a:pt x="110" y="246"/>
                  </a:lnTo>
                  <a:lnTo>
                    <a:pt x="110" y="246"/>
                  </a:lnTo>
                  <a:lnTo>
                    <a:pt x="110" y="244"/>
                  </a:lnTo>
                  <a:lnTo>
                    <a:pt x="110" y="242"/>
                  </a:lnTo>
                  <a:lnTo>
                    <a:pt x="110" y="240"/>
                  </a:lnTo>
                  <a:lnTo>
                    <a:pt x="110" y="240"/>
                  </a:lnTo>
                  <a:lnTo>
                    <a:pt x="110" y="238"/>
                  </a:lnTo>
                  <a:lnTo>
                    <a:pt x="110" y="238"/>
                  </a:lnTo>
                  <a:lnTo>
                    <a:pt x="112" y="238"/>
                  </a:lnTo>
                  <a:lnTo>
                    <a:pt x="112" y="238"/>
                  </a:lnTo>
                  <a:lnTo>
                    <a:pt x="112" y="236"/>
                  </a:lnTo>
                  <a:lnTo>
                    <a:pt x="114" y="236"/>
                  </a:lnTo>
                  <a:lnTo>
                    <a:pt x="118" y="236"/>
                  </a:lnTo>
                  <a:lnTo>
                    <a:pt x="120" y="236"/>
                  </a:lnTo>
                  <a:lnTo>
                    <a:pt x="122" y="238"/>
                  </a:lnTo>
                  <a:lnTo>
                    <a:pt x="126" y="238"/>
                  </a:lnTo>
                  <a:lnTo>
                    <a:pt x="126" y="238"/>
                  </a:lnTo>
                  <a:lnTo>
                    <a:pt x="128" y="238"/>
                  </a:lnTo>
                  <a:lnTo>
                    <a:pt x="128" y="240"/>
                  </a:lnTo>
                  <a:lnTo>
                    <a:pt x="130" y="240"/>
                  </a:lnTo>
                  <a:lnTo>
                    <a:pt x="130" y="242"/>
                  </a:lnTo>
                  <a:lnTo>
                    <a:pt x="130" y="242"/>
                  </a:lnTo>
                  <a:lnTo>
                    <a:pt x="130" y="244"/>
                  </a:lnTo>
                  <a:lnTo>
                    <a:pt x="132" y="246"/>
                  </a:lnTo>
                  <a:lnTo>
                    <a:pt x="132" y="248"/>
                  </a:lnTo>
                  <a:lnTo>
                    <a:pt x="132" y="250"/>
                  </a:lnTo>
                  <a:lnTo>
                    <a:pt x="132" y="254"/>
                  </a:lnTo>
                  <a:lnTo>
                    <a:pt x="132" y="262"/>
                  </a:lnTo>
                  <a:lnTo>
                    <a:pt x="132" y="266"/>
                  </a:lnTo>
                  <a:lnTo>
                    <a:pt x="132" y="268"/>
                  </a:lnTo>
                  <a:lnTo>
                    <a:pt x="132" y="270"/>
                  </a:lnTo>
                  <a:lnTo>
                    <a:pt x="132" y="272"/>
                  </a:lnTo>
                  <a:lnTo>
                    <a:pt x="134" y="276"/>
                  </a:lnTo>
                  <a:lnTo>
                    <a:pt x="136" y="278"/>
                  </a:lnTo>
                  <a:lnTo>
                    <a:pt x="136" y="280"/>
                  </a:lnTo>
                  <a:lnTo>
                    <a:pt x="138" y="284"/>
                  </a:lnTo>
                  <a:lnTo>
                    <a:pt x="138" y="284"/>
                  </a:lnTo>
                  <a:lnTo>
                    <a:pt x="140" y="286"/>
                  </a:lnTo>
                  <a:lnTo>
                    <a:pt x="140" y="286"/>
                  </a:lnTo>
                  <a:lnTo>
                    <a:pt x="140" y="286"/>
                  </a:lnTo>
                  <a:lnTo>
                    <a:pt x="142" y="286"/>
                  </a:lnTo>
                  <a:lnTo>
                    <a:pt x="144" y="286"/>
                  </a:lnTo>
                  <a:lnTo>
                    <a:pt x="144" y="286"/>
                  </a:lnTo>
                  <a:lnTo>
                    <a:pt x="148" y="286"/>
                  </a:lnTo>
                  <a:lnTo>
                    <a:pt x="152" y="286"/>
                  </a:lnTo>
                  <a:lnTo>
                    <a:pt x="154" y="286"/>
                  </a:lnTo>
                  <a:lnTo>
                    <a:pt x="158" y="286"/>
                  </a:lnTo>
                  <a:lnTo>
                    <a:pt x="158" y="286"/>
                  </a:lnTo>
                  <a:lnTo>
                    <a:pt x="160" y="286"/>
                  </a:lnTo>
                  <a:lnTo>
                    <a:pt x="162" y="286"/>
                  </a:lnTo>
                  <a:lnTo>
                    <a:pt x="162" y="286"/>
                  </a:lnTo>
                  <a:lnTo>
                    <a:pt x="162" y="286"/>
                  </a:lnTo>
                  <a:lnTo>
                    <a:pt x="164" y="286"/>
                  </a:lnTo>
                  <a:lnTo>
                    <a:pt x="164" y="288"/>
                  </a:lnTo>
                  <a:lnTo>
                    <a:pt x="164" y="288"/>
                  </a:lnTo>
                  <a:lnTo>
                    <a:pt x="164" y="290"/>
                  </a:lnTo>
                  <a:lnTo>
                    <a:pt x="166" y="290"/>
                  </a:lnTo>
                  <a:lnTo>
                    <a:pt x="168" y="290"/>
                  </a:lnTo>
                  <a:lnTo>
                    <a:pt x="170" y="290"/>
                  </a:lnTo>
                  <a:lnTo>
                    <a:pt x="172" y="290"/>
                  </a:lnTo>
                  <a:lnTo>
                    <a:pt x="174" y="290"/>
                  </a:lnTo>
                  <a:lnTo>
                    <a:pt x="174" y="292"/>
                  </a:lnTo>
                  <a:lnTo>
                    <a:pt x="174" y="292"/>
                  </a:lnTo>
                  <a:lnTo>
                    <a:pt x="174" y="292"/>
                  </a:lnTo>
                  <a:lnTo>
                    <a:pt x="176" y="292"/>
                  </a:lnTo>
                  <a:lnTo>
                    <a:pt x="176" y="292"/>
                  </a:lnTo>
                  <a:lnTo>
                    <a:pt x="176" y="294"/>
                  </a:lnTo>
                  <a:lnTo>
                    <a:pt x="176" y="294"/>
                  </a:lnTo>
                  <a:lnTo>
                    <a:pt x="176" y="296"/>
                  </a:lnTo>
                  <a:lnTo>
                    <a:pt x="176" y="298"/>
                  </a:lnTo>
                  <a:lnTo>
                    <a:pt x="176" y="298"/>
                  </a:lnTo>
                  <a:lnTo>
                    <a:pt x="176" y="300"/>
                  </a:lnTo>
                  <a:lnTo>
                    <a:pt x="176" y="300"/>
                  </a:lnTo>
                  <a:lnTo>
                    <a:pt x="176" y="300"/>
                  </a:lnTo>
                  <a:lnTo>
                    <a:pt x="178" y="300"/>
                  </a:lnTo>
                  <a:lnTo>
                    <a:pt x="178" y="302"/>
                  </a:lnTo>
                  <a:lnTo>
                    <a:pt x="180" y="302"/>
                  </a:lnTo>
                  <a:lnTo>
                    <a:pt x="182" y="302"/>
                  </a:lnTo>
                  <a:lnTo>
                    <a:pt x="184" y="302"/>
                  </a:lnTo>
                  <a:lnTo>
                    <a:pt x="188" y="302"/>
                  </a:lnTo>
                  <a:lnTo>
                    <a:pt x="190" y="302"/>
                  </a:lnTo>
                  <a:lnTo>
                    <a:pt x="192" y="302"/>
                  </a:lnTo>
                  <a:lnTo>
                    <a:pt x="194" y="302"/>
                  </a:lnTo>
                  <a:lnTo>
                    <a:pt x="196" y="302"/>
                  </a:lnTo>
                  <a:lnTo>
                    <a:pt x="196" y="304"/>
                  </a:lnTo>
                  <a:lnTo>
                    <a:pt x="198" y="304"/>
                  </a:lnTo>
                  <a:lnTo>
                    <a:pt x="198" y="304"/>
                  </a:lnTo>
                  <a:lnTo>
                    <a:pt x="200" y="304"/>
                  </a:lnTo>
                  <a:lnTo>
                    <a:pt x="200" y="304"/>
                  </a:lnTo>
                  <a:lnTo>
                    <a:pt x="200" y="306"/>
                  </a:lnTo>
                  <a:lnTo>
                    <a:pt x="200" y="306"/>
                  </a:lnTo>
                  <a:lnTo>
                    <a:pt x="200" y="308"/>
                  </a:lnTo>
                  <a:lnTo>
                    <a:pt x="200" y="310"/>
                  </a:lnTo>
                  <a:lnTo>
                    <a:pt x="200" y="312"/>
                  </a:lnTo>
                  <a:lnTo>
                    <a:pt x="200" y="314"/>
                  </a:lnTo>
                  <a:lnTo>
                    <a:pt x="200" y="316"/>
                  </a:lnTo>
                  <a:lnTo>
                    <a:pt x="200" y="316"/>
                  </a:lnTo>
                  <a:lnTo>
                    <a:pt x="200" y="318"/>
                  </a:lnTo>
                  <a:lnTo>
                    <a:pt x="202" y="318"/>
                  </a:lnTo>
                  <a:lnTo>
                    <a:pt x="202" y="318"/>
                  </a:lnTo>
                  <a:lnTo>
                    <a:pt x="202" y="318"/>
                  </a:lnTo>
                  <a:lnTo>
                    <a:pt x="202" y="320"/>
                  </a:lnTo>
                  <a:lnTo>
                    <a:pt x="204" y="320"/>
                  </a:lnTo>
                  <a:lnTo>
                    <a:pt x="206" y="320"/>
                  </a:lnTo>
                  <a:lnTo>
                    <a:pt x="206" y="320"/>
                  </a:lnTo>
                  <a:lnTo>
                    <a:pt x="208" y="320"/>
                  </a:lnTo>
                  <a:lnTo>
                    <a:pt x="208" y="320"/>
                  </a:lnTo>
                  <a:lnTo>
                    <a:pt x="208" y="320"/>
                  </a:lnTo>
                  <a:lnTo>
                    <a:pt x="208" y="320"/>
                  </a:lnTo>
                  <a:lnTo>
                    <a:pt x="208" y="320"/>
                  </a:lnTo>
                  <a:lnTo>
                    <a:pt x="208" y="320"/>
                  </a:lnTo>
                  <a:lnTo>
                    <a:pt x="208" y="322"/>
                  </a:lnTo>
                  <a:lnTo>
                    <a:pt x="208" y="322"/>
                  </a:lnTo>
                  <a:lnTo>
                    <a:pt x="208" y="322"/>
                  </a:lnTo>
                  <a:lnTo>
                    <a:pt x="206" y="322"/>
                  </a:lnTo>
                  <a:lnTo>
                    <a:pt x="204" y="324"/>
                  </a:lnTo>
                  <a:lnTo>
                    <a:pt x="202" y="324"/>
                  </a:lnTo>
                  <a:lnTo>
                    <a:pt x="202" y="326"/>
                  </a:lnTo>
                  <a:lnTo>
                    <a:pt x="202" y="326"/>
                  </a:lnTo>
                  <a:lnTo>
                    <a:pt x="202" y="326"/>
                  </a:lnTo>
                  <a:lnTo>
                    <a:pt x="200" y="328"/>
                  </a:lnTo>
                  <a:lnTo>
                    <a:pt x="200" y="330"/>
                  </a:lnTo>
                  <a:lnTo>
                    <a:pt x="200" y="332"/>
                  </a:lnTo>
                  <a:lnTo>
                    <a:pt x="200" y="336"/>
                  </a:lnTo>
                  <a:lnTo>
                    <a:pt x="200" y="338"/>
                  </a:lnTo>
                  <a:lnTo>
                    <a:pt x="200" y="342"/>
                  </a:lnTo>
                  <a:lnTo>
                    <a:pt x="202" y="344"/>
                  </a:lnTo>
                  <a:lnTo>
                    <a:pt x="202" y="344"/>
                  </a:lnTo>
                  <a:lnTo>
                    <a:pt x="202" y="346"/>
                  </a:lnTo>
                  <a:lnTo>
                    <a:pt x="202" y="346"/>
                  </a:lnTo>
                  <a:lnTo>
                    <a:pt x="202" y="346"/>
                  </a:lnTo>
                  <a:lnTo>
                    <a:pt x="204" y="346"/>
                  </a:lnTo>
                  <a:lnTo>
                    <a:pt x="206" y="348"/>
                  </a:lnTo>
                  <a:lnTo>
                    <a:pt x="206" y="348"/>
                  </a:lnTo>
                  <a:lnTo>
                    <a:pt x="208" y="348"/>
                  </a:lnTo>
                  <a:lnTo>
                    <a:pt x="208" y="348"/>
                  </a:lnTo>
                  <a:lnTo>
                    <a:pt x="208" y="350"/>
                  </a:lnTo>
                  <a:lnTo>
                    <a:pt x="210" y="352"/>
                  </a:lnTo>
                  <a:lnTo>
                    <a:pt x="210" y="352"/>
                  </a:lnTo>
                  <a:lnTo>
                    <a:pt x="210" y="352"/>
                  </a:lnTo>
                  <a:lnTo>
                    <a:pt x="212" y="354"/>
                  </a:lnTo>
                  <a:lnTo>
                    <a:pt x="214" y="354"/>
                  </a:lnTo>
                  <a:lnTo>
                    <a:pt x="214" y="354"/>
                  </a:lnTo>
                  <a:lnTo>
                    <a:pt x="216" y="354"/>
                  </a:lnTo>
                  <a:lnTo>
                    <a:pt x="218" y="352"/>
                  </a:lnTo>
                  <a:lnTo>
                    <a:pt x="222" y="352"/>
                  </a:lnTo>
                  <a:lnTo>
                    <a:pt x="224" y="352"/>
                  </a:lnTo>
                  <a:lnTo>
                    <a:pt x="226" y="352"/>
                  </a:lnTo>
                  <a:lnTo>
                    <a:pt x="228" y="352"/>
                  </a:lnTo>
                  <a:lnTo>
                    <a:pt x="230" y="352"/>
                  </a:lnTo>
                  <a:lnTo>
                    <a:pt x="230" y="352"/>
                  </a:lnTo>
                  <a:lnTo>
                    <a:pt x="232" y="352"/>
                  </a:lnTo>
                  <a:lnTo>
                    <a:pt x="232" y="352"/>
                  </a:lnTo>
                  <a:lnTo>
                    <a:pt x="232" y="354"/>
                  </a:lnTo>
                  <a:lnTo>
                    <a:pt x="232" y="354"/>
                  </a:lnTo>
                  <a:lnTo>
                    <a:pt x="232" y="356"/>
                  </a:lnTo>
                  <a:lnTo>
                    <a:pt x="232" y="358"/>
                  </a:lnTo>
                  <a:lnTo>
                    <a:pt x="232" y="360"/>
                  </a:lnTo>
                  <a:lnTo>
                    <a:pt x="232" y="362"/>
                  </a:lnTo>
                  <a:lnTo>
                    <a:pt x="232" y="362"/>
                  </a:lnTo>
                  <a:lnTo>
                    <a:pt x="232" y="362"/>
                  </a:lnTo>
                  <a:lnTo>
                    <a:pt x="232" y="364"/>
                  </a:lnTo>
                  <a:lnTo>
                    <a:pt x="232" y="364"/>
                  </a:lnTo>
                  <a:lnTo>
                    <a:pt x="234" y="364"/>
                  </a:lnTo>
                  <a:lnTo>
                    <a:pt x="234" y="364"/>
                  </a:lnTo>
                  <a:lnTo>
                    <a:pt x="236" y="364"/>
                  </a:lnTo>
                  <a:lnTo>
                    <a:pt x="236" y="364"/>
                  </a:lnTo>
                  <a:lnTo>
                    <a:pt x="238" y="364"/>
                  </a:lnTo>
                  <a:lnTo>
                    <a:pt x="238" y="364"/>
                  </a:lnTo>
                  <a:lnTo>
                    <a:pt x="240" y="364"/>
                  </a:lnTo>
                  <a:lnTo>
                    <a:pt x="240" y="364"/>
                  </a:lnTo>
                  <a:lnTo>
                    <a:pt x="240" y="364"/>
                  </a:lnTo>
                  <a:lnTo>
                    <a:pt x="240" y="366"/>
                  </a:lnTo>
                  <a:lnTo>
                    <a:pt x="242" y="366"/>
                  </a:lnTo>
                  <a:lnTo>
                    <a:pt x="242" y="368"/>
                  </a:lnTo>
                  <a:lnTo>
                    <a:pt x="242" y="368"/>
                  </a:lnTo>
                  <a:lnTo>
                    <a:pt x="242" y="370"/>
                  </a:lnTo>
                  <a:lnTo>
                    <a:pt x="242" y="374"/>
                  </a:lnTo>
                  <a:lnTo>
                    <a:pt x="242" y="374"/>
                  </a:lnTo>
                  <a:lnTo>
                    <a:pt x="242" y="376"/>
                  </a:lnTo>
                  <a:lnTo>
                    <a:pt x="242" y="376"/>
                  </a:lnTo>
                  <a:lnTo>
                    <a:pt x="242" y="376"/>
                  </a:lnTo>
                  <a:lnTo>
                    <a:pt x="244" y="378"/>
                  </a:lnTo>
                  <a:lnTo>
                    <a:pt x="246" y="378"/>
                  </a:lnTo>
                  <a:lnTo>
                    <a:pt x="246" y="378"/>
                  </a:lnTo>
                  <a:lnTo>
                    <a:pt x="248" y="380"/>
                  </a:lnTo>
                  <a:lnTo>
                    <a:pt x="248" y="380"/>
                  </a:lnTo>
                  <a:lnTo>
                    <a:pt x="248" y="380"/>
                  </a:lnTo>
                  <a:lnTo>
                    <a:pt x="248" y="382"/>
                  </a:lnTo>
                  <a:lnTo>
                    <a:pt x="248" y="384"/>
                  </a:lnTo>
                  <a:lnTo>
                    <a:pt x="248" y="386"/>
                  </a:lnTo>
                  <a:lnTo>
                    <a:pt x="248" y="390"/>
                  </a:lnTo>
                  <a:lnTo>
                    <a:pt x="248" y="392"/>
                  </a:lnTo>
                  <a:lnTo>
                    <a:pt x="248" y="394"/>
                  </a:lnTo>
                  <a:lnTo>
                    <a:pt x="246" y="396"/>
                  </a:lnTo>
                  <a:lnTo>
                    <a:pt x="246" y="398"/>
                  </a:lnTo>
                  <a:lnTo>
                    <a:pt x="246" y="400"/>
                  </a:lnTo>
                  <a:lnTo>
                    <a:pt x="244" y="404"/>
                  </a:lnTo>
                  <a:lnTo>
                    <a:pt x="242" y="406"/>
                  </a:lnTo>
                  <a:lnTo>
                    <a:pt x="242" y="406"/>
                  </a:lnTo>
                  <a:lnTo>
                    <a:pt x="240" y="408"/>
                  </a:lnTo>
                  <a:lnTo>
                    <a:pt x="240" y="408"/>
                  </a:lnTo>
                  <a:lnTo>
                    <a:pt x="238" y="408"/>
                  </a:lnTo>
                  <a:lnTo>
                    <a:pt x="236" y="408"/>
                  </a:lnTo>
                  <a:lnTo>
                    <a:pt x="232" y="410"/>
                  </a:lnTo>
                  <a:lnTo>
                    <a:pt x="232" y="410"/>
                  </a:lnTo>
                  <a:lnTo>
                    <a:pt x="232" y="414"/>
                  </a:lnTo>
                  <a:lnTo>
                    <a:pt x="234" y="416"/>
                  </a:lnTo>
                  <a:lnTo>
                    <a:pt x="234" y="418"/>
                  </a:lnTo>
                  <a:lnTo>
                    <a:pt x="234" y="420"/>
                  </a:lnTo>
                  <a:lnTo>
                    <a:pt x="234" y="420"/>
                  </a:lnTo>
                  <a:lnTo>
                    <a:pt x="234" y="420"/>
                  </a:lnTo>
                  <a:lnTo>
                    <a:pt x="234" y="420"/>
                  </a:lnTo>
                  <a:lnTo>
                    <a:pt x="236" y="420"/>
                  </a:lnTo>
                  <a:lnTo>
                    <a:pt x="236" y="422"/>
                  </a:lnTo>
                  <a:lnTo>
                    <a:pt x="238" y="422"/>
                  </a:lnTo>
                  <a:lnTo>
                    <a:pt x="240" y="422"/>
                  </a:lnTo>
                  <a:lnTo>
                    <a:pt x="240" y="422"/>
                  </a:lnTo>
                  <a:lnTo>
                    <a:pt x="242" y="422"/>
                  </a:lnTo>
                  <a:lnTo>
                    <a:pt x="244" y="424"/>
                  </a:lnTo>
                  <a:lnTo>
                    <a:pt x="244" y="424"/>
                  </a:lnTo>
                  <a:lnTo>
                    <a:pt x="244" y="424"/>
                  </a:lnTo>
                  <a:lnTo>
                    <a:pt x="244" y="424"/>
                  </a:lnTo>
                  <a:lnTo>
                    <a:pt x="244" y="426"/>
                  </a:lnTo>
                  <a:lnTo>
                    <a:pt x="246" y="426"/>
                  </a:lnTo>
                  <a:lnTo>
                    <a:pt x="246" y="428"/>
                  </a:lnTo>
                  <a:lnTo>
                    <a:pt x="244" y="430"/>
                  </a:lnTo>
                  <a:lnTo>
                    <a:pt x="244" y="432"/>
                  </a:lnTo>
                  <a:lnTo>
                    <a:pt x="244" y="434"/>
                  </a:lnTo>
                  <a:lnTo>
                    <a:pt x="246" y="436"/>
                  </a:lnTo>
                  <a:lnTo>
                    <a:pt x="246" y="436"/>
                  </a:lnTo>
                  <a:lnTo>
                    <a:pt x="246" y="436"/>
                  </a:lnTo>
                  <a:lnTo>
                    <a:pt x="246" y="436"/>
                  </a:lnTo>
                  <a:lnTo>
                    <a:pt x="246" y="438"/>
                  </a:lnTo>
                  <a:lnTo>
                    <a:pt x="248" y="438"/>
                  </a:lnTo>
                  <a:lnTo>
                    <a:pt x="250" y="438"/>
                  </a:lnTo>
                  <a:lnTo>
                    <a:pt x="252" y="438"/>
                  </a:lnTo>
                  <a:lnTo>
                    <a:pt x="254" y="438"/>
                  </a:lnTo>
                  <a:lnTo>
                    <a:pt x="256" y="438"/>
                  </a:lnTo>
                  <a:lnTo>
                    <a:pt x="258" y="438"/>
                  </a:lnTo>
                  <a:lnTo>
                    <a:pt x="258" y="438"/>
                  </a:lnTo>
                  <a:lnTo>
                    <a:pt x="258" y="440"/>
                  </a:lnTo>
                  <a:lnTo>
                    <a:pt x="260" y="440"/>
                  </a:lnTo>
                  <a:lnTo>
                    <a:pt x="260" y="440"/>
                  </a:lnTo>
                  <a:lnTo>
                    <a:pt x="260" y="442"/>
                  </a:lnTo>
                  <a:lnTo>
                    <a:pt x="262" y="444"/>
                  </a:lnTo>
                  <a:lnTo>
                    <a:pt x="262" y="446"/>
                  </a:lnTo>
                  <a:lnTo>
                    <a:pt x="262" y="446"/>
                  </a:lnTo>
                  <a:lnTo>
                    <a:pt x="264" y="448"/>
                  </a:lnTo>
                  <a:lnTo>
                    <a:pt x="264" y="448"/>
                  </a:lnTo>
                  <a:lnTo>
                    <a:pt x="266" y="448"/>
                  </a:lnTo>
                  <a:lnTo>
                    <a:pt x="268" y="450"/>
                  </a:lnTo>
                  <a:lnTo>
                    <a:pt x="270" y="450"/>
                  </a:lnTo>
                  <a:lnTo>
                    <a:pt x="272" y="450"/>
                  </a:lnTo>
                  <a:lnTo>
                    <a:pt x="274" y="450"/>
                  </a:lnTo>
                  <a:lnTo>
                    <a:pt x="278" y="450"/>
                  </a:lnTo>
                  <a:lnTo>
                    <a:pt x="280" y="450"/>
                  </a:lnTo>
                  <a:lnTo>
                    <a:pt x="282" y="450"/>
                  </a:lnTo>
                  <a:lnTo>
                    <a:pt x="282" y="450"/>
                  </a:lnTo>
                  <a:lnTo>
                    <a:pt x="282" y="450"/>
                  </a:lnTo>
                  <a:lnTo>
                    <a:pt x="284" y="450"/>
                  </a:lnTo>
                  <a:lnTo>
                    <a:pt x="284" y="450"/>
                  </a:lnTo>
                  <a:lnTo>
                    <a:pt x="284" y="452"/>
                  </a:lnTo>
                  <a:lnTo>
                    <a:pt x="284" y="452"/>
                  </a:lnTo>
                  <a:lnTo>
                    <a:pt x="286" y="452"/>
                  </a:lnTo>
                  <a:lnTo>
                    <a:pt x="286" y="454"/>
                  </a:lnTo>
                  <a:lnTo>
                    <a:pt x="286" y="456"/>
                  </a:lnTo>
                  <a:lnTo>
                    <a:pt x="284" y="458"/>
                  </a:lnTo>
                  <a:lnTo>
                    <a:pt x="284" y="462"/>
                  </a:lnTo>
                  <a:lnTo>
                    <a:pt x="284" y="464"/>
                  </a:lnTo>
                  <a:lnTo>
                    <a:pt x="284" y="464"/>
                  </a:lnTo>
                  <a:lnTo>
                    <a:pt x="284" y="466"/>
                  </a:lnTo>
                  <a:lnTo>
                    <a:pt x="284" y="466"/>
                  </a:lnTo>
                  <a:lnTo>
                    <a:pt x="286" y="468"/>
                  </a:lnTo>
                  <a:lnTo>
                    <a:pt x="286" y="468"/>
                  </a:lnTo>
                  <a:lnTo>
                    <a:pt x="286" y="468"/>
                  </a:lnTo>
                  <a:lnTo>
                    <a:pt x="288" y="468"/>
                  </a:lnTo>
                  <a:lnTo>
                    <a:pt x="288" y="468"/>
                  </a:lnTo>
                  <a:lnTo>
                    <a:pt x="290" y="468"/>
                  </a:lnTo>
                  <a:lnTo>
                    <a:pt x="292" y="468"/>
                  </a:lnTo>
                  <a:lnTo>
                    <a:pt x="294" y="468"/>
                  </a:lnTo>
                  <a:lnTo>
                    <a:pt x="296" y="468"/>
                  </a:lnTo>
                  <a:lnTo>
                    <a:pt x="296" y="468"/>
                  </a:lnTo>
                  <a:lnTo>
                    <a:pt x="296" y="468"/>
                  </a:lnTo>
                  <a:lnTo>
                    <a:pt x="298" y="468"/>
                  </a:lnTo>
                  <a:lnTo>
                    <a:pt x="298" y="468"/>
                  </a:lnTo>
                  <a:lnTo>
                    <a:pt x="298" y="470"/>
                  </a:lnTo>
                  <a:lnTo>
                    <a:pt x="300" y="470"/>
                  </a:lnTo>
                  <a:lnTo>
                    <a:pt x="300" y="472"/>
                  </a:lnTo>
                  <a:lnTo>
                    <a:pt x="300" y="474"/>
                  </a:lnTo>
                  <a:lnTo>
                    <a:pt x="300" y="476"/>
                  </a:lnTo>
                  <a:lnTo>
                    <a:pt x="300" y="478"/>
                  </a:lnTo>
                  <a:lnTo>
                    <a:pt x="302" y="482"/>
                  </a:lnTo>
                  <a:lnTo>
                    <a:pt x="300" y="486"/>
                  </a:lnTo>
                  <a:lnTo>
                    <a:pt x="300" y="492"/>
                  </a:lnTo>
                  <a:lnTo>
                    <a:pt x="300" y="498"/>
                  </a:lnTo>
                  <a:lnTo>
                    <a:pt x="300" y="500"/>
                  </a:lnTo>
                  <a:lnTo>
                    <a:pt x="300" y="502"/>
                  </a:lnTo>
                  <a:lnTo>
                    <a:pt x="300" y="504"/>
                  </a:lnTo>
                  <a:lnTo>
                    <a:pt x="302" y="506"/>
                  </a:lnTo>
                  <a:lnTo>
                    <a:pt x="302" y="508"/>
                  </a:lnTo>
                  <a:lnTo>
                    <a:pt x="302" y="508"/>
                  </a:lnTo>
                  <a:lnTo>
                    <a:pt x="302" y="510"/>
                  </a:lnTo>
                  <a:lnTo>
                    <a:pt x="302" y="512"/>
                  </a:lnTo>
                  <a:lnTo>
                    <a:pt x="302" y="514"/>
                  </a:lnTo>
                  <a:lnTo>
                    <a:pt x="302" y="516"/>
                  </a:lnTo>
                  <a:lnTo>
                    <a:pt x="302" y="520"/>
                  </a:lnTo>
                  <a:lnTo>
                    <a:pt x="304" y="522"/>
                  </a:lnTo>
                  <a:lnTo>
                    <a:pt x="304" y="522"/>
                  </a:lnTo>
                  <a:lnTo>
                    <a:pt x="304" y="524"/>
                  </a:lnTo>
                  <a:lnTo>
                    <a:pt x="304" y="524"/>
                  </a:lnTo>
                  <a:lnTo>
                    <a:pt x="304" y="526"/>
                  </a:lnTo>
                  <a:lnTo>
                    <a:pt x="306" y="526"/>
                  </a:lnTo>
                  <a:lnTo>
                    <a:pt x="306" y="526"/>
                  </a:lnTo>
                  <a:lnTo>
                    <a:pt x="306" y="526"/>
                  </a:lnTo>
                  <a:lnTo>
                    <a:pt x="308" y="526"/>
                  </a:lnTo>
                  <a:lnTo>
                    <a:pt x="308" y="526"/>
                  </a:lnTo>
                  <a:lnTo>
                    <a:pt x="310" y="526"/>
                  </a:lnTo>
                  <a:lnTo>
                    <a:pt x="310" y="526"/>
                  </a:lnTo>
                  <a:lnTo>
                    <a:pt x="312" y="526"/>
                  </a:lnTo>
                  <a:lnTo>
                    <a:pt x="312" y="526"/>
                  </a:lnTo>
                  <a:lnTo>
                    <a:pt x="312" y="526"/>
                  </a:lnTo>
                  <a:lnTo>
                    <a:pt x="312" y="526"/>
                  </a:lnTo>
                  <a:lnTo>
                    <a:pt x="314" y="526"/>
                  </a:lnTo>
                  <a:lnTo>
                    <a:pt x="314" y="528"/>
                  </a:lnTo>
                  <a:lnTo>
                    <a:pt x="314" y="530"/>
                  </a:lnTo>
                  <a:lnTo>
                    <a:pt x="314" y="532"/>
                  </a:lnTo>
                  <a:lnTo>
                    <a:pt x="314" y="532"/>
                  </a:lnTo>
                  <a:lnTo>
                    <a:pt x="314" y="534"/>
                  </a:lnTo>
                  <a:lnTo>
                    <a:pt x="314" y="536"/>
                  </a:lnTo>
                  <a:lnTo>
                    <a:pt x="314" y="536"/>
                  </a:lnTo>
                  <a:lnTo>
                    <a:pt x="314" y="538"/>
                  </a:lnTo>
                  <a:lnTo>
                    <a:pt x="312" y="538"/>
                  </a:lnTo>
                  <a:lnTo>
                    <a:pt x="312" y="538"/>
                  </a:lnTo>
                  <a:lnTo>
                    <a:pt x="310" y="538"/>
                  </a:lnTo>
                  <a:lnTo>
                    <a:pt x="310" y="538"/>
                  </a:lnTo>
                  <a:lnTo>
                    <a:pt x="308" y="538"/>
                  </a:lnTo>
                  <a:lnTo>
                    <a:pt x="304" y="538"/>
                  </a:lnTo>
                  <a:lnTo>
                    <a:pt x="304" y="538"/>
                  </a:lnTo>
                  <a:lnTo>
                    <a:pt x="302" y="538"/>
                  </a:lnTo>
                  <a:lnTo>
                    <a:pt x="302" y="538"/>
                  </a:lnTo>
                  <a:lnTo>
                    <a:pt x="302" y="540"/>
                  </a:lnTo>
                  <a:lnTo>
                    <a:pt x="300" y="540"/>
                  </a:lnTo>
                  <a:lnTo>
                    <a:pt x="300" y="542"/>
                  </a:lnTo>
                  <a:lnTo>
                    <a:pt x="298" y="544"/>
                  </a:lnTo>
                  <a:lnTo>
                    <a:pt x="296" y="546"/>
                  </a:lnTo>
                  <a:lnTo>
                    <a:pt x="296" y="548"/>
                  </a:lnTo>
                  <a:lnTo>
                    <a:pt x="294" y="548"/>
                  </a:lnTo>
                  <a:lnTo>
                    <a:pt x="294" y="550"/>
                  </a:lnTo>
                  <a:lnTo>
                    <a:pt x="294" y="550"/>
                  </a:lnTo>
                  <a:lnTo>
                    <a:pt x="292" y="550"/>
                  </a:lnTo>
                  <a:lnTo>
                    <a:pt x="290" y="550"/>
                  </a:lnTo>
                  <a:lnTo>
                    <a:pt x="288" y="552"/>
                  </a:lnTo>
                  <a:lnTo>
                    <a:pt x="288" y="552"/>
                  </a:lnTo>
                  <a:lnTo>
                    <a:pt x="286" y="552"/>
                  </a:lnTo>
                  <a:lnTo>
                    <a:pt x="286" y="554"/>
                  </a:lnTo>
                  <a:lnTo>
                    <a:pt x="284" y="556"/>
                  </a:lnTo>
                  <a:lnTo>
                    <a:pt x="282" y="560"/>
                  </a:lnTo>
                  <a:lnTo>
                    <a:pt x="280" y="562"/>
                  </a:lnTo>
                  <a:lnTo>
                    <a:pt x="278" y="564"/>
                  </a:lnTo>
                  <a:lnTo>
                    <a:pt x="276" y="566"/>
                  </a:lnTo>
                  <a:lnTo>
                    <a:pt x="274" y="570"/>
                  </a:lnTo>
                  <a:lnTo>
                    <a:pt x="272" y="572"/>
                  </a:lnTo>
                  <a:lnTo>
                    <a:pt x="270" y="574"/>
                  </a:lnTo>
                  <a:lnTo>
                    <a:pt x="268" y="578"/>
                  </a:lnTo>
                  <a:lnTo>
                    <a:pt x="266" y="582"/>
                  </a:lnTo>
                  <a:lnTo>
                    <a:pt x="268" y="586"/>
                  </a:lnTo>
                  <a:lnTo>
                    <a:pt x="270" y="588"/>
                  </a:lnTo>
                  <a:lnTo>
                    <a:pt x="272" y="588"/>
                  </a:lnTo>
                  <a:lnTo>
                    <a:pt x="272" y="590"/>
                  </a:lnTo>
                  <a:lnTo>
                    <a:pt x="274" y="590"/>
                  </a:lnTo>
                  <a:lnTo>
                    <a:pt x="274" y="592"/>
                  </a:lnTo>
                  <a:lnTo>
                    <a:pt x="278" y="592"/>
                  </a:lnTo>
                  <a:lnTo>
                    <a:pt x="282" y="594"/>
                  </a:lnTo>
                  <a:lnTo>
                    <a:pt x="284" y="594"/>
                  </a:lnTo>
                  <a:lnTo>
                    <a:pt x="286" y="596"/>
                  </a:lnTo>
                  <a:lnTo>
                    <a:pt x="290" y="598"/>
                  </a:lnTo>
                  <a:lnTo>
                    <a:pt x="294" y="600"/>
                  </a:lnTo>
                  <a:lnTo>
                    <a:pt x="298" y="604"/>
                  </a:lnTo>
                  <a:lnTo>
                    <a:pt x="302" y="608"/>
                  </a:lnTo>
                  <a:lnTo>
                    <a:pt x="306" y="612"/>
                  </a:lnTo>
                  <a:lnTo>
                    <a:pt x="310" y="616"/>
                  </a:lnTo>
                  <a:lnTo>
                    <a:pt x="314" y="620"/>
                  </a:lnTo>
                  <a:lnTo>
                    <a:pt x="316" y="624"/>
                  </a:lnTo>
                  <a:lnTo>
                    <a:pt x="318" y="626"/>
                  </a:lnTo>
                  <a:lnTo>
                    <a:pt x="320" y="630"/>
                  </a:lnTo>
                  <a:lnTo>
                    <a:pt x="322" y="632"/>
                  </a:lnTo>
                  <a:lnTo>
                    <a:pt x="324" y="634"/>
                  </a:lnTo>
                  <a:lnTo>
                    <a:pt x="324" y="636"/>
                  </a:lnTo>
                  <a:lnTo>
                    <a:pt x="324" y="636"/>
                  </a:lnTo>
                  <a:lnTo>
                    <a:pt x="324" y="638"/>
                  </a:lnTo>
                  <a:lnTo>
                    <a:pt x="324" y="642"/>
                  </a:lnTo>
                  <a:lnTo>
                    <a:pt x="326" y="646"/>
                  </a:lnTo>
                  <a:lnTo>
                    <a:pt x="326" y="646"/>
                  </a:lnTo>
                  <a:lnTo>
                    <a:pt x="330" y="642"/>
                  </a:lnTo>
                  <a:lnTo>
                    <a:pt x="332" y="640"/>
                  </a:lnTo>
                  <a:lnTo>
                    <a:pt x="332" y="638"/>
                  </a:lnTo>
                  <a:lnTo>
                    <a:pt x="334" y="636"/>
                  </a:lnTo>
                  <a:lnTo>
                    <a:pt x="334" y="634"/>
                  </a:lnTo>
                  <a:lnTo>
                    <a:pt x="334" y="634"/>
                  </a:lnTo>
                  <a:lnTo>
                    <a:pt x="336" y="632"/>
                  </a:lnTo>
                  <a:lnTo>
                    <a:pt x="336" y="628"/>
                  </a:lnTo>
                  <a:lnTo>
                    <a:pt x="336" y="626"/>
                  </a:lnTo>
                  <a:lnTo>
                    <a:pt x="334" y="622"/>
                  </a:lnTo>
                  <a:lnTo>
                    <a:pt x="334" y="620"/>
                  </a:lnTo>
                  <a:lnTo>
                    <a:pt x="336" y="618"/>
                  </a:lnTo>
                  <a:lnTo>
                    <a:pt x="336" y="614"/>
                  </a:lnTo>
                  <a:lnTo>
                    <a:pt x="336" y="612"/>
                  </a:lnTo>
                  <a:lnTo>
                    <a:pt x="338" y="608"/>
                  </a:lnTo>
                  <a:lnTo>
                    <a:pt x="338" y="606"/>
                  </a:lnTo>
                  <a:lnTo>
                    <a:pt x="338" y="604"/>
                  </a:lnTo>
                  <a:lnTo>
                    <a:pt x="338" y="604"/>
                  </a:lnTo>
                  <a:lnTo>
                    <a:pt x="338" y="600"/>
                  </a:lnTo>
                  <a:lnTo>
                    <a:pt x="338" y="594"/>
                  </a:lnTo>
                  <a:lnTo>
                    <a:pt x="338" y="592"/>
                  </a:lnTo>
                  <a:lnTo>
                    <a:pt x="338" y="590"/>
                  </a:lnTo>
                  <a:lnTo>
                    <a:pt x="338" y="590"/>
                  </a:lnTo>
                  <a:lnTo>
                    <a:pt x="338" y="588"/>
                  </a:lnTo>
                  <a:lnTo>
                    <a:pt x="338" y="588"/>
                  </a:lnTo>
                  <a:lnTo>
                    <a:pt x="338" y="586"/>
                  </a:lnTo>
                  <a:lnTo>
                    <a:pt x="338" y="586"/>
                  </a:lnTo>
                  <a:lnTo>
                    <a:pt x="340" y="586"/>
                  </a:lnTo>
                  <a:lnTo>
                    <a:pt x="340" y="586"/>
                  </a:lnTo>
                  <a:lnTo>
                    <a:pt x="340" y="586"/>
                  </a:lnTo>
                  <a:lnTo>
                    <a:pt x="342" y="586"/>
                  </a:lnTo>
                  <a:lnTo>
                    <a:pt x="344" y="586"/>
                  </a:lnTo>
                  <a:lnTo>
                    <a:pt x="344" y="586"/>
                  </a:lnTo>
                  <a:lnTo>
                    <a:pt x="346" y="588"/>
                  </a:lnTo>
                  <a:lnTo>
                    <a:pt x="346" y="588"/>
                  </a:lnTo>
                  <a:lnTo>
                    <a:pt x="348" y="590"/>
                  </a:lnTo>
                  <a:lnTo>
                    <a:pt x="348" y="590"/>
                  </a:lnTo>
                  <a:lnTo>
                    <a:pt x="348" y="590"/>
                  </a:lnTo>
                  <a:lnTo>
                    <a:pt x="348" y="592"/>
                  </a:lnTo>
                  <a:lnTo>
                    <a:pt x="348" y="592"/>
                  </a:lnTo>
                  <a:lnTo>
                    <a:pt x="348" y="594"/>
                  </a:lnTo>
                  <a:lnTo>
                    <a:pt x="348" y="596"/>
                  </a:lnTo>
                  <a:lnTo>
                    <a:pt x="348" y="598"/>
                  </a:lnTo>
                  <a:lnTo>
                    <a:pt x="346" y="600"/>
                  </a:lnTo>
                  <a:lnTo>
                    <a:pt x="346" y="602"/>
                  </a:lnTo>
                  <a:lnTo>
                    <a:pt x="346" y="602"/>
                  </a:lnTo>
                  <a:lnTo>
                    <a:pt x="344" y="604"/>
                  </a:lnTo>
                  <a:lnTo>
                    <a:pt x="342" y="606"/>
                  </a:lnTo>
                  <a:lnTo>
                    <a:pt x="342" y="606"/>
                  </a:lnTo>
                  <a:lnTo>
                    <a:pt x="342" y="608"/>
                  </a:lnTo>
                  <a:lnTo>
                    <a:pt x="342" y="608"/>
                  </a:lnTo>
                  <a:lnTo>
                    <a:pt x="342" y="608"/>
                  </a:lnTo>
                  <a:lnTo>
                    <a:pt x="344" y="608"/>
                  </a:lnTo>
                  <a:lnTo>
                    <a:pt x="344" y="610"/>
                  </a:lnTo>
                  <a:lnTo>
                    <a:pt x="344" y="610"/>
                  </a:lnTo>
                  <a:lnTo>
                    <a:pt x="346" y="610"/>
                  </a:lnTo>
                  <a:lnTo>
                    <a:pt x="348" y="608"/>
                  </a:lnTo>
                  <a:lnTo>
                    <a:pt x="350" y="608"/>
                  </a:lnTo>
                  <a:lnTo>
                    <a:pt x="352" y="606"/>
                  </a:lnTo>
                  <a:lnTo>
                    <a:pt x="354" y="606"/>
                  </a:lnTo>
                  <a:lnTo>
                    <a:pt x="354" y="604"/>
                  </a:lnTo>
                  <a:lnTo>
                    <a:pt x="356" y="604"/>
                  </a:lnTo>
                  <a:lnTo>
                    <a:pt x="356" y="602"/>
                  </a:lnTo>
                  <a:lnTo>
                    <a:pt x="356" y="602"/>
                  </a:lnTo>
                  <a:lnTo>
                    <a:pt x="356" y="600"/>
                  </a:lnTo>
                  <a:lnTo>
                    <a:pt x="358" y="598"/>
                  </a:lnTo>
                  <a:lnTo>
                    <a:pt x="358" y="596"/>
                  </a:lnTo>
                  <a:lnTo>
                    <a:pt x="358" y="594"/>
                  </a:lnTo>
                  <a:lnTo>
                    <a:pt x="358" y="594"/>
                  </a:lnTo>
                  <a:lnTo>
                    <a:pt x="358" y="592"/>
                  </a:lnTo>
                  <a:lnTo>
                    <a:pt x="358" y="590"/>
                  </a:lnTo>
                  <a:lnTo>
                    <a:pt x="358" y="590"/>
                  </a:lnTo>
                  <a:lnTo>
                    <a:pt x="360" y="590"/>
                  </a:lnTo>
                  <a:lnTo>
                    <a:pt x="360" y="588"/>
                  </a:lnTo>
                  <a:lnTo>
                    <a:pt x="364" y="588"/>
                  </a:lnTo>
                  <a:lnTo>
                    <a:pt x="364" y="586"/>
                  </a:lnTo>
                  <a:lnTo>
                    <a:pt x="366" y="586"/>
                  </a:lnTo>
                  <a:lnTo>
                    <a:pt x="366" y="586"/>
                  </a:lnTo>
                  <a:lnTo>
                    <a:pt x="368" y="584"/>
                  </a:lnTo>
                  <a:lnTo>
                    <a:pt x="368" y="584"/>
                  </a:lnTo>
                  <a:lnTo>
                    <a:pt x="368" y="582"/>
                  </a:lnTo>
                  <a:lnTo>
                    <a:pt x="368" y="582"/>
                  </a:lnTo>
                  <a:lnTo>
                    <a:pt x="368" y="580"/>
                  </a:lnTo>
                  <a:lnTo>
                    <a:pt x="366" y="576"/>
                  </a:lnTo>
                  <a:lnTo>
                    <a:pt x="366" y="574"/>
                  </a:lnTo>
                  <a:lnTo>
                    <a:pt x="366" y="570"/>
                  </a:lnTo>
                  <a:lnTo>
                    <a:pt x="364" y="568"/>
                  </a:lnTo>
                  <a:lnTo>
                    <a:pt x="364" y="566"/>
                  </a:lnTo>
                  <a:lnTo>
                    <a:pt x="364" y="566"/>
                  </a:lnTo>
                  <a:lnTo>
                    <a:pt x="364" y="564"/>
                  </a:lnTo>
                  <a:lnTo>
                    <a:pt x="366" y="564"/>
                  </a:lnTo>
                  <a:lnTo>
                    <a:pt x="366" y="562"/>
                  </a:lnTo>
                  <a:lnTo>
                    <a:pt x="366" y="562"/>
                  </a:lnTo>
                  <a:lnTo>
                    <a:pt x="368" y="562"/>
                  </a:lnTo>
                  <a:lnTo>
                    <a:pt x="368" y="560"/>
                  </a:lnTo>
                  <a:lnTo>
                    <a:pt x="370" y="560"/>
                  </a:lnTo>
                  <a:lnTo>
                    <a:pt x="374" y="558"/>
                  </a:lnTo>
                  <a:lnTo>
                    <a:pt x="376" y="558"/>
                  </a:lnTo>
                  <a:lnTo>
                    <a:pt x="378" y="556"/>
                  </a:lnTo>
                  <a:lnTo>
                    <a:pt x="378" y="556"/>
                  </a:lnTo>
                  <a:lnTo>
                    <a:pt x="380" y="556"/>
                  </a:lnTo>
                  <a:lnTo>
                    <a:pt x="380" y="554"/>
                  </a:lnTo>
                  <a:lnTo>
                    <a:pt x="380" y="554"/>
                  </a:lnTo>
                  <a:lnTo>
                    <a:pt x="382" y="554"/>
                  </a:lnTo>
                  <a:lnTo>
                    <a:pt x="382" y="552"/>
                  </a:lnTo>
                  <a:lnTo>
                    <a:pt x="384" y="550"/>
                  </a:lnTo>
                  <a:lnTo>
                    <a:pt x="384" y="548"/>
                  </a:lnTo>
                  <a:lnTo>
                    <a:pt x="384" y="544"/>
                  </a:lnTo>
                  <a:lnTo>
                    <a:pt x="384" y="540"/>
                  </a:lnTo>
                  <a:lnTo>
                    <a:pt x="386" y="538"/>
                  </a:lnTo>
                  <a:lnTo>
                    <a:pt x="386" y="530"/>
                  </a:lnTo>
                  <a:lnTo>
                    <a:pt x="386" y="516"/>
                  </a:lnTo>
                  <a:lnTo>
                    <a:pt x="386" y="514"/>
                  </a:lnTo>
                  <a:lnTo>
                    <a:pt x="386" y="510"/>
                  </a:lnTo>
                  <a:lnTo>
                    <a:pt x="386" y="508"/>
                  </a:lnTo>
                  <a:lnTo>
                    <a:pt x="386" y="506"/>
                  </a:lnTo>
                  <a:lnTo>
                    <a:pt x="388" y="502"/>
                  </a:lnTo>
                  <a:lnTo>
                    <a:pt x="388" y="500"/>
                  </a:lnTo>
                  <a:lnTo>
                    <a:pt x="388" y="498"/>
                  </a:lnTo>
                  <a:lnTo>
                    <a:pt x="390" y="496"/>
                  </a:lnTo>
                  <a:lnTo>
                    <a:pt x="390" y="494"/>
                  </a:lnTo>
                  <a:lnTo>
                    <a:pt x="390" y="494"/>
                  </a:lnTo>
                  <a:lnTo>
                    <a:pt x="392" y="494"/>
                  </a:lnTo>
                  <a:lnTo>
                    <a:pt x="392" y="494"/>
                  </a:lnTo>
                  <a:lnTo>
                    <a:pt x="392" y="492"/>
                  </a:lnTo>
                  <a:lnTo>
                    <a:pt x="394" y="492"/>
                  </a:lnTo>
                  <a:lnTo>
                    <a:pt x="396" y="492"/>
                  </a:lnTo>
                  <a:lnTo>
                    <a:pt x="398" y="490"/>
                  </a:lnTo>
                  <a:lnTo>
                    <a:pt x="400" y="490"/>
                  </a:lnTo>
                  <a:lnTo>
                    <a:pt x="402" y="490"/>
                  </a:lnTo>
                  <a:lnTo>
                    <a:pt x="402" y="490"/>
                  </a:lnTo>
                  <a:lnTo>
                    <a:pt x="402" y="488"/>
                  </a:lnTo>
                  <a:lnTo>
                    <a:pt x="404" y="488"/>
                  </a:lnTo>
                  <a:lnTo>
                    <a:pt x="404" y="488"/>
                  </a:lnTo>
                  <a:lnTo>
                    <a:pt x="404" y="484"/>
                  </a:lnTo>
                  <a:lnTo>
                    <a:pt x="406" y="482"/>
                  </a:lnTo>
                  <a:lnTo>
                    <a:pt x="406" y="482"/>
                  </a:lnTo>
                  <a:lnTo>
                    <a:pt x="406" y="480"/>
                  </a:lnTo>
                  <a:lnTo>
                    <a:pt x="408" y="480"/>
                  </a:lnTo>
                  <a:lnTo>
                    <a:pt x="408" y="478"/>
                  </a:lnTo>
                  <a:lnTo>
                    <a:pt x="410" y="478"/>
                  </a:lnTo>
                  <a:lnTo>
                    <a:pt x="414" y="474"/>
                  </a:lnTo>
                  <a:lnTo>
                    <a:pt x="418" y="472"/>
                  </a:lnTo>
                  <a:lnTo>
                    <a:pt x="422" y="468"/>
                  </a:lnTo>
                  <a:lnTo>
                    <a:pt x="426" y="466"/>
                  </a:lnTo>
                  <a:lnTo>
                    <a:pt x="428" y="466"/>
                  </a:lnTo>
                  <a:lnTo>
                    <a:pt x="430" y="464"/>
                  </a:lnTo>
                  <a:lnTo>
                    <a:pt x="432" y="464"/>
                  </a:lnTo>
                  <a:lnTo>
                    <a:pt x="434" y="464"/>
                  </a:lnTo>
                  <a:lnTo>
                    <a:pt x="436" y="462"/>
                  </a:lnTo>
                  <a:lnTo>
                    <a:pt x="442" y="462"/>
                  </a:lnTo>
                  <a:lnTo>
                    <a:pt x="446" y="462"/>
                  </a:lnTo>
                  <a:lnTo>
                    <a:pt x="450" y="462"/>
                  </a:lnTo>
                  <a:lnTo>
                    <a:pt x="454" y="462"/>
                  </a:lnTo>
                  <a:lnTo>
                    <a:pt x="456" y="462"/>
                  </a:lnTo>
                  <a:lnTo>
                    <a:pt x="458" y="462"/>
                  </a:lnTo>
                  <a:lnTo>
                    <a:pt x="458" y="460"/>
                  </a:lnTo>
                  <a:lnTo>
                    <a:pt x="460" y="460"/>
                  </a:lnTo>
                  <a:lnTo>
                    <a:pt x="460" y="460"/>
                  </a:lnTo>
                  <a:lnTo>
                    <a:pt x="460" y="458"/>
                  </a:lnTo>
                  <a:lnTo>
                    <a:pt x="462" y="456"/>
                  </a:lnTo>
                  <a:lnTo>
                    <a:pt x="462" y="454"/>
                  </a:lnTo>
                  <a:lnTo>
                    <a:pt x="464" y="454"/>
                  </a:lnTo>
                  <a:lnTo>
                    <a:pt x="464" y="452"/>
                  </a:lnTo>
                  <a:lnTo>
                    <a:pt x="464" y="452"/>
                  </a:lnTo>
                  <a:lnTo>
                    <a:pt x="466" y="452"/>
                  </a:lnTo>
                  <a:lnTo>
                    <a:pt x="466" y="450"/>
                  </a:lnTo>
                  <a:lnTo>
                    <a:pt x="468" y="450"/>
                  </a:lnTo>
                  <a:lnTo>
                    <a:pt x="470" y="450"/>
                  </a:lnTo>
                  <a:lnTo>
                    <a:pt x="472" y="450"/>
                  </a:lnTo>
                  <a:lnTo>
                    <a:pt x="476" y="452"/>
                  </a:lnTo>
                  <a:lnTo>
                    <a:pt x="480" y="452"/>
                  </a:lnTo>
                  <a:lnTo>
                    <a:pt x="480" y="452"/>
                  </a:lnTo>
                  <a:lnTo>
                    <a:pt x="482" y="452"/>
                  </a:lnTo>
                  <a:lnTo>
                    <a:pt x="484" y="452"/>
                  </a:lnTo>
                  <a:lnTo>
                    <a:pt x="484" y="452"/>
                  </a:lnTo>
                  <a:lnTo>
                    <a:pt x="486" y="452"/>
                  </a:lnTo>
                  <a:lnTo>
                    <a:pt x="486" y="450"/>
                  </a:lnTo>
                  <a:lnTo>
                    <a:pt x="488" y="450"/>
                  </a:lnTo>
                  <a:lnTo>
                    <a:pt x="488" y="448"/>
                  </a:lnTo>
                  <a:lnTo>
                    <a:pt x="488" y="446"/>
                  </a:lnTo>
                  <a:lnTo>
                    <a:pt x="490" y="446"/>
                  </a:lnTo>
                  <a:lnTo>
                    <a:pt x="490" y="444"/>
                  </a:lnTo>
                  <a:lnTo>
                    <a:pt x="490" y="442"/>
                  </a:lnTo>
                  <a:lnTo>
                    <a:pt x="490" y="438"/>
                  </a:lnTo>
                  <a:lnTo>
                    <a:pt x="490" y="434"/>
                  </a:lnTo>
                  <a:lnTo>
                    <a:pt x="490" y="430"/>
                  </a:lnTo>
                  <a:lnTo>
                    <a:pt x="490" y="428"/>
                  </a:lnTo>
                  <a:lnTo>
                    <a:pt x="490" y="426"/>
                  </a:lnTo>
                  <a:lnTo>
                    <a:pt x="490" y="426"/>
                  </a:lnTo>
                  <a:lnTo>
                    <a:pt x="490" y="424"/>
                  </a:lnTo>
                  <a:lnTo>
                    <a:pt x="490" y="422"/>
                  </a:lnTo>
                  <a:lnTo>
                    <a:pt x="492" y="422"/>
                  </a:lnTo>
                  <a:lnTo>
                    <a:pt x="494" y="418"/>
                  </a:lnTo>
                  <a:lnTo>
                    <a:pt x="496" y="414"/>
                  </a:lnTo>
                  <a:lnTo>
                    <a:pt x="498" y="414"/>
                  </a:lnTo>
                  <a:lnTo>
                    <a:pt x="498" y="412"/>
                  </a:lnTo>
                  <a:lnTo>
                    <a:pt x="500" y="408"/>
                  </a:lnTo>
                  <a:lnTo>
                    <a:pt x="502" y="404"/>
                  </a:lnTo>
                  <a:lnTo>
                    <a:pt x="502" y="400"/>
                  </a:lnTo>
                  <a:lnTo>
                    <a:pt x="504" y="396"/>
                  </a:lnTo>
                  <a:lnTo>
                    <a:pt x="504" y="396"/>
                  </a:lnTo>
                  <a:lnTo>
                    <a:pt x="504" y="394"/>
                  </a:lnTo>
                  <a:lnTo>
                    <a:pt x="504" y="390"/>
                  </a:lnTo>
                  <a:lnTo>
                    <a:pt x="504" y="382"/>
                  </a:lnTo>
                  <a:lnTo>
                    <a:pt x="504" y="378"/>
                  </a:lnTo>
                  <a:lnTo>
                    <a:pt x="504" y="374"/>
                  </a:lnTo>
                  <a:lnTo>
                    <a:pt x="504" y="374"/>
                  </a:lnTo>
                  <a:lnTo>
                    <a:pt x="504" y="372"/>
                  </a:lnTo>
                  <a:lnTo>
                    <a:pt x="506" y="370"/>
                  </a:lnTo>
                  <a:lnTo>
                    <a:pt x="506" y="370"/>
                  </a:lnTo>
                  <a:lnTo>
                    <a:pt x="506" y="368"/>
                  </a:lnTo>
                  <a:lnTo>
                    <a:pt x="508" y="368"/>
                  </a:lnTo>
                  <a:lnTo>
                    <a:pt x="510" y="366"/>
                  </a:lnTo>
                  <a:lnTo>
                    <a:pt x="512" y="366"/>
                  </a:lnTo>
                  <a:lnTo>
                    <a:pt x="512" y="366"/>
                  </a:lnTo>
                  <a:lnTo>
                    <a:pt x="514" y="364"/>
                  </a:lnTo>
                  <a:lnTo>
                    <a:pt x="514" y="364"/>
                  </a:lnTo>
                  <a:lnTo>
                    <a:pt x="514" y="362"/>
                  </a:lnTo>
                  <a:lnTo>
                    <a:pt x="516" y="360"/>
                  </a:lnTo>
                  <a:lnTo>
                    <a:pt x="516" y="358"/>
                  </a:lnTo>
                  <a:lnTo>
                    <a:pt x="516" y="356"/>
                  </a:lnTo>
                  <a:lnTo>
                    <a:pt x="516" y="352"/>
                  </a:lnTo>
                  <a:lnTo>
                    <a:pt x="516" y="350"/>
                  </a:lnTo>
                  <a:lnTo>
                    <a:pt x="516" y="348"/>
                  </a:lnTo>
                  <a:lnTo>
                    <a:pt x="516" y="342"/>
                  </a:lnTo>
                  <a:lnTo>
                    <a:pt x="516" y="338"/>
                  </a:lnTo>
                  <a:lnTo>
                    <a:pt x="514" y="326"/>
                  </a:lnTo>
                  <a:lnTo>
                    <a:pt x="514" y="320"/>
                  </a:lnTo>
                  <a:lnTo>
                    <a:pt x="514" y="314"/>
                  </a:lnTo>
                  <a:lnTo>
                    <a:pt x="512" y="310"/>
                  </a:lnTo>
                  <a:lnTo>
                    <a:pt x="512" y="304"/>
                  </a:lnTo>
                  <a:lnTo>
                    <a:pt x="512" y="302"/>
                  </a:lnTo>
                  <a:lnTo>
                    <a:pt x="512" y="300"/>
                  </a:lnTo>
                  <a:lnTo>
                    <a:pt x="514" y="298"/>
                  </a:lnTo>
                  <a:lnTo>
                    <a:pt x="514" y="296"/>
                  </a:lnTo>
                  <a:lnTo>
                    <a:pt x="514" y="292"/>
                  </a:lnTo>
                  <a:lnTo>
                    <a:pt x="514" y="292"/>
                  </a:lnTo>
                  <a:lnTo>
                    <a:pt x="516" y="290"/>
                  </a:lnTo>
                  <a:lnTo>
                    <a:pt x="516" y="288"/>
                  </a:lnTo>
                  <a:lnTo>
                    <a:pt x="516" y="288"/>
                  </a:lnTo>
                  <a:lnTo>
                    <a:pt x="518" y="286"/>
                  </a:lnTo>
                  <a:lnTo>
                    <a:pt x="520" y="286"/>
                  </a:lnTo>
                  <a:lnTo>
                    <a:pt x="522" y="286"/>
                  </a:lnTo>
                  <a:lnTo>
                    <a:pt x="524" y="286"/>
                  </a:lnTo>
                  <a:lnTo>
                    <a:pt x="526" y="286"/>
                  </a:lnTo>
                  <a:lnTo>
                    <a:pt x="528" y="284"/>
                  </a:lnTo>
                  <a:lnTo>
                    <a:pt x="528" y="284"/>
                  </a:lnTo>
                  <a:lnTo>
                    <a:pt x="530" y="284"/>
                  </a:lnTo>
                  <a:lnTo>
                    <a:pt x="530" y="282"/>
                  </a:lnTo>
                  <a:lnTo>
                    <a:pt x="530" y="282"/>
                  </a:lnTo>
                  <a:lnTo>
                    <a:pt x="530" y="282"/>
                  </a:lnTo>
                  <a:lnTo>
                    <a:pt x="530" y="280"/>
                  </a:lnTo>
                  <a:lnTo>
                    <a:pt x="530" y="278"/>
                  </a:lnTo>
                  <a:lnTo>
                    <a:pt x="530" y="276"/>
                  </a:lnTo>
                  <a:lnTo>
                    <a:pt x="530" y="274"/>
                  </a:lnTo>
                  <a:lnTo>
                    <a:pt x="530" y="272"/>
                  </a:lnTo>
                  <a:lnTo>
                    <a:pt x="530" y="270"/>
                  </a:lnTo>
                  <a:lnTo>
                    <a:pt x="530" y="270"/>
                  </a:lnTo>
                  <a:lnTo>
                    <a:pt x="532" y="268"/>
                  </a:lnTo>
                  <a:lnTo>
                    <a:pt x="532" y="268"/>
                  </a:lnTo>
                  <a:lnTo>
                    <a:pt x="532" y="268"/>
                  </a:lnTo>
                  <a:lnTo>
                    <a:pt x="534" y="266"/>
                  </a:lnTo>
                  <a:lnTo>
                    <a:pt x="536" y="264"/>
                  </a:lnTo>
                  <a:lnTo>
                    <a:pt x="536" y="264"/>
                  </a:lnTo>
                  <a:lnTo>
                    <a:pt x="536" y="264"/>
                  </a:lnTo>
                  <a:lnTo>
                    <a:pt x="536" y="264"/>
                  </a:lnTo>
                  <a:lnTo>
                    <a:pt x="538" y="262"/>
                  </a:lnTo>
                  <a:lnTo>
                    <a:pt x="538" y="260"/>
                  </a:lnTo>
                  <a:lnTo>
                    <a:pt x="538" y="258"/>
                  </a:lnTo>
                  <a:lnTo>
                    <a:pt x="538" y="256"/>
                  </a:lnTo>
                  <a:lnTo>
                    <a:pt x="538" y="254"/>
                  </a:lnTo>
                  <a:lnTo>
                    <a:pt x="540" y="252"/>
                  </a:lnTo>
                  <a:lnTo>
                    <a:pt x="540" y="250"/>
                  </a:lnTo>
                  <a:lnTo>
                    <a:pt x="540" y="250"/>
                  </a:lnTo>
                  <a:lnTo>
                    <a:pt x="540" y="250"/>
                  </a:lnTo>
                  <a:lnTo>
                    <a:pt x="542" y="248"/>
                  </a:lnTo>
                  <a:lnTo>
                    <a:pt x="542" y="248"/>
                  </a:lnTo>
                  <a:lnTo>
                    <a:pt x="544" y="248"/>
                  </a:lnTo>
                  <a:lnTo>
                    <a:pt x="546" y="248"/>
                  </a:lnTo>
                  <a:lnTo>
                    <a:pt x="548" y="248"/>
                  </a:lnTo>
                  <a:lnTo>
                    <a:pt x="548" y="246"/>
                  </a:lnTo>
                  <a:lnTo>
                    <a:pt x="548" y="246"/>
                  </a:lnTo>
                  <a:lnTo>
                    <a:pt x="548" y="246"/>
                  </a:lnTo>
                  <a:lnTo>
                    <a:pt x="550" y="244"/>
                  </a:lnTo>
                  <a:lnTo>
                    <a:pt x="550" y="242"/>
                  </a:lnTo>
                  <a:lnTo>
                    <a:pt x="550" y="240"/>
                  </a:lnTo>
                  <a:lnTo>
                    <a:pt x="550" y="238"/>
                  </a:lnTo>
                  <a:lnTo>
                    <a:pt x="550" y="236"/>
                  </a:lnTo>
                  <a:lnTo>
                    <a:pt x="550" y="234"/>
                  </a:lnTo>
                  <a:lnTo>
                    <a:pt x="552" y="234"/>
                  </a:lnTo>
                  <a:lnTo>
                    <a:pt x="552" y="232"/>
                  </a:lnTo>
                  <a:lnTo>
                    <a:pt x="552" y="232"/>
                  </a:lnTo>
                  <a:lnTo>
                    <a:pt x="552" y="232"/>
                  </a:lnTo>
                  <a:lnTo>
                    <a:pt x="554" y="232"/>
                  </a:lnTo>
                  <a:lnTo>
                    <a:pt x="556" y="230"/>
                  </a:lnTo>
                  <a:lnTo>
                    <a:pt x="558" y="230"/>
                  </a:lnTo>
                  <a:lnTo>
                    <a:pt x="558" y="230"/>
                  </a:lnTo>
                  <a:lnTo>
                    <a:pt x="560" y="230"/>
                  </a:lnTo>
                  <a:lnTo>
                    <a:pt x="562" y="230"/>
                  </a:lnTo>
                  <a:lnTo>
                    <a:pt x="562" y="230"/>
                  </a:lnTo>
                  <a:lnTo>
                    <a:pt x="562" y="228"/>
                  </a:lnTo>
                  <a:lnTo>
                    <a:pt x="562" y="228"/>
                  </a:lnTo>
                  <a:lnTo>
                    <a:pt x="562" y="228"/>
                  </a:lnTo>
                  <a:lnTo>
                    <a:pt x="564" y="226"/>
                  </a:lnTo>
                  <a:lnTo>
                    <a:pt x="562" y="224"/>
                  </a:lnTo>
                  <a:lnTo>
                    <a:pt x="562" y="222"/>
                  </a:lnTo>
                  <a:lnTo>
                    <a:pt x="562" y="220"/>
                  </a:lnTo>
                  <a:lnTo>
                    <a:pt x="562" y="218"/>
                  </a:lnTo>
                  <a:lnTo>
                    <a:pt x="562" y="218"/>
                  </a:lnTo>
                  <a:lnTo>
                    <a:pt x="562" y="216"/>
                  </a:lnTo>
                  <a:lnTo>
                    <a:pt x="564" y="216"/>
                  </a:lnTo>
                  <a:lnTo>
                    <a:pt x="564" y="216"/>
                  </a:lnTo>
                  <a:lnTo>
                    <a:pt x="564" y="216"/>
                  </a:lnTo>
                  <a:lnTo>
                    <a:pt x="566" y="216"/>
                  </a:lnTo>
                  <a:lnTo>
                    <a:pt x="568" y="216"/>
                  </a:lnTo>
                  <a:lnTo>
                    <a:pt x="568" y="216"/>
                  </a:lnTo>
                  <a:lnTo>
                    <a:pt x="570" y="214"/>
                  </a:lnTo>
                  <a:lnTo>
                    <a:pt x="570" y="214"/>
                  </a:lnTo>
                  <a:lnTo>
                    <a:pt x="570" y="214"/>
                  </a:lnTo>
                  <a:lnTo>
                    <a:pt x="570" y="212"/>
                  </a:lnTo>
                  <a:lnTo>
                    <a:pt x="570" y="212"/>
                  </a:lnTo>
                  <a:lnTo>
                    <a:pt x="570" y="210"/>
                  </a:lnTo>
                  <a:lnTo>
                    <a:pt x="568" y="208"/>
                  </a:lnTo>
                  <a:lnTo>
                    <a:pt x="568" y="206"/>
                  </a:lnTo>
                  <a:lnTo>
                    <a:pt x="568" y="204"/>
                  </a:lnTo>
                  <a:lnTo>
                    <a:pt x="568" y="204"/>
                  </a:lnTo>
                  <a:lnTo>
                    <a:pt x="568" y="202"/>
                  </a:lnTo>
                  <a:lnTo>
                    <a:pt x="568" y="202"/>
                  </a:lnTo>
                  <a:lnTo>
                    <a:pt x="568" y="202"/>
                  </a:lnTo>
                  <a:lnTo>
                    <a:pt x="568" y="200"/>
                  </a:lnTo>
                  <a:lnTo>
                    <a:pt x="570" y="200"/>
                  </a:lnTo>
                  <a:lnTo>
                    <a:pt x="570" y="200"/>
                  </a:lnTo>
                  <a:lnTo>
                    <a:pt x="572" y="200"/>
                  </a:lnTo>
                  <a:lnTo>
                    <a:pt x="574" y="200"/>
                  </a:lnTo>
                  <a:lnTo>
                    <a:pt x="574" y="200"/>
                  </a:lnTo>
                  <a:lnTo>
                    <a:pt x="576" y="200"/>
                  </a:lnTo>
                  <a:lnTo>
                    <a:pt x="576" y="198"/>
                  </a:lnTo>
                  <a:lnTo>
                    <a:pt x="576" y="198"/>
                  </a:lnTo>
                  <a:lnTo>
                    <a:pt x="578" y="196"/>
                  </a:lnTo>
                  <a:lnTo>
                    <a:pt x="578" y="194"/>
                  </a:lnTo>
                  <a:lnTo>
                    <a:pt x="578" y="192"/>
                  </a:lnTo>
                  <a:lnTo>
                    <a:pt x="578" y="190"/>
                  </a:lnTo>
                  <a:lnTo>
                    <a:pt x="578" y="188"/>
                  </a:lnTo>
                  <a:lnTo>
                    <a:pt x="578" y="188"/>
                  </a:lnTo>
                  <a:lnTo>
                    <a:pt x="576" y="188"/>
                  </a:lnTo>
                  <a:lnTo>
                    <a:pt x="576" y="186"/>
                  </a:lnTo>
                  <a:lnTo>
                    <a:pt x="576" y="186"/>
                  </a:lnTo>
                  <a:lnTo>
                    <a:pt x="576" y="186"/>
                  </a:lnTo>
                  <a:lnTo>
                    <a:pt x="574" y="186"/>
                  </a:lnTo>
                  <a:lnTo>
                    <a:pt x="572" y="186"/>
                  </a:lnTo>
                  <a:lnTo>
                    <a:pt x="570" y="186"/>
                  </a:lnTo>
                  <a:lnTo>
                    <a:pt x="570" y="186"/>
                  </a:lnTo>
                  <a:lnTo>
                    <a:pt x="568" y="186"/>
                  </a:lnTo>
                  <a:lnTo>
                    <a:pt x="568" y="186"/>
                  </a:lnTo>
                  <a:lnTo>
                    <a:pt x="568" y="186"/>
                  </a:lnTo>
                  <a:lnTo>
                    <a:pt x="566" y="186"/>
                  </a:lnTo>
                  <a:lnTo>
                    <a:pt x="566" y="184"/>
                  </a:lnTo>
                  <a:lnTo>
                    <a:pt x="566" y="182"/>
                  </a:lnTo>
                  <a:lnTo>
                    <a:pt x="566" y="180"/>
                  </a:lnTo>
                  <a:lnTo>
                    <a:pt x="566" y="178"/>
                  </a:lnTo>
                  <a:lnTo>
                    <a:pt x="566" y="178"/>
                  </a:lnTo>
                  <a:lnTo>
                    <a:pt x="566" y="172"/>
                  </a:lnTo>
                  <a:lnTo>
                    <a:pt x="566" y="168"/>
                  </a:lnTo>
                  <a:lnTo>
                    <a:pt x="566" y="164"/>
                  </a:lnTo>
                  <a:lnTo>
                    <a:pt x="566" y="162"/>
                  </a:lnTo>
                  <a:lnTo>
                    <a:pt x="566" y="162"/>
                  </a:lnTo>
                  <a:lnTo>
                    <a:pt x="566" y="160"/>
                  </a:lnTo>
                  <a:lnTo>
                    <a:pt x="564" y="158"/>
                  </a:lnTo>
                  <a:lnTo>
                    <a:pt x="564" y="158"/>
                  </a:lnTo>
                  <a:lnTo>
                    <a:pt x="564" y="156"/>
                  </a:lnTo>
                  <a:lnTo>
                    <a:pt x="562" y="154"/>
                  </a:lnTo>
                  <a:lnTo>
                    <a:pt x="560" y="154"/>
                  </a:lnTo>
                  <a:lnTo>
                    <a:pt x="558" y="152"/>
                  </a:lnTo>
                  <a:lnTo>
                    <a:pt x="556" y="152"/>
                  </a:lnTo>
                  <a:lnTo>
                    <a:pt x="556" y="152"/>
                  </a:lnTo>
                  <a:lnTo>
                    <a:pt x="552" y="152"/>
                  </a:lnTo>
                  <a:lnTo>
                    <a:pt x="550" y="150"/>
                  </a:lnTo>
                  <a:lnTo>
                    <a:pt x="548" y="150"/>
                  </a:lnTo>
                  <a:lnTo>
                    <a:pt x="548" y="150"/>
                  </a:lnTo>
                  <a:lnTo>
                    <a:pt x="546" y="150"/>
                  </a:lnTo>
                  <a:lnTo>
                    <a:pt x="544" y="150"/>
                  </a:lnTo>
                  <a:lnTo>
                    <a:pt x="542" y="148"/>
                  </a:lnTo>
                  <a:lnTo>
                    <a:pt x="540" y="146"/>
                  </a:lnTo>
                  <a:lnTo>
                    <a:pt x="538" y="144"/>
                  </a:lnTo>
                  <a:lnTo>
                    <a:pt x="538" y="142"/>
                  </a:lnTo>
                  <a:lnTo>
                    <a:pt x="536" y="140"/>
                  </a:lnTo>
                  <a:lnTo>
                    <a:pt x="534" y="138"/>
                  </a:lnTo>
                  <a:lnTo>
                    <a:pt x="534" y="136"/>
                  </a:lnTo>
                  <a:lnTo>
                    <a:pt x="534" y="134"/>
                  </a:lnTo>
                  <a:lnTo>
                    <a:pt x="532" y="132"/>
                  </a:lnTo>
                  <a:lnTo>
                    <a:pt x="532" y="132"/>
                  </a:lnTo>
                  <a:lnTo>
                    <a:pt x="532" y="132"/>
                  </a:lnTo>
                  <a:lnTo>
                    <a:pt x="530" y="132"/>
                  </a:lnTo>
                  <a:lnTo>
                    <a:pt x="530" y="132"/>
                  </a:lnTo>
                  <a:lnTo>
                    <a:pt x="528" y="132"/>
                  </a:lnTo>
                  <a:lnTo>
                    <a:pt x="526" y="132"/>
                  </a:lnTo>
                  <a:lnTo>
                    <a:pt x="524" y="132"/>
                  </a:lnTo>
                  <a:lnTo>
                    <a:pt x="522" y="132"/>
                  </a:lnTo>
                  <a:lnTo>
                    <a:pt x="520" y="132"/>
                  </a:lnTo>
                  <a:lnTo>
                    <a:pt x="520" y="132"/>
                  </a:lnTo>
                  <a:lnTo>
                    <a:pt x="518" y="132"/>
                  </a:lnTo>
                  <a:lnTo>
                    <a:pt x="518" y="132"/>
                  </a:lnTo>
                  <a:lnTo>
                    <a:pt x="518" y="132"/>
                  </a:lnTo>
                  <a:lnTo>
                    <a:pt x="518" y="132"/>
                  </a:lnTo>
                  <a:lnTo>
                    <a:pt x="516" y="130"/>
                  </a:lnTo>
                  <a:lnTo>
                    <a:pt x="516" y="130"/>
                  </a:lnTo>
                  <a:lnTo>
                    <a:pt x="516" y="128"/>
                  </a:lnTo>
                  <a:lnTo>
                    <a:pt x="516" y="126"/>
                  </a:lnTo>
                  <a:lnTo>
                    <a:pt x="516" y="122"/>
                  </a:lnTo>
                  <a:lnTo>
                    <a:pt x="516" y="122"/>
                  </a:lnTo>
                  <a:lnTo>
                    <a:pt x="514" y="120"/>
                  </a:lnTo>
                  <a:lnTo>
                    <a:pt x="514" y="120"/>
                  </a:lnTo>
                  <a:lnTo>
                    <a:pt x="514" y="120"/>
                  </a:lnTo>
                  <a:lnTo>
                    <a:pt x="512" y="118"/>
                  </a:lnTo>
                  <a:lnTo>
                    <a:pt x="512" y="118"/>
                  </a:lnTo>
                  <a:lnTo>
                    <a:pt x="510" y="118"/>
                  </a:lnTo>
                  <a:lnTo>
                    <a:pt x="508" y="116"/>
                  </a:lnTo>
                  <a:lnTo>
                    <a:pt x="506" y="116"/>
                  </a:lnTo>
                  <a:lnTo>
                    <a:pt x="504" y="116"/>
                  </a:lnTo>
                  <a:lnTo>
                    <a:pt x="502" y="116"/>
                  </a:lnTo>
                  <a:lnTo>
                    <a:pt x="498" y="116"/>
                  </a:lnTo>
                  <a:lnTo>
                    <a:pt x="494" y="116"/>
                  </a:lnTo>
                  <a:lnTo>
                    <a:pt x="492" y="116"/>
                  </a:lnTo>
                  <a:lnTo>
                    <a:pt x="490" y="116"/>
                  </a:lnTo>
                  <a:lnTo>
                    <a:pt x="488" y="116"/>
                  </a:lnTo>
                  <a:lnTo>
                    <a:pt x="484" y="114"/>
                  </a:lnTo>
                  <a:lnTo>
                    <a:pt x="482" y="114"/>
                  </a:lnTo>
                  <a:lnTo>
                    <a:pt x="480" y="114"/>
                  </a:lnTo>
                  <a:lnTo>
                    <a:pt x="478" y="114"/>
                  </a:lnTo>
                  <a:lnTo>
                    <a:pt x="476" y="112"/>
                  </a:lnTo>
                  <a:lnTo>
                    <a:pt x="476" y="112"/>
                  </a:lnTo>
                  <a:lnTo>
                    <a:pt x="474" y="112"/>
                  </a:lnTo>
                  <a:lnTo>
                    <a:pt x="472" y="110"/>
                  </a:lnTo>
                  <a:lnTo>
                    <a:pt x="472" y="108"/>
                  </a:lnTo>
                  <a:lnTo>
                    <a:pt x="470" y="106"/>
                  </a:lnTo>
                  <a:lnTo>
                    <a:pt x="470" y="106"/>
                  </a:lnTo>
                  <a:lnTo>
                    <a:pt x="470" y="106"/>
                  </a:lnTo>
                  <a:lnTo>
                    <a:pt x="470" y="106"/>
                  </a:lnTo>
                  <a:lnTo>
                    <a:pt x="468" y="106"/>
                  </a:lnTo>
                  <a:lnTo>
                    <a:pt x="468" y="106"/>
                  </a:lnTo>
                  <a:lnTo>
                    <a:pt x="466" y="106"/>
                  </a:lnTo>
                  <a:lnTo>
                    <a:pt x="466" y="108"/>
                  </a:lnTo>
                  <a:lnTo>
                    <a:pt x="464" y="108"/>
                  </a:lnTo>
                  <a:lnTo>
                    <a:pt x="462" y="110"/>
                  </a:lnTo>
                  <a:lnTo>
                    <a:pt x="460" y="110"/>
                  </a:lnTo>
                  <a:lnTo>
                    <a:pt x="460" y="112"/>
                  </a:lnTo>
                  <a:lnTo>
                    <a:pt x="458" y="112"/>
                  </a:lnTo>
                  <a:lnTo>
                    <a:pt x="456" y="112"/>
                  </a:lnTo>
                  <a:lnTo>
                    <a:pt x="454" y="112"/>
                  </a:lnTo>
                  <a:lnTo>
                    <a:pt x="452" y="112"/>
                  </a:lnTo>
                  <a:lnTo>
                    <a:pt x="452" y="112"/>
                  </a:lnTo>
                  <a:lnTo>
                    <a:pt x="450" y="112"/>
                  </a:lnTo>
                  <a:lnTo>
                    <a:pt x="448" y="110"/>
                  </a:lnTo>
                  <a:lnTo>
                    <a:pt x="446" y="110"/>
                  </a:lnTo>
                  <a:lnTo>
                    <a:pt x="444" y="110"/>
                  </a:lnTo>
                  <a:lnTo>
                    <a:pt x="442" y="106"/>
                  </a:lnTo>
                  <a:lnTo>
                    <a:pt x="438" y="104"/>
                  </a:lnTo>
                  <a:lnTo>
                    <a:pt x="438" y="104"/>
                  </a:lnTo>
                  <a:lnTo>
                    <a:pt x="436" y="102"/>
                  </a:lnTo>
                  <a:lnTo>
                    <a:pt x="434" y="98"/>
                  </a:lnTo>
                  <a:lnTo>
                    <a:pt x="432" y="96"/>
                  </a:lnTo>
                  <a:lnTo>
                    <a:pt x="432" y="94"/>
                  </a:lnTo>
                  <a:lnTo>
                    <a:pt x="430" y="92"/>
                  </a:lnTo>
                  <a:lnTo>
                    <a:pt x="430" y="92"/>
                  </a:lnTo>
                  <a:lnTo>
                    <a:pt x="428" y="90"/>
                  </a:lnTo>
                  <a:lnTo>
                    <a:pt x="424" y="88"/>
                  </a:lnTo>
                  <a:lnTo>
                    <a:pt x="420" y="88"/>
                  </a:lnTo>
                  <a:lnTo>
                    <a:pt x="418" y="86"/>
                  </a:lnTo>
                  <a:lnTo>
                    <a:pt x="414" y="86"/>
                  </a:lnTo>
                  <a:lnTo>
                    <a:pt x="412" y="84"/>
                  </a:lnTo>
                  <a:lnTo>
                    <a:pt x="408" y="84"/>
                  </a:lnTo>
                  <a:lnTo>
                    <a:pt x="404" y="84"/>
                  </a:lnTo>
                  <a:lnTo>
                    <a:pt x="402" y="84"/>
                  </a:lnTo>
                  <a:lnTo>
                    <a:pt x="396" y="84"/>
                  </a:lnTo>
                  <a:lnTo>
                    <a:pt x="392" y="84"/>
                  </a:lnTo>
                  <a:lnTo>
                    <a:pt x="388" y="86"/>
                  </a:lnTo>
                  <a:lnTo>
                    <a:pt x="386" y="86"/>
                  </a:lnTo>
                  <a:lnTo>
                    <a:pt x="382" y="86"/>
                  </a:lnTo>
                  <a:lnTo>
                    <a:pt x="382" y="88"/>
                  </a:lnTo>
                  <a:lnTo>
                    <a:pt x="380" y="88"/>
                  </a:lnTo>
                  <a:lnTo>
                    <a:pt x="378" y="88"/>
                  </a:lnTo>
                  <a:lnTo>
                    <a:pt x="378" y="88"/>
                  </a:lnTo>
                  <a:lnTo>
                    <a:pt x="378" y="90"/>
                  </a:lnTo>
                  <a:lnTo>
                    <a:pt x="376" y="90"/>
                  </a:lnTo>
                  <a:lnTo>
                    <a:pt x="376" y="92"/>
                  </a:lnTo>
                  <a:lnTo>
                    <a:pt x="376" y="94"/>
                  </a:lnTo>
                  <a:lnTo>
                    <a:pt x="376" y="96"/>
                  </a:lnTo>
                  <a:lnTo>
                    <a:pt x="374" y="96"/>
                  </a:lnTo>
                  <a:lnTo>
                    <a:pt x="374" y="98"/>
                  </a:lnTo>
                  <a:lnTo>
                    <a:pt x="372" y="100"/>
                  </a:lnTo>
                  <a:lnTo>
                    <a:pt x="370" y="100"/>
                  </a:lnTo>
                  <a:lnTo>
                    <a:pt x="368" y="102"/>
                  </a:lnTo>
                  <a:lnTo>
                    <a:pt x="366" y="104"/>
                  </a:lnTo>
                  <a:lnTo>
                    <a:pt x="364" y="104"/>
                  </a:lnTo>
                  <a:lnTo>
                    <a:pt x="364" y="104"/>
                  </a:lnTo>
                  <a:lnTo>
                    <a:pt x="362" y="104"/>
                  </a:lnTo>
                  <a:lnTo>
                    <a:pt x="362" y="104"/>
                  </a:lnTo>
                  <a:lnTo>
                    <a:pt x="362" y="104"/>
                  </a:lnTo>
                  <a:lnTo>
                    <a:pt x="360" y="104"/>
                  </a:lnTo>
                  <a:lnTo>
                    <a:pt x="360" y="102"/>
                  </a:lnTo>
                  <a:lnTo>
                    <a:pt x="360" y="102"/>
                  </a:lnTo>
                  <a:lnTo>
                    <a:pt x="360" y="102"/>
                  </a:lnTo>
                  <a:lnTo>
                    <a:pt x="360" y="102"/>
                  </a:lnTo>
                  <a:lnTo>
                    <a:pt x="362" y="100"/>
                  </a:lnTo>
                  <a:lnTo>
                    <a:pt x="362" y="98"/>
                  </a:lnTo>
                  <a:lnTo>
                    <a:pt x="364" y="96"/>
                  </a:lnTo>
                  <a:lnTo>
                    <a:pt x="366" y="94"/>
                  </a:lnTo>
                  <a:lnTo>
                    <a:pt x="366" y="92"/>
                  </a:lnTo>
                  <a:lnTo>
                    <a:pt x="368" y="92"/>
                  </a:lnTo>
                  <a:lnTo>
                    <a:pt x="368" y="90"/>
                  </a:lnTo>
                  <a:lnTo>
                    <a:pt x="370" y="86"/>
                  </a:lnTo>
                  <a:lnTo>
                    <a:pt x="372" y="86"/>
                  </a:lnTo>
                  <a:lnTo>
                    <a:pt x="374" y="84"/>
                  </a:lnTo>
                  <a:lnTo>
                    <a:pt x="374" y="82"/>
                  </a:lnTo>
                  <a:lnTo>
                    <a:pt x="374" y="82"/>
                  </a:lnTo>
                  <a:lnTo>
                    <a:pt x="374" y="82"/>
                  </a:lnTo>
                  <a:lnTo>
                    <a:pt x="374" y="80"/>
                  </a:lnTo>
                  <a:lnTo>
                    <a:pt x="374" y="80"/>
                  </a:lnTo>
                  <a:lnTo>
                    <a:pt x="372" y="78"/>
                  </a:lnTo>
                  <a:lnTo>
                    <a:pt x="372" y="78"/>
                  </a:lnTo>
                  <a:lnTo>
                    <a:pt x="370" y="78"/>
                  </a:lnTo>
                  <a:lnTo>
                    <a:pt x="368" y="76"/>
                  </a:lnTo>
                  <a:lnTo>
                    <a:pt x="368" y="76"/>
                  </a:lnTo>
                  <a:lnTo>
                    <a:pt x="366" y="76"/>
                  </a:lnTo>
                  <a:lnTo>
                    <a:pt x="364" y="74"/>
                  </a:lnTo>
                  <a:lnTo>
                    <a:pt x="362" y="74"/>
                  </a:lnTo>
                  <a:lnTo>
                    <a:pt x="360" y="74"/>
                  </a:lnTo>
                  <a:lnTo>
                    <a:pt x="356" y="74"/>
                  </a:lnTo>
                  <a:lnTo>
                    <a:pt x="356" y="74"/>
                  </a:lnTo>
                  <a:lnTo>
                    <a:pt x="354" y="76"/>
                  </a:lnTo>
                  <a:lnTo>
                    <a:pt x="354" y="76"/>
                  </a:lnTo>
                  <a:lnTo>
                    <a:pt x="352" y="76"/>
                  </a:lnTo>
                  <a:lnTo>
                    <a:pt x="350" y="78"/>
                  </a:lnTo>
                  <a:lnTo>
                    <a:pt x="348" y="80"/>
                  </a:lnTo>
                  <a:lnTo>
                    <a:pt x="346" y="82"/>
                  </a:lnTo>
                  <a:lnTo>
                    <a:pt x="344" y="84"/>
                  </a:lnTo>
                  <a:lnTo>
                    <a:pt x="340" y="88"/>
                  </a:lnTo>
                  <a:lnTo>
                    <a:pt x="336" y="92"/>
                  </a:lnTo>
                  <a:lnTo>
                    <a:pt x="336" y="94"/>
                  </a:lnTo>
                  <a:lnTo>
                    <a:pt x="334" y="96"/>
                  </a:lnTo>
                  <a:lnTo>
                    <a:pt x="332" y="98"/>
                  </a:lnTo>
                  <a:lnTo>
                    <a:pt x="330" y="100"/>
                  </a:lnTo>
                  <a:lnTo>
                    <a:pt x="330" y="100"/>
                  </a:lnTo>
                  <a:lnTo>
                    <a:pt x="328" y="102"/>
                  </a:lnTo>
                  <a:lnTo>
                    <a:pt x="326" y="104"/>
                  </a:lnTo>
                  <a:lnTo>
                    <a:pt x="326" y="104"/>
                  </a:lnTo>
                  <a:lnTo>
                    <a:pt x="324" y="106"/>
                  </a:lnTo>
                  <a:lnTo>
                    <a:pt x="322" y="106"/>
                  </a:lnTo>
                  <a:lnTo>
                    <a:pt x="322" y="106"/>
                  </a:lnTo>
                  <a:lnTo>
                    <a:pt x="322" y="106"/>
                  </a:lnTo>
                  <a:lnTo>
                    <a:pt x="320" y="106"/>
                  </a:lnTo>
                  <a:lnTo>
                    <a:pt x="320" y="106"/>
                  </a:lnTo>
                  <a:lnTo>
                    <a:pt x="320" y="104"/>
                  </a:lnTo>
                  <a:lnTo>
                    <a:pt x="320" y="104"/>
                  </a:lnTo>
                  <a:lnTo>
                    <a:pt x="320" y="104"/>
                  </a:lnTo>
                  <a:lnTo>
                    <a:pt x="320" y="104"/>
                  </a:lnTo>
                  <a:lnTo>
                    <a:pt x="320" y="102"/>
                  </a:lnTo>
                  <a:lnTo>
                    <a:pt x="320" y="100"/>
                  </a:lnTo>
                  <a:lnTo>
                    <a:pt x="320" y="98"/>
                  </a:lnTo>
                  <a:lnTo>
                    <a:pt x="322" y="98"/>
                  </a:lnTo>
                  <a:lnTo>
                    <a:pt x="322" y="96"/>
                  </a:lnTo>
                  <a:lnTo>
                    <a:pt x="324" y="94"/>
                  </a:lnTo>
                  <a:lnTo>
                    <a:pt x="326" y="90"/>
                  </a:lnTo>
                  <a:lnTo>
                    <a:pt x="330" y="88"/>
                  </a:lnTo>
                  <a:lnTo>
                    <a:pt x="332" y="84"/>
                  </a:lnTo>
                  <a:lnTo>
                    <a:pt x="334" y="82"/>
                  </a:lnTo>
                  <a:lnTo>
                    <a:pt x="336" y="80"/>
                  </a:lnTo>
                  <a:lnTo>
                    <a:pt x="338" y="76"/>
                  </a:lnTo>
                  <a:lnTo>
                    <a:pt x="340" y="74"/>
                  </a:lnTo>
                  <a:lnTo>
                    <a:pt x="342" y="72"/>
                  </a:lnTo>
                  <a:lnTo>
                    <a:pt x="344" y="68"/>
                  </a:lnTo>
                  <a:lnTo>
                    <a:pt x="346" y="64"/>
                  </a:lnTo>
                  <a:lnTo>
                    <a:pt x="346" y="60"/>
                  </a:lnTo>
                  <a:lnTo>
                    <a:pt x="348" y="58"/>
                  </a:lnTo>
                  <a:lnTo>
                    <a:pt x="350" y="56"/>
                  </a:lnTo>
                  <a:lnTo>
                    <a:pt x="350" y="54"/>
                  </a:lnTo>
                  <a:lnTo>
                    <a:pt x="352" y="52"/>
                  </a:lnTo>
                  <a:lnTo>
                    <a:pt x="352" y="50"/>
                  </a:lnTo>
                  <a:lnTo>
                    <a:pt x="352" y="50"/>
                  </a:lnTo>
                  <a:lnTo>
                    <a:pt x="352" y="48"/>
                  </a:lnTo>
                  <a:lnTo>
                    <a:pt x="352" y="48"/>
                  </a:lnTo>
                  <a:lnTo>
                    <a:pt x="352" y="46"/>
                  </a:lnTo>
                  <a:lnTo>
                    <a:pt x="352" y="44"/>
                  </a:lnTo>
                  <a:lnTo>
                    <a:pt x="350" y="40"/>
                  </a:lnTo>
                  <a:lnTo>
                    <a:pt x="348" y="36"/>
                  </a:lnTo>
                  <a:lnTo>
                    <a:pt x="346" y="32"/>
                  </a:lnTo>
                  <a:lnTo>
                    <a:pt x="344" y="30"/>
                  </a:lnTo>
                  <a:lnTo>
                    <a:pt x="342" y="26"/>
                  </a:lnTo>
                  <a:lnTo>
                    <a:pt x="340" y="24"/>
                  </a:lnTo>
                  <a:lnTo>
                    <a:pt x="340" y="22"/>
                  </a:lnTo>
                  <a:lnTo>
                    <a:pt x="338" y="22"/>
                  </a:lnTo>
                  <a:lnTo>
                    <a:pt x="336" y="20"/>
                  </a:lnTo>
                  <a:lnTo>
                    <a:pt x="332" y="16"/>
                  </a:lnTo>
                  <a:lnTo>
                    <a:pt x="332" y="16"/>
                  </a:lnTo>
                  <a:lnTo>
                    <a:pt x="328" y="16"/>
                  </a:lnTo>
                  <a:lnTo>
                    <a:pt x="326" y="14"/>
                  </a:lnTo>
                  <a:lnTo>
                    <a:pt x="324" y="14"/>
                  </a:lnTo>
                  <a:lnTo>
                    <a:pt x="322" y="14"/>
                  </a:lnTo>
                  <a:lnTo>
                    <a:pt x="322" y="16"/>
                  </a:lnTo>
                  <a:lnTo>
                    <a:pt x="320" y="16"/>
                  </a:lnTo>
                  <a:lnTo>
                    <a:pt x="320" y="16"/>
                  </a:lnTo>
                  <a:lnTo>
                    <a:pt x="318" y="18"/>
                  </a:lnTo>
                  <a:lnTo>
                    <a:pt x="316" y="18"/>
                  </a:lnTo>
                  <a:lnTo>
                    <a:pt x="314" y="22"/>
                  </a:lnTo>
                  <a:lnTo>
                    <a:pt x="314" y="24"/>
                  </a:lnTo>
                  <a:lnTo>
                    <a:pt x="312" y="26"/>
                  </a:lnTo>
                  <a:lnTo>
                    <a:pt x="310" y="28"/>
                  </a:lnTo>
                  <a:lnTo>
                    <a:pt x="308" y="32"/>
                  </a:lnTo>
                  <a:lnTo>
                    <a:pt x="308" y="34"/>
                  </a:lnTo>
                  <a:lnTo>
                    <a:pt x="306" y="36"/>
                  </a:lnTo>
                  <a:lnTo>
                    <a:pt x="306" y="38"/>
                  </a:lnTo>
                  <a:lnTo>
                    <a:pt x="306" y="38"/>
                  </a:lnTo>
                  <a:lnTo>
                    <a:pt x="304" y="40"/>
                  </a:lnTo>
                  <a:lnTo>
                    <a:pt x="304" y="40"/>
                  </a:lnTo>
                  <a:lnTo>
                    <a:pt x="304" y="40"/>
                  </a:lnTo>
                  <a:lnTo>
                    <a:pt x="302" y="40"/>
                  </a:lnTo>
                  <a:lnTo>
                    <a:pt x="302" y="42"/>
                  </a:lnTo>
                  <a:lnTo>
                    <a:pt x="300" y="42"/>
                  </a:lnTo>
                  <a:lnTo>
                    <a:pt x="296" y="42"/>
                  </a:lnTo>
                  <a:lnTo>
                    <a:pt x="294" y="40"/>
                  </a:lnTo>
                  <a:lnTo>
                    <a:pt x="292" y="40"/>
                  </a:lnTo>
                  <a:lnTo>
                    <a:pt x="292" y="40"/>
                  </a:lnTo>
                  <a:lnTo>
                    <a:pt x="290" y="40"/>
                  </a:lnTo>
                  <a:lnTo>
                    <a:pt x="288" y="38"/>
                  </a:lnTo>
                  <a:lnTo>
                    <a:pt x="288" y="38"/>
                  </a:lnTo>
                  <a:lnTo>
                    <a:pt x="286" y="36"/>
                  </a:lnTo>
                  <a:lnTo>
                    <a:pt x="284" y="34"/>
                  </a:lnTo>
                  <a:lnTo>
                    <a:pt x="284" y="32"/>
                  </a:lnTo>
                  <a:lnTo>
                    <a:pt x="280" y="32"/>
                  </a:lnTo>
                  <a:lnTo>
                    <a:pt x="278" y="32"/>
                  </a:lnTo>
                  <a:lnTo>
                    <a:pt x="274" y="32"/>
                  </a:lnTo>
                  <a:lnTo>
                    <a:pt x="270" y="32"/>
                  </a:lnTo>
                  <a:lnTo>
                    <a:pt x="268" y="32"/>
                  </a:lnTo>
                  <a:lnTo>
                    <a:pt x="266" y="32"/>
                  </a:lnTo>
                  <a:lnTo>
                    <a:pt x="266" y="32"/>
                  </a:lnTo>
                  <a:lnTo>
                    <a:pt x="264" y="32"/>
                  </a:lnTo>
                  <a:lnTo>
                    <a:pt x="262" y="32"/>
                  </a:lnTo>
                  <a:lnTo>
                    <a:pt x="262" y="34"/>
                  </a:lnTo>
                  <a:lnTo>
                    <a:pt x="262" y="34"/>
                  </a:lnTo>
                  <a:lnTo>
                    <a:pt x="262" y="34"/>
                  </a:lnTo>
                  <a:lnTo>
                    <a:pt x="262" y="36"/>
                  </a:lnTo>
                  <a:lnTo>
                    <a:pt x="262" y="36"/>
                  </a:lnTo>
                  <a:lnTo>
                    <a:pt x="262" y="38"/>
                  </a:lnTo>
                  <a:lnTo>
                    <a:pt x="262" y="40"/>
                  </a:lnTo>
                  <a:lnTo>
                    <a:pt x="262" y="42"/>
                  </a:lnTo>
                  <a:lnTo>
                    <a:pt x="262" y="44"/>
                  </a:lnTo>
                  <a:lnTo>
                    <a:pt x="262" y="44"/>
                  </a:lnTo>
                  <a:lnTo>
                    <a:pt x="262" y="46"/>
                  </a:lnTo>
                  <a:lnTo>
                    <a:pt x="262" y="46"/>
                  </a:lnTo>
                  <a:lnTo>
                    <a:pt x="262" y="46"/>
                  </a:lnTo>
                  <a:lnTo>
                    <a:pt x="260" y="48"/>
                  </a:lnTo>
                  <a:lnTo>
                    <a:pt x="260" y="48"/>
                  </a:lnTo>
                  <a:lnTo>
                    <a:pt x="258" y="48"/>
                  </a:lnTo>
                  <a:lnTo>
                    <a:pt x="258" y="48"/>
                  </a:lnTo>
                  <a:lnTo>
                    <a:pt x="254" y="48"/>
                  </a:lnTo>
                  <a:lnTo>
                    <a:pt x="252" y="48"/>
                  </a:lnTo>
                  <a:lnTo>
                    <a:pt x="248" y="48"/>
                  </a:lnTo>
                  <a:lnTo>
                    <a:pt x="246" y="48"/>
                  </a:lnTo>
                  <a:lnTo>
                    <a:pt x="244" y="48"/>
                  </a:lnTo>
                  <a:lnTo>
                    <a:pt x="242" y="48"/>
                  </a:lnTo>
                  <a:lnTo>
                    <a:pt x="238" y="48"/>
                  </a:lnTo>
                  <a:lnTo>
                    <a:pt x="236" y="48"/>
                  </a:lnTo>
                  <a:lnTo>
                    <a:pt x="234" y="48"/>
                  </a:lnTo>
                  <a:lnTo>
                    <a:pt x="232" y="48"/>
                  </a:lnTo>
                  <a:lnTo>
                    <a:pt x="232" y="48"/>
                  </a:lnTo>
                  <a:lnTo>
                    <a:pt x="232" y="48"/>
                  </a:lnTo>
                  <a:lnTo>
                    <a:pt x="232" y="48"/>
                  </a:lnTo>
                  <a:lnTo>
                    <a:pt x="230" y="50"/>
                  </a:lnTo>
                  <a:lnTo>
                    <a:pt x="230" y="52"/>
                  </a:lnTo>
                  <a:lnTo>
                    <a:pt x="230" y="54"/>
                  </a:lnTo>
                  <a:lnTo>
                    <a:pt x="228" y="54"/>
                  </a:lnTo>
                  <a:lnTo>
                    <a:pt x="228" y="54"/>
                  </a:lnTo>
                  <a:lnTo>
                    <a:pt x="226" y="54"/>
                  </a:lnTo>
                  <a:lnTo>
                    <a:pt x="226" y="54"/>
                  </a:lnTo>
                  <a:lnTo>
                    <a:pt x="224" y="56"/>
                  </a:lnTo>
                  <a:lnTo>
                    <a:pt x="224" y="56"/>
                  </a:lnTo>
                  <a:lnTo>
                    <a:pt x="222" y="56"/>
                  </a:lnTo>
                  <a:lnTo>
                    <a:pt x="220" y="56"/>
                  </a:lnTo>
                  <a:lnTo>
                    <a:pt x="218" y="56"/>
                  </a:lnTo>
                  <a:lnTo>
                    <a:pt x="218" y="54"/>
                  </a:lnTo>
                  <a:lnTo>
                    <a:pt x="216" y="54"/>
                  </a:lnTo>
                  <a:lnTo>
                    <a:pt x="216" y="54"/>
                  </a:lnTo>
                  <a:lnTo>
                    <a:pt x="214" y="52"/>
                  </a:lnTo>
                  <a:lnTo>
                    <a:pt x="214" y="52"/>
                  </a:lnTo>
                  <a:lnTo>
                    <a:pt x="212" y="48"/>
                  </a:lnTo>
                  <a:lnTo>
                    <a:pt x="210" y="46"/>
                  </a:lnTo>
                  <a:lnTo>
                    <a:pt x="208" y="44"/>
                  </a:lnTo>
                  <a:lnTo>
                    <a:pt x="206" y="40"/>
                  </a:lnTo>
                  <a:lnTo>
                    <a:pt x="206" y="38"/>
                  </a:lnTo>
                  <a:lnTo>
                    <a:pt x="204" y="36"/>
                  </a:lnTo>
                  <a:lnTo>
                    <a:pt x="204" y="34"/>
                  </a:lnTo>
                  <a:lnTo>
                    <a:pt x="204" y="32"/>
                  </a:lnTo>
                  <a:lnTo>
                    <a:pt x="204" y="32"/>
                  </a:lnTo>
                  <a:lnTo>
                    <a:pt x="204" y="30"/>
                  </a:lnTo>
                  <a:lnTo>
                    <a:pt x="206" y="28"/>
                  </a:lnTo>
                  <a:lnTo>
                    <a:pt x="206" y="26"/>
                  </a:lnTo>
                  <a:lnTo>
                    <a:pt x="208" y="24"/>
                  </a:lnTo>
                  <a:lnTo>
                    <a:pt x="208" y="22"/>
                  </a:lnTo>
                  <a:lnTo>
                    <a:pt x="208" y="20"/>
                  </a:lnTo>
                  <a:lnTo>
                    <a:pt x="208" y="16"/>
                  </a:lnTo>
                  <a:lnTo>
                    <a:pt x="208" y="14"/>
                  </a:lnTo>
                  <a:lnTo>
                    <a:pt x="208" y="12"/>
                  </a:lnTo>
                  <a:lnTo>
                    <a:pt x="208" y="10"/>
                  </a:lnTo>
                  <a:lnTo>
                    <a:pt x="206" y="8"/>
                  </a:lnTo>
                  <a:lnTo>
                    <a:pt x="206" y="6"/>
                  </a:lnTo>
                  <a:lnTo>
                    <a:pt x="206" y="6"/>
                  </a:lnTo>
                  <a:lnTo>
                    <a:pt x="206" y="4"/>
                  </a:lnTo>
                  <a:lnTo>
                    <a:pt x="204" y="4"/>
                  </a:lnTo>
                  <a:lnTo>
                    <a:pt x="204" y="4"/>
                  </a:lnTo>
                  <a:lnTo>
                    <a:pt x="202" y="2"/>
                  </a:lnTo>
                  <a:lnTo>
                    <a:pt x="200" y="2"/>
                  </a:lnTo>
                  <a:lnTo>
                    <a:pt x="198" y="2"/>
                  </a:lnTo>
                  <a:lnTo>
                    <a:pt x="194" y="0"/>
                  </a:lnTo>
                  <a:lnTo>
                    <a:pt x="194" y="0"/>
                  </a:lnTo>
                  <a:lnTo>
                    <a:pt x="192" y="2"/>
                  </a:lnTo>
                  <a:lnTo>
                    <a:pt x="192" y="4"/>
                  </a:lnTo>
                  <a:lnTo>
                    <a:pt x="192" y="6"/>
                  </a:lnTo>
                  <a:lnTo>
                    <a:pt x="190" y="8"/>
                  </a:lnTo>
                  <a:lnTo>
                    <a:pt x="190" y="10"/>
                  </a:lnTo>
                  <a:lnTo>
                    <a:pt x="190" y="10"/>
                  </a:lnTo>
                  <a:lnTo>
                    <a:pt x="188" y="10"/>
                  </a:lnTo>
                  <a:lnTo>
                    <a:pt x="188" y="10"/>
                  </a:lnTo>
                  <a:lnTo>
                    <a:pt x="186" y="12"/>
                  </a:lnTo>
                  <a:lnTo>
                    <a:pt x="186" y="12"/>
                  </a:lnTo>
                  <a:lnTo>
                    <a:pt x="184" y="12"/>
                  </a:lnTo>
                  <a:lnTo>
                    <a:pt x="180" y="12"/>
                  </a:lnTo>
                  <a:lnTo>
                    <a:pt x="176" y="12"/>
                  </a:lnTo>
                  <a:lnTo>
                    <a:pt x="174" y="10"/>
                  </a:lnTo>
                  <a:lnTo>
                    <a:pt x="170" y="10"/>
                  </a:lnTo>
                  <a:lnTo>
                    <a:pt x="168" y="10"/>
                  </a:lnTo>
                  <a:lnTo>
                    <a:pt x="166" y="10"/>
                  </a:lnTo>
                  <a:lnTo>
                    <a:pt x="164" y="12"/>
                  </a:lnTo>
                  <a:lnTo>
                    <a:pt x="164" y="12"/>
                  </a:lnTo>
                  <a:lnTo>
                    <a:pt x="162" y="12"/>
                  </a:lnTo>
                  <a:lnTo>
                    <a:pt x="162" y="12"/>
                  </a:lnTo>
                  <a:lnTo>
                    <a:pt x="160" y="14"/>
                  </a:lnTo>
                  <a:lnTo>
                    <a:pt x="158" y="16"/>
                  </a:lnTo>
                  <a:lnTo>
                    <a:pt x="158" y="16"/>
                  </a:lnTo>
                  <a:lnTo>
                    <a:pt x="156" y="16"/>
                  </a:lnTo>
                  <a:lnTo>
                    <a:pt x="156" y="18"/>
                  </a:lnTo>
                  <a:lnTo>
                    <a:pt x="156" y="18"/>
                  </a:lnTo>
                  <a:lnTo>
                    <a:pt x="154" y="16"/>
                  </a:lnTo>
                  <a:lnTo>
                    <a:pt x="154" y="16"/>
                  </a:lnTo>
                  <a:lnTo>
                    <a:pt x="154" y="16"/>
                  </a:lnTo>
                  <a:lnTo>
                    <a:pt x="152" y="16"/>
                  </a:lnTo>
                  <a:lnTo>
                    <a:pt x="150" y="14"/>
                  </a:lnTo>
                  <a:lnTo>
                    <a:pt x="150" y="12"/>
                  </a:lnTo>
                  <a:lnTo>
                    <a:pt x="148" y="10"/>
                  </a:lnTo>
                  <a:lnTo>
                    <a:pt x="146" y="8"/>
                  </a:lnTo>
                  <a:lnTo>
                    <a:pt x="146" y="8"/>
                  </a:lnTo>
                  <a:lnTo>
                    <a:pt x="144" y="6"/>
                  </a:lnTo>
                  <a:lnTo>
                    <a:pt x="144" y="6"/>
                  </a:lnTo>
                  <a:lnTo>
                    <a:pt x="142" y="6"/>
                  </a:lnTo>
                  <a:lnTo>
                    <a:pt x="142" y="6"/>
                  </a:lnTo>
                  <a:lnTo>
                    <a:pt x="142" y="6"/>
                  </a:lnTo>
                  <a:lnTo>
                    <a:pt x="140" y="6"/>
                  </a:lnTo>
                  <a:lnTo>
                    <a:pt x="138" y="8"/>
                  </a:lnTo>
                  <a:lnTo>
                    <a:pt x="138" y="8"/>
                  </a:lnTo>
                  <a:lnTo>
                    <a:pt x="136" y="8"/>
                  </a:lnTo>
                  <a:lnTo>
                    <a:pt x="136" y="10"/>
                  </a:lnTo>
                  <a:lnTo>
                    <a:pt x="136" y="10"/>
                  </a:lnTo>
                  <a:lnTo>
                    <a:pt x="134" y="12"/>
                  </a:lnTo>
                  <a:lnTo>
                    <a:pt x="134" y="14"/>
                  </a:lnTo>
                  <a:lnTo>
                    <a:pt x="134" y="18"/>
                  </a:lnTo>
                  <a:lnTo>
                    <a:pt x="134" y="22"/>
                  </a:lnTo>
                  <a:lnTo>
                    <a:pt x="134" y="24"/>
                  </a:lnTo>
                  <a:lnTo>
                    <a:pt x="134" y="26"/>
                  </a:lnTo>
                  <a:lnTo>
                    <a:pt x="134" y="28"/>
                  </a:lnTo>
                  <a:lnTo>
                    <a:pt x="134" y="30"/>
                  </a:lnTo>
                  <a:lnTo>
                    <a:pt x="136" y="30"/>
                  </a:lnTo>
                  <a:lnTo>
                    <a:pt x="136" y="30"/>
                  </a:lnTo>
                  <a:lnTo>
                    <a:pt x="136" y="32"/>
                  </a:lnTo>
                  <a:lnTo>
                    <a:pt x="138" y="32"/>
                  </a:lnTo>
                  <a:lnTo>
                    <a:pt x="138" y="32"/>
                  </a:lnTo>
                  <a:lnTo>
                    <a:pt x="140" y="34"/>
                  </a:lnTo>
                  <a:lnTo>
                    <a:pt x="142" y="34"/>
                  </a:lnTo>
                  <a:lnTo>
                    <a:pt x="144" y="34"/>
                  </a:lnTo>
                  <a:lnTo>
                    <a:pt x="144" y="36"/>
                  </a:lnTo>
                  <a:lnTo>
                    <a:pt x="146" y="36"/>
                  </a:lnTo>
                  <a:lnTo>
                    <a:pt x="146" y="36"/>
                  </a:lnTo>
                  <a:lnTo>
                    <a:pt x="146" y="38"/>
                  </a:lnTo>
                  <a:lnTo>
                    <a:pt x="146" y="38"/>
                  </a:lnTo>
                  <a:lnTo>
                    <a:pt x="146" y="40"/>
                  </a:lnTo>
                  <a:lnTo>
                    <a:pt x="146" y="42"/>
                  </a:lnTo>
                  <a:lnTo>
                    <a:pt x="146" y="44"/>
                  </a:lnTo>
                  <a:lnTo>
                    <a:pt x="146" y="44"/>
                  </a:lnTo>
                  <a:lnTo>
                    <a:pt x="146" y="46"/>
                  </a:lnTo>
                  <a:lnTo>
                    <a:pt x="146" y="48"/>
                  </a:lnTo>
                  <a:lnTo>
                    <a:pt x="146" y="48"/>
                  </a:lnTo>
                  <a:lnTo>
                    <a:pt x="144" y="50"/>
                  </a:lnTo>
                  <a:lnTo>
                    <a:pt x="142" y="52"/>
                  </a:lnTo>
                  <a:lnTo>
                    <a:pt x="140" y="54"/>
                  </a:lnTo>
                  <a:lnTo>
                    <a:pt x="138" y="54"/>
                  </a:lnTo>
                  <a:lnTo>
                    <a:pt x="136" y="56"/>
                  </a:lnTo>
                  <a:lnTo>
                    <a:pt x="134" y="56"/>
                  </a:lnTo>
                  <a:lnTo>
                    <a:pt x="134" y="58"/>
                  </a:lnTo>
                  <a:lnTo>
                    <a:pt x="132" y="58"/>
                  </a:lnTo>
                  <a:lnTo>
                    <a:pt x="130" y="58"/>
                  </a:lnTo>
                  <a:lnTo>
                    <a:pt x="128" y="58"/>
                  </a:lnTo>
                  <a:lnTo>
                    <a:pt x="126" y="60"/>
                  </a:lnTo>
                  <a:lnTo>
                    <a:pt x="124" y="60"/>
                  </a:lnTo>
                  <a:lnTo>
                    <a:pt x="122" y="60"/>
                  </a:lnTo>
                  <a:lnTo>
                    <a:pt x="120" y="60"/>
                  </a:lnTo>
                  <a:lnTo>
                    <a:pt x="118" y="60"/>
                  </a:lnTo>
                  <a:lnTo>
                    <a:pt x="118" y="60"/>
                  </a:lnTo>
                  <a:lnTo>
                    <a:pt x="116" y="58"/>
                  </a:lnTo>
                  <a:lnTo>
                    <a:pt x="112" y="58"/>
                  </a:lnTo>
                  <a:lnTo>
                    <a:pt x="110" y="56"/>
                  </a:lnTo>
                  <a:lnTo>
                    <a:pt x="108" y="54"/>
                  </a:lnTo>
                  <a:lnTo>
                    <a:pt x="108" y="54"/>
                  </a:lnTo>
                  <a:lnTo>
                    <a:pt x="106" y="52"/>
                  </a:lnTo>
                  <a:lnTo>
                    <a:pt x="106" y="52"/>
                  </a:lnTo>
                  <a:lnTo>
                    <a:pt x="104" y="48"/>
                  </a:lnTo>
                  <a:lnTo>
                    <a:pt x="102" y="46"/>
                  </a:lnTo>
                  <a:lnTo>
                    <a:pt x="100" y="44"/>
                  </a:lnTo>
                  <a:lnTo>
                    <a:pt x="100" y="44"/>
                  </a:lnTo>
                  <a:lnTo>
                    <a:pt x="98" y="42"/>
                  </a:lnTo>
                  <a:lnTo>
                    <a:pt x="98" y="42"/>
                  </a:lnTo>
                  <a:lnTo>
                    <a:pt x="94" y="42"/>
                  </a:lnTo>
                  <a:lnTo>
                    <a:pt x="90" y="4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0" name="Freeform 469">
              <a:extLst>
                <a:ext uri="{FF2B5EF4-FFF2-40B4-BE49-F238E27FC236}">
                  <a16:creationId xmlns:a16="http://schemas.microsoft.com/office/drawing/2014/main" id="{27D15D46-5001-465C-B47E-1E5DC36B244B}"/>
                </a:ext>
              </a:extLst>
            </p:cNvPr>
            <p:cNvSpPr>
              <a:spLocks/>
            </p:cNvSpPr>
            <p:nvPr/>
          </p:nvSpPr>
          <p:spPr bwMode="auto">
            <a:xfrm>
              <a:off x="2727665" y="5214331"/>
              <a:ext cx="228634" cy="256347"/>
            </a:xfrm>
            <a:custGeom>
              <a:avLst/>
              <a:gdLst>
                <a:gd name="T0" fmla="*/ 22 w 132"/>
                <a:gd name="T1" fmla="*/ 70 h 148"/>
                <a:gd name="T2" fmla="*/ 26 w 132"/>
                <a:gd name="T3" fmla="*/ 76 h 148"/>
                <a:gd name="T4" fmla="*/ 32 w 132"/>
                <a:gd name="T5" fmla="*/ 78 h 148"/>
                <a:gd name="T6" fmla="*/ 40 w 132"/>
                <a:gd name="T7" fmla="*/ 84 h 148"/>
                <a:gd name="T8" fmla="*/ 44 w 132"/>
                <a:gd name="T9" fmla="*/ 90 h 148"/>
                <a:gd name="T10" fmla="*/ 46 w 132"/>
                <a:gd name="T11" fmla="*/ 96 h 148"/>
                <a:gd name="T12" fmla="*/ 50 w 132"/>
                <a:gd name="T13" fmla="*/ 98 h 148"/>
                <a:gd name="T14" fmla="*/ 60 w 132"/>
                <a:gd name="T15" fmla="*/ 98 h 148"/>
                <a:gd name="T16" fmla="*/ 68 w 132"/>
                <a:gd name="T17" fmla="*/ 100 h 148"/>
                <a:gd name="T18" fmla="*/ 76 w 132"/>
                <a:gd name="T19" fmla="*/ 104 h 148"/>
                <a:gd name="T20" fmla="*/ 78 w 132"/>
                <a:gd name="T21" fmla="*/ 108 h 148"/>
                <a:gd name="T22" fmla="*/ 76 w 132"/>
                <a:gd name="T23" fmla="*/ 114 h 148"/>
                <a:gd name="T24" fmla="*/ 72 w 132"/>
                <a:gd name="T25" fmla="*/ 128 h 148"/>
                <a:gd name="T26" fmla="*/ 68 w 132"/>
                <a:gd name="T27" fmla="*/ 138 h 148"/>
                <a:gd name="T28" fmla="*/ 68 w 132"/>
                <a:gd name="T29" fmla="*/ 142 h 148"/>
                <a:gd name="T30" fmla="*/ 70 w 132"/>
                <a:gd name="T31" fmla="*/ 144 h 148"/>
                <a:gd name="T32" fmla="*/ 80 w 132"/>
                <a:gd name="T33" fmla="*/ 148 h 148"/>
                <a:gd name="T34" fmla="*/ 94 w 132"/>
                <a:gd name="T35" fmla="*/ 148 h 148"/>
                <a:gd name="T36" fmla="*/ 108 w 132"/>
                <a:gd name="T37" fmla="*/ 146 h 148"/>
                <a:gd name="T38" fmla="*/ 114 w 132"/>
                <a:gd name="T39" fmla="*/ 142 h 148"/>
                <a:gd name="T40" fmla="*/ 114 w 132"/>
                <a:gd name="T41" fmla="*/ 140 h 148"/>
                <a:gd name="T42" fmla="*/ 116 w 132"/>
                <a:gd name="T43" fmla="*/ 134 h 148"/>
                <a:gd name="T44" fmla="*/ 124 w 132"/>
                <a:gd name="T45" fmla="*/ 130 h 148"/>
                <a:gd name="T46" fmla="*/ 128 w 132"/>
                <a:gd name="T47" fmla="*/ 122 h 148"/>
                <a:gd name="T48" fmla="*/ 130 w 132"/>
                <a:gd name="T49" fmla="*/ 114 h 148"/>
                <a:gd name="T50" fmla="*/ 128 w 132"/>
                <a:gd name="T51" fmla="*/ 106 h 148"/>
                <a:gd name="T52" fmla="*/ 130 w 132"/>
                <a:gd name="T53" fmla="*/ 86 h 148"/>
                <a:gd name="T54" fmla="*/ 128 w 132"/>
                <a:gd name="T55" fmla="*/ 78 h 148"/>
                <a:gd name="T56" fmla="*/ 124 w 132"/>
                <a:gd name="T57" fmla="*/ 76 h 148"/>
                <a:gd name="T58" fmla="*/ 120 w 132"/>
                <a:gd name="T59" fmla="*/ 76 h 148"/>
                <a:gd name="T60" fmla="*/ 114 w 132"/>
                <a:gd name="T61" fmla="*/ 76 h 148"/>
                <a:gd name="T62" fmla="*/ 112 w 132"/>
                <a:gd name="T63" fmla="*/ 74 h 148"/>
                <a:gd name="T64" fmla="*/ 112 w 132"/>
                <a:gd name="T65" fmla="*/ 66 h 148"/>
                <a:gd name="T66" fmla="*/ 114 w 132"/>
                <a:gd name="T67" fmla="*/ 60 h 148"/>
                <a:gd name="T68" fmla="*/ 110 w 132"/>
                <a:gd name="T69" fmla="*/ 58 h 148"/>
                <a:gd name="T70" fmla="*/ 106 w 132"/>
                <a:gd name="T71" fmla="*/ 58 h 148"/>
                <a:gd name="T72" fmla="*/ 96 w 132"/>
                <a:gd name="T73" fmla="*/ 58 h 148"/>
                <a:gd name="T74" fmla="*/ 90 w 132"/>
                <a:gd name="T75" fmla="*/ 54 h 148"/>
                <a:gd name="T76" fmla="*/ 88 w 132"/>
                <a:gd name="T77" fmla="*/ 48 h 148"/>
                <a:gd name="T78" fmla="*/ 86 w 132"/>
                <a:gd name="T79" fmla="*/ 46 h 148"/>
                <a:gd name="T80" fmla="*/ 78 w 132"/>
                <a:gd name="T81" fmla="*/ 46 h 148"/>
                <a:gd name="T82" fmla="*/ 74 w 132"/>
                <a:gd name="T83" fmla="*/ 44 h 148"/>
                <a:gd name="T84" fmla="*/ 72 w 132"/>
                <a:gd name="T85" fmla="*/ 40 h 148"/>
                <a:gd name="T86" fmla="*/ 72 w 132"/>
                <a:gd name="T87" fmla="*/ 32 h 148"/>
                <a:gd name="T88" fmla="*/ 72 w 132"/>
                <a:gd name="T89" fmla="*/ 32 h 148"/>
                <a:gd name="T90" fmla="*/ 66 w 132"/>
                <a:gd name="T91" fmla="*/ 30 h 148"/>
                <a:gd name="T92" fmla="*/ 62 w 132"/>
                <a:gd name="T93" fmla="*/ 28 h 148"/>
                <a:gd name="T94" fmla="*/ 62 w 132"/>
                <a:gd name="T95" fmla="*/ 24 h 148"/>
                <a:gd name="T96" fmla="*/ 60 w 132"/>
                <a:gd name="T97" fmla="*/ 16 h 148"/>
                <a:gd name="T98" fmla="*/ 56 w 132"/>
                <a:gd name="T99" fmla="*/ 8 h 148"/>
                <a:gd name="T100" fmla="*/ 48 w 132"/>
                <a:gd name="T101" fmla="*/ 4 h 148"/>
                <a:gd name="T102" fmla="*/ 38 w 132"/>
                <a:gd name="T103" fmla="*/ 0 h 148"/>
                <a:gd name="T104" fmla="*/ 36 w 132"/>
                <a:gd name="T105" fmla="*/ 0 h 148"/>
                <a:gd name="T106" fmla="*/ 28 w 132"/>
                <a:gd name="T107" fmla="*/ 6 h 148"/>
                <a:gd name="T108" fmla="*/ 22 w 132"/>
                <a:gd name="T109" fmla="*/ 10 h 148"/>
                <a:gd name="T110" fmla="*/ 10 w 132"/>
                <a:gd name="T111" fmla="*/ 14 h 148"/>
                <a:gd name="T112" fmla="*/ 8 w 132"/>
                <a:gd name="T113" fmla="*/ 18 h 148"/>
                <a:gd name="T114" fmla="*/ 4 w 132"/>
                <a:gd name="T115" fmla="*/ 28 h 148"/>
                <a:gd name="T116" fmla="*/ 0 w 132"/>
                <a:gd name="T117" fmla="*/ 54 h 148"/>
                <a:gd name="T118" fmla="*/ 8 w 132"/>
                <a:gd name="T119" fmla="*/ 64 h 148"/>
                <a:gd name="T120" fmla="*/ 18 w 132"/>
                <a:gd name="T121" fmla="*/ 6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48">
                  <a:moveTo>
                    <a:pt x="22" y="70"/>
                  </a:moveTo>
                  <a:lnTo>
                    <a:pt x="22" y="70"/>
                  </a:lnTo>
                  <a:lnTo>
                    <a:pt x="22" y="70"/>
                  </a:lnTo>
                  <a:lnTo>
                    <a:pt x="22" y="70"/>
                  </a:lnTo>
                  <a:lnTo>
                    <a:pt x="24" y="72"/>
                  </a:lnTo>
                  <a:lnTo>
                    <a:pt x="24" y="74"/>
                  </a:lnTo>
                  <a:lnTo>
                    <a:pt x="26" y="76"/>
                  </a:lnTo>
                  <a:lnTo>
                    <a:pt x="26" y="76"/>
                  </a:lnTo>
                  <a:lnTo>
                    <a:pt x="26" y="76"/>
                  </a:lnTo>
                  <a:lnTo>
                    <a:pt x="28" y="76"/>
                  </a:lnTo>
                  <a:lnTo>
                    <a:pt x="30" y="78"/>
                  </a:lnTo>
                  <a:lnTo>
                    <a:pt x="32" y="78"/>
                  </a:lnTo>
                  <a:lnTo>
                    <a:pt x="34" y="80"/>
                  </a:lnTo>
                  <a:lnTo>
                    <a:pt x="36" y="80"/>
                  </a:lnTo>
                  <a:lnTo>
                    <a:pt x="38" y="80"/>
                  </a:lnTo>
                  <a:lnTo>
                    <a:pt x="40" y="84"/>
                  </a:lnTo>
                  <a:lnTo>
                    <a:pt x="42" y="86"/>
                  </a:lnTo>
                  <a:lnTo>
                    <a:pt x="44" y="88"/>
                  </a:lnTo>
                  <a:lnTo>
                    <a:pt x="44" y="88"/>
                  </a:lnTo>
                  <a:lnTo>
                    <a:pt x="44" y="90"/>
                  </a:lnTo>
                  <a:lnTo>
                    <a:pt x="46" y="92"/>
                  </a:lnTo>
                  <a:lnTo>
                    <a:pt x="46" y="94"/>
                  </a:lnTo>
                  <a:lnTo>
                    <a:pt x="46" y="94"/>
                  </a:lnTo>
                  <a:lnTo>
                    <a:pt x="46" y="96"/>
                  </a:lnTo>
                  <a:lnTo>
                    <a:pt x="48" y="96"/>
                  </a:lnTo>
                  <a:lnTo>
                    <a:pt x="48" y="98"/>
                  </a:lnTo>
                  <a:lnTo>
                    <a:pt x="50" y="98"/>
                  </a:lnTo>
                  <a:lnTo>
                    <a:pt x="50" y="98"/>
                  </a:lnTo>
                  <a:lnTo>
                    <a:pt x="52" y="98"/>
                  </a:lnTo>
                  <a:lnTo>
                    <a:pt x="54" y="98"/>
                  </a:lnTo>
                  <a:lnTo>
                    <a:pt x="58" y="98"/>
                  </a:lnTo>
                  <a:lnTo>
                    <a:pt x="60" y="98"/>
                  </a:lnTo>
                  <a:lnTo>
                    <a:pt x="64" y="98"/>
                  </a:lnTo>
                  <a:lnTo>
                    <a:pt x="66" y="98"/>
                  </a:lnTo>
                  <a:lnTo>
                    <a:pt x="68" y="98"/>
                  </a:lnTo>
                  <a:lnTo>
                    <a:pt x="68" y="100"/>
                  </a:lnTo>
                  <a:lnTo>
                    <a:pt x="70" y="100"/>
                  </a:lnTo>
                  <a:lnTo>
                    <a:pt x="70" y="100"/>
                  </a:lnTo>
                  <a:lnTo>
                    <a:pt x="72" y="102"/>
                  </a:lnTo>
                  <a:lnTo>
                    <a:pt x="76" y="104"/>
                  </a:lnTo>
                  <a:lnTo>
                    <a:pt x="76" y="106"/>
                  </a:lnTo>
                  <a:lnTo>
                    <a:pt x="76" y="106"/>
                  </a:lnTo>
                  <a:lnTo>
                    <a:pt x="78" y="108"/>
                  </a:lnTo>
                  <a:lnTo>
                    <a:pt x="78" y="108"/>
                  </a:lnTo>
                  <a:lnTo>
                    <a:pt x="78" y="110"/>
                  </a:lnTo>
                  <a:lnTo>
                    <a:pt x="78" y="110"/>
                  </a:lnTo>
                  <a:lnTo>
                    <a:pt x="78" y="112"/>
                  </a:lnTo>
                  <a:lnTo>
                    <a:pt x="76" y="114"/>
                  </a:lnTo>
                  <a:lnTo>
                    <a:pt x="76" y="118"/>
                  </a:lnTo>
                  <a:lnTo>
                    <a:pt x="74" y="124"/>
                  </a:lnTo>
                  <a:lnTo>
                    <a:pt x="72" y="126"/>
                  </a:lnTo>
                  <a:lnTo>
                    <a:pt x="72" y="128"/>
                  </a:lnTo>
                  <a:lnTo>
                    <a:pt x="72" y="130"/>
                  </a:lnTo>
                  <a:lnTo>
                    <a:pt x="70" y="132"/>
                  </a:lnTo>
                  <a:lnTo>
                    <a:pt x="68" y="136"/>
                  </a:lnTo>
                  <a:lnTo>
                    <a:pt x="68" y="138"/>
                  </a:lnTo>
                  <a:lnTo>
                    <a:pt x="68" y="140"/>
                  </a:lnTo>
                  <a:lnTo>
                    <a:pt x="68" y="140"/>
                  </a:lnTo>
                  <a:lnTo>
                    <a:pt x="68" y="140"/>
                  </a:lnTo>
                  <a:lnTo>
                    <a:pt x="68" y="142"/>
                  </a:lnTo>
                  <a:lnTo>
                    <a:pt x="68" y="142"/>
                  </a:lnTo>
                  <a:lnTo>
                    <a:pt x="70" y="142"/>
                  </a:lnTo>
                  <a:lnTo>
                    <a:pt x="70" y="144"/>
                  </a:lnTo>
                  <a:lnTo>
                    <a:pt x="70" y="144"/>
                  </a:lnTo>
                  <a:lnTo>
                    <a:pt x="72" y="144"/>
                  </a:lnTo>
                  <a:lnTo>
                    <a:pt x="74" y="146"/>
                  </a:lnTo>
                  <a:lnTo>
                    <a:pt x="76" y="146"/>
                  </a:lnTo>
                  <a:lnTo>
                    <a:pt x="80" y="148"/>
                  </a:lnTo>
                  <a:lnTo>
                    <a:pt x="84" y="148"/>
                  </a:lnTo>
                  <a:lnTo>
                    <a:pt x="86" y="148"/>
                  </a:lnTo>
                  <a:lnTo>
                    <a:pt x="90" y="148"/>
                  </a:lnTo>
                  <a:lnTo>
                    <a:pt x="94" y="148"/>
                  </a:lnTo>
                  <a:lnTo>
                    <a:pt x="98" y="148"/>
                  </a:lnTo>
                  <a:lnTo>
                    <a:pt x="100" y="148"/>
                  </a:lnTo>
                  <a:lnTo>
                    <a:pt x="104" y="148"/>
                  </a:lnTo>
                  <a:lnTo>
                    <a:pt x="108" y="146"/>
                  </a:lnTo>
                  <a:lnTo>
                    <a:pt x="110" y="146"/>
                  </a:lnTo>
                  <a:lnTo>
                    <a:pt x="112" y="144"/>
                  </a:lnTo>
                  <a:lnTo>
                    <a:pt x="114" y="144"/>
                  </a:lnTo>
                  <a:lnTo>
                    <a:pt x="114" y="142"/>
                  </a:lnTo>
                  <a:lnTo>
                    <a:pt x="114" y="142"/>
                  </a:lnTo>
                  <a:lnTo>
                    <a:pt x="114" y="142"/>
                  </a:lnTo>
                  <a:lnTo>
                    <a:pt x="114" y="140"/>
                  </a:lnTo>
                  <a:lnTo>
                    <a:pt x="114" y="140"/>
                  </a:lnTo>
                  <a:lnTo>
                    <a:pt x="114" y="136"/>
                  </a:lnTo>
                  <a:lnTo>
                    <a:pt x="114" y="136"/>
                  </a:lnTo>
                  <a:lnTo>
                    <a:pt x="116" y="136"/>
                  </a:lnTo>
                  <a:lnTo>
                    <a:pt x="116" y="134"/>
                  </a:lnTo>
                  <a:lnTo>
                    <a:pt x="118" y="134"/>
                  </a:lnTo>
                  <a:lnTo>
                    <a:pt x="120" y="132"/>
                  </a:lnTo>
                  <a:lnTo>
                    <a:pt x="122" y="130"/>
                  </a:lnTo>
                  <a:lnTo>
                    <a:pt x="124" y="130"/>
                  </a:lnTo>
                  <a:lnTo>
                    <a:pt x="124" y="130"/>
                  </a:lnTo>
                  <a:lnTo>
                    <a:pt x="126" y="128"/>
                  </a:lnTo>
                  <a:lnTo>
                    <a:pt x="126" y="126"/>
                  </a:lnTo>
                  <a:lnTo>
                    <a:pt x="128" y="122"/>
                  </a:lnTo>
                  <a:lnTo>
                    <a:pt x="132" y="118"/>
                  </a:lnTo>
                  <a:lnTo>
                    <a:pt x="130" y="116"/>
                  </a:lnTo>
                  <a:lnTo>
                    <a:pt x="130" y="114"/>
                  </a:lnTo>
                  <a:lnTo>
                    <a:pt x="130" y="114"/>
                  </a:lnTo>
                  <a:lnTo>
                    <a:pt x="128" y="112"/>
                  </a:lnTo>
                  <a:lnTo>
                    <a:pt x="128" y="110"/>
                  </a:lnTo>
                  <a:lnTo>
                    <a:pt x="128" y="108"/>
                  </a:lnTo>
                  <a:lnTo>
                    <a:pt x="128" y="106"/>
                  </a:lnTo>
                  <a:lnTo>
                    <a:pt x="128" y="100"/>
                  </a:lnTo>
                  <a:lnTo>
                    <a:pt x="128" y="94"/>
                  </a:lnTo>
                  <a:lnTo>
                    <a:pt x="130" y="88"/>
                  </a:lnTo>
                  <a:lnTo>
                    <a:pt x="130" y="86"/>
                  </a:lnTo>
                  <a:lnTo>
                    <a:pt x="128" y="84"/>
                  </a:lnTo>
                  <a:lnTo>
                    <a:pt x="128" y="82"/>
                  </a:lnTo>
                  <a:lnTo>
                    <a:pt x="128" y="80"/>
                  </a:lnTo>
                  <a:lnTo>
                    <a:pt x="128" y="78"/>
                  </a:lnTo>
                  <a:lnTo>
                    <a:pt x="126" y="76"/>
                  </a:lnTo>
                  <a:lnTo>
                    <a:pt x="126" y="76"/>
                  </a:lnTo>
                  <a:lnTo>
                    <a:pt x="126" y="76"/>
                  </a:lnTo>
                  <a:lnTo>
                    <a:pt x="124" y="76"/>
                  </a:lnTo>
                  <a:lnTo>
                    <a:pt x="124" y="76"/>
                  </a:lnTo>
                  <a:lnTo>
                    <a:pt x="124" y="76"/>
                  </a:lnTo>
                  <a:lnTo>
                    <a:pt x="122" y="76"/>
                  </a:lnTo>
                  <a:lnTo>
                    <a:pt x="120" y="76"/>
                  </a:lnTo>
                  <a:lnTo>
                    <a:pt x="118" y="76"/>
                  </a:lnTo>
                  <a:lnTo>
                    <a:pt x="116" y="76"/>
                  </a:lnTo>
                  <a:lnTo>
                    <a:pt x="116" y="76"/>
                  </a:lnTo>
                  <a:lnTo>
                    <a:pt x="114" y="76"/>
                  </a:lnTo>
                  <a:lnTo>
                    <a:pt x="114" y="76"/>
                  </a:lnTo>
                  <a:lnTo>
                    <a:pt x="114" y="76"/>
                  </a:lnTo>
                  <a:lnTo>
                    <a:pt x="114" y="74"/>
                  </a:lnTo>
                  <a:lnTo>
                    <a:pt x="112" y="74"/>
                  </a:lnTo>
                  <a:lnTo>
                    <a:pt x="112" y="72"/>
                  </a:lnTo>
                  <a:lnTo>
                    <a:pt x="112" y="72"/>
                  </a:lnTo>
                  <a:lnTo>
                    <a:pt x="112" y="70"/>
                  </a:lnTo>
                  <a:lnTo>
                    <a:pt x="112" y="66"/>
                  </a:lnTo>
                  <a:lnTo>
                    <a:pt x="114" y="64"/>
                  </a:lnTo>
                  <a:lnTo>
                    <a:pt x="114" y="62"/>
                  </a:lnTo>
                  <a:lnTo>
                    <a:pt x="114" y="60"/>
                  </a:lnTo>
                  <a:lnTo>
                    <a:pt x="114" y="60"/>
                  </a:lnTo>
                  <a:lnTo>
                    <a:pt x="112" y="58"/>
                  </a:lnTo>
                  <a:lnTo>
                    <a:pt x="112" y="58"/>
                  </a:lnTo>
                  <a:lnTo>
                    <a:pt x="112" y="58"/>
                  </a:lnTo>
                  <a:lnTo>
                    <a:pt x="110" y="58"/>
                  </a:lnTo>
                  <a:lnTo>
                    <a:pt x="110" y="58"/>
                  </a:lnTo>
                  <a:lnTo>
                    <a:pt x="110" y="58"/>
                  </a:lnTo>
                  <a:lnTo>
                    <a:pt x="108" y="58"/>
                  </a:lnTo>
                  <a:lnTo>
                    <a:pt x="106" y="58"/>
                  </a:lnTo>
                  <a:lnTo>
                    <a:pt x="102" y="58"/>
                  </a:lnTo>
                  <a:lnTo>
                    <a:pt x="100" y="58"/>
                  </a:lnTo>
                  <a:lnTo>
                    <a:pt x="98" y="58"/>
                  </a:lnTo>
                  <a:lnTo>
                    <a:pt x="96" y="58"/>
                  </a:lnTo>
                  <a:lnTo>
                    <a:pt x="94" y="56"/>
                  </a:lnTo>
                  <a:lnTo>
                    <a:pt x="92" y="56"/>
                  </a:lnTo>
                  <a:lnTo>
                    <a:pt x="92" y="54"/>
                  </a:lnTo>
                  <a:lnTo>
                    <a:pt x="90" y="54"/>
                  </a:lnTo>
                  <a:lnTo>
                    <a:pt x="90" y="54"/>
                  </a:lnTo>
                  <a:lnTo>
                    <a:pt x="90" y="52"/>
                  </a:lnTo>
                  <a:lnTo>
                    <a:pt x="88" y="50"/>
                  </a:lnTo>
                  <a:lnTo>
                    <a:pt x="88" y="48"/>
                  </a:lnTo>
                  <a:lnTo>
                    <a:pt x="88" y="48"/>
                  </a:lnTo>
                  <a:lnTo>
                    <a:pt x="86" y="46"/>
                  </a:lnTo>
                  <a:lnTo>
                    <a:pt x="86" y="46"/>
                  </a:lnTo>
                  <a:lnTo>
                    <a:pt x="86" y="46"/>
                  </a:lnTo>
                  <a:lnTo>
                    <a:pt x="84" y="46"/>
                  </a:lnTo>
                  <a:lnTo>
                    <a:pt x="82" y="46"/>
                  </a:lnTo>
                  <a:lnTo>
                    <a:pt x="80" y="46"/>
                  </a:lnTo>
                  <a:lnTo>
                    <a:pt x="78" y="46"/>
                  </a:lnTo>
                  <a:lnTo>
                    <a:pt x="76" y="46"/>
                  </a:lnTo>
                  <a:lnTo>
                    <a:pt x="74" y="44"/>
                  </a:lnTo>
                  <a:lnTo>
                    <a:pt x="74" y="44"/>
                  </a:lnTo>
                  <a:lnTo>
                    <a:pt x="74" y="44"/>
                  </a:lnTo>
                  <a:lnTo>
                    <a:pt x="74" y="44"/>
                  </a:lnTo>
                  <a:lnTo>
                    <a:pt x="74" y="42"/>
                  </a:lnTo>
                  <a:lnTo>
                    <a:pt x="72" y="42"/>
                  </a:lnTo>
                  <a:lnTo>
                    <a:pt x="72" y="40"/>
                  </a:lnTo>
                  <a:lnTo>
                    <a:pt x="72" y="38"/>
                  </a:lnTo>
                  <a:lnTo>
                    <a:pt x="74" y="36"/>
                  </a:lnTo>
                  <a:lnTo>
                    <a:pt x="74" y="34"/>
                  </a:lnTo>
                  <a:lnTo>
                    <a:pt x="72" y="32"/>
                  </a:lnTo>
                  <a:lnTo>
                    <a:pt x="72" y="32"/>
                  </a:lnTo>
                  <a:lnTo>
                    <a:pt x="72" y="32"/>
                  </a:lnTo>
                  <a:lnTo>
                    <a:pt x="72" y="32"/>
                  </a:lnTo>
                  <a:lnTo>
                    <a:pt x="72" y="32"/>
                  </a:lnTo>
                  <a:lnTo>
                    <a:pt x="70" y="30"/>
                  </a:lnTo>
                  <a:lnTo>
                    <a:pt x="68" y="30"/>
                  </a:lnTo>
                  <a:lnTo>
                    <a:pt x="68" y="30"/>
                  </a:lnTo>
                  <a:lnTo>
                    <a:pt x="66" y="30"/>
                  </a:lnTo>
                  <a:lnTo>
                    <a:pt x="64" y="30"/>
                  </a:lnTo>
                  <a:lnTo>
                    <a:pt x="64" y="28"/>
                  </a:lnTo>
                  <a:lnTo>
                    <a:pt x="62" y="28"/>
                  </a:lnTo>
                  <a:lnTo>
                    <a:pt x="62" y="28"/>
                  </a:lnTo>
                  <a:lnTo>
                    <a:pt x="62" y="28"/>
                  </a:lnTo>
                  <a:lnTo>
                    <a:pt x="62" y="26"/>
                  </a:lnTo>
                  <a:lnTo>
                    <a:pt x="62" y="26"/>
                  </a:lnTo>
                  <a:lnTo>
                    <a:pt x="62" y="24"/>
                  </a:lnTo>
                  <a:lnTo>
                    <a:pt x="60" y="22"/>
                  </a:lnTo>
                  <a:lnTo>
                    <a:pt x="60" y="18"/>
                  </a:lnTo>
                  <a:lnTo>
                    <a:pt x="60" y="18"/>
                  </a:lnTo>
                  <a:lnTo>
                    <a:pt x="60" y="16"/>
                  </a:lnTo>
                  <a:lnTo>
                    <a:pt x="58" y="12"/>
                  </a:lnTo>
                  <a:lnTo>
                    <a:pt x="58" y="10"/>
                  </a:lnTo>
                  <a:lnTo>
                    <a:pt x="56" y="10"/>
                  </a:lnTo>
                  <a:lnTo>
                    <a:pt x="56" y="8"/>
                  </a:lnTo>
                  <a:lnTo>
                    <a:pt x="54" y="6"/>
                  </a:lnTo>
                  <a:lnTo>
                    <a:pt x="52" y="6"/>
                  </a:lnTo>
                  <a:lnTo>
                    <a:pt x="50" y="4"/>
                  </a:lnTo>
                  <a:lnTo>
                    <a:pt x="48" y="4"/>
                  </a:lnTo>
                  <a:lnTo>
                    <a:pt x="46" y="2"/>
                  </a:lnTo>
                  <a:lnTo>
                    <a:pt x="44" y="2"/>
                  </a:lnTo>
                  <a:lnTo>
                    <a:pt x="42" y="0"/>
                  </a:lnTo>
                  <a:lnTo>
                    <a:pt x="38" y="0"/>
                  </a:lnTo>
                  <a:lnTo>
                    <a:pt x="38" y="0"/>
                  </a:lnTo>
                  <a:lnTo>
                    <a:pt x="36" y="0"/>
                  </a:lnTo>
                  <a:lnTo>
                    <a:pt x="36" y="0"/>
                  </a:lnTo>
                  <a:lnTo>
                    <a:pt x="36" y="0"/>
                  </a:lnTo>
                  <a:lnTo>
                    <a:pt x="34" y="2"/>
                  </a:lnTo>
                  <a:lnTo>
                    <a:pt x="32" y="2"/>
                  </a:lnTo>
                  <a:lnTo>
                    <a:pt x="32" y="4"/>
                  </a:lnTo>
                  <a:lnTo>
                    <a:pt x="28" y="6"/>
                  </a:lnTo>
                  <a:lnTo>
                    <a:pt x="26" y="8"/>
                  </a:lnTo>
                  <a:lnTo>
                    <a:pt x="26" y="10"/>
                  </a:lnTo>
                  <a:lnTo>
                    <a:pt x="24" y="10"/>
                  </a:lnTo>
                  <a:lnTo>
                    <a:pt x="22" y="10"/>
                  </a:lnTo>
                  <a:lnTo>
                    <a:pt x="18" y="12"/>
                  </a:lnTo>
                  <a:lnTo>
                    <a:pt x="14" y="12"/>
                  </a:lnTo>
                  <a:lnTo>
                    <a:pt x="12" y="14"/>
                  </a:lnTo>
                  <a:lnTo>
                    <a:pt x="10" y="14"/>
                  </a:lnTo>
                  <a:lnTo>
                    <a:pt x="10" y="14"/>
                  </a:lnTo>
                  <a:lnTo>
                    <a:pt x="10" y="16"/>
                  </a:lnTo>
                  <a:lnTo>
                    <a:pt x="8" y="16"/>
                  </a:lnTo>
                  <a:lnTo>
                    <a:pt x="8" y="18"/>
                  </a:lnTo>
                  <a:lnTo>
                    <a:pt x="6" y="20"/>
                  </a:lnTo>
                  <a:lnTo>
                    <a:pt x="6" y="22"/>
                  </a:lnTo>
                  <a:lnTo>
                    <a:pt x="4" y="24"/>
                  </a:lnTo>
                  <a:lnTo>
                    <a:pt x="4" y="28"/>
                  </a:lnTo>
                  <a:lnTo>
                    <a:pt x="4" y="30"/>
                  </a:lnTo>
                  <a:lnTo>
                    <a:pt x="2" y="34"/>
                  </a:lnTo>
                  <a:lnTo>
                    <a:pt x="0" y="42"/>
                  </a:lnTo>
                  <a:lnTo>
                    <a:pt x="0" y="54"/>
                  </a:lnTo>
                  <a:lnTo>
                    <a:pt x="2" y="58"/>
                  </a:lnTo>
                  <a:lnTo>
                    <a:pt x="6" y="60"/>
                  </a:lnTo>
                  <a:lnTo>
                    <a:pt x="6" y="62"/>
                  </a:lnTo>
                  <a:lnTo>
                    <a:pt x="8" y="64"/>
                  </a:lnTo>
                  <a:lnTo>
                    <a:pt x="10" y="64"/>
                  </a:lnTo>
                  <a:lnTo>
                    <a:pt x="10" y="64"/>
                  </a:lnTo>
                  <a:lnTo>
                    <a:pt x="14" y="66"/>
                  </a:lnTo>
                  <a:lnTo>
                    <a:pt x="18" y="68"/>
                  </a:lnTo>
                  <a:lnTo>
                    <a:pt x="20" y="68"/>
                  </a:lnTo>
                  <a:lnTo>
                    <a:pt x="22" y="7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1" name="Freeform 470">
              <a:extLst>
                <a:ext uri="{FF2B5EF4-FFF2-40B4-BE49-F238E27FC236}">
                  <a16:creationId xmlns:a16="http://schemas.microsoft.com/office/drawing/2014/main" id="{E3FFE50C-9788-44D9-ADC0-730BC7A81F47}"/>
                </a:ext>
              </a:extLst>
            </p:cNvPr>
            <p:cNvSpPr>
              <a:spLocks/>
            </p:cNvSpPr>
            <p:nvPr/>
          </p:nvSpPr>
          <p:spPr bwMode="auto">
            <a:xfrm>
              <a:off x="2727665" y="5214331"/>
              <a:ext cx="228634" cy="256347"/>
            </a:xfrm>
            <a:custGeom>
              <a:avLst/>
              <a:gdLst>
                <a:gd name="T0" fmla="*/ 22 w 132"/>
                <a:gd name="T1" fmla="*/ 70 h 148"/>
                <a:gd name="T2" fmla="*/ 26 w 132"/>
                <a:gd name="T3" fmla="*/ 76 h 148"/>
                <a:gd name="T4" fmla="*/ 32 w 132"/>
                <a:gd name="T5" fmla="*/ 78 h 148"/>
                <a:gd name="T6" fmla="*/ 40 w 132"/>
                <a:gd name="T7" fmla="*/ 84 h 148"/>
                <a:gd name="T8" fmla="*/ 44 w 132"/>
                <a:gd name="T9" fmla="*/ 90 h 148"/>
                <a:gd name="T10" fmla="*/ 46 w 132"/>
                <a:gd name="T11" fmla="*/ 96 h 148"/>
                <a:gd name="T12" fmla="*/ 50 w 132"/>
                <a:gd name="T13" fmla="*/ 98 h 148"/>
                <a:gd name="T14" fmla="*/ 60 w 132"/>
                <a:gd name="T15" fmla="*/ 98 h 148"/>
                <a:gd name="T16" fmla="*/ 68 w 132"/>
                <a:gd name="T17" fmla="*/ 100 h 148"/>
                <a:gd name="T18" fmla="*/ 76 w 132"/>
                <a:gd name="T19" fmla="*/ 104 h 148"/>
                <a:gd name="T20" fmla="*/ 78 w 132"/>
                <a:gd name="T21" fmla="*/ 108 h 148"/>
                <a:gd name="T22" fmla="*/ 76 w 132"/>
                <a:gd name="T23" fmla="*/ 114 h 148"/>
                <a:gd name="T24" fmla="*/ 72 w 132"/>
                <a:gd name="T25" fmla="*/ 128 h 148"/>
                <a:gd name="T26" fmla="*/ 68 w 132"/>
                <a:gd name="T27" fmla="*/ 138 h 148"/>
                <a:gd name="T28" fmla="*/ 68 w 132"/>
                <a:gd name="T29" fmla="*/ 142 h 148"/>
                <a:gd name="T30" fmla="*/ 70 w 132"/>
                <a:gd name="T31" fmla="*/ 144 h 148"/>
                <a:gd name="T32" fmla="*/ 80 w 132"/>
                <a:gd name="T33" fmla="*/ 148 h 148"/>
                <a:gd name="T34" fmla="*/ 94 w 132"/>
                <a:gd name="T35" fmla="*/ 148 h 148"/>
                <a:gd name="T36" fmla="*/ 108 w 132"/>
                <a:gd name="T37" fmla="*/ 146 h 148"/>
                <a:gd name="T38" fmla="*/ 114 w 132"/>
                <a:gd name="T39" fmla="*/ 142 h 148"/>
                <a:gd name="T40" fmla="*/ 114 w 132"/>
                <a:gd name="T41" fmla="*/ 140 h 148"/>
                <a:gd name="T42" fmla="*/ 116 w 132"/>
                <a:gd name="T43" fmla="*/ 134 h 148"/>
                <a:gd name="T44" fmla="*/ 124 w 132"/>
                <a:gd name="T45" fmla="*/ 130 h 148"/>
                <a:gd name="T46" fmla="*/ 128 w 132"/>
                <a:gd name="T47" fmla="*/ 122 h 148"/>
                <a:gd name="T48" fmla="*/ 130 w 132"/>
                <a:gd name="T49" fmla="*/ 114 h 148"/>
                <a:gd name="T50" fmla="*/ 128 w 132"/>
                <a:gd name="T51" fmla="*/ 106 h 148"/>
                <a:gd name="T52" fmla="*/ 130 w 132"/>
                <a:gd name="T53" fmla="*/ 86 h 148"/>
                <a:gd name="T54" fmla="*/ 128 w 132"/>
                <a:gd name="T55" fmla="*/ 78 h 148"/>
                <a:gd name="T56" fmla="*/ 124 w 132"/>
                <a:gd name="T57" fmla="*/ 76 h 148"/>
                <a:gd name="T58" fmla="*/ 120 w 132"/>
                <a:gd name="T59" fmla="*/ 76 h 148"/>
                <a:gd name="T60" fmla="*/ 114 w 132"/>
                <a:gd name="T61" fmla="*/ 76 h 148"/>
                <a:gd name="T62" fmla="*/ 112 w 132"/>
                <a:gd name="T63" fmla="*/ 74 h 148"/>
                <a:gd name="T64" fmla="*/ 112 w 132"/>
                <a:gd name="T65" fmla="*/ 66 h 148"/>
                <a:gd name="T66" fmla="*/ 114 w 132"/>
                <a:gd name="T67" fmla="*/ 60 h 148"/>
                <a:gd name="T68" fmla="*/ 110 w 132"/>
                <a:gd name="T69" fmla="*/ 58 h 148"/>
                <a:gd name="T70" fmla="*/ 106 w 132"/>
                <a:gd name="T71" fmla="*/ 58 h 148"/>
                <a:gd name="T72" fmla="*/ 96 w 132"/>
                <a:gd name="T73" fmla="*/ 58 h 148"/>
                <a:gd name="T74" fmla="*/ 90 w 132"/>
                <a:gd name="T75" fmla="*/ 54 h 148"/>
                <a:gd name="T76" fmla="*/ 88 w 132"/>
                <a:gd name="T77" fmla="*/ 48 h 148"/>
                <a:gd name="T78" fmla="*/ 86 w 132"/>
                <a:gd name="T79" fmla="*/ 46 h 148"/>
                <a:gd name="T80" fmla="*/ 78 w 132"/>
                <a:gd name="T81" fmla="*/ 46 h 148"/>
                <a:gd name="T82" fmla="*/ 74 w 132"/>
                <a:gd name="T83" fmla="*/ 44 h 148"/>
                <a:gd name="T84" fmla="*/ 72 w 132"/>
                <a:gd name="T85" fmla="*/ 40 h 148"/>
                <a:gd name="T86" fmla="*/ 72 w 132"/>
                <a:gd name="T87" fmla="*/ 32 h 148"/>
                <a:gd name="T88" fmla="*/ 72 w 132"/>
                <a:gd name="T89" fmla="*/ 32 h 148"/>
                <a:gd name="T90" fmla="*/ 66 w 132"/>
                <a:gd name="T91" fmla="*/ 30 h 148"/>
                <a:gd name="T92" fmla="*/ 62 w 132"/>
                <a:gd name="T93" fmla="*/ 28 h 148"/>
                <a:gd name="T94" fmla="*/ 62 w 132"/>
                <a:gd name="T95" fmla="*/ 24 h 148"/>
                <a:gd name="T96" fmla="*/ 60 w 132"/>
                <a:gd name="T97" fmla="*/ 16 h 148"/>
                <a:gd name="T98" fmla="*/ 56 w 132"/>
                <a:gd name="T99" fmla="*/ 8 h 148"/>
                <a:gd name="T100" fmla="*/ 48 w 132"/>
                <a:gd name="T101" fmla="*/ 4 h 148"/>
                <a:gd name="T102" fmla="*/ 38 w 132"/>
                <a:gd name="T103" fmla="*/ 0 h 148"/>
                <a:gd name="T104" fmla="*/ 36 w 132"/>
                <a:gd name="T105" fmla="*/ 0 h 148"/>
                <a:gd name="T106" fmla="*/ 28 w 132"/>
                <a:gd name="T107" fmla="*/ 6 h 148"/>
                <a:gd name="T108" fmla="*/ 22 w 132"/>
                <a:gd name="T109" fmla="*/ 10 h 148"/>
                <a:gd name="T110" fmla="*/ 10 w 132"/>
                <a:gd name="T111" fmla="*/ 14 h 148"/>
                <a:gd name="T112" fmla="*/ 8 w 132"/>
                <a:gd name="T113" fmla="*/ 18 h 148"/>
                <a:gd name="T114" fmla="*/ 4 w 132"/>
                <a:gd name="T115" fmla="*/ 28 h 148"/>
                <a:gd name="T116" fmla="*/ 0 w 132"/>
                <a:gd name="T117" fmla="*/ 54 h 148"/>
                <a:gd name="T118" fmla="*/ 8 w 132"/>
                <a:gd name="T119" fmla="*/ 64 h 148"/>
                <a:gd name="T120" fmla="*/ 18 w 132"/>
                <a:gd name="T121" fmla="*/ 6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48">
                  <a:moveTo>
                    <a:pt x="22" y="70"/>
                  </a:moveTo>
                  <a:lnTo>
                    <a:pt x="22" y="70"/>
                  </a:lnTo>
                  <a:lnTo>
                    <a:pt x="22" y="70"/>
                  </a:lnTo>
                  <a:lnTo>
                    <a:pt x="22" y="70"/>
                  </a:lnTo>
                  <a:lnTo>
                    <a:pt x="24" y="72"/>
                  </a:lnTo>
                  <a:lnTo>
                    <a:pt x="24" y="74"/>
                  </a:lnTo>
                  <a:lnTo>
                    <a:pt x="26" y="76"/>
                  </a:lnTo>
                  <a:lnTo>
                    <a:pt x="26" y="76"/>
                  </a:lnTo>
                  <a:lnTo>
                    <a:pt x="26" y="76"/>
                  </a:lnTo>
                  <a:lnTo>
                    <a:pt x="28" y="76"/>
                  </a:lnTo>
                  <a:lnTo>
                    <a:pt x="30" y="78"/>
                  </a:lnTo>
                  <a:lnTo>
                    <a:pt x="32" y="78"/>
                  </a:lnTo>
                  <a:lnTo>
                    <a:pt x="34" y="80"/>
                  </a:lnTo>
                  <a:lnTo>
                    <a:pt x="36" y="80"/>
                  </a:lnTo>
                  <a:lnTo>
                    <a:pt x="38" y="80"/>
                  </a:lnTo>
                  <a:lnTo>
                    <a:pt x="40" y="84"/>
                  </a:lnTo>
                  <a:lnTo>
                    <a:pt x="42" y="86"/>
                  </a:lnTo>
                  <a:lnTo>
                    <a:pt x="44" y="88"/>
                  </a:lnTo>
                  <a:lnTo>
                    <a:pt x="44" y="88"/>
                  </a:lnTo>
                  <a:lnTo>
                    <a:pt x="44" y="90"/>
                  </a:lnTo>
                  <a:lnTo>
                    <a:pt x="46" y="92"/>
                  </a:lnTo>
                  <a:lnTo>
                    <a:pt x="46" y="94"/>
                  </a:lnTo>
                  <a:lnTo>
                    <a:pt x="46" y="94"/>
                  </a:lnTo>
                  <a:lnTo>
                    <a:pt x="46" y="96"/>
                  </a:lnTo>
                  <a:lnTo>
                    <a:pt x="48" y="96"/>
                  </a:lnTo>
                  <a:lnTo>
                    <a:pt x="48" y="98"/>
                  </a:lnTo>
                  <a:lnTo>
                    <a:pt x="50" y="98"/>
                  </a:lnTo>
                  <a:lnTo>
                    <a:pt x="50" y="98"/>
                  </a:lnTo>
                  <a:lnTo>
                    <a:pt x="52" y="98"/>
                  </a:lnTo>
                  <a:lnTo>
                    <a:pt x="54" y="98"/>
                  </a:lnTo>
                  <a:lnTo>
                    <a:pt x="58" y="98"/>
                  </a:lnTo>
                  <a:lnTo>
                    <a:pt x="60" y="98"/>
                  </a:lnTo>
                  <a:lnTo>
                    <a:pt x="64" y="98"/>
                  </a:lnTo>
                  <a:lnTo>
                    <a:pt x="66" y="98"/>
                  </a:lnTo>
                  <a:lnTo>
                    <a:pt x="68" y="98"/>
                  </a:lnTo>
                  <a:lnTo>
                    <a:pt x="68" y="100"/>
                  </a:lnTo>
                  <a:lnTo>
                    <a:pt x="70" y="100"/>
                  </a:lnTo>
                  <a:lnTo>
                    <a:pt x="70" y="100"/>
                  </a:lnTo>
                  <a:lnTo>
                    <a:pt x="72" y="102"/>
                  </a:lnTo>
                  <a:lnTo>
                    <a:pt x="76" y="104"/>
                  </a:lnTo>
                  <a:lnTo>
                    <a:pt x="76" y="106"/>
                  </a:lnTo>
                  <a:lnTo>
                    <a:pt x="76" y="106"/>
                  </a:lnTo>
                  <a:lnTo>
                    <a:pt x="78" y="108"/>
                  </a:lnTo>
                  <a:lnTo>
                    <a:pt x="78" y="108"/>
                  </a:lnTo>
                  <a:lnTo>
                    <a:pt x="78" y="110"/>
                  </a:lnTo>
                  <a:lnTo>
                    <a:pt x="78" y="110"/>
                  </a:lnTo>
                  <a:lnTo>
                    <a:pt x="78" y="112"/>
                  </a:lnTo>
                  <a:lnTo>
                    <a:pt x="76" y="114"/>
                  </a:lnTo>
                  <a:lnTo>
                    <a:pt x="76" y="118"/>
                  </a:lnTo>
                  <a:lnTo>
                    <a:pt x="74" y="124"/>
                  </a:lnTo>
                  <a:lnTo>
                    <a:pt x="72" y="126"/>
                  </a:lnTo>
                  <a:lnTo>
                    <a:pt x="72" y="128"/>
                  </a:lnTo>
                  <a:lnTo>
                    <a:pt x="72" y="130"/>
                  </a:lnTo>
                  <a:lnTo>
                    <a:pt x="70" y="132"/>
                  </a:lnTo>
                  <a:lnTo>
                    <a:pt x="68" y="136"/>
                  </a:lnTo>
                  <a:lnTo>
                    <a:pt x="68" y="138"/>
                  </a:lnTo>
                  <a:lnTo>
                    <a:pt x="68" y="140"/>
                  </a:lnTo>
                  <a:lnTo>
                    <a:pt x="68" y="140"/>
                  </a:lnTo>
                  <a:lnTo>
                    <a:pt x="68" y="140"/>
                  </a:lnTo>
                  <a:lnTo>
                    <a:pt x="68" y="142"/>
                  </a:lnTo>
                  <a:lnTo>
                    <a:pt x="68" y="142"/>
                  </a:lnTo>
                  <a:lnTo>
                    <a:pt x="70" y="142"/>
                  </a:lnTo>
                  <a:lnTo>
                    <a:pt x="70" y="144"/>
                  </a:lnTo>
                  <a:lnTo>
                    <a:pt x="70" y="144"/>
                  </a:lnTo>
                  <a:lnTo>
                    <a:pt x="72" y="144"/>
                  </a:lnTo>
                  <a:lnTo>
                    <a:pt x="74" y="146"/>
                  </a:lnTo>
                  <a:lnTo>
                    <a:pt x="76" y="146"/>
                  </a:lnTo>
                  <a:lnTo>
                    <a:pt x="80" y="148"/>
                  </a:lnTo>
                  <a:lnTo>
                    <a:pt x="84" y="148"/>
                  </a:lnTo>
                  <a:lnTo>
                    <a:pt x="86" y="148"/>
                  </a:lnTo>
                  <a:lnTo>
                    <a:pt x="90" y="148"/>
                  </a:lnTo>
                  <a:lnTo>
                    <a:pt x="94" y="148"/>
                  </a:lnTo>
                  <a:lnTo>
                    <a:pt x="98" y="148"/>
                  </a:lnTo>
                  <a:lnTo>
                    <a:pt x="100" y="148"/>
                  </a:lnTo>
                  <a:lnTo>
                    <a:pt x="104" y="148"/>
                  </a:lnTo>
                  <a:lnTo>
                    <a:pt x="108" y="146"/>
                  </a:lnTo>
                  <a:lnTo>
                    <a:pt x="110" y="146"/>
                  </a:lnTo>
                  <a:lnTo>
                    <a:pt x="112" y="144"/>
                  </a:lnTo>
                  <a:lnTo>
                    <a:pt x="114" y="144"/>
                  </a:lnTo>
                  <a:lnTo>
                    <a:pt x="114" y="142"/>
                  </a:lnTo>
                  <a:lnTo>
                    <a:pt x="114" y="142"/>
                  </a:lnTo>
                  <a:lnTo>
                    <a:pt x="114" y="142"/>
                  </a:lnTo>
                  <a:lnTo>
                    <a:pt x="114" y="140"/>
                  </a:lnTo>
                  <a:lnTo>
                    <a:pt x="114" y="140"/>
                  </a:lnTo>
                  <a:lnTo>
                    <a:pt x="114" y="136"/>
                  </a:lnTo>
                  <a:lnTo>
                    <a:pt x="114" y="136"/>
                  </a:lnTo>
                  <a:lnTo>
                    <a:pt x="116" y="136"/>
                  </a:lnTo>
                  <a:lnTo>
                    <a:pt x="116" y="134"/>
                  </a:lnTo>
                  <a:lnTo>
                    <a:pt x="118" y="134"/>
                  </a:lnTo>
                  <a:lnTo>
                    <a:pt x="120" y="132"/>
                  </a:lnTo>
                  <a:lnTo>
                    <a:pt x="122" y="130"/>
                  </a:lnTo>
                  <a:lnTo>
                    <a:pt x="124" y="130"/>
                  </a:lnTo>
                  <a:lnTo>
                    <a:pt x="124" y="130"/>
                  </a:lnTo>
                  <a:lnTo>
                    <a:pt x="126" y="128"/>
                  </a:lnTo>
                  <a:lnTo>
                    <a:pt x="126" y="126"/>
                  </a:lnTo>
                  <a:lnTo>
                    <a:pt x="128" y="122"/>
                  </a:lnTo>
                  <a:lnTo>
                    <a:pt x="132" y="118"/>
                  </a:lnTo>
                  <a:lnTo>
                    <a:pt x="130" y="116"/>
                  </a:lnTo>
                  <a:lnTo>
                    <a:pt x="130" y="114"/>
                  </a:lnTo>
                  <a:lnTo>
                    <a:pt x="130" y="114"/>
                  </a:lnTo>
                  <a:lnTo>
                    <a:pt x="128" y="112"/>
                  </a:lnTo>
                  <a:lnTo>
                    <a:pt x="128" y="110"/>
                  </a:lnTo>
                  <a:lnTo>
                    <a:pt x="128" y="108"/>
                  </a:lnTo>
                  <a:lnTo>
                    <a:pt x="128" y="106"/>
                  </a:lnTo>
                  <a:lnTo>
                    <a:pt x="128" y="100"/>
                  </a:lnTo>
                  <a:lnTo>
                    <a:pt x="128" y="94"/>
                  </a:lnTo>
                  <a:lnTo>
                    <a:pt x="130" y="88"/>
                  </a:lnTo>
                  <a:lnTo>
                    <a:pt x="130" y="86"/>
                  </a:lnTo>
                  <a:lnTo>
                    <a:pt x="128" y="84"/>
                  </a:lnTo>
                  <a:lnTo>
                    <a:pt x="128" y="82"/>
                  </a:lnTo>
                  <a:lnTo>
                    <a:pt x="128" y="80"/>
                  </a:lnTo>
                  <a:lnTo>
                    <a:pt x="128" y="78"/>
                  </a:lnTo>
                  <a:lnTo>
                    <a:pt x="126" y="76"/>
                  </a:lnTo>
                  <a:lnTo>
                    <a:pt x="126" y="76"/>
                  </a:lnTo>
                  <a:lnTo>
                    <a:pt x="126" y="76"/>
                  </a:lnTo>
                  <a:lnTo>
                    <a:pt x="124" y="76"/>
                  </a:lnTo>
                  <a:lnTo>
                    <a:pt x="124" y="76"/>
                  </a:lnTo>
                  <a:lnTo>
                    <a:pt x="124" y="76"/>
                  </a:lnTo>
                  <a:lnTo>
                    <a:pt x="122" y="76"/>
                  </a:lnTo>
                  <a:lnTo>
                    <a:pt x="120" y="76"/>
                  </a:lnTo>
                  <a:lnTo>
                    <a:pt x="118" y="76"/>
                  </a:lnTo>
                  <a:lnTo>
                    <a:pt x="116" y="76"/>
                  </a:lnTo>
                  <a:lnTo>
                    <a:pt x="116" y="76"/>
                  </a:lnTo>
                  <a:lnTo>
                    <a:pt x="114" y="76"/>
                  </a:lnTo>
                  <a:lnTo>
                    <a:pt x="114" y="76"/>
                  </a:lnTo>
                  <a:lnTo>
                    <a:pt x="114" y="76"/>
                  </a:lnTo>
                  <a:lnTo>
                    <a:pt x="114" y="74"/>
                  </a:lnTo>
                  <a:lnTo>
                    <a:pt x="112" y="74"/>
                  </a:lnTo>
                  <a:lnTo>
                    <a:pt x="112" y="72"/>
                  </a:lnTo>
                  <a:lnTo>
                    <a:pt x="112" y="72"/>
                  </a:lnTo>
                  <a:lnTo>
                    <a:pt x="112" y="70"/>
                  </a:lnTo>
                  <a:lnTo>
                    <a:pt x="112" y="66"/>
                  </a:lnTo>
                  <a:lnTo>
                    <a:pt x="114" y="64"/>
                  </a:lnTo>
                  <a:lnTo>
                    <a:pt x="114" y="62"/>
                  </a:lnTo>
                  <a:lnTo>
                    <a:pt x="114" y="60"/>
                  </a:lnTo>
                  <a:lnTo>
                    <a:pt x="114" y="60"/>
                  </a:lnTo>
                  <a:lnTo>
                    <a:pt x="112" y="58"/>
                  </a:lnTo>
                  <a:lnTo>
                    <a:pt x="112" y="58"/>
                  </a:lnTo>
                  <a:lnTo>
                    <a:pt x="112" y="58"/>
                  </a:lnTo>
                  <a:lnTo>
                    <a:pt x="110" y="58"/>
                  </a:lnTo>
                  <a:lnTo>
                    <a:pt x="110" y="58"/>
                  </a:lnTo>
                  <a:lnTo>
                    <a:pt x="110" y="58"/>
                  </a:lnTo>
                  <a:lnTo>
                    <a:pt x="108" y="58"/>
                  </a:lnTo>
                  <a:lnTo>
                    <a:pt x="106" y="58"/>
                  </a:lnTo>
                  <a:lnTo>
                    <a:pt x="102" y="58"/>
                  </a:lnTo>
                  <a:lnTo>
                    <a:pt x="100" y="58"/>
                  </a:lnTo>
                  <a:lnTo>
                    <a:pt x="98" y="58"/>
                  </a:lnTo>
                  <a:lnTo>
                    <a:pt x="96" y="58"/>
                  </a:lnTo>
                  <a:lnTo>
                    <a:pt x="94" y="56"/>
                  </a:lnTo>
                  <a:lnTo>
                    <a:pt x="92" y="56"/>
                  </a:lnTo>
                  <a:lnTo>
                    <a:pt x="92" y="54"/>
                  </a:lnTo>
                  <a:lnTo>
                    <a:pt x="90" y="54"/>
                  </a:lnTo>
                  <a:lnTo>
                    <a:pt x="90" y="54"/>
                  </a:lnTo>
                  <a:lnTo>
                    <a:pt x="90" y="52"/>
                  </a:lnTo>
                  <a:lnTo>
                    <a:pt x="88" y="50"/>
                  </a:lnTo>
                  <a:lnTo>
                    <a:pt x="88" y="48"/>
                  </a:lnTo>
                  <a:lnTo>
                    <a:pt x="88" y="48"/>
                  </a:lnTo>
                  <a:lnTo>
                    <a:pt x="86" y="46"/>
                  </a:lnTo>
                  <a:lnTo>
                    <a:pt x="86" y="46"/>
                  </a:lnTo>
                  <a:lnTo>
                    <a:pt x="86" y="46"/>
                  </a:lnTo>
                  <a:lnTo>
                    <a:pt x="84" y="46"/>
                  </a:lnTo>
                  <a:lnTo>
                    <a:pt x="82" y="46"/>
                  </a:lnTo>
                  <a:lnTo>
                    <a:pt x="80" y="46"/>
                  </a:lnTo>
                  <a:lnTo>
                    <a:pt x="78" y="46"/>
                  </a:lnTo>
                  <a:lnTo>
                    <a:pt x="76" y="46"/>
                  </a:lnTo>
                  <a:lnTo>
                    <a:pt x="74" y="44"/>
                  </a:lnTo>
                  <a:lnTo>
                    <a:pt x="74" y="44"/>
                  </a:lnTo>
                  <a:lnTo>
                    <a:pt x="74" y="44"/>
                  </a:lnTo>
                  <a:lnTo>
                    <a:pt x="74" y="44"/>
                  </a:lnTo>
                  <a:lnTo>
                    <a:pt x="74" y="42"/>
                  </a:lnTo>
                  <a:lnTo>
                    <a:pt x="72" y="42"/>
                  </a:lnTo>
                  <a:lnTo>
                    <a:pt x="72" y="40"/>
                  </a:lnTo>
                  <a:lnTo>
                    <a:pt x="72" y="38"/>
                  </a:lnTo>
                  <a:lnTo>
                    <a:pt x="74" y="36"/>
                  </a:lnTo>
                  <a:lnTo>
                    <a:pt x="74" y="34"/>
                  </a:lnTo>
                  <a:lnTo>
                    <a:pt x="72" y="32"/>
                  </a:lnTo>
                  <a:lnTo>
                    <a:pt x="72" y="32"/>
                  </a:lnTo>
                  <a:lnTo>
                    <a:pt x="72" y="32"/>
                  </a:lnTo>
                  <a:lnTo>
                    <a:pt x="72" y="32"/>
                  </a:lnTo>
                  <a:lnTo>
                    <a:pt x="72" y="32"/>
                  </a:lnTo>
                  <a:lnTo>
                    <a:pt x="70" y="30"/>
                  </a:lnTo>
                  <a:lnTo>
                    <a:pt x="68" y="30"/>
                  </a:lnTo>
                  <a:lnTo>
                    <a:pt x="68" y="30"/>
                  </a:lnTo>
                  <a:lnTo>
                    <a:pt x="66" y="30"/>
                  </a:lnTo>
                  <a:lnTo>
                    <a:pt x="64" y="30"/>
                  </a:lnTo>
                  <a:lnTo>
                    <a:pt x="64" y="28"/>
                  </a:lnTo>
                  <a:lnTo>
                    <a:pt x="62" y="28"/>
                  </a:lnTo>
                  <a:lnTo>
                    <a:pt x="62" y="28"/>
                  </a:lnTo>
                  <a:lnTo>
                    <a:pt x="62" y="28"/>
                  </a:lnTo>
                  <a:lnTo>
                    <a:pt x="62" y="26"/>
                  </a:lnTo>
                  <a:lnTo>
                    <a:pt x="62" y="26"/>
                  </a:lnTo>
                  <a:lnTo>
                    <a:pt x="62" y="24"/>
                  </a:lnTo>
                  <a:lnTo>
                    <a:pt x="60" y="22"/>
                  </a:lnTo>
                  <a:lnTo>
                    <a:pt x="60" y="18"/>
                  </a:lnTo>
                  <a:lnTo>
                    <a:pt x="60" y="18"/>
                  </a:lnTo>
                  <a:lnTo>
                    <a:pt x="60" y="16"/>
                  </a:lnTo>
                  <a:lnTo>
                    <a:pt x="58" y="12"/>
                  </a:lnTo>
                  <a:lnTo>
                    <a:pt x="58" y="10"/>
                  </a:lnTo>
                  <a:lnTo>
                    <a:pt x="56" y="10"/>
                  </a:lnTo>
                  <a:lnTo>
                    <a:pt x="56" y="8"/>
                  </a:lnTo>
                  <a:lnTo>
                    <a:pt x="54" y="6"/>
                  </a:lnTo>
                  <a:lnTo>
                    <a:pt x="52" y="6"/>
                  </a:lnTo>
                  <a:lnTo>
                    <a:pt x="50" y="4"/>
                  </a:lnTo>
                  <a:lnTo>
                    <a:pt x="48" y="4"/>
                  </a:lnTo>
                  <a:lnTo>
                    <a:pt x="46" y="2"/>
                  </a:lnTo>
                  <a:lnTo>
                    <a:pt x="44" y="2"/>
                  </a:lnTo>
                  <a:lnTo>
                    <a:pt x="42" y="0"/>
                  </a:lnTo>
                  <a:lnTo>
                    <a:pt x="38" y="0"/>
                  </a:lnTo>
                  <a:lnTo>
                    <a:pt x="38" y="0"/>
                  </a:lnTo>
                  <a:lnTo>
                    <a:pt x="36" y="0"/>
                  </a:lnTo>
                  <a:lnTo>
                    <a:pt x="36" y="0"/>
                  </a:lnTo>
                  <a:lnTo>
                    <a:pt x="36" y="0"/>
                  </a:lnTo>
                  <a:lnTo>
                    <a:pt x="34" y="2"/>
                  </a:lnTo>
                  <a:lnTo>
                    <a:pt x="32" y="2"/>
                  </a:lnTo>
                  <a:lnTo>
                    <a:pt x="32" y="4"/>
                  </a:lnTo>
                  <a:lnTo>
                    <a:pt x="28" y="6"/>
                  </a:lnTo>
                  <a:lnTo>
                    <a:pt x="26" y="8"/>
                  </a:lnTo>
                  <a:lnTo>
                    <a:pt x="26" y="10"/>
                  </a:lnTo>
                  <a:lnTo>
                    <a:pt x="24" y="10"/>
                  </a:lnTo>
                  <a:lnTo>
                    <a:pt x="22" y="10"/>
                  </a:lnTo>
                  <a:lnTo>
                    <a:pt x="18" y="12"/>
                  </a:lnTo>
                  <a:lnTo>
                    <a:pt x="14" y="12"/>
                  </a:lnTo>
                  <a:lnTo>
                    <a:pt x="12" y="14"/>
                  </a:lnTo>
                  <a:lnTo>
                    <a:pt x="10" y="14"/>
                  </a:lnTo>
                  <a:lnTo>
                    <a:pt x="10" y="14"/>
                  </a:lnTo>
                  <a:lnTo>
                    <a:pt x="10" y="16"/>
                  </a:lnTo>
                  <a:lnTo>
                    <a:pt x="8" y="16"/>
                  </a:lnTo>
                  <a:lnTo>
                    <a:pt x="8" y="18"/>
                  </a:lnTo>
                  <a:lnTo>
                    <a:pt x="6" y="20"/>
                  </a:lnTo>
                  <a:lnTo>
                    <a:pt x="6" y="22"/>
                  </a:lnTo>
                  <a:lnTo>
                    <a:pt x="4" y="24"/>
                  </a:lnTo>
                  <a:lnTo>
                    <a:pt x="4" y="28"/>
                  </a:lnTo>
                  <a:lnTo>
                    <a:pt x="4" y="30"/>
                  </a:lnTo>
                  <a:lnTo>
                    <a:pt x="2" y="34"/>
                  </a:lnTo>
                  <a:lnTo>
                    <a:pt x="0" y="42"/>
                  </a:lnTo>
                  <a:lnTo>
                    <a:pt x="0" y="54"/>
                  </a:lnTo>
                  <a:lnTo>
                    <a:pt x="2" y="58"/>
                  </a:lnTo>
                  <a:lnTo>
                    <a:pt x="6" y="60"/>
                  </a:lnTo>
                  <a:lnTo>
                    <a:pt x="6" y="62"/>
                  </a:lnTo>
                  <a:lnTo>
                    <a:pt x="8" y="64"/>
                  </a:lnTo>
                  <a:lnTo>
                    <a:pt x="10" y="64"/>
                  </a:lnTo>
                  <a:lnTo>
                    <a:pt x="10" y="64"/>
                  </a:lnTo>
                  <a:lnTo>
                    <a:pt x="14" y="66"/>
                  </a:lnTo>
                  <a:lnTo>
                    <a:pt x="18" y="68"/>
                  </a:lnTo>
                  <a:lnTo>
                    <a:pt x="20" y="68"/>
                  </a:lnTo>
                  <a:lnTo>
                    <a:pt x="22" y="7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2" name="Freeform 471">
              <a:extLst>
                <a:ext uri="{FF2B5EF4-FFF2-40B4-BE49-F238E27FC236}">
                  <a16:creationId xmlns:a16="http://schemas.microsoft.com/office/drawing/2014/main" id="{94A37B16-40B6-4249-AB51-BA520325BA0F}"/>
                </a:ext>
              </a:extLst>
            </p:cNvPr>
            <p:cNvSpPr>
              <a:spLocks/>
            </p:cNvSpPr>
            <p:nvPr/>
          </p:nvSpPr>
          <p:spPr bwMode="auto">
            <a:xfrm>
              <a:off x="2859303" y="5543426"/>
              <a:ext cx="135102" cy="148958"/>
            </a:xfrm>
            <a:custGeom>
              <a:avLst/>
              <a:gdLst>
                <a:gd name="T0" fmla="*/ 18 w 78"/>
                <a:gd name="T1" fmla="*/ 0 h 86"/>
                <a:gd name="T2" fmla="*/ 22 w 78"/>
                <a:gd name="T3" fmla="*/ 6 h 86"/>
                <a:gd name="T4" fmla="*/ 24 w 78"/>
                <a:gd name="T5" fmla="*/ 8 h 86"/>
                <a:gd name="T6" fmla="*/ 28 w 78"/>
                <a:gd name="T7" fmla="*/ 10 h 86"/>
                <a:gd name="T8" fmla="*/ 36 w 78"/>
                <a:gd name="T9" fmla="*/ 12 h 86"/>
                <a:gd name="T10" fmla="*/ 38 w 78"/>
                <a:gd name="T11" fmla="*/ 14 h 86"/>
                <a:gd name="T12" fmla="*/ 46 w 78"/>
                <a:gd name="T13" fmla="*/ 20 h 86"/>
                <a:gd name="T14" fmla="*/ 54 w 78"/>
                <a:gd name="T15" fmla="*/ 26 h 86"/>
                <a:gd name="T16" fmla="*/ 62 w 78"/>
                <a:gd name="T17" fmla="*/ 34 h 86"/>
                <a:gd name="T18" fmla="*/ 70 w 78"/>
                <a:gd name="T19" fmla="*/ 42 h 86"/>
                <a:gd name="T20" fmla="*/ 72 w 78"/>
                <a:gd name="T21" fmla="*/ 48 h 86"/>
                <a:gd name="T22" fmla="*/ 76 w 78"/>
                <a:gd name="T23" fmla="*/ 52 h 86"/>
                <a:gd name="T24" fmla="*/ 76 w 78"/>
                <a:gd name="T25" fmla="*/ 54 h 86"/>
                <a:gd name="T26" fmla="*/ 78 w 78"/>
                <a:gd name="T27" fmla="*/ 60 h 86"/>
                <a:gd name="T28" fmla="*/ 74 w 78"/>
                <a:gd name="T29" fmla="*/ 66 h 86"/>
                <a:gd name="T30" fmla="*/ 70 w 78"/>
                <a:gd name="T31" fmla="*/ 70 h 86"/>
                <a:gd name="T32" fmla="*/ 66 w 78"/>
                <a:gd name="T33" fmla="*/ 74 h 86"/>
                <a:gd name="T34" fmla="*/ 66 w 78"/>
                <a:gd name="T35" fmla="*/ 76 h 86"/>
                <a:gd name="T36" fmla="*/ 64 w 78"/>
                <a:gd name="T37" fmla="*/ 78 h 86"/>
                <a:gd name="T38" fmla="*/ 64 w 78"/>
                <a:gd name="T39" fmla="*/ 80 h 86"/>
                <a:gd name="T40" fmla="*/ 64 w 78"/>
                <a:gd name="T41" fmla="*/ 80 h 86"/>
                <a:gd name="T42" fmla="*/ 62 w 78"/>
                <a:gd name="T43" fmla="*/ 82 h 86"/>
                <a:gd name="T44" fmla="*/ 58 w 78"/>
                <a:gd name="T45" fmla="*/ 82 h 86"/>
                <a:gd name="T46" fmla="*/ 54 w 78"/>
                <a:gd name="T47" fmla="*/ 82 h 86"/>
                <a:gd name="T48" fmla="*/ 52 w 78"/>
                <a:gd name="T49" fmla="*/ 82 h 86"/>
                <a:gd name="T50" fmla="*/ 52 w 78"/>
                <a:gd name="T51" fmla="*/ 82 h 86"/>
                <a:gd name="T52" fmla="*/ 50 w 78"/>
                <a:gd name="T53" fmla="*/ 84 h 86"/>
                <a:gd name="T54" fmla="*/ 50 w 78"/>
                <a:gd name="T55" fmla="*/ 86 h 86"/>
                <a:gd name="T56" fmla="*/ 48 w 78"/>
                <a:gd name="T57" fmla="*/ 86 h 86"/>
                <a:gd name="T58" fmla="*/ 48 w 78"/>
                <a:gd name="T59" fmla="*/ 86 h 86"/>
                <a:gd name="T60" fmla="*/ 44 w 78"/>
                <a:gd name="T61" fmla="*/ 84 h 86"/>
                <a:gd name="T62" fmla="*/ 40 w 78"/>
                <a:gd name="T63" fmla="*/ 82 h 86"/>
                <a:gd name="T64" fmla="*/ 32 w 78"/>
                <a:gd name="T65" fmla="*/ 78 h 86"/>
                <a:gd name="T66" fmla="*/ 28 w 78"/>
                <a:gd name="T67" fmla="*/ 78 h 86"/>
                <a:gd name="T68" fmla="*/ 24 w 78"/>
                <a:gd name="T69" fmla="*/ 74 h 86"/>
                <a:gd name="T70" fmla="*/ 20 w 78"/>
                <a:gd name="T71" fmla="*/ 72 h 86"/>
                <a:gd name="T72" fmla="*/ 18 w 78"/>
                <a:gd name="T73" fmla="*/ 72 h 86"/>
                <a:gd name="T74" fmla="*/ 16 w 78"/>
                <a:gd name="T75" fmla="*/ 72 h 86"/>
                <a:gd name="T76" fmla="*/ 16 w 78"/>
                <a:gd name="T77" fmla="*/ 74 h 86"/>
                <a:gd name="T78" fmla="*/ 14 w 78"/>
                <a:gd name="T79" fmla="*/ 76 h 86"/>
                <a:gd name="T80" fmla="*/ 12 w 78"/>
                <a:gd name="T81" fmla="*/ 78 h 86"/>
                <a:gd name="T82" fmla="*/ 10 w 78"/>
                <a:gd name="T83" fmla="*/ 80 h 86"/>
                <a:gd name="T84" fmla="*/ 8 w 78"/>
                <a:gd name="T85" fmla="*/ 80 h 86"/>
                <a:gd name="T86" fmla="*/ 6 w 78"/>
                <a:gd name="T87" fmla="*/ 80 h 86"/>
                <a:gd name="T88" fmla="*/ 4 w 78"/>
                <a:gd name="T89" fmla="*/ 80 h 86"/>
                <a:gd name="T90" fmla="*/ 4 w 78"/>
                <a:gd name="T91" fmla="*/ 78 h 86"/>
                <a:gd name="T92" fmla="*/ 2 w 78"/>
                <a:gd name="T93" fmla="*/ 72 h 86"/>
                <a:gd name="T94" fmla="*/ 2 w 78"/>
                <a:gd name="T95" fmla="*/ 68 h 86"/>
                <a:gd name="T96" fmla="*/ 2 w 78"/>
                <a:gd name="T97" fmla="*/ 64 h 86"/>
                <a:gd name="T98" fmla="*/ 0 w 78"/>
                <a:gd name="T99" fmla="*/ 52 h 86"/>
                <a:gd name="T100" fmla="*/ 0 w 78"/>
                <a:gd name="T101" fmla="*/ 42 h 86"/>
                <a:gd name="T102" fmla="*/ 0 w 78"/>
                <a:gd name="T103" fmla="*/ 36 h 86"/>
                <a:gd name="T104" fmla="*/ 2 w 78"/>
                <a:gd name="T105" fmla="*/ 28 h 86"/>
                <a:gd name="T106" fmla="*/ 2 w 78"/>
                <a:gd name="T107" fmla="*/ 24 h 86"/>
                <a:gd name="T108" fmla="*/ 4 w 78"/>
                <a:gd name="T109" fmla="*/ 22 h 86"/>
                <a:gd name="T110" fmla="*/ 10 w 78"/>
                <a:gd name="T111" fmla="*/ 10 h 86"/>
                <a:gd name="T112" fmla="*/ 18 w 78"/>
                <a:gd name="T11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 h="86">
                  <a:moveTo>
                    <a:pt x="18" y="0"/>
                  </a:moveTo>
                  <a:lnTo>
                    <a:pt x="18" y="0"/>
                  </a:lnTo>
                  <a:lnTo>
                    <a:pt x="20" y="4"/>
                  </a:lnTo>
                  <a:lnTo>
                    <a:pt x="22" y="6"/>
                  </a:lnTo>
                  <a:lnTo>
                    <a:pt x="24" y="8"/>
                  </a:lnTo>
                  <a:lnTo>
                    <a:pt x="24" y="8"/>
                  </a:lnTo>
                  <a:lnTo>
                    <a:pt x="26" y="8"/>
                  </a:lnTo>
                  <a:lnTo>
                    <a:pt x="28" y="10"/>
                  </a:lnTo>
                  <a:lnTo>
                    <a:pt x="32" y="10"/>
                  </a:lnTo>
                  <a:lnTo>
                    <a:pt x="36" y="12"/>
                  </a:lnTo>
                  <a:lnTo>
                    <a:pt x="36" y="12"/>
                  </a:lnTo>
                  <a:lnTo>
                    <a:pt x="38" y="14"/>
                  </a:lnTo>
                  <a:lnTo>
                    <a:pt x="42" y="16"/>
                  </a:lnTo>
                  <a:lnTo>
                    <a:pt x="46" y="20"/>
                  </a:lnTo>
                  <a:lnTo>
                    <a:pt x="50" y="22"/>
                  </a:lnTo>
                  <a:lnTo>
                    <a:pt x="54" y="26"/>
                  </a:lnTo>
                  <a:lnTo>
                    <a:pt x="58" y="30"/>
                  </a:lnTo>
                  <a:lnTo>
                    <a:pt x="62" y="34"/>
                  </a:lnTo>
                  <a:lnTo>
                    <a:pt x="66" y="38"/>
                  </a:lnTo>
                  <a:lnTo>
                    <a:pt x="70" y="42"/>
                  </a:lnTo>
                  <a:lnTo>
                    <a:pt x="70" y="44"/>
                  </a:lnTo>
                  <a:lnTo>
                    <a:pt x="72" y="48"/>
                  </a:lnTo>
                  <a:lnTo>
                    <a:pt x="74" y="50"/>
                  </a:lnTo>
                  <a:lnTo>
                    <a:pt x="76" y="52"/>
                  </a:lnTo>
                  <a:lnTo>
                    <a:pt x="76" y="54"/>
                  </a:lnTo>
                  <a:lnTo>
                    <a:pt x="76" y="54"/>
                  </a:lnTo>
                  <a:lnTo>
                    <a:pt x="76" y="56"/>
                  </a:lnTo>
                  <a:lnTo>
                    <a:pt x="78" y="60"/>
                  </a:lnTo>
                  <a:lnTo>
                    <a:pt x="78" y="64"/>
                  </a:lnTo>
                  <a:lnTo>
                    <a:pt x="74" y="66"/>
                  </a:lnTo>
                  <a:lnTo>
                    <a:pt x="72" y="68"/>
                  </a:lnTo>
                  <a:lnTo>
                    <a:pt x="70" y="70"/>
                  </a:lnTo>
                  <a:lnTo>
                    <a:pt x="68" y="72"/>
                  </a:lnTo>
                  <a:lnTo>
                    <a:pt x="66" y="74"/>
                  </a:lnTo>
                  <a:lnTo>
                    <a:pt x="66" y="74"/>
                  </a:lnTo>
                  <a:lnTo>
                    <a:pt x="66" y="76"/>
                  </a:lnTo>
                  <a:lnTo>
                    <a:pt x="66" y="76"/>
                  </a:lnTo>
                  <a:lnTo>
                    <a:pt x="64" y="78"/>
                  </a:lnTo>
                  <a:lnTo>
                    <a:pt x="64" y="80"/>
                  </a:lnTo>
                  <a:lnTo>
                    <a:pt x="64" y="80"/>
                  </a:lnTo>
                  <a:lnTo>
                    <a:pt x="64" y="80"/>
                  </a:lnTo>
                  <a:lnTo>
                    <a:pt x="64" y="80"/>
                  </a:lnTo>
                  <a:lnTo>
                    <a:pt x="62" y="80"/>
                  </a:lnTo>
                  <a:lnTo>
                    <a:pt x="62" y="82"/>
                  </a:lnTo>
                  <a:lnTo>
                    <a:pt x="60" y="82"/>
                  </a:lnTo>
                  <a:lnTo>
                    <a:pt x="58" y="82"/>
                  </a:lnTo>
                  <a:lnTo>
                    <a:pt x="56" y="82"/>
                  </a:lnTo>
                  <a:lnTo>
                    <a:pt x="54" y="82"/>
                  </a:lnTo>
                  <a:lnTo>
                    <a:pt x="54" y="82"/>
                  </a:lnTo>
                  <a:lnTo>
                    <a:pt x="52" y="82"/>
                  </a:lnTo>
                  <a:lnTo>
                    <a:pt x="52" y="82"/>
                  </a:lnTo>
                  <a:lnTo>
                    <a:pt x="52" y="82"/>
                  </a:lnTo>
                  <a:lnTo>
                    <a:pt x="52" y="84"/>
                  </a:lnTo>
                  <a:lnTo>
                    <a:pt x="50" y="84"/>
                  </a:lnTo>
                  <a:lnTo>
                    <a:pt x="50" y="86"/>
                  </a:lnTo>
                  <a:lnTo>
                    <a:pt x="50" y="86"/>
                  </a:lnTo>
                  <a:lnTo>
                    <a:pt x="50" y="86"/>
                  </a:lnTo>
                  <a:lnTo>
                    <a:pt x="48" y="86"/>
                  </a:lnTo>
                  <a:lnTo>
                    <a:pt x="48" y="86"/>
                  </a:lnTo>
                  <a:lnTo>
                    <a:pt x="48" y="86"/>
                  </a:lnTo>
                  <a:lnTo>
                    <a:pt x="46" y="86"/>
                  </a:lnTo>
                  <a:lnTo>
                    <a:pt x="44" y="84"/>
                  </a:lnTo>
                  <a:lnTo>
                    <a:pt x="44" y="84"/>
                  </a:lnTo>
                  <a:lnTo>
                    <a:pt x="40" y="82"/>
                  </a:lnTo>
                  <a:lnTo>
                    <a:pt x="36" y="80"/>
                  </a:lnTo>
                  <a:lnTo>
                    <a:pt x="32" y="78"/>
                  </a:lnTo>
                  <a:lnTo>
                    <a:pt x="28" y="78"/>
                  </a:lnTo>
                  <a:lnTo>
                    <a:pt x="28" y="78"/>
                  </a:lnTo>
                  <a:lnTo>
                    <a:pt x="26" y="76"/>
                  </a:lnTo>
                  <a:lnTo>
                    <a:pt x="24" y="74"/>
                  </a:lnTo>
                  <a:lnTo>
                    <a:pt x="22" y="74"/>
                  </a:lnTo>
                  <a:lnTo>
                    <a:pt x="20" y="72"/>
                  </a:lnTo>
                  <a:lnTo>
                    <a:pt x="18" y="72"/>
                  </a:lnTo>
                  <a:lnTo>
                    <a:pt x="18" y="72"/>
                  </a:lnTo>
                  <a:lnTo>
                    <a:pt x="18" y="72"/>
                  </a:lnTo>
                  <a:lnTo>
                    <a:pt x="16" y="72"/>
                  </a:lnTo>
                  <a:lnTo>
                    <a:pt x="16" y="72"/>
                  </a:lnTo>
                  <a:lnTo>
                    <a:pt x="16" y="74"/>
                  </a:lnTo>
                  <a:lnTo>
                    <a:pt x="14" y="74"/>
                  </a:lnTo>
                  <a:lnTo>
                    <a:pt x="14" y="76"/>
                  </a:lnTo>
                  <a:lnTo>
                    <a:pt x="12" y="78"/>
                  </a:lnTo>
                  <a:lnTo>
                    <a:pt x="12" y="78"/>
                  </a:lnTo>
                  <a:lnTo>
                    <a:pt x="12" y="80"/>
                  </a:lnTo>
                  <a:lnTo>
                    <a:pt x="10" y="80"/>
                  </a:lnTo>
                  <a:lnTo>
                    <a:pt x="8" y="80"/>
                  </a:lnTo>
                  <a:lnTo>
                    <a:pt x="8" y="80"/>
                  </a:lnTo>
                  <a:lnTo>
                    <a:pt x="6" y="80"/>
                  </a:lnTo>
                  <a:lnTo>
                    <a:pt x="6" y="80"/>
                  </a:lnTo>
                  <a:lnTo>
                    <a:pt x="6" y="80"/>
                  </a:lnTo>
                  <a:lnTo>
                    <a:pt x="4" y="80"/>
                  </a:lnTo>
                  <a:lnTo>
                    <a:pt x="4" y="78"/>
                  </a:lnTo>
                  <a:lnTo>
                    <a:pt x="4" y="78"/>
                  </a:lnTo>
                  <a:lnTo>
                    <a:pt x="4" y="76"/>
                  </a:lnTo>
                  <a:lnTo>
                    <a:pt x="2" y="72"/>
                  </a:lnTo>
                  <a:lnTo>
                    <a:pt x="2" y="70"/>
                  </a:lnTo>
                  <a:lnTo>
                    <a:pt x="2" y="68"/>
                  </a:lnTo>
                  <a:lnTo>
                    <a:pt x="2" y="66"/>
                  </a:lnTo>
                  <a:lnTo>
                    <a:pt x="2" y="64"/>
                  </a:lnTo>
                  <a:lnTo>
                    <a:pt x="2" y="58"/>
                  </a:lnTo>
                  <a:lnTo>
                    <a:pt x="0" y="52"/>
                  </a:lnTo>
                  <a:lnTo>
                    <a:pt x="0" y="46"/>
                  </a:lnTo>
                  <a:lnTo>
                    <a:pt x="0" y="42"/>
                  </a:lnTo>
                  <a:lnTo>
                    <a:pt x="0" y="40"/>
                  </a:lnTo>
                  <a:lnTo>
                    <a:pt x="0" y="36"/>
                  </a:lnTo>
                  <a:lnTo>
                    <a:pt x="0" y="32"/>
                  </a:lnTo>
                  <a:lnTo>
                    <a:pt x="2" y="28"/>
                  </a:lnTo>
                  <a:lnTo>
                    <a:pt x="2" y="26"/>
                  </a:lnTo>
                  <a:lnTo>
                    <a:pt x="2" y="24"/>
                  </a:lnTo>
                  <a:lnTo>
                    <a:pt x="2" y="24"/>
                  </a:lnTo>
                  <a:lnTo>
                    <a:pt x="4" y="22"/>
                  </a:lnTo>
                  <a:lnTo>
                    <a:pt x="6" y="18"/>
                  </a:lnTo>
                  <a:lnTo>
                    <a:pt x="10" y="10"/>
                  </a:lnTo>
                  <a:lnTo>
                    <a:pt x="14" y="4"/>
                  </a:lnTo>
                  <a:lnTo>
                    <a:pt x="18"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3" name="Freeform 472">
              <a:extLst>
                <a:ext uri="{FF2B5EF4-FFF2-40B4-BE49-F238E27FC236}">
                  <a16:creationId xmlns:a16="http://schemas.microsoft.com/office/drawing/2014/main" id="{9D5F2D7B-6761-4102-B1FC-FEACD0F8C6BA}"/>
                </a:ext>
              </a:extLst>
            </p:cNvPr>
            <p:cNvSpPr>
              <a:spLocks/>
            </p:cNvSpPr>
            <p:nvPr/>
          </p:nvSpPr>
          <p:spPr bwMode="auto">
            <a:xfrm>
              <a:off x="2859303" y="5543426"/>
              <a:ext cx="135102" cy="148958"/>
            </a:xfrm>
            <a:custGeom>
              <a:avLst/>
              <a:gdLst>
                <a:gd name="T0" fmla="*/ 18 w 78"/>
                <a:gd name="T1" fmla="*/ 0 h 86"/>
                <a:gd name="T2" fmla="*/ 22 w 78"/>
                <a:gd name="T3" fmla="*/ 6 h 86"/>
                <a:gd name="T4" fmla="*/ 24 w 78"/>
                <a:gd name="T5" fmla="*/ 8 h 86"/>
                <a:gd name="T6" fmla="*/ 28 w 78"/>
                <a:gd name="T7" fmla="*/ 10 h 86"/>
                <a:gd name="T8" fmla="*/ 36 w 78"/>
                <a:gd name="T9" fmla="*/ 12 h 86"/>
                <a:gd name="T10" fmla="*/ 38 w 78"/>
                <a:gd name="T11" fmla="*/ 14 h 86"/>
                <a:gd name="T12" fmla="*/ 46 w 78"/>
                <a:gd name="T13" fmla="*/ 20 h 86"/>
                <a:gd name="T14" fmla="*/ 54 w 78"/>
                <a:gd name="T15" fmla="*/ 26 h 86"/>
                <a:gd name="T16" fmla="*/ 62 w 78"/>
                <a:gd name="T17" fmla="*/ 34 h 86"/>
                <a:gd name="T18" fmla="*/ 70 w 78"/>
                <a:gd name="T19" fmla="*/ 42 h 86"/>
                <a:gd name="T20" fmla="*/ 72 w 78"/>
                <a:gd name="T21" fmla="*/ 48 h 86"/>
                <a:gd name="T22" fmla="*/ 76 w 78"/>
                <a:gd name="T23" fmla="*/ 52 h 86"/>
                <a:gd name="T24" fmla="*/ 76 w 78"/>
                <a:gd name="T25" fmla="*/ 54 h 86"/>
                <a:gd name="T26" fmla="*/ 78 w 78"/>
                <a:gd name="T27" fmla="*/ 60 h 86"/>
                <a:gd name="T28" fmla="*/ 74 w 78"/>
                <a:gd name="T29" fmla="*/ 66 h 86"/>
                <a:gd name="T30" fmla="*/ 70 w 78"/>
                <a:gd name="T31" fmla="*/ 70 h 86"/>
                <a:gd name="T32" fmla="*/ 66 w 78"/>
                <a:gd name="T33" fmla="*/ 74 h 86"/>
                <a:gd name="T34" fmla="*/ 66 w 78"/>
                <a:gd name="T35" fmla="*/ 76 h 86"/>
                <a:gd name="T36" fmla="*/ 64 w 78"/>
                <a:gd name="T37" fmla="*/ 78 h 86"/>
                <a:gd name="T38" fmla="*/ 64 w 78"/>
                <a:gd name="T39" fmla="*/ 80 h 86"/>
                <a:gd name="T40" fmla="*/ 64 w 78"/>
                <a:gd name="T41" fmla="*/ 80 h 86"/>
                <a:gd name="T42" fmla="*/ 62 w 78"/>
                <a:gd name="T43" fmla="*/ 82 h 86"/>
                <a:gd name="T44" fmla="*/ 58 w 78"/>
                <a:gd name="T45" fmla="*/ 82 h 86"/>
                <a:gd name="T46" fmla="*/ 54 w 78"/>
                <a:gd name="T47" fmla="*/ 82 h 86"/>
                <a:gd name="T48" fmla="*/ 52 w 78"/>
                <a:gd name="T49" fmla="*/ 82 h 86"/>
                <a:gd name="T50" fmla="*/ 52 w 78"/>
                <a:gd name="T51" fmla="*/ 82 h 86"/>
                <a:gd name="T52" fmla="*/ 50 w 78"/>
                <a:gd name="T53" fmla="*/ 84 h 86"/>
                <a:gd name="T54" fmla="*/ 50 w 78"/>
                <a:gd name="T55" fmla="*/ 86 h 86"/>
                <a:gd name="T56" fmla="*/ 48 w 78"/>
                <a:gd name="T57" fmla="*/ 86 h 86"/>
                <a:gd name="T58" fmla="*/ 48 w 78"/>
                <a:gd name="T59" fmla="*/ 86 h 86"/>
                <a:gd name="T60" fmla="*/ 44 w 78"/>
                <a:gd name="T61" fmla="*/ 84 h 86"/>
                <a:gd name="T62" fmla="*/ 40 w 78"/>
                <a:gd name="T63" fmla="*/ 82 h 86"/>
                <a:gd name="T64" fmla="*/ 32 w 78"/>
                <a:gd name="T65" fmla="*/ 78 h 86"/>
                <a:gd name="T66" fmla="*/ 28 w 78"/>
                <a:gd name="T67" fmla="*/ 78 h 86"/>
                <a:gd name="T68" fmla="*/ 24 w 78"/>
                <a:gd name="T69" fmla="*/ 74 h 86"/>
                <a:gd name="T70" fmla="*/ 20 w 78"/>
                <a:gd name="T71" fmla="*/ 72 h 86"/>
                <a:gd name="T72" fmla="*/ 18 w 78"/>
                <a:gd name="T73" fmla="*/ 72 h 86"/>
                <a:gd name="T74" fmla="*/ 16 w 78"/>
                <a:gd name="T75" fmla="*/ 72 h 86"/>
                <a:gd name="T76" fmla="*/ 16 w 78"/>
                <a:gd name="T77" fmla="*/ 74 h 86"/>
                <a:gd name="T78" fmla="*/ 14 w 78"/>
                <a:gd name="T79" fmla="*/ 76 h 86"/>
                <a:gd name="T80" fmla="*/ 12 w 78"/>
                <a:gd name="T81" fmla="*/ 78 h 86"/>
                <a:gd name="T82" fmla="*/ 10 w 78"/>
                <a:gd name="T83" fmla="*/ 80 h 86"/>
                <a:gd name="T84" fmla="*/ 8 w 78"/>
                <a:gd name="T85" fmla="*/ 80 h 86"/>
                <a:gd name="T86" fmla="*/ 6 w 78"/>
                <a:gd name="T87" fmla="*/ 80 h 86"/>
                <a:gd name="T88" fmla="*/ 4 w 78"/>
                <a:gd name="T89" fmla="*/ 80 h 86"/>
                <a:gd name="T90" fmla="*/ 4 w 78"/>
                <a:gd name="T91" fmla="*/ 78 h 86"/>
                <a:gd name="T92" fmla="*/ 2 w 78"/>
                <a:gd name="T93" fmla="*/ 72 h 86"/>
                <a:gd name="T94" fmla="*/ 2 w 78"/>
                <a:gd name="T95" fmla="*/ 68 h 86"/>
                <a:gd name="T96" fmla="*/ 2 w 78"/>
                <a:gd name="T97" fmla="*/ 64 h 86"/>
                <a:gd name="T98" fmla="*/ 0 w 78"/>
                <a:gd name="T99" fmla="*/ 52 h 86"/>
                <a:gd name="T100" fmla="*/ 0 w 78"/>
                <a:gd name="T101" fmla="*/ 42 h 86"/>
                <a:gd name="T102" fmla="*/ 0 w 78"/>
                <a:gd name="T103" fmla="*/ 36 h 86"/>
                <a:gd name="T104" fmla="*/ 2 w 78"/>
                <a:gd name="T105" fmla="*/ 28 h 86"/>
                <a:gd name="T106" fmla="*/ 2 w 78"/>
                <a:gd name="T107" fmla="*/ 24 h 86"/>
                <a:gd name="T108" fmla="*/ 4 w 78"/>
                <a:gd name="T109" fmla="*/ 22 h 86"/>
                <a:gd name="T110" fmla="*/ 10 w 78"/>
                <a:gd name="T111" fmla="*/ 10 h 86"/>
                <a:gd name="T112" fmla="*/ 18 w 78"/>
                <a:gd name="T11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 h="86">
                  <a:moveTo>
                    <a:pt x="18" y="0"/>
                  </a:moveTo>
                  <a:lnTo>
                    <a:pt x="18" y="0"/>
                  </a:lnTo>
                  <a:lnTo>
                    <a:pt x="20" y="4"/>
                  </a:lnTo>
                  <a:lnTo>
                    <a:pt x="22" y="6"/>
                  </a:lnTo>
                  <a:lnTo>
                    <a:pt x="24" y="8"/>
                  </a:lnTo>
                  <a:lnTo>
                    <a:pt x="24" y="8"/>
                  </a:lnTo>
                  <a:lnTo>
                    <a:pt x="26" y="8"/>
                  </a:lnTo>
                  <a:lnTo>
                    <a:pt x="28" y="10"/>
                  </a:lnTo>
                  <a:lnTo>
                    <a:pt x="32" y="10"/>
                  </a:lnTo>
                  <a:lnTo>
                    <a:pt x="36" y="12"/>
                  </a:lnTo>
                  <a:lnTo>
                    <a:pt x="36" y="12"/>
                  </a:lnTo>
                  <a:lnTo>
                    <a:pt x="38" y="14"/>
                  </a:lnTo>
                  <a:lnTo>
                    <a:pt x="42" y="16"/>
                  </a:lnTo>
                  <a:lnTo>
                    <a:pt x="46" y="20"/>
                  </a:lnTo>
                  <a:lnTo>
                    <a:pt x="50" y="22"/>
                  </a:lnTo>
                  <a:lnTo>
                    <a:pt x="54" y="26"/>
                  </a:lnTo>
                  <a:lnTo>
                    <a:pt x="58" y="30"/>
                  </a:lnTo>
                  <a:lnTo>
                    <a:pt x="62" y="34"/>
                  </a:lnTo>
                  <a:lnTo>
                    <a:pt x="66" y="38"/>
                  </a:lnTo>
                  <a:lnTo>
                    <a:pt x="70" y="42"/>
                  </a:lnTo>
                  <a:lnTo>
                    <a:pt x="70" y="44"/>
                  </a:lnTo>
                  <a:lnTo>
                    <a:pt x="72" y="48"/>
                  </a:lnTo>
                  <a:lnTo>
                    <a:pt x="74" y="50"/>
                  </a:lnTo>
                  <a:lnTo>
                    <a:pt x="76" y="52"/>
                  </a:lnTo>
                  <a:lnTo>
                    <a:pt x="76" y="54"/>
                  </a:lnTo>
                  <a:lnTo>
                    <a:pt x="76" y="54"/>
                  </a:lnTo>
                  <a:lnTo>
                    <a:pt x="76" y="56"/>
                  </a:lnTo>
                  <a:lnTo>
                    <a:pt x="78" y="60"/>
                  </a:lnTo>
                  <a:lnTo>
                    <a:pt x="78" y="64"/>
                  </a:lnTo>
                  <a:lnTo>
                    <a:pt x="74" y="66"/>
                  </a:lnTo>
                  <a:lnTo>
                    <a:pt x="72" y="68"/>
                  </a:lnTo>
                  <a:lnTo>
                    <a:pt x="70" y="70"/>
                  </a:lnTo>
                  <a:lnTo>
                    <a:pt x="68" y="72"/>
                  </a:lnTo>
                  <a:lnTo>
                    <a:pt x="66" y="74"/>
                  </a:lnTo>
                  <a:lnTo>
                    <a:pt x="66" y="74"/>
                  </a:lnTo>
                  <a:lnTo>
                    <a:pt x="66" y="76"/>
                  </a:lnTo>
                  <a:lnTo>
                    <a:pt x="66" y="76"/>
                  </a:lnTo>
                  <a:lnTo>
                    <a:pt x="64" y="78"/>
                  </a:lnTo>
                  <a:lnTo>
                    <a:pt x="64" y="80"/>
                  </a:lnTo>
                  <a:lnTo>
                    <a:pt x="64" y="80"/>
                  </a:lnTo>
                  <a:lnTo>
                    <a:pt x="64" y="80"/>
                  </a:lnTo>
                  <a:lnTo>
                    <a:pt x="64" y="80"/>
                  </a:lnTo>
                  <a:lnTo>
                    <a:pt x="62" y="80"/>
                  </a:lnTo>
                  <a:lnTo>
                    <a:pt x="62" y="82"/>
                  </a:lnTo>
                  <a:lnTo>
                    <a:pt x="60" y="82"/>
                  </a:lnTo>
                  <a:lnTo>
                    <a:pt x="58" y="82"/>
                  </a:lnTo>
                  <a:lnTo>
                    <a:pt x="56" y="82"/>
                  </a:lnTo>
                  <a:lnTo>
                    <a:pt x="54" y="82"/>
                  </a:lnTo>
                  <a:lnTo>
                    <a:pt x="54" y="82"/>
                  </a:lnTo>
                  <a:lnTo>
                    <a:pt x="52" y="82"/>
                  </a:lnTo>
                  <a:lnTo>
                    <a:pt x="52" y="82"/>
                  </a:lnTo>
                  <a:lnTo>
                    <a:pt x="52" y="82"/>
                  </a:lnTo>
                  <a:lnTo>
                    <a:pt x="52" y="84"/>
                  </a:lnTo>
                  <a:lnTo>
                    <a:pt x="50" y="84"/>
                  </a:lnTo>
                  <a:lnTo>
                    <a:pt x="50" y="86"/>
                  </a:lnTo>
                  <a:lnTo>
                    <a:pt x="50" y="86"/>
                  </a:lnTo>
                  <a:lnTo>
                    <a:pt x="50" y="86"/>
                  </a:lnTo>
                  <a:lnTo>
                    <a:pt x="48" y="86"/>
                  </a:lnTo>
                  <a:lnTo>
                    <a:pt x="48" y="86"/>
                  </a:lnTo>
                  <a:lnTo>
                    <a:pt x="48" y="86"/>
                  </a:lnTo>
                  <a:lnTo>
                    <a:pt x="46" y="86"/>
                  </a:lnTo>
                  <a:lnTo>
                    <a:pt x="44" y="84"/>
                  </a:lnTo>
                  <a:lnTo>
                    <a:pt x="44" y="84"/>
                  </a:lnTo>
                  <a:lnTo>
                    <a:pt x="40" y="82"/>
                  </a:lnTo>
                  <a:lnTo>
                    <a:pt x="36" y="80"/>
                  </a:lnTo>
                  <a:lnTo>
                    <a:pt x="32" y="78"/>
                  </a:lnTo>
                  <a:lnTo>
                    <a:pt x="28" y="78"/>
                  </a:lnTo>
                  <a:lnTo>
                    <a:pt x="28" y="78"/>
                  </a:lnTo>
                  <a:lnTo>
                    <a:pt x="26" y="76"/>
                  </a:lnTo>
                  <a:lnTo>
                    <a:pt x="24" y="74"/>
                  </a:lnTo>
                  <a:lnTo>
                    <a:pt x="22" y="74"/>
                  </a:lnTo>
                  <a:lnTo>
                    <a:pt x="20" y="72"/>
                  </a:lnTo>
                  <a:lnTo>
                    <a:pt x="18" y="72"/>
                  </a:lnTo>
                  <a:lnTo>
                    <a:pt x="18" y="72"/>
                  </a:lnTo>
                  <a:lnTo>
                    <a:pt x="18" y="72"/>
                  </a:lnTo>
                  <a:lnTo>
                    <a:pt x="16" y="72"/>
                  </a:lnTo>
                  <a:lnTo>
                    <a:pt x="16" y="72"/>
                  </a:lnTo>
                  <a:lnTo>
                    <a:pt x="16" y="74"/>
                  </a:lnTo>
                  <a:lnTo>
                    <a:pt x="14" y="74"/>
                  </a:lnTo>
                  <a:lnTo>
                    <a:pt x="14" y="76"/>
                  </a:lnTo>
                  <a:lnTo>
                    <a:pt x="12" y="78"/>
                  </a:lnTo>
                  <a:lnTo>
                    <a:pt x="12" y="78"/>
                  </a:lnTo>
                  <a:lnTo>
                    <a:pt x="12" y="80"/>
                  </a:lnTo>
                  <a:lnTo>
                    <a:pt x="10" y="80"/>
                  </a:lnTo>
                  <a:lnTo>
                    <a:pt x="8" y="80"/>
                  </a:lnTo>
                  <a:lnTo>
                    <a:pt x="8" y="80"/>
                  </a:lnTo>
                  <a:lnTo>
                    <a:pt x="6" y="80"/>
                  </a:lnTo>
                  <a:lnTo>
                    <a:pt x="6" y="80"/>
                  </a:lnTo>
                  <a:lnTo>
                    <a:pt x="6" y="80"/>
                  </a:lnTo>
                  <a:lnTo>
                    <a:pt x="4" y="80"/>
                  </a:lnTo>
                  <a:lnTo>
                    <a:pt x="4" y="78"/>
                  </a:lnTo>
                  <a:lnTo>
                    <a:pt x="4" y="78"/>
                  </a:lnTo>
                  <a:lnTo>
                    <a:pt x="4" y="76"/>
                  </a:lnTo>
                  <a:lnTo>
                    <a:pt x="2" y="72"/>
                  </a:lnTo>
                  <a:lnTo>
                    <a:pt x="2" y="70"/>
                  </a:lnTo>
                  <a:lnTo>
                    <a:pt x="2" y="68"/>
                  </a:lnTo>
                  <a:lnTo>
                    <a:pt x="2" y="66"/>
                  </a:lnTo>
                  <a:lnTo>
                    <a:pt x="2" y="64"/>
                  </a:lnTo>
                  <a:lnTo>
                    <a:pt x="2" y="58"/>
                  </a:lnTo>
                  <a:lnTo>
                    <a:pt x="0" y="52"/>
                  </a:lnTo>
                  <a:lnTo>
                    <a:pt x="0" y="46"/>
                  </a:lnTo>
                  <a:lnTo>
                    <a:pt x="0" y="42"/>
                  </a:lnTo>
                  <a:lnTo>
                    <a:pt x="0" y="40"/>
                  </a:lnTo>
                  <a:lnTo>
                    <a:pt x="0" y="36"/>
                  </a:lnTo>
                  <a:lnTo>
                    <a:pt x="0" y="32"/>
                  </a:lnTo>
                  <a:lnTo>
                    <a:pt x="2" y="28"/>
                  </a:lnTo>
                  <a:lnTo>
                    <a:pt x="2" y="26"/>
                  </a:lnTo>
                  <a:lnTo>
                    <a:pt x="2" y="24"/>
                  </a:lnTo>
                  <a:lnTo>
                    <a:pt x="2" y="24"/>
                  </a:lnTo>
                  <a:lnTo>
                    <a:pt x="4" y="22"/>
                  </a:lnTo>
                  <a:lnTo>
                    <a:pt x="6" y="18"/>
                  </a:lnTo>
                  <a:lnTo>
                    <a:pt x="10" y="10"/>
                  </a:lnTo>
                  <a:lnTo>
                    <a:pt x="14" y="4"/>
                  </a:lnTo>
                  <a:lnTo>
                    <a:pt x="18"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4" name="Freeform 473">
              <a:extLst>
                <a:ext uri="{FF2B5EF4-FFF2-40B4-BE49-F238E27FC236}">
                  <a16:creationId xmlns:a16="http://schemas.microsoft.com/office/drawing/2014/main" id="{50402DF6-DE39-4F1A-8B04-AC115988DD8A}"/>
                </a:ext>
              </a:extLst>
            </p:cNvPr>
            <p:cNvSpPr>
              <a:spLocks/>
            </p:cNvSpPr>
            <p:nvPr/>
          </p:nvSpPr>
          <p:spPr bwMode="auto">
            <a:xfrm>
              <a:off x="2547529" y="4947592"/>
              <a:ext cx="311774" cy="384521"/>
            </a:xfrm>
            <a:custGeom>
              <a:avLst/>
              <a:gdLst>
                <a:gd name="T0" fmla="*/ 172 w 180"/>
                <a:gd name="T1" fmla="*/ 170 h 222"/>
                <a:gd name="T2" fmla="*/ 180 w 180"/>
                <a:gd name="T3" fmla="*/ 154 h 222"/>
                <a:gd name="T4" fmla="*/ 178 w 180"/>
                <a:gd name="T5" fmla="*/ 142 h 222"/>
                <a:gd name="T6" fmla="*/ 174 w 180"/>
                <a:gd name="T7" fmla="*/ 138 h 222"/>
                <a:gd name="T8" fmla="*/ 172 w 180"/>
                <a:gd name="T9" fmla="*/ 128 h 222"/>
                <a:gd name="T10" fmla="*/ 166 w 180"/>
                <a:gd name="T11" fmla="*/ 126 h 222"/>
                <a:gd name="T12" fmla="*/ 164 w 180"/>
                <a:gd name="T13" fmla="*/ 122 h 222"/>
                <a:gd name="T14" fmla="*/ 162 w 180"/>
                <a:gd name="T15" fmla="*/ 114 h 222"/>
                <a:gd name="T16" fmla="*/ 146 w 180"/>
                <a:gd name="T17" fmla="*/ 116 h 222"/>
                <a:gd name="T18" fmla="*/ 140 w 180"/>
                <a:gd name="T19" fmla="*/ 114 h 222"/>
                <a:gd name="T20" fmla="*/ 134 w 180"/>
                <a:gd name="T21" fmla="*/ 108 h 222"/>
                <a:gd name="T22" fmla="*/ 132 w 180"/>
                <a:gd name="T23" fmla="*/ 96 h 222"/>
                <a:gd name="T24" fmla="*/ 134 w 180"/>
                <a:gd name="T25" fmla="*/ 86 h 222"/>
                <a:gd name="T26" fmla="*/ 140 w 180"/>
                <a:gd name="T27" fmla="*/ 82 h 222"/>
                <a:gd name="T28" fmla="*/ 134 w 180"/>
                <a:gd name="T29" fmla="*/ 82 h 222"/>
                <a:gd name="T30" fmla="*/ 132 w 180"/>
                <a:gd name="T31" fmla="*/ 76 h 222"/>
                <a:gd name="T32" fmla="*/ 132 w 180"/>
                <a:gd name="T33" fmla="*/ 68 h 222"/>
                <a:gd name="T34" fmla="*/ 122 w 180"/>
                <a:gd name="T35" fmla="*/ 64 h 222"/>
                <a:gd name="T36" fmla="*/ 108 w 180"/>
                <a:gd name="T37" fmla="*/ 64 h 222"/>
                <a:gd name="T38" fmla="*/ 108 w 180"/>
                <a:gd name="T39" fmla="*/ 56 h 222"/>
                <a:gd name="T40" fmla="*/ 104 w 180"/>
                <a:gd name="T41" fmla="*/ 54 h 222"/>
                <a:gd name="T42" fmla="*/ 94 w 180"/>
                <a:gd name="T43" fmla="*/ 50 h 222"/>
                <a:gd name="T44" fmla="*/ 86 w 180"/>
                <a:gd name="T45" fmla="*/ 48 h 222"/>
                <a:gd name="T46" fmla="*/ 72 w 180"/>
                <a:gd name="T47" fmla="*/ 48 h 222"/>
                <a:gd name="T48" fmla="*/ 64 w 180"/>
                <a:gd name="T49" fmla="*/ 36 h 222"/>
                <a:gd name="T50" fmla="*/ 64 w 180"/>
                <a:gd name="T51" fmla="*/ 10 h 222"/>
                <a:gd name="T52" fmla="*/ 60 w 180"/>
                <a:gd name="T53" fmla="*/ 2 h 222"/>
                <a:gd name="T54" fmla="*/ 44 w 180"/>
                <a:gd name="T55" fmla="*/ 0 h 222"/>
                <a:gd name="T56" fmla="*/ 42 w 180"/>
                <a:gd name="T57" fmla="*/ 4 h 222"/>
                <a:gd name="T58" fmla="*/ 40 w 180"/>
                <a:gd name="T59" fmla="*/ 12 h 222"/>
                <a:gd name="T60" fmla="*/ 34 w 180"/>
                <a:gd name="T61" fmla="*/ 10 h 222"/>
                <a:gd name="T62" fmla="*/ 30 w 180"/>
                <a:gd name="T63" fmla="*/ 16 h 222"/>
                <a:gd name="T64" fmla="*/ 20 w 180"/>
                <a:gd name="T65" fmla="*/ 24 h 222"/>
                <a:gd name="T66" fmla="*/ 4 w 180"/>
                <a:gd name="T67" fmla="*/ 24 h 222"/>
                <a:gd name="T68" fmla="*/ 16 w 180"/>
                <a:gd name="T69" fmla="*/ 42 h 222"/>
                <a:gd name="T70" fmla="*/ 14 w 180"/>
                <a:gd name="T71" fmla="*/ 54 h 222"/>
                <a:gd name="T72" fmla="*/ 6 w 180"/>
                <a:gd name="T73" fmla="*/ 62 h 222"/>
                <a:gd name="T74" fmla="*/ 8 w 180"/>
                <a:gd name="T75" fmla="*/ 80 h 222"/>
                <a:gd name="T76" fmla="*/ 4 w 180"/>
                <a:gd name="T77" fmla="*/ 104 h 222"/>
                <a:gd name="T78" fmla="*/ 10 w 180"/>
                <a:gd name="T79" fmla="*/ 114 h 222"/>
                <a:gd name="T80" fmla="*/ 6 w 180"/>
                <a:gd name="T81" fmla="*/ 118 h 222"/>
                <a:gd name="T82" fmla="*/ 2 w 180"/>
                <a:gd name="T83" fmla="*/ 124 h 222"/>
                <a:gd name="T84" fmla="*/ 8 w 180"/>
                <a:gd name="T85" fmla="*/ 138 h 222"/>
                <a:gd name="T86" fmla="*/ 10 w 180"/>
                <a:gd name="T87" fmla="*/ 150 h 222"/>
                <a:gd name="T88" fmla="*/ 14 w 180"/>
                <a:gd name="T89" fmla="*/ 158 h 222"/>
                <a:gd name="T90" fmla="*/ 24 w 180"/>
                <a:gd name="T91" fmla="*/ 166 h 222"/>
                <a:gd name="T92" fmla="*/ 24 w 180"/>
                <a:gd name="T93" fmla="*/ 190 h 222"/>
                <a:gd name="T94" fmla="*/ 28 w 180"/>
                <a:gd name="T95" fmla="*/ 204 h 222"/>
                <a:gd name="T96" fmla="*/ 38 w 180"/>
                <a:gd name="T97" fmla="*/ 218 h 222"/>
                <a:gd name="T98" fmla="*/ 50 w 180"/>
                <a:gd name="T99" fmla="*/ 210 h 222"/>
                <a:gd name="T100" fmla="*/ 56 w 180"/>
                <a:gd name="T101" fmla="*/ 204 h 222"/>
                <a:gd name="T102" fmla="*/ 68 w 180"/>
                <a:gd name="T103" fmla="*/ 214 h 222"/>
                <a:gd name="T104" fmla="*/ 84 w 180"/>
                <a:gd name="T105" fmla="*/ 222 h 222"/>
                <a:gd name="T106" fmla="*/ 94 w 180"/>
                <a:gd name="T107" fmla="*/ 216 h 222"/>
                <a:gd name="T108" fmla="*/ 108 w 180"/>
                <a:gd name="T109" fmla="*/ 186 h 222"/>
                <a:gd name="T110" fmla="*/ 112 w 180"/>
                <a:gd name="T111" fmla="*/ 170 h 222"/>
                <a:gd name="T112" fmla="*/ 128 w 180"/>
                <a:gd name="T113" fmla="*/ 164 h 222"/>
                <a:gd name="T114" fmla="*/ 140 w 180"/>
                <a:gd name="T115" fmla="*/ 156 h 222"/>
                <a:gd name="T116" fmla="*/ 150 w 180"/>
                <a:gd name="T117" fmla="*/ 156 h 222"/>
                <a:gd name="T118" fmla="*/ 162 w 180"/>
                <a:gd name="T119" fmla="*/ 166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 h="222">
                  <a:moveTo>
                    <a:pt x="164" y="172"/>
                  </a:moveTo>
                  <a:lnTo>
                    <a:pt x="164" y="172"/>
                  </a:lnTo>
                  <a:lnTo>
                    <a:pt x="168" y="172"/>
                  </a:lnTo>
                  <a:lnTo>
                    <a:pt x="170" y="170"/>
                  </a:lnTo>
                  <a:lnTo>
                    <a:pt x="172" y="170"/>
                  </a:lnTo>
                  <a:lnTo>
                    <a:pt x="172" y="170"/>
                  </a:lnTo>
                  <a:lnTo>
                    <a:pt x="172" y="170"/>
                  </a:lnTo>
                  <a:lnTo>
                    <a:pt x="174" y="168"/>
                  </a:lnTo>
                  <a:lnTo>
                    <a:pt x="176" y="166"/>
                  </a:lnTo>
                  <a:lnTo>
                    <a:pt x="176" y="164"/>
                  </a:lnTo>
                  <a:lnTo>
                    <a:pt x="178" y="162"/>
                  </a:lnTo>
                  <a:lnTo>
                    <a:pt x="178" y="160"/>
                  </a:lnTo>
                  <a:lnTo>
                    <a:pt x="178" y="158"/>
                  </a:lnTo>
                  <a:lnTo>
                    <a:pt x="180" y="154"/>
                  </a:lnTo>
                  <a:lnTo>
                    <a:pt x="180" y="152"/>
                  </a:lnTo>
                  <a:lnTo>
                    <a:pt x="180" y="150"/>
                  </a:lnTo>
                  <a:lnTo>
                    <a:pt x="180" y="146"/>
                  </a:lnTo>
                  <a:lnTo>
                    <a:pt x="180" y="144"/>
                  </a:lnTo>
                  <a:lnTo>
                    <a:pt x="180" y="144"/>
                  </a:lnTo>
                  <a:lnTo>
                    <a:pt x="178" y="142"/>
                  </a:lnTo>
                  <a:lnTo>
                    <a:pt x="178" y="142"/>
                  </a:lnTo>
                  <a:lnTo>
                    <a:pt x="178" y="142"/>
                  </a:lnTo>
                  <a:lnTo>
                    <a:pt x="176" y="140"/>
                  </a:lnTo>
                  <a:lnTo>
                    <a:pt x="174" y="140"/>
                  </a:lnTo>
                  <a:lnTo>
                    <a:pt x="174" y="140"/>
                  </a:lnTo>
                  <a:lnTo>
                    <a:pt x="174" y="138"/>
                  </a:lnTo>
                  <a:lnTo>
                    <a:pt x="174" y="138"/>
                  </a:lnTo>
                  <a:lnTo>
                    <a:pt x="174" y="138"/>
                  </a:lnTo>
                  <a:lnTo>
                    <a:pt x="174" y="136"/>
                  </a:lnTo>
                  <a:lnTo>
                    <a:pt x="174" y="132"/>
                  </a:lnTo>
                  <a:lnTo>
                    <a:pt x="174" y="132"/>
                  </a:lnTo>
                  <a:lnTo>
                    <a:pt x="172" y="130"/>
                  </a:lnTo>
                  <a:lnTo>
                    <a:pt x="172" y="128"/>
                  </a:lnTo>
                  <a:lnTo>
                    <a:pt x="172" y="128"/>
                  </a:lnTo>
                  <a:lnTo>
                    <a:pt x="172" y="128"/>
                  </a:lnTo>
                  <a:lnTo>
                    <a:pt x="172" y="128"/>
                  </a:lnTo>
                  <a:lnTo>
                    <a:pt x="172" y="126"/>
                  </a:lnTo>
                  <a:lnTo>
                    <a:pt x="170" y="126"/>
                  </a:lnTo>
                  <a:lnTo>
                    <a:pt x="170" y="126"/>
                  </a:lnTo>
                  <a:lnTo>
                    <a:pt x="168" y="126"/>
                  </a:lnTo>
                  <a:lnTo>
                    <a:pt x="166" y="126"/>
                  </a:lnTo>
                  <a:lnTo>
                    <a:pt x="166" y="126"/>
                  </a:lnTo>
                  <a:lnTo>
                    <a:pt x="164" y="126"/>
                  </a:lnTo>
                  <a:lnTo>
                    <a:pt x="164" y="126"/>
                  </a:lnTo>
                  <a:lnTo>
                    <a:pt x="164" y="126"/>
                  </a:lnTo>
                  <a:lnTo>
                    <a:pt x="164" y="126"/>
                  </a:lnTo>
                  <a:lnTo>
                    <a:pt x="164" y="126"/>
                  </a:lnTo>
                  <a:lnTo>
                    <a:pt x="164" y="124"/>
                  </a:lnTo>
                  <a:lnTo>
                    <a:pt x="164" y="122"/>
                  </a:lnTo>
                  <a:lnTo>
                    <a:pt x="164" y="120"/>
                  </a:lnTo>
                  <a:lnTo>
                    <a:pt x="164" y="118"/>
                  </a:lnTo>
                  <a:lnTo>
                    <a:pt x="164" y="118"/>
                  </a:lnTo>
                  <a:lnTo>
                    <a:pt x="164" y="116"/>
                  </a:lnTo>
                  <a:lnTo>
                    <a:pt x="162" y="116"/>
                  </a:lnTo>
                  <a:lnTo>
                    <a:pt x="162" y="114"/>
                  </a:lnTo>
                  <a:lnTo>
                    <a:pt x="162" y="114"/>
                  </a:lnTo>
                  <a:lnTo>
                    <a:pt x="160" y="114"/>
                  </a:lnTo>
                  <a:lnTo>
                    <a:pt x="160" y="114"/>
                  </a:lnTo>
                  <a:lnTo>
                    <a:pt x="158" y="114"/>
                  </a:lnTo>
                  <a:lnTo>
                    <a:pt x="156" y="114"/>
                  </a:lnTo>
                  <a:lnTo>
                    <a:pt x="152" y="114"/>
                  </a:lnTo>
                  <a:lnTo>
                    <a:pt x="150" y="116"/>
                  </a:lnTo>
                  <a:lnTo>
                    <a:pt x="146" y="116"/>
                  </a:lnTo>
                  <a:lnTo>
                    <a:pt x="146" y="116"/>
                  </a:lnTo>
                  <a:lnTo>
                    <a:pt x="144" y="116"/>
                  </a:lnTo>
                  <a:lnTo>
                    <a:pt x="144" y="116"/>
                  </a:lnTo>
                  <a:lnTo>
                    <a:pt x="142" y="116"/>
                  </a:lnTo>
                  <a:lnTo>
                    <a:pt x="142" y="116"/>
                  </a:lnTo>
                  <a:lnTo>
                    <a:pt x="142" y="114"/>
                  </a:lnTo>
                  <a:lnTo>
                    <a:pt x="140" y="114"/>
                  </a:lnTo>
                  <a:lnTo>
                    <a:pt x="140" y="112"/>
                  </a:lnTo>
                  <a:lnTo>
                    <a:pt x="138" y="110"/>
                  </a:lnTo>
                  <a:lnTo>
                    <a:pt x="138" y="110"/>
                  </a:lnTo>
                  <a:lnTo>
                    <a:pt x="138" y="110"/>
                  </a:lnTo>
                  <a:lnTo>
                    <a:pt x="136" y="110"/>
                  </a:lnTo>
                  <a:lnTo>
                    <a:pt x="134" y="110"/>
                  </a:lnTo>
                  <a:lnTo>
                    <a:pt x="134" y="108"/>
                  </a:lnTo>
                  <a:lnTo>
                    <a:pt x="134" y="108"/>
                  </a:lnTo>
                  <a:lnTo>
                    <a:pt x="134" y="108"/>
                  </a:lnTo>
                  <a:lnTo>
                    <a:pt x="132" y="106"/>
                  </a:lnTo>
                  <a:lnTo>
                    <a:pt x="132" y="104"/>
                  </a:lnTo>
                  <a:lnTo>
                    <a:pt x="132" y="102"/>
                  </a:lnTo>
                  <a:lnTo>
                    <a:pt x="132" y="98"/>
                  </a:lnTo>
                  <a:lnTo>
                    <a:pt x="132" y="96"/>
                  </a:lnTo>
                  <a:lnTo>
                    <a:pt x="132" y="92"/>
                  </a:lnTo>
                  <a:lnTo>
                    <a:pt x="132" y="90"/>
                  </a:lnTo>
                  <a:lnTo>
                    <a:pt x="132" y="90"/>
                  </a:lnTo>
                  <a:lnTo>
                    <a:pt x="134" y="88"/>
                  </a:lnTo>
                  <a:lnTo>
                    <a:pt x="134" y="88"/>
                  </a:lnTo>
                  <a:lnTo>
                    <a:pt x="134" y="88"/>
                  </a:lnTo>
                  <a:lnTo>
                    <a:pt x="134" y="86"/>
                  </a:lnTo>
                  <a:lnTo>
                    <a:pt x="138" y="86"/>
                  </a:lnTo>
                  <a:lnTo>
                    <a:pt x="138" y="84"/>
                  </a:lnTo>
                  <a:lnTo>
                    <a:pt x="140" y="84"/>
                  </a:lnTo>
                  <a:lnTo>
                    <a:pt x="140" y="84"/>
                  </a:lnTo>
                  <a:lnTo>
                    <a:pt x="140" y="84"/>
                  </a:lnTo>
                  <a:lnTo>
                    <a:pt x="140" y="84"/>
                  </a:lnTo>
                  <a:lnTo>
                    <a:pt x="140" y="82"/>
                  </a:lnTo>
                  <a:lnTo>
                    <a:pt x="140" y="82"/>
                  </a:lnTo>
                  <a:lnTo>
                    <a:pt x="140" y="82"/>
                  </a:lnTo>
                  <a:lnTo>
                    <a:pt x="140" y="82"/>
                  </a:lnTo>
                  <a:lnTo>
                    <a:pt x="138" y="82"/>
                  </a:lnTo>
                  <a:lnTo>
                    <a:pt x="138" y="82"/>
                  </a:lnTo>
                  <a:lnTo>
                    <a:pt x="134" y="82"/>
                  </a:lnTo>
                  <a:lnTo>
                    <a:pt x="134" y="82"/>
                  </a:lnTo>
                  <a:lnTo>
                    <a:pt x="134" y="82"/>
                  </a:lnTo>
                  <a:lnTo>
                    <a:pt x="134" y="82"/>
                  </a:lnTo>
                  <a:lnTo>
                    <a:pt x="132" y="80"/>
                  </a:lnTo>
                  <a:lnTo>
                    <a:pt x="132" y="80"/>
                  </a:lnTo>
                  <a:lnTo>
                    <a:pt x="132" y="80"/>
                  </a:lnTo>
                  <a:lnTo>
                    <a:pt x="132" y="78"/>
                  </a:lnTo>
                  <a:lnTo>
                    <a:pt x="132" y="76"/>
                  </a:lnTo>
                  <a:lnTo>
                    <a:pt x="132" y="74"/>
                  </a:lnTo>
                  <a:lnTo>
                    <a:pt x="132" y="72"/>
                  </a:lnTo>
                  <a:lnTo>
                    <a:pt x="132" y="70"/>
                  </a:lnTo>
                  <a:lnTo>
                    <a:pt x="132" y="70"/>
                  </a:lnTo>
                  <a:lnTo>
                    <a:pt x="132" y="68"/>
                  </a:lnTo>
                  <a:lnTo>
                    <a:pt x="132" y="68"/>
                  </a:lnTo>
                  <a:lnTo>
                    <a:pt x="132" y="68"/>
                  </a:lnTo>
                  <a:lnTo>
                    <a:pt x="130" y="66"/>
                  </a:lnTo>
                  <a:lnTo>
                    <a:pt x="130" y="66"/>
                  </a:lnTo>
                  <a:lnTo>
                    <a:pt x="128" y="66"/>
                  </a:lnTo>
                  <a:lnTo>
                    <a:pt x="128" y="66"/>
                  </a:lnTo>
                  <a:lnTo>
                    <a:pt x="124" y="66"/>
                  </a:lnTo>
                  <a:lnTo>
                    <a:pt x="124" y="66"/>
                  </a:lnTo>
                  <a:lnTo>
                    <a:pt x="122" y="64"/>
                  </a:lnTo>
                  <a:lnTo>
                    <a:pt x="120" y="64"/>
                  </a:lnTo>
                  <a:lnTo>
                    <a:pt x="116" y="64"/>
                  </a:lnTo>
                  <a:lnTo>
                    <a:pt x="114" y="64"/>
                  </a:lnTo>
                  <a:lnTo>
                    <a:pt x="112" y="64"/>
                  </a:lnTo>
                  <a:lnTo>
                    <a:pt x="110" y="64"/>
                  </a:lnTo>
                  <a:lnTo>
                    <a:pt x="110" y="64"/>
                  </a:lnTo>
                  <a:lnTo>
                    <a:pt x="108" y="64"/>
                  </a:lnTo>
                  <a:lnTo>
                    <a:pt x="108" y="62"/>
                  </a:lnTo>
                  <a:lnTo>
                    <a:pt x="108" y="62"/>
                  </a:lnTo>
                  <a:lnTo>
                    <a:pt x="108" y="62"/>
                  </a:lnTo>
                  <a:lnTo>
                    <a:pt x="108" y="60"/>
                  </a:lnTo>
                  <a:lnTo>
                    <a:pt x="108" y="58"/>
                  </a:lnTo>
                  <a:lnTo>
                    <a:pt x="108" y="58"/>
                  </a:lnTo>
                  <a:lnTo>
                    <a:pt x="108" y="56"/>
                  </a:lnTo>
                  <a:lnTo>
                    <a:pt x="108" y="56"/>
                  </a:lnTo>
                  <a:lnTo>
                    <a:pt x="106" y="54"/>
                  </a:lnTo>
                  <a:lnTo>
                    <a:pt x="106" y="54"/>
                  </a:lnTo>
                  <a:lnTo>
                    <a:pt x="106" y="54"/>
                  </a:lnTo>
                  <a:lnTo>
                    <a:pt x="106" y="54"/>
                  </a:lnTo>
                  <a:lnTo>
                    <a:pt x="104" y="54"/>
                  </a:lnTo>
                  <a:lnTo>
                    <a:pt x="104" y="54"/>
                  </a:lnTo>
                  <a:lnTo>
                    <a:pt x="102" y="52"/>
                  </a:lnTo>
                  <a:lnTo>
                    <a:pt x="98" y="52"/>
                  </a:lnTo>
                  <a:lnTo>
                    <a:pt x="98" y="52"/>
                  </a:lnTo>
                  <a:lnTo>
                    <a:pt x="96" y="52"/>
                  </a:lnTo>
                  <a:lnTo>
                    <a:pt x="96" y="52"/>
                  </a:lnTo>
                  <a:lnTo>
                    <a:pt x="96" y="50"/>
                  </a:lnTo>
                  <a:lnTo>
                    <a:pt x="94" y="50"/>
                  </a:lnTo>
                  <a:lnTo>
                    <a:pt x="94" y="48"/>
                  </a:lnTo>
                  <a:lnTo>
                    <a:pt x="94" y="48"/>
                  </a:lnTo>
                  <a:lnTo>
                    <a:pt x="94" y="48"/>
                  </a:lnTo>
                  <a:lnTo>
                    <a:pt x="92" y="48"/>
                  </a:lnTo>
                  <a:lnTo>
                    <a:pt x="90" y="48"/>
                  </a:lnTo>
                  <a:lnTo>
                    <a:pt x="90" y="48"/>
                  </a:lnTo>
                  <a:lnTo>
                    <a:pt x="86" y="48"/>
                  </a:lnTo>
                  <a:lnTo>
                    <a:pt x="82" y="48"/>
                  </a:lnTo>
                  <a:lnTo>
                    <a:pt x="80" y="48"/>
                  </a:lnTo>
                  <a:lnTo>
                    <a:pt x="76" y="48"/>
                  </a:lnTo>
                  <a:lnTo>
                    <a:pt x="76" y="48"/>
                  </a:lnTo>
                  <a:lnTo>
                    <a:pt x="74" y="48"/>
                  </a:lnTo>
                  <a:lnTo>
                    <a:pt x="72" y="48"/>
                  </a:lnTo>
                  <a:lnTo>
                    <a:pt x="72" y="48"/>
                  </a:lnTo>
                  <a:lnTo>
                    <a:pt x="72" y="48"/>
                  </a:lnTo>
                  <a:lnTo>
                    <a:pt x="70" y="48"/>
                  </a:lnTo>
                  <a:lnTo>
                    <a:pt x="70" y="46"/>
                  </a:lnTo>
                  <a:lnTo>
                    <a:pt x="68" y="44"/>
                  </a:lnTo>
                  <a:lnTo>
                    <a:pt x="68" y="42"/>
                  </a:lnTo>
                  <a:lnTo>
                    <a:pt x="66" y="38"/>
                  </a:lnTo>
                  <a:lnTo>
                    <a:pt x="64" y="36"/>
                  </a:lnTo>
                  <a:lnTo>
                    <a:pt x="64" y="32"/>
                  </a:lnTo>
                  <a:lnTo>
                    <a:pt x="64" y="30"/>
                  </a:lnTo>
                  <a:lnTo>
                    <a:pt x="62" y="30"/>
                  </a:lnTo>
                  <a:lnTo>
                    <a:pt x="62" y="26"/>
                  </a:lnTo>
                  <a:lnTo>
                    <a:pt x="64" y="16"/>
                  </a:lnTo>
                  <a:lnTo>
                    <a:pt x="64" y="12"/>
                  </a:lnTo>
                  <a:lnTo>
                    <a:pt x="64" y="10"/>
                  </a:lnTo>
                  <a:lnTo>
                    <a:pt x="64" y="8"/>
                  </a:lnTo>
                  <a:lnTo>
                    <a:pt x="62" y="6"/>
                  </a:lnTo>
                  <a:lnTo>
                    <a:pt x="62" y="6"/>
                  </a:lnTo>
                  <a:lnTo>
                    <a:pt x="62" y="4"/>
                  </a:lnTo>
                  <a:lnTo>
                    <a:pt x="62" y="2"/>
                  </a:lnTo>
                  <a:lnTo>
                    <a:pt x="60" y="2"/>
                  </a:lnTo>
                  <a:lnTo>
                    <a:pt x="60" y="2"/>
                  </a:lnTo>
                  <a:lnTo>
                    <a:pt x="58" y="2"/>
                  </a:lnTo>
                  <a:lnTo>
                    <a:pt x="58" y="0"/>
                  </a:lnTo>
                  <a:lnTo>
                    <a:pt x="54" y="0"/>
                  </a:lnTo>
                  <a:lnTo>
                    <a:pt x="52" y="0"/>
                  </a:lnTo>
                  <a:lnTo>
                    <a:pt x="48" y="0"/>
                  </a:lnTo>
                  <a:lnTo>
                    <a:pt x="46" y="0"/>
                  </a:lnTo>
                  <a:lnTo>
                    <a:pt x="44" y="0"/>
                  </a:lnTo>
                  <a:lnTo>
                    <a:pt x="44" y="0"/>
                  </a:lnTo>
                  <a:lnTo>
                    <a:pt x="42" y="0"/>
                  </a:lnTo>
                  <a:lnTo>
                    <a:pt x="42" y="0"/>
                  </a:lnTo>
                  <a:lnTo>
                    <a:pt x="42" y="2"/>
                  </a:lnTo>
                  <a:lnTo>
                    <a:pt x="42" y="2"/>
                  </a:lnTo>
                  <a:lnTo>
                    <a:pt x="42" y="4"/>
                  </a:lnTo>
                  <a:lnTo>
                    <a:pt x="42" y="4"/>
                  </a:lnTo>
                  <a:lnTo>
                    <a:pt x="42" y="6"/>
                  </a:lnTo>
                  <a:lnTo>
                    <a:pt x="42" y="8"/>
                  </a:lnTo>
                  <a:lnTo>
                    <a:pt x="42" y="10"/>
                  </a:lnTo>
                  <a:lnTo>
                    <a:pt x="40" y="10"/>
                  </a:lnTo>
                  <a:lnTo>
                    <a:pt x="40" y="12"/>
                  </a:lnTo>
                  <a:lnTo>
                    <a:pt x="40" y="12"/>
                  </a:lnTo>
                  <a:lnTo>
                    <a:pt x="40" y="12"/>
                  </a:lnTo>
                  <a:lnTo>
                    <a:pt x="40" y="12"/>
                  </a:lnTo>
                  <a:lnTo>
                    <a:pt x="38" y="12"/>
                  </a:lnTo>
                  <a:lnTo>
                    <a:pt x="38" y="12"/>
                  </a:lnTo>
                  <a:lnTo>
                    <a:pt x="36" y="12"/>
                  </a:lnTo>
                  <a:lnTo>
                    <a:pt x="34" y="10"/>
                  </a:lnTo>
                  <a:lnTo>
                    <a:pt x="34" y="10"/>
                  </a:lnTo>
                  <a:lnTo>
                    <a:pt x="34" y="10"/>
                  </a:lnTo>
                  <a:lnTo>
                    <a:pt x="32" y="10"/>
                  </a:lnTo>
                  <a:lnTo>
                    <a:pt x="32" y="10"/>
                  </a:lnTo>
                  <a:lnTo>
                    <a:pt x="32" y="12"/>
                  </a:lnTo>
                  <a:lnTo>
                    <a:pt x="32" y="12"/>
                  </a:lnTo>
                  <a:lnTo>
                    <a:pt x="30" y="14"/>
                  </a:lnTo>
                  <a:lnTo>
                    <a:pt x="30" y="16"/>
                  </a:lnTo>
                  <a:lnTo>
                    <a:pt x="30" y="16"/>
                  </a:lnTo>
                  <a:lnTo>
                    <a:pt x="28" y="18"/>
                  </a:lnTo>
                  <a:lnTo>
                    <a:pt x="28" y="18"/>
                  </a:lnTo>
                  <a:lnTo>
                    <a:pt x="26" y="20"/>
                  </a:lnTo>
                  <a:lnTo>
                    <a:pt x="26" y="20"/>
                  </a:lnTo>
                  <a:lnTo>
                    <a:pt x="24" y="22"/>
                  </a:lnTo>
                  <a:lnTo>
                    <a:pt x="22" y="22"/>
                  </a:lnTo>
                  <a:lnTo>
                    <a:pt x="20" y="24"/>
                  </a:lnTo>
                  <a:lnTo>
                    <a:pt x="18" y="24"/>
                  </a:lnTo>
                  <a:lnTo>
                    <a:pt x="16" y="26"/>
                  </a:lnTo>
                  <a:lnTo>
                    <a:pt x="16" y="26"/>
                  </a:lnTo>
                  <a:lnTo>
                    <a:pt x="14" y="26"/>
                  </a:lnTo>
                  <a:lnTo>
                    <a:pt x="12" y="26"/>
                  </a:lnTo>
                  <a:lnTo>
                    <a:pt x="8" y="24"/>
                  </a:lnTo>
                  <a:lnTo>
                    <a:pt x="4" y="24"/>
                  </a:lnTo>
                  <a:lnTo>
                    <a:pt x="6" y="26"/>
                  </a:lnTo>
                  <a:lnTo>
                    <a:pt x="10" y="32"/>
                  </a:lnTo>
                  <a:lnTo>
                    <a:pt x="12" y="34"/>
                  </a:lnTo>
                  <a:lnTo>
                    <a:pt x="14" y="36"/>
                  </a:lnTo>
                  <a:lnTo>
                    <a:pt x="14" y="40"/>
                  </a:lnTo>
                  <a:lnTo>
                    <a:pt x="16" y="40"/>
                  </a:lnTo>
                  <a:lnTo>
                    <a:pt x="16" y="42"/>
                  </a:lnTo>
                  <a:lnTo>
                    <a:pt x="16" y="44"/>
                  </a:lnTo>
                  <a:lnTo>
                    <a:pt x="16" y="46"/>
                  </a:lnTo>
                  <a:lnTo>
                    <a:pt x="16" y="48"/>
                  </a:lnTo>
                  <a:lnTo>
                    <a:pt x="16" y="50"/>
                  </a:lnTo>
                  <a:lnTo>
                    <a:pt x="16" y="52"/>
                  </a:lnTo>
                  <a:lnTo>
                    <a:pt x="14" y="54"/>
                  </a:lnTo>
                  <a:lnTo>
                    <a:pt x="14" y="54"/>
                  </a:lnTo>
                  <a:lnTo>
                    <a:pt x="14" y="56"/>
                  </a:lnTo>
                  <a:lnTo>
                    <a:pt x="14" y="58"/>
                  </a:lnTo>
                  <a:lnTo>
                    <a:pt x="12" y="58"/>
                  </a:lnTo>
                  <a:lnTo>
                    <a:pt x="10" y="60"/>
                  </a:lnTo>
                  <a:lnTo>
                    <a:pt x="8" y="60"/>
                  </a:lnTo>
                  <a:lnTo>
                    <a:pt x="8" y="62"/>
                  </a:lnTo>
                  <a:lnTo>
                    <a:pt x="6" y="62"/>
                  </a:lnTo>
                  <a:lnTo>
                    <a:pt x="6" y="64"/>
                  </a:lnTo>
                  <a:lnTo>
                    <a:pt x="6" y="64"/>
                  </a:lnTo>
                  <a:lnTo>
                    <a:pt x="6" y="66"/>
                  </a:lnTo>
                  <a:lnTo>
                    <a:pt x="6" y="70"/>
                  </a:lnTo>
                  <a:lnTo>
                    <a:pt x="6" y="72"/>
                  </a:lnTo>
                  <a:lnTo>
                    <a:pt x="8" y="78"/>
                  </a:lnTo>
                  <a:lnTo>
                    <a:pt x="8" y="80"/>
                  </a:lnTo>
                  <a:lnTo>
                    <a:pt x="8" y="82"/>
                  </a:lnTo>
                  <a:lnTo>
                    <a:pt x="8" y="84"/>
                  </a:lnTo>
                  <a:lnTo>
                    <a:pt x="6" y="88"/>
                  </a:lnTo>
                  <a:lnTo>
                    <a:pt x="6" y="94"/>
                  </a:lnTo>
                  <a:lnTo>
                    <a:pt x="6" y="98"/>
                  </a:lnTo>
                  <a:lnTo>
                    <a:pt x="4" y="102"/>
                  </a:lnTo>
                  <a:lnTo>
                    <a:pt x="4" y="104"/>
                  </a:lnTo>
                  <a:lnTo>
                    <a:pt x="4" y="106"/>
                  </a:lnTo>
                  <a:lnTo>
                    <a:pt x="6" y="108"/>
                  </a:lnTo>
                  <a:lnTo>
                    <a:pt x="6" y="108"/>
                  </a:lnTo>
                  <a:lnTo>
                    <a:pt x="6" y="110"/>
                  </a:lnTo>
                  <a:lnTo>
                    <a:pt x="8" y="112"/>
                  </a:lnTo>
                  <a:lnTo>
                    <a:pt x="8" y="112"/>
                  </a:lnTo>
                  <a:lnTo>
                    <a:pt x="10" y="114"/>
                  </a:lnTo>
                  <a:lnTo>
                    <a:pt x="10" y="114"/>
                  </a:lnTo>
                  <a:lnTo>
                    <a:pt x="10" y="116"/>
                  </a:lnTo>
                  <a:lnTo>
                    <a:pt x="10" y="116"/>
                  </a:lnTo>
                  <a:lnTo>
                    <a:pt x="10" y="116"/>
                  </a:lnTo>
                  <a:lnTo>
                    <a:pt x="10" y="116"/>
                  </a:lnTo>
                  <a:lnTo>
                    <a:pt x="8" y="118"/>
                  </a:lnTo>
                  <a:lnTo>
                    <a:pt x="6" y="118"/>
                  </a:lnTo>
                  <a:lnTo>
                    <a:pt x="6" y="118"/>
                  </a:lnTo>
                  <a:lnTo>
                    <a:pt x="6" y="118"/>
                  </a:lnTo>
                  <a:lnTo>
                    <a:pt x="4" y="118"/>
                  </a:lnTo>
                  <a:lnTo>
                    <a:pt x="4" y="118"/>
                  </a:lnTo>
                  <a:lnTo>
                    <a:pt x="4" y="120"/>
                  </a:lnTo>
                  <a:lnTo>
                    <a:pt x="2" y="122"/>
                  </a:lnTo>
                  <a:lnTo>
                    <a:pt x="2" y="124"/>
                  </a:lnTo>
                  <a:lnTo>
                    <a:pt x="0" y="128"/>
                  </a:lnTo>
                  <a:lnTo>
                    <a:pt x="0" y="130"/>
                  </a:lnTo>
                  <a:lnTo>
                    <a:pt x="2" y="130"/>
                  </a:lnTo>
                  <a:lnTo>
                    <a:pt x="4" y="132"/>
                  </a:lnTo>
                  <a:lnTo>
                    <a:pt x="8" y="136"/>
                  </a:lnTo>
                  <a:lnTo>
                    <a:pt x="8" y="136"/>
                  </a:lnTo>
                  <a:lnTo>
                    <a:pt x="8" y="138"/>
                  </a:lnTo>
                  <a:lnTo>
                    <a:pt x="10" y="138"/>
                  </a:lnTo>
                  <a:lnTo>
                    <a:pt x="10" y="140"/>
                  </a:lnTo>
                  <a:lnTo>
                    <a:pt x="10" y="140"/>
                  </a:lnTo>
                  <a:lnTo>
                    <a:pt x="10" y="142"/>
                  </a:lnTo>
                  <a:lnTo>
                    <a:pt x="10" y="146"/>
                  </a:lnTo>
                  <a:lnTo>
                    <a:pt x="10" y="148"/>
                  </a:lnTo>
                  <a:lnTo>
                    <a:pt x="10" y="150"/>
                  </a:lnTo>
                  <a:lnTo>
                    <a:pt x="10" y="152"/>
                  </a:lnTo>
                  <a:lnTo>
                    <a:pt x="10" y="152"/>
                  </a:lnTo>
                  <a:lnTo>
                    <a:pt x="10" y="152"/>
                  </a:lnTo>
                  <a:lnTo>
                    <a:pt x="10" y="154"/>
                  </a:lnTo>
                  <a:lnTo>
                    <a:pt x="12" y="154"/>
                  </a:lnTo>
                  <a:lnTo>
                    <a:pt x="12" y="156"/>
                  </a:lnTo>
                  <a:lnTo>
                    <a:pt x="14" y="158"/>
                  </a:lnTo>
                  <a:lnTo>
                    <a:pt x="18" y="158"/>
                  </a:lnTo>
                  <a:lnTo>
                    <a:pt x="20" y="160"/>
                  </a:lnTo>
                  <a:lnTo>
                    <a:pt x="22" y="162"/>
                  </a:lnTo>
                  <a:lnTo>
                    <a:pt x="22" y="164"/>
                  </a:lnTo>
                  <a:lnTo>
                    <a:pt x="24" y="164"/>
                  </a:lnTo>
                  <a:lnTo>
                    <a:pt x="24" y="166"/>
                  </a:lnTo>
                  <a:lnTo>
                    <a:pt x="24" y="166"/>
                  </a:lnTo>
                  <a:lnTo>
                    <a:pt x="24" y="168"/>
                  </a:lnTo>
                  <a:lnTo>
                    <a:pt x="24" y="170"/>
                  </a:lnTo>
                  <a:lnTo>
                    <a:pt x="24" y="172"/>
                  </a:lnTo>
                  <a:lnTo>
                    <a:pt x="24" y="176"/>
                  </a:lnTo>
                  <a:lnTo>
                    <a:pt x="24" y="180"/>
                  </a:lnTo>
                  <a:lnTo>
                    <a:pt x="24" y="186"/>
                  </a:lnTo>
                  <a:lnTo>
                    <a:pt x="24" y="190"/>
                  </a:lnTo>
                  <a:lnTo>
                    <a:pt x="24" y="192"/>
                  </a:lnTo>
                  <a:lnTo>
                    <a:pt x="24" y="194"/>
                  </a:lnTo>
                  <a:lnTo>
                    <a:pt x="24" y="196"/>
                  </a:lnTo>
                  <a:lnTo>
                    <a:pt x="24" y="196"/>
                  </a:lnTo>
                  <a:lnTo>
                    <a:pt x="24" y="198"/>
                  </a:lnTo>
                  <a:lnTo>
                    <a:pt x="26" y="202"/>
                  </a:lnTo>
                  <a:lnTo>
                    <a:pt x="28" y="204"/>
                  </a:lnTo>
                  <a:lnTo>
                    <a:pt x="28" y="208"/>
                  </a:lnTo>
                  <a:lnTo>
                    <a:pt x="30" y="210"/>
                  </a:lnTo>
                  <a:lnTo>
                    <a:pt x="32" y="212"/>
                  </a:lnTo>
                  <a:lnTo>
                    <a:pt x="34" y="214"/>
                  </a:lnTo>
                  <a:lnTo>
                    <a:pt x="36" y="216"/>
                  </a:lnTo>
                  <a:lnTo>
                    <a:pt x="36" y="218"/>
                  </a:lnTo>
                  <a:lnTo>
                    <a:pt x="38" y="218"/>
                  </a:lnTo>
                  <a:lnTo>
                    <a:pt x="40" y="220"/>
                  </a:lnTo>
                  <a:lnTo>
                    <a:pt x="46" y="222"/>
                  </a:lnTo>
                  <a:lnTo>
                    <a:pt x="46" y="220"/>
                  </a:lnTo>
                  <a:lnTo>
                    <a:pt x="46" y="218"/>
                  </a:lnTo>
                  <a:lnTo>
                    <a:pt x="48" y="214"/>
                  </a:lnTo>
                  <a:lnTo>
                    <a:pt x="50" y="210"/>
                  </a:lnTo>
                  <a:lnTo>
                    <a:pt x="50" y="210"/>
                  </a:lnTo>
                  <a:lnTo>
                    <a:pt x="50" y="208"/>
                  </a:lnTo>
                  <a:lnTo>
                    <a:pt x="52" y="206"/>
                  </a:lnTo>
                  <a:lnTo>
                    <a:pt x="52" y="206"/>
                  </a:lnTo>
                  <a:lnTo>
                    <a:pt x="54" y="204"/>
                  </a:lnTo>
                  <a:lnTo>
                    <a:pt x="54" y="204"/>
                  </a:lnTo>
                  <a:lnTo>
                    <a:pt x="54" y="204"/>
                  </a:lnTo>
                  <a:lnTo>
                    <a:pt x="56" y="204"/>
                  </a:lnTo>
                  <a:lnTo>
                    <a:pt x="56" y="204"/>
                  </a:lnTo>
                  <a:lnTo>
                    <a:pt x="58" y="206"/>
                  </a:lnTo>
                  <a:lnTo>
                    <a:pt x="60" y="206"/>
                  </a:lnTo>
                  <a:lnTo>
                    <a:pt x="62" y="208"/>
                  </a:lnTo>
                  <a:lnTo>
                    <a:pt x="64" y="212"/>
                  </a:lnTo>
                  <a:lnTo>
                    <a:pt x="66" y="214"/>
                  </a:lnTo>
                  <a:lnTo>
                    <a:pt x="68" y="214"/>
                  </a:lnTo>
                  <a:lnTo>
                    <a:pt x="68" y="216"/>
                  </a:lnTo>
                  <a:lnTo>
                    <a:pt x="72" y="218"/>
                  </a:lnTo>
                  <a:lnTo>
                    <a:pt x="74" y="218"/>
                  </a:lnTo>
                  <a:lnTo>
                    <a:pt x="76" y="220"/>
                  </a:lnTo>
                  <a:lnTo>
                    <a:pt x="78" y="220"/>
                  </a:lnTo>
                  <a:lnTo>
                    <a:pt x="82" y="222"/>
                  </a:lnTo>
                  <a:lnTo>
                    <a:pt x="84" y="222"/>
                  </a:lnTo>
                  <a:lnTo>
                    <a:pt x="84" y="222"/>
                  </a:lnTo>
                  <a:lnTo>
                    <a:pt x="86" y="222"/>
                  </a:lnTo>
                  <a:lnTo>
                    <a:pt x="86" y="222"/>
                  </a:lnTo>
                  <a:lnTo>
                    <a:pt x="88" y="220"/>
                  </a:lnTo>
                  <a:lnTo>
                    <a:pt x="90" y="220"/>
                  </a:lnTo>
                  <a:lnTo>
                    <a:pt x="90" y="220"/>
                  </a:lnTo>
                  <a:lnTo>
                    <a:pt x="94" y="216"/>
                  </a:lnTo>
                  <a:lnTo>
                    <a:pt x="96" y="214"/>
                  </a:lnTo>
                  <a:lnTo>
                    <a:pt x="98" y="212"/>
                  </a:lnTo>
                  <a:lnTo>
                    <a:pt x="100" y="210"/>
                  </a:lnTo>
                  <a:lnTo>
                    <a:pt x="102" y="208"/>
                  </a:lnTo>
                  <a:lnTo>
                    <a:pt x="104" y="198"/>
                  </a:lnTo>
                  <a:lnTo>
                    <a:pt x="106" y="190"/>
                  </a:lnTo>
                  <a:lnTo>
                    <a:pt x="108" y="186"/>
                  </a:lnTo>
                  <a:lnTo>
                    <a:pt x="108" y="182"/>
                  </a:lnTo>
                  <a:lnTo>
                    <a:pt x="108" y="180"/>
                  </a:lnTo>
                  <a:lnTo>
                    <a:pt x="110" y="176"/>
                  </a:lnTo>
                  <a:lnTo>
                    <a:pt x="110" y="174"/>
                  </a:lnTo>
                  <a:lnTo>
                    <a:pt x="112" y="172"/>
                  </a:lnTo>
                  <a:lnTo>
                    <a:pt x="112" y="172"/>
                  </a:lnTo>
                  <a:lnTo>
                    <a:pt x="112" y="170"/>
                  </a:lnTo>
                  <a:lnTo>
                    <a:pt x="114" y="170"/>
                  </a:lnTo>
                  <a:lnTo>
                    <a:pt x="114" y="170"/>
                  </a:lnTo>
                  <a:lnTo>
                    <a:pt x="116" y="168"/>
                  </a:lnTo>
                  <a:lnTo>
                    <a:pt x="118" y="168"/>
                  </a:lnTo>
                  <a:lnTo>
                    <a:pt x="120" y="166"/>
                  </a:lnTo>
                  <a:lnTo>
                    <a:pt x="126" y="166"/>
                  </a:lnTo>
                  <a:lnTo>
                    <a:pt x="128" y="164"/>
                  </a:lnTo>
                  <a:lnTo>
                    <a:pt x="130" y="164"/>
                  </a:lnTo>
                  <a:lnTo>
                    <a:pt x="130" y="162"/>
                  </a:lnTo>
                  <a:lnTo>
                    <a:pt x="132" y="162"/>
                  </a:lnTo>
                  <a:lnTo>
                    <a:pt x="134" y="158"/>
                  </a:lnTo>
                  <a:lnTo>
                    <a:pt x="136" y="158"/>
                  </a:lnTo>
                  <a:lnTo>
                    <a:pt x="138" y="156"/>
                  </a:lnTo>
                  <a:lnTo>
                    <a:pt x="140" y="156"/>
                  </a:lnTo>
                  <a:lnTo>
                    <a:pt x="140" y="156"/>
                  </a:lnTo>
                  <a:lnTo>
                    <a:pt x="140" y="156"/>
                  </a:lnTo>
                  <a:lnTo>
                    <a:pt x="142" y="156"/>
                  </a:lnTo>
                  <a:lnTo>
                    <a:pt x="142" y="156"/>
                  </a:lnTo>
                  <a:lnTo>
                    <a:pt x="144" y="156"/>
                  </a:lnTo>
                  <a:lnTo>
                    <a:pt x="148" y="156"/>
                  </a:lnTo>
                  <a:lnTo>
                    <a:pt x="150" y="156"/>
                  </a:lnTo>
                  <a:lnTo>
                    <a:pt x="152" y="158"/>
                  </a:lnTo>
                  <a:lnTo>
                    <a:pt x="154" y="158"/>
                  </a:lnTo>
                  <a:lnTo>
                    <a:pt x="156" y="160"/>
                  </a:lnTo>
                  <a:lnTo>
                    <a:pt x="158" y="162"/>
                  </a:lnTo>
                  <a:lnTo>
                    <a:pt x="160" y="162"/>
                  </a:lnTo>
                  <a:lnTo>
                    <a:pt x="160" y="164"/>
                  </a:lnTo>
                  <a:lnTo>
                    <a:pt x="162" y="166"/>
                  </a:lnTo>
                  <a:lnTo>
                    <a:pt x="162" y="168"/>
                  </a:lnTo>
                  <a:lnTo>
                    <a:pt x="164" y="170"/>
                  </a:lnTo>
                  <a:lnTo>
                    <a:pt x="164" y="17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5" name="Freeform 474">
              <a:extLst>
                <a:ext uri="{FF2B5EF4-FFF2-40B4-BE49-F238E27FC236}">
                  <a16:creationId xmlns:a16="http://schemas.microsoft.com/office/drawing/2014/main" id="{52DF5F94-4AB8-4CE1-891B-4967AE17E97D}"/>
                </a:ext>
              </a:extLst>
            </p:cNvPr>
            <p:cNvSpPr>
              <a:spLocks/>
            </p:cNvSpPr>
            <p:nvPr/>
          </p:nvSpPr>
          <p:spPr bwMode="auto">
            <a:xfrm>
              <a:off x="2547529" y="4947592"/>
              <a:ext cx="311774" cy="384521"/>
            </a:xfrm>
            <a:custGeom>
              <a:avLst/>
              <a:gdLst>
                <a:gd name="T0" fmla="*/ 172 w 180"/>
                <a:gd name="T1" fmla="*/ 170 h 222"/>
                <a:gd name="T2" fmla="*/ 180 w 180"/>
                <a:gd name="T3" fmla="*/ 154 h 222"/>
                <a:gd name="T4" fmla="*/ 178 w 180"/>
                <a:gd name="T5" fmla="*/ 142 h 222"/>
                <a:gd name="T6" fmla="*/ 174 w 180"/>
                <a:gd name="T7" fmla="*/ 138 h 222"/>
                <a:gd name="T8" fmla="*/ 172 w 180"/>
                <a:gd name="T9" fmla="*/ 128 h 222"/>
                <a:gd name="T10" fmla="*/ 166 w 180"/>
                <a:gd name="T11" fmla="*/ 126 h 222"/>
                <a:gd name="T12" fmla="*/ 164 w 180"/>
                <a:gd name="T13" fmla="*/ 122 h 222"/>
                <a:gd name="T14" fmla="*/ 162 w 180"/>
                <a:gd name="T15" fmla="*/ 114 h 222"/>
                <a:gd name="T16" fmla="*/ 146 w 180"/>
                <a:gd name="T17" fmla="*/ 116 h 222"/>
                <a:gd name="T18" fmla="*/ 140 w 180"/>
                <a:gd name="T19" fmla="*/ 114 h 222"/>
                <a:gd name="T20" fmla="*/ 134 w 180"/>
                <a:gd name="T21" fmla="*/ 108 h 222"/>
                <a:gd name="T22" fmla="*/ 132 w 180"/>
                <a:gd name="T23" fmla="*/ 96 h 222"/>
                <a:gd name="T24" fmla="*/ 134 w 180"/>
                <a:gd name="T25" fmla="*/ 86 h 222"/>
                <a:gd name="T26" fmla="*/ 140 w 180"/>
                <a:gd name="T27" fmla="*/ 82 h 222"/>
                <a:gd name="T28" fmla="*/ 134 w 180"/>
                <a:gd name="T29" fmla="*/ 82 h 222"/>
                <a:gd name="T30" fmla="*/ 132 w 180"/>
                <a:gd name="T31" fmla="*/ 76 h 222"/>
                <a:gd name="T32" fmla="*/ 132 w 180"/>
                <a:gd name="T33" fmla="*/ 68 h 222"/>
                <a:gd name="T34" fmla="*/ 122 w 180"/>
                <a:gd name="T35" fmla="*/ 64 h 222"/>
                <a:gd name="T36" fmla="*/ 108 w 180"/>
                <a:gd name="T37" fmla="*/ 64 h 222"/>
                <a:gd name="T38" fmla="*/ 108 w 180"/>
                <a:gd name="T39" fmla="*/ 56 h 222"/>
                <a:gd name="T40" fmla="*/ 104 w 180"/>
                <a:gd name="T41" fmla="*/ 54 h 222"/>
                <a:gd name="T42" fmla="*/ 94 w 180"/>
                <a:gd name="T43" fmla="*/ 50 h 222"/>
                <a:gd name="T44" fmla="*/ 86 w 180"/>
                <a:gd name="T45" fmla="*/ 48 h 222"/>
                <a:gd name="T46" fmla="*/ 72 w 180"/>
                <a:gd name="T47" fmla="*/ 48 h 222"/>
                <a:gd name="T48" fmla="*/ 64 w 180"/>
                <a:gd name="T49" fmla="*/ 36 h 222"/>
                <a:gd name="T50" fmla="*/ 64 w 180"/>
                <a:gd name="T51" fmla="*/ 10 h 222"/>
                <a:gd name="T52" fmla="*/ 60 w 180"/>
                <a:gd name="T53" fmla="*/ 2 h 222"/>
                <a:gd name="T54" fmla="*/ 44 w 180"/>
                <a:gd name="T55" fmla="*/ 0 h 222"/>
                <a:gd name="T56" fmla="*/ 42 w 180"/>
                <a:gd name="T57" fmla="*/ 4 h 222"/>
                <a:gd name="T58" fmla="*/ 40 w 180"/>
                <a:gd name="T59" fmla="*/ 12 h 222"/>
                <a:gd name="T60" fmla="*/ 34 w 180"/>
                <a:gd name="T61" fmla="*/ 10 h 222"/>
                <a:gd name="T62" fmla="*/ 30 w 180"/>
                <a:gd name="T63" fmla="*/ 16 h 222"/>
                <a:gd name="T64" fmla="*/ 20 w 180"/>
                <a:gd name="T65" fmla="*/ 24 h 222"/>
                <a:gd name="T66" fmla="*/ 4 w 180"/>
                <a:gd name="T67" fmla="*/ 24 h 222"/>
                <a:gd name="T68" fmla="*/ 16 w 180"/>
                <a:gd name="T69" fmla="*/ 42 h 222"/>
                <a:gd name="T70" fmla="*/ 14 w 180"/>
                <a:gd name="T71" fmla="*/ 54 h 222"/>
                <a:gd name="T72" fmla="*/ 6 w 180"/>
                <a:gd name="T73" fmla="*/ 62 h 222"/>
                <a:gd name="T74" fmla="*/ 8 w 180"/>
                <a:gd name="T75" fmla="*/ 80 h 222"/>
                <a:gd name="T76" fmla="*/ 4 w 180"/>
                <a:gd name="T77" fmla="*/ 104 h 222"/>
                <a:gd name="T78" fmla="*/ 10 w 180"/>
                <a:gd name="T79" fmla="*/ 114 h 222"/>
                <a:gd name="T80" fmla="*/ 6 w 180"/>
                <a:gd name="T81" fmla="*/ 118 h 222"/>
                <a:gd name="T82" fmla="*/ 2 w 180"/>
                <a:gd name="T83" fmla="*/ 124 h 222"/>
                <a:gd name="T84" fmla="*/ 8 w 180"/>
                <a:gd name="T85" fmla="*/ 138 h 222"/>
                <a:gd name="T86" fmla="*/ 10 w 180"/>
                <a:gd name="T87" fmla="*/ 150 h 222"/>
                <a:gd name="T88" fmla="*/ 14 w 180"/>
                <a:gd name="T89" fmla="*/ 158 h 222"/>
                <a:gd name="T90" fmla="*/ 24 w 180"/>
                <a:gd name="T91" fmla="*/ 166 h 222"/>
                <a:gd name="T92" fmla="*/ 24 w 180"/>
                <a:gd name="T93" fmla="*/ 190 h 222"/>
                <a:gd name="T94" fmla="*/ 28 w 180"/>
                <a:gd name="T95" fmla="*/ 204 h 222"/>
                <a:gd name="T96" fmla="*/ 38 w 180"/>
                <a:gd name="T97" fmla="*/ 218 h 222"/>
                <a:gd name="T98" fmla="*/ 50 w 180"/>
                <a:gd name="T99" fmla="*/ 210 h 222"/>
                <a:gd name="T100" fmla="*/ 56 w 180"/>
                <a:gd name="T101" fmla="*/ 204 h 222"/>
                <a:gd name="T102" fmla="*/ 68 w 180"/>
                <a:gd name="T103" fmla="*/ 214 h 222"/>
                <a:gd name="T104" fmla="*/ 84 w 180"/>
                <a:gd name="T105" fmla="*/ 222 h 222"/>
                <a:gd name="T106" fmla="*/ 94 w 180"/>
                <a:gd name="T107" fmla="*/ 216 h 222"/>
                <a:gd name="T108" fmla="*/ 108 w 180"/>
                <a:gd name="T109" fmla="*/ 186 h 222"/>
                <a:gd name="T110" fmla="*/ 112 w 180"/>
                <a:gd name="T111" fmla="*/ 170 h 222"/>
                <a:gd name="T112" fmla="*/ 128 w 180"/>
                <a:gd name="T113" fmla="*/ 164 h 222"/>
                <a:gd name="T114" fmla="*/ 140 w 180"/>
                <a:gd name="T115" fmla="*/ 156 h 222"/>
                <a:gd name="T116" fmla="*/ 150 w 180"/>
                <a:gd name="T117" fmla="*/ 156 h 222"/>
                <a:gd name="T118" fmla="*/ 162 w 180"/>
                <a:gd name="T119" fmla="*/ 166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 h="222">
                  <a:moveTo>
                    <a:pt x="164" y="172"/>
                  </a:moveTo>
                  <a:lnTo>
                    <a:pt x="164" y="172"/>
                  </a:lnTo>
                  <a:lnTo>
                    <a:pt x="168" y="172"/>
                  </a:lnTo>
                  <a:lnTo>
                    <a:pt x="170" y="170"/>
                  </a:lnTo>
                  <a:lnTo>
                    <a:pt x="172" y="170"/>
                  </a:lnTo>
                  <a:lnTo>
                    <a:pt x="172" y="170"/>
                  </a:lnTo>
                  <a:lnTo>
                    <a:pt x="172" y="170"/>
                  </a:lnTo>
                  <a:lnTo>
                    <a:pt x="174" y="168"/>
                  </a:lnTo>
                  <a:lnTo>
                    <a:pt x="176" y="166"/>
                  </a:lnTo>
                  <a:lnTo>
                    <a:pt x="176" y="164"/>
                  </a:lnTo>
                  <a:lnTo>
                    <a:pt x="178" y="162"/>
                  </a:lnTo>
                  <a:lnTo>
                    <a:pt x="178" y="160"/>
                  </a:lnTo>
                  <a:lnTo>
                    <a:pt x="178" y="158"/>
                  </a:lnTo>
                  <a:lnTo>
                    <a:pt x="180" y="154"/>
                  </a:lnTo>
                  <a:lnTo>
                    <a:pt x="180" y="152"/>
                  </a:lnTo>
                  <a:lnTo>
                    <a:pt x="180" y="150"/>
                  </a:lnTo>
                  <a:lnTo>
                    <a:pt x="180" y="146"/>
                  </a:lnTo>
                  <a:lnTo>
                    <a:pt x="180" y="144"/>
                  </a:lnTo>
                  <a:lnTo>
                    <a:pt x="180" y="144"/>
                  </a:lnTo>
                  <a:lnTo>
                    <a:pt x="178" y="142"/>
                  </a:lnTo>
                  <a:lnTo>
                    <a:pt x="178" y="142"/>
                  </a:lnTo>
                  <a:lnTo>
                    <a:pt x="178" y="142"/>
                  </a:lnTo>
                  <a:lnTo>
                    <a:pt x="176" y="140"/>
                  </a:lnTo>
                  <a:lnTo>
                    <a:pt x="174" y="140"/>
                  </a:lnTo>
                  <a:lnTo>
                    <a:pt x="174" y="140"/>
                  </a:lnTo>
                  <a:lnTo>
                    <a:pt x="174" y="138"/>
                  </a:lnTo>
                  <a:lnTo>
                    <a:pt x="174" y="138"/>
                  </a:lnTo>
                  <a:lnTo>
                    <a:pt x="174" y="138"/>
                  </a:lnTo>
                  <a:lnTo>
                    <a:pt x="174" y="136"/>
                  </a:lnTo>
                  <a:lnTo>
                    <a:pt x="174" y="132"/>
                  </a:lnTo>
                  <a:lnTo>
                    <a:pt x="174" y="132"/>
                  </a:lnTo>
                  <a:lnTo>
                    <a:pt x="172" y="130"/>
                  </a:lnTo>
                  <a:lnTo>
                    <a:pt x="172" y="128"/>
                  </a:lnTo>
                  <a:lnTo>
                    <a:pt x="172" y="128"/>
                  </a:lnTo>
                  <a:lnTo>
                    <a:pt x="172" y="128"/>
                  </a:lnTo>
                  <a:lnTo>
                    <a:pt x="172" y="128"/>
                  </a:lnTo>
                  <a:lnTo>
                    <a:pt x="172" y="126"/>
                  </a:lnTo>
                  <a:lnTo>
                    <a:pt x="170" y="126"/>
                  </a:lnTo>
                  <a:lnTo>
                    <a:pt x="170" y="126"/>
                  </a:lnTo>
                  <a:lnTo>
                    <a:pt x="168" y="126"/>
                  </a:lnTo>
                  <a:lnTo>
                    <a:pt x="166" y="126"/>
                  </a:lnTo>
                  <a:lnTo>
                    <a:pt x="166" y="126"/>
                  </a:lnTo>
                  <a:lnTo>
                    <a:pt x="164" y="126"/>
                  </a:lnTo>
                  <a:lnTo>
                    <a:pt x="164" y="126"/>
                  </a:lnTo>
                  <a:lnTo>
                    <a:pt x="164" y="126"/>
                  </a:lnTo>
                  <a:lnTo>
                    <a:pt x="164" y="126"/>
                  </a:lnTo>
                  <a:lnTo>
                    <a:pt x="164" y="126"/>
                  </a:lnTo>
                  <a:lnTo>
                    <a:pt x="164" y="124"/>
                  </a:lnTo>
                  <a:lnTo>
                    <a:pt x="164" y="122"/>
                  </a:lnTo>
                  <a:lnTo>
                    <a:pt x="164" y="120"/>
                  </a:lnTo>
                  <a:lnTo>
                    <a:pt x="164" y="118"/>
                  </a:lnTo>
                  <a:lnTo>
                    <a:pt x="164" y="118"/>
                  </a:lnTo>
                  <a:lnTo>
                    <a:pt x="164" y="116"/>
                  </a:lnTo>
                  <a:lnTo>
                    <a:pt x="162" y="116"/>
                  </a:lnTo>
                  <a:lnTo>
                    <a:pt x="162" y="114"/>
                  </a:lnTo>
                  <a:lnTo>
                    <a:pt x="162" y="114"/>
                  </a:lnTo>
                  <a:lnTo>
                    <a:pt x="160" y="114"/>
                  </a:lnTo>
                  <a:lnTo>
                    <a:pt x="160" y="114"/>
                  </a:lnTo>
                  <a:lnTo>
                    <a:pt x="158" y="114"/>
                  </a:lnTo>
                  <a:lnTo>
                    <a:pt x="156" y="114"/>
                  </a:lnTo>
                  <a:lnTo>
                    <a:pt x="152" y="114"/>
                  </a:lnTo>
                  <a:lnTo>
                    <a:pt x="150" y="116"/>
                  </a:lnTo>
                  <a:lnTo>
                    <a:pt x="146" y="116"/>
                  </a:lnTo>
                  <a:lnTo>
                    <a:pt x="146" y="116"/>
                  </a:lnTo>
                  <a:lnTo>
                    <a:pt x="144" y="116"/>
                  </a:lnTo>
                  <a:lnTo>
                    <a:pt x="144" y="116"/>
                  </a:lnTo>
                  <a:lnTo>
                    <a:pt x="142" y="116"/>
                  </a:lnTo>
                  <a:lnTo>
                    <a:pt x="142" y="116"/>
                  </a:lnTo>
                  <a:lnTo>
                    <a:pt x="142" y="114"/>
                  </a:lnTo>
                  <a:lnTo>
                    <a:pt x="140" y="114"/>
                  </a:lnTo>
                  <a:lnTo>
                    <a:pt x="140" y="112"/>
                  </a:lnTo>
                  <a:lnTo>
                    <a:pt x="138" y="110"/>
                  </a:lnTo>
                  <a:lnTo>
                    <a:pt x="138" y="110"/>
                  </a:lnTo>
                  <a:lnTo>
                    <a:pt x="138" y="110"/>
                  </a:lnTo>
                  <a:lnTo>
                    <a:pt x="136" y="110"/>
                  </a:lnTo>
                  <a:lnTo>
                    <a:pt x="134" y="110"/>
                  </a:lnTo>
                  <a:lnTo>
                    <a:pt x="134" y="108"/>
                  </a:lnTo>
                  <a:lnTo>
                    <a:pt x="134" y="108"/>
                  </a:lnTo>
                  <a:lnTo>
                    <a:pt x="134" y="108"/>
                  </a:lnTo>
                  <a:lnTo>
                    <a:pt x="132" y="106"/>
                  </a:lnTo>
                  <a:lnTo>
                    <a:pt x="132" y="104"/>
                  </a:lnTo>
                  <a:lnTo>
                    <a:pt x="132" y="102"/>
                  </a:lnTo>
                  <a:lnTo>
                    <a:pt x="132" y="98"/>
                  </a:lnTo>
                  <a:lnTo>
                    <a:pt x="132" y="96"/>
                  </a:lnTo>
                  <a:lnTo>
                    <a:pt x="132" y="92"/>
                  </a:lnTo>
                  <a:lnTo>
                    <a:pt x="132" y="90"/>
                  </a:lnTo>
                  <a:lnTo>
                    <a:pt x="132" y="90"/>
                  </a:lnTo>
                  <a:lnTo>
                    <a:pt x="134" y="88"/>
                  </a:lnTo>
                  <a:lnTo>
                    <a:pt x="134" y="88"/>
                  </a:lnTo>
                  <a:lnTo>
                    <a:pt x="134" y="88"/>
                  </a:lnTo>
                  <a:lnTo>
                    <a:pt x="134" y="86"/>
                  </a:lnTo>
                  <a:lnTo>
                    <a:pt x="138" y="86"/>
                  </a:lnTo>
                  <a:lnTo>
                    <a:pt x="138" y="84"/>
                  </a:lnTo>
                  <a:lnTo>
                    <a:pt x="140" y="84"/>
                  </a:lnTo>
                  <a:lnTo>
                    <a:pt x="140" y="84"/>
                  </a:lnTo>
                  <a:lnTo>
                    <a:pt x="140" y="84"/>
                  </a:lnTo>
                  <a:lnTo>
                    <a:pt x="140" y="84"/>
                  </a:lnTo>
                  <a:lnTo>
                    <a:pt x="140" y="82"/>
                  </a:lnTo>
                  <a:lnTo>
                    <a:pt x="140" y="82"/>
                  </a:lnTo>
                  <a:lnTo>
                    <a:pt x="140" y="82"/>
                  </a:lnTo>
                  <a:lnTo>
                    <a:pt x="140" y="82"/>
                  </a:lnTo>
                  <a:lnTo>
                    <a:pt x="138" y="82"/>
                  </a:lnTo>
                  <a:lnTo>
                    <a:pt x="138" y="82"/>
                  </a:lnTo>
                  <a:lnTo>
                    <a:pt x="134" y="82"/>
                  </a:lnTo>
                  <a:lnTo>
                    <a:pt x="134" y="82"/>
                  </a:lnTo>
                  <a:lnTo>
                    <a:pt x="134" y="82"/>
                  </a:lnTo>
                  <a:lnTo>
                    <a:pt x="134" y="82"/>
                  </a:lnTo>
                  <a:lnTo>
                    <a:pt x="132" y="80"/>
                  </a:lnTo>
                  <a:lnTo>
                    <a:pt x="132" y="80"/>
                  </a:lnTo>
                  <a:lnTo>
                    <a:pt x="132" y="80"/>
                  </a:lnTo>
                  <a:lnTo>
                    <a:pt x="132" y="78"/>
                  </a:lnTo>
                  <a:lnTo>
                    <a:pt x="132" y="76"/>
                  </a:lnTo>
                  <a:lnTo>
                    <a:pt x="132" y="74"/>
                  </a:lnTo>
                  <a:lnTo>
                    <a:pt x="132" y="72"/>
                  </a:lnTo>
                  <a:lnTo>
                    <a:pt x="132" y="70"/>
                  </a:lnTo>
                  <a:lnTo>
                    <a:pt x="132" y="70"/>
                  </a:lnTo>
                  <a:lnTo>
                    <a:pt x="132" y="68"/>
                  </a:lnTo>
                  <a:lnTo>
                    <a:pt x="132" y="68"/>
                  </a:lnTo>
                  <a:lnTo>
                    <a:pt x="132" y="68"/>
                  </a:lnTo>
                  <a:lnTo>
                    <a:pt x="130" y="66"/>
                  </a:lnTo>
                  <a:lnTo>
                    <a:pt x="130" y="66"/>
                  </a:lnTo>
                  <a:lnTo>
                    <a:pt x="128" y="66"/>
                  </a:lnTo>
                  <a:lnTo>
                    <a:pt x="128" y="66"/>
                  </a:lnTo>
                  <a:lnTo>
                    <a:pt x="124" y="66"/>
                  </a:lnTo>
                  <a:lnTo>
                    <a:pt x="124" y="66"/>
                  </a:lnTo>
                  <a:lnTo>
                    <a:pt x="122" y="64"/>
                  </a:lnTo>
                  <a:lnTo>
                    <a:pt x="120" y="64"/>
                  </a:lnTo>
                  <a:lnTo>
                    <a:pt x="116" y="64"/>
                  </a:lnTo>
                  <a:lnTo>
                    <a:pt x="114" y="64"/>
                  </a:lnTo>
                  <a:lnTo>
                    <a:pt x="112" y="64"/>
                  </a:lnTo>
                  <a:lnTo>
                    <a:pt x="110" y="64"/>
                  </a:lnTo>
                  <a:lnTo>
                    <a:pt x="110" y="64"/>
                  </a:lnTo>
                  <a:lnTo>
                    <a:pt x="108" y="64"/>
                  </a:lnTo>
                  <a:lnTo>
                    <a:pt x="108" y="62"/>
                  </a:lnTo>
                  <a:lnTo>
                    <a:pt x="108" y="62"/>
                  </a:lnTo>
                  <a:lnTo>
                    <a:pt x="108" y="62"/>
                  </a:lnTo>
                  <a:lnTo>
                    <a:pt x="108" y="60"/>
                  </a:lnTo>
                  <a:lnTo>
                    <a:pt x="108" y="58"/>
                  </a:lnTo>
                  <a:lnTo>
                    <a:pt x="108" y="58"/>
                  </a:lnTo>
                  <a:lnTo>
                    <a:pt x="108" y="56"/>
                  </a:lnTo>
                  <a:lnTo>
                    <a:pt x="108" y="56"/>
                  </a:lnTo>
                  <a:lnTo>
                    <a:pt x="106" y="54"/>
                  </a:lnTo>
                  <a:lnTo>
                    <a:pt x="106" y="54"/>
                  </a:lnTo>
                  <a:lnTo>
                    <a:pt x="106" y="54"/>
                  </a:lnTo>
                  <a:lnTo>
                    <a:pt x="106" y="54"/>
                  </a:lnTo>
                  <a:lnTo>
                    <a:pt x="104" y="54"/>
                  </a:lnTo>
                  <a:lnTo>
                    <a:pt x="104" y="54"/>
                  </a:lnTo>
                  <a:lnTo>
                    <a:pt x="102" y="52"/>
                  </a:lnTo>
                  <a:lnTo>
                    <a:pt x="98" y="52"/>
                  </a:lnTo>
                  <a:lnTo>
                    <a:pt x="98" y="52"/>
                  </a:lnTo>
                  <a:lnTo>
                    <a:pt x="96" y="52"/>
                  </a:lnTo>
                  <a:lnTo>
                    <a:pt x="96" y="52"/>
                  </a:lnTo>
                  <a:lnTo>
                    <a:pt x="96" y="50"/>
                  </a:lnTo>
                  <a:lnTo>
                    <a:pt x="94" y="50"/>
                  </a:lnTo>
                  <a:lnTo>
                    <a:pt x="94" y="48"/>
                  </a:lnTo>
                  <a:lnTo>
                    <a:pt x="94" y="48"/>
                  </a:lnTo>
                  <a:lnTo>
                    <a:pt x="94" y="48"/>
                  </a:lnTo>
                  <a:lnTo>
                    <a:pt x="92" y="48"/>
                  </a:lnTo>
                  <a:lnTo>
                    <a:pt x="90" y="48"/>
                  </a:lnTo>
                  <a:lnTo>
                    <a:pt x="90" y="48"/>
                  </a:lnTo>
                  <a:lnTo>
                    <a:pt x="86" y="48"/>
                  </a:lnTo>
                  <a:lnTo>
                    <a:pt x="82" y="48"/>
                  </a:lnTo>
                  <a:lnTo>
                    <a:pt x="80" y="48"/>
                  </a:lnTo>
                  <a:lnTo>
                    <a:pt x="76" y="48"/>
                  </a:lnTo>
                  <a:lnTo>
                    <a:pt x="76" y="48"/>
                  </a:lnTo>
                  <a:lnTo>
                    <a:pt x="74" y="48"/>
                  </a:lnTo>
                  <a:lnTo>
                    <a:pt x="72" y="48"/>
                  </a:lnTo>
                  <a:lnTo>
                    <a:pt x="72" y="48"/>
                  </a:lnTo>
                  <a:lnTo>
                    <a:pt x="72" y="48"/>
                  </a:lnTo>
                  <a:lnTo>
                    <a:pt x="70" y="48"/>
                  </a:lnTo>
                  <a:lnTo>
                    <a:pt x="70" y="46"/>
                  </a:lnTo>
                  <a:lnTo>
                    <a:pt x="68" y="44"/>
                  </a:lnTo>
                  <a:lnTo>
                    <a:pt x="68" y="42"/>
                  </a:lnTo>
                  <a:lnTo>
                    <a:pt x="66" y="38"/>
                  </a:lnTo>
                  <a:lnTo>
                    <a:pt x="64" y="36"/>
                  </a:lnTo>
                  <a:lnTo>
                    <a:pt x="64" y="32"/>
                  </a:lnTo>
                  <a:lnTo>
                    <a:pt x="64" y="30"/>
                  </a:lnTo>
                  <a:lnTo>
                    <a:pt x="62" y="30"/>
                  </a:lnTo>
                  <a:lnTo>
                    <a:pt x="62" y="26"/>
                  </a:lnTo>
                  <a:lnTo>
                    <a:pt x="64" y="16"/>
                  </a:lnTo>
                  <a:lnTo>
                    <a:pt x="64" y="12"/>
                  </a:lnTo>
                  <a:lnTo>
                    <a:pt x="64" y="10"/>
                  </a:lnTo>
                  <a:lnTo>
                    <a:pt x="64" y="8"/>
                  </a:lnTo>
                  <a:lnTo>
                    <a:pt x="62" y="6"/>
                  </a:lnTo>
                  <a:lnTo>
                    <a:pt x="62" y="6"/>
                  </a:lnTo>
                  <a:lnTo>
                    <a:pt x="62" y="4"/>
                  </a:lnTo>
                  <a:lnTo>
                    <a:pt x="62" y="2"/>
                  </a:lnTo>
                  <a:lnTo>
                    <a:pt x="60" y="2"/>
                  </a:lnTo>
                  <a:lnTo>
                    <a:pt x="60" y="2"/>
                  </a:lnTo>
                  <a:lnTo>
                    <a:pt x="58" y="2"/>
                  </a:lnTo>
                  <a:lnTo>
                    <a:pt x="58" y="0"/>
                  </a:lnTo>
                  <a:lnTo>
                    <a:pt x="54" y="0"/>
                  </a:lnTo>
                  <a:lnTo>
                    <a:pt x="52" y="0"/>
                  </a:lnTo>
                  <a:lnTo>
                    <a:pt x="48" y="0"/>
                  </a:lnTo>
                  <a:lnTo>
                    <a:pt x="46" y="0"/>
                  </a:lnTo>
                  <a:lnTo>
                    <a:pt x="44" y="0"/>
                  </a:lnTo>
                  <a:lnTo>
                    <a:pt x="44" y="0"/>
                  </a:lnTo>
                  <a:lnTo>
                    <a:pt x="42" y="0"/>
                  </a:lnTo>
                  <a:lnTo>
                    <a:pt x="42" y="0"/>
                  </a:lnTo>
                  <a:lnTo>
                    <a:pt x="42" y="2"/>
                  </a:lnTo>
                  <a:lnTo>
                    <a:pt x="42" y="2"/>
                  </a:lnTo>
                  <a:lnTo>
                    <a:pt x="42" y="4"/>
                  </a:lnTo>
                  <a:lnTo>
                    <a:pt x="42" y="4"/>
                  </a:lnTo>
                  <a:lnTo>
                    <a:pt x="42" y="6"/>
                  </a:lnTo>
                  <a:lnTo>
                    <a:pt x="42" y="8"/>
                  </a:lnTo>
                  <a:lnTo>
                    <a:pt x="42" y="10"/>
                  </a:lnTo>
                  <a:lnTo>
                    <a:pt x="40" y="10"/>
                  </a:lnTo>
                  <a:lnTo>
                    <a:pt x="40" y="12"/>
                  </a:lnTo>
                  <a:lnTo>
                    <a:pt x="40" y="12"/>
                  </a:lnTo>
                  <a:lnTo>
                    <a:pt x="40" y="12"/>
                  </a:lnTo>
                  <a:lnTo>
                    <a:pt x="40" y="12"/>
                  </a:lnTo>
                  <a:lnTo>
                    <a:pt x="38" y="12"/>
                  </a:lnTo>
                  <a:lnTo>
                    <a:pt x="38" y="12"/>
                  </a:lnTo>
                  <a:lnTo>
                    <a:pt x="36" y="12"/>
                  </a:lnTo>
                  <a:lnTo>
                    <a:pt x="34" y="10"/>
                  </a:lnTo>
                  <a:lnTo>
                    <a:pt x="34" y="10"/>
                  </a:lnTo>
                  <a:lnTo>
                    <a:pt x="34" y="10"/>
                  </a:lnTo>
                  <a:lnTo>
                    <a:pt x="32" y="10"/>
                  </a:lnTo>
                  <a:lnTo>
                    <a:pt x="32" y="10"/>
                  </a:lnTo>
                  <a:lnTo>
                    <a:pt x="32" y="12"/>
                  </a:lnTo>
                  <a:lnTo>
                    <a:pt x="32" y="12"/>
                  </a:lnTo>
                  <a:lnTo>
                    <a:pt x="30" y="14"/>
                  </a:lnTo>
                  <a:lnTo>
                    <a:pt x="30" y="16"/>
                  </a:lnTo>
                  <a:lnTo>
                    <a:pt x="30" y="16"/>
                  </a:lnTo>
                  <a:lnTo>
                    <a:pt x="28" y="18"/>
                  </a:lnTo>
                  <a:lnTo>
                    <a:pt x="28" y="18"/>
                  </a:lnTo>
                  <a:lnTo>
                    <a:pt x="26" y="20"/>
                  </a:lnTo>
                  <a:lnTo>
                    <a:pt x="26" y="20"/>
                  </a:lnTo>
                  <a:lnTo>
                    <a:pt x="24" y="22"/>
                  </a:lnTo>
                  <a:lnTo>
                    <a:pt x="22" y="22"/>
                  </a:lnTo>
                  <a:lnTo>
                    <a:pt x="20" y="24"/>
                  </a:lnTo>
                  <a:lnTo>
                    <a:pt x="18" y="24"/>
                  </a:lnTo>
                  <a:lnTo>
                    <a:pt x="16" y="26"/>
                  </a:lnTo>
                  <a:lnTo>
                    <a:pt x="16" y="26"/>
                  </a:lnTo>
                  <a:lnTo>
                    <a:pt x="14" y="26"/>
                  </a:lnTo>
                  <a:lnTo>
                    <a:pt x="12" y="26"/>
                  </a:lnTo>
                  <a:lnTo>
                    <a:pt x="8" y="24"/>
                  </a:lnTo>
                  <a:lnTo>
                    <a:pt x="4" y="24"/>
                  </a:lnTo>
                  <a:lnTo>
                    <a:pt x="6" y="26"/>
                  </a:lnTo>
                  <a:lnTo>
                    <a:pt x="10" y="32"/>
                  </a:lnTo>
                  <a:lnTo>
                    <a:pt x="12" y="34"/>
                  </a:lnTo>
                  <a:lnTo>
                    <a:pt x="14" y="36"/>
                  </a:lnTo>
                  <a:lnTo>
                    <a:pt x="14" y="40"/>
                  </a:lnTo>
                  <a:lnTo>
                    <a:pt x="16" y="40"/>
                  </a:lnTo>
                  <a:lnTo>
                    <a:pt x="16" y="42"/>
                  </a:lnTo>
                  <a:lnTo>
                    <a:pt x="16" y="44"/>
                  </a:lnTo>
                  <a:lnTo>
                    <a:pt x="16" y="46"/>
                  </a:lnTo>
                  <a:lnTo>
                    <a:pt x="16" y="48"/>
                  </a:lnTo>
                  <a:lnTo>
                    <a:pt x="16" y="50"/>
                  </a:lnTo>
                  <a:lnTo>
                    <a:pt x="16" y="52"/>
                  </a:lnTo>
                  <a:lnTo>
                    <a:pt x="14" y="54"/>
                  </a:lnTo>
                  <a:lnTo>
                    <a:pt x="14" y="54"/>
                  </a:lnTo>
                  <a:lnTo>
                    <a:pt x="14" y="56"/>
                  </a:lnTo>
                  <a:lnTo>
                    <a:pt x="14" y="58"/>
                  </a:lnTo>
                  <a:lnTo>
                    <a:pt x="12" y="58"/>
                  </a:lnTo>
                  <a:lnTo>
                    <a:pt x="10" y="60"/>
                  </a:lnTo>
                  <a:lnTo>
                    <a:pt x="8" y="60"/>
                  </a:lnTo>
                  <a:lnTo>
                    <a:pt x="8" y="62"/>
                  </a:lnTo>
                  <a:lnTo>
                    <a:pt x="6" y="62"/>
                  </a:lnTo>
                  <a:lnTo>
                    <a:pt x="6" y="64"/>
                  </a:lnTo>
                  <a:lnTo>
                    <a:pt x="6" y="64"/>
                  </a:lnTo>
                  <a:lnTo>
                    <a:pt x="6" y="66"/>
                  </a:lnTo>
                  <a:lnTo>
                    <a:pt x="6" y="70"/>
                  </a:lnTo>
                  <a:lnTo>
                    <a:pt x="6" y="72"/>
                  </a:lnTo>
                  <a:lnTo>
                    <a:pt x="8" y="78"/>
                  </a:lnTo>
                  <a:lnTo>
                    <a:pt x="8" y="80"/>
                  </a:lnTo>
                  <a:lnTo>
                    <a:pt x="8" y="82"/>
                  </a:lnTo>
                  <a:lnTo>
                    <a:pt x="8" y="84"/>
                  </a:lnTo>
                  <a:lnTo>
                    <a:pt x="6" y="88"/>
                  </a:lnTo>
                  <a:lnTo>
                    <a:pt x="6" y="94"/>
                  </a:lnTo>
                  <a:lnTo>
                    <a:pt x="6" y="98"/>
                  </a:lnTo>
                  <a:lnTo>
                    <a:pt x="4" y="102"/>
                  </a:lnTo>
                  <a:lnTo>
                    <a:pt x="4" y="104"/>
                  </a:lnTo>
                  <a:lnTo>
                    <a:pt x="4" y="106"/>
                  </a:lnTo>
                  <a:lnTo>
                    <a:pt x="6" y="108"/>
                  </a:lnTo>
                  <a:lnTo>
                    <a:pt x="6" y="108"/>
                  </a:lnTo>
                  <a:lnTo>
                    <a:pt x="6" y="110"/>
                  </a:lnTo>
                  <a:lnTo>
                    <a:pt x="8" y="112"/>
                  </a:lnTo>
                  <a:lnTo>
                    <a:pt x="8" y="112"/>
                  </a:lnTo>
                  <a:lnTo>
                    <a:pt x="10" y="114"/>
                  </a:lnTo>
                  <a:lnTo>
                    <a:pt x="10" y="114"/>
                  </a:lnTo>
                  <a:lnTo>
                    <a:pt x="10" y="116"/>
                  </a:lnTo>
                  <a:lnTo>
                    <a:pt x="10" y="116"/>
                  </a:lnTo>
                  <a:lnTo>
                    <a:pt x="10" y="116"/>
                  </a:lnTo>
                  <a:lnTo>
                    <a:pt x="10" y="116"/>
                  </a:lnTo>
                  <a:lnTo>
                    <a:pt x="8" y="118"/>
                  </a:lnTo>
                  <a:lnTo>
                    <a:pt x="6" y="118"/>
                  </a:lnTo>
                  <a:lnTo>
                    <a:pt x="6" y="118"/>
                  </a:lnTo>
                  <a:lnTo>
                    <a:pt x="6" y="118"/>
                  </a:lnTo>
                  <a:lnTo>
                    <a:pt x="4" y="118"/>
                  </a:lnTo>
                  <a:lnTo>
                    <a:pt x="4" y="118"/>
                  </a:lnTo>
                  <a:lnTo>
                    <a:pt x="4" y="120"/>
                  </a:lnTo>
                  <a:lnTo>
                    <a:pt x="2" y="122"/>
                  </a:lnTo>
                  <a:lnTo>
                    <a:pt x="2" y="124"/>
                  </a:lnTo>
                  <a:lnTo>
                    <a:pt x="0" y="128"/>
                  </a:lnTo>
                  <a:lnTo>
                    <a:pt x="0" y="130"/>
                  </a:lnTo>
                  <a:lnTo>
                    <a:pt x="2" y="130"/>
                  </a:lnTo>
                  <a:lnTo>
                    <a:pt x="4" y="132"/>
                  </a:lnTo>
                  <a:lnTo>
                    <a:pt x="8" y="136"/>
                  </a:lnTo>
                  <a:lnTo>
                    <a:pt x="8" y="136"/>
                  </a:lnTo>
                  <a:lnTo>
                    <a:pt x="8" y="138"/>
                  </a:lnTo>
                  <a:lnTo>
                    <a:pt x="10" y="138"/>
                  </a:lnTo>
                  <a:lnTo>
                    <a:pt x="10" y="140"/>
                  </a:lnTo>
                  <a:lnTo>
                    <a:pt x="10" y="140"/>
                  </a:lnTo>
                  <a:lnTo>
                    <a:pt x="10" y="142"/>
                  </a:lnTo>
                  <a:lnTo>
                    <a:pt x="10" y="146"/>
                  </a:lnTo>
                  <a:lnTo>
                    <a:pt x="10" y="148"/>
                  </a:lnTo>
                  <a:lnTo>
                    <a:pt x="10" y="150"/>
                  </a:lnTo>
                  <a:lnTo>
                    <a:pt x="10" y="152"/>
                  </a:lnTo>
                  <a:lnTo>
                    <a:pt x="10" y="152"/>
                  </a:lnTo>
                  <a:lnTo>
                    <a:pt x="10" y="152"/>
                  </a:lnTo>
                  <a:lnTo>
                    <a:pt x="10" y="154"/>
                  </a:lnTo>
                  <a:lnTo>
                    <a:pt x="12" y="154"/>
                  </a:lnTo>
                  <a:lnTo>
                    <a:pt x="12" y="156"/>
                  </a:lnTo>
                  <a:lnTo>
                    <a:pt x="14" y="158"/>
                  </a:lnTo>
                  <a:lnTo>
                    <a:pt x="18" y="158"/>
                  </a:lnTo>
                  <a:lnTo>
                    <a:pt x="20" y="160"/>
                  </a:lnTo>
                  <a:lnTo>
                    <a:pt x="22" y="162"/>
                  </a:lnTo>
                  <a:lnTo>
                    <a:pt x="22" y="164"/>
                  </a:lnTo>
                  <a:lnTo>
                    <a:pt x="24" y="164"/>
                  </a:lnTo>
                  <a:lnTo>
                    <a:pt x="24" y="166"/>
                  </a:lnTo>
                  <a:lnTo>
                    <a:pt x="24" y="166"/>
                  </a:lnTo>
                  <a:lnTo>
                    <a:pt x="24" y="168"/>
                  </a:lnTo>
                  <a:lnTo>
                    <a:pt x="24" y="170"/>
                  </a:lnTo>
                  <a:lnTo>
                    <a:pt x="24" y="172"/>
                  </a:lnTo>
                  <a:lnTo>
                    <a:pt x="24" y="176"/>
                  </a:lnTo>
                  <a:lnTo>
                    <a:pt x="24" y="180"/>
                  </a:lnTo>
                  <a:lnTo>
                    <a:pt x="24" y="186"/>
                  </a:lnTo>
                  <a:lnTo>
                    <a:pt x="24" y="190"/>
                  </a:lnTo>
                  <a:lnTo>
                    <a:pt x="24" y="192"/>
                  </a:lnTo>
                  <a:lnTo>
                    <a:pt x="24" y="194"/>
                  </a:lnTo>
                  <a:lnTo>
                    <a:pt x="24" y="196"/>
                  </a:lnTo>
                  <a:lnTo>
                    <a:pt x="24" y="196"/>
                  </a:lnTo>
                  <a:lnTo>
                    <a:pt x="24" y="198"/>
                  </a:lnTo>
                  <a:lnTo>
                    <a:pt x="26" y="202"/>
                  </a:lnTo>
                  <a:lnTo>
                    <a:pt x="28" y="204"/>
                  </a:lnTo>
                  <a:lnTo>
                    <a:pt x="28" y="208"/>
                  </a:lnTo>
                  <a:lnTo>
                    <a:pt x="30" y="210"/>
                  </a:lnTo>
                  <a:lnTo>
                    <a:pt x="32" y="212"/>
                  </a:lnTo>
                  <a:lnTo>
                    <a:pt x="34" y="214"/>
                  </a:lnTo>
                  <a:lnTo>
                    <a:pt x="36" y="216"/>
                  </a:lnTo>
                  <a:lnTo>
                    <a:pt x="36" y="218"/>
                  </a:lnTo>
                  <a:lnTo>
                    <a:pt x="38" y="218"/>
                  </a:lnTo>
                  <a:lnTo>
                    <a:pt x="40" y="220"/>
                  </a:lnTo>
                  <a:lnTo>
                    <a:pt x="46" y="222"/>
                  </a:lnTo>
                  <a:lnTo>
                    <a:pt x="46" y="220"/>
                  </a:lnTo>
                  <a:lnTo>
                    <a:pt x="46" y="218"/>
                  </a:lnTo>
                  <a:lnTo>
                    <a:pt x="48" y="214"/>
                  </a:lnTo>
                  <a:lnTo>
                    <a:pt x="50" y="210"/>
                  </a:lnTo>
                  <a:lnTo>
                    <a:pt x="50" y="210"/>
                  </a:lnTo>
                  <a:lnTo>
                    <a:pt x="50" y="208"/>
                  </a:lnTo>
                  <a:lnTo>
                    <a:pt x="52" y="206"/>
                  </a:lnTo>
                  <a:lnTo>
                    <a:pt x="52" y="206"/>
                  </a:lnTo>
                  <a:lnTo>
                    <a:pt x="54" y="204"/>
                  </a:lnTo>
                  <a:lnTo>
                    <a:pt x="54" y="204"/>
                  </a:lnTo>
                  <a:lnTo>
                    <a:pt x="54" y="204"/>
                  </a:lnTo>
                  <a:lnTo>
                    <a:pt x="56" y="204"/>
                  </a:lnTo>
                  <a:lnTo>
                    <a:pt x="56" y="204"/>
                  </a:lnTo>
                  <a:lnTo>
                    <a:pt x="58" y="206"/>
                  </a:lnTo>
                  <a:lnTo>
                    <a:pt x="60" y="206"/>
                  </a:lnTo>
                  <a:lnTo>
                    <a:pt x="62" y="208"/>
                  </a:lnTo>
                  <a:lnTo>
                    <a:pt x="64" y="212"/>
                  </a:lnTo>
                  <a:lnTo>
                    <a:pt x="66" y="214"/>
                  </a:lnTo>
                  <a:lnTo>
                    <a:pt x="68" y="214"/>
                  </a:lnTo>
                  <a:lnTo>
                    <a:pt x="68" y="216"/>
                  </a:lnTo>
                  <a:lnTo>
                    <a:pt x="72" y="218"/>
                  </a:lnTo>
                  <a:lnTo>
                    <a:pt x="74" y="218"/>
                  </a:lnTo>
                  <a:lnTo>
                    <a:pt x="76" y="220"/>
                  </a:lnTo>
                  <a:lnTo>
                    <a:pt x="78" y="220"/>
                  </a:lnTo>
                  <a:lnTo>
                    <a:pt x="82" y="222"/>
                  </a:lnTo>
                  <a:lnTo>
                    <a:pt x="84" y="222"/>
                  </a:lnTo>
                  <a:lnTo>
                    <a:pt x="84" y="222"/>
                  </a:lnTo>
                  <a:lnTo>
                    <a:pt x="86" y="222"/>
                  </a:lnTo>
                  <a:lnTo>
                    <a:pt x="86" y="222"/>
                  </a:lnTo>
                  <a:lnTo>
                    <a:pt x="88" y="220"/>
                  </a:lnTo>
                  <a:lnTo>
                    <a:pt x="90" y="220"/>
                  </a:lnTo>
                  <a:lnTo>
                    <a:pt x="90" y="220"/>
                  </a:lnTo>
                  <a:lnTo>
                    <a:pt x="94" y="216"/>
                  </a:lnTo>
                  <a:lnTo>
                    <a:pt x="96" y="214"/>
                  </a:lnTo>
                  <a:lnTo>
                    <a:pt x="98" y="212"/>
                  </a:lnTo>
                  <a:lnTo>
                    <a:pt x="100" y="210"/>
                  </a:lnTo>
                  <a:lnTo>
                    <a:pt x="102" y="208"/>
                  </a:lnTo>
                  <a:lnTo>
                    <a:pt x="104" y="198"/>
                  </a:lnTo>
                  <a:lnTo>
                    <a:pt x="106" y="190"/>
                  </a:lnTo>
                  <a:lnTo>
                    <a:pt x="108" y="186"/>
                  </a:lnTo>
                  <a:lnTo>
                    <a:pt x="108" y="182"/>
                  </a:lnTo>
                  <a:lnTo>
                    <a:pt x="108" y="180"/>
                  </a:lnTo>
                  <a:lnTo>
                    <a:pt x="110" y="176"/>
                  </a:lnTo>
                  <a:lnTo>
                    <a:pt x="110" y="174"/>
                  </a:lnTo>
                  <a:lnTo>
                    <a:pt x="112" y="172"/>
                  </a:lnTo>
                  <a:lnTo>
                    <a:pt x="112" y="172"/>
                  </a:lnTo>
                  <a:lnTo>
                    <a:pt x="112" y="170"/>
                  </a:lnTo>
                  <a:lnTo>
                    <a:pt x="114" y="170"/>
                  </a:lnTo>
                  <a:lnTo>
                    <a:pt x="114" y="170"/>
                  </a:lnTo>
                  <a:lnTo>
                    <a:pt x="116" y="168"/>
                  </a:lnTo>
                  <a:lnTo>
                    <a:pt x="118" y="168"/>
                  </a:lnTo>
                  <a:lnTo>
                    <a:pt x="120" y="166"/>
                  </a:lnTo>
                  <a:lnTo>
                    <a:pt x="126" y="166"/>
                  </a:lnTo>
                  <a:lnTo>
                    <a:pt x="128" y="164"/>
                  </a:lnTo>
                  <a:lnTo>
                    <a:pt x="130" y="164"/>
                  </a:lnTo>
                  <a:lnTo>
                    <a:pt x="130" y="162"/>
                  </a:lnTo>
                  <a:lnTo>
                    <a:pt x="132" y="162"/>
                  </a:lnTo>
                  <a:lnTo>
                    <a:pt x="134" y="158"/>
                  </a:lnTo>
                  <a:lnTo>
                    <a:pt x="136" y="158"/>
                  </a:lnTo>
                  <a:lnTo>
                    <a:pt x="138" y="156"/>
                  </a:lnTo>
                  <a:lnTo>
                    <a:pt x="140" y="156"/>
                  </a:lnTo>
                  <a:lnTo>
                    <a:pt x="140" y="156"/>
                  </a:lnTo>
                  <a:lnTo>
                    <a:pt x="140" y="156"/>
                  </a:lnTo>
                  <a:lnTo>
                    <a:pt x="142" y="156"/>
                  </a:lnTo>
                  <a:lnTo>
                    <a:pt x="142" y="156"/>
                  </a:lnTo>
                  <a:lnTo>
                    <a:pt x="144" y="156"/>
                  </a:lnTo>
                  <a:lnTo>
                    <a:pt x="148" y="156"/>
                  </a:lnTo>
                  <a:lnTo>
                    <a:pt x="150" y="156"/>
                  </a:lnTo>
                  <a:lnTo>
                    <a:pt x="152" y="158"/>
                  </a:lnTo>
                  <a:lnTo>
                    <a:pt x="154" y="158"/>
                  </a:lnTo>
                  <a:lnTo>
                    <a:pt x="156" y="160"/>
                  </a:lnTo>
                  <a:lnTo>
                    <a:pt x="158" y="162"/>
                  </a:lnTo>
                  <a:lnTo>
                    <a:pt x="160" y="162"/>
                  </a:lnTo>
                  <a:lnTo>
                    <a:pt x="160" y="164"/>
                  </a:lnTo>
                  <a:lnTo>
                    <a:pt x="162" y="166"/>
                  </a:lnTo>
                  <a:lnTo>
                    <a:pt x="162" y="168"/>
                  </a:lnTo>
                  <a:lnTo>
                    <a:pt x="164" y="170"/>
                  </a:lnTo>
                  <a:lnTo>
                    <a:pt x="164" y="17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6" name="Freeform 475">
              <a:extLst>
                <a:ext uri="{FF2B5EF4-FFF2-40B4-BE49-F238E27FC236}">
                  <a16:creationId xmlns:a16="http://schemas.microsoft.com/office/drawing/2014/main" id="{AFE021AD-34E9-4C32-9A75-7295063A4020}"/>
                </a:ext>
              </a:extLst>
            </p:cNvPr>
            <p:cNvSpPr>
              <a:spLocks/>
            </p:cNvSpPr>
            <p:nvPr/>
          </p:nvSpPr>
          <p:spPr bwMode="auto">
            <a:xfrm>
              <a:off x="2246148" y="4712030"/>
              <a:ext cx="329094" cy="474589"/>
            </a:xfrm>
            <a:custGeom>
              <a:avLst/>
              <a:gdLst>
                <a:gd name="T0" fmla="*/ 140 w 190"/>
                <a:gd name="T1" fmla="*/ 2 h 274"/>
                <a:gd name="T2" fmla="*/ 116 w 190"/>
                <a:gd name="T3" fmla="*/ 0 h 274"/>
                <a:gd name="T4" fmla="*/ 102 w 190"/>
                <a:gd name="T5" fmla="*/ 14 h 274"/>
                <a:gd name="T6" fmla="*/ 66 w 190"/>
                <a:gd name="T7" fmla="*/ 30 h 274"/>
                <a:gd name="T8" fmla="*/ 40 w 190"/>
                <a:gd name="T9" fmla="*/ 50 h 274"/>
                <a:gd name="T10" fmla="*/ 30 w 190"/>
                <a:gd name="T11" fmla="*/ 54 h 274"/>
                <a:gd name="T12" fmla="*/ 22 w 190"/>
                <a:gd name="T13" fmla="*/ 44 h 274"/>
                <a:gd name="T14" fmla="*/ 18 w 190"/>
                <a:gd name="T15" fmla="*/ 30 h 274"/>
                <a:gd name="T16" fmla="*/ 10 w 190"/>
                <a:gd name="T17" fmla="*/ 32 h 274"/>
                <a:gd name="T18" fmla="*/ 4 w 190"/>
                <a:gd name="T19" fmla="*/ 40 h 274"/>
                <a:gd name="T20" fmla="*/ 0 w 190"/>
                <a:gd name="T21" fmla="*/ 60 h 274"/>
                <a:gd name="T22" fmla="*/ 6 w 190"/>
                <a:gd name="T23" fmla="*/ 72 h 274"/>
                <a:gd name="T24" fmla="*/ 16 w 190"/>
                <a:gd name="T25" fmla="*/ 70 h 274"/>
                <a:gd name="T26" fmla="*/ 22 w 190"/>
                <a:gd name="T27" fmla="*/ 74 h 274"/>
                <a:gd name="T28" fmla="*/ 24 w 190"/>
                <a:gd name="T29" fmla="*/ 92 h 274"/>
                <a:gd name="T30" fmla="*/ 32 w 190"/>
                <a:gd name="T31" fmla="*/ 98 h 274"/>
                <a:gd name="T32" fmla="*/ 34 w 190"/>
                <a:gd name="T33" fmla="*/ 108 h 274"/>
                <a:gd name="T34" fmla="*/ 40 w 190"/>
                <a:gd name="T35" fmla="*/ 126 h 274"/>
                <a:gd name="T36" fmla="*/ 48 w 190"/>
                <a:gd name="T37" fmla="*/ 132 h 274"/>
                <a:gd name="T38" fmla="*/ 50 w 190"/>
                <a:gd name="T39" fmla="*/ 142 h 274"/>
                <a:gd name="T40" fmla="*/ 54 w 190"/>
                <a:gd name="T41" fmla="*/ 150 h 274"/>
                <a:gd name="T42" fmla="*/ 62 w 190"/>
                <a:gd name="T43" fmla="*/ 162 h 274"/>
                <a:gd name="T44" fmla="*/ 70 w 190"/>
                <a:gd name="T45" fmla="*/ 186 h 274"/>
                <a:gd name="T46" fmla="*/ 78 w 190"/>
                <a:gd name="T47" fmla="*/ 192 h 274"/>
                <a:gd name="T48" fmla="*/ 76 w 190"/>
                <a:gd name="T49" fmla="*/ 198 h 274"/>
                <a:gd name="T50" fmla="*/ 78 w 190"/>
                <a:gd name="T51" fmla="*/ 208 h 274"/>
                <a:gd name="T52" fmla="*/ 88 w 190"/>
                <a:gd name="T53" fmla="*/ 218 h 274"/>
                <a:gd name="T54" fmla="*/ 104 w 190"/>
                <a:gd name="T55" fmla="*/ 234 h 274"/>
                <a:gd name="T56" fmla="*/ 114 w 190"/>
                <a:gd name="T57" fmla="*/ 242 h 274"/>
                <a:gd name="T58" fmla="*/ 136 w 190"/>
                <a:gd name="T59" fmla="*/ 252 h 274"/>
                <a:gd name="T60" fmla="*/ 174 w 190"/>
                <a:gd name="T61" fmla="*/ 264 h 274"/>
                <a:gd name="T62" fmla="*/ 178 w 190"/>
                <a:gd name="T63" fmla="*/ 252 h 274"/>
                <a:gd name="T64" fmla="*/ 184 w 190"/>
                <a:gd name="T65" fmla="*/ 250 h 274"/>
                <a:gd name="T66" fmla="*/ 178 w 190"/>
                <a:gd name="T67" fmla="*/ 240 h 274"/>
                <a:gd name="T68" fmla="*/ 180 w 190"/>
                <a:gd name="T69" fmla="*/ 216 h 274"/>
                <a:gd name="T70" fmla="*/ 180 w 190"/>
                <a:gd name="T71" fmla="*/ 198 h 274"/>
                <a:gd name="T72" fmla="*/ 188 w 190"/>
                <a:gd name="T73" fmla="*/ 192 h 274"/>
                <a:gd name="T74" fmla="*/ 190 w 190"/>
                <a:gd name="T75" fmla="*/ 178 h 274"/>
                <a:gd name="T76" fmla="*/ 180 w 190"/>
                <a:gd name="T77" fmla="*/ 162 h 274"/>
                <a:gd name="T78" fmla="*/ 166 w 190"/>
                <a:gd name="T79" fmla="*/ 154 h 274"/>
                <a:gd name="T80" fmla="*/ 164 w 190"/>
                <a:gd name="T81" fmla="*/ 142 h 274"/>
                <a:gd name="T82" fmla="*/ 160 w 190"/>
                <a:gd name="T83" fmla="*/ 134 h 274"/>
                <a:gd name="T84" fmla="*/ 152 w 190"/>
                <a:gd name="T85" fmla="*/ 140 h 274"/>
                <a:gd name="T86" fmla="*/ 142 w 190"/>
                <a:gd name="T87" fmla="*/ 140 h 274"/>
                <a:gd name="T88" fmla="*/ 134 w 190"/>
                <a:gd name="T89" fmla="*/ 138 h 274"/>
                <a:gd name="T90" fmla="*/ 132 w 190"/>
                <a:gd name="T91" fmla="*/ 130 h 274"/>
                <a:gd name="T92" fmla="*/ 124 w 190"/>
                <a:gd name="T93" fmla="*/ 130 h 274"/>
                <a:gd name="T94" fmla="*/ 120 w 190"/>
                <a:gd name="T95" fmla="*/ 122 h 274"/>
                <a:gd name="T96" fmla="*/ 110 w 190"/>
                <a:gd name="T97" fmla="*/ 112 h 274"/>
                <a:gd name="T98" fmla="*/ 106 w 190"/>
                <a:gd name="T99" fmla="*/ 100 h 274"/>
                <a:gd name="T100" fmla="*/ 108 w 190"/>
                <a:gd name="T101" fmla="*/ 88 h 274"/>
                <a:gd name="T102" fmla="*/ 116 w 190"/>
                <a:gd name="T103" fmla="*/ 84 h 274"/>
                <a:gd name="T104" fmla="*/ 124 w 190"/>
                <a:gd name="T105" fmla="*/ 78 h 274"/>
                <a:gd name="T106" fmla="*/ 122 w 190"/>
                <a:gd name="T107" fmla="*/ 68 h 274"/>
                <a:gd name="T108" fmla="*/ 126 w 190"/>
                <a:gd name="T109" fmla="*/ 54 h 274"/>
                <a:gd name="T110" fmla="*/ 134 w 190"/>
                <a:gd name="T111" fmla="*/ 48 h 274"/>
                <a:gd name="T112" fmla="*/ 144 w 190"/>
                <a:gd name="T113" fmla="*/ 50 h 274"/>
                <a:gd name="T114" fmla="*/ 152 w 190"/>
                <a:gd name="T115" fmla="*/ 50 h 274"/>
                <a:gd name="T116" fmla="*/ 162 w 190"/>
                <a:gd name="T117" fmla="*/ 42 h 274"/>
                <a:gd name="T118" fmla="*/ 164 w 190"/>
                <a:gd name="T119" fmla="*/ 3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 h="274">
                  <a:moveTo>
                    <a:pt x="154" y="12"/>
                  </a:moveTo>
                  <a:lnTo>
                    <a:pt x="154" y="12"/>
                  </a:lnTo>
                  <a:lnTo>
                    <a:pt x="152" y="10"/>
                  </a:lnTo>
                  <a:lnTo>
                    <a:pt x="148" y="8"/>
                  </a:lnTo>
                  <a:lnTo>
                    <a:pt x="144" y="4"/>
                  </a:lnTo>
                  <a:lnTo>
                    <a:pt x="142" y="4"/>
                  </a:lnTo>
                  <a:lnTo>
                    <a:pt x="140" y="2"/>
                  </a:lnTo>
                  <a:lnTo>
                    <a:pt x="140" y="2"/>
                  </a:lnTo>
                  <a:lnTo>
                    <a:pt x="138" y="2"/>
                  </a:lnTo>
                  <a:lnTo>
                    <a:pt x="134" y="2"/>
                  </a:lnTo>
                  <a:lnTo>
                    <a:pt x="130" y="2"/>
                  </a:lnTo>
                  <a:lnTo>
                    <a:pt x="126" y="2"/>
                  </a:lnTo>
                  <a:lnTo>
                    <a:pt x="118" y="0"/>
                  </a:lnTo>
                  <a:lnTo>
                    <a:pt x="116" y="0"/>
                  </a:lnTo>
                  <a:lnTo>
                    <a:pt x="112" y="4"/>
                  </a:lnTo>
                  <a:lnTo>
                    <a:pt x="110" y="8"/>
                  </a:lnTo>
                  <a:lnTo>
                    <a:pt x="110" y="10"/>
                  </a:lnTo>
                  <a:lnTo>
                    <a:pt x="108" y="10"/>
                  </a:lnTo>
                  <a:lnTo>
                    <a:pt x="106" y="12"/>
                  </a:lnTo>
                  <a:lnTo>
                    <a:pt x="104" y="14"/>
                  </a:lnTo>
                  <a:lnTo>
                    <a:pt x="102" y="14"/>
                  </a:lnTo>
                  <a:lnTo>
                    <a:pt x="100" y="16"/>
                  </a:lnTo>
                  <a:lnTo>
                    <a:pt x="94" y="18"/>
                  </a:lnTo>
                  <a:lnTo>
                    <a:pt x="88" y="20"/>
                  </a:lnTo>
                  <a:lnTo>
                    <a:pt x="76" y="24"/>
                  </a:lnTo>
                  <a:lnTo>
                    <a:pt x="72" y="28"/>
                  </a:lnTo>
                  <a:lnTo>
                    <a:pt x="68" y="28"/>
                  </a:lnTo>
                  <a:lnTo>
                    <a:pt x="66" y="30"/>
                  </a:lnTo>
                  <a:lnTo>
                    <a:pt x="64" y="30"/>
                  </a:lnTo>
                  <a:lnTo>
                    <a:pt x="62" y="32"/>
                  </a:lnTo>
                  <a:lnTo>
                    <a:pt x="56" y="36"/>
                  </a:lnTo>
                  <a:lnTo>
                    <a:pt x="46" y="44"/>
                  </a:lnTo>
                  <a:lnTo>
                    <a:pt x="46" y="44"/>
                  </a:lnTo>
                  <a:lnTo>
                    <a:pt x="44" y="46"/>
                  </a:lnTo>
                  <a:lnTo>
                    <a:pt x="40" y="50"/>
                  </a:lnTo>
                  <a:lnTo>
                    <a:pt x="38" y="52"/>
                  </a:lnTo>
                  <a:lnTo>
                    <a:pt x="36" y="54"/>
                  </a:lnTo>
                  <a:lnTo>
                    <a:pt x="34" y="54"/>
                  </a:lnTo>
                  <a:lnTo>
                    <a:pt x="34" y="54"/>
                  </a:lnTo>
                  <a:lnTo>
                    <a:pt x="32" y="54"/>
                  </a:lnTo>
                  <a:lnTo>
                    <a:pt x="32" y="54"/>
                  </a:lnTo>
                  <a:lnTo>
                    <a:pt x="30" y="54"/>
                  </a:lnTo>
                  <a:lnTo>
                    <a:pt x="30" y="54"/>
                  </a:lnTo>
                  <a:lnTo>
                    <a:pt x="30" y="54"/>
                  </a:lnTo>
                  <a:lnTo>
                    <a:pt x="28" y="52"/>
                  </a:lnTo>
                  <a:lnTo>
                    <a:pt x="26" y="50"/>
                  </a:lnTo>
                  <a:lnTo>
                    <a:pt x="26" y="48"/>
                  </a:lnTo>
                  <a:lnTo>
                    <a:pt x="24" y="46"/>
                  </a:lnTo>
                  <a:lnTo>
                    <a:pt x="22" y="44"/>
                  </a:lnTo>
                  <a:lnTo>
                    <a:pt x="22" y="44"/>
                  </a:lnTo>
                  <a:lnTo>
                    <a:pt x="22" y="42"/>
                  </a:lnTo>
                  <a:lnTo>
                    <a:pt x="20" y="38"/>
                  </a:lnTo>
                  <a:lnTo>
                    <a:pt x="20" y="36"/>
                  </a:lnTo>
                  <a:lnTo>
                    <a:pt x="20" y="34"/>
                  </a:lnTo>
                  <a:lnTo>
                    <a:pt x="18" y="32"/>
                  </a:lnTo>
                  <a:lnTo>
                    <a:pt x="18" y="30"/>
                  </a:lnTo>
                  <a:lnTo>
                    <a:pt x="18" y="30"/>
                  </a:lnTo>
                  <a:lnTo>
                    <a:pt x="18" y="30"/>
                  </a:lnTo>
                  <a:lnTo>
                    <a:pt x="16" y="30"/>
                  </a:lnTo>
                  <a:lnTo>
                    <a:pt x="14" y="30"/>
                  </a:lnTo>
                  <a:lnTo>
                    <a:pt x="14" y="30"/>
                  </a:lnTo>
                  <a:lnTo>
                    <a:pt x="12" y="30"/>
                  </a:lnTo>
                  <a:lnTo>
                    <a:pt x="10" y="32"/>
                  </a:lnTo>
                  <a:lnTo>
                    <a:pt x="8" y="32"/>
                  </a:lnTo>
                  <a:lnTo>
                    <a:pt x="8" y="32"/>
                  </a:lnTo>
                  <a:lnTo>
                    <a:pt x="6" y="34"/>
                  </a:lnTo>
                  <a:lnTo>
                    <a:pt x="4" y="36"/>
                  </a:lnTo>
                  <a:lnTo>
                    <a:pt x="4" y="36"/>
                  </a:lnTo>
                  <a:lnTo>
                    <a:pt x="4" y="38"/>
                  </a:lnTo>
                  <a:lnTo>
                    <a:pt x="4" y="40"/>
                  </a:lnTo>
                  <a:lnTo>
                    <a:pt x="2" y="40"/>
                  </a:lnTo>
                  <a:lnTo>
                    <a:pt x="2" y="46"/>
                  </a:lnTo>
                  <a:lnTo>
                    <a:pt x="2" y="50"/>
                  </a:lnTo>
                  <a:lnTo>
                    <a:pt x="0" y="52"/>
                  </a:lnTo>
                  <a:lnTo>
                    <a:pt x="0" y="56"/>
                  </a:lnTo>
                  <a:lnTo>
                    <a:pt x="0" y="58"/>
                  </a:lnTo>
                  <a:lnTo>
                    <a:pt x="0" y="60"/>
                  </a:lnTo>
                  <a:lnTo>
                    <a:pt x="2" y="62"/>
                  </a:lnTo>
                  <a:lnTo>
                    <a:pt x="2" y="64"/>
                  </a:lnTo>
                  <a:lnTo>
                    <a:pt x="2" y="66"/>
                  </a:lnTo>
                  <a:lnTo>
                    <a:pt x="2" y="68"/>
                  </a:lnTo>
                  <a:lnTo>
                    <a:pt x="4" y="70"/>
                  </a:lnTo>
                  <a:lnTo>
                    <a:pt x="4" y="72"/>
                  </a:lnTo>
                  <a:lnTo>
                    <a:pt x="6" y="72"/>
                  </a:lnTo>
                  <a:lnTo>
                    <a:pt x="6" y="72"/>
                  </a:lnTo>
                  <a:lnTo>
                    <a:pt x="6" y="72"/>
                  </a:lnTo>
                  <a:lnTo>
                    <a:pt x="8" y="72"/>
                  </a:lnTo>
                  <a:lnTo>
                    <a:pt x="10" y="72"/>
                  </a:lnTo>
                  <a:lnTo>
                    <a:pt x="12" y="72"/>
                  </a:lnTo>
                  <a:lnTo>
                    <a:pt x="14" y="72"/>
                  </a:lnTo>
                  <a:lnTo>
                    <a:pt x="16" y="70"/>
                  </a:lnTo>
                  <a:lnTo>
                    <a:pt x="18" y="70"/>
                  </a:lnTo>
                  <a:lnTo>
                    <a:pt x="18" y="70"/>
                  </a:lnTo>
                  <a:lnTo>
                    <a:pt x="18" y="72"/>
                  </a:lnTo>
                  <a:lnTo>
                    <a:pt x="20" y="72"/>
                  </a:lnTo>
                  <a:lnTo>
                    <a:pt x="20" y="72"/>
                  </a:lnTo>
                  <a:lnTo>
                    <a:pt x="22" y="74"/>
                  </a:lnTo>
                  <a:lnTo>
                    <a:pt x="22" y="74"/>
                  </a:lnTo>
                  <a:lnTo>
                    <a:pt x="22" y="76"/>
                  </a:lnTo>
                  <a:lnTo>
                    <a:pt x="22" y="78"/>
                  </a:lnTo>
                  <a:lnTo>
                    <a:pt x="22" y="80"/>
                  </a:lnTo>
                  <a:lnTo>
                    <a:pt x="24" y="84"/>
                  </a:lnTo>
                  <a:lnTo>
                    <a:pt x="24" y="86"/>
                  </a:lnTo>
                  <a:lnTo>
                    <a:pt x="24" y="90"/>
                  </a:lnTo>
                  <a:lnTo>
                    <a:pt x="24" y="92"/>
                  </a:lnTo>
                  <a:lnTo>
                    <a:pt x="24" y="94"/>
                  </a:lnTo>
                  <a:lnTo>
                    <a:pt x="26" y="94"/>
                  </a:lnTo>
                  <a:lnTo>
                    <a:pt x="26" y="96"/>
                  </a:lnTo>
                  <a:lnTo>
                    <a:pt x="26" y="96"/>
                  </a:lnTo>
                  <a:lnTo>
                    <a:pt x="28" y="96"/>
                  </a:lnTo>
                  <a:lnTo>
                    <a:pt x="30" y="98"/>
                  </a:lnTo>
                  <a:lnTo>
                    <a:pt x="32" y="98"/>
                  </a:lnTo>
                  <a:lnTo>
                    <a:pt x="32" y="100"/>
                  </a:lnTo>
                  <a:lnTo>
                    <a:pt x="34" y="100"/>
                  </a:lnTo>
                  <a:lnTo>
                    <a:pt x="34" y="100"/>
                  </a:lnTo>
                  <a:lnTo>
                    <a:pt x="34" y="102"/>
                  </a:lnTo>
                  <a:lnTo>
                    <a:pt x="34" y="102"/>
                  </a:lnTo>
                  <a:lnTo>
                    <a:pt x="34" y="106"/>
                  </a:lnTo>
                  <a:lnTo>
                    <a:pt x="34" y="108"/>
                  </a:lnTo>
                  <a:lnTo>
                    <a:pt x="34" y="112"/>
                  </a:lnTo>
                  <a:lnTo>
                    <a:pt x="34" y="114"/>
                  </a:lnTo>
                  <a:lnTo>
                    <a:pt x="36" y="114"/>
                  </a:lnTo>
                  <a:lnTo>
                    <a:pt x="36" y="118"/>
                  </a:lnTo>
                  <a:lnTo>
                    <a:pt x="38" y="122"/>
                  </a:lnTo>
                  <a:lnTo>
                    <a:pt x="38" y="124"/>
                  </a:lnTo>
                  <a:lnTo>
                    <a:pt x="40" y="126"/>
                  </a:lnTo>
                  <a:lnTo>
                    <a:pt x="40" y="126"/>
                  </a:lnTo>
                  <a:lnTo>
                    <a:pt x="40" y="128"/>
                  </a:lnTo>
                  <a:lnTo>
                    <a:pt x="42" y="128"/>
                  </a:lnTo>
                  <a:lnTo>
                    <a:pt x="42" y="130"/>
                  </a:lnTo>
                  <a:lnTo>
                    <a:pt x="46" y="130"/>
                  </a:lnTo>
                  <a:lnTo>
                    <a:pt x="48" y="132"/>
                  </a:lnTo>
                  <a:lnTo>
                    <a:pt x="48" y="132"/>
                  </a:lnTo>
                  <a:lnTo>
                    <a:pt x="50" y="132"/>
                  </a:lnTo>
                  <a:lnTo>
                    <a:pt x="50" y="134"/>
                  </a:lnTo>
                  <a:lnTo>
                    <a:pt x="50" y="134"/>
                  </a:lnTo>
                  <a:lnTo>
                    <a:pt x="50" y="136"/>
                  </a:lnTo>
                  <a:lnTo>
                    <a:pt x="50" y="138"/>
                  </a:lnTo>
                  <a:lnTo>
                    <a:pt x="50" y="140"/>
                  </a:lnTo>
                  <a:lnTo>
                    <a:pt x="50" y="142"/>
                  </a:lnTo>
                  <a:lnTo>
                    <a:pt x="50" y="144"/>
                  </a:lnTo>
                  <a:lnTo>
                    <a:pt x="50" y="146"/>
                  </a:lnTo>
                  <a:lnTo>
                    <a:pt x="50" y="148"/>
                  </a:lnTo>
                  <a:lnTo>
                    <a:pt x="52" y="148"/>
                  </a:lnTo>
                  <a:lnTo>
                    <a:pt x="52" y="148"/>
                  </a:lnTo>
                  <a:lnTo>
                    <a:pt x="52" y="148"/>
                  </a:lnTo>
                  <a:lnTo>
                    <a:pt x="54" y="150"/>
                  </a:lnTo>
                  <a:lnTo>
                    <a:pt x="54" y="150"/>
                  </a:lnTo>
                  <a:lnTo>
                    <a:pt x="56" y="152"/>
                  </a:lnTo>
                  <a:lnTo>
                    <a:pt x="56" y="154"/>
                  </a:lnTo>
                  <a:lnTo>
                    <a:pt x="58" y="156"/>
                  </a:lnTo>
                  <a:lnTo>
                    <a:pt x="60" y="158"/>
                  </a:lnTo>
                  <a:lnTo>
                    <a:pt x="62" y="160"/>
                  </a:lnTo>
                  <a:lnTo>
                    <a:pt x="62" y="162"/>
                  </a:lnTo>
                  <a:lnTo>
                    <a:pt x="62" y="164"/>
                  </a:lnTo>
                  <a:lnTo>
                    <a:pt x="64" y="168"/>
                  </a:lnTo>
                  <a:lnTo>
                    <a:pt x="64" y="170"/>
                  </a:lnTo>
                  <a:lnTo>
                    <a:pt x="66" y="174"/>
                  </a:lnTo>
                  <a:lnTo>
                    <a:pt x="66" y="178"/>
                  </a:lnTo>
                  <a:lnTo>
                    <a:pt x="68" y="182"/>
                  </a:lnTo>
                  <a:lnTo>
                    <a:pt x="70" y="186"/>
                  </a:lnTo>
                  <a:lnTo>
                    <a:pt x="70" y="188"/>
                  </a:lnTo>
                  <a:lnTo>
                    <a:pt x="72" y="188"/>
                  </a:lnTo>
                  <a:lnTo>
                    <a:pt x="72" y="190"/>
                  </a:lnTo>
                  <a:lnTo>
                    <a:pt x="74" y="190"/>
                  </a:lnTo>
                  <a:lnTo>
                    <a:pt x="76" y="192"/>
                  </a:lnTo>
                  <a:lnTo>
                    <a:pt x="76" y="192"/>
                  </a:lnTo>
                  <a:lnTo>
                    <a:pt x="78" y="192"/>
                  </a:lnTo>
                  <a:lnTo>
                    <a:pt x="78" y="194"/>
                  </a:lnTo>
                  <a:lnTo>
                    <a:pt x="78" y="194"/>
                  </a:lnTo>
                  <a:lnTo>
                    <a:pt x="78" y="194"/>
                  </a:lnTo>
                  <a:lnTo>
                    <a:pt x="78" y="194"/>
                  </a:lnTo>
                  <a:lnTo>
                    <a:pt x="78" y="196"/>
                  </a:lnTo>
                  <a:lnTo>
                    <a:pt x="78" y="198"/>
                  </a:lnTo>
                  <a:lnTo>
                    <a:pt x="76" y="198"/>
                  </a:lnTo>
                  <a:lnTo>
                    <a:pt x="76" y="200"/>
                  </a:lnTo>
                  <a:lnTo>
                    <a:pt x="76" y="200"/>
                  </a:lnTo>
                  <a:lnTo>
                    <a:pt x="76" y="202"/>
                  </a:lnTo>
                  <a:lnTo>
                    <a:pt x="76" y="204"/>
                  </a:lnTo>
                  <a:lnTo>
                    <a:pt x="76" y="206"/>
                  </a:lnTo>
                  <a:lnTo>
                    <a:pt x="78" y="206"/>
                  </a:lnTo>
                  <a:lnTo>
                    <a:pt x="78" y="208"/>
                  </a:lnTo>
                  <a:lnTo>
                    <a:pt x="78" y="210"/>
                  </a:lnTo>
                  <a:lnTo>
                    <a:pt x="80" y="212"/>
                  </a:lnTo>
                  <a:lnTo>
                    <a:pt x="80" y="212"/>
                  </a:lnTo>
                  <a:lnTo>
                    <a:pt x="82" y="214"/>
                  </a:lnTo>
                  <a:lnTo>
                    <a:pt x="84" y="216"/>
                  </a:lnTo>
                  <a:lnTo>
                    <a:pt x="86" y="218"/>
                  </a:lnTo>
                  <a:lnTo>
                    <a:pt x="88" y="218"/>
                  </a:lnTo>
                  <a:lnTo>
                    <a:pt x="92" y="220"/>
                  </a:lnTo>
                  <a:lnTo>
                    <a:pt x="94" y="222"/>
                  </a:lnTo>
                  <a:lnTo>
                    <a:pt x="96" y="224"/>
                  </a:lnTo>
                  <a:lnTo>
                    <a:pt x="98" y="224"/>
                  </a:lnTo>
                  <a:lnTo>
                    <a:pt x="98" y="226"/>
                  </a:lnTo>
                  <a:lnTo>
                    <a:pt x="102" y="232"/>
                  </a:lnTo>
                  <a:lnTo>
                    <a:pt x="104" y="234"/>
                  </a:lnTo>
                  <a:lnTo>
                    <a:pt x="106" y="236"/>
                  </a:lnTo>
                  <a:lnTo>
                    <a:pt x="108" y="238"/>
                  </a:lnTo>
                  <a:lnTo>
                    <a:pt x="110" y="240"/>
                  </a:lnTo>
                  <a:lnTo>
                    <a:pt x="110" y="240"/>
                  </a:lnTo>
                  <a:lnTo>
                    <a:pt x="110" y="240"/>
                  </a:lnTo>
                  <a:lnTo>
                    <a:pt x="112" y="242"/>
                  </a:lnTo>
                  <a:lnTo>
                    <a:pt x="114" y="242"/>
                  </a:lnTo>
                  <a:lnTo>
                    <a:pt x="118" y="244"/>
                  </a:lnTo>
                  <a:lnTo>
                    <a:pt x="120" y="244"/>
                  </a:lnTo>
                  <a:lnTo>
                    <a:pt x="126" y="246"/>
                  </a:lnTo>
                  <a:lnTo>
                    <a:pt x="130" y="248"/>
                  </a:lnTo>
                  <a:lnTo>
                    <a:pt x="132" y="248"/>
                  </a:lnTo>
                  <a:lnTo>
                    <a:pt x="134" y="250"/>
                  </a:lnTo>
                  <a:lnTo>
                    <a:pt x="136" y="252"/>
                  </a:lnTo>
                  <a:lnTo>
                    <a:pt x="142" y="256"/>
                  </a:lnTo>
                  <a:lnTo>
                    <a:pt x="146" y="260"/>
                  </a:lnTo>
                  <a:lnTo>
                    <a:pt x="152" y="264"/>
                  </a:lnTo>
                  <a:lnTo>
                    <a:pt x="158" y="270"/>
                  </a:lnTo>
                  <a:lnTo>
                    <a:pt x="164" y="274"/>
                  </a:lnTo>
                  <a:lnTo>
                    <a:pt x="174" y="264"/>
                  </a:lnTo>
                  <a:lnTo>
                    <a:pt x="174" y="264"/>
                  </a:lnTo>
                  <a:lnTo>
                    <a:pt x="176" y="260"/>
                  </a:lnTo>
                  <a:lnTo>
                    <a:pt x="176" y="258"/>
                  </a:lnTo>
                  <a:lnTo>
                    <a:pt x="176" y="256"/>
                  </a:lnTo>
                  <a:lnTo>
                    <a:pt x="178" y="254"/>
                  </a:lnTo>
                  <a:lnTo>
                    <a:pt x="178" y="254"/>
                  </a:lnTo>
                  <a:lnTo>
                    <a:pt x="178" y="252"/>
                  </a:lnTo>
                  <a:lnTo>
                    <a:pt x="178" y="252"/>
                  </a:lnTo>
                  <a:lnTo>
                    <a:pt x="180" y="252"/>
                  </a:lnTo>
                  <a:lnTo>
                    <a:pt x="182" y="252"/>
                  </a:lnTo>
                  <a:lnTo>
                    <a:pt x="182" y="252"/>
                  </a:lnTo>
                  <a:lnTo>
                    <a:pt x="184" y="252"/>
                  </a:lnTo>
                  <a:lnTo>
                    <a:pt x="184" y="250"/>
                  </a:lnTo>
                  <a:lnTo>
                    <a:pt x="184" y="250"/>
                  </a:lnTo>
                  <a:lnTo>
                    <a:pt x="184" y="250"/>
                  </a:lnTo>
                  <a:lnTo>
                    <a:pt x="184" y="248"/>
                  </a:lnTo>
                  <a:lnTo>
                    <a:pt x="182" y="248"/>
                  </a:lnTo>
                  <a:lnTo>
                    <a:pt x="182" y="246"/>
                  </a:lnTo>
                  <a:lnTo>
                    <a:pt x="180" y="244"/>
                  </a:lnTo>
                  <a:lnTo>
                    <a:pt x="178" y="244"/>
                  </a:lnTo>
                  <a:lnTo>
                    <a:pt x="178" y="242"/>
                  </a:lnTo>
                  <a:lnTo>
                    <a:pt x="178" y="240"/>
                  </a:lnTo>
                  <a:lnTo>
                    <a:pt x="178" y="240"/>
                  </a:lnTo>
                  <a:lnTo>
                    <a:pt x="178" y="236"/>
                  </a:lnTo>
                  <a:lnTo>
                    <a:pt x="178" y="234"/>
                  </a:lnTo>
                  <a:lnTo>
                    <a:pt x="180" y="230"/>
                  </a:lnTo>
                  <a:lnTo>
                    <a:pt x="180" y="222"/>
                  </a:lnTo>
                  <a:lnTo>
                    <a:pt x="180" y="220"/>
                  </a:lnTo>
                  <a:lnTo>
                    <a:pt x="180" y="216"/>
                  </a:lnTo>
                  <a:lnTo>
                    <a:pt x="180" y="214"/>
                  </a:lnTo>
                  <a:lnTo>
                    <a:pt x="180" y="212"/>
                  </a:lnTo>
                  <a:lnTo>
                    <a:pt x="180" y="206"/>
                  </a:lnTo>
                  <a:lnTo>
                    <a:pt x="180" y="204"/>
                  </a:lnTo>
                  <a:lnTo>
                    <a:pt x="180" y="202"/>
                  </a:lnTo>
                  <a:lnTo>
                    <a:pt x="180" y="200"/>
                  </a:lnTo>
                  <a:lnTo>
                    <a:pt x="180" y="198"/>
                  </a:lnTo>
                  <a:lnTo>
                    <a:pt x="180" y="198"/>
                  </a:lnTo>
                  <a:lnTo>
                    <a:pt x="180" y="196"/>
                  </a:lnTo>
                  <a:lnTo>
                    <a:pt x="182" y="196"/>
                  </a:lnTo>
                  <a:lnTo>
                    <a:pt x="184" y="194"/>
                  </a:lnTo>
                  <a:lnTo>
                    <a:pt x="186" y="192"/>
                  </a:lnTo>
                  <a:lnTo>
                    <a:pt x="186" y="192"/>
                  </a:lnTo>
                  <a:lnTo>
                    <a:pt x="188" y="192"/>
                  </a:lnTo>
                  <a:lnTo>
                    <a:pt x="188" y="190"/>
                  </a:lnTo>
                  <a:lnTo>
                    <a:pt x="188" y="188"/>
                  </a:lnTo>
                  <a:lnTo>
                    <a:pt x="188" y="186"/>
                  </a:lnTo>
                  <a:lnTo>
                    <a:pt x="190" y="184"/>
                  </a:lnTo>
                  <a:lnTo>
                    <a:pt x="190" y="182"/>
                  </a:lnTo>
                  <a:lnTo>
                    <a:pt x="190" y="180"/>
                  </a:lnTo>
                  <a:lnTo>
                    <a:pt x="190" y="178"/>
                  </a:lnTo>
                  <a:lnTo>
                    <a:pt x="190" y="176"/>
                  </a:lnTo>
                  <a:lnTo>
                    <a:pt x="188" y="176"/>
                  </a:lnTo>
                  <a:lnTo>
                    <a:pt x="188" y="174"/>
                  </a:lnTo>
                  <a:lnTo>
                    <a:pt x="186" y="172"/>
                  </a:lnTo>
                  <a:lnTo>
                    <a:pt x="186" y="168"/>
                  </a:lnTo>
                  <a:lnTo>
                    <a:pt x="184" y="166"/>
                  </a:lnTo>
                  <a:lnTo>
                    <a:pt x="180" y="162"/>
                  </a:lnTo>
                  <a:lnTo>
                    <a:pt x="178" y="160"/>
                  </a:lnTo>
                  <a:lnTo>
                    <a:pt x="176" y="158"/>
                  </a:lnTo>
                  <a:lnTo>
                    <a:pt x="172" y="156"/>
                  </a:lnTo>
                  <a:lnTo>
                    <a:pt x="170" y="156"/>
                  </a:lnTo>
                  <a:lnTo>
                    <a:pt x="168" y="154"/>
                  </a:lnTo>
                  <a:lnTo>
                    <a:pt x="166" y="154"/>
                  </a:lnTo>
                  <a:lnTo>
                    <a:pt x="166" y="154"/>
                  </a:lnTo>
                  <a:lnTo>
                    <a:pt x="166" y="152"/>
                  </a:lnTo>
                  <a:lnTo>
                    <a:pt x="164" y="152"/>
                  </a:lnTo>
                  <a:lnTo>
                    <a:pt x="164" y="150"/>
                  </a:lnTo>
                  <a:lnTo>
                    <a:pt x="164" y="150"/>
                  </a:lnTo>
                  <a:lnTo>
                    <a:pt x="164" y="148"/>
                  </a:lnTo>
                  <a:lnTo>
                    <a:pt x="164" y="146"/>
                  </a:lnTo>
                  <a:lnTo>
                    <a:pt x="164" y="142"/>
                  </a:lnTo>
                  <a:lnTo>
                    <a:pt x="162" y="140"/>
                  </a:lnTo>
                  <a:lnTo>
                    <a:pt x="162" y="138"/>
                  </a:lnTo>
                  <a:lnTo>
                    <a:pt x="162" y="138"/>
                  </a:lnTo>
                  <a:lnTo>
                    <a:pt x="162" y="136"/>
                  </a:lnTo>
                  <a:lnTo>
                    <a:pt x="162" y="134"/>
                  </a:lnTo>
                  <a:lnTo>
                    <a:pt x="160" y="134"/>
                  </a:lnTo>
                  <a:lnTo>
                    <a:pt x="160" y="134"/>
                  </a:lnTo>
                  <a:lnTo>
                    <a:pt x="158" y="134"/>
                  </a:lnTo>
                  <a:lnTo>
                    <a:pt x="158" y="134"/>
                  </a:lnTo>
                  <a:lnTo>
                    <a:pt x="158" y="134"/>
                  </a:lnTo>
                  <a:lnTo>
                    <a:pt x="158" y="134"/>
                  </a:lnTo>
                  <a:lnTo>
                    <a:pt x="156" y="136"/>
                  </a:lnTo>
                  <a:lnTo>
                    <a:pt x="154" y="136"/>
                  </a:lnTo>
                  <a:lnTo>
                    <a:pt x="152" y="140"/>
                  </a:lnTo>
                  <a:lnTo>
                    <a:pt x="150" y="140"/>
                  </a:lnTo>
                  <a:lnTo>
                    <a:pt x="148" y="140"/>
                  </a:lnTo>
                  <a:lnTo>
                    <a:pt x="148" y="140"/>
                  </a:lnTo>
                  <a:lnTo>
                    <a:pt x="146" y="140"/>
                  </a:lnTo>
                  <a:lnTo>
                    <a:pt x="146" y="142"/>
                  </a:lnTo>
                  <a:lnTo>
                    <a:pt x="144" y="140"/>
                  </a:lnTo>
                  <a:lnTo>
                    <a:pt x="142" y="140"/>
                  </a:lnTo>
                  <a:lnTo>
                    <a:pt x="140" y="140"/>
                  </a:lnTo>
                  <a:lnTo>
                    <a:pt x="138" y="140"/>
                  </a:lnTo>
                  <a:lnTo>
                    <a:pt x="136" y="140"/>
                  </a:lnTo>
                  <a:lnTo>
                    <a:pt x="136" y="140"/>
                  </a:lnTo>
                  <a:lnTo>
                    <a:pt x="136" y="138"/>
                  </a:lnTo>
                  <a:lnTo>
                    <a:pt x="134" y="138"/>
                  </a:lnTo>
                  <a:lnTo>
                    <a:pt x="134" y="138"/>
                  </a:lnTo>
                  <a:lnTo>
                    <a:pt x="134" y="138"/>
                  </a:lnTo>
                  <a:lnTo>
                    <a:pt x="134" y="136"/>
                  </a:lnTo>
                  <a:lnTo>
                    <a:pt x="134" y="134"/>
                  </a:lnTo>
                  <a:lnTo>
                    <a:pt x="134" y="132"/>
                  </a:lnTo>
                  <a:lnTo>
                    <a:pt x="134" y="132"/>
                  </a:lnTo>
                  <a:lnTo>
                    <a:pt x="134" y="130"/>
                  </a:lnTo>
                  <a:lnTo>
                    <a:pt x="132" y="130"/>
                  </a:lnTo>
                  <a:lnTo>
                    <a:pt x="132" y="130"/>
                  </a:lnTo>
                  <a:lnTo>
                    <a:pt x="132" y="130"/>
                  </a:lnTo>
                  <a:lnTo>
                    <a:pt x="130" y="130"/>
                  </a:lnTo>
                  <a:lnTo>
                    <a:pt x="128" y="130"/>
                  </a:lnTo>
                  <a:lnTo>
                    <a:pt x="126" y="130"/>
                  </a:lnTo>
                  <a:lnTo>
                    <a:pt x="126" y="130"/>
                  </a:lnTo>
                  <a:lnTo>
                    <a:pt x="124" y="130"/>
                  </a:lnTo>
                  <a:lnTo>
                    <a:pt x="124" y="130"/>
                  </a:lnTo>
                  <a:lnTo>
                    <a:pt x="124" y="128"/>
                  </a:lnTo>
                  <a:lnTo>
                    <a:pt x="122" y="128"/>
                  </a:lnTo>
                  <a:lnTo>
                    <a:pt x="122" y="126"/>
                  </a:lnTo>
                  <a:lnTo>
                    <a:pt x="122" y="126"/>
                  </a:lnTo>
                  <a:lnTo>
                    <a:pt x="122" y="124"/>
                  </a:lnTo>
                  <a:lnTo>
                    <a:pt x="120" y="122"/>
                  </a:lnTo>
                  <a:lnTo>
                    <a:pt x="120" y="120"/>
                  </a:lnTo>
                  <a:lnTo>
                    <a:pt x="120" y="118"/>
                  </a:lnTo>
                  <a:lnTo>
                    <a:pt x="118" y="118"/>
                  </a:lnTo>
                  <a:lnTo>
                    <a:pt x="118" y="116"/>
                  </a:lnTo>
                  <a:lnTo>
                    <a:pt x="114" y="114"/>
                  </a:lnTo>
                  <a:lnTo>
                    <a:pt x="112" y="112"/>
                  </a:lnTo>
                  <a:lnTo>
                    <a:pt x="110" y="112"/>
                  </a:lnTo>
                  <a:lnTo>
                    <a:pt x="110" y="110"/>
                  </a:lnTo>
                  <a:lnTo>
                    <a:pt x="108" y="110"/>
                  </a:lnTo>
                  <a:lnTo>
                    <a:pt x="108" y="108"/>
                  </a:lnTo>
                  <a:lnTo>
                    <a:pt x="108" y="106"/>
                  </a:lnTo>
                  <a:lnTo>
                    <a:pt x="106" y="102"/>
                  </a:lnTo>
                  <a:lnTo>
                    <a:pt x="106" y="102"/>
                  </a:lnTo>
                  <a:lnTo>
                    <a:pt x="106" y="100"/>
                  </a:lnTo>
                  <a:lnTo>
                    <a:pt x="106" y="100"/>
                  </a:lnTo>
                  <a:lnTo>
                    <a:pt x="106" y="98"/>
                  </a:lnTo>
                  <a:lnTo>
                    <a:pt x="106" y="96"/>
                  </a:lnTo>
                  <a:lnTo>
                    <a:pt x="106" y="94"/>
                  </a:lnTo>
                  <a:lnTo>
                    <a:pt x="106" y="92"/>
                  </a:lnTo>
                  <a:lnTo>
                    <a:pt x="108" y="90"/>
                  </a:lnTo>
                  <a:lnTo>
                    <a:pt x="108" y="88"/>
                  </a:lnTo>
                  <a:lnTo>
                    <a:pt x="108" y="88"/>
                  </a:lnTo>
                  <a:lnTo>
                    <a:pt x="110" y="86"/>
                  </a:lnTo>
                  <a:lnTo>
                    <a:pt x="110" y="86"/>
                  </a:lnTo>
                  <a:lnTo>
                    <a:pt x="112" y="86"/>
                  </a:lnTo>
                  <a:lnTo>
                    <a:pt x="112" y="86"/>
                  </a:lnTo>
                  <a:lnTo>
                    <a:pt x="116" y="84"/>
                  </a:lnTo>
                  <a:lnTo>
                    <a:pt x="116" y="84"/>
                  </a:lnTo>
                  <a:lnTo>
                    <a:pt x="118" y="84"/>
                  </a:lnTo>
                  <a:lnTo>
                    <a:pt x="120" y="82"/>
                  </a:lnTo>
                  <a:lnTo>
                    <a:pt x="122" y="80"/>
                  </a:lnTo>
                  <a:lnTo>
                    <a:pt x="122" y="80"/>
                  </a:lnTo>
                  <a:lnTo>
                    <a:pt x="122" y="80"/>
                  </a:lnTo>
                  <a:lnTo>
                    <a:pt x="124" y="78"/>
                  </a:lnTo>
                  <a:lnTo>
                    <a:pt x="124" y="78"/>
                  </a:lnTo>
                  <a:lnTo>
                    <a:pt x="124" y="76"/>
                  </a:lnTo>
                  <a:lnTo>
                    <a:pt x="124" y="76"/>
                  </a:lnTo>
                  <a:lnTo>
                    <a:pt x="124" y="74"/>
                  </a:lnTo>
                  <a:lnTo>
                    <a:pt x="122" y="72"/>
                  </a:lnTo>
                  <a:lnTo>
                    <a:pt x="122" y="70"/>
                  </a:lnTo>
                  <a:lnTo>
                    <a:pt x="122" y="68"/>
                  </a:lnTo>
                  <a:lnTo>
                    <a:pt x="122" y="68"/>
                  </a:lnTo>
                  <a:lnTo>
                    <a:pt x="122" y="66"/>
                  </a:lnTo>
                  <a:lnTo>
                    <a:pt x="122" y="64"/>
                  </a:lnTo>
                  <a:lnTo>
                    <a:pt x="122" y="62"/>
                  </a:lnTo>
                  <a:lnTo>
                    <a:pt x="124" y="60"/>
                  </a:lnTo>
                  <a:lnTo>
                    <a:pt x="124" y="58"/>
                  </a:lnTo>
                  <a:lnTo>
                    <a:pt x="124" y="56"/>
                  </a:lnTo>
                  <a:lnTo>
                    <a:pt x="126" y="54"/>
                  </a:lnTo>
                  <a:lnTo>
                    <a:pt x="126" y="54"/>
                  </a:lnTo>
                  <a:lnTo>
                    <a:pt x="128" y="52"/>
                  </a:lnTo>
                  <a:lnTo>
                    <a:pt x="128" y="52"/>
                  </a:lnTo>
                  <a:lnTo>
                    <a:pt x="130" y="50"/>
                  </a:lnTo>
                  <a:lnTo>
                    <a:pt x="132" y="50"/>
                  </a:lnTo>
                  <a:lnTo>
                    <a:pt x="132" y="48"/>
                  </a:lnTo>
                  <a:lnTo>
                    <a:pt x="134" y="48"/>
                  </a:lnTo>
                  <a:lnTo>
                    <a:pt x="136" y="48"/>
                  </a:lnTo>
                  <a:lnTo>
                    <a:pt x="136" y="48"/>
                  </a:lnTo>
                  <a:lnTo>
                    <a:pt x="136" y="48"/>
                  </a:lnTo>
                  <a:lnTo>
                    <a:pt x="138" y="48"/>
                  </a:lnTo>
                  <a:lnTo>
                    <a:pt x="140" y="48"/>
                  </a:lnTo>
                  <a:lnTo>
                    <a:pt x="142" y="50"/>
                  </a:lnTo>
                  <a:lnTo>
                    <a:pt x="144" y="50"/>
                  </a:lnTo>
                  <a:lnTo>
                    <a:pt x="146" y="50"/>
                  </a:lnTo>
                  <a:lnTo>
                    <a:pt x="146" y="50"/>
                  </a:lnTo>
                  <a:lnTo>
                    <a:pt x="148" y="50"/>
                  </a:lnTo>
                  <a:lnTo>
                    <a:pt x="148" y="50"/>
                  </a:lnTo>
                  <a:lnTo>
                    <a:pt x="150" y="50"/>
                  </a:lnTo>
                  <a:lnTo>
                    <a:pt x="152" y="50"/>
                  </a:lnTo>
                  <a:lnTo>
                    <a:pt x="152" y="50"/>
                  </a:lnTo>
                  <a:lnTo>
                    <a:pt x="154" y="48"/>
                  </a:lnTo>
                  <a:lnTo>
                    <a:pt x="156" y="48"/>
                  </a:lnTo>
                  <a:lnTo>
                    <a:pt x="158" y="46"/>
                  </a:lnTo>
                  <a:lnTo>
                    <a:pt x="158" y="46"/>
                  </a:lnTo>
                  <a:lnTo>
                    <a:pt x="160" y="44"/>
                  </a:lnTo>
                  <a:lnTo>
                    <a:pt x="160" y="44"/>
                  </a:lnTo>
                  <a:lnTo>
                    <a:pt x="162" y="42"/>
                  </a:lnTo>
                  <a:lnTo>
                    <a:pt x="162" y="40"/>
                  </a:lnTo>
                  <a:lnTo>
                    <a:pt x="162" y="38"/>
                  </a:lnTo>
                  <a:lnTo>
                    <a:pt x="164" y="36"/>
                  </a:lnTo>
                  <a:lnTo>
                    <a:pt x="164" y="34"/>
                  </a:lnTo>
                  <a:lnTo>
                    <a:pt x="164" y="32"/>
                  </a:lnTo>
                  <a:lnTo>
                    <a:pt x="164" y="32"/>
                  </a:lnTo>
                  <a:lnTo>
                    <a:pt x="164" y="30"/>
                  </a:lnTo>
                  <a:lnTo>
                    <a:pt x="162" y="28"/>
                  </a:lnTo>
                  <a:lnTo>
                    <a:pt x="162" y="26"/>
                  </a:lnTo>
                  <a:lnTo>
                    <a:pt x="160" y="22"/>
                  </a:lnTo>
                  <a:lnTo>
                    <a:pt x="158" y="20"/>
                  </a:lnTo>
                  <a:lnTo>
                    <a:pt x="154" y="14"/>
                  </a:lnTo>
                  <a:lnTo>
                    <a:pt x="154" y="1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7" name="Freeform 476">
              <a:extLst>
                <a:ext uri="{FF2B5EF4-FFF2-40B4-BE49-F238E27FC236}">
                  <a16:creationId xmlns:a16="http://schemas.microsoft.com/office/drawing/2014/main" id="{41F671CE-3082-473B-BF72-B73B7E032559}"/>
                </a:ext>
              </a:extLst>
            </p:cNvPr>
            <p:cNvSpPr>
              <a:spLocks/>
            </p:cNvSpPr>
            <p:nvPr/>
          </p:nvSpPr>
          <p:spPr bwMode="auto">
            <a:xfrm>
              <a:off x="2246148" y="4712030"/>
              <a:ext cx="329094" cy="474589"/>
            </a:xfrm>
            <a:custGeom>
              <a:avLst/>
              <a:gdLst>
                <a:gd name="T0" fmla="*/ 140 w 190"/>
                <a:gd name="T1" fmla="*/ 2 h 274"/>
                <a:gd name="T2" fmla="*/ 116 w 190"/>
                <a:gd name="T3" fmla="*/ 0 h 274"/>
                <a:gd name="T4" fmla="*/ 102 w 190"/>
                <a:gd name="T5" fmla="*/ 14 h 274"/>
                <a:gd name="T6" fmla="*/ 66 w 190"/>
                <a:gd name="T7" fmla="*/ 30 h 274"/>
                <a:gd name="T8" fmla="*/ 40 w 190"/>
                <a:gd name="T9" fmla="*/ 50 h 274"/>
                <a:gd name="T10" fmla="*/ 30 w 190"/>
                <a:gd name="T11" fmla="*/ 54 h 274"/>
                <a:gd name="T12" fmla="*/ 22 w 190"/>
                <a:gd name="T13" fmla="*/ 44 h 274"/>
                <a:gd name="T14" fmla="*/ 18 w 190"/>
                <a:gd name="T15" fmla="*/ 30 h 274"/>
                <a:gd name="T16" fmla="*/ 10 w 190"/>
                <a:gd name="T17" fmla="*/ 32 h 274"/>
                <a:gd name="T18" fmla="*/ 4 w 190"/>
                <a:gd name="T19" fmla="*/ 40 h 274"/>
                <a:gd name="T20" fmla="*/ 0 w 190"/>
                <a:gd name="T21" fmla="*/ 60 h 274"/>
                <a:gd name="T22" fmla="*/ 6 w 190"/>
                <a:gd name="T23" fmla="*/ 72 h 274"/>
                <a:gd name="T24" fmla="*/ 16 w 190"/>
                <a:gd name="T25" fmla="*/ 70 h 274"/>
                <a:gd name="T26" fmla="*/ 22 w 190"/>
                <a:gd name="T27" fmla="*/ 74 h 274"/>
                <a:gd name="T28" fmla="*/ 24 w 190"/>
                <a:gd name="T29" fmla="*/ 92 h 274"/>
                <a:gd name="T30" fmla="*/ 32 w 190"/>
                <a:gd name="T31" fmla="*/ 98 h 274"/>
                <a:gd name="T32" fmla="*/ 34 w 190"/>
                <a:gd name="T33" fmla="*/ 108 h 274"/>
                <a:gd name="T34" fmla="*/ 40 w 190"/>
                <a:gd name="T35" fmla="*/ 126 h 274"/>
                <a:gd name="T36" fmla="*/ 48 w 190"/>
                <a:gd name="T37" fmla="*/ 132 h 274"/>
                <a:gd name="T38" fmla="*/ 50 w 190"/>
                <a:gd name="T39" fmla="*/ 142 h 274"/>
                <a:gd name="T40" fmla="*/ 54 w 190"/>
                <a:gd name="T41" fmla="*/ 150 h 274"/>
                <a:gd name="T42" fmla="*/ 62 w 190"/>
                <a:gd name="T43" fmla="*/ 162 h 274"/>
                <a:gd name="T44" fmla="*/ 70 w 190"/>
                <a:gd name="T45" fmla="*/ 186 h 274"/>
                <a:gd name="T46" fmla="*/ 78 w 190"/>
                <a:gd name="T47" fmla="*/ 192 h 274"/>
                <a:gd name="T48" fmla="*/ 76 w 190"/>
                <a:gd name="T49" fmla="*/ 198 h 274"/>
                <a:gd name="T50" fmla="*/ 78 w 190"/>
                <a:gd name="T51" fmla="*/ 208 h 274"/>
                <a:gd name="T52" fmla="*/ 88 w 190"/>
                <a:gd name="T53" fmla="*/ 218 h 274"/>
                <a:gd name="T54" fmla="*/ 104 w 190"/>
                <a:gd name="T55" fmla="*/ 234 h 274"/>
                <a:gd name="T56" fmla="*/ 114 w 190"/>
                <a:gd name="T57" fmla="*/ 242 h 274"/>
                <a:gd name="T58" fmla="*/ 136 w 190"/>
                <a:gd name="T59" fmla="*/ 252 h 274"/>
                <a:gd name="T60" fmla="*/ 174 w 190"/>
                <a:gd name="T61" fmla="*/ 264 h 274"/>
                <a:gd name="T62" fmla="*/ 178 w 190"/>
                <a:gd name="T63" fmla="*/ 252 h 274"/>
                <a:gd name="T64" fmla="*/ 184 w 190"/>
                <a:gd name="T65" fmla="*/ 250 h 274"/>
                <a:gd name="T66" fmla="*/ 178 w 190"/>
                <a:gd name="T67" fmla="*/ 240 h 274"/>
                <a:gd name="T68" fmla="*/ 180 w 190"/>
                <a:gd name="T69" fmla="*/ 216 h 274"/>
                <a:gd name="T70" fmla="*/ 180 w 190"/>
                <a:gd name="T71" fmla="*/ 198 h 274"/>
                <a:gd name="T72" fmla="*/ 188 w 190"/>
                <a:gd name="T73" fmla="*/ 192 h 274"/>
                <a:gd name="T74" fmla="*/ 190 w 190"/>
                <a:gd name="T75" fmla="*/ 178 h 274"/>
                <a:gd name="T76" fmla="*/ 180 w 190"/>
                <a:gd name="T77" fmla="*/ 162 h 274"/>
                <a:gd name="T78" fmla="*/ 166 w 190"/>
                <a:gd name="T79" fmla="*/ 154 h 274"/>
                <a:gd name="T80" fmla="*/ 164 w 190"/>
                <a:gd name="T81" fmla="*/ 142 h 274"/>
                <a:gd name="T82" fmla="*/ 160 w 190"/>
                <a:gd name="T83" fmla="*/ 134 h 274"/>
                <a:gd name="T84" fmla="*/ 152 w 190"/>
                <a:gd name="T85" fmla="*/ 140 h 274"/>
                <a:gd name="T86" fmla="*/ 142 w 190"/>
                <a:gd name="T87" fmla="*/ 140 h 274"/>
                <a:gd name="T88" fmla="*/ 134 w 190"/>
                <a:gd name="T89" fmla="*/ 138 h 274"/>
                <a:gd name="T90" fmla="*/ 132 w 190"/>
                <a:gd name="T91" fmla="*/ 130 h 274"/>
                <a:gd name="T92" fmla="*/ 124 w 190"/>
                <a:gd name="T93" fmla="*/ 130 h 274"/>
                <a:gd name="T94" fmla="*/ 120 w 190"/>
                <a:gd name="T95" fmla="*/ 122 h 274"/>
                <a:gd name="T96" fmla="*/ 110 w 190"/>
                <a:gd name="T97" fmla="*/ 112 h 274"/>
                <a:gd name="T98" fmla="*/ 106 w 190"/>
                <a:gd name="T99" fmla="*/ 100 h 274"/>
                <a:gd name="T100" fmla="*/ 108 w 190"/>
                <a:gd name="T101" fmla="*/ 88 h 274"/>
                <a:gd name="T102" fmla="*/ 116 w 190"/>
                <a:gd name="T103" fmla="*/ 84 h 274"/>
                <a:gd name="T104" fmla="*/ 124 w 190"/>
                <a:gd name="T105" fmla="*/ 78 h 274"/>
                <a:gd name="T106" fmla="*/ 122 w 190"/>
                <a:gd name="T107" fmla="*/ 68 h 274"/>
                <a:gd name="T108" fmla="*/ 126 w 190"/>
                <a:gd name="T109" fmla="*/ 54 h 274"/>
                <a:gd name="T110" fmla="*/ 134 w 190"/>
                <a:gd name="T111" fmla="*/ 48 h 274"/>
                <a:gd name="T112" fmla="*/ 144 w 190"/>
                <a:gd name="T113" fmla="*/ 50 h 274"/>
                <a:gd name="T114" fmla="*/ 152 w 190"/>
                <a:gd name="T115" fmla="*/ 50 h 274"/>
                <a:gd name="T116" fmla="*/ 162 w 190"/>
                <a:gd name="T117" fmla="*/ 42 h 274"/>
                <a:gd name="T118" fmla="*/ 164 w 190"/>
                <a:gd name="T119" fmla="*/ 3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 h="274">
                  <a:moveTo>
                    <a:pt x="154" y="12"/>
                  </a:moveTo>
                  <a:lnTo>
                    <a:pt x="154" y="12"/>
                  </a:lnTo>
                  <a:lnTo>
                    <a:pt x="152" y="10"/>
                  </a:lnTo>
                  <a:lnTo>
                    <a:pt x="148" y="8"/>
                  </a:lnTo>
                  <a:lnTo>
                    <a:pt x="144" y="4"/>
                  </a:lnTo>
                  <a:lnTo>
                    <a:pt x="142" y="4"/>
                  </a:lnTo>
                  <a:lnTo>
                    <a:pt x="140" y="2"/>
                  </a:lnTo>
                  <a:lnTo>
                    <a:pt x="140" y="2"/>
                  </a:lnTo>
                  <a:lnTo>
                    <a:pt x="138" y="2"/>
                  </a:lnTo>
                  <a:lnTo>
                    <a:pt x="134" y="2"/>
                  </a:lnTo>
                  <a:lnTo>
                    <a:pt x="130" y="2"/>
                  </a:lnTo>
                  <a:lnTo>
                    <a:pt x="126" y="2"/>
                  </a:lnTo>
                  <a:lnTo>
                    <a:pt x="118" y="0"/>
                  </a:lnTo>
                  <a:lnTo>
                    <a:pt x="116" y="0"/>
                  </a:lnTo>
                  <a:lnTo>
                    <a:pt x="112" y="4"/>
                  </a:lnTo>
                  <a:lnTo>
                    <a:pt x="110" y="8"/>
                  </a:lnTo>
                  <a:lnTo>
                    <a:pt x="110" y="10"/>
                  </a:lnTo>
                  <a:lnTo>
                    <a:pt x="108" y="10"/>
                  </a:lnTo>
                  <a:lnTo>
                    <a:pt x="106" y="12"/>
                  </a:lnTo>
                  <a:lnTo>
                    <a:pt x="104" y="14"/>
                  </a:lnTo>
                  <a:lnTo>
                    <a:pt x="102" y="14"/>
                  </a:lnTo>
                  <a:lnTo>
                    <a:pt x="100" y="16"/>
                  </a:lnTo>
                  <a:lnTo>
                    <a:pt x="94" y="18"/>
                  </a:lnTo>
                  <a:lnTo>
                    <a:pt x="88" y="20"/>
                  </a:lnTo>
                  <a:lnTo>
                    <a:pt x="76" y="24"/>
                  </a:lnTo>
                  <a:lnTo>
                    <a:pt x="72" y="28"/>
                  </a:lnTo>
                  <a:lnTo>
                    <a:pt x="68" y="28"/>
                  </a:lnTo>
                  <a:lnTo>
                    <a:pt x="66" y="30"/>
                  </a:lnTo>
                  <a:lnTo>
                    <a:pt x="64" y="30"/>
                  </a:lnTo>
                  <a:lnTo>
                    <a:pt x="62" y="32"/>
                  </a:lnTo>
                  <a:lnTo>
                    <a:pt x="56" y="36"/>
                  </a:lnTo>
                  <a:lnTo>
                    <a:pt x="46" y="44"/>
                  </a:lnTo>
                  <a:lnTo>
                    <a:pt x="46" y="44"/>
                  </a:lnTo>
                  <a:lnTo>
                    <a:pt x="44" y="46"/>
                  </a:lnTo>
                  <a:lnTo>
                    <a:pt x="40" y="50"/>
                  </a:lnTo>
                  <a:lnTo>
                    <a:pt x="38" y="52"/>
                  </a:lnTo>
                  <a:lnTo>
                    <a:pt x="36" y="54"/>
                  </a:lnTo>
                  <a:lnTo>
                    <a:pt x="34" y="54"/>
                  </a:lnTo>
                  <a:lnTo>
                    <a:pt x="34" y="54"/>
                  </a:lnTo>
                  <a:lnTo>
                    <a:pt x="32" y="54"/>
                  </a:lnTo>
                  <a:lnTo>
                    <a:pt x="32" y="54"/>
                  </a:lnTo>
                  <a:lnTo>
                    <a:pt x="30" y="54"/>
                  </a:lnTo>
                  <a:lnTo>
                    <a:pt x="30" y="54"/>
                  </a:lnTo>
                  <a:lnTo>
                    <a:pt x="30" y="54"/>
                  </a:lnTo>
                  <a:lnTo>
                    <a:pt x="28" y="52"/>
                  </a:lnTo>
                  <a:lnTo>
                    <a:pt x="26" y="50"/>
                  </a:lnTo>
                  <a:lnTo>
                    <a:pt x="26" y="48"/>
                  </a:lnTo>
                  <a:lnTo>
                    <a:pt x="24" y="46"/>
                  </a:lnTo>
                  <a:lnTo>
                    <a:pt x="22" y="44"/>
                  </a:lnTo>
                  <a:lnTo>
                    <a:pt x="22" y="44"/>
                  </a:lnTo>
                  <a:lnTo>
                    <a:pt x="22" y="42"/>
                  </a:lnTo>
                  <a:lnTo>
                    <a:pt x="20" y="38"/>
                  </a:lnTo>
                  <a:lnTo>
                    <a:pt x="20" y="36"/>
                  </a:lnTo>
                  <a:lnTo>
                    <a:pt x="20" y="34"/>
                  </a:lnTo>
                  <a:lnTo>
                    <a:pt x="18" y="32"/>
                  </a:lnTo>
                  <a:lnTo>
                    <a:pt x="18" y="30"/>
                  </a:lnTo>
                  <a:lnTo>
                    <a:pt x="18" y="30"/>
                  </a:lnTo>
                  <a:lnTo>
                    <a:pt x="18" y="30"/>
                  </a:lnTo>
                  <a:lnTo>
                    <a:pt x="16" y="30"/>
                  </a:lnTo>
                  <a:lnTo>
                    <a:pt x="14" y="30"/>
                  </a:lnTo>
                  <a:lnTo>
                    <a:pt x="14" y="30"/>
                  </a:lnTo>
                  <a:lnTo>
                    <a:pt x="12" y="30"/>
                  </a:lnTo>
                  <a:lnTo>
                    <a:pt x="10" y="32"/>
                  </a:lnTo>
                  <a:lnTo>
                    <a:pt x="8" y="32"/>
                  </a:lnTo>
                  <a:lnTo>
                    <a:pt x="8" y="32"/>
                  </a:lnTo>
                  <a:lnTo>
                    <a:pt x="6" y="34"/>
                  </a:lnTo>
                  <a:lnTo>
                    <a:pt x="4" y="36"/>
                  </a:lnTo>
                  <a:lnTo>
                    <a:pt x="4" y="36"/>
                  </a:lnTo>
                  <a:lnTo>
                    <a:pt x="4" y="38"/>
                  </a:lnTo>
                  <a:lnTo>
                    <a:pt x="4" y="40"/>
                  </a:lnTo>
                  <a:lnTo>
                    <a:pt x="2" y="40"/>
                  </a:lnTo>
                  <a:lnTo>
                    <a:pt x="2" y="46"/>
                  </a:lnTo>
                  <a:lnTo>
                    <a:pt x="2" y="50"/>
                  </a:lnTo>
                  <a:lnTo>
                    <a:pt x="0" y="52"/>
                  </a:lnTo>
                  <a:lnTo>
                    <a:pt x="0" y="56"/>
                  </a:lnTo>
                  <a:lnTo>
                    <a:pt x="0" y="58"/>
                  </a:lnTo>
                  <a:lnTo>
                    <a:pt x="0" y="60"/>
                  </a:lnTo>
                  <a:lnTo>
                    <a:pt x="2" y="62"/>
                  </a:lnTo>
                  <a:lnTo>
                    <a:pt x="2" y="64"/>
                  </a:lnTo>
                  <a:lnTo>
                    <a:pt x="2" y="66"/>
                  </a:lnTo>
                  <a:lnTo>
                    <a:pt x="2" y="68"/>
                  </a:lnTo>
                  <a:lnTo>
                    <a:pt x="4" y="70"/>
                  </a:lnTo>
                  <a:lnTo>
                    <a:pt x="4" y="72"/>
                  </a:lnTo>
                  <a:lnTo>
                    <a:pt x="6" y="72"/>
                  </a:lnTo>
                  <a:lnTo>
                    <a:pt x="6" y="72"/>
                  </a:lnTo>
                  <a:lnTo>
                    <a:pt x="6" y="72"/>
                  </a:lnTo>
                  <a:lnTo>
                    <a:pt x="8" y="72"/>
                  </a:lnTo>
                  <a:lnTo>
                    <a:pt x="10" y="72"/>
                  </a:lnTo>
                  <a:lnTo>
                    <a:pt x="12" y="72"/>
                  </a:lnTo>
                  <a:lnTo>
                    <a:pt x="14" y="72"/>
                  </a:lnTo>
                  <a:lnTo>
                    <a:pt x="16" y="70"/>
                  </a:lnTo>
                  <a:lnTo>
                    <a:pt x="18" y="70"/>
                  </a:lnTo>
                  <a:lnTo>
                    <a:pt x="18" y="70"/>
                  </a:lnTo>
                  <a:lnTo>
                    <a:pt x="18" y="72"/>
                  </a:lnTo>
                  <a:lnTo>
                    <a:pt x="20" y="72"/>
                  </a:lnTo>
                  <a:lnTo>
                    <a:pt x="20" y="72"/>
                  </a:lnTo>
                  <a:lnTo>
                    <a:pt x="22" y="74"/>
                  </a:lnTo>
                  <a:lnTo>
                    <a:pt x="22" y="74"/>
                  </a:lnTo>
                  <a:lnTo>
                    <a:pt x="22" y="76"/>
                  </a:lnTo>
                  <a:lnTo>
                    <a:pt x="22" y="78"/>
                  </a:lnTo>
                  <a:lnTo>
                    <a:pt x="22" y="80"/>
                  </a:lnTo>
                  <a:lnTo>
                    <a:pt x="24" y="84"/>
                  </a:lnTo>
                  <a:lnTo>
                    <a:pt x="24" y="86"/>
                  </a:lnTo>
                  <a:lnTo>
                    <a:pt x="24" y="90"/>
                  </a:lnTo>
                  <a:lnTo>
                    <a:pt x="24" y="92"/>
                  </a:lnTo>
                  <a:lnTo>
                    <a:pt x="24" y="94"/>
                  </a:lnTo>
                  <a:lnTo>
                    <a:pt x="26" y="94"/>
                  </a:lnTo>
                  <a:lnTo>
                    <a:pt x="26" y="96"/>
                  </a:lnTo>
                  <a:lnTo>
                    <a:pt x="26" y="96"/>
                  </a:lnTo>
                  <a:lnTo>
                    <a:pt x="28" y="96"/>
                  </a:lnTo>
                  <a:lnTo>
                    <a:pt x="30" y="98"/>
                  </a:lnTo>
                  <a:lnTo>
                    <a:pt x="32" y="98"/>
                  </a:lnTo>
                  <a:lnTo>
                    <a:pt x="32" y="100"/>
                  </a:lnTo>
                  <a:lnTo>
                    <a:pt x="34" y="100"/>
                  </a:lnTo>
                  <a:lnTo>
                    <a:pt x="34" y="100"/>
                  </a:lnTo>
                  <a:lnTo>
                    <a:pt x="34" y="102"/>
                  </a:lnTo>
                  <a:lnTo>
                    <a:pt x="34" y="102"/>
                  </a:lnTo>
                  <a:lnTo>
                    <a:pt x="34" y="106"/>
                  </a:lnTo>
                  <a:lnTo>
                    <a:pt x="34" y="108"/>
                  </a:lnTo>
                  <a:lnTo>
                    <a:pt x="34" y="112"/>
                  </a:lnTo>
                  <a:lnTo>
                    <a:pt x="34" y="114"/>
                  </a:lnTo>
                  <a:lnTo>
                    <a:pt x="36" y="114"/>
                  </a:lnTo>
                  <a:lnTo>
                    <a:pt x="36" y="118"/>
                  </a:lnTo>
                  <a:lnTo>
                    <a:pt x="38" y="122"/>
                  </a:lnTo>
                  <a:lnTo>
                    <a:pt x="38" y="124"/>
                  </a:lnTo>
                  <a:lnTo>
                    <a:pt x="40" y="126"/>
                  </a:lnTo>
                  <a:lnTo>
                    <a:pt x="40" y="126"/>
                  </a:lnTo>
                  <a:lnTo>
                    <a:pt x="40" y="128"/>
                  </a:lnTo>
                  <a:lnTo>
                    <a:pt x="42" y="128"/>
                  </a:lnTo>
                  <a:lnTo>
                    <a:pt x="42" y="130"/>
                  </a:lnTo>
                  <a:lnTo>
                    <a:pt x="46" y="130"/>
                  </a:lnTo>
                  <a:lnTo>
                    <a:pt x="48" y="132"/>
                  </a:lnTo>
                  <a:lnTo>
                    <a:pt x="48" y="132"/>
                  </a:lnTo>
                  <a:lnTo>
                    <a:pt x="50" y="132"/>
                  </a:lnTo>
                  <a:lnTo>
                    <a:pt x="50" y="134"/>
                  </a:lnTo>
                  <a:lnTo>
                    <a:pt x="50" y="134"/>
                  </a:lnTo>
                  <a:lnTo>
                    <a:pt x="50" y="136"/>
                  </a:lnTo>
                  <a:lnTo>
                    <a:pt x="50" y="138"/>
                  </a:lnTo>
                  <a:lnTo>
                    <a:pt x="50" y="140"/>
                  </a:lnTo>
                  <a:lnTo>
                    <a:pt x="50" y="142"/>
                  </a:lnTo>
                  <a:lnTo>
                    <a:pt x="50" y="144"/>
                  </a:lnTo>
                  <a:lnTo>
                    <a:pt x="50" y="146"/>
                  </a:lnTo>
                  <a:lnTo>
                    <a:pt x="50" y="148"/>
                  </a:lnTo>
                  <a:lnTo>
                    <a:pt x="52" y="148"/>
                  </a:lnTo>
                  <a:lnTo>
                    <a:pt x="52" y="148"/>
                  </a:lnTo>
                  <a:lnTo>
                    <a:pt x="52" y="148"/>
                  </a:lnTo>
                  <a:lnTo>
                    <a:pt x="54" y="150"/>
                  </a:lnTo>
                  <a:lnTo>
                    <a:pt x="54" y="150"/>
                  </a:lnTo>
                  <a:lnTo>
                    <a:pt x="56" y="152"/>
                  </a:lnTo>
                  <a:lnTo>
                    <a:pt x="56" y="154"/>
                  </a:lnTo>
                  <a:lnTo>
                    <a:pt x="58" y="156"/>
                  </a:lnTo>
                  <a:lnTo>
                    <a:pt x="60" y="158"/>
                  </a:lnTo>
                  <a:lnTo>
                    <a:pt x="62" y="160"/>
                  </a:lnTo>
                  <a:lnTo>
                    <a:pt x="62" y="162"/>
                  </a:lnTo>
                  <a:lnTo>
                    <a:pt x="62" y="164"/>
                  </a:lnTo>
                  <a:lnTo>
                    <a:pt x="64" y="168"/>
                  </a:lnTo>
                  <a:lnTo>
                    <a:pt x="64" y="170"/>
                  </a:lnTo>
                  <a:lnTo>
                    <a:pt x="66" y="174"/>
                  </a:lnTo>
                  <a:lnTo>
                    <a:pt x="66" y="178"/>
                  </a:lnTo>
                  <a:lnTo>
                    <a:pt x="68" y="182"/>
                  </a:lnTo>
                  <a:lnTo>
                    <a:pt x="70" y="186"/>
                  </a:lnTo>
                  <a:lnTo>
                    <a:pt x="70" y="188"/>
                  </a:lnTo>
                  <a:lnTo>
                    <a:pt x="72" y="188"/>
                  </a:lnTo>
                  <a:lnTo>
                    <a:pt x="72" y="190"/>
                  </a:lnTo>
                  <a:lnTo>
                    <a:pt x="74" y="190"/>
                  </a:lnTo>
                  <a:lnTo>
                    <a:pt x="76" y="192"/>
                  </a:lnTo>
                  <a:lnTo>
                    <a:pt x="76" y="192"/>
                  </a:lnTo>
                  <a:lnTo>
                    <a:pt x="78" y="192"/>
                  </a:lnTo>
                  <a:lnTo>
                    <a:pt x="78" y="194"/>
                  </a:lnTo>
                  <a:lnTo>
                    <a:pt x="78" y="194"/>
                  </a:lnTo>
                  <a:lnTo>
                    <a:pt x="78" y="194"/>
                  </a:lnTo>
                  <a:lnTo>
                    <a:pt x="78" y="194"/>
                  </a:lnTo>
                  <a:lnTo>
                    <a:pt x="78" y="196"/>
                  </a:lnTo>
                  <a:lnTo>
                    <a:pt x="78" y="198"/>
                  </a:lnTo>
                  <a:lnTo>
                    <a:pt x="76" y="198"/>
                  </a:lnTo>
                  <a:lnTo>
                    <a:pt x="76" y="200"/>
                  </a:lnTo>
                  <a:lnTo>
                    <a:pt x="76" y="200"/>
                  </a:lnTo>
                  <a:lnTo>
                    <a:pt x="76" y="202"/>
                  </a:lnTo>
                  <a:lnTo>
                    <a:pt x="76" y="204"/>
                  </a:lnTo>
                  <a:lnTo>
                    <a:pt x="76" y="206"/>
                  </a:lnTo>
                  <a:lnTo>
                    <a:pt x="78" y="206"/>
                  </a:lnTo>
                  <a:lnTo>
                    <a:pt x="78" y="208"/>
                  </a:lnTo>
                  <a:lnTo>
                    <a:pt x="78" y="210"/>
                  </a:lnTo>
                  <a:lnTo>
                    <a:pt x="80" y="212"/>
                  </a:lnTo>
                  <a:lnTo>
                    <a:pt x="80" y="212"/>
                  </a:lnTo>
                  <a:lnTo>
                    <a:pt x="82" y="214"/>
                  </a:lnTo>
                  <a:lnTo>
                    <a:pt x="84" y="216"/>
                  </a:lnTo>
                  <a:lnTo>
                    <a:pt x="86" y="218"/>
                  </a:lnTo>
                  <a:lnTo>
                    <a:pt x="88" y="218"/>
                  </a:lnTo>
                  <a:lnTo>
                    <a:pt x="92" y="220"/>
                  </a:lnTo>
                  <a:lnTo>
                    <a:pt x="94" y="222"/>
                  </a:lnTo>
                  <a:lnTo>
                    <a:pt x="96" y="224"/>
                  </a:lnTo>
                  <a:lnTo>
                    <a:pt x="98" y="224"/>
                  </a:lnTo>
                  <a:lnTo>
                    <a:pt x="98" y="226"/>
                  </a:lnTo>
                  <a:lnTo>
                    <a:pt x="102" y="232"/>
                  </a:lnTo>
                  <a:lnTo>
                    <a:pt x="104" y="234"/>
                  </a:lnTo>
                  <a:lnTo>
                    <a:pt x="106" y="236"/>
                  </a:lnTo>
                  <a:lnTo>
                    <a:pt x="108" y="238"/>
                  </a:lnTo>
                  <a:lnTo>
                    <a:pt x="110" y="240"/>
                  </a:lnTo>
                  <a:lnTo>
                    <a:pt x="110" y="240"/>
                  </a:lnTo>
                  <a:lnTo>
                    <a:pt x="110" y="240"/>
                  </a:lnTo>
                  <a:lnTo>
                    <a:pt x="112" y="242"/>
                  </a:lnTo>
                  <a:lnTo>
                    <a:pt x="114" y="242"/>
                  </a:lnTo>
                  <a:lnTo>
                    <a:pt x="118" y="244"/>
                  </a:lnTo>
                  <a:lnTo>
                    <a:pt x="120" y="244"/>
                  </a:lnTo>
                  <a:lnTo>
                    <a:pt x="126" y="246"/>
                  </a:lnTo>
                  <a:lnTo>
                    <a:pt x="130" y="248"/>
                  </a:lnTo>
                  <a:lnTo>
                    <a:pt x="132" y="248"/>
                  </a:lnTo>
                  <a:lnTo>
                    <a:pt x="134" y="250"/>
                  </a:lnTo>
                  <a:lnTo>
                    <a:pt x="136" y="252"/>
                  </a:lnTo>
                  <a:lnTo>
                    <a:pt x="142" y="256"/>
                  </a:lnTo>
                  <a:lnTo>
                    <a:pt x="146" y="260"/>
                  </a:lnTo>
                  <a:lnTo>
                    <a:pt x="152" y="264"/>
                  </a:lnTo>
                  <a:lnTo>
                    <a:pt x="158" y="270"/>
                  </a:lnTo>
                  <a:lnTo>
                    <a:pt x="164" y="274"/>
                  </a:lnTo>
                  <a:lnTo>
                    <a:pt x="174" y="264"/>
                  </a:lnTo>
                  <a:lnTo>
                    <a:pt x="174" y="264"/>
                  </a:lnTo>
                  <a:lnTo>
                    <a:pt x="176" y="260"/>
                  </a:lnTo>
                  <a:lnTo>
                    <a:pt x="176" y="258"/>
                  </a:lnTo>
                  <a:lnTo>
                    <a:pt x="176" y="256"/>
                  </a:lnTo>
                  <a:lnTo>
                    <a:pt x="178" y="254"/>
                  </a:lnTo>
                  <a:lnTo>
                    <a:pt x="178" y="254"/>
                  </a:lnTo>
                  <a:lnTo>
                    <a:pt x="178" y="252"/>
                  </a:lnTo>
                  <a:lnTo>
                    <a:pt x="178" y="252"/>
                  </a:lnTo>
                  <a:lnTo>
                    <a:pt x="180" y="252"/>
                  </a:lnTo>
                  <a:lnTo>
                    <a:pt x="182" y="252"/>
                  </a:lnTo>
                  <a:lnTo>
                    <a:pt x="182" y="252"/>
                  </a:lnTo>
                  <a:lnTo>
                    <a:pt x="184" y="252"/>
                  </a:lnTo>
                  <a:lnTo>
                    <a:pt x="184" y="250"/>
                  </a:lnTo>
                  <a:lnTo>
                    <a:pt x="184" y="250"/>
                  </a:lnTo>
                  <a:lnTo>
                    <a:pt x="184" y="250"/>
                  </a:lnTo>
                  <a:lnTo>
                    <a:pt x="184" y="248"/>
                  </a:lnTo>
                  <a:lnTo>
                    <a:pt x="182" y="248"/>
                  </a:lnTo>
                  <a:lnTo>
                    <a:pt x="182" y="246"/>
                  </a:lnTo>
                  <a:lnTo>
                    <a:pt x="180" y="244"/>
                  </a:lnTo>
                  <a:lnTo>
                    <a:pt x="178" y="244"/>
                  </a:lnTo>
                  <a:lnTo>
                    <a:pt x="178" y="242"/>
                  </a:lnTo>
                  <a:lnTo>
                    <a:pt x="178" y="240"/>
                  </a:lnTo>
                  <a:lnTo>
                    <a:pt x="178" y="240"/>
                  </a:lnTo>
                  <a:lnTo>
                    <a:pt x="178" y="236"/>
                  </a:lnTo>
                  <a:lnTo>
                    <a:pt x="178" y="234"/>
                  </a:lnTo>
                  <a:lnTo>
                    <a:pt x="180" y="230"/>
                  </a:lnTo>
                  <a:lnTo>
                    <a:pt x="180" y="222"/>
                  </a:lnTo>
                  <a:lnTo>
                    <a:pt x="180" y="220"/>
                  </a:lnTo>
                  <a:lnTo>
                    <a:pt x="180" y="216"/>
                  </a:lnTo>
                  <a:lnTo>
                    <a:pt x="180" y="214"/>
                  </a:lnTo>
                  <a:lnTo>
                    <a:pt x="180" y="212"/>
                  </a:lnTo>
                  <a:lnTo>
                    <a:pt x="180" y="206"/>
                  </a:lnTo>
                  <a:lnTo>
                    <a:pt x="180" y="204"/>
                  </a:lnTo>
                  <a:lnTo>
                    <a:pt x="180" y="202"/>
                  </a:lnTo>
                  <a:lnTo>
                    <a:pt x="180" y="200"/>
                  </a:lnTo>
                  <a:lnTo>
                    <a:pt x="180" y="198"/>
                  </a:lnTo>
                  <a:lnTo>
                    <a:pt x="180" y="198"/>
                  </a:lnTo>
                  <a:lnTo>
                    <a:pt x="180" y="196"/>
                  </a:lnTo>
                  <a:lnTo>
                    <a:pt x="182" y="196"/>
                  </a:lnTo>
                  <a:lnTo>
                    <a:pt x="184" y="194"/>
                  </a:lnTo>
                  <a:lnTo>
                    <a:pt x="186" y="192"/>
                  </a:lnTo>
                  <a:lnTo>
                    <a:pt x="186" y="192"/>
                  </a:lnTo>
                  <a:lnTo>
                    <a:pt x="188" y="192"/>
                  </a:lnTo>
                  <a:lnTo>
                    <a:pt x="188" y="190"/>
                  </a:lnTo>
                  <a:lnTo>
                    <a:pt x="188" y="188"/>
                  </a:lnTo>
                  <a:lnTo>
                    <a:pt x="188" y="186"/>
                  </a:lnTo>
                  <a:lnTo>
                    <a:pt x="190" y="184"/>
                  </a:lnTo>
                  <a:lnTo>
                    <a:pt x="190" y="182"/>
                  </a:lnTo>
                  <a:lnTo>
                    <a:pt x="190" y="180"/>
                  </a:lnTo>
                  <a:lnTo>
                    <a:pt x="190" y="178"/>
                  </a:lnTo>
                  <a:lnTo>
                    <a:pt x="190" y="176"/>
                  </a:lnTo>
                  <a:lnTo>
                    <a:pt x="188" y="176"/>
                  </a:lnTo>
                  <a:lnTo>
                    <a:pt x="188" y="174"/>
                  </a:lnTo>
                  <a:lnTo>
                    <a:pt x="186" y="172"/>
                  </a:lnTo>
                  <a:lnTo>
                    <a:pt x="186" y="168"/>
                  </a:lnTo>
                  <a:lnTo>
                    <a:pt x="184" y="166"/>
                  </a:lnTo>
                  <a:lnTo>
                    <a:pt x="180" y="162"/>
                  </a:lnTo>
                  <a:lnTo>
                    <a:pt x="178" y="160"/>
                  </a:lnTo>
                  <a:lnTo>
                    <a:pt x="176" y="158"/>
                  </a:lnTo>
                  <a:lnTo>
                    <a:pt x="172" y="156"/>
                  </a:lnTo>
                  <a:lnTo>
                    <a:pt x="170" y="156"/>
                  </a:lnTo>
                  <a:lnTo>
                    <a:pt x="168" y="154"/>
                  </a:lnTo>
                  <a:lnTo>
                    <a:pt x="166" y="154"/>
                  </a:lnTo>
                  <a:lnTo>
                    <a:pt x="166" y="154"/>
                  </a:lnTo>
                  <a:lnTo>
                    <a:pt x="166" y="152"/>
                  </a:lnTo>
                  <a:lnTo>
                    <a:pt x="164" y="152"/>
                  </a:lnTo>
                  <a:lnTo>
                    <a:pt x="164" y="150"/>
                  </a:lnTo>
                  <a:lnTo>
                    <a:pt x="164" y="150"/>
                  </a:lnTo>
                  <a:lnTo>
                    <a:pt x="164" y="148"/>
                  </a:lnTo>
                  <a:lnTo>
                    <a:pt x="164" y="146"/>
                  </a:lnTo>
                  <a:lnTo>
                    <a:pt x="164" y="142"/>
                  </a:lnTo>
                  <a:lnTo>
                    <a:pt x="162" y="140"/>
                  </a:lnTo>
                  <a:lnTo>
                    <a:pt x="162" y="138"/>
                  </a:lnTo>
                  <a:lnTo>
                    <a:pt x="162" y="138"/>
                  </a:lnTo>
                  <a:lnTo>
                    <a:pt x="162" y="136"/>
                  </a:lnTo>
                  <a:lnTo>
                    <a:pt x="162" y="134"/>
                  </a:lnTo>
                  <a:lnTo>
                    <a:pt x="160" y="134"/>
                  </a:lnTo>
                  <a:lnTo>
                    <a:pt x="160" y="134"/>
                  </a:lnTo>
                  <a:lnTo>
                    <a:pt x="158" y="134"/>
                  </a:lnTo>
                  <a:lnTo>
                    <a:pt x="158" y="134"/>
                  </a:lnTo>
                  <a:lnTo>
                    <a:pt x="158" y="134"/>
                  </a:lnTo>
                  <a:lnTo>
                    <a:pt x="158" y="134"/>
                  </a:lnTo>
                  <a:lnTo>
                    <a:pt x="156" y="136"/>
                  </a:lnTo>
                  <a:lnTo>
                    <a:pt x="154" y="136"/>
                  </a:lnTo>
                  <a:lnTo>
                    <a:pt x="152" y="140"/>
                  </a:lnTo>
                  <a:lnTo>
                    <a:pt x="150" y="140"/>
                  </a:lnTo>
                  <a:lnTo>
                    <a:pt x="148" y="140"/>
                  </a:lnTo>
                  <a:lnTo>
                    <a:pt x="148" y="140"/>
                  </a:lnTo>
                  <a:lnTo>
                    <a:pt x="146" y="140"/>
                  </a:lnTo>
                  <a:lnTo>
                    <a:pt x="146" y="142"/>
                  </a:lnTo>
                  <a:lnTo>
                    <a:pt x="144" y="140"/>
                  </a:lnTo>
                  <a:lnTo>
                    <a:pt x="142" y="140"/>
                  </a:lnTo>
                  <a:lnTo>
                    <a:pt x="140" y="140"/>
                  </a:lnTo>
                  <a:lnTo>
                    <a:pt x="138" y="140"/>
                  </a:lnTo>
                  <a:lnTo>
                    <a:pt x="136" y="140"/>
                  </a:lnTo>
                  <a:lnTo>
                    <a:pt x="136" y="140"/>
                  </a:lnTo>
                  <a:lnTo>
                    <a:pt x="136" y="138"/>
                  </a:lnTo>
                  <a:lnTo>
                    <a:pt x="134" y="138"/>
                  </a:lnTo>
                  <a:lnTo>
                    <a:pt x="134" y="138"/>
                  </a:lnTo>
                  <a:lnTo>
                    <a:pt x="134" y="138"/>
                  </a:lnTo>
                  <a:lnTo>
                    <a:pt x="134" y="136"/>
                  </a:lnTo>
                  <a:lnTo>
                    <a:pt x="134" y="134"/>
                  </a:lnTo>
                  <a:lnTo>
                    <a:pt x="134" y="132"/>
                  </a:lnTo>
                  <a:lnTo>
                    <a:pt x="134" y="132"/>
                  </a:lnTo>
                  <a:lnTo>
                    <a:pt x="134" y="130"/>
                  </a:lnTo>
                  <a:lnTo>
                    <a:pt x="132" y="130"/>
                  </a:lnTo>
                  <a:lnTo>
                    <a:pt x="132" y="130"/>
                  </a:lnTo>
                  <a:lnTo>
                    <a:pt x="132" y="130"/>
                  </a:lnTo>
                  <a:lnTo>
                    <a:pt x="130" y="130"/>
                  </a:lnTo>
                  <a:lnTo>
                    <a:pt x="128" y="130"/>
                  </a:lnTo>
                  <a:lnTo>
                    <a:pt x="126" y="130"/>
                  </a:lnTo>
                  <a:lnTo>
                    <a:pt x="126" y="130"/>
                  </a:lnTo>
                  <a:lnTo>
                    <a:pt x="124" y="130"/>
                  </a:lnTo>
                  <a:lnTo>
                    <a:pt x="124" y="130"/>
                  </a:lnTo>
                  <a:lnTo>
                    <a:pt x="124" y="128"/>
                  </a:lnTo>
                  <a:lnTo>
                    <a:pt x="122" y="128"/>
                  </a:lnTo>
                  <a:lnTo>
                    <a:pt x="122" y="126"/>
                  </a:lnTo>
                  <a:lnTo>
                    <a:pt x="122" y="126"/>
                  </a:lnTo>
                  <a:lnTo>
                    <a:pt x="122" y="124"/>
                  </a:lnTo>
                  <a:lnTo>
                    <a:pt x="120" y="122"/>
                  </a:lnTo>
                  <a:lnTo>
                    <a:pt x="120" y="120"/>
                  </a:lnTo>
                  <a:lnTo>
                    <a:pt x="120" y="118"/>
                  </a:lnTo>
                  <a:lnTo>
                    <a:pt x="118" y="118"/>
                  </a:lnTo>
                  <a:lnTo>
                    <a:pt x="118" y="116"/>
                  </a:lnTo>
                  <a:lnTo>
                    <a:pt x="114" y="114"/>
                  </a:lnTo>
                  <a:lnTo>
                    <a:pt x="112" y="112"/>
                  </a:lnTo>
                  <a:lnTo>
                    <a:pt x="110" y="112"/>
                  </a:lnTo>
                  <a:lnTo>
                    <a:pt x="110" y="110"/>
                  </a:lnTo>
                  <a:lnTo>
                    <a:pt x="108" y="110"/>
                  </a:lnTo>
                  <a:lnTo>
                    <a:pt x="108" y="108"/>
                  </a:lnTo>
                  <a:lnTo>
                    <a:pt x="108" y="106"/>
                  </a:lnTo>
                  <a:lnTo>
                    <a:pt x="106" y="102"/>
                  </a:lnTo>
                  <a:lnTo>
                    <a:pt x="106" y="102"/>
                  </a:lnTo>
                  <a:lnTo>
                    <a:pt x="106" y="100"/>
                  </a:lnTo>
                  <a:lnTo>
                    <a:pt x="106" y="100"/>
                  </a:lnTo>
                  <a:lnTo>
                    <a:pt x="106" y="98"/>
                  </a:lnTo>
                  <a:lnTo>
                    <a:pt x="106" y="96"/>
                  </a:lnTo>
                  <a:lnTo>
                    <a:pt x="106" y="94"/>
                  </a:lnTo>
                  <a:lnTo>
                    <a:pt x="106" y="92"/>
                  </a:lnTo>
                  <a:lnTo>
                    <a:pt x="108" y="90"/>
                  </a:lnTo>
                  <a:lnTo>
                    <a:pt x="108" y="88"/>
                  </a:lnTo>
                  <a:lnTo>
                    <a:pt x="108" y="88"/>
                  </a:lnTo>
                  <a:lnTo>
                    <a:pt x="110" y="86"/>
                  </a:lnTo>
                  <a:lnTo>
                    <a:pt x="110" y="86"/>
                  </a:lnTo>
                  <a:lnTo>
                    <a:pt x="112" y="86"/>
                  </a:lnTo>
                  <a:lnTo>
                    <a:pt x="112" y="86"/>
                  </a:lnTo>
                  <a:lnTo>
                    <a:pt x="116" y="84"/>
                  </a:lnTo>
                  <a:lnTo>
                    <a:pt x="116" y="84"/>
                  </a:lnTo>
                  <a:lnTo>
                    <a:pt x="118" y="84"/>
                  </a:lnTo>
                  <a:lnTo>
                    <a:pt x="120" y="82"/>
                  </a:lnTo>
                  <a:lnTo>
                    <a:pt x="122" y="80"/>
                  </a:lnTo>
                  <a:lnTo>
                    <a:pt x="122" y="80"/>
                  </a:lnTo>
                  <a:lnTo>
                    <a:pt x="122" y="80"/>
                  </a:lnTo>
                  <a:lnTo>
                    <a:pt x="124" y="78"/>
                  </a:lnTo>
                  <a:lnTo>
                    <a:pt x="124" y="78"/>
                  </a:lnTo>
                  <a:lnTo>
                    <a:pt x="124" y="76"/>
                  </a:lnTo>
                  <a:lnTo>
                    <a:pt x="124" y="76"/>
                  </a:lnTo>
                  <a:lnTo>
                    <a:pt x="124" y="74"/>
                  </a:lnTo>
                  <a:lnTo>
                    <a:pt x="122" y="72"/>
                  </a:lnTo>
                  <a:lnTo>
                    <a:pt x="122" y="70"/>
                  </a:lnTo>
                  <a:lnTo>
                    <a:pt x="122" y="68"/>
                  </a:lnTo>
                  <a:lnTo>
                    <a:pt x="122" y="68"/>
                  </a:lnTo>
                  <a:lnTo>
                    <a:pt x="122" y="66"/>
                  </a:lnTo>
                  <a:lnTo>
                    <a:pt x="122" y="64"/>
                  </a:lnTo>
                  <a:lnTo>
                    <a:pt x="122" y="62"/>
                  </a:lnTo>
                  <a:lnTo>
                    <a:pt x="124" y="60"/>
                  </a:lnTo>
                  <a:lnTo>
                    <a:pt x="124" y="58"/>
                  </a:lnTo>
                  <a:lnTo>
                    <a:pt x="124" y="56"/>
                  </a:lnTo>
                  <a:lnTo>
                    <a:pt x="126" y="54"/>
                  </a:lnTo>
                  <a:lnTo>
                    <a:pt x="126" y="54"/>
                  </a:lnTo>
                  <a:lnTo>
                    <a:pt x="128" y="52"/>
                  </a:lnTo>
                  <a:lnTo>
                    <a:pt x="128" y="52"/>
                  </a:lnTo>
                  <a:lnTo>
                    <a:pt x="130" y="50"/>
                  </a:lnTo>
                  <a:lnTo>
                    <a:pt x="132" y="50"/>
                  </a:lnTo>
                  <a:lnTo>
                    <a:pt x="132" y="48"/>
                  </a:lnTo>
                  <a:lnTo>
                    <a:pt x="134" y="48"/>
                  </a:lnTo>
                  <a:lnTo>
                    <a:pt x="136" y="48"/>
                  </a:lnTo>
                  <a:lnTo>
                    <a:pt x="136" y="48"/>
                  </a:lnTo>
                  <a:lnTo>
                    <a:pt x="136" y="48"/>
                  </a:lnTo>
                  <a:lnTo>
                    <a:pt x="138" y="48"/>
                  </a:lnTo>
                  <a:lnTo>
                    <a:pt x="140" y="48"/>
                  </a:lnTo>
                  <a:lnTo>
                    <a:pt x="142" y="50"/>
                  </a:lnTo>
                  <a:lnTo>
                    <a:pt x="144" y="50"/>
                  </a:lnTo>
                  <a:lnTo>
                    <a:pt x="146" y="50"/>
                  </a:lnTo>
                  <a:lnTo>
                    <a:pt x="146" y="50"/>
                  </a:lnTo>
                  <a:lnTo>
                    <a:pt x="148" y="50"/>
                  </a:lnTo>
                  <a:lnTo>
                    <a:pt x="148" y="50"/>
                  </a:lnTo>
                  <a:lnTo>
                    <a:pt x="150" y="50"/>
                  </a:lnTo>
                  <a:lnTo>
                    <a:pt x="152" y="50"/>
                  </a:lnTo>
                  <a:lnTo>
                    <a:pt x="152" y="50"/>
                  </a:lnTo>
                  <a:lnTo>
                    <a:pt x="154" y="48"/>
                  </a:lnTo>
                  <a:lnTo>
                    <a:pt x="156" y="48"/>
                  </a:lnTo>
                  <a:lnTo>
                    <a:pt x="158" y="46"/>
                  </a:lnTo>
                  <a:lnTo>
                    <a:pt x="158" y="46"/>
                  </a:lnTo>
                  <a:lnTo>
                    <a:pt x="160" y="44"/>
                  </a:lnTo>
                  <a:lnTo>
                    <a:pt x="160" y="44"/>
                  </a:lnTo>
                  <a:lnTo>
                    <a:pt x="162" y="42"/>
                  </a:lnTo>
                  <a:lnTo>
                    <a:pt x="162" y="40"/>
                  </a:lnTo>
                  <a:lnTo>
                    <a:pt x="162" y="38"/>
                  </a:lnTo>
                  <a:lnTo>
                    <a:pt x="164" y="36"/>
                  </a:lnTo>
                  <a:lnTo>
                    <a:pt x="164" y="34"/>
                  </a:lnTo>
                  <a:lnTo>
                    <a:pt x="164" y="32"/>
                  </a:lnTo>
                  <a:lnTo>
                    <a:pt x="164" y="32"/>
                  </a:lnTo>
                  <a:lnTo>
                    <a:pt x="164" y="30"/>
                  </a:lnTo>
                  <a:lnTo>
                    <a:pt x="162" y="28"/>
                  </a:lnTo>
                  <a:lnTo>
                    <a:pt x="162" y="26"/>
                  </a:lnTo>
                  <a:lnTo>
                    <a:pt x="160" y="22"/>
                  </a:lnTo>
                  <a:lnTo>
                    <a:pt x="158" y="20"/>
                  </a:lnTo>
                  <a:lnTo>
                    <a:pt x="154" y="14"/>
                  </a:lnTo>
                  <a:lnTo>
                    <a:pt x="154" y="1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8" name="Freeform 477">
              <a:extLst>
                <a:ext uri="{FF2B5EF4-FFF2-40B4-BE49-F238E27FC236}">
                  <a16:creationId xmlns:a16="http://schemas.microsoft.com/office/drawing/2014/main" id="{5A5B73C3-50ED-464D-8749-B50D040C59EC}"/>
                </a:ext>
              </a:extLst>
            </p:cNvPr>
            <p:cNvSpPr>
              <a:spLocks/>
            </p:cNvSpPr>
            <p:nvPr/>
          </p:nvSpPr>
          <p:spPr bwMode="auto">
            <a:xfrm>
              <a:off x="2253076" y="4632354"/>
              <a:ext cx="193992" cy="173207"/>
            </a:xfrm>
            <a:custGeom>
              <a:avLst/>
              <a:gdLst>
                <a:gd name="T0" fmla="*/ 112 w 112"/>
                <a:gd name="T1" fmla="*/ 46 h 100"/>
                <a:gd name="T2" fmla="*/ 106 w 112"/>
                <a:gd name="T3" fmla="*/ 40 h 100"/>
                <a:gd name="T4" fmla="*/ 100 w 112"/>
                <a:gd name="T5" fmla="*/ 32 h 100"/>
                <a:gd name="T6" fmla="*/ 98 w 112"/>
                <a:gd name="T7" fmla="*/ 30 h 100"/>
                <a:gd name="T8" fmla="*/ 92 w 112"/>
                <a:gd name="T9" fmla="*/ 26 h 100"/>
                <a:gd name="T10" fmla="*/ 86 w 112"/>
                <a:gd name="T11" fmla="*/ 22 h 100"/>
                <a:gd name="T12" fmla="*/ 82 w 112"/>
                <a:gd name="T13" fmla="*/ 20 h 100"/>
                <a:gd name="T14" fmla="*/ 78 w 112"/>
                <a:gd name="T15" fmla="*/ 16 h 100"/>
                <a:gd name="T16" fmla="*/ 76 w 112"/>
                <a:gd name="T17" fmla="*/ 12 h 100"/>
                <a:gd name="T18" fmla="*/ 72 w 112"/>
                <a:gd name="T19" fmla="*/ 10 h 100"/>
                <a:gd name="T20" fmla="*/ 70 w 112"/>
                <a:gd name="T21" fmla="*/ 10 h 100"/>
                <a:gd name="T22" fmla="*/ 68 w 112"/>
                <a:gd name="T23" fmla="*/ 10 h 100"/>
                <a:gd name="T24" fmla="*/ 60 w 112"/>
                <a:gd name="T25" fmla="*/ 12 h 100"/>
                <a:gd name="T26" fmla="*/ 54 w 112"/>
                <a:gd name="T27" fmla="*/ 12 h 100"/>
                <a:gd name="T28" fmla="*/ 50 w 112"/>
                <a:gd name="T29" fmla="*/ 12 h 100"/>
                <a:gd name="T30" fmla="*/ 48 w 112"/>
                <a:gd name="T31" fmla="*/ 12 h 100"/>
                <a:gd name="T32" fmla="*/ 42 w 112"/>
                <a:gd name="T33" fmla="*/ 10 h 100"/>
                <a:gd name="T34" fmla="*/ 36 w 112"/>
                <a:gd name="T35" fmla="*/ 6 h 100"/>
                <a:gd name="T36" fmla="*/ 28 w 112"/>
                <a:gd name="T37" fmla="*/ 0 h 100"/>
                <a:gd name="T38" fmla="*/ 22 w 112"/>
                <a:gd name="T39" fmla="*/ 2 h 100"/>
                <a:gd name="T40" fmla="*/ 18 w 112"/>
                <a:gd name="T41" fmla="*/ 4 h 100"/>
                <a:gd name="T42" fmla="*/ 16 w 112"/>
                <a:gd name="T43" fmla="*/ 6 h 100"/>
                <a:gd name="T44" fmla="*/ 14 w 112"/>
                <a:gd name="T45" fmla="*/ 6 h 100"/>
                <a:gd name="T46" fmla="*/ 14 w 112"/>
                <a:gd name="T47" fmla="*/ 10 h 100"/>
                <a:gd name="T48" fmla="*/ 14 w 112"/>
                <a:gd name="T49" fmla="*/ 14 h 100"/>
                <a:gd name="T50" fmla="*/ 12 w 112"/>
                <a:gd name="T51" fmla="*/ 22 h 100"/>
                <a:gd name="T52" fmla="*/ 12 w 112"/>
                <a:gd name="T53" fmla="*/ 24 h 100"/>
                <a:gd name="T54" fmla="*/ 10 w 112"/>
                <a:gd name="T55" fmla="*/ 26 h 100"/>
                <a:gd name="T56" fmla="*/ 8 w 112"/>
                <a:gd name="T57" fmla="*/ 30 h 100"/>
                <a:gd name="T58" fmla="*/ 4 w 112"/>
                <a:gd name="T59" fmla="*/ 34 h 100"/>
                <a:gd name="T60" fmla="*/ 2 w 112"/>
                <a:gd name="T61" fmla="*/ 38 h 100"/>
                <a:gd name="T62" fmla="*/ 0 w 112"/>
                <a:gd name="T63" fmla="*/ 42 h 100"/>
                <a:gd name="T64" fmla="*/ 0 w 112"/>
                <a:gd name="T65" fmla="*/ 44 h 100"/>
                <a:gd name="T66" fmla="*/ 2 w 112"/>
                <a:gd name="T67" fmla="*/ 48 h 100"/>
                <a:gd name="T68" fmla="*/ 4 w 112"/>
                <a:gd name="T69" fmla="*/ 52 h 100"/>
                <a:gd name="T70" fmla="*/ 6 w 112"/>
                <a:gd name="T71" fmla="*/ 56 h 100"/>
                <a:gd name="T72" fmla="*/ 10 w 112"/>
                <a:gd name="T73" fmla="*/ 58 h 100"/>
                <a:gd name="T74" fmla="*/ 14 w 112"/>
                <a:gd name="T75" fmla="*/ 62 h 100"/>
                <a:gd name="T76" fmla="*/ 16 w 112"/>
                <a:gd name="T77" fmla="*/ 64 h 100"/>
                <a:gd name="T78" fmla="*/ 16 w 112"/>
                <a:gd name="T79" fmla="*/ 68 h 100"/>
                <a:gd name="T80" fmla="*/ 18 w 112"/>
                <a:gd name="T81" fmla="*/ 74 h 100"/>
                <a:gd name="T82" fmla="*/ 18 w 112"/>
                <a:gd name="T83" fmla="*/ 84 h 100"/>
                <a:gd name="T84" fmla="*/ 18 w 112"/>
                <a:gd name="T85" fmla="*/ 90 h 100"/>
                <a:gd name="T86" fmla="*/ 20 w 112"/>
                <a:gd name="T87" fmla="*/ 94 h 100"/>
                <a:gd name="T88" fmla="*/ 24 w 112"/>
                <a:gd name="T89" fmla="*/ 98 h 100"/>
                <a:gd name="T90" fmla="*/ 26 w 112"/>
                <a:gd name="T91" fmla="*/ 100 h 100"/>
                <a:gd name="T92" fmla="*/ 28 w 112"/>
                <a:gd name="T93" fmla="*/ 100 h 100"/>
                <a:gd name="T94" fmla="*/ 30 w 112"/>
                <a:gd name="T95" fmla="*/ 100 h 100"/>
                <a:gd name="T96" fmla="*/ 30 w 112"/>
                <a:gd name="T97" fmla="*/ 100 h 100"/>
                <a:gd name="T98" fmla="*/ 36 w 112"/>
                <a:gd name="T99" fmla="*/ 96 h 100"/>
                <a:gd name="T100" fmla="*/ 40 w 112"/>
                <a:gd name="T101" fmla="*/ 90 h 100"/>
                <a:gd name="T102" fmla="*/ 52 w 112"/>
                <a:gd name="T103" fmla="*/ 82 h 100"/>
                <a:gd name="T104" fmla="*/ 60 w 112"/>
                <a:gd name="T105" fmla="*/ 76 h 100"/>
                <a:gd name="T106" fmla="*/ 64 w 112"/>
                <a:gd name="T107" fmla="*/ 74 h 100"/>
                <a:gd name="T108" fmla="*/ 72 w 112"/>
                <a:gd name="T109" fmla="*/ 72 h 100"/>
                <a:gd name="T110" fmla="*/ 90 w 112"/>
                <a:gd name="T111" fmla="*/ 64 h 100"/>
                <a:gd name="T112" fmla="*/ 98 w 112"/>
                <a:gd name="T113" fmla="*/ 60 h 100"/>
                <a:gd name="T114" fmla="*/ 102 w 112"/>
                <a:gd name="T115" fmla="*/ 58 h 100"/>
                <a:gd name="T116" fmla="*/ 104 w 112"/>
                <a:gd name="T117" fmla="*/ 56 h 100"/>
                <a:gd name="T118" fmla="*/ 108 w 112"/>
                <a:gd name="T119" fmla="*/ 5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2" h="100">
                  <a:moveTo>
                    <a:pt x="112" y="46"/>
                  </a:moveTo>
                  <a:lnTo>
                    <a:pt x="112" y="46"/>
                  </a:lnTo>
                  <a:lnTo>
                    <a:pt x="110" y="44"/>
                  </a:lnTo>
                  <a:lnTo>
                    <a:pt x="106" y="40"/>
                  </a:lnTo>
                  <a:lnTo>
                    <a:pt x="102" y="34"/>
                  </a:lnTo>
                  <a:lnTo>
                    <a:pt x="100" y="32"/>
                  </a:lnTo>
                  <a:lnTo>
                    <a:pt x="98" y="30"/>
                  </a:lnTo>
                  <a:lnTo>
                    <a:pt x="98" y="30"/>
                  </a:lnTo>
                  <a:lnTo>
                    <a:pt x="96" y="28"/>
                  </a:lnTo>
                  <a:lnTo>
                    <a:pt x="92" y="26"/>
                  </a:lnTo>
                  <a:lnTo>
                    <a:pt x="88" y="22"/>
                  </a:lnTo>
                  <a:lnTo>
                    <a:pt x="86" y="22"/>
                  </a:lnTo>
                  <a:lnTo>
                    <a:pt x="84" y="20"/>
                  </a:lnTo>
                  <a:lnTo>
                    <a:pt x="82" y="20"/>
                  </a:lnTo>
                  <a:lnTo>
                    <a:pt x="82" y="18"/>
                  </a:lnTo>
                  <a:lnTo>
                    <a:pt x="78" y="16"/>
                  </a:lnTo>
                  <a:lnTo>
                    <a:pt x="76" y="14"/>
                  </a:lnTo>
                  <a:lnTo>
                    <a:pt x="76" y="12"/>
                  </a:lnTo>
                  <a:lnTo>
                    <a:pt x="74" y="12"/>
                  </a:lnTo>
                  <a:lnTo>
                    <a:pt x="72" y="10"/>
                  </a:lnTo>
                  <a:lnTo>
                    <a:pt x="72" y="10"/>
                  </a:lnTo>
                  <a:lnTo>
                    <a:pt x="70" y="10"/>
                  </a:lnTo>
                  <a:lnTo>
                    <a:pt x="68" y="10"/>
                  </a:lnTo>
                  <a:lnTo>
                    <a:pt x="68" y="10"/>
                  </a:lnTo>
                  <a:lnTo>
                    <a:pt x="64" y="10"/>
                  </a:lnTo>
                  <a:lnTo>
                    <a:pt x="60" y="12"/>
                  </a:lnTo>
                  <a:lnTo>
                    <a:pt x="58" y="12"/>
                  </a:lnTo>
                  <a:lnTo>
                    <a:pt x="54" y="12"/>
                  </a:lnTo>
                  <a:lnTo>
                    <a:pt x="50" y="12"/>
                  </a:lnTo>
                  <a:lnTo>
                    <a:pt x="50" y="12"/>
                  </a:lnTo>
                  <a:lnTo>
                    <a:pt x="48" y="12"/>
                  </a:lnTo>
                  <a:lnTo>
                    <a:pt x="48" y="12"/>
                  </a:lnTo>
                  <a:lnTo>
                    <a:pt x="46" y="10"/>
                  </a:lnTo>
                  <a:lnTo>
                    <a:pt x="42" y="10"/>
                  </a:lnTo>
                  <a:lnTo>
                    <a:pt x="40" y="8"/>
                  </a:lnTo>
                  <a:lnTo>
                    <a:pt x="36" y="6"/>
                  </a:lnTo>
                  <a:lnTo>
                    <a:pt x="30" y="2"/>
                  </a:lnTo>
                  <a:lnTo>
                    <a:pt x="28" y="0"/>
                  </a:lnTo>
                  <a:lnTo>
                    <a:pt x="26" y="0"/>
                  </a:lnTo>
                  <a:lnTo>
                    <a:pt x="22" y="2"/>
                  </a:lnTo>
                  <a:lnTo>
                    <a:pt x="20" y="2"/>
                  </a:lnTo>
                  <a:lnTo>
                    <a:pt x="18" y="4"/>
                  </a:lnTo>
                  <a:lnTo>
                    <a:pt x="16" y="4"/>
                  </a:lnTo>
                  <a:lnTo>
                    <a:pt x="16" y="6"/>
                  </a:lnTo>
                  <a:lnTo>
                    <a:pt x="14" y="6"/>
                  </a:lnTo>
                  <a:lnTo>
                    <a:pt x="14" y="6"/>
                  </a:lnTo>
                  <a:lnTo>
                    <a:pt x="14" y="8"/>
                  </a:lnTo>
                  <a:lnTo>
                    <a:pt x="14" y="10"/>
                  </a:lnTo>
                  <a:lnTo>
                    <a:pt x="14" y="12"/>
                  </a:lnTo>
                  <a:lnTo>
                    <a:pt x="14" y="14"/>
                  </a:lnTo>
                  <a:lnTo>
                    <a:pt x="12" y="20"/>
                  </a:lnTo>
                  <a:lnTo>
                    <a:pt x="12" y="22"/>
                  </a:lnTo>
                  <a:lnTo>
                    <a:pt x="12" y="22"/>
                  </a:lnTo>
                  <a:lnTo>
                    <a:pt x="12" y="24"/>
                  </a:lnTo>
                  <a:lnTo>
                    <a:pt x="12" y="24"/>
                  </a:lnTo>
                  <a:lnTo>
                    <a:pt x="10" y="26"/>
                  </a:lnTo>
                  <a:lnTo>
                    <a:pt x="10" y="28"/>
                  </a:lnTo>
                  <a:lnTo>
                    <a:pt x="8" y="30"/>
                  </a:lnTo>
                  <a:lnTo>
                    <a:pt x="6" y="32"/>
                  </a:lnTo>
                  <a:lnTo>
                    <a:pt x="4" y="34"/>
                  </a:lnTo>
                  <a:lnTo>
                    <a:pt x="2" y="38"/>
                  </a:lnTo>
                  <a:lnTo>
                    <a:pt x="2" y="38"/>
                  </a:lnTo>
                  <a:lnTo>
                    <a:pt x="2" y="40"/>
                  </a:lnTo>
                  <a:lnTo>
                    <a:pt x="0" y="42"/>
                  </a:lnTo>
                  <a:lnTo>
                    <a:pt x="0" y="44"/>
                  </a:lnTo>
                  <a:lnTo>
                    <a:pt x="0" y="44"/>
                  </a:lnTo>
                  <a:lnTo>
                    <a:pt x="2" y="46"/>
                  </a:lnTo>
                  <a:lnTo>
                    <a:pt x="2" y="48"/>
                  </a:lnTo>
                  <a:lnTo>
                    <a:pt x="2" y="48"/>
                  </a:lnTo>
                  <a:lnTo>
                    <a:pt x="4" y="52"/>
                  </a:lnTo>
                  <a:lnTo>
                    <a:pt x="6" y="54"/>
                  </a:lnTo>
                  <a:lnTo>
                    <a:pt x="6" y="56"/>
                  </a:lnTo>
                  <a:lnTo>
                    <a:pt x="8" y="56"/>
                  </a:lnTo>
                  <a:lnTo>
                    <a:pt x="10" y="58"/>
                  </a:lnTo>
                  <a:lnTo>
                    <a:pt x="12" y="60"/>
                  </a:lnTo>
                  <a:lnTo>
                    <a:pt x="14" y="62"/>
                  </a:lnTo>
                  <a:lnTo>
                    <a:pt x="14" y="64"/>
                  </a:lnTo>
                  <a:lnTo>
                    <a:pt x="16" y="64"/>
                  </a:lnTo>
                  <a:lnTo>
                    <a:pt x="16" y="66"/>
                  </a:lnTo>
                  <a:lnTo>
                    <a:pt x="16" y="68"/>
                  </a:lnTo>
                  <a:lnTo>
                    <a:pt x="16" y="72"/>
                  </a:lnTo>
                  <a:lnTo>
                    <a:pt x="18" y="74"/>
                  </a:lnTo>
                  <a:lnTo>
                    <a:pt x="18" y="78"/>
                  </a:lnTo>
                  <a:lnTo>
                    <a:pt x="18" y="84"/>
                  </a:lnTo>
                  <a:lnTo>
                    <a:pt x="18" y="90"/>
                  </a:lnTo>
                  <a:lnTo>
                    <a:pt x="18" y="90"/>
                  </a:lnTo>
                  <a:lnTo>
                    <a:pt x="20" y="92"/>
                  </a:lnTo>
                  <a:lnTo>
                    <a:pt x="20" y="94"/>
                  </a:lnTo>
                  <a:lnTo>
                    <a:pt x="22" y="96"/>
                  </a:lnTo>
                  <a:lnTo>
                    <a:pt x="24" y="98"/>
                  </a:lnTo>
                  <a:lnTo>
                    <a:pt x="24" y="100"/>
                  </a:lnTo>
                  <a:lnTo>
                    <a:pt x="26" y="100"/>
                  </a:lnTo>
                  <a:lnTo>
                    <a:pt x="26" y="100"/>
                  </a:lnTo>
                  <a:lnTo>
                    <a:pt x="28" y="100"/>
                  </a:lnTo>
                  <a:lnTo>
                    <a:pt x="28" y="100"/>
                  </a:lnTo>
                  <a:lnTo>
                    <a:pt x="30" y="100"/>
                  </a:lnTo>
                  <a:lnTo>
                    <a:pt x="30" y="100"/>
                  </a:lnTo>
                  <a:lnTo>
                    <a:pt x="30" y="100"/>
                  </a:lnTo>
                  <a:lnTo>
                    <a:pt x="32" y="98"/>
                  </a:lnTo>
                  <a:lnTo>
                    <a:pt x="36" y="96"/>
                  </a:lnTo>
                  <a:lnTo>
                    <a:pt x="38" y="92"/>
                  </a:lnTo>
                  <a:lnTo>
                    <a:pt x="40" y="90"/>
                  </a:lnTo>
                  <a:lnTo>
                    <a:pt x="42" y="90"/>
                  </a:lnTo>
                  <a:lnTo>
                    <a:pt x="52" y="82"/>
                  </a:lnTo>
                  <a:lnTo>
                    <a:pt x="58" y="78"/>
                  </a:lnTo>
                  <a:lnTo>
                    <a:pt x="60" y="76"/>
                  </a:lnTo>
                  <a:lnTo>
                    <a:pt x="62" y="76"/>
                  </a:lnTo>
                  <a:lnTo>
                    <a:pt x="64" y="74"/>
                  </a:lnTo>
                  <a:lnTo>
                    <a:pt x="66" y="74"/>
                  </a:lnTo>
                  <a:lnTo>
                    <a:pt x="72" y="72"/>
                  </a:lnTo>
                  <a:lnTo>
                    <a:pt x="84" y="66"/>
                  </a:lnTo>
                  <a:lnTo>
                    <a:pt x="90" y="64"/>
                  </a:lnTo>
                  <a:lnTo>
                    <a:pt x="94" y="62"/>
                  </a:lnTo>
                  <a:lnTo>
                    <a:pt x="98" y="60"/>
                  </a:lnTo>
                  <a:lnTo>
                    <a:pt x="100" y="60"/>
                  </a:lnTo>
                  <a:lnTo>
                    <a:pt x="102" y="58"/>
                  </a:lnTo>
                  <a:lnTo>
                    <a:pt x="104" y="56"/>
                  </a:lnTo>
                  <a:lnTo>
                    <a:pt x="104" y="56"/>
                  </a:lnTo>
                  <a:lnTo>
                    <a:pt x="106" y="54"/>
                  </a:lnTo>
                  <a:lnTo>
                    <a:pt x="108" y="52"/>
                  </a:lnTo>
                  <a:lnTo>
                    <a:pt x="112" y="4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9" name="Freeform 478">
              <a:extLst>
                <a:ext uri="{FF2B5EF4-FFF2-40B4-BE49-F238E27FC236}">
                  <a16:creationId xmlns:a16="http://schemas.microsoft.com/office/drawing/2014/main" id="{9716E098-3850-43A5-9573-CFC9DC0BF6DE}"/>
                </a:ext>
              </a:extLst>
            </p:cNvPr>
            <p:cNvSpPr>
              <a:spLocks/>
            </p:cNvSpPr>
            <p:nvPr/>
          </p:nvSpPr>
          <p:spPr bwMode="auto">
            <a:xfrm>
              <a:off x="2253076" y="4632354"/>
              <a:ext cx="193992" cy="173207"/>
            </a:xfrm>
            <a:custGeom>
              <a:avLst/>
              <a:gdLst>
                <a:gd name="T0" fmla="*/ 112 w 112"/>
                <a:gd name="T1" fmla="*/ 46 h 100"/>
                <a:gd name="T2" fmla="*/ 106 w 112"/>
                <a:gd name="T3" fmla="*/ 40 h 100"/>
                <a:gd name="T4" fmla="*/ 100 w 112"/>
                <a:gd name="T5" fmla="*/ 32 h 100"/>
                <a:gd name="T6" fmla="*/ 98 w 112"/>
                <a:gd name="T7" fmla="*/ 30 h 100"/>
                <a:gd name="T8" fmla="*/ 92 w 112"/>
                <a:gd name="T9" fmla="*/ 26 h 100"/>
                <a:gd name="T10" fmla="*/ 86 w 112"/>
                <a:gd name="T11" fmla="*/ 22 h 100"/>
                <a:gd name="T12" fmla="*/ 82 w 112"/>
                <a:gd name="T13" fmla="*/ 20 h 100"/>
                <a:gd name="T14" fmla="*/ 78 w 112"/>
                <a:gd name="T15" fmla="*/ 16 h 100"/>
                <a:gd name="T16" fmla="*/ 76 w 112"/>
                <a:gd name="T17" fmla="*/ 12 h 100"/>
                <a:gd name="T18" fmla="*/ 72 w 112"/>
                <a:gd name="T19" fmla="*/ 10 h 100"/>
                <a:gd name="T20" fmla="*/ 70 w 112"/>
                <a:gd name="T21" fmla="*/ 10 h 100"/>
                <a:gd name="T22" fmla="*/ 68 w 112"/>
                <a:gd name="T23" fmla="*/ 10 h 100"/>
                <a:gd name="T24" fmla="*/ 60 w 112"/>
                <a:gd name="T25" fmla="*/ 12 h 100"/>
                <a:gd name="T26" fmla="*/ 54 w 112"/>
                <a:gd name="T27" fmla="*/ 12 h 100"/>
                <a:gd name="T28" fmla="*/ 50 w 112"/>
                <a:gd name="T29" fmla="*/ 12 h 100"/>
                <a:gd name="T30" fmla="*/ 48 w 112"/>
                <a:gd name="T31" fmla="*/ 12 h 100"/>
                <a:gd name="T32" fmla="*/ 42 w 112"/>
                <a:gd name="T33" fmla="*/ 10 h 100"/>
                <a:gd name="T34" fmla="*/ 36 w 112"/>
                <a:gd name="T35" fmla="*/ 6 h 100"/>
                <a:gd name="T36" fmla="*/ 28 w 112"/>
                <a:gd name="T37" fmla="*/ 0 h 100"/>
                <a:gd name="T38" fmla="*/ 22 w 112"/>
                <a:gd name="T39" fmla="*/ 2 h 100"/>
                <a:gd name="T40" fmla="*/ 18 w 112"/>
                <a:gd name="T41" fmla="*/ 4 h 100"/>
                <a:gd name="T42" fmla="*/ 16 w 112"/>
                <a:gd name="T43" fmla="*/ 6 h 100"/>
                <a:gd name="T44" fmla="*/ 14 w 112"/>
                <a:gd name="T45" fmla="*/ 6 h 100"/>
                <a:gd name="T46" fmla="*/ 14 w 112"/>
                <a:gd name="T47" fmla="*/ 10 h 100"/>
                <a:gd name="T48" fmla="*/ 14 w 112"/>
                <a:gd name="T49" fmla="*/ 14 h 100"/>
                <a:gd name="T50" fmla="*/ 12 w 112"/>
                <a:gd name="T51" fmla="*/ 22 h 100"/>
                <a:gd name="T52" fmla="*/ 12 w 112"/>
                <a:gd name="T53" fmla="*/ 24 h 100"/>
                <a:gd name="T54" fmla="*/ 10 w 112"/>
                <a:gd name="T55" fmla="*/ 26 h 100"/>
                <a:gd name="T56" fmla="*/ 8 w 112"/>
                <a:gd name="T57" fmla="*/ 30 h 100"/>
                <a:gd name="T58" fmla="*/ 4 w 112"/>
                <a:gd name="T59" fmla="*/ 34 h 100"/>
                <a:gd name="T60" fmla="*/ 2 w 112"/>
                <a:gd name="T61" fmla="*/ 38 h 100"/>
                <a:gd name="T62" fmla="*/ 0 w 112"/>
                <a:gd name="T63" fmla="*/ 42 h 100"/>
                <a:gd name="T64" fmla="*/ 0 w 112"/>
                <a:gd name="T65" fmla="*/ 44 h 100"/>
                <a:gd name="T66" fmla="*/ 2 w 112"/>
                <a:gd name="T67" fmla="*/ 48 h 100"/>
                <a:gd name="T68" fmla="*/ 4 w 112"/>
                <a:gd name="T69" fmla="*/ 52 h 100"/>
                <a:gd name="T70" fmla="*/ 6 w 112"/>
                <a:gd name="T71" fmla="*/ 56 h 100"/>
                <a:gd name="T72" fmla="*/ 10 w 112"/>
                <a:gd name="T73" fmla="*/ 58 h 100"/>
                <a:gd name="T74" fmla="*/ 14 w 112"/>
                <a:gd name="T75" fmla="*/ 62 h 100"/>
                <a:gd name="T76" fmla="*/ 16 w 112"/>
                <a:gd name="T77" fmla="*/ 64 h 100"/>
                <a:gd name="T78" fmla="*/ 16 w 112"/>
                <a:gd name="T79" fmla="*/ 68 h 100"/>
                <a:gd name="T80" fmla="*/ 18 w 112"/>
                <a:gd name="T81" fmla="*/ 74 h 100"/>
                <a:gd name="T82" fmla="*/ 18 w 112"/>
                <a:gd name="T83" fmla="*/ 84 h 100"/>
                <a:gd name="T84" fmla="*/ 18 w 112"/>
                <a:gd name="T85" fmla="*/ 90 h 100"/>
                <a:gd name="T86" fmla="*/ 20 w 112"/>
                <a:gd name="T87" fmla="*/ 94 h 100"/>
                <a:gd name="T88" fmla="*/ 24 w 112"/>
                <a:gd name="T89" fmla="*/ 98 h 100"/>
                <a:gd name="T90" fmla="*/ 26 w 112"/>
                <a:gd name="T91" fmla="*/ 100 h 100"/>
                <a:gd name="T92" fmla="*/ 28 w 112"/>
                <a:gd name="T93" fmla="*/ 100 h 100"/>
                <a:gd name="T94" fmla="*/ 30 w 112"/>
                <a:gd name="T95" fmla="*/ 100 h 100"/>
                <a:gd name="T96" fmla="*/ 30 w 112"/>
                <a:gd name="T97" fmla="*/ 100 h 100"/>
                <a:gd name="T98" fmla="*/ 36 w 112"/>
                <a:gd name="T99" fmla="*/ 96 h 100"/>
                <a:gd name="T100" fmla="*/ 40 w 112"/>
                <a:gd name="T101" fmla="*/ 90 h 100"/>
                <a:gd name="T102" fmla="*/ 52 w 112"/>
                <a:gd name="T103" fmla="*/ 82 h 100"/>
                <a:gd name="T104" fmla="*/ 60 w 112"/>
                <a:gd name="T105" fmla="*/ 76 h 100"/>
                <a:gd name="T106" fmla="*/ 64 w 112"/>
                <a:gd name="T107" fmla="*/ 74 h 100"/>
                <a:gd name="T108" fmla="*/ 72 w 112"/>
                <a:gd name="T109" fmla="*/ 72 h 100"/>
                <a:gd name="T110" fmla="*/ 90 w 112"/>
                <a:gd name="T111" fmla="*/ 64 h 100"/>
                <a:gd name="T112" fmla="*/ 98 w 112"/>
                <a:gd name="T113" fmla="*/ 60 h 100"/>
                <a:gd name="T114" fmla="*/ 102 w 112"/>
                <a:gd name="T115" fmla="*/ 58 h 100"/>
                <a:gd name="T116" fmla="*/ 104 w 112"/>
                <a:gd name="T117" fmla="*/ 56 h 100"/>
                <a:gd name="T118" fmla="*/ 108 w 112"/>
                <a:gd name="T119" fmla="*/ 5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2" h="100">
                  <a:moveTo>
                    <a:pt x="112" y="46"/>
                  </a:moveTo>
                  <a:lnTo>
                    <a:pt x="112" y="46"/>
                  </a:lnTo>
                  <a:lnTo>
                    <a:pt x="110" y="44"/>
                  </a:lnTo>
                  <a:lnTo>
                    <a:pt x="106" y="40"/>
                  </a:lnTo>
                  <a:lnTo>
                    <a:pt x="102" y="34"/>
                  </a:lnTo>
                  <a:lnTo>
                    <a:pt x="100" y="32"/>
                  </a:lnTo>
                  <a:lnTo>
                    <a:pt x="98" y="30"/>
                  </a:lnTo>
                  <a:lnTo>
                    <a:pt x="98" y="30"/>
                  </a:lnTo>
                  <a:lnTo>
                    <a:pt x="96" y="28"/>
                  </a:lnTo>
                  <a:lnTo>
                    <a:pt x="92" y="26"/>
                  </a:lnTo>
                  <a:lnTo>
                    <a:pt x="88" y="22"/>
                  </a:lnTo>
                  <a:lnTo>
                    <a:pt x="86" y="22"/>
                  </a:lnTo>
                  <a:lnTo>
                    <a:pt x="84" y="20"/>
                  </a:lnTo>
                  <a:lnTo>
                    <a:pt x="82" y="20"/>
                  </a:lnTo>
                  <a:lnTo>
                    <a:pt x="82" y="18"/>
                  </a:lnTo>
                  <a:lnTo>
                    <a:pt x="78" y="16"/>
                  </a:lnTo>
                  <a:lnTo>
                    <a:pt x="76" y="14"/>
                  </a:lnTo>
                  <a:lnTo>
                    <a:pt x="76" y="12"/>
                  </a:lnTo>
                  <a:lnTo>
                    <a:pt x="74" y="12"/>
                  </a:lnTo>
                  <a:lnTo>
                    <a:pt x="72" y="10"/>
                  </a:lnTo>
                  <a:lnTo>
                    <a:pt x="72" y="10"/>
                  </a:lnTo>
                  <a:lnTo>
                    <a:pt x="70" y="10"/>
                  </a:lnTo>
                  <a:lnTo>
                    <a:pt x="68" y="10"/>
                  </a:lnTo>
                  <a:lnTo>
                    <a:pt x="68" y="10"/>
                  </a:lnTo>
                  <a:lnTo>
                    <a:pt x="64" y="10"/>
                  </a:lnTo>
                  <a:lnTo>
                    <a:pt x="60" y="12"/>
                  </a:lnTo>
                  <a:lnTo>
                    <a:pt x="58" y="12"/>
                  </a:lnTo>
                  <a:lnTo>
                    <a:pt x="54" y="12"/>
                  </a:lnTo>
                  <a:lnTo>
                    <a:pt x="50" y="12"/>
                  </a:lnTo>
                  <a:lnTo>
                    <a:pt x="50" y="12"/>
                  </a:lnTo>
                  <a:lnTo>
                    <a:pt x="48" y="12"/>
                  </a:lnTo>
                  <a:lnTo>
                    <a:pt x="48" y="12"/>
                  </a:lnTo>
                  <a:lnTo>
                    <a:pt x="46" y="10"/>
                  </a:lnTo>
                  <a:lnTo>
                    <a:pt x="42" y="10"/>
                  </a:lnTo>
                  <a:lnTo>
                    <a:pt x="40" y="8"/>
                  </a:lnTo>
                  <a:lnTo>
                    <a:pt x="36" y="6"/>
                  </a:lnTo>
                  <a:lnTo>
                    <a:pt x="30" y="2"/>
                  </a:lnTo>
                  <a:lnTo>
                    <a:pt x="28" y="0"/>
                  </a:lnTo>
                  <a:lnTo>
                    <a:pt x="26" y="0"/>
                  </a:lnTo>
                  <a:lnTo>
                    <a:pt x="22" y="2"/>
                  </a:lnTo>
                  <a:lnTo>
                    <a:pt x="20" y="2"/>
                  </a:lnTo>
                  <a:lnTo>
                    <a:pt x="18" y="4"/>
                  </a:lnTo>
                  <a:lnTo>
                    <a:pt x="16" y="4"/>
                  </a:lnTo>
                  <a:lnTo>
                    <a:pt x="16" y="6"/>
                  </a:lnTo>
                  <a:lnTo>
                    <a:pt x="14" y="6"/>
                  </a:lnTo>
                  <a:lnTo>
                    <a:pt x="14" y="6"/>
                  </a:lnTo>
                  <a:lnTo>
                    <a:pt x="14" y="8"/>
                  </a:lnTo>
                  <a:lnTo>
                    <a:pt x="14" y="10"/>
                  </a:lnTo>
                  <a:lnTo>
                    <a:pt x="14" y="12"/>
                  </a:lnTo>
                  <a:lnTo>
                    <a:pt x="14" y="14"/>
                  </a:lnTo>
                  <a:lnTo>
                    <a:pt x="12" y="20"/>
                  </a:lnTo>
                  <a:lnTo>
                    <a:pt x="12" y="22"/>
                  </a:lnTo>
                  <a:lnTo>
                    <a:pt x="12" y="22"/>
                  </a:lnTo>
                  <a:lnTo>
                    <a:pt x="12" y="24"/>
                  </a:lnTo>
                  <a:lnTo>
                    <a:pt x="12" y="24"/>
                  </a:lnTo>
                  <a:lnTo>
                    <a:pt x="10" y="26"/>
                  </a:lnTo>
                  <a:lnTo>
                    <a:pt x="10" y="28"/>
                  </a:lnTo>
                  <a:lnTo>
                    <a:pt x="8" y="30"/>
                  </a:lnTo>
                  <a:lnTo>
                    <a:pt x="6" y="32"/>
                  </a:lnTo>
                  <a:lnTo>
                    <a:pt x="4" y="34"/>
                  </a:lnTo>
                  <a:lnTo>
                    <a:pt x="2" y="38"/>
                  </a:lnTo>
                  <a:lnTo>
                    <a:pt x="2" y="38"/>
                  </a:lnTo>
                  <a:lnTo>
                    <a:pt x="2" y="40"/>
                  </a:lnTo>
                  <a:lnTo>
                    <a:pt x="0" y="42"/>
                  </a:lnTo>
                  <a:lnTo>
                    <a:pt x="0" y="44"/>
                  </a:lnTo>
                  <a:lnTo>
                    <a:pt x="0" y="44"/>
                  </a:lnTo>
                  <a:lnTo>
                    <a:pt x="2" y="46"/>
                  </a:lnTo>
                  <a:lnTo>
                    <a:pt x="2" y="48"/>
                  </a:lnTo>
                  <a:lnTo>
                    <a:pt x="2" y="48"/>
                  </a:lnTo>
                  <a:lnTo>
                    <a:pt x="4" y="52"/>
                  </a:lnTo>
                  <a:lnTo>
                    <a:pt x="6" y="54"/>
                  </a:lnTo>
                  <a:lnTo>
                    <a:pt x="6" y="56"/>
                  </a:lnTo>
                  <a:lnTo>
                    <a:pt x="8" y="56"/>
                  </a:lnTo>
                  <a:lnTo>
                    <a:pt x="10" y="58"/>
                  </a:lnTo>
                  <a:lnTo>
                    <a:pt x="12" y="60"/>
                  </a:lnTo>
                  <a:lnTo>
                    <a:pt x="14" y="62"/>
                  </a:lnTo>
                  <a:lnTo>
                    <a:pt x="14" y="64"/>
                  </a:lnTo>
                  <a:lnTo>
                    <a:pt x="16" y="64"/>
                  </a:lnTo>
                  <a:lnTo>
                    <a:pt x="16" y="66"/>
                  </a:lnTo>
                  <a:lnTo>
                    <a:pt x="16" y="68"/>
                  </a:lnTo>
                  <a:lnTo>
                    <a:pt x="16" y="72"/>
                  </a:lnTo>
                  <a:lnTo>
                    <a:pt x="18" y="74"/>
                  </a:lnTo>
                  <a:lnTo>
                    <a:pt x="18" y="78"/>
                  </a:lnTo>
                  <a:lnTo>
                    <a:pt x="18" y="84"/>
                  </a:lnTo>
                  <a:lnTo>
                    <a:pt x="18" y="90"/>
                  </a:lnTo>
                  <a:lnTo>
                    <a:pt x="18" y="90"/>
                  </a:lnTo>
                  <a:lnTo>
                    <a:pt x="20" y="92"/>
                  </a:lnTo>
                  <a:lnTo>
                    <a:pt x="20" y="94"/>
                  </a:lnTo>
                  <a:lnTo>
                    <a:pt x="22" y="96"/>
                  </a:lnTo>
                  <a:lnTo>
                    <a:pt x="24" y="98"/>
                  </a:lnTo>
                  <a:lnTo>
                    <a:pt x="24" y="100"/>
                  </a:lnTo>
                  <a:lnTo>
                    <a:pt x="26" y="100"/>
                  </a:lnTo>
                  <a:lnTo>
                    <a:pt x="26" y="100"/>
                  </a:lnTo>
                  <a:lnTo>
                    <a:pt x="28" y="100"/>
                  </a:lnTo>
                  <a:lnTo>
                    <a:pt x="28" y="100"/>
                  </a:lnTo>
                  <a:lnTo>
                    <a:pt x="30" y="100"/>
                  </a:lnTo>
                  <a:lnTo>
                    <a:pt x="30" y="100"/>
                  </a:lnTo>
                  <a:lnTo>
                    <a:pt x="30" y="100"/>
                  </a:lnTo>
                  <a:lnTo>
                    <a:pt x="32" y="98"/>
                  </a:lnTo>
                  <a:lnTo>
                    <a:pt x="36" y="96"/>
                  </a:lnTo>
                  <a:lnTo>
                    <a:pt x="38" y="92"/>
                  </a:lnTo>
                  <a:lnTo>
                    <a:pt x="40" y="90"/>
                  </a:lnTo>
                  <a:lnTo>
                    <a:pt x="42" y="90"/>
                  </a:lnTo>
                  <a:lnTo>
                    <a:pt x="52" y="82"/>
                  </a:lnTo>
                  <a:lnTo>
                    <a:pt x="58" y="78"/>
                  </a:lnTo>
                  <a:lnTo>
                    <a:pt x="60" y="76"/>
                  </a:lnTo>
                  <a:lnTo>
                    <a:pt x="62" y="76"/>
                  </a:lnTo>
                  <a:lnTo>
                    <a:pt x="64" y="74"/>
                  </a:lnTo>
                  <a:lnTo>
                    <a:pt x="66" y="74"/>
                  </a:lnTo>
                  <a:lnTo>
                    <a:pt x="72" y="72"/>
                  </a:lnTo>
                  <a:lnTo>
                    <a:pt x="84" y="66"/>
                  </a:lnTo>
                  <a:lnTo>
                    <a:pt x="90" y="64"/>
                  </a:lnTo>
                  <a:lnTo>
                    <a:pt x="94" y="62"/>
                  </a:lnTo>
                  <a:lnTo>
                    <a:pt x="98" y="60"/>
                  </a:lnTo>
                  <a:lnTo>
                    <a:pt x="100" y="60"/>
                  </a:lnTo>
                  <a:lnTo>
                    <a:pt x="102" y="58"/>
                  </a:lnTo>
                  <a:lnTo>
                    <a:pt x="104" y="56"/>
                  </a:lnTo>
                  <a:lnTo>
                    <a:pt x="104" y="56"/>
                  </a:lnTo>
                  <a:lnTo>
                    <a:pt x="106" y="54"/>
                  </a:lnTo>
                  <a:lnTo>
                    <a:pt x="108" y="52"/>
                  </a:lnTo>
                  <a:lnTo>
                    <a:pt x="112" y="4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0" name="Freeform 479">
              <a:extLst>
                <a:ext uri="{FF2B5EF4-FFF2-40B4-BE49-F238E27FC236}">
                  <a16:creationId xmlns:a16="http://schemas.microsoft.com/office/drawing/2014/main" id="{7BE539AE-042A-46E8-8726-8B33681D449F}"/>
                </a:ext>
              </a:extLst>
            </p:cNvPr>
            <p:cNvSpPr>
              <a:spLocks/>
            </p:cNvSpPr>
            <p:nvPr/>
          </p:nvSpPr>
          <p:spPr bwMode="auto">
            <a:xfrm>
              <a:off x="2301574" y="4303260"/>
              <a:ext cx="294453" cy="429555"/>
            </a:xfrm>
            <a:custGeom>
              <a:avLst/>
              <a:gdLst>
                <a:gd name="T0" fmla="*/ 34 w 170"/>
                <a:gd name="T1" fmla="*/ 72 h 248"/>
                <a:gd name="T2" fmla="*/ 40 w 170"/>
                <a:gd name="T3" fmla="*/ 76 h 248"/>
                <a:gd name="T4" fmla="*/ 42 w 170"/>
                <a:gd name="T5" fmla="*/ 72 h 248"/>
                <a:gd name="T6" fmla="*/ 42 w 170"/>
                <a:gd name="T7" fmla="*/ 56 h 248"/>
                <a:gd name="T8" fmla="*/ 46 w 170"/>
                <a:gd name="T9" fmla="*/ 52 h 248"/>
                <a:gd name="T10" fmla="*/ 56 w 170"/>
                <a:gd name="T11" fmla="*/ 50 h 248"/>
                <a:gd name="T12" fmla="*/ 58 w 170"/>
                <a:gd name="T13" fmla="*/ 44 h 248"/>
                <a:gd name="T14" fmla="*/ 58 w 170"/>
                <a:gd name="T15" fmla="*/ 34 h 248"/>
                <a:gd name="T16" fmla="*/ 68 w 170"/>
                <a:gd name="T17" fmla="*/ 24 h 248"/>
                <a:gd name="T18" fmla="*/ 78 w 170"/>
                <a:gd name="T19" fmla="*/ 20 h 248"/>
                <a:gd name="T20" fmla="*/ 90 w 170"/>
                <a:gd name="T21" fmla="*/ 20 h 248"/>
                <a:gd name="T22" fmla="*/ 94 w 170"/>
                <a:gd name="T23" fmla="*/ 14 h 248"/>
                <a:gd name="T24" fmla="*/ 96 w 170"/>
                <a:gd name="T25" fmla="*/ 6 h 248"/>
                <a:gd name="T26" fmla="*/ 104 w 170"/>
                <a:gd name="T27" fmla="*/ 2 h 248"/>
                <a:gd name="T28" fmla="*/ 112 w 170"/>
                <a:gd name="T29" fmla="*/ 4 h 248"/>
                <a:gd name="T30" fmla="*/ 104 w 170"/>
                <a:gd name="T31" fmla="*/ 18 h 248"/>
                <a:gd name="T32" fmla="*/ 100 w 170"/>
                <a:gd name="T33" fmla="*/ 32 h 248"/>
                <a:gd name="T34" fmla="*/ 96 w 170"/>
                <a:gd name="T35" fmla="*/ 44 h 248"/>
                <a:gd name="T36" fmla="*/ 88 w 170"/>
                <a:gd name="T37" fmla="*/ 48 h 248"/>
                <a:gd name="T38" fmla="*/ 86 w 170"/>
                <a:gd name="T39" fmla="*/ 52 h 248"/>
                <a:gd name="T40" fmla="*/ 94 w 170"/>
                <a:gd name="T41" fmla="*/ 60 h 248"/>
                <a:gd name="T42" fmla="*/ 100 w 170"/>
                <a:gd name="T43" fmla="*/ 68 h 248"/>
                <a:gd name="T44" fmla="*/ 96 w 170"/>
                <a:gd name="T45" fmla="*/ 78 h 248"/>
                <a:gd name="T46" fmla="*/ 96 w 170"/>
                <a:gd name="T47" fmla="*/ 86 h 248"/>
                <a:gd name="T48" fmla="*/ 104 w 170"/>
                <a:gd name="T49" fmla="*/ 86 h 248"/>
                <a:gd name="T50" fmla="*/ 120 w 170"/>
                <a:gd name="T51" fmla="*/ 86 h 248"/>
                <a:gd name="T52" fmla="*/ 122 w 170"/>
                <a:gd name="T53" fmla="*/ 88 h 248"/>
                <a:gd name="T54" fmla="*/ 124 w 170"/>
                <a:gd name="T55" fmla="*/ 96 h 248"/>
                <a:gd name="T56" fmla="*/ 130 w 170"/>
                <a:gd name="T57" fmla="*/ 100 h 248"/>
                <a:gd name="T58" fmla="*/ 150 w 170"/>
                <a:gd name="T59" fmla="*/ 108 h 248"/>
                <a:gd name="T60" fmla="*/ 166 w 170"/>
                <a:gd name="T61" fmla="*/ 112 h 248"/>
                <a:gd name="T62" fmla="*/ 170 w 170"/>
                <a:gd name="T63" fmla="*/ 122 h 248"/>
                <a:gd name="T64" fmla="*/ 168 w 170"/>
                <a:gd name="T65" fmla="*/ 144 h 248"/>
                <a:gd name="T66" fmla="*/ 162 w 170"/>
                <a:gd name="T67" fmla="*/ 162 h 248"/>
                <a:gd name="T68" fmla="*/ 150 w 170"/>
                <a:gd name="T69" fmla="*/ 178 h 248"/>
                <a:gd name="T70" fmla="*/ 138 w 170"/>
                <a:gd name="T71" fmla="*/ 184 h 248"/>
                <a:gd name="T72" fmla="*/ 134 w 170"/>
                <a:gd name="T73" fmla="*/ 192 h 248"/>
                <a:gd name="T74" fmla="*/ 138 w 170"/>
                <a:gd name="T75" fmla="*/ 196 h 248"/>
                <a:gd name="T76" fmla="*/ 140 w 170"/>
                <a:gd name="T77" fmla="*/ 200 h 248"/>
                <a:gd name="T78" fmla="*/ 134 w 170"/>
                <a:gd name="T79" fmla="*/ 204 h 248"/>
                <a:gd name="T80" fmla="*/ 132 w 170"/>
                <a:gd name="T81" fmla="*/ 210 h 248"/>
                <a:gd name="T82" fmla="*/ 136 w 170"/>
                <a:gd name="T83" fmla="*/ 232 h 248"/>
                <a:gd name="T84" fmla="*/ 138 w 170"/>
                <a:gd name="T85" fmla="*/ 244 h 248"/>
                <a:gd name="T86" fmla="*/ 134 w 170"/>
                <a:gd name="T87" fmla="*/ 248 h 248"/>
                <a:gd name="T88" fmla="*/ 122 w 170"/>
                <a:gd name="T89" fmla="*/ 248 h 248"/>
                <a:gd name="T90" fmla="*/ 108 w 170"/>
                <a:gd name="T91" fmla="*/ 238 h 248"/>
                <a:gd name="T92" fmla="*/ 84 w 170"/>
                <a:gd name="T93" fmla="*/ 238 h 248"/>
                <a:gd name="T94" fmla="*/ 70 w 170"/>
                <a:gd name="T95" fmla="*/ 220 h 248"/>
                <a:gd name="T96" fmla="*/ 56 w 170"/>
                <a:gd name="T97" fmla="*/ 210 h 248"/>
                <a:gd name="T98" fmla="*/ 46 w 170"/>
                <a:gd name="T99" fmla="*/ 200 h 248"/>
                <a:gd name="T100" fmla="*/ 34 w 170"/>
                <a:gd name="T101" fmla="*/ 202 h 248"/>
                <a:gd name="T102" fmla="*/ 20 w 170"/>
                <a:gd name="T103" fmla="*/ 202 h 248"/>
                <a:gd name="T104" fmla="*/ 0 w 170"/>
                <a:gd name="T105" fmla="*/ 190 h 248"/>
                <a:gd name="T106" fmla="*/ 12 w 170"/>
                <a:gd name="T107" fmla="*/ 170 h 248"/>
                <a:gd name="T108" fmla="*/ 14 w 170"/>
                <a:gd name="T109" fmla="*/ 164 h 248"/>
                <a:gd name="T110" fmla="*/ 22 w 170"/>
                <a:gd name="T111" fmla="*/ 164 h 248"/>
                <a:gd name="T112" fmla="*/ 28 w 170"/>
                <a:gd name="T113" fmla="*/ 162 h 248"/>
                <a:gd name="T114" fmla="*/ 32 w 170"/>
                <a:gd name="T115" fmla="*/ 150 h 248"/>
                <a:gd name="T116" fmla="*/ 30 w 170"/>
                <a:gd name="T117" fmla="*/ 11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 h="248">
                  <a:moveTo>
                    <a:pt x="24" y="96"/>
                  </a:moveTo>
                  <a:lnTo>
                    <a:pt x="26" y="64"/>
                  </a:lnTo>
                  <a:lnTo>
                    <a:pt x="28" y="66"/>
                  </a:lnTo>
                  <a:lnTo>
                    <a:pt x="30" y="68"/>
                  </a:lnTo>
                  <a:lnTo>
                    <a:pt x="32" y="70"/>
                  </a:lnTo>
                  <a:lnTo>
                    <a:pt x="34" y="72"/>
                  </a:lnTo>
                  <a:lnTo>
                    <a:pt x="36" y="74"/>
                  </a:lnTo>
                  <a:lnTo>
                    <a:pt x="36" y="74"/>
                  </a:lnTo>
                  <a:lnTo>
                    <a:pt x="38" y="76"/>
                  </a:lnTo>
                  <a:lnTo>
                    <a:pt x="38" y="76"/>
                  </a:lnTo>
                  <a:lnTo>
                    <a:pt x="40" y="76"/>
                  </a:lnTo>
                  <a:lnTo>
                    <a:pt x="40" y="76"/>
                  </a:lnTo>
                  <a:lnTo>
                    <a:pt x="40" y="76"/>
                  </a:lnTo>
                  <a:lnTo>
                    <a:pt x="40" y="76"/>
                  </a:lnTo>
                  <a:lnTo>
                    <a:pt x="42" y="74"/>
                  </a:lnTo>
                  <a:lnTo>
                    <a:pt x="42" y="74"/>
                  </a:lnTo>
                  <a:lnTo>
                    <a:pt x="42" y="72"/>
                  </a:lnTo>
                  <a:lnTo>
                    <a:pt x="42" y="72"/>
                  </a:lnTo>
                  <a:lnTo>
                    <a:pt x="42" y="70"/>
                  </a:lnTo>
                  <a:lnTo>
                    <a:pt x="42" y="66"/>
                  </a:lnTo>
                  <a:lnTo>
                    <a:pt x="42" y="62"/>
                  </a:lnTo>
                  <a:lnTo>
                    <a:pt x="42" y="60"/>
                  </a:lnTo>
                  <a:lnTo>
                    <a:pt x="42" y="58"/>
                  </a:lnTo>
                  <a:lnTo>
                    <a:pt x="42" y="56"/>
                  </a:lnTo>
                  <a:lnTo>
                    <a:pt x="42" y="56"/>
                  </a:lnTo>
                  <a:lnTo>
                    <a:pt x="42" y="54"/>
                  </a:lnTo>
                  <a:lnTo>
                    <a:pt x="44" y="54"/>
                  </a:lnTo>
                  <a:lnTo>
                    <a:pt x="44" y="54"/>
                  </a:lnTo>
                  <a:lnTo>
                    <a:pt x="44" y="54"/>
                  </a:lnTo>
                  <a:lnTo>
                    <a:pt x="46" y="52"/>
                  </a:lnTo>
                  <a:lnTo>
                    <a:pt x="48" y="52"/>
                  </a:lnTo>
                  <a:lnTo>
                    <a:pt x="50" y="52"/>
                  </a:lnTo>
                  <a:lnTo>
                    <a:pt x="52" y="52"/>
                  </a:lnTo>
                  <a:lnTo>
                    <a:pt x="54" y="50"/>
                  </a:lnTo>
                  <a:lnTo>
                    <a:pt x="56" y="50"/>
                  </a:lnTo>
                  <a:lnTo>
                    <a:pt x="56" y="50"/>
                  </a:lnTo>
                  <a:lnTo>
                    <a:pt x="58" y="50"/>
                  </a:lnTo>
                  <a:lnTo>
                    <a:pt x="58" y="48"/>
                  </a:lnTo>
                  <a:lnTo>
                    <a:pt x="58" y="48"/>
                  </a:lnTo>
                  <a:lnTo>
                    <a:pt x="58" y="46"/>
                  </a:lnTo>
                  <a:lnTo>
                    <a:pt x="58" y="46"/>
                  </a:lnTo>
                  <a:lnTo>
                    <a:pt x="58" y="44"/>
                  </a:lnTo>
                  <a:lnTo>
                    <a:pt x="58" y="42"/>
                  </a:lnTo>
                  <a:lnTo>
                    <a:pt x="58" y="40"/>
                  </a:lnTo>
                  <a:lnTo>
                    <a:pt x="58" y="38"/>
                  </a:lnTo>
                  <a:lnTo>
                    <a:pt x="58" y="36"/>
                  </a:lnTo>
                  <a:lnTo>
                    <a:pt x="58" y="34"/>
                  </a:lnTo>
                  <a:lnTo>
                    <a:pt x="58" y="34"/>
                  </a:lnTo>
                  <a:lnTo>
                    <a:pt x="58" y="32"/>
                  </a:lnTo>
                  <a:lnTo>
                    <a:pt x="60" y="30"/>
                  </a:lnTo>
                  <a:lnTo>
                    <a:pt x="62" y="28"/>
                  </a:lnTo>
                  <a:lnTo>
                    <a:pt x="64" y="26"/>
                  </a:lnTo>
                  <a:lnTo>
                    <a:pt x="66" y="24"/>
                  </a:lnTo>
                  <a:lnTo>
                    <a:pt x="68" y="24"/>
                  </a:lnTo>
                  <a:lnTo>
                    <a:pt x="70" y="22"/>
                  </a:lnTo>
                  <a:lnTo>
                    <a:pt x="72" y="20"/>
                  </a:lnTo>
                  <a:lnTo>
                    <a:pt x="74" y="20"/>
                  </a:lnTo>
                  <a:lnTo>
                    <a:pt x="74" y="20"/>
                  </a:lnTo>
                  <a:lnTo>
                    <a:pt x="76" y="20"/>
                  </a:lnTo>
                  <a:lnTo>
                    <a:pt x="78" y="20"/>
                  </a:lnTo>
                  <a:lnTo>
                    <a:pt x="80" y="20"/>
                  </a:lnTo>
                  <a:lnTo>
                    <a:pt x="84" y="20"/>
                  </a:lnTo>
                  <a:lnTo>
                    <a:pt x="86" y="20"/>
                  </a:lnTo>
                  <a:lnTo>
                    <a:pt x="88" y="20"/>
                  </a:lnTo>
                  <a:lnTo>
                    <a:pt x="90" y="20"/>
                  </a:lnTo>
                  <a:lnTo>
                    <a:pt x="90" y="20"/>
                  </a:lnTo>
                  <a:lnTo>
                    <a:pt x="92" y="18"/>
                  </a:lnTo>
                  <a:lnTo>
                    <a:pt x="92" y="18"/>
                  </a:lnTo>
                  <a:lnTo>
                    <a:pt x="92" y="18"/>
                  </a:lnTo>
                  <a:lnTo>
                    <a:pt x="92" y="18"/>
                  </a:lnTo>
                  <a:lnTo>
                    <a:pt x="94" y="16"/>
                  </a:lnTo>
                  <a:lnTo>
                    <a:pt x="94" y="14"/>
                  </a:lnTo>
                  <a:lnTo>
                    <a:pt x="94" y="12"/>
                  </a:lnTo>
                  <a:lnTo>
                    <a:pt x="94" y="10"/>
                  </a:lnTo>
                  <a:lnTo>
                    <a:pt x="96" y="8"/>
                  </a:lnTo>
                  <a:lnTo>
                    <a:pt x="96" y="6"/>
                  </a:lnTo>
                  <a:lnTo>
                    <a:pt x="96" y="6"/>
                  </a:lnTo>
                  <a:lnTo>
                    <a:pt x="96" y="6"/>
                  </a:lnTo>
                  <a:lnTo>
                    <a:pt x="98" y="6"/>
                  </a:lnTo>
                  <a:lnTo>
                    <a:pt x="98" y="4"/>
                  </a:lnTo>
                  <a:lnTo>
                    <a:pt x="100" y="4"/>
                  </a:lnTo>
                  <a:lnTo>
                    <a:pt x="102" y="2"/>
                  </a:lnTo>
                  <a:lnTo>
                    <a:pt x="102" y="2"/>
                  </a:lnTo>
                  <a:lnTo>
                    <a:pt x="104" y="2"/>
                  </a:lnTo>
                  <a:lnTo>
                    <a:pt x="106" y="0"/>
                  </a:lnTo>
                  <a:lnTo>
                    <a:pt x="106" y="0"/>
                  </a:lnTo>
                  <a:lnTo>
                    <a:pt x="108" y="0"/>
                  </a:lnTo>
                  <a:lnTo>
                    <a:pt x="110" y="2"/>
                  </a:lnTo>
                  <a:lnTo>
                    <a:pt x="110" y="2"/>
                  </a:lnTo>
                  <a:lnTo>
                    <a:pt x="112" y="4"/>
                  </a:lnTo>
                  <a:lnTo>
                    <a:pt x="114" y="6"/>
                  </a:lnTo>
                  <a:lnTo>
                    <a:pt x="114" y="6"/>
                  </a:lnTo>
                  <a:lnTo>
                    <a:pt x="114" y="8"/>
                  </a:lnTo>
                  <a:lnTo>
                    <a:pt x="110" y="12"/>
                  </a:lnTo>
                  <a:lnTo>
                    <a:pt x="106" y="16"/>
                  </a:lnTo>
                  <a:lnTo>
                    <a:pt x="104" y="18"/>
                  </a:lnTo>
                  <a:lnTo>
                    <a:pt x="104" y="20"/>
                  </a:lnTo>
                  <a:lnTo>
                    <a:pt x="102" y="20"/>
                  </a:lnTo>
                  <a:lnTo>
                    <a:pt x="102" y="22"/>
                  </a:lnTo>
                  <a:lnTo>
                    <a:pt x="102" y="24"/>
                  </a:lnTo>
                  <a:lnTo>
                    <a:pt x="100" y="28"/>
                  </a:lnTo>
                  <a:lnTo>
                    <a:pt x="100" y="32"/>
                  </a:lnTo>
                  <a:lnTo>
                    <a:pt x="100" y="36"/>
                  </a:lnTo>
                  <a:lnTo>
                    <a:pt x="98" y="38"/>
                  </a:lnTo>
                  <a:lnTo>
                    <a:pt x="98" y="40"/>
                  </a:lnTo>
                  <a:lnTo>
                    <a:pt x="98" y="42"/>
                  </a:lnTo>
                  <a:lnTo>
                    <a:pt x="98" y="42"/>
                  </a:lnTo>
                  <a:lnTo>
                    <a:pt x="96" y="44"/>
                  </a:lnTo>
                  <a:lnTo>
                    <a:pt x="96" y="44"/>
                  </a:lnTo>
                  <a:lnTo>
                    <a:pt x="96" y="44"/>
                  </a:lnTo>
                  <a:lnTo>
                    <a:pt x="94" y="44"/>
                  </a:lnTo>
                  <a:lnTo>
                    <a:pt x="92" y="46"/>
                  </a:lnTo>
                  <a:lnTo>
                    <a:pt x="90" y="48"/>
                  </a:lnTo>
                  <a:lnTo>
                    <a:pt x="88" y="48"/>
                  </a:lnTo>
                  <a:lnTo>
                    <a:pt x="88" y="48"/>
                  </a:lnTo>
                  <a:lnTo>
                    <a:pt x="88" y="48"/>
                  </a:lnTo>
                  <a:lnTo>
                    <a:pt x="86" y="50"/>
                  </a:lnTo>
                  <a:lnTo>
                    <a:pt x="86" y="50"/>
                  </a:lnTo>
                  <a:lnTo>
                    <a:pt x="86" y="50"/>
                  </a:lnTo>
                  <a:lnTo>
                    <a:pt x="86" y="52"/>
                  </a:lnTo>
                  <a:lnTo>
                    <a:pt x="88" y="52"/>
                  </a:lnTo>
                  <a:lnTo>
                    <a:pt x="88" y="54"/>
                  </a:lnTo>
                  <a:lnTo>
                    <a:pt x="88" y="56"/>
                  </a:lnTo>
                  <a:lnTo>
                    <a:pt x="90" y="56"/>
                  </a:lnTo>
                  <a:lnTo>
                    <a:pt x="92" y="58"/>
                  </a:lnTo>
                  <a:lnTo>
                    <a:pt x="94" y="60"/>
                  </a:lnTo>
                  <a:lnTo>
                    <a:pt x="96" y="64"/>
                  </a:lnTo>
                  <a:lnTo>
                    <a:pt x="98" y="64"/>
                  </a:lnTo>
                  <a:lnTo>
                    <a:pt x="98" y="66"/>
                  </a:lnTo>
                  <a:lnTo>
                    <a:pt x="98" y="66"/>
                  </a:lnTo>
                  <a:lnTo>
                    <a:pt x="100" y="68"/>
                  </a:lnTo>
                  <a:lnTo>
                    <a:pt x="100" y="68"/>
                  </a:lnTo>
                  <a:lnTo>
                    <a:pt x="100" y="70"/>
                  </a:lnTo>
                  <a:lnTo>
                    <a:pt x="100" y="70"/>
                  </a:lnTo>
                  <a:lnTo>
                    <a:pt x="98" y="72"/>
                  </a:lnTo>
                  <a:lnTo>
                    <a:pt x="98" y="74"/>
                  </a:lnTo>
                  <a:lnTo>
                    <a:pt x="96" y="76"/>
                  </a:lnTo>
                  <a:lnTo>
                    <a:pt x="96" y="78"/>
                  </a:lnTo>
                  <a:lnTo>
                    <a:pt x="96" y="82"/>
                  </a:lnTo>
                  <a:lnTo>
                    <a:pt x="94" y="82"/>
                  </a:lnTo>
                  <a:lnTo>
                    <a:pt x="94" y="84"/>
                  </a:lnTo>
                  <a:lnTo>
                    <a:pt x="96" y="84"/>
                  </a:lnTo>
                  <a:lnTo>
                    <a:pt x="96" y="84"/>
                  </a:lnTo>
                  <a:lnTo>
                    <a:pt x="96" y="86"/>
                  </a:lnTo>
                  <a:lnTo>
                    <a:pt x="96" y="86"/>
                  </a:lnTo>
                  <a:lnTo>
                    <a:pt x="98" y="86"/>
                  </a:lnTo>
                  <a:lnTo>
                    <a:pt x="100" y="86"/>
                  </a:lnTo>
                  <a:lnTo>
                    <a:pt x="100" y="86"/>
                  </a:lnTo>
                  <a:lnTo>
                    <a:pt x="102" y="86"/>
                  </a:lnTo>
                  <a:lnTo>
                    <a:pt x="104" y="86"/>
                  </a:lnTo>
                  <a:lnTo>
                    <a:pt x="108" y="86"/>
                  </a:lnTo>
                  <a:lnTo>
                    <a:pt x="112" y="86"/>
                  </a:lnTo>
                  <a:lnTo>
                    <a:pt x="114" y="86"/>
                  </a:lnTo>
                  <a:lnTo>
                    <a:pt x="116" y="84"/>
                  </a:lnTo>
                  <a:lnTo>
                    <a:pt x="118" y="84"/>
                  </a:lnTo>
                  <a:lnTo>
                    <a:pt x="120" y="86"/>
                  </a:lnTo>
                  <a:lnTo>
                    <a:pt x="122" y="86"/>
                  </a:lnTo>
                  <a:lnTo>
                    <a:pt x="122" y="86"/>
                  </a:lnTo>
                  <a:lnTo>
                    <a:pt x="122" y="86"/>
                  </a:lnTo>
                  <a:lnTo>
                    <a:pt x="122" y="86"/>
                  </a:lnTo>
                  <a:lnTo>
                    <a:pt x="122" y="88"/>
                  </a:lnTo>
                  <a:lnTo>
                    <a:pt x="122" y="88"/>
                  </a:lnTo>
                  <a:lnTo>
                    <a:pt x="122" y="90"/>
                  </a:lnTo>
                  <a:lnTo>
                    <a:pt x="122" y="92"/>
                  </a:lnTo>
                  <a:lnTo>
                    <a:pt x="122" y="92"/>
                  </a:lnTo>
                  <a:lnTo>
                    <a:pt x="122" y="94"/>
                  </a:lnTo>
                  <a:lnTo>
                    <a:pt x="122" y="96"/>
                  </a:lnTo>
                  <a:lnTo>
                    <a:pt x="124" y="96"/>
                  </a:lnTo>
                  <a:lnTo>
                    <a:pt x="124" y="96"/>
                  </a:lnTo>
                  <a:lnTo>
                    <a:pt x="124" y="98"/>
                  </a:lnTo>
                  <a:lnTo>
                    <a:pt x="124" y="98"/>
                  </a:lnTo>
                  <a:lnTo>
                    <a:pt x="126" y="98"/>
                  </a:lnTo>
                  <a:lnTo>
                    <a:pt x="128" y="100"/>
                  </a:lnTo>
                  <a:lnTo>
                    <a:pt x="130" y="100"/>
                  </a:lnTo>
                  <a:lnTo>
                    <a:pt x="134" y="102"/>
                  </a:lnTo>
                  <a:lnTo>
                    <a:pt x="136" y="104"/>
                  </a:lnTo>
                  <a:lnTo>
                    <a:pt x="140" y="104"/>
                  </a:lnTo>
                  <a:lnTo>
                    <a:pt x="144" y="106"/>
                  </a:lnTo>
                  <a:lnTo>
                    <a:pt x="148" y="108"/>
                  </a:lnTo>
                  <a:lnTo>
                    <a:pt x="150" y="108"/>
                  </a:lnTo>
                  <a:lnTo>
                    <a:pt x="156" y="110"/>
                  </a:lnTo>
                  <a:lnTo>
                    <a:pt x="160" y="110"/>
                  </a:lnTo>
                  <a:lnTo>
                    <a:pt x="164" y="110"/>
                  </a:lnTo>
                  <a:lnTo>
                    <a:pt x="164" y="112"/>
                  </a:lnTo>
                  <a:lnTo>
                    <a:pt x="166" y="112"/>
                  </a:lnTo>
                  <a:lnTo>
                    <a:pt x="166" y="112"/>
                  </a:lnTo>
                  <a:lnTo>
                    <a:pt x="168" y="114"/>
                  </a:lnTo>
                  <a:lnTo>
                    <a:pt x="168" y="116"/>
                  </a:lnTo>
                  <a:lnTo>
                    <a:pt x="168" y="116"/>
                  </a:lnTo>
                  <a:lnTo>
                    <a:pt x="170" y="118"/>
                  </a:lnTo>
                  <a:lnTo>
                    <a:pt x="170" y="120"/>
                  </a:lnTo>
                  <a:lnTo>
                    <a:pt x="170" y="122"/>
                  </a:lnTo>
                  <a:lnTo>
                    <a:pt x="170" y="124"/>
                  </a:lnTo>
                  <a:lnTo>
                    <a:pt x="170" y="128"/>
                  </a:lnTo>
                  <a:lnTo>
                    <a:pt x="168" y="132"/>
                  </a:lnTo>
                  <a:lnTo>
                    <a:pt x="168" y="136"/>
                  </a:lnTo>
                  <a:lnTo>
                    <a:pt x="168" y="142"/>
                  </a:lnTo>
                  <a:lnTo>
                    <a:pt x="168" y="144"/>
                  </a:lnTo>
                  <a:lnTo>
                    <a:pt x="166" y="146"/>
                  </a:lnTo>
                  <a:lnTo>
                    <a:pt x="164" y="152"/>
                  </a:lnTo>
                  <a:lnTo>
                    <a:pt x="164" y="156"/>
                  </a:lnTo>
                  <a:lnTo>
                    <a:pt x="162" y="158"/>
                  </a:lnTo>
                  <a:lnTo>
                    <a:pt x="162" y="160"/>
                  </a:lnTo>
                  <a:lnTo>
                    <a:pt x="162" y="162"/>
                  </a:lnTo>
                  <a:lnTo>
                    <a:pt x="162" y="164"/>
                  </a:lnTo>
                  <a:lnTo>
                    <a:pt x="164" y="168"/>
                  </a:lnTo>
                  <a:lnTo>
                    <a:pt x="164" y="174"/>
                  </a:lnTo>
                  <a:lnTo>
                    <a:pt x="162" y="176"/>
                  </a:lnTo>
                  <a:lnTo>
                    <a:pt x="154" y="176"/>
                  </a:lnTo>
                  <a:lnTo>
                    <a:pt x="150" y="178"/>
                  </a:lnTo>
                  <a:lnTo>
                    <a:pt x="146" y="180"/>
                  </a:lnTo>
                  <a:lnTo>
                    <a:pt x="142" y="182"/>
                  </a:lnTo>
                  <a:lnTo>
                    <a:pt x="140" y="182"/>
                  </a:lnTo>
                  <a:lnTo>
                    <a:pt x="140" y="182"/>
                  </a:lnTo>
                  <a:lnTo>
                    <a:pt x="138" y="184"/>
                  </a:lnTo>
                  <a:lnTo>
                    <a:pt x="138" y="184"/>
                  </a:lnTo>
                  <a:lnTo>
                    <a:pt x="136" y="186"/>
                  </a:lnTo>
                  <a:lnTo>
                    <a:pt x="136" y="188"/>
                  </a:lnTo>
                  <a:lnTo>
                    <a:pt x="134" y="190"/>
                  </a:lnTo>
                  <a:lnTo>
                    <a:pt x="134" y="190"/>
                  </a:lnTo>
                  <a:lnTo>
                    <a:pt x="134" y="192"/>
                  </a:lnTo>
                  <a:lnTo>
                    <a:pt x="134" y="192"/>
                  </a:lnTo>
                  <a:lnTo>
                    <a:pt x="134" y="194"/>
                  </a:lnTo>
                  <a:lnTo>
                    <a:pt x="134" y="194"/>
                  </a:lnTo>
                  <a:lnTo>
                    <a:pt x="134" y="194"/>
                  </a:lnTo>
                  <a:lnTo>
                    <a:pt x="134" y="194"/>
                  </a:lnTo>
                  <a:lnTo>
                    <a:pt x="136" y="196"/>
                  </a:lnTo>
                  <a:lnTo>
                    <a:pt x="138" y="196"/>
                  </a:lnTo>
                  <a:lnTo>
                    <a:pt x="138" y="198"/>
                  </a:lnTo>
                  <a:lnTo>
                    <a:pt x="140" y="198"/>
                  </a:lnTo>
                  <a:lnTo>
                    <a:pt x="140" y="200"/>
                  </a:lnTo>
                  <a:lnTo>
                    <a:pt x="140" y="200"/>
                  </a:lnTo>
                  <a:lnTo>
                    <a:pt x="140" y="200"/>
                  </a:lnTo>
                  <a:lnTo>
                    <a:pt x="140" y="200"/>
                  </a:lnTo>
                  <a:lnTo>
                    <a:pt x="140" y="202"/>
                  </a:lnTo>
                  <a:lnTo>
                    <a:pt x="140" y="202"/>
                  </a:lnTo>
                  <a:lnTo>
                    <a:pt x="140" y="202"/>
                  </a:lnTo>
                  <a:lnTo>
                    <a:pt x="138" y="202"/>
                  </a:lnTo>
                  <a:lnTo>
                    <a:pt x="138" y="204"/>
                  </a:lnTo>
                  <a:lnTo>
                    <a:pt x="134" y="204"/>
                  </a:lnTo>
                  <a:lnTo>
                    <a:pt x="134" y="204"/>
                  </a:lnTo>
                  <a:lnTo>
                    <a:pt x="134" y="206"/>
                  </a:lnTo>
                  <a:lnTo>
                    <a:pt x="134" y="206"/>
                  </a:lnTo>
                  <a:lnTo>
                    <a:pt x="132" y="206"/>
                  </a:lnTo>
                  <a:lnTo>
                    <a:pt x="132" y="208"/>
                  </a:lnTo>
                  <a:lnTo>
                    <a:pt x="132" y="210"/>
                  </a:lnTo>
                  <a:lnTo>
                    <a:pt x="132" y="212"/>
                  </a:lnTo>
                  <a:lnTo>
                    <a:pt x="132" y="214"/>
                  </a:lnTo>
                  <a:lnTo>
                    <a:pt x="134" y="216"/>
                  </a:lnTo>
                  <a:lnTo>
                    <a:pt x="134" y="220"/>
                  </a:lnTo>
                  <a:lnTo>
                    <a:pt x="136" y="228"/>
                  </a:lnTo>
                  <a:lnTo>
                    <a:pt x="136" y="232"/>
                  </a:lnTo>
                  <a:lnTo>
                    <a:pt x="136" y="232"/>
                  </a:lnTo>
                  <a:lnTo>
                    <a:pt x="138" y="234"/>
                  </a:lnTo>
                  <a:lnTo>
                    <a:pt x="138" y="238"/>
                  </a:lnTo>
                  <a:lnTo>
                    <a:pt x="138" y="242"/>
                  </a:lnTo>
                  <a:lnTo>
                    <a:pt x="138" y="242"/>
                  </a:lnTo>
                  <a:lnTo>
                    <a:pt x="138" y="244"/>
                  </a:lnTo>
                  <a:lnTo>
                    <a:pt x="138" y="246"/>
                  </a:lnTo>
                  <a:lnTo>
                    <a:pt x="138" y="246"/>
                  </a:lnTo>
                  <a:lnTo>
                    <a:pt x="138" y="248"/>
                  </a:lnTo>
                  <a:lnTo>
                    <a:pt x="136" y="248"/>
                  </a:lnTo>
                  <a:lnTo>
                    <a:pt x="136" y="248"/>
                  </a:lnTo>
                  <a:lnTo>
                    <a:pt x="134" y="248"/>
                  </a:lnTo>
                  <a:lnTo>
                    <a:pt x="134" y="248"/>
                  </a:lnTo>
                  <a:lnTo>
                    <a:pt x="132" y="248"/>
                  </a:lnTo>
                  <a:lnTo>
                    <a:pt x="128" y="248"/>
                  </a:lnTo>
                  <a:lnTo>
                    <a:pt x="126" y="248"/>
                  </a:lnTo>
                  <a:lnTo>
                    <a:pt x="124" y="248"/>
                  </a:lnTo>
                  <a:lnTo>
                    <a:pt x="122" y="248"/>
                  </a:lnTo>
                  <a:lnTo>
                    <a:pt x="120" y="248"/>
                  </a:lnTo>
                  <a:lnTo>
                    <a:pt x="118" y="244"/>
                  </a:lnTo>
                  <a:lnTo>
                    <a:pt x="112" y="242"/>
                  </a:lnTo>
                  <a:lnTo>
                    <a:pt x="110" y="240"/>
                  </a:lnTo>
                  <a:lnTo>
                    <a:pt x="110" y="240"/>
                  </a:lnTo>
                  <a:lnTo>
                    <a:pt x="108" y="238"/>
                  </a:lnTo>
                  <a:lnTo>
                    <a:pt x="106" y="238"/>
                  </a:lnTo>
                  <a:lnTo>
                    <a:pt x="102" y="238"/>
                  </a:lnTo>
                  <a:lnTo>
                    <a:pt x="98" y="238"/>
                  </a:lnTo>
                  <a:lnTo>
                    <a:pt x="94" y="238"/>
                  </a:lnTo>
                  <a:lnTo>
                    <a:pt x="88" y="238"/>
                  </a:lnTo>
                  <a:lnTo>
                    <a:pt x="84" y="238"/>
                  </a:lnTo>
                  <a:lnTo>
                    <a:pt x="82" y="234"/>
                  </a:lnTo>
                  <a:lnTo>
                    <a:pt x="80" y="230"/>
                  </a:lnTo>
                  <a:lnTo>
                    <a:pt x="76" y="224"/>
                  </a:lnTo>
                  <a:lnTo>
                    <a:pt x="74" y="222"/>
                  </a:lnTo>
                  <a:lnTo>
                    <a:pt x="72" y="220"/>
                  </a:lnTo>
                  <a:lnTo>
                    <a:pt x="70" y="220"/>
                  </a:lnTo>
                  <a:lnTo>
                    <a:pt x="68" y="218"/>
                  </a:lnTo>
                  <a:lnTo>
                    <a:pt x="64" y="216"/>
                  </a:lnTo>
                  <a:lnTo>
                    <a:pt x="60" y="212"/>
                  </a:lnTo>
                  <a:lnTo>
                    <a:pt x="58" y="212"/>
                  </a:lnTo>
                  <a:lnTo>
                    <a:pt x="56" y="210"/>
                  </a:lnTo>
                  <a:lnTo>
                    <a:pt x="56" y="210"/>
                  </a:lnTo>
                  <a:lnTo>
                    <a:pt x="54" y="208"/>
                  </a:lnTo>
                  <a:lnTo>
                    <a:pt x="52" y="206"/>
                  </a:lnTo>
                  <a:lnTo>
                    <a:pt x="50" y="204"/>
                  </a:lnTo>
                  <a:lnTo>
                    <a:pt x="48" y="202"/>
                  </a:lnTo>
                  <a:lnTo>
                    <a:pt x="46" y="202"/>
                  </a:lnTo>
                  <a:lnTo>
                    <a:pt x="46" y="200"/>
                  </a:lnTo>
                  <a:lnTo>
                    <a:pt x="44" y="200"/>
                  </a:lnTo>
                  <a:lnTo>
                    <a:pt x="42" y="200"/>
                  </a:lnTo>
                  <a:lnTo>
                    <a:pt x="42" y="200"/>
                  </a:lnTo>
                  <a:lnTo>
                    <a:pt x="40" y="200"/>
                  </a:lnTo>
                  <a:lnTo>
                    <a:pt x="36" y="200"/>
                  </a:lnTo>
                  <a:lnTo>
                    <a:pt x="34" y="202"/>
                  </a:lnTo>
                  <a:lnTo>
                    <a:pt x="30" y="202"/>
                  </a:lnTo>
                  <a:lnTo>
                    <a:pt x="26" y="202"/>
                  </a:lnTo>
                  <a:lnTo>
                    <a:pt x="24" y="202"/>
                  </a:lnTo>
                  <a:lnTo>
                    <a:pt x="22" y="202"/>
                  </a:lnTo>
                  <a:lnTo>
                    <a:pt x="22" y="202"/>
                  </a:lnTo>
                  <a:lnTo>
                    <a:pt x="20" y="202"/>
                  </a:lnTo>
                  <a:lnTo>
                    <a:pt x="18" y="200"/>
                  </a:lnTo>
                  <a:lnTo>
                    <a:pt x="16" y="200"/>
                  </a:lnTo>
                  <a:lnTo>
                    <a:pt x="12" y="198"/>
                  </a:lnTo>
                  <a:lnTo>
                    <a:pt x="8" y="196"/>
                  </a:lnTo>
                  <a:lnTo>
                    <a:pt x="2" y="190"/>
                  </a:lnTo>
                  <a:lnTo>
                    <a:pt x="0" y="190"/>
                  </a:lnTo>
                  <a:lnTo>
                    <a:pt x="4" y="182"/>
                  </a:lnTo>
                  <a:lnTo>
                    <a:pt x="8" y="178"/>
                  </a:lnTo>
                  <a:lnTo>
                    <a:pt x="10" y="176"/>
                  </a:lnTo>
                  <a:lnTo>
                    <a:pt x="12" y="172"/>
                  </a:lnTo>
                  <a:lnTo>
                    <a:pt x="12" y="172"/>
                  </a:lnTo>
                  <a:lnTo>
                    <a:pt x="12" y="170"/>
                  </a:lnTo>
                  <a:lnTo>
                    <a:pt x="12" y="168"/>
                  </a:lnTo>
                  <a:lnTo>
                    <a:pt x="12" y="166"/>
                  </a:lnTo>
                  <a:lnTo>
                    <a:pt x="12" y="166"/>
                  </a:lnTo>
                  <a:lnTo>
                    <a:pt x="14" y="164"/>
                  </a:lnTo>
                  <a:lnTo>
                    <a:pt x="14" y="164"/>
                  </a:lnTo>
                  <a:lnTo>
                    <a:pt x="14" y="164"/>
                  </a:lnTo>
                  <a:lnTo>
                    <a:pt x="14" y="164"/>
                  </a:lnTo>
                  <a:lnTo>
                    <a:pt x="16" y="164"/>
                  </a:lnTo>
                  <a:lnTo>
                    <a:pt x="16" y="164"/>
                  </a:lnTo>
                  <a:lnTo>
                    <a:pt x="18" y="164"/>
                  </a:lnTo>
                  <a:lnTo>
                    <a:pt x="20" y="164"/>
                  </a:lnTo>
                  <a:lnTo>
                    <a:pt x="22" y="164"/>
                  </a:lnTo>
                  <a:lnTo>
                    <a:pt x="24" y="164"/>
                  </a:lnTo>
                  <a:lnTo>
                    <a:pt x="26" y="164"/>
                  </a:lnTo>
                  <a:lnTo>
                    <a:pt x="26" y="164"/>
                  </a:lnTo>
                  <a:lnTo>
                    <a:pt x="28" y="164"/>
                  </a:lnTo>
                  <a:lnTo>
                    <a:pt x="28" y="162"/>
                  </a:lnTo>
                  <a:lnTo>
                    <a:pt x="28" y="162"/>
                  </a:lnTo>
                  <a:lnTo>
                    <a:pt x="30" y="160"/>
                  </a:lnTo>
                  <a:lnTo>
                    <a:pt x="30" y="158"/>
                  </a:lnTo>
                  <a:lnTo>
                    <a:pt x="30" y="156"/>
                  </a:lnTo>
                  <a:lnTo>
                    <a:pt x="32" y="154"/>
                  </a:lnTo>
                  <a:lnTo>
                    <a:pt x="32" y="152"/>
                  </a:lnTo>
                  <a:lnTo>
                    <a:pt x="32" y="150"/>
                  </a:lnTo>
                  <a:lnTo>
                    <a:pt x="32" y="146"/>
                  </a:lnTo>
                  <a:lnTo>
                    <a:pt x="32" y="142"/>
                  </a:lnTo>
                  <a:lnTo>
                    <a:pt x="32" y="136"/>
                  </a:lnTo>
                  <a:lnTo>
                    <a:pt x="30" y="130"/>
                  </a:lnTo>
                  <a:lnTo>
                    <a:pt x="30" y="124"/>
                  </a:lnTo>
                  <a:lnTo>
                    <a:pt x="30" y="118"/>
                  </a:lnTo>
                  <a:lnTo>
                    <a:pt x="28" y="114"/>
                  </a:lnTo>
                  <a:lnTo>
                    <a:pt x="26" y="104"/>
                  </a:lnTo>
                  <a:lnTo>
                    <a:pt x="24" y="98"/>
                  </a:lnTo>
                  <a:lnTo>
                    <a:pt x="24" y="9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1" name="Freeform 480">
              <a:extLst>
                <a:ext uri="{FF2B5EF4-FFF2-40B4-BE49-F238E27FC236}">
                  <a16:creationId xmlns:a16="http://schemas.microsoft.com/office/drawing/2014/main" id="{05120558-213E-486F-9180-417BA4D9F99E}"/>
                </a:ext>
              </a:extLst>
            </p:cNvPr>
            <p:cNvSpPr>
              <a:spLocks/>
            </p:cNvSpPr>
            <p:nvPr/>
          </p:nvSpPr>
          <p:spPr bwMode="auto">
            <a:xfrm>
              <a:off x="2301574" y="4303260"/>
              <a:ext cx="294453" cy="429555"/>
            </a:xfrm>
            <a:custGeom>
              <a:avLst/>
              <a:gdLst>
                <a:gd name="T0" fmla="*/ 34 w 170"/>
                <a:gd name="T1" fmla="*/ 72 h 248"/>
                <a:gd name="T2" fmla="*/ 40 w 170"/>
                <a:gd name="T3" fmla="*/ 76 h 248"/>
                <a:gd name="T4" fmla="*/ 42 w 170"/>
                <a:gd name="T5" fmla="*/ 72 h 248"/>
                <a:gd name="T6" fmla="*/ 42 w 170"/>
                <a:gd name="T7" fmla="*/ 56 h 248"/>
                <a:gd name="T8" fmla="*/ 46 w 170"/>
                <a:gd name="T9" fmla="*/ 52 h 248"/>
                <a:gd name="T10" fmla="*/ 56 w 170"/>
                <a:gd name="T11" fmla="*/ 50 h 248"/>
                <a:gd name="T12" fmla="*/ 58 w 170"/>
                <a:gd name="T13" fmla="*/ 44 h 248"/>
                <a:gd name="T14" fmla="*/ 58 w 170"/>
                <a:gd name="T15" fmla="*/ 34 h 248"/>
                <a:gd name="T16" fmla="*/ 68 w 170"/>
                <a:gd name="T17" fmla="*/ 24 h 248"/>
                <a:gd name="T18" fmla="*/ 78 w 170"/>
                <a:gd name="T19" fmla="*/ 20 h 248"/>
                <a:gd name="T20" fmla="*/ 90 w 170"/>
                <a:gd name="T21" fmla="*/ 20 h 248"/>
                <a:gd name="T22" fmla="*/ 94 w 170"/>
                <a:gd name="T23" fmla="*/ 14 h 248"/>
                <a:gd name="T24" fmla="*/ 96 w 170"/>
                <a:gd name="T25" fmla="*/ 6 h 248"/>
                <a:gd name="T26" fmla="*/ 104 w 170"/>
                <a:gd name="T27" fmla="*/ 2 h 248"/>
                <a:gd name="T28" fmla="*/ 112 w 170"/>
                <a:gd name="T29" fmla="*/ 4 h 248"/>
                <a:gd name="T30" fmla="*/ 104 w 170"/>
                <a:gd name="T31" fmla="*/ 18 h 248"/>
                <a:gd name="T32" fmla="*/ 100 w 170"/>
                <a:gd name="T33" fmla="*/ 32 h 248"/>
                <a:gd name="T34" fmla="*/ 96 w 170"/>
                <a:gd name="T35" fmla="*/ 44 h 248"/>
                <a:gd name="T36" fmla="*/ 88 w 170"/>
                <a:gd name="T37" fmla="*/ 48 h 248"/>
                <a:gd name="T38" fmla="*/ 86 w 170"/>
                <a:gd name="T39" fmla="*/ 52 h 248"/>
                <a:gd name="T40" fmla="*/ 94 w 170"/>
                <a:gd name="T41" fmla="*/ 60 h 248"/>
                <a:gd name="T42" fmla="*/ 100 w 170"/>
                <a:gd name="T43" fmla="*/ 68 h 248"/>
                <a:gd name="T44" fmla="*/ 96 w 170"/>
                <a:gd name="T45" fmla="*/ 78 h 248"/>
                <a:gd name="T46" fmla="*/ 96 w 170"/>
                <a:gd name="T47" fmla="*/ 86 h 248"/>
                <a:gd name="T48" fmla="*/ 104 w 170"/>
                <a:gd name="T49" fmla="*/ 86 h 248"/>
                <a:gd name="T50" fmla="*/ 120 w 170"/>
                <a:gd name="T51" fmla="*/ 86 h 248"/>
                <a:gd name="T52" fmla="*/ 122 w 170"/>
                <a:gd name="T53" fmla="*/ 88 h 248"/>
                <a:gd name="T54" fmla="*/ 124 w 170"/>
                <a:gd name="T55" fmla="*/ 96 h 248"/>
                <a:gd name="T56" fmla="*/ 130 w 170"/>
                <a:gd name="T57" fmla="*/ 100 h 248"/>
                <a:gd name="T58" fmla="*/ 150 w 170"/>
                <a:gd name="T59" fmla="*/ 108 h 248"/>
                <a:gd name="T60" fmla="*/ 166 w 170"/>
                <a:gd name="T61" fmla="*/ 112 h 248"/>
                <a:gd name="T62" fmla="*/ 170 w 170"/>
                <a:gd name="T63" fmla="*/ 122 h 248"/>
                <a:gd name="T64" fmla="*/ 168 w 170"/>
                <a:gd name="T65" fmla="*/ 144 h 248"/>
                <a:gd name="T66" fmla="*/ 162 w 170"/>
                <a:gd name="T67" fmla="*/ 162 h 248"/>
                <a:gd name="T68" fmla="*/ 150 w 170"/>
                <a:gd name="T69" fmla="*/ 178 h 248"/>
                <a:gd name="T70" fmla="*/ 138 w 170"/>
                <a:gd name="T71" fmla="*/ 184 h 248"/>
                <a:gd name="T72" fmla="*/ 134 w 170"/>
                <a:gd name="T73" fmla="*/ 192 h 248"/>
                <a:gd name="T74" fmla="*/ 138 w 170"/>
                <a:gd name="T75" fmla="*/ 196 h 248"/>
                <a:gd name="T76" fmla="*/ 140 w 170"/>
                <a:gd name="T77" fmla="*/ 200 h 248"/>
                <a:gd name="T78" fmla="*/ 134 w 170"/>
                <a:gd name="T79" fmla="*/ 204 h 248"/>
                <a:gd name="T80" fmla="*/ 132 w 170"/>
                <a:gd name="T81" fmla="*/ 210 h 248"/>
                <a:gd name="T82" fmla="*/ 136 w 170"/>
                <a:gd name="T83" fmla="*/ 232 h 248"/>
                <a:gd name="T84" fmla="*/ 138 w 170"/>
                <a:gd name="T85" fmla="*/ 244 h 248"/>
                <a:gd name="T86" fmla="*/ 134 w 170"/>
                <a:gd name="T87" fmla="*/ 248 h 248"/>
                <a:gd name="T88" fmla="*/ 122 w 170"/>
                <a:gd name="T89" fmla="*/ 248 h 248"/>
                <a:gd name="T90" fmla="*/ 108 w 170"/>
                <a:gd name="T91" fmla="*/ 238 h 248"/>
                <a:gd name="T92" fmla="*/ 84 w 170"/>
                <a:gd name="T93" fmla="*/ 238 h 248"/>
                <a:gd name="T94" fmla="*/ 70 w 170"/>
                <a:gd name="T95" fmla="*/ 220 h 248"/>
                <a:gd name="T96" fmla="*/ 56 w 170"/>
                <a:gd name="T97" fmla="*/ 210 h 248"/>
                <a:gd name="T98" fmla="*/ 46 w 170"/>
                <a:gd name="T99" fmla="*/ 200 h 248"/>
                <a:gd name="T100" fmla="*/ 34 w 170"/>
                <a:gd name="T101" fmla="*/ 202 h 248"/>
                <a:gd name="T102" fmla="*/ 20 w 170"/>
                <a:gd name="T103" fmla="*/ 202 h 248"/>
                <a:gd name="T104" fmla="*/ 0 w 170"/>
                <a:gd name="T105" fmla="*/ 190 h 248"/>
                <a:gd name="T106" fmla="*/ 12 w 170"/>
                <a:gd name="T107" fmla="*/ 170 h 248"/>
                <a:gd name="T108" fmla="*/ 14 w 170"/>
                <a:gd name="T109" fmla="*/ 164 h 248"/>
                <a:gd name="T110" fmla="*/ 22 w 170"/>
                <a:gd name="T111" fmla="*/ 164 h 248"/>
                <a:gd name="T112" fmla="*/ 28 w 170"/>
                <a:gd name="T113" fmla="*/ 162 h 248"/>
                <a:gd name="T114" fmla="*/ 32 w 170"/>
                <a:gd name="T115" fmla="*/ 150 h 248"/>
                <a:gd name="T116" fmla="*/ 30 w 170"/>
                <a:gd name="T117" fmla="*/ 11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 h="248">
                  <a:moveTo>
                    <a:pt x="24" y="96"/>
                  </a:moveTo>
                  <a:lnTo>
                    <a:pt x="26" y="64"/>
                  </a:lnTo>
                  <a:lnTo>
                    <a:pt x="28" y="66"/>
                  </a:lnTo>
                  <a:lnTo>
                    <a:pt x="30" y="68"/>
                  </a:lnTo>
                  <a:lnTo>
                    <a:pt x="32" y="70"/>
                  </a:lnTo>
                  <a:lnTo>
                    <a:pt x="34" y="72"/>
                  </a:lnTo>
                  <a:lnTo>
                    <a:pt x="36" y="74"/>
                  </a:lnTo>
                  <a:lnTo>
                    <a:pt x="36" y="74"/>
                  </a:lnTo>
                  <a:lnTo>
                    <a:pt x="38" y="76"/>
                  </a:lnTo>
                  <a:lnTo>
                    <a:pt x="38" y="76"/>
                  </a:lnTo>
                  <a:lnTo>
                    <a:pt x="40" y="76"/>
                  </a:lnTo>
                  <a:lnTo>
                    <a:pt x="40" y="76"/>
                  </a:lnTo>
                  <a:lnTo>
                    <a:pt x="40" y="76"/>
                  </a:lnTo>
                  <a:lnTo>
                    <a:pt x="40" y="76"/>
                  </a:lnTo>
                  <a:lnTo>
                    <a:pt x="42" y="74"/>
                  </a:lnTo>
                  <a:lnTo>
                    <a:pt x="42" y="74"/>
                  </a:lnTo>
                  <a:lnTo>
                    <a:pt x="42" y="72"/>
                  </a:lnTo>
                  <a:lnTo>
                    <a:pt x="42" y="72"/>
                  </a:lnTo>
                  <a:lnTo>
                    <a:pt x="42" y="70"/>
                  </a:lnTo>
                  <a:lnTo>
                    <a:pt x="42" y="66"/>
                  </a:lnTo>
                  <a:lnTo>
                    <a:pt x="42" y="62"/>
                  </a:lnTo>
                  <a:lnTo>
                    <a:pt x="42" y="60"/>
                  </a:lnTo>
                  <a:lnTo>
                    <a:pt x="42" y="58"/>
                  </a:lnTo>
                  <a:lnTo>
                    <a:pt x="42" y="56"/>
                  </a:lnTo>
                  <a:lnTo>
                    <a:pt x="42" y="56"/>
                  </a:lnTo>
                  <a:lnTo>
                    <a:pt x="42" y="54"/>
                  </a:lnTo>
                  <a:lnTo>
                    <a:pt x="44" y="54"/>
                  </a:lnTo>
                  <a:lnTo>
                    <a:pt x="44" y="54"/>
                  </a:lnTo>
                  <a:lnTo>
                    <a:pt x="44" y="54"/>
                  </a:lnTo>
                  <a:lnTo>
                    <a:pt x="46" y="52"/>
                  </a:lnTo>
                  <a:lnTo>
                    <a:pt x="48" y="52"/>
                  </a:lnTo>
                  <a:lnTo>
                    <a:pt x="50" y="52"/>
                  </a:lnTo>
                  <a:lnTo>
                    <a:pt x="52" y="52"/>
                  </a:lnTo>
                  <a:lnTo>
                    <a:pt x="54" y="50"/>
                  </a:lnTo>
                  <a:lnTo>
                    <a:pt x="56" y="50"/>
                  </a:lnTo>
                  <a:lnTo>
                    <a:pt x="56" y="50"/>
                  </a:lnTo>
                  <a:lnTo>
                    <a:pt x="58" y="50"/>
                  </a:lnTo>
                  <a:lnTo>
                    <a:pt x="58" y="48"/>
                  </a:lnTo>
                  <a:lnTo>
                    <a:pt x="58" y="48"/>
                  </a:lnTo>
                  <a:lnTo>
                    <a:pt x="58" y="46"/>
                  </a:lnTo>
                  <a:lnTo>
                    <a:pt x="58" y="46"/>
                  </a:lnTo>
                  <a:lnTo>
                    <a:pt x="58" y="44"/>
                  </a:lnTo>
                  <a:lnTo>
                    <a:pt x="58" y="42"/>
                  </a:lnTo>
                  <a:lnTo>
                    <a:pt x="58" y="40"/>
                  </a:lnTo>
                  <a:lnTo>
                    <a:pt x="58" y="38"/>
                  </a:lnTo>
                  <a:lnTo>
                    <a:pt x="58" y="36"/>
                  </a:lnTo>
                  <a:lnTo>
                    <a:pt x="58" y="34"/>
                  </a:lnTo>
                  <a:lnTo>
                    <a:pt x="58" y="34"/>
                  </a:lnTo>
                  <a:lnTo>
                    <a:pt x="58" y="32"/>
                  </a:lnTo>
                  <a:lnTo>
                    <a:pt x="60" y="30"/>
                  </a:lnTo>
                  <a:lnTo>
                    <a:pt x="62" y="28"/>
                  </a:lnTo>
                  <a:lnTo>
                    <a:pt x="64" y="26"/>
                  </a:lnTo>
                  <a:lnTo>
                    <a:pt x="66" y="24"/>
                  </a:lnTo>
                  <a:lnTo>
                    <a:pt x="68" y="24"/>
                  </a:lnTo>
                  <a:lnTo>
                    <a:pt x="70" y="22"/>
                  </a:lnTo>
                  <a:lnTo>
                    <a:pt x="72" y="20"/>
                  </a:lnTo>
                  <a:lnTo>
                    <a:pt x="74" y="20"/>
                  </a:lnTo>
                  <a:lnTo>
                    <a:pt x="74" y="20"/>
                  </a:lnTo>
                  <a:lnTo>
                    <a:pt x="76" y="20"/>
                  </a:lnTo>
                  <a:lnTo>
                    <a:pt x="78" y="20"/>
                  </a:lnTo>
                  <a:lnTo>
                    <a:pt x="80" y="20"/>
                  </a:lnTo>
                  <a:lnTo>
                    <a:pt x="84" y="20"/>
                  </a:lnTo>
                  <a:lnTo>
                    <a:pt x="86" y="20"/>
                  </a:lnTo>
                  <a:lnTo>
                    <a:pt x="88" y="20"/>
                  </a:lnTo>
                  <a:lnTo>
                    <a:pt x="90" y="20"/>
                  </a:lnTo>
                  <a:lnTo>
                    <a:pt x="90" y="20"/>
                  </a:lnTo>
                  <a:lnTo>
                    <a:pt x="92" y="18"/>
                  </a:lnTo>
                  <a:lnTo>
                    <a:pt x="92" y="18"/>
                  </a:lnTo>
                  <a:lnTo>
                    <a:pt x="92" y="18"/>
                  </a:lnTo>
                  <a:lnTo>
                    <a:pt x="92" y="18"/>
                  </a:lnTo>
                  <a:lnTo>
                    <a:pt x="94" y="16"/>
                  </a:lnTo>
                  <a:lnTo>
                    <a:pt x="94" y="14"/>
                  </a:lnTo>
                  <a:lnTo>
                    <a:pt x="94" y="12"/>
                  </a:lnTo>
                  <a:lnTo>
                    <a:pt x="94" y="10"/>
                  </a:lnTo>
                  <a:lnTo>
                    <a:pt x="96" y="8"/>
                  </a:lnTo>
                  <a:lnTo>
                    <a:pt x="96" y="6"/>
                  </a:lnTo>
                  <a:lnTo>
                    <a:pt x="96" y="6"/>
                  </a:lnTo>
                  <a:lnTo>
                    <a:pt x="96" y="6"/>
                  </a:lnTo>
                  <a:lnTo>
                    <a:pt x="98" y="6"/>
                  </a:lnTo>
                  <a:lnTo>
                    <a:pt x="98" y="4"/>
                  </a:lnTo>
                  <a:lnTo>
                    <a:pt x="100" y="4"/>
                  </a:lnTo>
                  <a:lnTo>
                    <a:pt x="102" y="2"/>
                  </a:lnTo>
                  <a:lnTo>
                    <a:pt x="102" y="2"/>
                  </a:lnTo>
                  <a:lnTo>
                    <a:pt x="104" y="2"/>
                  </a:lnTo>
                  <a:lnTo>
                    <a:pt x="106" y="0"/>
                  </a:lnTo>
                  <a:lnTo>
                    <a:pt x="106" y="0"/>
                  </a:lnTo>
                  <a:lnTo>
                    <a:pt x="108" y="0"/>
                  </a:lnTo>
                  <a:lnTo>
                    <a:pt x="110" y="2"/>
                  </a:lnTo>
                  <a:lnTo>
                    <a:pt x="110" y="2"/>
                  </a:lnTo>
                  <a:lnTo>
                    <a:pt x="112" y="4"/>
                  </a:lnTo>
                  <a:lnTo>
                    <a:pt x="114" y="6"/>
                  </a:lnTo>
                  <a:lnTo>
                    <a:pt x="114" y="6"/>
                  </a:lnTo>
                  <a:lnTo>
                    <a:pt x="114" y="8"/>
                  </a:lnTo>
                  <a:lnTo>
                    <a:pt x="110" y="12"/>
                  </a:lnTo>
                  <a:lnTo>
                    <a:pt x="106" y="16"/>
                  </a:lnTo>
                  <a:lnTo>
                    <a:pt x="104" y="18"/>
                  </a:lnTo>
                  <a:lnTo>
                    <a:pt x="104" y="20"/>
                  </a:lnTo>
                  <a:lnTo>
                    <a:pt x="102" y="20"/>
                  </a:lnTo>
                  <a:lnTo>
                    <a:pt x="102" y="22"/>
                  </a:lnTo>
                  <a:lnTo>
                    <a:pt x="102" y="24"/>
                  </a:lnTo>
                  <a:lnTo>
                    <a:pt x="100" y="28"/>
                  </a:lnTo>
                  <a:lnTo>
                    <a:pt x="100" y="32"/>
                  </a:lnTo>
                  <a:lnTo>
                    <a:pt x="100" y="36"/>
                  </a:lnTo>
                  <a:lnTo>
                    <a:pt x="98" y="38"/>
                  </a:lnTo>
                  <a:lnTo>
                    <a:pt x="98" y="40"/>
                  </a:lnTo>
                  <a:lnTo>
                    <a:pt x="98" y="42"/>
                  </a:lnTo>
                  <a:lnTo>
                    <a:pt x="98" y="42"/>
                  </a:lnTo>
                  <a:lnTo>
                    <a:pt x="96" y="44"/>
                  </a:lnTo>
                  <a:lnTo>
                    <a:pt x="96" y="44"/>
                  </a:lnTo>
                  <a:lnTo>
                    <a:pt x="96" y="44"/>
                  </a:lnTo>
                  <a:lnTo>
                    <a:pt x="94" y="44"/>
                  </a:lnTo>
                  <a:lnTo>
                    <a:pt x="92" y="46"/>
                  </a:lnTo>
                  <a:lnTo>
                    <a:pt x="90" y="48"/>
                  </a:lnTo>
                  <a:lnTo>
                    <a:pt x="88" y="48"/>
                  </a:lnTo>
                  <a:lnTo>
                    <a:pt x="88" y="48"/>
                  </a:lnTo>
                  <a:lnTo>
                    <a:pt x="88" y="48"/>
                  </a:lnTo>
                  <a:lnTo>
                    <a:pt x="86" y="50"/>
                  </a:lnTo>
                  <a:lnTo>
                    <a:pt x="86" y="50"/>
                  </a:lnTo>
                  <a:lnTo>
                    <a:pt x="86" y="50"/>
                  </a:lnTo>
                  <a:lnTo>
                    <a:pt x="86" y="52"/>
                  </a:lnTo>
                  <a:lnTo>
                    <a:pt x="88" y="52"/>
                  </a:lnTo>
                  <a:lnTo>
                    <a:pt x="88" y="54"/>
                  </a:lnTo>
                  <a:lnTo>
                    <a:pt x="88" y="56"/>
                  </a:lnTo>
                  <a:lnTo>
                    <a:pt x="90" y="56"/>
                  </a:lnTo>
                  <a:lnTo>
                    <a:pt x="92" y="58"/>
                  </a:lnTo>
                  <a:lnTo>
                    <a:pt x="94" y="60"/>
                  </a:lnTo>
                  <a:lnTo>
                    <a:pt x="96" y="64"/>
                  </a:lnTo>
                  <a:lnTo>
                    <a:pt x="98" y="64"/>
                  </a:lnTo>
                  <a:lnTo>
                    <a:pt x="98" y="66"/>
                  </a:lnTo>
                  <a:lnTo>
                    <a:pt x="98" y="66"/>
                  </a:lnTo>
                  <a:lnTo>
                    <a:pt x="100" y="68"/>
                  </a:lnTo>
                  <a:lnTo>
                    <a:pt x="100" y="68"/>
                  </a:lnTo>
                  <a:lnTo>
                    <a:pt x="100" y="70"/>
                  </a:lnTo>
                  <a:lnTo>
                    <a:pt x="100" y="70"/>
                  </a:lnTo>
                  <a:lnTo>
                    <a:pt x="98" y="72"/>
                  </a:lnTo>
                  <a:lnTo>
                    <a:pt x="98" y="74"/>
                  </a:lnTo>
                  <a:lnTo>
                    <a:pt x="96" y="76"/>
                  </a:lnTo>
                  <a:lnTo>
                    <a:pt x="96" y="78"/>
                  </a:lnTo>
                  <a:lnTo>
                    <a:pt x="96" y="82"/>
                  </a:lnTo>
                  <a:lnTo>
                    <a:pt x="94" y="82"/>
                  </a:lnTo>
                  <a:lnTo>
                    <a:pt x="94" y="84"/>
                  </a:lnTo>
                  <a:lnTo>
                    <a:pt x="96" y="84"/>
                  </a:lnTo>
                  <a:lnTo>
                    <a:pt x="96" y="84"/>
                  </a:lnTo>
                  <a:lnTo>
                    <a:pt x="96" y="86"/>
                  </a:lnTo>
                  <a:lnTo>
                    <a:pt x="96" y="86"/>
                  </a:lnTo>
                  <a:lnTo>
                    <a:pt x="98" y="86"/>
                  </a:lnTo>
                  <a:lnTo>
                    <a:pt x="100" y="86"/>
                  </a:lnTo>
                  <a:lnTo>
                    <a:pt x="100" y="86"/>
                  </a:lnTo>
                  <a:lnTo>
                    <a:pt x="102" y="86"/>
                  </a:lnTo>
                  <a:lnTo>
                    <a:pt x="104" y="86"/>
                  </a:lnTo>
                  <a:lnTo>
                    <a:pt x="108" y="86"/>
                  </a:lnTo>
                  <a:lnTo>
                    <a:pt x="112" y="86"/>
                  </a:lnTo>
                  <a:lnTo>
                    <a:pt x="114" y="86"/>
                  </a:lnTo>
                  <a:lnTo>
                    <a:pt x="116" y="84"/>
                  </a:lnTo>
                  <a:lnTo>
                    <a:pt x="118" y="84"/>
                  </a:lnTo>
                  <a:lnTo>
                    <a:pt x="120" y="86"/>
                  </a:lnTo>
                  <a:lnTo>
                    <a:pt x="122" y="86"/>
                  </a:lnTo>
                  <a:lnTo>
                    <a:pt x="122" y="86"/>
                  </a:lnTo>
                  <a:lnTo>
                    <a:pt x="122" y="86"/>
                  </a:lnTo>
                  <a:lnTo>
                    <a:pt x="122" y="86"/>
                  </a:lnTo>
                  <a:lnTo>
                    <a:pt x="122" y="88"/>
                  </a:lnTo>
                  <a:lnTo>
                    <a:pt x="122" y="88"/>
                  </a:lnTo>
                  <a:lnTo>
                    <a:pt x="122" y="90"/>
                  </a:lnTo>
                  <a:lnTo>
                    <a:pt x="122" y="92"/>
                  </a:lnTo>
                  <a:lnTo>
                    <a:pt x="122" y="92"/>
                  </a:lnTo>
                  <a:lnTo>
                    <a:pt x="122" y="94"/>
                  </a:lnTo>
                  <a:lnTo>
                    <a:pt x="122" y="96"/>
                  </a:lnTo>
                  <a:lnTo>
                    <a:pt x="124" y="96"/>
                  </a:lnTo>
                  <a:lnTo>
                    <a:pt x="124" y="96"/>
                  </a:lnTo>
                  <a:lnTo>
                    <a:pt x="124" y="98"/>
                  </a:lnTo>
                  <a:lnTo>
                    <a:pt x="124" y="98"/>
                  </a:lnTo>
                  <a:lnTo>
                    <a:pt x="126" y="98"/>
                  </a:lnTo>
                  <a:lnTo>
                    <a:pt x="128" y="100"/>
                  </a:lnTo>
                  <a:lnTo>
                    <a:pt x="130" y="100"/>
                  </a:lnTo>
                  <a:lnTo>
                    <a:pt x="134" y="102"/>
                  </a:lnTo>
                  <a:lnTo>
                    <a:pt x="136" y="104"/>
                  </a:lnTo>
                  <a:lnTo>
                    <a:pt x="140" y="104"/>
                  </a:lnTo>
                  <a:lnTo>
                    <a:pt x="144" y="106"/>
                  </a:lnTo>
                  <a:lnTo>
                    <a:pt x="148" y="108"/>
                  </a:lnTo>
                  <a:lnTo>
                    <a:pt x="150" y="108"/>
                  </a:lnTo>
                  <a:lnTo>
                    <a:pt x="156" y="110"/>
                  </a:lnTo>
                  <a:lnTo>
                    <a:pt x="160" y="110"/>
                  </a:lnTo>
                  <a:lnTo>
                    <a:pt x="164" y="110"/>
                  </a:lnTo>
                  <a:lnTo>
                    <a:pt x="164" y="112"/>
                  </a:lnTo>
                  <a:lnTo>
                    <a:pt x="166" y="112"/>
                  </a:lnTo>
                  <a:lnTo>
                    <a:pt x="166" y="112"/>
                  </a:lnTo>
                  <a:lnTo>
                    <a:pt x="168" y="114"/>
                  </a:lnTo>
                  <a:lnTo>
                    <a:pt x="168" y="116"/>
                  </a:lnTo>
                  <a:lnTo>
                    <a:pt x="168" y="116"/>
                  </a:lnTo>
                  <a:lnTo>
                    <a:pt x="170" y="118"/>
                  </a:lnTo>
                  <a:lnTo>
                    <a:pt x="170" y="120"/>
                  </a:lnTo>
                  <a:lnTo>
                    <a:pt x="170" y="122"/>
                  </a:lnTo>
                  <a:lnTo>
                    <a:pt x="170" y="124"/>
                  </a:lnTo>
                  <a:lnTo>
                    <a:pt x="170" y="128"/>
                  </a:lnTo>
                  <a:lnTo>
                    <a:pt x="168" y="132"/>
                  </a:lnTo>
                  <a:lnTo>
                    <a:pt x="168" y="136"/>
                  </a:lnTo>
                  <a:lnTo>
                    <a:pt x="168" y="142"/>
                  </a:lnTo>
                  <a:lnTo>
                    <a:pt x="168" y="144"/>
                  </a:lnTo>
                  <a:lnTo>
                    <a:pt x="166" y="146"/>
                  </a:lnTo>
                  <a:lnTo>
                    <a:pt x="164" y="152"/>
                  </a:lnTo>
                  <a:lnTo>
                    <a:pt x="164" y="156"/>
                  </a:lnTo>
                  <a:lnTo>
                    <a:pt x="162" y="158"/>
                  </a:lnTo>
                  <a:lnTo>
                    <a:pt x="162" y="160"/>
                  </a:lnTo>
                  <a:lnTo>
                    <a:pt x="162" y="162"/>
                  </a:lnTo>
                  <a:lnTo>
                    <a:pt x="162" y="164"/>
                  </a:lnTo>
                  <a:lnTo>
                    <a:pt x="164" y="168"/>
                  </a:lnTo>
                  <a:lnTo>
                    <a:pt x="164" y="174"/>
                  </a:lnTo>
                  <a:lnTo>
                    <a:pt x="162" y="176"/>
                  </a:lnTo>
                  <a:lnTo>
                    <a:pt x="154" y="176"/>
                  </a:lnTo>
                  <a:lnTo>
                    <a:pt x="150" y="178"/>
                  </a:lnTo>
                  <a:lnTo>
                    <a:pt x="146" y="180"/>
                  </a:lnTo>
                  <a:lnTo>
                    <a:pt x="142" y="182"/>
                  </a:lnTo>
                  <a:lnTo>
                    <a:pt x="140" y="182"/>
                  </a:lnTo>
                  <a:lnTo>
                    <a:pt x="140" y="182"/>
                  </a:lnTo>
                  <a:lnTo>
                    <a:pt x="138" y="184"/>
                  </a:lnTo>
                  <a:lnTo>
                    <a:pt x="138" y="184"/>
                  </a:lnTo>
                  <a:lnTo>
                    <a:pt x="136" y="186"/>
                  </a:lnTo>
                  <a:lnTo>
                    <a:pt x="136" y="188"/>
                  </a:lnTo>
                  <a:lnTo>
                    <a:pt x="134" y="190"/>
                  </a:lnTo>
                  <a:lnTo>
                    <a:pt x="134" y="190"/>
                  </a:lnTo>
                  <a:lnTo>
                    <a:pt x="134" y="192"/>
                  </a:lnTo>
                  <a:lnTo>
                    <a:pt x="134" y="192"/>
                  </a:lnTo>
                  <a:lnTo>
                    <a:pt x="134" y="194"/>
                  </a:lnTo>
                  <a:lnTo>
                    <a:pt x="134" y="194"/>
                  </a:lnTo>
                  <a:lnTo>
                    <a:pt x="134" y="194"/>
                  </a:lnTo>
                  <a:lnTo>
                    <a:pt x="134" y="194"/>
                  </a:lnTo>
                  <a:lnTo>
                    <a:pt x="136" y="196"/>
                  </a:lnTo>
                  <a:lnTo>
                    <a:pt x="138" y="196"/>
                  </a:lnTo>
                  <a:lnTo>
                    <a:pt x="138" y="198"/>
                  </a:lnTo>
                  <a:lnTo>
                    <a:pt x="140" y="198"/>
                  </a:lnTo>
                  <a:lnTo>
                    <a:pt x="140" y="200"/>
                  </a:lnTo>
                  <a:lnTo>
                    <a:pt x="140" y="200"/>
                  </a:lnTo>
                  <a:lnTo>
                    <a:pt x="140" y="200"/>
                  </a:lnTo>
                  <a:lnTo>
                    <a:pt x="140" y="200"/>
                  </a:lnTo>
                  <a:lnTo>
                    <a:pt x="140" y="202"/>
                  </a:lnTo>
                  <a:lnTo>
                    <a:pt x="140" y="202"/>
                  </a:lnTo>
                  <a:lnTo>
                    <a:pt x="140" y="202"/>
                  </a:lnTo>
                  <a:lnTo>
                    <a:pt x="138" y="202"/>
                  </a:lnTo>
                  <a:lnTo>
                    <a:pt x="138" y="204"/>
                  </a:lnTo>
                  <a:lnTo>
                    <a:pt x="134" y="204"/>
                  </a:lnTo>
                  <a:lnTo>
                    <a:pt x="134" y="204"/>
                  </a:lnTo>
                  <a:lnTo>
                    <a:pt x="134" y="206"/>
                  </a:lnTo>
                  <a:lnTo>
                    <a:pt x="134" y="206"/>
                  </a:lnTo>
                  <a:lnTo>
                    <a:pt x="132" y="206"/>
                  </a:lnTo>
                  <a:lnTo>
                    <a:pt x="132" y="208"/>
                  </a:lnTo>
                  <a:lnTo>
                    <a:pt x="132" y="210"/>
                  </a:lnTo>
                  <a:lnTo>
                    <a:pt x="132" y="212"/>
                  </a:lnTo>
                  <a:lnTo>
                    <a:pt x="132" y="214"/>
                  </a:lnTo>
                  <a:lnTo>
                    <a:pt x="134" y="216"/>
                  </a:lnTo>
                  <a:lnTo>
                    <a:pt x="134" y="220"/>
                  </a:lnTo>
                  <a:lnTo>
                    <a:pt x="136" y="228"/>
                  </a:lnTo>
                  <a:lnTo>
                    <a:pt x="136" y="232"/>
                  </a:lnTo>
                  <a:lnTo>
                    <a:pt x="136" y="232"/>
                  </a:lnTo>
                  <a:lnTo>
                    <a:pt x="138" y="234"/>
                  </a:lnTo>
                  <a:lnTo>
                    <a:pt x="138" y="238"/>
                  </a:lnTo>
                  <a:lnTo>
                    <a:pt x="138" y="242"/>
                  </a:lnTo>
                  <a:lnTo>
                    <a:pt x="138" y="242"/>
                  </a:lnTo>
                  <a:lnTo>
                    <a:pt x="138" y="244"/>
                  </a:lnTo>
                  <a:lnTo>
                    <a:pt x="138" y="246"/>
                  </a:lnTo>
                  <a:lnTo>
                    <a:pt x="138" y="246"/>
                  </a:lnTo>
                  <a:lnTo>
                    <a:pt x="138" y="248"/>
                  </a:lnTo>
                  <a:lnTo>
                    <a:pt x="136" y="248"/>
                  </a:lnTo>
                  <a:lnTo>
                    <a:pt x="136" y="248"/>
                  </a:lnTo>
                  <a:lnTo>
                    <a:pt x="134" y="248"/>
                  </a:lnTo>
                  <a:lnTo>
                    <a:pt x="134" y="248"/>
                  </a:lnTo>
                  <a:lnTo>
                    <a:pt x="132" y="248"/>
                  </a:lnTo>
                  <a:lnTo>
                    <a:pt x="128" y="248"/>
                  </a:lnTo>
                  <a:lnTo>
                    <a:pt x="126" y="248"/>
                  </a:lnTo>
                  <a:lnTo>
                    <a:pt x="124" y="248"/>
                  </a:lnTo>
                  <a:lnTo>
                    <a:pt x="122" y="248"/>
                  </a:lnTo>
                  <a:lnTo>
                    <a:pt x="120" y="248"/>
                  </a:lnTo>
                  <a:lnTo>
                    <a:pt x="118" y="244"/>
                  </a:lnTo>
                  <a:lnTo>
                    <a:pt x="112" y="242"/>
                  </a:lnTo>
                  <a:lnTo>
                    <a:pt x="110" y="240"/>
                  </a:lnTo>
                  <a:lnTo>
                    <a:pt x="110" y="240"/>
                  </a:lnTo>
                  <a:lnTo>
                    <a:pt x="108" y="238"/>
                  </a:lnTo>
                  <a:lnTo>
                    <a:pt x="106" y="238"/>
                  </a:lnTo>
                  <a:lnTo>
                    <a:pt x="102" y="238"/>
                  </a:lnTo>
                  <a:lnTo>
                    <a:pt x="98" y="238"/>
                  </a:lnTo>
                  <a:lnTo>
                    <a:pt x="94" y="238"/>
                  </a:lnTo>
                  <a:lnTo>
                    <a:pt x="88" y="238"/>
                  </a:lnTo>
                  <a:lnTo>
                    <a:pt x="84" y="238"/>
                  </a:lnTo>
                  <a:lnTo>
                    <a:pt x="82" y="234"/>
                  </a:lnTo>
                  <a:lnTo>
                    <a:pt x="80" y="230"/>
                  </a:lnTo>
                  <a:lnTo>
                    <a:pt x="76" y="224"/>
                  </a:lnTo>
                  <a:lnTo>
                    <a:pt x="74" y="222"/>
                  </a:lnTo>
                  <a:lnTo>
                    <a:pt x="72" y="220"/>
                  </a:lnTo>
                  <a:lnTo>
                    <a:pt x="70" y="220"/>
                  </a:lnTo>
                  <a:lnTo>
                    <a:pt x="68" y="218"/>
                  </a:lnTo>
                  <a:lnTo>
                    <a:pt x="64" y="216"/>
                  </a:lnTo>
                  <a:lnTo>
                    <a:pt x="60" y="212"/>
                  </a:lnTo>
                  <a:lnTo>
                    <a:pt x="58" y="212"/>
                  </a:lnTo>
                  <a:lnTo>
                    <a:pt x="56" y="210"/>
                  </a:lnTo>
                  <a:lnTo>
                    <a:pt x="56" y="210"/>
                  </a:lnTo>
                  <a:lnTo>
                    <a:pt x="54" y="208"/>
                  </a:lnTo>
                  <a:lnTo>
                    <a:pt x="52" y="206"/>
                  </a:lnTo>
                  <a:lnTo>
                    <a:pt x="50" y="204"/>
                  </a:lnTo>
                  <a:lnTo>
                    <a:pt x="48" y="202"/>
                  </a:lnTo>
                  <a:lnTo>
                    <a:pt x="46" y="202"/>
                  </a:lnTo>
                  <a:lnTo>
                    <a:pt x="46" y="200"/>
                  </a:lnTo>
                  <a:lnTo>
                    <a:pt x="44" y="200"/>
                  </a:lnTo>
                  <a:lnTo>
                    <a:pt x="42" y="200"/>
                  </a:lnTo>
                  <a:lnTo>
                    <a:pt x="42" y="200"/>
                  </a:lnTo>
                  <a:lnTo>
                    <a:pt x="40" y="200"/>
                  </a:lnTo>
                  <a:lnTo>
                    <a:pt x="36" y="200"/>
                  </a:lnTo>
                  <a:lnTo>
                    <a:pt x="34" y="202"/>
                  </a:lnTo>
                  <a:lnTo>
                    <a:pt x="30" y="202"/>
                  </a:lnTo>
                  <a:lnTo>
                    <a:pt x="26" y="202"/>
                  </a:lnTo>
                  <a:lnTo>
                    <a:pt x="24" y="202"/>
                  </a:lnTo>
                  <a:lnTo>
                    <a:pt x="22" y="202"/>
                  </a:lnTo>
                  <a:lnTo>
                    <a:pt x="22" y="202"/>
                  </a:lnTo>
                  <a:lnTo>
                    <a:pt x="20" y="202"/>
                  </a:lnTo>
                  <a:lnTo>
                    <a:pt x="18" y="200"/>
                  </a:lnTo>
                  <a:lnTo>
                    <a:pt x="16" y="200"/>
                  </a:lnTo>
                  <a:lnTo>
                    <a:pt x="12" y="198"/>
                  </a:lnTo>
                  <a:lnTo>
                    <a:pt x="8" y="196"/>
                  </a:lnTo>
                  <a:lnTo>
                    <a:pt x="2" y="190"/>
                  </a:lnTo>
                  <a:lnTo>
                    <a:pt x="0" y="190"/>
                  </a:lnTo>
                  <a:lnTo>
                    <a:pt x="4" y="182"/>
                  </a:lnTo>
                  <a:lnTo>
                    <a:pt x="8" y="178"/>
                  </a:lnTo>
                  <a:lnTo>
                    <a:pt x="10" y="176"/>
                  </a:lnTo>
                  <a:lnTo>
                    <a:pt x="12" y="172"/>
                  </a:lnTo>
                  <a:lnTo>
                    <a:pt x="12" y="172"/>
                  </a:lnTo>
                  <a:lnTo>
                    <a:pt x="12" y="170"/>
                  </a:lnTo>
                  <a:lnTo>
                    <a:pt x="12" y="168"/>
                  </a:lnTo>
                  <a:lnTo>
                    <a:pt x="12" y="166"/>
                  </a:lnTo>
                  <a:lnTo>
                    <a:pt x="12" y="166"/>
                  </a:lnTo>
                  <a:lnTo>
                    <a:pt x="14" y="164"/>
                  </a:lnTo>
                  <a:lnTo>
                    <a:pt x="14" y="164"/>
                  </a:lnTo>
                  <a:lnTo>
                    <a:pt x="14" y="164"/>
                  </a:lnTo>
                  <a:lnTo>
                    <a:pt x="14" y="164"/>
                  </a:lnTo>
                  <a:lnTo>
                    <a:pt x="16" y="164"/>
                  </a:lnTo>
                  <a:lnTo>
                    <a:pt x="16" y="164"/>
                  </a:lnTo>
                  <a:lnTo>
                    <a:pt x="18" y="164"/>
                  </a:lnTo>
                  <a:lnTo>
                    <a:pt x="20" y="164"/>
                  </a:lnTo>
                  <a:lnTo>
                    <a:pt x="22" y="164"/>
                  </a:lnTo>
                  <a:lnTo>
                    <a:pt x="24" y="164"/>
                  </a:lnTo>
                  <a:lnTo>
                    <a:pt x="26" y="164"/>
                  </a:lnTo>
                  <a:lnTo>
                    <a:pt x="26" y="164"/>
                  </a:lnTo>
                  <a:lnTo>
                    <a:pt x="28" y="164"/>
                  </a:lnTo>
                  <a:lnTo>
                    <a:pt x="28" y="162"/>
                  </a:lnTo>
                  <a:lnTo>
                    <a:pt x="28" y="162"/>
                  </a:lnTo>
                  <a:lnTo>
                    <a:pt x="30" y="160"/>
                  </a:lnTo>
                  <a:lnTo>
                    <a:pt x="30" y="158"/>
                  </a:lnTo>
                  <a:lnTo>
                    <a:pt x="30" y="156"/>
                  </a:lnTo>
                  <a:lnTo>
                    <a:pt x="32" y="154"/>
                  </a:lnTo>
                  <a:lnTo>
                    <a:pt x="32" y="152"/>
                  </a:lnTo>
                  <a:lnTo>
                    <a:pt x="32" y="150"/>
                  </a:lnTo>
                  <a:lnTo>
                    <a:pt x="32" y="146"/>
                  </a:lnTo>
                  <a:lnTo>
                    <a:pt x="32" y="142"/>
                  </a:lnTo>
                  <a:lnTo>
                    <a:pt x="32" y="136"/>
                  </a:lnTo>
                  <a:lnTo>
                    <a:pt x="30" y="130"/>
                  </a:lnTo>
                  <a:lnTo>
                    <a:pt x="30" y="124"/>
                  </a:lnTo>
                  <a:lnTo>
                    <a:pt x="30" y="118"/>
                  </a:lnTo>
                  <a:lnTo>
                    <a:pt x="28" y="114"/>
                  </a:lnTo>
                  <a:lnTo>
                    <a:pt x="26" y="104"/>
                  </a:lnTo>
                  <a:lnTo>
                    <a:pt x="24" y="98"/>
                  </a:lnTo>
                  <a:lnTo>
                    <a:pt x="24" y="9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2" name="Freeform 481">
              <a:extLst>
                <a:ext uri="{FF2B5EF4-FFF2-40B4-BE49-F238E27FC236}">
                  <a16:creationId xmlns:a16="http://schemas.microsoft.com/office/drawing/2014/main" id="{BEEBE644-0B61-46ED-819F-6F3830CF9A66}"/>
                </a:ext>
              </a:extLst>
            </p:cNvPr>
            <p:cNvSpPr>
              <a:spLocks/>
            </p:cNvSpPr>
            <p:nvPr/>
          </p:nvSpPr>
          <p:spPr bwMode="auto">
            <a:xfrm>
              <a:off x="2197650" y="4382936"/>
              <a:ext cx="148958" cy="86604"/>
            </a:xfrm>
            <a:custGeom>
              <a:avLst/>
              <a:gdLst>
                <a:gd name="T0" fmla="*/ 0 w 86"/>
                <a:gd name="T1" fmla="*/ 10 h 50"/>
                <a:gd name="T2" fmla="*/ 0 w 86"/>
                <a:gd name="T3" fmla="*/ 16 h 50"/>
                <a:gd name="T4" fmla="*/ 0 w 86"/>
                <a:gd name="T5" fmla="*/ 22 h 50"/>
                <a:gd name="T6" fmla="*/ 0 w 86"/>
                <a:gd name="T7" fmla="*/ 24 h 50"/>
                <a:gd name="T8" fmla="*/ 2 w 86"/>
                <a:gd name="T9" fmla="*/ 26 h 50"/>
                <a:gd name="T10" fmla="*/ 4 w 86"/>
                <a:gd name="T11" fmla="*/ 28 h 50"/>
                <a:gd name="T12" fmla="*/ 6 w 86"/>
                <a:gd name="T13" fmla="*/ 30 h 50"/>
                <a:gd name="T14" fmla="*/ 10 w 86"/>
                <a:gd name="T15" fmla="*/ 30 h 50"/>
                <a:gd name="T16" fmla="*/ 16 w 86"/>
                <a:gd name="T17" fmla="*/ 30 h 50"/>
                <a:gd name="T18" fmla="*/ 24 w 86"/>
                <a:gd name="T19" fmla="*/ 30 h 50"/>
                <a:gd name="T20" fmla="*/ 28 w 86"/>
                <a:gd name="T21" fmla="*/ 30 h 50"/>
                <a:gd name="T22" fmla="*/ 32 w 86"/>
                <a:gd name="T23" fmla="*/ 32 h 50"/>
                <a:gd name="T24" fmla="*/ 32 w 86"/>
                <a:gd name="T25" fmla="*/ 32 h 50"/>
                <a:gd name="T26" fmla="*/ 36 w 86"/>
                <a:gd name="T27" fmla="*/ 36 h 50"/>
                <a:gd name="T28" fmla="*/ 40 w 86"/>
                <a:gd name="T29" fmla="*/ 40 h 50"/>
                <a:gd name="T30" fmla="*/ 40 w 86"/>
                <a:gd name="T31" fmla="*/ 40 h 50"/>
                <a:gd name="T32" fmla="*/ 42 w 86"/>
                <a:gd name="T33" fmla="*/ 42 h 50"/>
                <a:gd name="T34" fmla="*/ 46 w 86"/>
                <a:gd name="T35" fmla="*/ 42 h 50"/>
                <a:gd name="T36" fmla="*/ 50 w 86"/>
                <a:gd name="T37" fmla="*/ 40 h 50"/>
                <a:gd name="T38" fmla="*/ 54 w 86"/>
                <a:gd name="T39" fmla="*/ 38 h 50"/>
                <a:gd name="T40" fmla="*/ 54 w 86"/>
                <a:gd name="T41" fmla="*/ 36 h 50"/>
                <a:gd name="T42" fmla="*/ 56 w 86"/>
                <a:gd name="T43" fmla="*/ 34 h 50"/>
                <a:gd name="T44" fmla="*/ 54 w 86"/>
                <a:gd name="T45" fmla="*/ 32 h 50"/>
                <a:gd name="T46" fmla="*/ 54 w 86"/>
                <a:gd name="T47" fmla="*/ 30 h 50"/>
                <a:gd name="T48" fmla="*/ 52 w 86"/>
                <a:gd name="T49" fmla="*/ 26 h 50"/>
                <a:gd name="T50" fmla="*/ 50 w 86"/>
                <a:gd name="T51" fmla="*/ 24 h 50"/>
                <a:gd name="T52" fmla="*/ 50 w 86"/>
                <a:gd name="T53" fmla="*/ 22 h 50"/>
                <a:gd name="T54" fmla="*/ 50 w 86"/>
                <a:gd name="T55" fmla="*/ 22 h 50"/>
                <a:gd name="T56" fmla="*/ 52 w 86"/>
                <a:gd name="T57" fmla="*/ 22 h 50"/>
                <a:gd name="T58" fmla="*/ 54 w 86"/>
                <a:gd name="T59" fmla="*/ 20 h 50"/>
                <a:gd name="T60" fmla="*/ 58 w 86"/>
                <a:gd name="T61" fmla="*/ 20 h 50"/>
                <a:gd name="T62" fmla="*/ 62 w 86"/>
                <a:gd name="T63" fmla="*/ 20 h 50"/>
                <a:gd name="T64" fmla="*/ 64 w 86"/>
                <a:gd name="T65" fmla="*/ 22 h 50"/>
                <a:gd name="T66" fmla="*/ 66 w 86"/>
                <a:gd name="T67" fmla="*/ 24 h 50"/>
                <a:gd name="T68" fmla="*/ 70 w 86"/>
                <a:gd name="T69" fmla="*/ 26 h 50"/>
                <a:gd name="T70" fmla="*/ 74 w 86"/>
                <a:gd name="T71" fmla="*/ 32 h 50"/>
                <a:gd name="T72" fmla="*/ 76 w 86"/>
                <a:gd name="T73" fmla="*/ 36 h 50"/>
                <a:gd name="T74" fmla="*/ 80 w 86"/>
                <a:gd name="T75" fmla="*/ 42 h 50"/>
                <a:gd name="T76" fmla="*/ 84 w 86"/>
                <a:gd name="T77" fmla="*/ 50 h 50"/>
                <a:gd name="T78" fmla="*/ 84 w 86"/>
                <a:gd name="T79" fmla="*/ 16 h 50"/>
                <a:gd name="T80" fmla="*/ 76 w 86"/>
                <a:gd name="T81" fmla="*/ 10 h 50"/>
                <a:gd name="T82" fmla="*/ 72 w 86"/>
                <a:gd name="T83" fmla="*/ 6 h 50"/>
                <a:gd name="T84" fmla="*/ 66 w 86"/>
                <a:gd name="T85" fmla="*/ 2 h 50"/>
                <a:gd name="T86" fmla="*/ 58 w 86"/>
                <a:gd name="T87" fmla="*/ 0 h 50"/>
                <a:gd name="T88" fmla="*/ 54 w 86"/>
                <a:gd name="T89" fmla="*/ 0 h 50"/>
                <a:gd name="T90" fmla="*/ 52 w 86"/>
                <a:gd name="T91" fmla="*/ 0 h 50"/>
                <a:gd name="T92" fmla="*/ 50 w 86"/>
                <a:gd name="T93" fmla="*/ 0 h 50"/>
                <a:gd name="T94" fmla="*/ 50 w 86"/>
                <a:gd name="T95" fmla="*/ 2 h 50"/>
                <a:gd name="T96" fmla="*/ 46 w 86"/>
                <a:gd name="T97" fmla="*/ 6 h 50"/>
                <a:gd name="T98" fmla="*/ 44 w 86"/>
                <a:gd name="T99" fmla="*/ 8 h 50"/>
                <a:gd name="T100" fmla="*/ 42 w 86"/>
                <a:gd name="T101" fmla="*/ 10 h 50"/>
                <a:gd name="T102" fmla="*/ 42 w 86"/>
                <a:gd name="T103" fmla="*/ 10 h 50"/>
                <a:gd name="T104" fmla="*/ 38 w 86"/>
                <a:gd name="T105" fmla="*/ 10 h 50"/>
                <a:gd name="T106" fmla="*/ 34 w 86"/>
                <a:gd name="T107" fmla="*/ 10 h 50"/>
                <a:gd name="T108" fmla="*/ 24 w 86"/>
                <a:gd name="T109" fmla="*/ 8 h 50"/>
                <a:gd name="T110" fmla="*/ 16 w 86"/>
                <a:gd name="T111"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50">
                  <a:moveTo>
                    <a:pt x="14" y="4"/>
                  </a:moveTo>
                  <a:lnTo>
                    <a:pt x="0" y="10"/>
                  </a:lnTo>
                  <a:lnTo>
                    <a:pt x="0" y="14"/>
                  </a:lnTo>
                  <a:lnTo>
                    <a:pt x="0" y="16"/>
                  </a:lnTo>
                  <a:lnTo>
                    <a:pt x="0" y="18"/>
                  </a:lnTo>
                  <a:lnTo>
                    <a:pt x="0" y="22"/>
                  </a:lnTo>
                  <a:lnTo>
                    <a:pt x="0" y="24"/>
                  </a:lnTo>
                  <a:lnTo>
                    <a:pt x="0" y="24"/>
                  </a:lnTo>
                  <a:lnTo>
                    <a:pt x="2" y="26"/>
                  </a:lnTo>
                  <a:lnTo>
                    <a:pt x="2" y="26"/>
                  </a:lnTo>
                  <a:lnTo>
                    <a:pt x="2" y="28"/>
                  </a:lnTo>
                  <a:lnTo>
                    <a:pt x="4" y="28"/>
                  </a:lnTo>
                  <a:lnTo>
                    <a:pt x="4" y="28"/>
                  </a:lnTo>
                  <a:lnTo>
                    <a:pt x="6" y="30"/>
                  </a:lnTo>
                  <a:lnTo>
                    <a:pt x="8" y="30"/>
                  </a:lnTo>
                  <a:lnTo>
                    <a:pt x="10" y="30"/>
                  </a:lnTo>
                  <a:lnTo>
                    <a:pt x="12" y="30"/>
                  </a:lnTo>
                  <a:lnTo>
                    <a:pt x="16" y="30"/>
                  </a:lnTo>
                  <a:lnTo>
                    <a:pt x="20" y="30"/>
                  </a:lnTo>
                  <a:lnTo>
                    <a:pt x="24" y="30"/>
                  </a:lnTo>
                  <a:lnTo>
                    <a:pt x="26" y="30"/>
                  </a:lnTo>
                  <a:lnTo>
                    <a:pt x="28" y="30"/>
                  </a:lnTo>
                  <a:lnTo>
                    <a:pt x="30" y="30"/>
                  </a:lnTo>
                  <a:lnTo>
                    <a:pt x="32" y="32"/>
                  </a:lnTo>
                  <a:lnTo>
                    <a:pt x="32" y="32"/>
                  </a:lnTo>
                  <a:lnTo>
                    <a:pt x="32" y="32"/>
                  </a:lnTo>
                  <a:lnTo>
                    <a:pt x="34" y="34"/>
                  </a:lnTo>
                  <a:lnTo>
                    <a:pt x="36" y="36"/>
                  </a:lnTo>
                  <a:lnTo>
                    <a:pt x="38" y="38"/>
                  </a:lnTo>
                  <a:lnTo>
                    <a:pt x="40" y="40"/>
                  </a:lnTo>
                  <a:lnTo>
                    <a:pt x="40" y="40"/>
                  </a:lnTo>
                  <a:lnTo>
                    <a:pt x="40" y="40"/>
                  </a:lnTo>
                  <a:lnTo>
                    <a:pt x="42" y="42"/>
                  </a:lnTo>
                  <a:lnTo>
                    <a:pt x="42" y="42"/>
                  </a:lnTo>
                  <a:lnTo>
                    <a:pt x="44" y="42"/>
                  </a:lnTo>
                  <a:lnTo>
                    <a:pt x="46" y="42"/>
                  </a:lnTo>
                  <a:lnTo>
                    <a:pt x="48" y="40"/>
                  </a:lnTo>
                  <a:lnTo>
                    <a:pt x="50" y="40"/>
                  </a:lnTo>
                  <a:lnTo>
                    <a:pt x="52" y="38"/>
                  </a:lnTo>
                  <a:lnTo>
                    <a:pt x="54" y="38"/>
                  </a:lnTo>
                  <a:lnTo>
                    <a:pt x="54" y="36"/>
                  </a:lnTo>
                  <a:lnTo>
                    <a:pt x="54" y="36"/>
                  </a:lnTo>
                  <a:lnTo>
                    <a:pt x="56" y="36"/>
                  </a:lnTo>
                  <a:lnTo>
                    <a:pt x="56" y="34"/>
                  </a:lnTo>
                  <a:lnTo>
                    <a:pt x="56" y="34"/>
                  </a:lnTo>
                  <a:lnTo>
                    <a:pt x="54" y="32"/>
                  </a:lnTo>
                  <a:lnTo>
                    <a:pt x="54" y="32"/>
                  </a:lnTo>
                  <a:lnTo>
                    <a:pt x="54" y="30"/>
                  </a:lnTo>
                  <a:lnTo>
                    <a:pt x="52" y="28"/>
                  </a:lnTo>
                  <a:lnTo>
                    <a:pt x="52" y="26"/>
                  </a:lnTo>
                  <a:lnTo>
                    <a:pt x="50" y="26"/>
                  </a:lnTo>
                  <a:lnTo>
                    <a:pt x="50" y="24"/>
                  </a:lnTo>
                  <a:lnTo>
                    <a:pt x="50" y="24"/>
                  </a:lnTo>
                  <a:lnTo>
                    <a:pt x="50" y="22"/>
                  </a:lnTo>
                  <a:lnTo>
                    <a:pt x="50" y="22"/>
                  </a:lnTo>
                  <a:lnTo>
                    <a:pt x="50" y="22"/>
                  </a:lnTo>
                  <a:lnTo>
                    <a:pt x="50" y="22"/>
                  </a:lnTo>
                  <a:lnTo>
                    <a:pt x="52" y="22"/>
                  </a:lnTo>
                  <a:lnTo>
                    <a:pt x="52" y="20"/>
                  </a:lnTo>
                  <a:lnTo>
                    <a:pt x="54" y="20"/>
                  </a:lnTo>
                  <a:lnTo>
                    <a:pt x="56" y="20"/>
                  </a:lnTo>
                  <a:lnTo>
                    <a:pt x="58" y="20"/>
                  </a:lnTo>
                  <a:lnTo>
                    <a:pt x="60" y="20"/>
                  </a:lnTo>
                  <a:lnTo>
                    <a:pt x="62" y="20"/>
                  </a:lnTo>
                  <a:lnTo>
                    <a:pt x="64" y="22"/>
                  </a:lnTo>
                  <a:lnTo>
                    <a:pt x="64" y="22"/>
                  </a:lnTo>
                  <a:lnTo>
                    <a:pt x="66" y="22"/>
                  </a:lnTo>
                  <a:lnTo>
                    <a:pt x="66" y="24"/>
                  </a:lnTo>
                  <a:lnTo>
                    <a:pt x="68" y="24"/>
                  </a:lnTo>
                  <a:lnTo>
                    <a:pt x="70" y="26"/>
                  </a:lnTo>
                  <a:lnTo>
                    <a:pt x="72" y="28"/>
                  </a:lnTo>
                  <a:lnTo>
                    <a:pt x="74" y="32"/>
                  </a:lnTo>
                  <a:lnTo>
                    <a:pt x="76" y="34"/>
                  </a:lnTo>
                  <a:lnTo>
                    <a:pt x="76" y="36"/>
                  </a:lnTo>
                  <a:lnTo>
                    <a:pt x="78" y="38"/>
                  </a:lnTo>
                  <a:lnTo>
                    <a:pt x="80" y="42"/>
                  </a:lnTo>
                  <a:lnTo>
                    <a:pt x="82" y="46"/>
                  </a:lnTo>
                  <a:lnTo>
                    <a:pt x="84" y="50"/>
                  </a:lnTo>
                  <a:lnTo>
                    <a:pt x="86" y="16"/>
                  </a:lnTo>
                  <a:lnTo>
                    <a:pt x="84" y="16"/>
                  </a:lnTo>
                  <a:lnTo>
                    <a:pt x="80" y="12"/>
                  </a:lnTo>
                  <a:lnTo>
                    <a:pt x="76" y="10"/>
                  </a:lnTo>
                  <a:lnTo>
                    <a:pt x="74" y="8"/>
                  </a:lnTo>
                  <a:lnTo>
                    <a:pt x="72" y="6"/>
                  </a:lnTo>
                  <a:lnTo>
                    <a:pt x="68" y="4"/>
                  </a:lnTo>
                  <a:lnTo>
                    <a:pt x="66" y="2"/>
                  </a:lnTo>
                  <a:lnTo>
                    <a:pt x="60" y="0"/>
                  </a:lnTo>
                  <a:lnTo>
                    <a:pt x="58" y="0"/>
                  </a:lnTo>
                  <a:lnTo>
                    <a:pt x="56" y="0"/>
                  </a:lnTo>
                  <a:lnTo>
                    <a:pt x="54" y="0"/>
                  </a:lnTo>
                  <a:lnTo>
                    <a:pt x="54" y="0"/>
                  </a:lnTo>
                  <a:lnTo>
                    <a:pt x="52" y="0"/>
                  </a:lnTo>
                  <a:lnTo>
                    <a:pt x="52" y="0"/>
                  </a:lnTo>
                  <a:lnTo>
                    <a:pt x="50" y="0"/>
                  </a:lnTo>
                  <a:lnTo>
                    <a:pt x="50" y="0"/>
                  </a:lnTo>
                  <a:lnTo>
                    <a:pt x="50" y="2"/>
                  </a:lnTo>
                  <a:lnTo>
                    <a:pt x="48" y="4"/>
                  </a:lnTo>
                  <a:lnTo>
                    <a:pt x="46" y="6"/>
                  </a:lnTo>
                  <a:lnTo>
                    <a:pt x="46" y="6"/>
                  </a:lnTo>
                  <a:lnTo>
                    <a:pt x="44" y="8"/>
                  </a:lnTo>
                  <a:lnTo>
                    <a:pt x="44" y="10"/>
                  </a:lnTo>
                  <a:lnTo>
                    <a:pt x="42" y="10"/>
                  </a:lnTo>
                  <a:lnTo>
                    <a:pt x="42" y="10"/>
                  </a:lnTo>
                  <a:lnTo>
                    <a:pt x="42" y="10"/>
                  </a:lnTo>
                  <a:lnTo>
                    <a:pt x="40" y="10"/>
                  </a:lnTo>
                  <a:lnTo>
                    <a:pt x="38" y="10"/>
                  </a:lnTo>
                  <a:lnTo>
                    <a:pt x="36" y="10"/>
                  </a:lnTo>
                  <a:lnTo>
                    <a:pt x="34" y="10"/>
                  </a:lnTo>
                  <a:lnTo>
                    <a:pt x="30" y="10"/>
                  </a:lnTo>
                  <a:lnTo>
                    <a:pt x="24" y="8"/>
                  </a:lnTo>
                  <a:lnTo>
                    <a:pt x="20" y="6"/>
                  </a:lnTo>
                  <a:lnTo>
                    <a:pt x="16" y="6"/>
                  </a:lnTo>
                  <a:lnTo>
                    <a:pt x="14" y="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3" name="Freeform 482">
              <a:extLst>
                <a:ext uri="{FF2B5EF4-FFF2-40B4-BE49-F238E27FC236}">
                  <a16:creationId xmlns:a16="http://schemas.microsoft.com/office/drawing/2014/main" id="{FD92C95F-70FE-4016-A8DE-8D9BECD6EFCC}"/>
                </a:ext>
              </a:extLst>
            </p:cNvPr>
            <p:cNvSpPr>
              <a:spLocks/>
            </p:cNvSpPr>
            <p:nvPr/>
          </p:nvSpPr>
          <p:spPr bwMode="auto">
            <a:xfrm>
              <a:off x="2197650" y="4382936"/>
              <a:ext cx="148958" cy="86604"/>
            </a:xfrm>
            <a:custGeom>
              <a:avLst/>
              <a:gdLst>
                <a:gd name="T0" fmla="*/ 0 w 86"/>
                <a:gd name="T1" fmla="*/ 10 h 50"/>
                <a:gd name="T2" fmla="*/ 0 w 86"/>
                <a:gd name="T3" fmla="*/ 16 h 50"/>
                <a:gd name="T4" fmla="*/ 0 w 86"/>
                <a:gd name="T5" fmla="*/ 22 h 50"/>
                <a:gd name="T6" fmla="*/ 0 w 86"/>
                <a:gd name="T7" fmla="*/ 24 h 50"/>
                <a:gd name="T8" fmla="*/ 2 w 86"/>
                <a:gd name="T9" fmla="*/ 26 h 50"/>
                <a:gd name="T10" fmla="*/ 4 w 86"/>
                <a:gd name="T11" fmla="*/ 28 h 50"/>
                <a:gd name="T12" fmla="*/ 6 w 86"/>
                <a:gd name="T13" fmla="*/ 30 h 50"/>
                <a:gd name="T14" fmla="*/ 10 w 86"/>
                <a:gd name="T15" fmla="*/ 30 h 50"/>
                <a:gd name="T16" fmla="*/ 16 w 86"/>
                <a:gd name="T17" fmla="*/ 30 h 50"/>
                <a:gd name="T18" fmla="*/ 24 w 86"/>
                <a:gd name="T19" fmla="*/ 30 h 50"/>
                <a:gd name="T20" fmla="*/ 28 w 86"/>
                <a:gd name="T21" fmla="*/ 30 h 50"/>
                <a:gd name="T22" fmla="*/ 32 w 86"/>
                <a:gd name="T23" fmla="*/ 32 h 50"/>
                <a:gd name="T24" fmla="*/ 32 w 86"/>
                <a:gd name="T25" fmla="*/ 32 h 50"/>
                <a:gd name="T26" fmla="*/ 36 w 86"/>
                <a:gd name="T27" fmla="*/ 36 h 50"/>
                <a:gd name="T28" fmla="*/ 40 w 86"/>
                <a:gd name="T29" fmla="*/ 40 h 50"/>
                <a:gd name="T30" fmla="*/ 40 w 86"/>
                <a:gd name="T31" fmla="*/ 40 h 50"/>
                <a:gd name="T32" fmla="*/ 42 w 86"/>
                <a:gd name="T33" fmla="*/ 42 h 50"/>
                <a:gd name="T34" fmla="*/ 46 w 86"/>
                <a:gd name="T35" fmla="*/ 42 h 50"/>
                <a:gd name="T36" fmla="*/ 50 w 86"/>
                <a:gd name="T37" fmla="*/ 40 h 50"/>
                <a:gd name="T38" fmla="*/ 54 w 86"/>
                <a:gd name="T39" fmla="*/ 38 h 50"/>
                <a:gd name="T40" fmla="*/ 54 w 86"/>
                <a:gd name="T41" fmla="*/ 36 h 50"/>
                <a:gd name="T42" fmla="*/ 56 w 86"/>
                <a:gd name="T43" fmla="*/ 34 h 50"/>
                <a:gd name="T44" fmla="*/ 54 w 86"/>
                <a:gd name="T45" fmla="*/ 32 h 50"/>
                <a:gd name="T46" fmla="*/ 54 w 86"/>
                <a:gd name="T47" fmla="*/ 30 h 50"/>
                <a:gd name="T48" fmla="*/ 52 w 86"/>
                <a:gd name="T49" fmla="*/ 26 h 50"/>
                <a:gd name="T50" fmla="*/ 50 w 86"/>
                <a:gd name="T51" fmla="*/ 24 h 50"/>
                <a:gd name="T52" fmla="*/ 50 w 86"/>
                <a:gd name="T53" fmla="*/ 22 h 50"/>
                <a:gd name="T54" fmla="*/ 50 w 86"/>
                <a:gd name="T55" fmla="*/ 22 h 50"/>
                <a:gd name="T56" fmla="*/ 52 w 86"/>
                <a:gd name="T57" fmla="*/ 22 h 50"/>
                <a:gd name="T58" fmla="*/ 54 w 86"/>
                <a:gd name="T59" fmla="*/ 20 h 50"/>
                <a:gd name="T60" fmla="*/ 58 w 86"/>
                <a:gd name="T61" fmla="*/ 20 h 50"/>
                <a:gd name="T62" fmla="*/ 62 w 86"/>
                <a:gd name="T63" fmla="*/ 20 h 50"/>
                <a:gd name="T64" fmla="*/ 64 w 86"/>
                <a:gd name="T65" fmla="*/ 22 h 50"/>
                <a:gd name="T66" fmla="*/ 66 w 86"/>
                <a:gd name="T67" fmla="*/ 24 h 50"/>
                <a:gd name="T68" fmla="*/ 70 w 86"/>
                <a:gd name="T69" fmla="*/ 26 h 50"/>
                <a:gd name="T70" fmla="*/ 74 w 86"/>
                <a:gd name="T71" fmla="*/ 32 h 50"/>
                <a:gd name="T72" fmla="*/ 76 w 86"/>
                <a:gd name="T73" fmla="*/ 36 h 50"/>
                <a:gd name="T74" fmla="*/ 80 w 86"/>
                <a:gd name="T75" fmla="*/ 42 h 50"/>
                <a:gd name="T76" fmla="*/ 84 w 86"/>
                <a:gd name="T77" fmla="*/ 50 h 50"/>
                <a:gd name="T78" fmla="*/ 84 w 86"/>
                <a:gd name="T79" fmla="*/ 16 h 50"/>
                <a:gd name="T80" fmla="*/ 76 w 86"/>
                <a:gd name="T81" fmla="*/ 10 h 50"/>
                <a:gd name="T82" fmla="*/ 72 w 86"/>
                <a:gd name="T83" fmla="*/ 6 h 50"/>
                <a:gd name="T84" fmla="*/ 66 w 86"/>
                <a:gd name="T85" fmla="*/ 2 h 50"/>
                <a:gd name="T86" fmla="*/ 58 w 86"/>
                <a:gd name="T87" fmla="*/ 0 h 50"/>
                <a:gd name="T88" fmla="*/ 54 w 86"/>
                <a:gd name="T89" fmla="*/ 0 h 50"/>
                <a:gd name="T90" fmla="*/ 52 w 86"/>
                <a:gd name="T91" fmla="*/ 0 h 50"/>
                <a:gd name="T92" fmla="*/ 50 w 86"/>
                <a:gd name="T93" fmla="*/ 0 h 50"/>
                <a:gd name="T94" fmla="*/ 50 w 86"/>
                <a:gd name="T95" fmla="*/ 2 h 50"/>
                <a:gd name="T96" fmla="*/ 46 w 86"/>
                <a:gd name="T97" fmla="*/ 6 h 50"/>
                <a:gd name="T98" fmla="*/ 44 w 86"/>
                <a:gd name="T99" fmla="*/ 8 h 50"/>
                <a:gd name="T100" fmla="*/ 42 w 86"/>
                <a:gd name="T101" fmla="*/ 10 h 50"/>
                <a:gd name="T102" fmla="*/ 42 w 86"/>
                <a:gd name="T103" fmla="*/ 10 h 50"/>
                <a:gd name="T104" fmla="*/ 38 w 86"/>
                <a:gd name="T105" fmla="*/ 10 h 50"/>
                <a:gd name="T106" fmla="*/ 34 w 86"/>
                <a:gd name="T107" fmla="*/ 10 h 50"/>
                <a:gd name="T108" fmla="*/ 24 w 86"/>
                <a:gd name="T109" fmla="*/ 8 h 50"/>
                <a:gd name="T110" fmla="*/ 16 w 86"/>
                <a:gd name="T111"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50">
                  <a:moveTo>
                    <a:pt x="14" y="4"/>
                  </a:moveTo>
                  <a:lnTo>
                    <a:pt x="0" y="10"/>
                  </a:lnTo>
                  <a:lnTo>
                    <a:pt x="0" y="14"/>
                  </a:lnTo>
                  <a:lnTo>
                    <a:pt x="0" y="16"/>
                  </a:lnTo>
                  <a:lnTo>
                    <a:pt x="0" y="18"/>
                  </a:lnTo>
                  <a:lnTo>
                    <a:pt x="0" y="22"/>
                  </a:lnTo>
                  <a:lnTo>
                    <a:pt x="0" y="24"/>
                  </a:lnTo>
                  <a:lnTo>
                    <a:pt x="0" y="24"/>
                  </a:lnTo>
                  <a:lnTo>
                    <a:pt x="2" y="26"/>
                  </a:lnTo>
                  <a:lnTo>
                    <a:pt x="2" y="26"/>
                  </a:lnTo>
                  <a:lnTo>
                    <a:pt x="2" y="28"/>
                  </a:lnTo>
                  <a:lnTo>
                    <a:pt x="4" y="28"/>
                  </a:lnTo>
                  <a:lnTo>
                    <a:pt x="4" y="28"/>
                  </a:lnTo>
                  <a:lnTo>
                    <a:pt x="6" y="30"/>
                  </a:lnTo>
                  <a:lnTo>
                    <a:pt x="8" y="30"/>
                  </a:lnTo>
                  <a:lnTo>
                    <a:pt x="10" y="30"/>
                  </a:lnTo>
                  <a:lnTo>
                    <a:pt x="12" y="30"/>
                  </a:lnTo>
                  <a:lnTo>
                    <a:pt x="16" y="30"/>
                  </a:lnTo>
                  <a:lnTo>
                    <a:pt x="20" y="30"/>
                  </a:lnTo>
                  <a:lnTo>
                    <a:pt x="24" y="30"/>
                  </a:lnTo>
                  <a:lnTo>
                    <a:pt x="26" y="30"/>
                  </a:lnTo>
                  <a:lnTo>
                    <a:pt x="28" y="30"/>
                  </a:lnTo>
                  <a:lnTo>
                    <a:pt x="30" y="30"/>
                  </a:lnTo>
                  <a:lnTo>
                    <a:pt x="32" y="32"/>
                  </a:lnTo>
                  <a:lnTo>
                    <a:pt x="32" y="32"/>
                  </a:lnTo>
                  <a:lnTo>
                    <a:pt x="32" y="32"/>
                  </a:lnTo>
                  <a:lnTo>
                    <a:pt x="34" y="34"/>
                  </a:lnTo>
                  <a:lnTo>
                    <a:pt x="36" y="36"/>
                  </a:lnTo>
                  <a:lnTo>
                    <a:pt x="38" y="38"/>
                  </a:lnTo>
                  <a:lnTo>
                    <a:pt x="40" y="40"/>
                  </a:lnTo>
                  <a:lnTo>
                    <a:pt x="40" y="40"/>
                  </a:lnTo>
                  <a:lnTo>
                    <a:pt x="40" y="40"/>
                  </a:lnTo>
                  <a:lnTo>
                    <a:pt x="42" y="42"/>
                  </a:lnTo>
                  <a:lnTo>
                    <a:pt x="42" y="42"/>
                  </a:lnTo>
                  <a:lnTo>
                    <a:pt x="44" y="42"/>
                  </a:lnTo>
                  <a:lnTo>
                    <a:pt x="46" y="42"/>
                  </a:lnTo>
                  <a:lnTo>
                    <a:pt x="48" y="40"/>
                  </a:lnTo>
                  <a:lnTo>
                    <a:pt x="50" y="40"/>
                  </a:lnTo>
                  <a:lnTo>
                    <a:pt x="52" y="38"/>
                  </a:lnTo>
                  <a:lnTo>
                    <a:pt x="54" y="38"/>
                  </a:lnTo>
                  <a:lnTo>
                    <a:pt x="54" y="36"/>
                  </a:lnTo>
                  <a:lnTo>
                    <a:pt x="54" y="36"/>
                  </a:lnTo>
                  <a:lnTo>
                    <a:pt x="56" y="36"/>
                  </a:lnTo>
                  <a:lnTo>
                    <a:pt x="56" y="34"/>
                  </a:lnTo>
                  <a:lnTo>
                    <a:pt x="56" y="34"/>
                  </a:lnTo>
                  <a:lnTo>
                    <a:pt x="54" y="32"/>
                  </a:lnTo>
                  <a:lnTo>
                    <a:pt x="54" y="32"/>
                  </a:lnTo>
                  <a:lnTo>
                    <a:pt x="54" y="30"/>
                  </a:lnTo>
                  <a:lnTo>
                    <a:pt x="52" y="28"/>
                  </a:lnTo>
                  <a:lnTo>
                    <a:pt x="52" y="26"/>
                  </a:lnTo>
                  <a:lnTo>
                    <a:pt x="50" y="26"/>
                  </a:lnTo>
                  <a:lnTo>
                    <a:pt x="50" y="24"/>
                  </a:lnTo>
                  <a:lnTo>
                    <a:pt x="50" y="24"/>
                  </a:lnTo>
                  <a:lnTo>
                    <a:pt x="50" y="22"/>
                  </a:lnTo>
                  <a:lnTo>
                    <a:pt x="50" y="22"/>
                  </a:lnTo>
                  <a:lnTo>
                    <a:pt x="50" y="22"/>
                  </a:lnTo>
                  <a:lnTo>
                    <a:pt x="50" y="22"/>
                  </a:lnTo>
                  <a:lnTo>
                    <a:pt x="52" y="22"/>
                  </a:lnTo>
                  <a:lnTo>
                    <a:pt x="52" y="20"/>
                  </a:lnTo>
                  <a:lnTo>
                    <a:pt x="54" y="20"/>
                  </a:lnTo>
                  <a:lnTo>
                    <a:pt x="56" y="20"/>
                  </a:lnTo>
                  <a:lnTo>
                    <a:pt x="58" y="20"/>
                  </a:lnTo>
                  <a:lnTo>
                    <a:pt x="60" y="20"/>
                  </a:lnTo>
                  <a:lnTo>
                    <a:pt x="62" y="20"/>
                  </a:lnTo>
                  <a:lnTo>
                    <a:pt x="64" y="22"/>
                  </a:lnTo>
                  <a:lnTo>
                    <a:pt x="64" y="22"/>
                  </a:lnTo>
                  <a:lnTo>
                    <a:pt x="66" y="22"/>
                  </a:lnTo>
                  <a:lnTo>
                    <a:pt x="66" y="24"/>
                  </a:lnTo>
                  <a:lnTo>
                    <a:pt x="68" y="24"/>
                  </a:lnTo>
                  <a:lnTo>
                    <a:pt x="70" y="26"/>
                  </a:lnTo>
                  <a:lnTo>
                    <a:pt x="72" y="28"/>
                  </a:lnTo>
                  <a:lnTo>
                    <a:pt x="74" y="32"/>
                  </a:lnTo>
                  <a:lnTo>
                    <a:pt x="76" y="34"/>
                  </a:lnTo>
                  <a:lnTo>
                    <a:pt x="76" y="36"/>
                  </a:lnTo>
                  <a:lnTo>
                    <a:pt x="78" y="38"/>
                  </a:lnTo>
                  <a:lnTo>
                    <a:pt x="80" y="42"/>
                  </a:lnTo>
                  <a:lnTo>
                    <a:pt x="82" y="46"/>
                  </a:lnTo>
                  <a:lnTo>
                    <a:pt x="84" y="50"/>
                  </a:lnTo>
                  <a:lnTo>
                    <a:pt x="86" y="16"/>
                  </a:lnTo>
                  <a:lnTo>
                    <a:pt x="84" y="16"/>
                  </a:lnTo>
                  <a:lnTo>
                    <a:pt x="80" y="12"/>
                  </a:lnTo>
                  <a:lnTo>
                    <a:pt x="76" y="10"/>
                  </a:lnTo>
                  <a:lnTo>
                    <a:pt x="74" y="8"/>
                  </a:lnTo>
                  <a:lnTo>
                    <a:pt x="72" y="6"/>
                  </a:lnTo>
                  <a:lnTo>
                    <a:pt x="68" y="4"/>
                  </a:lnTo>
                  <a:lnTo>
                    <a:pt x="66" y="2"/>
                  </a:lnTo>
                  <a:lnTo>
                    <a:pt x="60" y="0"/>
                  </a:lnTo>
                  <a:lnTo>
                    <a:pt x="58" y="0"/>
                  </a:lnTo>
                  <a:lnTo>
                    <a:pt x="56" y="0"/>
                  </a:lnTo>
                  <a:lnTo>
                    <a:pt x="54" y="0"/>
                  </a:lnTo>
                  <a:lnTo>
                    <a:pt x="54" y="0"/>
                  </a:lnTo>
                  <a:lnTo>
                    <a:pt x="52" y="0"/>
                  </a:lnTo>
                  <a:lnTo>
                    <a:pt x="52" y="0"/>
                  </a:lnTo>
                  <a:lnTo>
                    <a:pt x="50" y="0"/>
                  </a:lnTo>
                  <a:lnTo>
                    <a:pt x="50" y="0"/>
                  </a:lnTo>
                  <a:lnTo>
                    <a:pt x="50" y="2"/>
                  </a:lnTo>
                  <a:lnTo>
                    <a:pt x="48" y="4"/>
                  </a:lnTo>
                  <a:lnTo>
                    <a:pt x="46" y="6"/>
                  </a:lnTo>
                  <a:lnTo>
                    <a:pt x="46" y="6"/>
                  </a:lnTo>
                  <a:lnTo>
                    <a:pt x="44" y="8"/>
                  </a:lnTo>
                  <a:lnTo>
                    <a:pt x="44" y="10"/>
                  </a:lnTo>
                  <a:lnTo>
                    <a:pt x="42" y="10"/>
                  </a:lnTo>
                  <a:lnTo>
                    <a:pt x="42" y="10"/>
                  </a:lnTo>
                  <a:lnTo>
                    <a:pt x="42" y="10"/>
                  </a:lnTo>
                  <a:lnTo>
                    <a:pt x="40" y="10"/>
                  </a:lnTo>
                  <a:lnTo>
                    <a:pt x="38" y="10"/>
                  </a:lnTo>
                  <a:lnTo>
                    <a:pt x="36" y="10"/>
                  </a:lnTo>
                  <a:lnTo>
                    <a:pt x="34" y="10"/>
                  </a:lnTo>
                  <a:lnTo>
                    <a:pt x="30" y="10"/>
                  </a:lnTo>
                  <a:lnTo>
                    <a:pt x="24" y="8"/>
                  </a:lnTo>
                  <a:lnTo>
                    <a:pt x="20" y="6"/>
                  </a:lnTo>
                  <a:lnTo>
                    <a:pt x="16" y="6"/>
                  </a:lnTo>
                  <a:lnTo>
                    <a:pt x="14" y="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4" name="Freeform 483">
              <a:extLst>
                <a:ext uri="{FF2B5EF4-FFF2-40B4-BE49-F238E27FC236}">
                  <a16:creationId xmlns:a16="http://schemas.microsoft.com/office/drawing/2014/main" id="{9B29D73E-9F41-4DE7-8EF4-F79236AAC317}"/>
                </a:ext>
              </a:extLst>
            </p:cNvPr>
            <p:cNvSpPr>
              <a:spLocks/>
            </p:cNvSpPr>
            <p:nvPr/>
          </p:nvSpPr>
          <p:spPr bwMode="auto">
            <a:xfrm>
              <a:off x="2138759" y="4348294"/>
              <a:ext cx="79675" cy="55426"/>
            </a:xfrm>
            <a:custGeom>
              <a:avLst/>
              <a:gdLst>
                <a:gd name="T0" fmla="*/ 32 w 46"/>
                <a:gd name="T1" fmla="*/ 2 h 32"/>
                <a:gd name="T2" fmla="*/ 0 w 46"/>
                <a:gd name="T3" fmla="*/ 0 h 32"/>
                <a:gd name="T4" fmla="*/ 0 w 46"/>
                <a:gd name="T5" fmla="*/ 2 h 32"/>
                <a:gd name="T6" fmla="*/ 0 w 46"/>
                <a:gd name="T7" fmla="*/ 4 h 32"/>
                <a:gd name="T8" fmla="*/ 0 w 46"/>
                <a:gd name="T9" fmla="*/ 8 h 32"/>
                <a:gd name="T10" fmla="*/ 0 w 46"/>
                <a:gd name="T11" fmla="*/ 10 h 32"/>
                <a:gd name="T12" fmla="*/ 0 w 46"/>
                <a:gd name="T13" fmla="*/ 12 h 32"/>
                <a:gd name="T14" fmla="*/ 0 w 46"/>
                <a:gd name="T15" fmla="*/ 14 h 32"/>
                <a:gd name="T16" fmla="*/ 0 w 46"/>
                <a:gd name="T17" fmla="*/ 14 h 32"/>
                <a:gd name="T18" fmla="*/ 2 w 46"/>
                <a:gd name="T19" fmla="*/ 16 h 32"/>
                <a:gd name="T20" fmla="*/ 2 w 46"/>
                <a:gd name="T21" fmla="*/ 18 h 32"/>
                <a:gd name="T22" fmla="*/ 4 w 46"/>
                <a:gd name="T23" fmla="*/ 20 h 32"/>
                <a:gd name="T24" fmla="*/ 4 w 46"/>
                <a:gd name="T25" fmla="*/ 22 h 32"/>
                <a:gd name="T26" fmla="*/ 6 w 46"/>
                <a:gd name="T27" fmla="*/ 22 h 32"/>
                <a:gd name="T28" fmla="*/ 6 w 46"/>
                <a:gd name="T29" fmla="*/ 24 h 32"/>
                <a:gd name="T30" fmla="*/ 8 w 46"/>
                <a:gd name="T31" fmla="*/ 24 h 32"/>
                <a:gd name="T32" fmla="*/ 10 w 46"/>
                <a:gd name="T33" fmla="*/ 26 h 32"/>
                <a:gd name="T34" fmla="*/ 12 w 46"/>
                <a:gd name="T35" fmla="*/ 26 h 32"/>
                <a:gd name="T36" fmla="*/ 14 w 46"/>
                <a:gd name="T37" fmla="*/ 26 h 32"/>
                <a:gd name="T38" fmla="*/ 18 w 46"/>
                <a:gd name="T39" fmla="*/ 28 h 32"/>
                <a:gd name="T40" fmla="*/ 22 w 46"/>
                <a:gd name="T41" fmla="*/ 30 h 32"/>
                <a:gd name="T42" fmla="*/ 28 w 46"/>
                <a:gd name="T43" fmla="*/ 30 h 32"/>
                <a:gd name="T44" fmla="*/ 30 w 46"/>
                <a:gd name="T45" fmla="*/ 30 h 32"/>
                <a:gd name="T46" fmla="*/ 34 w 46"/>
                <a:gd name="T47" fmla="*/ 32 h 32"/>
                <a:gd name="T48" fmla="*/ 46 w 46"/>
                <a:gd name="T49" fmla="*/ 24 h 32"/>
                <a:gd name="T50" fmla="*/ 46 w 46"/>
                <a:gd name="T51" fmla="*/ 24 h 32"/>
                <a:gd name="T52" fmla="*/ 46 w 46"/>
                <a:gd name="T53" fmla="*/ 18 h 32"/>
                <a:gd name="T54" fmla="*/ 46 w 46"/>
                <a:gd name="T55" fmla="*/ 16 h 32"/>
                <a:gd name="T56" fmla="*/ 46 w 46"/>
                <a:gd name="T57" fmla="*/ 14 h 32"/>
                <a:gd name="T58" fmla="*/ 46 w 46"/>
                <a:gd name="T59" fmla="*/ 12 h 32"/>
                <a:gd name="T60" fmla="*/ 46 w 46"/>
                <a:gd name="T61" fmla="*/ 12 h 32"/>
                <a:gd name="T62" fmla="*/ 46 w 46"/>
                <a:gd name="T63" fmla="*/ 10 h 32"/>
                <a:gd name="T64" fmla="*/ 44 w 46"/>
                <a:gd name="T65" fmla="*/ 10 h 32"/>
                <a:gd name="T66" fmla="*/ 44 w 46"/>
                <a:gd name="T67" fmla="*/ 10 h 32"/>
                <a:gd name="T68" fmla="*/ 42 w 46"/>
                <a:gd name="T69" fmla="*/ 8 h 32"/>
                <a:gd name="T70" fmla="*/ 40 w 46"/>
                <a:gd name="T71" fmla="*/ 6 h 32"/>
                <a:gd name="T72" fmla="*/ 38 w 46"/>
                <a:gd name="T73" fmla="*/ 4 h 32"/>
                <a:gd name="T74" fmla="*/ 34 w 46"/>
                <a:gd name="T75" fmla="*/ 2 h 32"/>
                <a:gd name="T76" fmla="*/ 32 w 46"/>
                <a:gd name="T7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32">
                  <a:moveTo>
                    <a:pt x="32" y="2"/>
                  </a:moveTo>
                  <a:lnTo>
                    <a:pt x="0" y="0"/>
                  </a:lnTo>
                  <a:lnTo>
                    <a:pt x="0" y="2"/>
                  </a:lnTo>
                  <a:lnTo>
                    <a:pt x="0" y="4"/>
                  </a:lnTo>
                  <a:lnTo>
                    <a:pt x="0" y="8"/>
                  </a:lnTo>
                  <a:lnTo>
                    <a:pt x="0" y="10"/>
                  </a:lnTo>
                  <a:lnTo>
                    <a:pt x="0" y="12"/>
                  </a:lnTo>
                  <a:lnTo>
                    <a:pt x="0" y="14"/>
                  </a:lnTo>
                  <a:lnTo>
                    <a:pt x="0" y="14"/>
                  </a:lnTo>
                  <a:lnTo>
                    <a:pt x="2" y="16"/>
                  </a:lnTo>
                  <a:lnTo>
                    <a:pt x="2" y="18"/>
                  </a:lnTo>
                  <a:lnTo>
                    <a:pt x="4" y="20"/>
                  </a:lnTo>
                  <a:lnTo>
                    <a:pt x="4" y="22"/>
                  </a:lnTo>
                  <a:lnTo>
                    <a:pt x="6" y="22"/>
                  </a:lnTo>
                  <a:lnTo>
                    <a:pt x="6" y="24"/>
                  </a:lnTo>
                  <a:lnTo>
                    <a:pt x="8" y="24"/>
                  </a:lnTo>
                  <a:lnTo>
                    <a:pt x="10" y="26"/>
                  </a:lnTo>
                  <a:lnTo>
                    <a:pt x="12" y="26"/>
                  </a:lnTo>
                  <a:lnTo>
                    <a:pt x="14" y="26"/>
                  </a:lnTo>
                  <a:lnTo>
                    <a:pt x="18" y="28"/>
                  </a:lnTo>
                  <a:lnTo>
                    <a:pt x="22" y="30"/>
                  </a:lnTo>
                  <a:lnTo>
                    <a:pt x="28" y="30"/>
                  </a:lnTo>
                  <a:lnTo>
                    <a:pt x="30" y="30"/>
                  </a:lnTo>
                  <a:lnTo>
                    <a:pt x="34" y="32"/>
                  </a:lnTo>
                  <a:lnTo>
                    <a:pt x="46" y="24"/>
                  </a:lnTo>
                  <a:lnTo>
                    <a:pt x="46" y="24"/>
                  </a:lnTo>
                  <a:lnTo>
                    <a:pt x="46" y="18"/>
                  </a:lnTo>
                  <a:lnTo>
                    <a:pt x="46" y="16"/>
                  </a:lnTo>
                  <a:lnTo>
                    <a:pt x="46" y="14"/>
                  </a:lnTo>
                  <a:lnTo>
                    <a:pt x="46" y="12"/>
                  </a:lnTo>
                  <a:lnTo>
                    <a:pt x="46" y="12"/>
                  </a:lnTo>
                  <a:lnTo>
                    <a:pt x="46" y="10"/>
                  </a:lnTo>
                  <a:lnTo>
                    <a:pt x="44" y="10"/>
                  </a:lnTo>
                  <a:lnTo>
                    <a:pt x="44" y="10"/>
                  </a:lnTo>
                  <a:lnTo>
                    <a:pt x="42" y="8"/>
                  </a:lnTo>
                  <a:lnTo>
                    <a:pt x="40" y="6"/>
                  </a:lnTo>
                  <a:lnTo>
                    <a:pt x="38" y="4"/>
                  </a:lnTo>
                  <a:lnTo>
                    <a:pt x="34" y="2"/>
                  </a:lnTo>
                  <a:lnTo>
                    <a:pt x="32"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5" name="Freeform 484">
              <a:extLst>
                <a:ext uri="{FF2B5EF4-FFF2-40B4-BE49-F238E27FC236}">
                  <a16:creationId xmlns:a16="http://schemas.microsoft.com/office/drawing/2014/main" id="{CC098562-6742-486F-A560-B003EC3C963D}"/>
                </a:ext>
              </a:extLst>
            </p:cNvPr>
            <p:cNvSpPr>
              <a:spLocks/>
            </p:cNvSpPr>
            <p:nvPr/>
          </p:nvSpPr>
          <p:spPr bwMode="auto">
            <a:xfrm>
              <a:off x="2138759" y="4348294"/>
              <a:ext cx="79675" cy="55426"/>
            </a:xfrm>
            <a:custGeom>
              <a:avLst/>
              <a:gdLst>
                <a:gd name="T0" fmla="*/ 32 w 46"/>
                <a:gd name="T1" fmla="*/ 2 h 32"/>
                <a:gd name="T2" fmla="*/ 0 w 46"/>
                <a:gd name="T3" fmla="*/ 0 h 32"/>
                <a:gd name="T4" fmla="*/ 0 w 46"/>
                <a:gd name="T5" fmla="*/ 2 h 32"/>
                <a:gd name="T6" fmla="*/ 0 w 46"/>
                <a:gd name="T7" fmla="*/ 4 h 32"/>
                <a:gd name="T8" fmla="*/ 0 w 46"/>
                <a:gd name="T9" fmla="*/ 8 h 32"/>
                <a:gd name="T10" fmla="*/ 0 w 46"/>
                <a:gd name="T11" fmla="*/ 10 h 32"/>
                <a:gd name="T12" fmla="*/ 0 w 46"/>
                <a:gd name="T13" fmla="*/ 12 h 32"/>
                <a:gd name="T14" fmla="*/ 0 w 46"/>
                <a:gd name="T15" fmla="*/ 14 h 32"/>
                <a:gd name="T16" fmla="*/ 0 w 46"/>
                <a:gd name="T17" fmla="*/ 14 h 32"/>
                <a:gd name="T18" fmla="*/ 2 w 46"/>
                <a:gd name="T19" fmla="*/ 16 h 32"/>
                <a:gd name="T20" fmla="*/ 2 w 46"/>
                <a:gd name="T21" fmla="*/ 18 h 32"/>
                <a:gd name="T22" fmla="*/ 4 w 46"/>
                <a:gd name="T23" fmla="*/ 20 h 32"/>
                <a:gd name="T24" fmla="*/ 4 w 46"/>
                <a:gd name="T25" fmla="*/ 22 h 32"/>
                <a:gd name="T26" fmla="*/ 6 w 46"/>
                <a:gd name="T27" fmla="*/ 22 h 32"/>
                <a:gd name="T28" fmla="*/ 6 w 46"/>
                <a:gd name="T29" fmla="*/ 24 h 32"/>
                <a:gd name="T30" fmla="*/ 8 w 46"/>
                <a:gd name="T31" fmla="*/ 24 h 32"/>
                <a:gd name="T32" fmla="*/ 10 w 46"/>
                <a:gd name="T33" fmla="*/ 26 h 32"/>
                <a:gd name="T34" fmla="*/ 12 w 46"/>
                <a:gd name="T35" fmla="*/ 26 h 32"/>
                <a:gd name="T36" fmla="*/ 14 w 46"/>
                <a:gd name="T37" fmla="*/ 26 h 32"/>
                <a:gd name="T38" fmla="*/ 18 w 46"/>
                <a:gd name="T39" fmla="*/ 28 h 32"/>
                <a:gd name="T40" fmla="*/ 22 w 46"/>
                <a:gd name="T41" fmla="*/ 30 h 32"/>
                <a:gd name="T42" fmla="*/ 28 w 46"/>
                <a:gd name="T43" fmla="*/ 30 h 32"/>
                <a:gd name="T44" fmla="*/ 30 w 46"/>
                <a:gd name="T45" fmla="*/ 30 h 32"/>
                <a:gd name="T46" fmla="*/ 34 w 46"/>
                <a:gd name="T47" fmla="*/ 32 h 32"/>
                <a:gd name="T48" fmla="*/ 46 w 46"/>
                <a:gd name="T49" fmla="*/ 24 h 32"/>
                <a:gd name="T50" fmla="*/ 46 w 46"/>
                <a:gd name="T51" fmla="*/ 24 h 32"/>
                <a:gd name="T52" fmla="*/ 46 w 46"/>
                <a:gd name="T53" fmla="*/ 18 h 32"/>
                <a:gd name="T54" fmla="*/ 46 w 46"/>
                <a:gd name="T55" fmla="*/ 16 h 32"/>
                <a:gd name="T56" fmla="*/ 46 w 46"/>
                <a:gd name="T57" fmla="*/ 14 h 32"/>
                <a:gd name="T58" fmla="*/ 46 w 46"/>
                <a:gd name="T59" fmla="*/ 12 h 32"/>
                <a:gd name="T60" fmla="*/ 46 w 46"/>
                <a:gd name="T61" fmla="*/ 12 h 32"/>
                <a:gd name="T62" fmla="*/ 46 w 46"/>
                <a:gd name="T63" fmla="*/ 10 h 32"/>
                <a:gd name="T64" fmla="*/ 44 w 46"/>
                <a:gd name="T65" fmla="*/ 10 h 32"/>
                <a:gd name="T66" fmla="*/ 44 w 46"/>
                <a:gd name="T67" fmla="*/ 10 h 32"/>
                <a:gd name="T68" fmla="*/ 42 w 46"/>
                <a:gd name="T69" fmla="*/ 8 h 32"/>
                <a:gd name="T70" fmla="*/ 40 w 46"/>
                <a:gd name="T71" fmla="*/ 6 h 32"/>
                <a:gd name="T72" fmla="*/ 38 w 46"/>
                <a:gd name="T73" fmla="*/ 4 h 32"/>
                <a:gd name="T74" fmla="*/ 34 w 46"/>
                <a:gd name="T75" fmla="*/ 2 h 32"/>
                <a:gd name="T76" fmla="*/ 32 w 46"/>
                <a:gd name="T7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32">
                  <a:moveTo>
                    <a:pt x="32" y="2"/>
                  </a:moveTo>
                  <a:lnTo>
                    <a:pt x="0" y="0"/>
                  </a:lnTo>
                  <a:lnTo>
                    <a:pt x="0" y="2"/>
                  </a:lnTo>
                  <a:lnTo>
                    <a:pt x="0" y="4"/>
                  </a:lnTo>
                  <a:lnTo>
                    <a:pt x="0" y="8"/>
                  </a:lnTo>
                  <a:lnTo>
                    <a:pt x="0" y="10"/>
                  </a:lnTo>
                  <a:lnTo>
                    <a:pt x="0" y="12"/>
                  </a:lnTo>
                  <a:lnTo>
                    <a:pt x="0" y="14"/>
                  </a:lnTo>
                  <a:lnTo>
                    <a:pt x="0" y="14"/>
                  </a:lnTo>
                  <a:lnTo>
                    <a:pt x="2" y="16"/>
                  </a:lnTo>
                  <a:lnTo>
                    <a:pt x="2" y="18"/>
                  </a:lnTo>
                  <a:lnTo>
                    <a:pt x="4" y="20"/>
                  </a:lnTo>
                  <a:lnTo>
                    <a:pt x="4" y="22"/>
                  </a:lnTo>
                  <a:lnTo>
                    <a:pt x="6" y="22"/>
                  </a:lnTo>
                  <a:lnTo>
                    <a:pt x="6" y="24"/>
                  </a:lnTo>
                  <a:lnTo>
                    <a:pt x="8" y="24"/>
                  </a:lnTo>
                  <a:lnTo>
                    <a:pt x="10" y="26"/>
                  </a:lnTo>
                  <a:lnTo>
                    <a:pt x="12" y="26"/>
                  </a:lnTo>
                  <a:lnTo>
                    <a:pt x="14" y="26"/>
                  </a:lnTo>
                  <a:lnTo>
                    <a:pt x="18" y="28"/>
                  </a:lnTo>
                  <a:lnTo>
                    <a:pt x="22" y="30"/>
                  </a:lnTo>
                  <a:lnTo>
                    <a:pt x="28" y="30"/>
                  </a:lnTo>
                  <a:lnTo>
                    <a:pt x="30" y="30"/>
                  </a:lnTo>
                  <a:lnTo>
                    <a:pt x="34" y="32"/>
                  </a:lnTo>
                  <a:lnTo>
                    <a:pt x="46" y="24"/>
                  </a:lnTo>
                  <a:lnTo>
                    <a:pt x="46" y="24"/>
                  </a:lnTo>
                  <a:lnTo>
                    <a:pt x="46" y="18"/>
                  </a:lnTo>
                  <a:lnTo>
                    <a:pt x="46" y="16"/>
                  </a:lnTo>
                  <a:lnTo>
                    <a:pt x="46" y="14"/>
                  </a:lnTo>
                  <a:lnTo>
                    <a:pt x="46" y="12"/>
                  </a:lnTo>
                  <a:lnTo>
                    <a:pt x="46" y="12"/>
                  </a:lnTo>
                  <a:lnTo>
                    <a:pt x="46" y="10"/>
                  </a:lnTo>
                  <a:lnTo>
                    <a:pt x="44" y="10"/>
                  </a:lnTo>
                  <a:lnTo>
                    <a:pt x="44" y="10"/>
                  </a:lnTo>
                  <a:lnTo>
                    <a:pt x="42" y="8"/>
                  </a:lnTo>
                  <a:lnTo>
                    <a:pt x="40" y="6"/>
                  </a:lnTo>
                  <a:lnTo>
                    <a:pt x="38" y="4"/>
                  </a:lnTo>
                  <a:lnTo>
                    <a:pt x="34" y="2"/>
                  </a:lnTo>
                  <a:lnTo>
                    <a:pt x="32"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6" name="Freeform 485">
              <a:extLst>
                <a:ext uri="{FF2B5EF4-FFF2-40B4-BE49-F238E27FC236}">
                  <a16:creationId xmlns:a16="http://schemas.microsoft.com/office/drawing/2014/main" id="{141C261A-D05C-46EE-ABB7-A783BD171DA1}"/>
                </a:ext>
              </a:extLst>
            </p:cNvPr>
            <p:cNvSpPr>
              <a:spLocks/>
            </p:cNvSpPr>
            <p:nvPr/>
          </p:nvSpPr>
          <p:spPr bwMode="auto">
            <a:xfrm>
              <a:off x="2097190" y="4240905"/>
              <a:ext cx="114317" cy="110853"/>
            </a:xfrm>
            <a:custGeom>
              <a:avLst/>
              <a:gdLst>
                <a:gd name="T0" fmla="*/ 60 w 66"/>
                <a:gd name="T1" fmla="*/ 2 h 64"/>
                <a:gd name="T2" fmla="*/ 54 w 66"/>
                <a:gd name="T3" fmla="*/ 2 h 64"/>
                <a:gd name="T4" fmla="*/ 46 w 66"/>
                <a:gd name="T5" fmla="*/ 0 h 64"/>
                <a:gd name="T6" fmla="*/ 42 w 66"/>
                <a:gd name="T7" fmla="*/ 0 h 64"/>
                <a:gd name="T8" fmla="*/ 38 w 66"/>
                <a:gd name="T9" fmla="*/ 0 h 64"/>
                <a:gd name="T10" fmla="*/ 36 w 66"/>
                <a:gd name="T11" fmla="*/ 2 h 64"/>
                <a:gd name="T12" fmla="*/ 36 w 66"/>
                <a:gd name="T13" fmla="*/ 4 h 64"/>
                <a:gd name="T14" fmla="*/ 36 w 66"/>
                <a:gd name="T15" fmla="*/ 6 h 64"/>
                <a:gd name="T16" fmla="*/ 34 w 66"/>
                <a:gd name="T17" fmla="*/ 12 h 64"/>
                <a:gd name="T18" fmla="*/ 34 w 66"/>
                <a:gd name="T19" fmla="*/ 14 h 64"/>
                <a:gd name="T20" fmla="*/ 34 w 66"/>
                <a:gd name="T21" fmla="*/ 16 h 64"/>
                <a:gd name="T22" fmla="*/ 32 w 66"/>
                <a:gd name="T23" fmla="*/ 16 h 64"/>
                <a:gd name="T24" fmla="*/ 30 w 66"/>
                <a:gd name="T25" fmla="*/ 18 h 64"/>
                <a:gd name="T26" fmla="*/ 26 w 66"/>
                <a:gd name="T27" fmla="*/ 18 h 64"/>
                <a:gd name="T28" fmla="*/ 18 w 66"/>
                <a:gd name="T29" fmla="*/ 18 h 64"/>
                <a:gd name="T30" fmla="*/ 14 w 66"/>
                <a:gd name="T31" fmla="*/ 18 h 64"/>
                <a:gd name="T32" fmla="*/ 12 w 66"/>
                <a:gd name="T33" fmla="*/ 18 h 64"/>
                <a:gd name="T34" fmla="*/ 4 w 66"/>
                <a:gd name="T35" fmla="*/ 22 h 64"/>
                <a:gd name="T36" fmla="*/ 0 w 66"/>
                <a:gd name="T37" fmla="*/ 26 h 64"/>
                <a:gd name="T38" fmla="*/ 6 w 66"/>
                <a:gd name="T39" fmla="*/ 30 h 64"/>
                <a:gd name="T40" fmla="*/ 8 w 66"/>
                <a:gd name="T41" fmla="*/ 32 h 64"/>
                <a:gd name="T42" fmla="*/ 10 w 66"/>
                <a:gd name="T43" fmla="*/ 36 h 64"/>
                <a:gd name="T44" fmla="*/ 10 w 66"/>
                <a:gd name="T45" fmla="*/ 42 h 64"/>
                <a:gd name="T46" fmla="*/ 14 w 66"/>
                <a:gd name="T47" fmla="*/ 50 h 64"/>
                <a:gd name="T48" fmla="*/ 16 w 66"/>
                <a:gd name="T49" fmla="*/ 52 h 64"/>
                <a:gd name="T50" fmla="*/ 20 w 66"/>
                <a:gd name="T51" fmla="*/ 58 h 64"/>
                <a:gd name="T52" fmla="*/ 56 w 66"/>
                <a:gd name="T53" fmla="*/ 64 h 64"/>
                <a:gd name="T54" fmla="*/ 58 w 66"/>
                <a:gd name="T55" fmla="*/ 46 h 64"/>
                <a:gd name="T56" fmla="*/ 58 w 66"/>
                <a:gd name="T57" fmla="*/ 32 h 64"/>
                <a:gd name="T58" fmla="*/ 60 w 66"/>
                <a:gd name="T59" fmla="*/ 22 h 64"/>
                <a:gd name="T60" fmla="*/ 60 w 66"/>
                <a:gd name="T61" fmla="*/ 20 h 64"/>
                <a:gd name="T62" fmla="*/ 64 w 66"/>
                <a:gd name="T63" fmla="*/ 14 h 64"/>
                <a:gd name="T64" fmla="*/ 64 w 66"/>
                <a:gd name="T65" fmla="*/ 12 h 64"/>
                <a:gd name="T66" fmla="*/ 66 w 66"/>
                <a:gd name="T67" fmla="*/ 10 h 64"/>
                <a:gd name="T68" fmla="*/ 64 w 66"/>
                <a:gd name="T69" fmla="*/ 8 h 64"/>
                <a:gd name="T70" fmla="*/ 64 w 66"/>
                <a:gd name="T71" fmla="*/ 6 h 64"/>
                <a:gd name="T72" fmla="*/ 62 w 66"/>
                <a:gd name="T73"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 h="64">
                  <a:moveTo>
                    <a:pt x="60" y="2"/>
                  </a:moveTo>
                  <a:lnTo>
                    <a:pt x="60" y="2"/>
                  </a:lnTo>
                  <a:lnTo>
                    <a:pt x="58" y="2"/>
                  </a:lnTo>
                  <a:lnTo>
                    <a:pt x="54" y="2"/>
                  </a:lnTo>
                  <a:lnTo>
                    <a:pt x="50" y="0"/>
                  </a:lnTo>
                  <a:lnTo>
                    <a:pt x="46" y="0"/>
                  </a:lnTo>
                  <a:lnTo>
                    <a:pt x="42" y="0"/>
                  </a:lnTo>
                  <a:lnTo>
                    <a:pt x="42" y="0"/>
                  </a:lnTo>
                  <a:lnTo>
                    <a:pt x="40" y="0"/>
                  </a:lnTo>
                  <a:lnTo>
                    <a:pt x="38" y="0"/>
                  </a:lnTo>
                  <a:lnTo>
                    <a:pt x="38" y="2"/>
                  </a:lnTo>
                  <a:lnTo>
                    <a:pt x="36" y="2"/>
                  </a:lnTo>
                  <a:lnTo>
                    <a:pt x="36" y="2"/>
                  </a:lnTo>
                  <a:lnTo>
                    <a:pt x="36" y="4"/>
                  </a:lnTo>
                  <a:lnTo>
                    <a:pt x="36" y="4"/>
                  </a:lnTo>
                  <a:lnTo>
                    <a:pt x="36" y="6"/>
                  </a:lnTo>
                  <a:lnTo>
                    <a:pt x="34" y="8"/>
                  </a:lnTo>
                  <a:lnTo>
                    <a:pt x="34" y="12"/>
                  </a:lnTo>
                  <a:lnTo>
                    <a:pt x="34" y="14"/>
                  </a:lnTo>
                  <a:lnTo>
                    <a:pt x="34" y="14"/>
                  </a:lnTo>
                  <a:lnTo>
                    <a:pt x="34" y="16"/>
                  </a:lnTo>
                  <a:lnTo>
                    <a:pt x="34" y="16"/>
                  </a:lnTo>
                  <a:lnTo>
                    <a:pt x="32" y="16"/>
                  </a:lnTo>
                  <a:lnTo>
                    <a:pt x="32" y="16"/>
                  </a:lnTo>
                  <a:lnTo>
                    <a:pt x="30" y="18"/>
                  </a:lnTo>
                  <a:lnTo>
                    <a:pt x="30" y="18"/>
                  </a:lnTo>
                  <a:lnTo>
                    <a:pt x="28" y="18"/>
                  </a:lnTo>
                  <a:lnTo>
                    <a:pt x="26" y="18"/>
                  </a:lnTo>
                  <a:lnTo>
                    <a:pt x="24" y="18"/>
                  </a:lnTo>
                  <a:lnTo>
                    <a:pt x="18" y="18"/>
                  </a:lnTo>
                  <a:lnTo>
                    <a:pt x="16" y="18"/>
                  </a:lnTo>
                  <a:lnTo>
                    <a:pt x="14" y="18"/>
                  </a:lnTo>
                  <a:lnTo>
                    <a:pt x="14" y="18"/>
                  </a:lnTo>
                  <a:lnTo>
                    <a:pt x="12" y="18"/>
                  </a:lnTo>
                  <a:lnTo>
                    <a:pt x="10" y="20"/>
                  </a:lnTo>
                  <a:lnTo>
                    <a:pt x="4" y="22"/>
                  </a:lnTo>
                  <a:lnTo>
                    <a:pt x="0" y="24"/>
                  </a:lnTo>
                  <a:lnTo>
                    <a:pt x="0" y="26"/>
                  </a:lnTo>
                  <a:lnTo>
                    <a:pt x="2" y="28"/>
                  </a:lnTo>
                  <a:lnTo>
                    <a:pt x="6" y="30"/>
                  </a:lnTo>
                  <a:lnTo>
                    <a:pt x="6" y="32"/>
                  </a:lnTo>
                  <a:lnTo>
                    <a:pt x="8" y="32"/>
                  </a:lnTo>
                  <a:lnTo>
                    <a:pt x="8" y="34"/>
                  </a:lnTo>
                  <a:lnTo>
                    <a:pt x="10" y="36"/>
                  </a:lnTo>
                  <a:lnTo>
                    <a:pt x="10" y="40"/>
                  </a:lnTo>
                  <a:lnTo>
                    <a:pt x="10" y="42"/>
                  </a:lnTo>
                  <a:lnTo>
                    <a:pt x="12" y="48"/>
                  </a:lnTo>
                  <a:lnTo>
                    <a:pt x="14" y="50"/>
                  </a:lnTo>
                  <a:lnTo>
                    <a:pt x="14" y="52"/>
                  </a:lnTo>
                  <a:lnTo>
                    <a:pt x="16" y="52"/>
                  </a:lnTo>
                  <a:lnTo>
                    <a:pt x="18" y="54"/>
                  </a:lnTo>
                  <a:lnTo>
                    <a:pt x="20" y="58"/>
                  </a:lnTo>
                  <a:lnTo>
                    <a:pt x="24" y="62"/>
                  </a:lnTo>
                  <a:lnTo>
                    <a:pt x="56" y="64"/>
                  </a:lnTo>
                  <a:lnTo>
                    <a:pt x="56" y="58"/>
                  </a:lnTo>
                  <a:lnTo>
                    <a:pt x="58" y="46"/>
                  </a:lnTo>
                  <a:lnTo>
                    <a:pt x="58" y="38"/>
                  </a:lnTo>
                  <a:lnTo>
                    <a:pt x="58" y="32"/>
                  </a:lnTo>
                  <a:lnTo>
                    <a:pt x="60" y="26"/>
                  </a:lnTo>
                  <a:lnTo>
                    <a:pt x="60" y="22"/>
                  </a:lnTo>
                  <a:lnTo>
                    <a:pt x="60" y="20"/>
                  </a:lnTo>
                  <a:lnTo>
                    <a:pt x="60" y="20"/>
                  </a:lnTo>
                  <a:lnTo>
                    <a:pt x="62" y="18"/>
                  </a:lnTo>
                  <a:lnTo>
                    <a:pt x="64" y="14"/>
                  </a:lnTo>
                  <a:lnTo>
                    <a:pt x="64" y="14"/>
                  </a:lnTo>
                  <a:lnTo>
                    <a:pt x="64" y="12"/>
                  </a:lnTo>
                  <a:lnTo>
                    <a:pt x="66" y="10"/>
                  </a:lnTo>
                  <a:lnTo>
                    <a:pt x="66" y="10"/>
                  </a:lnTo>
                  <a:lnTo>
                    <a:pt x="66" y="10"/>
                  </a:lnTo>
                  <a:lnTo>
                    <a:pt x="64" y="8"/>
                  </a:lnTo>
                  <a:lnTo>
                    <a:pt x="64" y="8"/>
                  </a:lnTo>
                  <a:lnTo>
                    <a:pt x="64" y="6"/>
                  </a:lnTo>
                  <a:lnTo>
                    <a:pt x="62" y="6"/>
                  </a:lnTo>
                  <a:lnTo>
                    <a:pt x="62" y="4"/>
                  </a:lnTo>
                  <a:lnTo>
                    <a:pt x="60"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7" name="Freeform 486">
              <a:extLst>
                <a:ext uri="{FF2B5EF4-FFF2-40B4-BE49-F238E27FC236}">
                  <a16:creationId xmlns:a16="http://schemas.microsoft.com/office/drawing/2014/main" id="{A9D410CF-F3E0-44A3-9D9C-7293FD7F82BB}"/>
                </a:ext>
              </a:extLst>
            </p:cNvPr>
            <p:cNvSpPr>
              <a:spLocks/>
            </p:cNvSpPr>
            <p:nvPr/>
          </p:nvSpPr>
          <p:spPr bwMode="auto">
            <a:xfrm>
              <a:off x="2097190" y="4240905"/>
              <a:ext cx="114317" cy="110853"/>
            </a:xfrm>
            <a:custGeom>
              <a:avLst/>
              <a:gdLst>
                <a:gd name="T0" fmla="*/ 60 w 66"/>
                <a:gd name="T1" fmla="*/ 2 h 64"/>
                <a:gd name="T2" fmla="*/ 54 w 66"/>
                <a:gd name="T3" fmla="*/ 2 h 64"/>
                <a:gd name="T4" fmla="*/ 46 w 66"/>
                <a:gd name="T5" fmla="*/ 0 h 64"/>
                <a:gd name="T6" fmla="*/ 42 w 66"/>
                <a:gd name="T7" fmla="*/ 0 h 64"/>
                <a:gd name="T8" fmla="*/ 38 w 66"/>
                <a:gd name="T9" fmla="*/ 0 h 64"/>
                <a:gd name="T10" fmla="*/ 36 w 66"/>
                <a:gd name="T11" fmla="*/ 2 h 64"/>
                <a:gd name="T12" fmla="*/ 36 w 66"/>
                <a:gd name="T13" fmla="*/ 4 h 64"/>
                <a:gd name="T14" fmla="*/ 36 w 66"/>
                <a:gd name="T15" fmla="*/ 6 h 64"/>
                <a:gd name="T16" fmla="*/ 34 w 66"/>
                <a:gd name="T17" fmla="*/ 12 h 64"/>
                <a:gd name="T18" fmla="*/ 34 w 66"/>
                <a:gd name="T19" fmla="*/ 14 h 64"/>
                <a:gd name="T20" fmla="*/ 34 w 66"/>
                <a:gd name="T21" fmla="*/ 16 h 64"/>
                <a:gd name="T22" fmla="*/ 32 w 66"/>
                <a:gd name="T23" fmla="*/ 16 h 64"/>
                <a:gd name="T24" fmla="*/ 30 w 66"/>
                <a:gd name="T25" fmla="*/ 18 h 64"/>
                <a:gd name="T26" fmla="*/ 26 w 66"/>
                <a:gd name="T27" fmla="*/ 18 h 64"/>
                <a:gd name="T28" fmla="*/ 18 w 66"/>
                <a:gd name="T29" fmla="*/ 18 h 64"/>
                <a:gd name="T30" fmla="*/ 14 w 66"/>
                <a:gd name="T31" fmla="*/ 18 h 64"/>
                <a:gd name="T32" fmla="*/ 12 w 66"/>
                <a:gd name="T33" fmla="*/ 18 h 64"/>
                <a:gd name="T34" fmla="*/ 4 w 66"/>
                <a:gd name="T35" fmla="*/ 22 h 64"/>
                <a:gd name="T36" fmla="*/ 0 w 66"/>
                <a:gd name="T37" fmla="*/ 26 h 64"/>
                <a:gd name="T38" fmla="*/ 6 w 66"/>
                <a:gd name="T39" fmla="*/ 30 h 64"/>
                <a:gd name="T40" fmla="*/ 8 w 66"/>
                <a:gd name="T41" fmla="*/ 32 h 64"/>
                <a:gd name="T42" fmla="*/ 10 w 66"/>
                <a:gd name="T43" fmla="*/ 36 h 64"/>
                <a:gd name="T44" fmla="*/ 10 w 66"/>
                <a:gd name="T45" fmla="*/ 42 h 64"/>
                <a:gd name="T46" fmla="*/ 14 w 66"/>
                <a:gd name="T47" fmla="*/ 50 h 64"/>
                <a:gd name="T48" fmla="*/ 16 w 66"/>
                <a:gd name="T49" fmla="*/ 52 h 64"/>
                <a:gd name="T50" fmla="*/ 20 w 66"/>
                <a:gd name="T51" fmla="*/ 58 h 64"/>
                <a:gd name="T52" fmla="*/ 56 w 66"/>
                <a:gd name="T53" fmla="*/ 64 h 64"/>
                <a:gd name="T54" fmla="*/ 58 w 66"/>
                <a:gd name="T55" fmla="*/ 46 h 64"/>
                <a:gd name="T56" fmla="*/ 58 w 66"/>
                <a:gd name="T57" fmla="*/ 32 h 64"/>
                <a:gd name="T58" fmla="*/ 60 w 66"/>
                <a:gd name="T59" fmla="*/ 22 h 64"/>
                <a:gd name="T60" fmla="*/ 60 w 66"/>
                <a:gd name="T61" fmla="*/ 20 h 64"/>
                <a:gd name="T62" fmla="*/ 64 w 66"/>
                <a:gd name="T63" fmla="*/ 14 h 64"/>
                <a:gd name="T64" fmla="*/ 64 w 66"/>
                <a:gd name="T65" fmla="*/ 12 h 64"/>
                <a:gd name="T66" fmla="*/ 66 w 66"/>
                <a:gd name="T67" fmla="*/ 10 h 64"/>
                <a:gd name="T68" fmla="*/ 64 w 66"/>
                <a:gd name="T69" fmla="*/ 8 h 64"/>
                <a:gd name="T70" fmla="*/ 64 w 66"/>
                <a:gd name="T71" fmla="*/ 6 h 64"/>
                <a:gd name="T72" fmla="*/ 62 w 66"/>
                <a:gd name="T73"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 h="64">
                  <a:moveTo>
                    <a:pt x="60" y="2"/>
                  </a:moveTo>
                  <a:lnTo>
                    <a:pt x="60" y="2"/>
                  </a:lnTo>
                  <a:lnTo>
                    <a:pt x="58" y="2"/>
                  </a:lnTo>
                  <a:lnTo>
                    <a:pt x="54" y="2"/>
                  </a:lnTo>
                  <a:lnTo>
                    <a:pt x="50" y="0"/>
                  </a:lnTo>
                  <a:lnTo>
                    <a:pt x="46" y="0"/>
                  </a:lnTo>
                  <a:lnTo>
                    <a:pt x="42" y="0"/>
                  </a:lnTo>
                  <a:lnTo>
                    <a:pt x="42" y="0"/>
                  </a:lnTo>
                  <a:lnTo>
                    <a:pt x="40" y="0"/>
                  </a:lnTo>
                  <a:lnTo>
                    <a:pt x="38" y="0"/>
                  </a:lnTo>
                  <a:lnTo>
                    <a:pt x="38" y="2"/>
                  </a:lnTo>
                  <a:lnTo>
                    <a:pt x="36" y="2"/>
                  </a:lnTo>
                  <a:lnTo>
                    <a:pt x="36" y="2"/>
                  </a:lnTo>
                  <a:lnTo>
                    <a:pt x="36" y="4"/>
                  </a:lnTo>
                  <a:lnTo>
                    <a:pt x="36" y="4"/>
                  </a:lnTo>
                  <a:lnTo>
                    <a:pt x="36" y="6"/>
                  </a:lnTo>
                  <a:lnTo>
                    <a:pt x="34" y="8"/>
                  </a:lnTo>
                  <a:lnTo>
                    <a:pt x="34" y="12"/>
                  </a:lnTo>
                  <a:lnTo>
                    <a:pt x="34" y="14"/>
                  </a:lnTo>
                  <a:lnTo>
                    <a:pt x="34" y="14"/>
                  </a:lnTo>
                  <a:lnTo>
                    <a:pt x="34" y="16"/>
                  </a:lnTo>
                  <a:lnTo>
                    <a:pt x="34" y="16"/>
                  </a:lnTo>
                  <a:lnTo>
                    <a:pt x="32" y="16"/>
                  </a:lnTo>
                  <a:lnTo>
                    <a:pt x="32" y="16"/>
                  </a:lnTo>
                  <a:lnTo>
                    <a:pt x="30" y="18"/>
                  </a:lnTo>
                  <a:lnTo>
                    <a:pt x="30" y="18"/>
                  </a:lnTo>
                  <a:lnTo>
                    <a:pt x="28" y="18"/>
                  </a:lnTo>
                  <a:lnTo>
                    <a:pt x="26" y="18"/>
                  </a:lnTo>
                  <a:lnTo>
                    <a:pt x="24" y="18"/>
                  </a:lnTo>
                  <a:lnTo>
                    <a:pt x="18" y="18"/>
                  </a:lnTo>
                  <a:lnTo>
                    <a:pt x="16" y="18"/>
                  </a:lnTo>
                  <a:lnTo>
                    <a:pt x="14" y="18"/>
                  </a:lnTo>
                  <a:lnTo>
                    <a:pt x="14" y="18"/>
                  </a:lnTo>
                  <a:lnTo>
                    <a:pt x="12" y="18"/>
                  </a:lnTo>
                  <a:lnTo>
                    <a:pt x="10" y="20"/>
                  </a:lnTo>
                  <a:lnTo>
                    <a:pt x="4" y="22"/>
                  </a:lnTo>
                  <a:lnTo>
                    <a:pt x="0" y="24"/>
                  </a:lnTo>
                  <a:lnTo>
                    <a:pt x="0" y="26"/>
                  </a:lnTo>
                  <a:lnTo>
                    <a:pt x="2" y="28"/>
                  </a:lnTo>
                  <a:lnTo>
                    <a:pt x="6" y="30"/>
                  </a:lnTo>
                  <a:lnTo>
                    <a:pt x="6" y="32"/>
                  </a:lnTo>
                  <a:lnTo>
                    <a:pt x="8" y="32"/>
                  </a:lnTo>
                  <a:lnTo>
                    <a:pt x="8" y="34"/>
                  </a:lnTo>
                  <a:lnTo>
                    <a:pt x="10" y="36"/>
                  </a:lnTo>
                  <a:lnTo>
                    <a:pt x="10" y="40"/>
                  </a:lnTo>
                  <a:lnTo>
                    <a:pt x="10" y="42"/>
                  </a:lnTo>
                  <a:lnTo>
                    <a:pt x="12" y="48"/>
                  </a:lnTo>
                  <a:lnTo>
                    <a:pt x="14" y="50"/>
                  </a:lnTo>
                  <a:lnTo>
                    <a:pt x="14" y="52"/>
                  </a:lnTo>
                  <a:lnTo>
                    <a:pt x="16" y="52"/>
                  </a:lnTo>
                  <a:lnTo>
                    <a:pt x="18" y="54"/>
                  </a:lnTo>
                  <a:lnTo>
                    <a:pt x="20" y="58"/>
                  </a:lnTo>
                  <a:lnTo>
                    <a:pt x="24" y="62"/>
                  </a:lnTo>
                  <a:lnTo>
                    <a:pt x="56" y="64"/>
                  </a:lnTo>
                  <a:lnTo>
                    <a:pt x="56" y="58"/>
                  </a:lnTo>
                  <a:lnTo>
                    <a:pt x="58" y="46"/>
                  </a:lnTo>
                  <a:lnTo>
                    <a:pt x="58" y="38"/>
                  </a:lnTo>
                  <a:lnTo>
                    <a:pt x="58" y="32"/>
                  </a:lnTo>
                  <a:lnTo>
                    <a:pt x="60" y="26"/>
                  </a:lnTo>
                  <a:lnTo>
                    <a:pt x="60" y="22"/>
                  </a:lnTo>
                  <a:lnTo>
                    <a:pt x="60" y="20"/>
                  </a:lnTo>
                  <a:lnTo>
                    <a:pt x="60" y="20"/>
                  </a:lnTo>
                  <a:lnTo>
                    <a:pt x="62" y="18"/>
                  </a:lnTo>
                  <a:lnTo>
                    <a:pt x="64" y="14"/>
                  </a:lnTo>
                  <a:lnTo>
                    <a:pt x="64" y="14"/>
                  </a:lnTo>
                  <a:lnTo>
                    <a:pt x="64" y="12"/>
                  </a:lnTo>
                  <a:lnTo>
                    <a:pt x="66" y="10"/>
                  </a:lnTo>
                  <a:lnTo>
                    <a:pt x="66" y="10"/>
                  </a:lnTo>
                  <a:lnTo>
                    <a:pt x="66" y="10"/>
                  </a:lnTo>
                  <a:lnTo>
                    <a:pt x="64" y="8"/>
                  </a:lnTo>
                  <a:lnTo>
                    <a:pt x="64" y="8"/>
                  </a:lnTo>
                  <a:lnTo>
                    <a:pt x="64" y="6"/>
                  </a:lnTo>
                  <a:lnTo>
                    <a:pt x="62" y="6"/>
                  </a:lnTo>
                  <a:lnTo>
                    <a:pt x="62" y="4"/>
                  </a:lnTo>
                  <a:lnTo>
                    <a:pt x="60"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8" name="Freeform 487">
              <a:extLst>
                <a:ext uri="{FF2B5EF4-FFF2-40B4-BE49-F238E27FC236}">
                  <a16:creationId xmlns:a16="http://schemas.microsoft.com/office/drawing/2014/main" id="{43CC55FD-4239-46D3-B3BF-FB3069CB0A93}"/>
                </a:ext>
              </a:extLst>
            </p:cNvPr>
            <p:cNvSpPr>
              <a:spLocks/>
            </p:cNvSpPr>
            <p:nvPr/>
          </p:nvSpPr>
          <p:spPr bwMode="auto">
            <a:xfrm>
              <a:off x="2045227" y="4247834"/>
              <a:ext cx="51962" cy="34641"/>
            </a:xfrm>
            <a:custGeom>
              <a:avLst/>
              <a:gdLst>
                <a:gd name="T0" fmla="*/ 28 w 30"/>
                <a:gd name="T1" fmla="*/ 20 h 20"/>
                <a:gd name="T2" fmla="*/ 28 w 30"/>
                <a:gd name="T3" fmla="*/ 20 h 20"/>
                <a:gd name="T4" fmla="*/ 28 w 30"/>
                <a:gd name="T5" fmla="*/ 18 h 20"/>
                <a:gd name="T6" fmla="*/ 30 w 30"/>
                <a:gd name="T7" fmla="*/ 16 h 20"/>
                <a:gd name="T8" fmla="*/ 30 w 30"/>
                <a:gd name="T9" fmla="*/ 12 h 20"/>
                <a:gd name="T10" fmla="*/ 30 w 30"/>
                <a:gd name="T11" fmla="*/ 10 h 20"/>
                <a:gd name="T12" fmla="*/ 28 w 30"/>
                <a:gd name="T13" fmla="*/ 6 h 20"/>
                <a:gd name="T14" fmla="*/ 28 w 30"/>
                <a:gd name="T15" fmla="*/ 6 h 20"/>
                <a:gd name="T16" fmla="*/ 28 w 30"/>
                <a:gd name="T17" fmla="*/ 4 h 20"/>
                <a:gd name="T18" fmla="*/ 28 w 30"/>
                <a:gd name="T19" fmla="*/ 4 h 20"/>
                <a:gd name="T20" fmla="*/ 28 w 30"/>
                <a:gd name="T21" fmla="*/ 2 h 20"/>
                <a:gd name="T22" fmla="*/ 26 w 30"/>
                <a:gd name="T23" fmla="*/ 2 h 20"/>
                <a:gd name="T24" fmla="*/ 26 w 30"/>
                <a:gd name="T25" fmla="*/ 2 h 20"/>
                <a:gd name="T26" fmla="*/ 26 w 30"/>
                <a:gd name="T27" fmla="*/ 2 h 20"/>
                <a:gd name="T28" fmla="*/ 24 w 30"/>
                <a:gd name="T29" fmla="*/ 0 h 20"/>
                <a:gd name="T30" fmla="*/ 22 w 30"/>
                <a:gd name="T31" fmla="*/ 0 h 20"/>
                <a:gd name="T32" fmla="*/ 20 w 30"/>
                <a:gd name="T33" fmla="*/ 0 h 20"/>
                <a:gd name="T34" fmla="*/ 18 w 30"/>
                <a:gd name="T35" fmla="*/ 0 h 20"/>
                <a:gd name="T36" fmla="*/ 14 w 30"/>
                <a:gd name="T37" fmla="*/ 0 h 20"/>
                <a:gd name="T38" fmla="*/ 12 w 30"/>
                <a:gd name="T39" fmla="*/ 0 h 20"/>
                <a:gd name="T40" fmla="*/ 10 w 30"/>
                <a:gd name="T41" fmla="*/ 2 h 20"/>
                <a:gd name="T42" fmla="*/ 10 w 30"/>
                <a:gd name="T43" fmla="*/ 2 h 20"/>
                <a:gd name="T44" fmla="*/ 8 w 30"/>
                <a:gd name="T45" fmla="*/ 2 h 20"/>
                <a:gd name="T46" fmla="*/ 4 w 30"/>
                <a:gd name="T47" fmla="*/ 4 h 20"/>
                <a:gd name="T48" fmla="*/ 0 w 30"/>
                <a:gd name="T49" fmla="*/ 6 h 20"/>
                <a:gd name="T50" fmla="*/ 28 w 30"/>
                <a:gd name="T5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20">
                  <a:moveTo>
                    <a:pt x="28" y="20"/>
                  </a:moveTo>
                  <a:lnTo>
                    <a:pt x="28" y="20"/>
                  </a:lnTo>
                  <a:lnTo>
                    <a:pt x="28" y="18"/>
                  </a:lnTo>
                  <a:lnTo>
                    <a:pt x="30" y="16"/>
                  </a:lnTo>
                  <a:lnTo>
                    <a:pt x="30" y="12"/>
                  </a:lnTo>
                  <a:lnTo>
                    <a:pt x="30" y="10"/>
                  </a:lnTo>
                  <a:lnTo>
                    <a:pt x="28" y="6"/>
                  </a:lnTo>
                  <a:lnTo>
                    <a:pt x="28" y="6"/>
                  </a:lnTo>
                  <a:lnTo>
                    <a:pt x="28" y="4"/>
                  </a:lnTo>
                  <a:lnTo>
                    <a:pt x="28" y="4"/>
                  </a:lnTo>
                  <a:lnTo>
                    <a:pt x="28" y="2"/>
                  </a:lnTo>
                  <a:lnTo>
                    <a:pt x="26" y="2"/>
                  </a:lnTo>
                  <a:lnTo>
                    <a:pt x="26" y="2"/>
                  </a:lnTo>
                  <a:lnTo>
                    <a:pt x="26" y="2"/>
                  </a:lnTo>
                  <a:lnTo>
                    <a:pt x="24" y="0"/>
                  </a:lnTo>
                  <a:lnTo>
                    <a:pt x="22" y="0"/>
                  </a:lnTo>
                  <a:lnTo>
                    <a:pt x="20" y="0"/>
                  </a:lnTo>
                  <a:lnTo>
                    <a:pt x="18" y="0"/>
                  </a:lnTo>
                  <a:lnTo>
                    <a:pt x="14" y="0"/>
                  </a:lnTo>
                  <a:lnTo>
                    <a:pt x="12" y="0"/>
                  </a:lnTo>
                  <a:lnTo>
                    <a:pt x="10" y="2"/>
                  </a:lnTo>
                  <a:lnTo>
                    <a:pt x="10" y="2"/>
                  </a:lnTo>
                  <a:lnTo>
                    <a:pt x="8" y="2"/>
                  </a:lnTo>
                  <a:lnTo>
                    <a:pt x="4" y="4"/>
                  </a:lnTo>
                  <a:lnTo>
                    <a:pt x="0" y="6"/>
                  </a:lnTo>
                  <a:lnTo>
                    <a:pt x="28" y="2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9" name="Freeform 488">
              <a:extLst>
                <a:ext uri="{FF2B5EF4-FFF2-40B4-BE49-F238E27FC236}">
                  <a16:creationId xmlns:a16="http://schemas.microsoft.com/office/drawing/2014/main" id="{5BCB7E1B-C252-4252-86D7-5B51CA0F767A}"/>
                </a:ext>
              </a:extLst>
            </p:cNvPr>
            <p:cNvSpPr>
              <a:spLocks/>
            </p:cNvSpPr>
            <p:nvPr/>
          </p:nvSpPr>
          <p:spPr bwMode="auto">
            <a:xfrm>
              <a:off x="2045227" y="4247834"/>
              <a:ext cx="51962" cy="34641"/>
            </a:xfrm>
            <a:custGeom>
              <a:avLst/>
              <a:gdLst>
                <a:gd name="T0" fmla="*/ 28 w 30"/>
                <a:gd name="T1" fmla="*/ 20 h 20"/>
                <a:gd name="T2" fmla="*/ 28 w 30"/>
                <a:gd name="T3" fmla="*/ 20 h 20"/>
                <a:gd name="T4" fmla="*/ 28 w 30"/>
                <a:gd name="T5" fmla="*/ 18 h 20"/>
                <a:gd name="T6" fmla="*/ 30 w 30"/>
                <a:gd name="T7" fmla="*/ 16 h 20"/>
                <a:gd name="T8" fmla="*/ 30 w 30"/>
                <a:gd name="T9" fmla="*/ 12 h 20"/>
                <a:gd name="T10" fmla="*/ 30 w 30"/>
                <a:gd name="T11" fmla="*/ 10 h 20"/>
                <a:gd name="T12" fmla="*/ 28 w 30"/>
                <a:gd name="T13" fmla="*/ 6 h 20"/>
                <a:gd name="T14" fmla="*/ 28 w 30"/>
                <a:gd name="T15" fmla="*/ 6 h 20"/>
                <a:gd name="T16" fmla="*/ 28 w 30"/>
                <a:gd name="T17" fmla="*/ 4 h 20"/>
                <a:gd name="T18" fmla="*/ 28 w 30"/>
                <a:gd name="T19" fmla="*/ 4 h 20"/>
                <a:gd name="T20" fmla="*/ 28 w 30"/>
                <a:gd name="T21" fmla="*/ 2 h 20"/>
                <a:gd name="T22" fmla="*/ 26 w 30"/>
                <a:gd name="T23" fmla="*/ 2 h 20"/>
                <a:gd name="T24" fmla="*/ 26 w 30"/>
                <a:gd name="T25" fmla="*/ 2 h 20"/>
                <a:gd name="T26" fmla="*/ 26 w 30"/>
                <a:gd name="T27" fmla="*/ 2 h 20"/>
                <a:gd name="T28" fmla="*/ 24 w 30"/>
                <a:gd name="T29" fmla="*/ 0 h 20"/>
                <a:gd name="T30" fmla="*/ 22 w 30"/>
                <a:gd name="T31" fmla="*/ 0 h 20"/>
                <a:gd name="T32" fmla="*/ 20 w 30"/>
                <a:gd name="T33" fmla="*/ 0 h 20"/>
                <a:gd name="T34" fmla="*/ 18 w 30"/>
                <a:gd name="T35" fmla="*/ 0 h 20"/>
                <a:gd name="T36" fmla="*/ 14 w 30"/>
                <a:gd name="T37" fmla="*/ 0 h 20"/>
                <a:gd name="T38" fmla="*/ 12 w 30"/>
                <a:gd name="T39" fmla="*/ 0 h 20"/>
                <a:gd name="T40" fmla="*/ 10 w 30"/>
                <a:gd name="T41" fmla="*/ 2 h 20"/>
                <a:gd name="T42" fmla="*/ 10 w 30"/>
                <a:gd name="T43" fmla="*/ 2 h 20"/>
                <a:gd name="T44" fmla="*/ 8 w 30"/>
                <a:gd name="T45" fmla="*/ 2 h 20"/>
                <a:gd name="T46" fmla="*/ 4 w 30"/>
                <a:gd name="T47" fmla="*/ 4 h 20"/>
                <a:gd name="T48" fmla="*/ 0 w 30"/>
                <a:gd name="T49" fmla="*/ 6 h 20"/>
                <a:gd name="T50" fmla="*/ 28 w 30"/>
                <a:gd name="T5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20">
                  <a:moveTo>
                    <a:pt x="28" y="20"/>
                  </a:moveTo>
                  <a:lnTo>
                    <a:pt x="28" y="20"/>
                  </a:lnTo>
                  <a:lnTo>
                    <a:pt x="28" y="18"/>
                  </a:lnTo>
                  <a:lnTo>
                    <a:pt x="30" y="16"/>
                  </a:lnTo>
                  <a:lnTo>
                    <a:pt x="30" y="12"/>
                  </a:lnTo>
                  <a:lnTo>
                    <a:pt x="30" y="10"/>
                  </a:lnTo>
                  <a:lnTo>
                    <a:pt x="28" y="6"/>
                  </a:lnTo>
                  <a:lnTo>
                    <a:pt x="28" y="6"/>
                  </a:lnTo>
                  <a:lnTo>
                    <a:pt x="28" y="4"/>
                  </a:lnTo>
                  <a:lnTo>
                    <a:pt x="28" y="4"/>
                  </a:lnTo>
                  <a:lnTo>
                    <a:pt x="28" y="2"/>
                  </a:lnTo>
                  <a:lnTo>
                    <a:pt x="26" y="2"/>
                  </a:lnTo>
                  <a:lnTo>
                    <a:pt x="26" y="2"/>
                  </a:lnTo>
                  <a:lnTo>
                    <a:pt x="26" y="2"/>
                  </a:lnTo>
                  <a:lnTo>
                    <a:pt x="24" y="0"/>
                  </a:lnTo>
                  <a:lnTo>
                    <a:pt x="22" y="0"/>
                  </a:lnTo>
                  <a:lnTo>
                    <a:pt x="20" y="0"/>
                  </a:lnTo>
                  <a:lnTo>
                    <a:pt x="18" y="0"/>
                  </a:lnTo>
                  <a:lnTo>
                    <a:pt x="14" y="0"/>
                  </a:lnTo>
                  <a:lnTo>
                    <a:pt x="12" y="0"/>
                  </a:lnTo>
                  <a:lnTo>
                    <a:pt x="10" y="2"/>
                  </a:lnTo>
                  <a:lnTo>
                    <a:pt x="10" y="2"/>
                  </a:lnTo>
                  <a:lnTo>
                    <a:pt x="8" y="2"/>
                  </a:lnTo>
                  <a:lnTo>
                    <a:pt x="4" y="4"/>
                  </a:lnTo>
                  <a:lnTo>
                    <a:pt x="0" y="6"/>
                  </a:lnTo>
                  <a:lnTo>
                    <a:pt x="28" y="2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0" name="Freeform 489">
              <a:extLst>
                <a:ext uri="{FF2B5EF4-FFF2-40B4-BE49-F238E27FC236}">
                  <a16:creationId xmlns:a16="http://schemas.microsoft.com/office/drawing/2014/main" id="{77DD1424-EB45-4458-A7ED-36596E8B1629}"/>
                </a:ext>
              </a:extLst>
            </p:cNvPr>
            <p:cNvSpPr>
              <a:spLocks/>
            </p:cNvSpPr>
            <p:nvPr/>
          </p:nvSpPr>
          <p:spPr bwMode="auto">
            <a:xfrm>
              <a:off x="2045227" y="4199336"/>
              <a:ext cx="173208" cy="83140"/>
            </a:xfrm>
            <a:custGeom>
              <a:avLst/>
              <a:gdLst>
                <a:gd name="T0" fmla="*/ 16 w 100"/>
                <a:gd name="T1" fmla="*/ 10 h 48"/>
                <a:gd name="T2" fmla="*/ 16 w 100"/>
                <a:gd name="T3" fmla="*/ 18 h 48"/>
                <a:gd name="T4" fmla="*/ 14 w 100"/>
                <a:gd name="T5" fmla="*/ 20 h 48"/>
                <a:gd name="T6" fmla="*/ 12 w 100"/>
                <a:gd name="T7" fmla="*/ 22 h 48"/>
                <a:gd name="T8" fmla="*/ 8 w 100"/>
                <a:gd name="T9" fmla="*/ 20 h 48"/>
                <a:gd name="T10" fmla="*/ 4 w 100"/>
                <a:gd name="T11" fmla="*/ 20 h 48"/>
                <a:gd name="T12" fmla="*/ 2 w 100"/>
                <a:gd name="T13" fmla="*/ 22 h 48"/>
                <a:gd name="T14" fmla="*/ 2 w 100"/>
                <a:gd name="T15" fmla="*/ 26 h 48"/>
                <a:gd name="T16" fmla="*/ 0 w 100"/>
                <a:gd name="T17" fmla="*/ 34 h 48"/>
                <a:gd name="T18" fmla="*/ 10 w 100"/>
                <a:gd name="T19" fmla="*/ 30 h 48"/>
                <a:gd name="T20" fmla="*/ 16 w 100"/>
                <a:gd name="T21" fmla="*/ 28 h 48"/>
                <a:gd name="T22" fmla="*/ 22 w 100"/>
                <a:gd name="T23" fmla="*/ 28 h 48"/>
                <a:gd name="T24" fmla="*/ 26 w 100"/>
                <a:gd name="T25" fmla="*/ 30 h 48"/>
                <a:gd name="T26" fmla="*/ 28 w 100"/>
                <a:gd name="T27" fmla="*/ 32 h 48"/>
                <a:gd name="T28" fmla="*/ 30 w 100"/>
                <a:gd name="T29" fmla="*/ 34 h 48"/>
                <a:gd name="T30" fmla="*/ 30 w 100"/>
                <a:gd name="T31" fmla="*/ 44 h 48"/>
                <a:gd name="T32" fmla="*/ 30 w 100"/>
                <a:gd name="T33" fmla="*/ 48 h 48"/>
                <a:gd name="T34" fmla="*/ 42 w 100"/>
                <a:gd name="T35" fmla="*/ 42 h 48"/>
                <a:gd name="T36" fmla="*/ 46 w 100"/>
                <a:gd name="T37" fmla="*/ 40 h 48"/>
                <a:gd name="T38" fmla="*/ 56 w 100"/>
                <a:gd name="T39" fmla="*/ 42 h 48"/>
                <a:gd name="T40" fmla="*/ 60 w 100"/>
                <a:gd name="T41" fmla="*/ 40 h 48"/>
                <a:gd name="T42" fmla="*/ 62 w 100"/>
                <a:gd name="T43" fmla="*/ 40 h 48"/>
                <a:gd name="T44" fmla="*/ 64 w 100"/>
                <a:gd name="T45" fmla="*/ 36 h 48"/>
                <a:gd name="T46" fmla="*/ 66 w 100"/>
                <a:gd name="T47" fmla="*/ 30 h 48"/>
                <a:gd name="T48" fmla="*/ 66 w 100"/>
                <a:gd name="T49" fmla="*/ 26 h 48"/>
                <a:gd name="T50" fmla="*/ 68 w 100"/>
                <a:gd name="T51" fmla="*/ 24 h 48"/>
                <a:gd name="T52" fmla="*/ 72 w 100"/>
                <a:gd name="T53" fmla="*/ 24 h 48"/>
                <a:gd name="T54" fmla="*/ 84 w 100"/>
                <a:gd name="T55" fmla="*/ 26 h 48"/>
                <a:gd name="T56" fmla="*/ 92 w 100"/>
                <a:gd name="T57" fmla="*/ 24 h 48"/>
                <a:gd name="T58" fmla="*/ 96 w 100"/>
                <a:gd name="T59" fmla="*/ 20 h 48"/>
                <a:gd name="T60" fmla="*/ 100 w 100"/>
                <a:gd name="T61" fmla="*/ 16 h 48"/>
                <a:gd name="T62" fmla="*/ 98 w 100"/>
                <a:gd name="T63" fmla="*/ 14 h 48"/>
                <a:gd name="T64" fmla="*/ 96 w 100"/>
                <a:gd name="T65" fmla="*/ 14 h 48"/>
                <a:gd name="T66" fmla="*/ 88 w 100"/>
                <a:gd name="T67" fmla="*/ 12 h 48"/>
                <a:gd name="T68" fmla="*/ 84 w 100"/>
                <a:gd name="T69" fmla="*/ 10 h 48"/>
                <a:gd name="T70" fmla="*/ 80 w 100"/>
                <a:gd name="T71" fmla="*/ 6 h 48"/>
                <a:gd name="T72" fmla="*/ 76 w 100"/>
                <a:gd name="T73" fmla="*/ 2 h 48"/>
                <a:gd name="T74" fmla="*/ 72 w 100"/>
                <a:gd name="T75" fmla="*/ 0 h 48"/>
                <a:gd name="T76" fmla="*/ 62 w 100"/>
                <a:gd name="T77" fmla="*/ 0 h 48"/>
                <a:gd name="T78" fmla="*/ 54 w 100"/>
                <a:gd name="T79" fmla="*/ 0 h 48"/>
                <a:gd name="T80" fmla="*/ 50 w 100"/>
                <a:gd name="T81" fmla="*/ 2 h 48"/>
                <a:gd name="T82" fmla="*/ 46 w 100"/>
                <a:gd name="T83" fmla="*/ 8 h 48"/>
                <a:gd name="T84" fmla="*/ 44 w 100"/>
                <a:gd name="T85" fmla="*/ 8 h 48"/>
                <a:gd name="T86" fmla="*/ 42 w 100"/>
                <a:gd name="T87" fmla="*/ 10 h 48"/>
                <a:gd name="T88" fmla="*/ 38 w 100"/>
                <a:gd name="T89" fmla="*/ 6 h 48"/>
                <a:gd name="T90" fmla="*/ 36 w 100"/>
                <a:gd name="T91" fmla="*/ 0 h 48"/>
                <a:gd name="T92" fmla="*/ 26 w 100"/>
                <a:gd name="T93" fmla="*/ 6 h 48"/>
                <a:gd name="T94" fmla="*/ 22 w 100"/>
                <a:gd name="T9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48">
                  <a:moveTo>
                    <a:pt x="16" y="8"/>
                  </a:moveTo>
                  <a:lnTo>
                    <a:pt x="16" y="8"/>
                  </a:lnTo>
                  <a:lnTo>
                    <a:pt x="16" y="10"/>
                  </a:lnTo>
                  <a:lnTo>
                    <a:pt x="16" y="14"/>
                  </a:lnTo>
                  <a:lnTo>
                    <a:pt x="16" y="16"/>
                  </a:lnTo>
                  <a:lnTo>
                    <a:pt x="16" y="18"/>
                  </a:lnTo>
                  <a:lnTo>
                    <a:pt x="14" y="20"/>
                  </a:lnTo>
                  <a:lnTo>
                    <a:pt x="14" y="20"/>
                  </a:lnTo>
                  <a:lnTo>
                    <a:pt x="14" y="20"/>
                  </a:lnTo>
                  <a:lnTo>
                    <a:pt x="14" y="20"/>
                  </a:lnTo>
                  <a:lnTo>
                    <a:pt x="12" y="20"/>
                  </a:lnTo>
                  <a:lnTo>
                    <a:pt x="12" y="22"/>
                  </a:lnTo>
                  <a:lnTo>
                    <a:pt x="10" y="20"/>
                  </a:lnTo>
                  <a:lnTo>
                    <a:pt x="8" y="20"/>
                  </a:lnTo>
                  <a:lnTo>
                    <a:pt x="8" y="20"/>
                  </a:lnTo>
                  <a:lnTo>
                    <a:pt x="6" y="20"/>
                  </a:lnTo>
                  <a:lnTo>
                    <a:pt x="4" y="20"/>
                  </a:lnTo>
                  <a:lnTo>
                    <a:pt x="4" y="20"/>
                  </a:lnTo>
                  <a:lnTo>
                    <a:pt x="4" y="20"/>
                  </a:lnTo>
                  <a:lnTo>
                    <a:pt x="4" y="22"/>
                  </a:lnTo>
                  <a:lnTo>
                    <a:pt x="2" y="22"/>
                  </a:lnTo>
                  <a:lnTo>
                    <a:pt x="2" y="22"/>
                  </a:lnTo>
                  <a:lnTo>
                    <a:pt x="2" y="24"/>
                  </a:lnTo>
                  <a:lnTo>
                    <a:pt x="2" y="26"/>
                  </a:lnTo>
                  <a:lnTo>
                    <a:pt x="2" y="28"/>
                  </a:lnTo>
                  <a:lnTo>
                    <a:pt x="0" y="32"/>
                  </a:lnTo>
                  <a:lnTo>
                    <a:pt x="0" y="34"/>
                  </a:lnTo>
                  <a:lnTo>
                    <a:pt x="4" y="32"/>
                  </a:lnTo>
                  <a:lnTo>
                    <a:pt x="8" y="30"/>
                  </a:lnTo>
                  <a:lnTo>
                    <a:pt x="10" y="30"/>
                  </a:lnTo>
                  <a:lnTo>
                    <a:pt x="12" y="30"/>
                  </a:lnTo>
                  <a:lnTo>
                    <a:pt x="12" y="28"/>
                  </a:lnTo>
                  <a:lnTo>
                    <a:pt x="16" y="28"/>
                  </a:lnTo>
                  <a:lnTo>
                    <a:pt x="18" y="28"/>
                  </a:lnTo>
                  <a:lnTo>
                    <a:pt x="20" y="28"/>
                  </a:lnTo>
                  <a:lnTo>
                    <a:pt x="22" y="28"/>
                  </a:lnTo>
                  <a:lnTo>
                    <a:pt x="24" y="28"/>
                  </a:lnTo>
                  <a:lnTo>
                    <a:pt x="26" y="30"/>
                  </a:lnTo>
                  <a:lnTo>
                    <a:pt x="26" y="30"/>
                  </a:lnTo>
                  <a:lnTo>
                    <a:pt x="28" y="30"/>
                  </a:lnTo>
                  <a:lnTo>
                    <a:pt x="28" y="30"/>
                  </a:lnTo>
                  <a:lnTo>
                    <a:pt x="28" y="32"/>
                  </a:lnTo>
                  <a:lnTo>
                    <a:pt x="28" y="32"/>
                  </a:lnTo>
                  <a:lnTo>
                    <a:pt x="28" y="34"/>
                  </a:lnTo>
                  <a:lnTo>
                    <a:pt x="30" y="34"/>
                  </a:lnTo>
                  <a:lnTo>
                    <a:pt x="30" y="38"/>
                  </a:lnTo>
                  <a:lnTo>
                    <a:pt x="30" y="40"/>
                  </a:lnTo>
                  <a:lnTo>
                    <a:pt x="30" y="44"/>
                  </a:lnTo>
                  <a:lnTo>
                    <a:pt x="30" y="46"/>
                  </a:lnTo>
                  <a:lnTo>
                    <a:pt x="28" y="48"/>
                  </a:lnTo>
                  <a:lnTo>
                    <a:pt x="30" y="48"/>
                  </a:lnTo>
                  <a:lnTo>
                    <a:pt x="34" y="46"/>
                  </a:lnTo>
                  <a:lnTo>
                    <a:pt x="40" y="42"/>
                  </a:lnTo>
                  <a:lnTo>
                    <a:pt x="42" y="42"/>
                  </a:lnTo>
                  <a:lnTo>
                    <a:pt x="44" y="42"/>
                  </a:lnTo>
                  <a:lnTo>
                    <a:pt x="44" y="40"/>
                  </a:lnTo>
                  <a:lnTo>
                    <a:pt x="46" y="40"/>
                  </a:lnTo>
                  <a:lnTo>
                    <a:pt x="48" y="40"/>
                  </a:lnTo>
                  <a:lnTo>
                    <a:pt x="54" y="40"/>
                  </a:lnTo>
                  <a:lnTo>
                    <a:pt x="56" y="42"/>
                  </a:lnTo>
                  <a:lnTo>
                    <a:pt x="58" y="40"/>
                  </a:lnTo>
                  <a:lnTo>
                    <a:pt x="60" y="40"/>
                  </a:lnTo>
                  <a:lnTo>
                    <a:pt x="60" y="40"/>
                  </a:lnTo>
                  <a:lnTo>
                    <a:pt x="62" y="40"/>
                  </a:lnTo>
                  <a:lnTo>
                    <a:pt x="62" y="40"/>
                  </a:lnTo>
                  <a:lnTo>
                    <a:pt x="62" y="40"/>
                  </a:lnTo>
                  <a:lnTo>
                    <a:pt x="64" y="38"/>
                  </a:lnTo>
                  <a:lnTo>
                    <a:pt x="64" y="38"/>
                  </a:lnTo>
                  <a:lnTo>
                    <a:pt x="64" y="36"/>
                  </a:lnTo>
                  <a:lnTo>
                    <a:pt x="64" y="34"/>
                  </a:lnTo>
                  <a:lnTo>
                    <a:pt x="64" y="32"/>
                  </a:lnTo>
                  <a:lnTo>
                    <a:pt x="66" y="30"/>
                  </a:lnTo>
                  <a:lnTo>
                    <a:pt x="66" y="28"/>
                  </a:lnTo>
                  <a:lnTo>
                    <a:pt x="66" y="26"/>
                  </a:lnTo>
                  <a:lnTo>
                    <a:pt x="66" y="26"/>
                  </a:lnTo>
                  <a:lnTo>
                    <a:pt x="66" y="26"/>
                  </a:lnTo>
                  <a:lnTo>
                    <a:pt x="68" y="26"/>
                  </a:lnTo>
                  <a:lnTo>
                    <a:pt x="68" y="24"/>
                  </a:lnTo>
                  <a:lnTo>
                    <a:pt x="70" y="24"/>
                  </a:lnTo>
                  <a:lnTo>
                    <a:pt x="72" y="24"/>
                  </a:lnTo>
                  <a:lnTo>
                    <a:pt x="72" y="24"/>
                  </a:lnTo>
                  <a:lnTo>
                    <a:pt x="76" y="24"/>
                  </a:lnTo>
                  <a:lnTo>
                    <a:pt x="80" y="24"/>
                  </a:lnTo>
                  <a:lnTo>
                    <a:pt x="84" y="26"/>
                  </a:lnTo>
                  <a:lnTo>
                    <a:pt x="88" y="26"/>
                  </a:lnTo>
                  <a:lnTo>
                    <a:pt x="90" y="26"/>
                  </a:lnTo>
                  <a:lnTo>
                    <a:pt x="92" y="24"/>
                  </a:lnTo>
                  <a:lnTo>
                    <a:pt x="94" y="24"/>
                  </a:lnTo>
                  <a:lnTo>
                    <a:pt x="96" y="22"/>
                  </a:lnTo>
                  <a:lnTo>
                    <a:pt x="96" y="20"/>
                  </a:lnTo>
                  <a:lnTo>
                    <a:pt x="98" y="18"/>
                  </a:lnTo>
                  <a:lnTo>
                    <a:pt x="98" y="18"/>
                  </a:lnTo>
                  <a:lnTo>
                    <a:pt x="100" y="16"/>
                  </a:lnTo>
                  <a:lnTo>
                    <a:pt x="100" y="16"/>
                  </a:lnTo>
                  <a:lnTo>
                    <a:pt x="100" y="16"/>
                  </a:lnTo>
                  <a:lnTo>
                    <a:pt x="98" y="14"/>
                  </a:lnTo>
                  <a:lnTo>
                    <a:pt x="98" y="14"/>
                  </a:lnTo>
                  <a:lnTo>
                    <a:pt x="98" y="14"/>
                  </a:lnTo>
                  <a:lnTo>
                    <a:pt x="96" y="14"/>
                  </a:lnTo>
                  <a:lnTo>
                    <a:pt x="94" y="12"/>
                  </a:lnTo>
                  <a:lnTo>
                    <a:pt x="92" y="12"/>
                  </a:lnTo>
                  <a:lnTo>
                    <a:pt x="88" y="12"/>
                  </a:lnTo>
                  <a:lnTo>
                    <a:pt x="86" y="12"/>
                  </a:lnTo>
                  <a:lnTo>
                    <a:pt x="84" y="10"/>
                  </a:lnTo>
                  <a:lnTo>
                    <a:pt x="84" y="10"/>
                  </a:lnTo>
                  <a:lnTo>
                    <a:pt x="82" y="10"/>
                  </a:lnTo>
                  <a:lnTo>
                    <a:pt x="82" y="8"/>
                  </a:lnTo>
                  <a:lnTo>
                    <a:pt x="80" y="6"/>
                  </a:lnTo>
                  <a:lnTo>
                    <a:pt x="78" y="4"/>
                  </a:lnTo>
                  <a:lnTo>
                    <a:pt x="78" y="4"/>
                  </a:lnTo>
                  <a:lnTo>
                    <a:pt x="76" y="2"/>
                  </a:lnTo>
                  <a:lnTo>
                    <a:pt x="74" y="2"/>
                  </a:lnTo>
                  <a:lnTo>
                    <a:pt x="74" y="2"/>
                  </a:lnTo>
                  <a:lnTo>
                    <a:pt x="72" y="0"/>
                  </a:lnTo>
                  <a:lnTo>
                    <a:pt x="70" y="0"/>
                  </a:lnTo>
                  <a:lnTo>
                    <a:pt x="66" y="0"/>
                  </a:lnTo>
                  <a:lnTo>
                    <a:pt x="62" y="0"/>
                  </a:lnTo>
                  <a:lnTo>
                    <a:pt x="60" y="0"/>
                  </a:lnTo>
                  <a:lnTo>
                    <a:pt x="56" y="0"/>
                  </a:lnTo>
                  <a:lnTo>
                    <a:pt x="54" y="0"/>
                  </a:lnTo>
                  <a:lnTo>
                    <a:pt x="50" y="2"/>
                  </a:lnTo>
                  <a:lnTo>
                    <a:pt x="50" y="2"/>
                  </a:lnTo>
                  <a:lnTo>
                    <a:pt x="50" y="2"/>
                  </a:lnTo>
                  <a:lnTo>
                    <a:pt x="48" y="4"/>
                  </a:lnTo>
                  <a:lnTo>
                    <a:pt x="46" y="6"/>
                  </a:lnTo>
                  <a:lnTo>
                    <a:pt x="46" y="8"/>
                  </a:lnTo>
                  <a:lnTo>
                    <a:pt x="44" y="8"/>
                  </a:lnTo>
                  <a:lnTo>
                    <a:pt x="44" y="8"/>
                  </a:lnTo>
                  <a:lnTo>
                    <a:pt x="44" y="8"/>
                  </a:lnTo>
                  <a:lnTo>
                    <a:pt x="42" y="10"/>
                  </a:lnTo>
                  <a:lnTo>
                    <a:pt x="42" y="10"/>
                  </a:lnTo>
                  <a:lnTo>
                    <a:pt x="42" y="10"/>
                  </a:lnTo>
                  <a:lnTo>
                    <a:pt x="40" y="8"/>
                  </a:lnTo>
                  <a:lnTo>
                    <a:pt x="40" y="8"/>
                  </a:lnTo>
                  <a:lnTo>
                    <a:pt x="38" y="6"/>
                  </a:lnTo>
                  <a:lnTo>
                    <a:pt x="38" y="4"/>
                  </a:lnTo>
                  <a:lnTo>
                    <a:pt x="36" y="2"/>
                  </a:lnTo>
                  <a:lnTo>
                    <a:pt x="36" y="0"/>
                  </a:lnTo>
                  <a:lnTo>
                    <a:pt x="32" y="4"/>
                  </a:lnTo>
                  <a:lnTo>
                    <a:pt x="28" y="6"/>
                  </a:lnTo>
                  <a:lnTo>
                    <a:pt x="26" y="6"/>
                  </a:lnTo>
                  <a:lnTo>
                    <a:pt x="26" y="6"/>
                  </a:lnTo>
                  <a:lnTo>
                    <a:pt x="24" y="8"/>
                  </a:lnTo>
                  <a:lnTo>
                    <a:pt x="22" y="8"/>
                  </a:lnTo>
                  <a:lnTo>
                    <a:pt x="20" y="8"/>
                  </a:lnTo>
                  <a:lnTo>
                    <a:pt x="16" y="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1" name="Freeform 490">
              <a:extLst>
                <a:ext uri="{FF2B5EF4-FFF2-40B4-BE49-F238E27FC236}">
                  <a16:creationId xmlns:a16="http://schemas.microsoft.com/office/drawing/2014/main" id="{BF06285C-FCF0-4A2F-978F-BF5CCDD79BB9}"/>
                </a:ext>
              </a:extLst>
            </p:cNvPr>
            <p:cNvSpPr>
              <a:spLocks/>
            </p:cNvSpPr>
            <p:nvPr/>
          </p:nvSpPr>
          <p:spPr bwMode="auto">
            <a:xfrm>
              <a:off x="2045227" y="4199336"/>
              <a:ext cx="173208" cy="83140"/>
            </a:xfrm>
            <a:custGeom>
              <a:avLst/>
              <a:gdLst>
                <a:gd name="T0" fmla="*/ 16 w 100"/>
                <a:gd name="T1" fmla="*/ 10 h 48"/>
                <a:gd name="T2" fmla="*/ 16 w 100"/>
                <a:gd name="T3" fmla="*/ 18 h 48"/>
                <a:gd name="T4" fmla="*/ 14 w 100"/>
                <a:gd name="T5" fmla="*/ 20 h 48"/>
                <a:gd name="T6" fmla="*/ 12 w 100"/>
                <a:gd name="T7" fmla="*/ 22 h 48"/>
                <a:gd name="T8" fmla="*/ 8 w 100"/>
                <a:gd name="T9" fmla="*/ 20 h 48"/>
                <a:gd name="T10" fmla="*/ 4 w 100"/>
                <a:gd name="T11" fmla="*/ 20 h 48"/>
                <a:gd name="T12" fmla="*/ 2 w 100"/>
                <a:gd name="T13" fmla="*/ 22 h 48"/>
                <a:gd name="T14" fmla="*/ 2 w 100"/>
                <a:gd name="T15" fmla="*/ 26 h 48"/>
                <a:gd name="T16" fmla="*/ 0 w 100"/>
                <a:gd name="T17" fmla="*/ 34 h 48"/>
                <a:gd name="T18" fmla="*/ 10 w 100"/>
                <a:gd name="T19" fmla="*/ 30 h 48"/>
                <a:gd name="T20" fmla="*/ 16 w 100"/>
                <a:gd name="T21" fmla="*/ 28 h 48"/>
                <a:gd name="T22" fmla="*/ 22 w 100"/>
                <a:gd name="T23" fmla="*/ 28 h 48"/>
                <a:gd name="T24" fmla="*/ 26 w 100"/>
                <a:gd name="T25" fmla="*/ 30 h 48"/>
                <a:gd name="T26" fmla="*/ 28 w 100"/>
                <a:gd name="T27" fmla="*/ 32 h 48"/>
                <a:gd name="T28" fmla="*/ 30 w 100"/>
                <a:gd name="T29" fmla="*/ 34 h 48"/>
                <a:gd name="T30" fmla="*/ 30 w 100"/>
                <a:gd name="T31" fmla="*/ 44 h 48"/>
                <a:gd name="T32" fmla="*/ 30 w 100"/>
                <a:gd name="T33" fmla="*/ 48 h 48"/>
                <a:gd name="T34" fmla="*/ 42 w 100"/>
                <a:gd name="T35" fmla="*/ 42 h 48"/>
                <a:gd name="T36" fmla="*/ 46 w 100"/>
                <a:gd name="T37" fmla="*/ 40 h 48"/>
                <a:gd name="T38" fmla="*/ 56 w 100"/>
                <a:gd name="T39" fmla="*/ 42 h 48"/>
                <a:gd name="T40" fmla="*/ 60 w 100"/>
                <a:gd name="T41" fmla="*/ 40 h 48"/>
                <a:gd name="T42" fmla="*/ 62 w 100"/>
                <a:gd name="T43" fmla="*/ 40 h 48"/>
                <a:gd name="T44" fmla="*/ 64 w 100"/>
                <a:gd name="T45" fmla="*/ 36 h 48"/>
                <a:gd name="T46" fmla="*/ 66 w 100"/>
                <a:gd name="T47" fmla="*/ 30 h 48"/>
                <a:gd name="T48" fmla="*/ 66 w 100"/>
                <a:gd name="T49" fmla="*/ 26 h 48"/>
                <a:gd name="T50" fmla="*/ 68 w 100"/>
                <a:gd name="T51" fmla="*/ 24 h 48"/>
                <a:gd name="T52" fmla="*/ 72 w 100"/>
                <a:gd name="T53" fmla="*/ 24 h 48"/>
                <a:gd name="T54" fmla="*/ 84 w 100"/>
                <a:gd name="T55" fmla="*/ 26 h 48"/>
                <a:gd name="T56" fmla="*/ 92 w 100"/>
                <a:gd name="T57" fmla="*/ 24 h 48"/>
                <a:gd name="T58" fmla="*/ 96 w 100"/>
                <a:gd name="T59" fmla="*/ 20 h 48"/>
                <a:gd name="T60" fmla="*/ 100 w 100"/>
                <a:gd name="T61" fmla="*/ 16 h 48"/>
                <a:gd name="T62" fmla="*/ 98 w 100"/>
                <a:gd name="T63" fmla="*/ 14 h 48"/>
                <a:gd name="T64" fmla="*/ 96 w 100"/>
                <a:gd name="T65" fmla="*/ 14 h 48"/>
                <a:gd name="T66" fmla="*/ 88 w 100"/>
                <a:gd name="T67" fmla="*/ 12 h 48"/>
                <a:gd name="T68" fmla="*/ 84 w 100"/>
                <a:gd name="T69" fmla="*/ 10 h 48"/>
                <a:gd name="T70" fmla="*/ 80 w 100"/>
                <a:gd name="T71" fmla="*/ 6 h 48"/>
                <a:gd name="T72" fmla="*/ 76 w 100"/>
                <a:gd name="T73" fmla="*/ 2 h 48"/>
                <a:gd name="T74" fmla="*/ 72 w 100"/>
                <a:gd name="T75" fmla="*/ 0 h 48"/>
                <a:gd name="T76" fmla="*/ 62 w 100"/>
                <a:gd name="T77" fmla="*/ 0 h 48"/>
                <a:gd name="T78" fmla="*/ 54 w 100"/>
                <a:gd name="T79" fmla="*/ 0 h 48"/>
                <a:gd name="T80" fmla="*/ 50 w 100"/>
                <a:gd name="T81" fmla="*/ 2 h 48"/>
                <a:gd name="T82" fmla="*/ 46 w 100"/>
                <a:gd name="T83" fmla="*/ 8 h 48"/>
                <a:gd name="T84" fmla="*/ 44 w 100"/>
                <a:gd name="T85" fmla="*/ 8 h 48"/>
                <a:gd name="T86" fmla="*/ 42 w 100"/>
                <a:gd name="T87" fmla="*/ 10 h 48"/>
                <a:gd name="T88" fmla="*/ 38 w 100"/>
                <a:gd name="T89" fmla="*/ 6 h 48"/>
                <a:gd name="T90" fmla="*/ 36 w 100"/>
                <a:gd name="T91" fmla="*/ 0 h 48"/>
                <a:gd name="T92" fmla="*/ 26 w 100"/>
                <a:gd name="T93" fmla="*/ 6 h 48"/>
                <a:gd name="T94" fmla="*/ 22 w 100"/>
                <a:gd name="T9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48">
                  <a:moveTo>
                    <a:pt x="16" y="8"/>
                  </a:moveTo>
                  <a:lnTo>
                    <a:pt x="16" y="8"/>
                  </a:lnTo>
                  <a:lnTo>
                    <a:pt x="16" y="10"/>
                  </a:lnTo>
                  <a:lnTo>
                    <a:pt x="16" y="14"/>
                  </a:lnTo>
                  <a:lnTo>
                    <a:pt x="16" y="16"/>
                  </a:lnTo>
                  <a:lnTo>
                    <a:pt x="16" y="18"/>
                  </a:lnTo>
                  <a:lnTo>
                    <a:pt x="14" y="20"/>
                  </a:lnTo>
                  <a:lnTo>
                    <a:pt x="14" y="20"/>
                  </a:lnTo>
                  <a:lnTo>
                    <a:pt x="14" y="20"/>
                  </a:lnTo>
                  <a:lnTo>
                    <a:pt x="14" y="20"/>
                  </a:lnTo>
                  <a:lnTo>
                    <a:pt x="12" y="20"/>
                  </a:lnTo>
                  <a:lnTo>
                    <a:pt x="12" y="22"/>
                  </a:lnTo>
                  <a:lnTo>
                    <a:pt x="10" y="20"/>
                  </a:lnTo>
                  <a:lnTo>
                    <a:pt x="8" y="20"/>
                  </a:lnTo>
                  <a:lnTo>
                    <a:pt x="8" y="20"/>
                  </a:lnTo>
                  <a:lnTo>
                    <a:pt x="6" y="20"/>
                  </a:lnTo>
                  <a:lnTo>
                    <a:pt x="4" y="20"/>
                  </a:lnTo>
                  <a:lnTo>
                    <a:pt x="4" y="20"/>
                  </a:lnTo>
                  <a:lnTo>
                    <a:pt x="4" y="20"/>
                  </a:lnTo>
                  <a:lnTo>
                    <a:pt x="4" y="22"/>
                  </a:lnTo>
                  <a:lnTo>
                    <a:pt x="2" y="22"/>
                  </a:lnTo>
                  <a:lnTo>
                    <a:pt x="2" y="22"/>
                  </a:lnTo>
                  <a:lnTo>
                    <a:pt x="2" y="24"/>
                  </a:lnTo>
                  <a:lnTo>
                    <a:pt x="2" y="26"/>
                  </a:lnTo>
                  <a:lnTo>
                    <a:pt x="2" y="28"/>
                  </a:lnTo>
                  <a:lnTo>
                    <a:pt x="0" y="32"/>
                  </a:lnTo>
                  <a:lnTo>
                    <a:pt x="0" y="34"/>
                  </a:lnTo>
                  <a:lnTo>
                    <a:pt x="4" y="32"/>
                  </a:lnTo>
                  <a:lnTo>
                    <a:pt x="8" y="30"/>
                  </a:lnTo>
                  <a:lnTo>
                    <a:pt x="10" y="30"/>
                  </a:lnTo>
                  <a:lnTo>
                    <a:pt x="12" y="30"/>
                  </a:lnTo>
                  <a:lnTo>
                    <a:pt x="12" y="28"/>
                  </a:lnTo>
                  <a:lnTo>
                    <a:pt x="16" y="28"/>
                  </a:lnTo>
                  <a:lnTo>
                    <a:pt x="18" y="28"/>
                  </a:lnTo>
                  <a:lnTo>
                    <a:pt x="20" y="28"/>
                  </a:lnTo>
                  <a:lnTo>
                    <a:pt x="22" y="28"/>
                  </a:lnTo>
                  <a:lnTo>
                    <a:pt x="24" y="28"/>
                  </a:lnTo>
                  <a:lnTo>
                    <a:pt x="26" y="30"/>
                  </a:lnTo>
                  <a:lnTo>
                    <a:pt x="26" y="30"/>
                  </a:lnTo>
                  <a:lnTo>
                    <a:pt x="28" y="30"/>
                  </a:lnTo>
                  <a:lnTo>
                    <a:pt x="28" y="30"/>
                  </a:lnTo>
                  <a:lnTo>
                    <a:pt x="28" y="32"/>
                  </a:lnTo>
                  <a:lnTo>
                    <a:pt x="28" y="32"/>
                  </a:lnTo>
                  <a:lnTo>
                    <a:pt x="28" y="34"/>
                  </a:lnTo>
                  <a:lnTo>
                    <a:pt x="30" y="34"/>
                  </a:lnTo>
                  <a:lnTo>
                    <a:pt x="30" y="38"/>
                  </a:lnTo>
                  <a:lnTo>
                    <a:pt x="30" y="40"/>
                  </a:lnTo>
                  <a:lnTo>
                    <a:pt x="30" y="44"/>
                  </a:lnTo>
                  <a:lnTo>
                    <a:pt x="30" y="46"/>
                  </a:lnTo>
                  <a:lnTo>
                    <a:pt x="28" y="48"/>
                  </a:lnTo>
                  <a:lnTo>
                    <a:pt x="30" y="48"/>
                  </a:lnTo>
                  <a:lnTo>
                    <a:pt x="34" y="46"/>
                  </a:lnTo>
                  <a:lnTo>
                    <a:pt x="40" y="42"/>
                  </a:lnTo>
                  <a:lnTo>
                    <a:pt x="42" y="42"/>
                  </a:lnTo>
                  <a:lnTo>
                    <a:pt x="44" y="42"/>
                  </a:lnTo>
                  <a:lnTo>
                    <a:pt x="44" y="40"/>
                  </a:lnTo>
                  <a:lnTo>
                    <a:pt x="46" y="40"/>
                  </a:lnTo>
                  <a:lnTo>
                    <a:pt x="48" y="40"/>
                  </a:lnTo>
                  <a:lnTo>
                    <a:pt x="54" y="40"/>
                  </a:lnTo>
                  <a:lnTo>
                    <a:pt x="56" y="42"/>
                  </a:lnTo>
                  <a:lnTo>
                    <a:pt x="58" y="40"/>
                  </a:lnTo>
                  <a:lnTo>
                    <a:pt x="60" y="40"/>
                  </a:lnTo>
                  <a:lnTo>
                    <a:pt x="60" y="40"/>
                  </a:lnTo>
                  <a:lnTo>
                    <a:pt x="62" y="40"/>
                  </a:lnTo>
                  <a:lnTo>
                    <a:pt x="62" y="40"/>
                  </a:lnTo>
                  <a:lnTo>
                    <a:pt x="62" y="40"/>
                  </a:lnTo>
                  <a:lnTo>
                    <a:pt x="64" y="38"/>
                  </a:lnTo>
                  <a:lnTo>
                    <a:pt x="64" y="38"/>
                  </a:lnTo>
                  <a:lnTo>
                    <a:pt x="64" y="36"/>
                  </a:lnTo>
                  <a:lnTo>
                    <a:pt x="64" y="34"/>
                  </a:lnTo>
                  <a:lnTo>
                    <a:pt x="64" y="32"/>
                  </a:lnTo>
                  <a:lnTo>
                    <a:pt x="66" y="30"/>
                  </a:lnTo>
                  <a:lnTo>
                    <a:pt x="66" y="28"/>
                  </a:lnTo>
                  <a:lnTo>
                    <a:pt x="66" y="26"/>
                  </a:lnTo>
                  <a:lnTo>
                    <a:pt x="66" y="26"/>
                  </a:lnTo>
                  <a:lnTo>
                    <a:pt x="66" y="26"/>
                  </a:lnTo>
                  <a:lnTo>
                    <a:pt x="68" y="26"/>
                  </a:lnTo>
                  <a:lnTo>
                    <a:pt x="68" y="24"/>
                  </a:lnTo>
                  <a:lnTo>
                    <a:pt x="70" y="24"/>
                  </a:lnTo>
                  <a:lnTo>
                    <a:pt x="72" y="24"/>
                  </a:lnTo>
                  <a:lnTo>
                    <a:pt x="72" y="24"/>
                  </a:lnTo>
                  <a:lnTo>
                    <a:pt x="76" y="24"/>
                  </a:lnTo>
                  <a:lnTo>
                    <a:pt x="80" y="24"/>
                  </a:lnTo>
                  <a:lnTo>
                    <a:pt x="84" y="26"/>
                  </a:lnTo>
                  <a:lnTo>
                    <a:pt x="88" y="26"/>
                  </a:lnTo>
                  <a:lnTo>
                    <a:pt x="90" y="26"/>
                  </a:lnTo>
                  <a:lnTo>
                    <a:pt x="92" y="24"/>
                  </a:lnTo>
                  <a:lnTo>
                    <a:pt x="94" y="24"/>
                  </a:lnTo>
                  <a:lnTo>
                    <a:pt x="96" y="22"/>
                  </a:lnTo>
                  <a:lnTo>
                    <a:pt x="96" y="20"/>
                  </a:lnTo>
                  <a:lnTo>
                    <a:pt x="98" y="18"/>
                  </a:lnTo>
                  <a:lnTo>
                    <a:pt x="98" y="18"/>
                  </a:lnTo>
                  <a:lnTo>
                    <a:pt x="100" y="16"/>
                  </a:lnTo>
                  <a:lnTo>
                    <a:pt x="100" y="16"/>
                  </a:lnTo>
                  <a:lnTo>
                    <a:pt x="100" y="16"/>
                  </a:lnTo>
                  <a:lnTo>
                    <a:pt x="98" y="14"/>
                  </a:lnTo>
                  <a:lnTo>
                    <a:pt x="98" y="14"/>
                  </a:lnTo>
                  <a:lnTo>
                    <a:pt x="98" y="14"/>
                  </a:lnTo>
                  <a:lnTo>
                    <a:pt x="96" y="14"/>
                  </a:lnTo>
                  <a:lnTo>
                    <a:pt x="94" y="12"/>
                  </a:lnTo>
                  <a:lnTo>
                    <a:pt x="92" y="12"/>
                  </a:lnTo>
                  <a:lnTo>
                    <a:pt x="88" y="12"/>
                  </a:lnTo>
                  <a:lnTo>
                    <a:pt x="86" y="12"/>
                  </a:lnTo>
                  <a:lnTo>
                    <a:pt x="84" y="10"/>
                  </a:lnTo>
                  <a:lnTo>
                    <a:pt x="84" y="10"/>
                  </a:lnTo>
                  <a:lnTo>
                    <a:pt x="82" y="10"/>
                  </a:lnTo>
                  <a:lnTo>
                    <a:pt x="82" y="8"/>
                  </a:lnTo>
                  <a:lnTo>
                    <a:pt x="80" y="6"/>
                  </a:lnTo>
                  <a:lnTo>
                    <a:pt x="78" y="4"/>
                  </a:lnTo>
                  <a:lnTo>
                    <a:pt x="78" y="4"/>
                  </a:lnTo>
                  <a:lnTo>
                    <a:pt x="76" y="2"/>
                  </a:lnTo>
                  <a:lnTo>
                    <a:pt x="74" y="2"/>
                  </a:lnTo>
                  <a:lnTo>
                    <a:pt x="74" y="2"/>
                  </a:lnTo>
                  <a:lnTo>
                    <a:pt x="72" y="0"/>
                  </a:lnTo>
                  <a:lnTo>
                    <a:pt x="70" y="0"/>
                  </a:lnTo>
                  <a:lnTo>
                    <a:pt x="66" y="0"/>
                  </a:lnTo>
                  <a:lnTo>
                    <a:pt x="62" y="0"/>
                  </a:lnTo>
                  <a:lnTo>
                    <a:pt x="60" y="0"/>
                  </a:lnTo>
                  <a:lnTo>
                    <a:pt x="56" y="0"/>
                  </a:lnTo>
                  <a:lnTo>
                    <a:pt x="54" y="0"/>
                  </a:lnTo>
                  <a:lnTo>
                    <a:pt x="50" y="2"/>
                  </a:lnTo>
                  <a:lnTo>
                    <a:pt x="50" y="2"/>
                  </a:lnTo>
                  <a:lnTo>
                    <a:pt x="50" y="2"/>
                  </a:lnTo>
                  <a:lnTo>
                    <a:pt x="48" y="4"/>
                  </a:lnTo>
                  <a:lnTo>
                    <a:pt x="46" y="6"/>
                  </a:lnTo>
                  <a:lnTo>
                    <a:pt x="46" y="8"/>
                  </a:lnTo>
                  <a:lnTo>
                    <a:pt x="44" y="8"/>
                  </a:lnTo>
                  <a:lnTo>
                    <a:pt x="44" y="8"/>
                  </a:lnTo>
                  <a:lnTo>
                    <a:pt x="44" y="8"/>
                  </a:lnTo>
                  <a:lnTo>
                    <a:pt x="42" y="10"/>
                  </a:lnTo>
                  <a:lnTo>
                    <a:pt x="42" y="10"/>
                  </a:lnTo>
                  <a:lnTo>
                    <a:pt x="42" y="10"/>
                  </a:lnTo>
                  <a:lnTo>
                    <a:pt x="40" y="8"/>
                  </a:lnTo>
                  <a:lnTo>
                    <a:pt x="40" y="8"/>
                  </a:lnTo>
                  <a:lnTo>
                    <a:pt x="38" y="6"/>
                  </a:lnTo>
                  <a:lnTo>
                    <a:pt x="38" y="4"/>
                  </a:lnTo>
                  <a:lnTo>
                    <a:pt x="36" y="2"/>
                  </a:lnTo>
                  <a:lnTo>
                    <a:pt x="36" y="0"/>
                  </a:lnTo>
                  <a:lnTo>
                    <a:pt x="32" y="4"/>
                  </a:lnTo>
                  <a:lnTo>
                    <a:pt x="28" y="6"/>
                  </a:lnTo>
                  <a:lnTo>
                    <a:pt x="26" y="6"/>
                  </a:lnTo>
                  <a:lnTo>
                    <a:pt x="26" y="6"/>
                  </a:lnTo>
                  <a:lnTo>
                    <a:pt x="24" y="8"/>
                  </a:lnTo>
                  <a:lnTo>
                    <a:pt x="22" y="8"/>
                  </a:lnTo>
                  <a:lnTo>
                    <a:pt x="20" y="8"/>
                  </a:lnTo>
                  <a:lnTo>
                    <a:pt x="16" y="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2" name="Freeform 491">
              <a:extLst>
                <a:ext uri="{FF2B5EF4-FFF2-40B4-BE49-F238E27FC236}">
                  <a16:creationId xmlns:a16="http://schemas.microsoft.com/office/drawing/2014/main" id="{E10D313B-EA36-4C20-B364-3970439CDDF6}"/>
                </a:ext>
              </a:extLst>
            </p:cNvPr>
            <p:cNvSpPr>
              <a:spLocks/>
            </p:cNvSpPr>
            <p:nvPr/>
          </p:nvSpPr>
          <p:spPr bwMode="auto">
            <a:xfrm>
              <a:off x="2045227" y="4199336"/>
              <a:ext cx="173208" cy="83140"/>
            </a:xfrm>
            <a:custGeom>
              <a:avLst/>
              <a:gdLst>
                <a:gd name="T0" fmla="*/ 16 w 100"/>
                <a:gd name="T1" fmla="*/ 10 h 48"/>
                <a:gd name="T2" fmla="*/ 16 w 100"/>
                <a:gd name="T3" fmla="*/ 18 h 48"/>
                <a:gd name="T4" fmla="*/ 14 w 100"/>
                <a:gd name="T5" fmla="*/ 20 h 48"/>
                <a:gd name="T6" fmla="*/ 12 w 100"/>
                <a:gd name="T7" fmla="*/ 22 h 48"/>
                <a:gd name="T8" fmla="*/ 8 w 100"/>
                <a:gd name="T9" fmla="*/ 20 h 48"/>
                <a:gd name="T10" fmla="*/ 4 w 100"/>
                <a:gd name="T11" fmla="*/ 20 h 48"/>
                <a:gd name="T12" fmla="*/ 2 w 100"/>
                <a:gd name="T13" fmla="*/ 22 h 48"/>
                <a:gd name="T14" fmla="*/ 2 w 100"/>
                <a:gd name="T15" fmla="*/ 26 h 48"/>
                <a:gd name="T16" fmla="*/ 0 w 100"/>
                <a:gd name="T17" fmla="*/ 34 h 48"/>
                <a:gd name="T18" fmla="*/ 10 w 100"/>
                <a:gd name="T19" fmla="*/ 30 h 48"/>
                <a:gd name="T20" fmla="*/ 16 w 100"/>
                <a:gd name="T21" fmla="*/ 28 h 48"/>
                <a:gd name="T22" fmla="*/ 22 w 100"/>
                <a:gd name="T23" fmla="*/ 28 h 48"/>
                <a:gd name="T24" fmla="*/ 26 w 100"/>
                <a:gd name="T25" fmla="*/ 30 h 48"/>
                <a:gd name="T26" fmla="*/ 28 w 100"/>
                <a:gd name="T27" fmla="*/ 32 h 48"/>
                <a:gd name="T28" fmla="*/ 30 w 100"/>
                <a:gd name="T29" fmla="*/ 34 h 48"/>
                <a:gd name="T30" fmla="*/ 30 w 100"/>
                <a:gd name="T31" fmla="*/ 44 h 48"/>
                <a:gd name="T32" fmla="*/ 30 w 100"/>
                <a:gd name="T33" fmla="*/ 48 h 48"/>
                <a:gd name="T34" fmla="*/ 42 w 100"/>
                <a:gd name="T35" fmla="*/ 42 h 48"/>
                <a:gd name="T36" fmla="*/ 46 w 100"/>
                <a:gd name="T37" fmla="*/ 40 h 48"/>
                <a:gd name="T38" fmla="*/ 56 w 100"/>
                <a:gd name="T39" fmla="*/ 42 h 48"/>
                <a:gd name="T40" fmla="*/ 60 w 100"/>
                <a:gd name="T41" fmla="*/ 40 h 48"/>
                <a:gd name="T42" fmla="*/ 62 w 100"/>
                <a:gd name="T43" fmla="*/ 40 h 48"/>
                <a:gd name="T44" fmla="*/ 64 w 100"/>
                <a:gd name="T45" fmla="*/ 36 h 48"/>
                <a:gd name="T46" fmla="*/ 66 w 100"/>
                <a:gd name="T47" fmla="*/ 30 h 48"/>
                <a:gd name="T48" fmla="*/ 66 w 100"/>
                <a:gd name="T49" fmla="*/ 26 h 48"/>
                <a:gd name="T50" fmla="*/ 68 w 100"/>
                <a:gd name="T51" fmla="*/ 24 h 48"/>
                <a:gd name="T52" fmla="*/ 72 w 100"/>
                <a:gd name="T53" fmla="*/ 24 h 48"/>
                <a:gd name="T54" fmla="*/ 84 w 100"/>
                <a:gd name="T55" fmla="*/ 26 h 48"/>
                <a:gd name="T56" fmla="*/ 92 w 100"/>
                <a:gd name="T57" fmla="*/ 24 h 48"/>
                <a:gd name="T58" fmla="*/ 96 w 100"/>
                <a:gd name="T59" fmla="*/ 20 h 48"/>
                <a:gd name="T60" fmla="*/ 100 w 100"/>
                <a:gd name="T61" fmla="*/ 16 h 48"/>
                <a:gd name="T62" fmla="*/ 98 w 100"/>
                <a:gd name="T63" fmla="*/ 14 h 48"/>
                <a:gd name="T64" fmla="*/ 96 w 100"/>
                <a:gd name="T65" fmla="*/ 14 h 48"/>
                <a:gd name="T66" fmla="*/ 88 w 100"/>
                <a:gd name="T67" fmla="*/ 12 h 48"/>
                <a:gd name="T68" fmla="*/ 84 w 100"/>
                <a:gd name="T69" fmla="*/ 10 h 48"/>
                <a:gd name="T70" fmla="*/ 80 w 100"/>
                <a:gd name="T71" fmla="*/ 6 h 48"/>
                <a:gd name="T72" fmla="*/ 76 w 100"/>
                <a:gd name="T73" fmla="*/ 2 h 48"/>
                <a:gd name="T74" fmla="*/ 72 w 100"/>
                <a:gd name="T75" fmla="*/ 0 h 48"/>
                <a:gd name="T76" fmla="*/ 62 w 100"/>
                <a:gd name="T77" fmla="*/ 0 h 48"/>
                <a:gd name="T78" fmla="*/ 54 w 100"/>
                <a:gd name="T79" fmla="*/ 0 h 48"/>
                <a:gd name="T80" fmla="*/ 50 w 100"/>
                <a:gd name="T81" fmla="*/ 2 h 48"/>
                <a:gd name="T82" fmla="*/ 46 w 100"/>
                <a:gd name="T83" fmla="*/ 8 h 48"/>
                <a:gd name="T84" fmla="*/ 44 w 100"/>
                <a:gd name="T85" fmla="*/ 8 h 48"/>
                <a:gd name="T86" fmla="*/ 42 w 100"/>
                <a:gd name="T87" fmla="*/ 10 h 48"/>
                <a:gd name="T88" fmla="*/ 38 w 100"/>
                <a:gd name="T89" fmla="*/ 6 h 48"/>
                <a:gd name="T90" fmla="*/ 36 w 100"/>
                <a:gd name="T91" fmla="*/ 0 h 48"/>
                <a:gd name="T92" fmla="*/ 26 w 100"/>
                <a:gd name="T93" fmla="*/ 6 h 48"/>
                <a:gd name="T94" fmla="*/ 22 w 100"/>
                <a:gd name="T9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48">
                  <a:moveTo>
                    <a:pt x="16" y="8"/>
                  </a:moveTo>
                  <a:lnTo>
                    <a:pt x="16" y="8"/>
                  </a:lnTo>
                  <a:lnTo>
                    <a:pt x="16" y="10"/>
                  </a:lnTo>
                  <a:lnTo>
                    <a:pt x="16" y="14"/>
                  </a:lnTo>
                  <a:lnTo>
                    <a:pt x="16" y="16"/>
                  </a:lnTo>
                  <a:lnTo>
                    <a:pt x="16" y="18"/>
                  </a:lnTo>
                  <a:lnTo>
                    <a:pt x="14" y="20"/>
                  </a:lnTo>
                  <a:lnTo>
                    <a:pt x="14" y="20"/>
                  </a:lnTo>
                  <a:lnTo>
                    <a:pt x="14" y="20"/>
                  </a:lnTo>
                  <a:lnTo>
                    <a:pt x="14" y="20"/>
                  </a:lnTo>
                  <a:lnTo>
                    <a:pt x="12" y="20"/>
                  </a:lnTo>
                  <a:lnTo>
                    <a:pt x="12" y="22"/>
                  </a:lnTo>
                  <a:lnTo>
                    <a:pt x="10" y="20"/>
                  </a:lnTo>
                  <a:lnTo>
                    <a:pt x="8" y="20"/>
                  </a:lnTo>
                  <a:lnTo>
                    <a:pt x="8" y="20"/>
                  </a:lnTo>
                  <a:lnTo>
                    <a:pt x="6" y="20"/>
                  </a:lnTo>
                  <a:lnTo>
                    <a:pt x="4" y="20"/>
                  </a:lnTo>
                  <a:lnTo>
                    <a:pt x="4" y="20"/>
                  </a:lnTo>
                  <a:lnTo>
                    <a:pt x="4" y="20"/>
                  </a:lnTo>
                  <a:lnTo>
                    <a:pt x="4" y="22"/>
                  </a:lnTo>
                  <a:lnTo>
                    <a:pt x="2" y="22"/>
                  </a:lnTo>
                  <a:lnTo>
                    <a:pt x="2" y="22"/>
                  </a:lnTo>
                  <a:lnTo>
                    <a:pt x="2" y="24"/>
                  </a:lnTo>
                  <a:lnTo>
                    <a:pt x="2" y="26"/>
                  </a:lnTo>
                  <a:lnTo>
                    <a:pt x="2" y="28"/>
                  </a:lnTo>
                  <a:lnTo>
                    <a:pt x="0" y="32"/>
                  </a:lnTo>
                  <a:lnTo>
                    <a:pt x="0" y="34"/>
                  </a:lnTo>
                  <a:lnTo>
                    <a:pt x="4" y="32"/>
                  </a:lnTo>
                  <a:lnTo>
                    <a:pt x="8" y="30"/>
                  </a:lnTo>
                  <a:lnTo>
                    <a:pt x="10" y="30"/>
                  </a:lnTo>
                  <a:lnTo>
                    <a:pt x="12" y="30"/>
                  </a:lnTo>
                  <a:lnTo>
                    <a:pt x="12" y="28"/>
                  </a:lnTo>
                  <a:lnTo>
                    <a:pt x="16" y="28"/>
                  </a:lnTo>
                  <a:lnTo>
                    <a:pt x="18" y="28"/>
                  </a:lnTo>
                  <a:lnTo>
                    <a:pt x="20" y="28"/>
                  </a:lnTo>
                  <a:lnTo>
                    <a:pt x="22" y="28"/>
                  </a:lnTo>
                  <a:lnTo>
                    <a:pt x="24" y="28"/>
                  </a:lnTo>
                  <a:lnTo>
                    <a:pt x="26" y="30"/>
                  </a:lnTo>
                  <a:lnTo>
                    <a:pt x="26" y="30"/>
                  </a:lnTo>
                  <a:lnTo>
                    <a:pt x="28" y="30"/>
                  </a:lnTo>
                  <a:lnTo>
                    <a:pt x="28" y="30"/>
                  </a:lnTo>
                  <a:lnTo>
                    <a:pt x="28" y="32"/>
                  </a:lnTo>
                  <a:lnTo>
                    <a:pt x="28" y="32"/>
                  </a:lnTo>
                  <a:lnTo>
                    <a:pt x="28" y="34"/>
                  </a:lnTo>
                  <a:lnTo>
                    <a:pt x="30" y="34"/>
                  </a:lnTo>
                  <a:lnTo>
                    <a:pt x="30" y="38"/>
                  </a:lnTo>
                  <a:lnTo>
                    <a:pt x="30" y="40"/>
                  </a:lnTo>
                  <a:lnTo>
                    <a:pt x="30" y="44"/>
                  </a:lnTo>
                  <a:lnTo>
                    <a:pt x="30" y="46"/>
                  </a:lnTo>
                  <a:lnTo>
                    <a:pt x="28" y="48"/>
                  </a:lnTo>
                  <a:lnTo>
                    <a:pt x="30" y="48"/>
                  </a:lnTo>
                  <a:lnTo>
                    <a:pt x="34" y="46"/>
                  </a:lnTo>
                  <a:lnTo>
                    <a:pt x="40" y="42"/>
                  </a:lnTo>
                  <a:lnTo>
                    <a:pt x="42" y="42"/>
                  </a:lnTo>
                  <a:lnTo>
                    <a:pt x="44" y="42"/>
                  </a:lnTo>
                  <a:lnTo>
                    <a:pt x="44" y="40"/>
                  </a:lnTo>
                  <a:lnTo>
                    <a:pt x="46" y="40"/>
                  </a:lnTo>
                  <a:lnTo>
                    <a:pt x="48" y="40"/>
                  </a:lnTo>
                  <a:lnTo>
                    <a:pt x="54" y="40"/>
                  </a:lnTo>
                  <a:lnTo>
                    <a:pt x="56" y="42"/>
                  </a:lnTo>
                  <a:lnTo>
                    <a:pt x="58" y="40"/>
                  </a:lnTo>
                  <a:lnTo>
                    <a:pt x="60" y="40"/>
                  </a:lnTo>
                  <a:lnTo>
                    <a:pt x="60" y="40"/>
                  </a:lnTo>
                  <a:lnTo>
                    <a:pt x="62" y="40"/>
                  </a:lnTo>
                  <a:lnTo>
                    <a:pt x="62" y="40"/>
                  </a:lnTo>
                  <a:lnTo>
                    <a:pt x="62" y="40"/>
                  </a:lnTo>
                  <a:lnTo>
                    <a:pt x="64" y="38"/>
                  </a:lnTo>
                  <a:lnTo>
                    <a:pt x="64" y="38"/>
                  </a:lnTo>
                  <a:lnTo>
                    <a:pt x="64" y="36"/>
                  </a:lnTo>
                  <a:lnTo>
                    <a:pt x="64" y="34"/>
                  </a:lnTo>
                  <a:lnTo>
                    <a:pt x="64" y="32"/>
                  </a:lnTo>
                  <a:lnTo>
                    <a:pt x="66" y="30"/>
                  </a:lnTo>
                  <a:lnTo>
                    <a:pt x="66" y="28"/>
                  </a:lnTo>
                  <a:lnTo>
                    <a:pt x="66" y="26"/>
                  </a:lnTo>
                  <a:lnTo>
                    <a:pt x="66" y="26"/>
                  </a:lnTo>
                  <a:lnTo>
                    <a:pt x="66" y="26"/>
                  </a:lnTo>
                  <a:lnTo>
                    <a:pt x="68" y="26"/>
                  </a:lnTo>
                  <a:lnTo>
                    <a:pt x="68" y="24"/>
                  </a:lnTo>
                  <a:lnTo>
                    <a:pt x="70" y="24"/>
                  </a:lnTo>
                  <a:lnTo>
                    <a:pt x="72" y="24"/>
                  </a:lnTo>
                  <a:lnTo>
                    <a:pt x="72" y="24"/>
                  </a:lnTo>
                  <a:lnTo>
                    <a:pt x="76" y="24"/>
                  </a:lnTo>
                  <a:lnTo>
                    <a:pt x="80" y="24"/>
                  </a:lnTo>
                  <a:lnTo>
                    <a:pt x="84" y="26"/>
                  </a:lnTo>
                  <a:lnTo>
                    <a:pt x="88" y="26"/>
                  </a:lnTo>
                  <a:lnTo>
                    <a:pt x="90" y="26"/>
                  </a:lnTo>
                  <a:lnTo>
                    <a:pt x="92" y="24"/>
                  </a:lnTo>
                  <a:lnTo>
                    <a:pt x="94" y="24"/>
                  </a:lnTo>
                  <a:lnTo>
                    <a:pt x="96" y="22"/>
                  </a:lnTo>
                  <a:lnTo>
                    <a:pt x="96" y="20"/>
                  </a:lnTo>
                  <a:lnTo>
                    <a:pt x="98" y="18"/>
                  </a:lnTo>
                  <a:lnTo>
                    <a:pt x="98" y="18"/>
                  </a:lnTo>
                  <a:lnTo>
                    <a:pt x="100" y="16"/>
                  </a:lnTo>
                  <a:lnTo>
                    <a:pt x="100" y="16"/>
                  </a:lnTo>
                  <a:lnTo>
                    <a:pt x="100" y="16"/>
                  </a:lnTo>
                  <a:lnTo>
                    <a:pt x="98" y="14"/>
                  </a:lnTo>
                  <a:lnTo>
                    <a:pt x="98" y="14"/>
                  </a:lnTo>
                  <a:lnTo>
                    <a:pt x="98" y="14"/>
                  </a:lnTo>
                  <a:lnTo>
                    <a:pt x="96" y="14"/>
                  </a:lnTo>
                  <a:lnTo>
                    <a:pt x="94" y="12"/>
                  </a:lnTo>
                  <a:lnTo>
                    <a:pt x="92" y="12"/>
                  </a:lnTo>
                  <a:lnTo>
                    <a:pt x="88" y="12"/>
                  </a:lnTo>
                  <a:lnTo>
                    <a:pt x="86" y="12"/>
                  </a:lnTo>
                  <a:lnTo>
                    <a:pt x="84" y="10"/>
                  </a:lnTo>
                  <a:lnTo>
                    <a:pt x="84" y="10"/>
                  </a:lnTo>
                  <a:lnTo>
                    <a:pt x="82" y="10"/>
                  </a:lnTo>
                  <a:lnTo>
                    <a:pt x="82" y="8"/>
                  </a:lnTo>
                  <a:lnTo>
                    <a:pt x="80" y="6"/>
                  </a:lnTo>
                  <a:lnTo>
                    <a:pt x="78" y="4"/>
                  </a:lnTo>
                  <a:lnTo>
                    <a:pt x="78" y="4"/>
                  </a:lnTo>
                  <a:lnTo>
                    <a:pt x="76" y="2"/>
                  </a:lnTo>
                  <a:lnTo>
                    <a:pt x="74" y="2"/>
                  </a:lnTo>
                  <a:lnTo>
                    <a:pt x="74" y="2"/>
                  </a:lnTo>
                  <a:lnTo>
                    <a:pt x="72" y="0"/>
                  </a:lnTo>
                  <a:lnTo>
                    <a:pt x="70" y="0"/>
                  </a:lnTo>
                  <a:lnTo>
                    <a:pt x="66" y="0"/>
                  </a:lnTo>
                  <a:lnTo>
                    <a:pt x="62" y="0"/>
                  </a:lnTo>
                  <a:lnTo>
                    <a:pt x="60" y="0"/>
                  </a:lnTo>
                  <a:lnTo>
                    <a:pt x="56" y="0"/>
                  </a:lnTo>
                  <a:lnTo>
                    <a:pt x="54" y="0"/>
                  </a:lnTo>
                  <a:lnTo>
                    <a:pt x="50" y="2"/>
                  </a:lnTo>
                  <a:lnTo>
                    <a:pt x="50" y="2"/>
                  </a:lnTo>
                  <a:lnTo>
                    <a:pt x="50" y="2"/>
                  </a:lnTo>
                  <a:lnTo>
                    <a:pt x="48" y="4"/>
                  </a:lnTo>
                  <a:lnTo>
                    <a:pt x="46" y="6"/>
                  </a:lnTo>
                  <a:lnTo>
                    <a:pt x="46" y="8"/>
                  </a:lnTo>
                  <a:lnTo>
                    <a:pt x="44" y="8"/>
                  </a:lnTo>
                  <a:lnTo>
                    <a:pt x="44" y="8"/>
                  </a:lnTo>
                  <a:lnTo>
                    <a:pt x="44" y="8"/>
                  </a:lnTo>
                  <a:lnTo>
                    <a:pt x="42" y="10"/>
                  </a:lnTo>
                  <a:lnTo>
                    <a:pt x="42" y="10"/>
                  </a:lnTo>
                  <a:lnTo>
                    <a:pt x="42" y="10"/>
                  </a:lnTo>
                  <a:lnTo>
                    <a:pt x="40" y="8"/>
                  </a:lnTo>
                  <a:lnTo>
                    <a:pt x="40" y="8"/>
                  </a:lnTo>
                  <a:lnTo>
                    <a:pt x="38" y="6"/>
                  </a:lnTo>
                  <a:lnTo>
                    <a:pt x="38" y="4"/>
                  </a:lnTo>
                  <a:lnTo>
                    <a:pt x="36" y="2"/>
                  </a:lnTo>
                  <a:lnTo>
                    <a:pt x="36" y="0"/>
                  </a:lnTo>
                  <a:lnTo>
                    <a:pt x="32" y="4"/>
                  </a:lnTo>
                  <a:lnTo>
                    <a:pt x="28" y="6"/>
                  </a:lnTo>
                  <a:lnTo>
                    <a:pt x="26" y="6"/>
                  </a:lnTo>
                  <a:lnTo>
                    <a:pt x="26" y="6"/>
                  </a:lnTo>
                  <a:lnTo>
                    <a:pt x="24" y="8"/>
                  </a:lnTo>
                  <a:lnTo>
                    <a:pt x="22" y="8"/>
                  </a:lnTo>
                  <a:lnTo>
                    <a:pt x="20" y="8"/>
                  </a:lnTo>
                  <a:lnTo>
                    <a:pt x="16" y="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3" name="Freeform 492">
              <a:extLst>
                <a:ext uri="{FF2B5EF4-FFF2-40B4-BE49-F238E27FC236}">
                  <a16:creationId xmlns:a16="http://schemas.microsoft.com/office/drawing/2014/main" id="{9F00F70F-747A-4522-9F57-8F36F0B919AC}"/>
                </a:ext>
              </a:extLst>
            </p:cNvPr>
            <p:cNvSpPr>
              <a:spLocks/>
            </p:cNvSpPr>
            <p:nvPr/>
          </p:nvSpPr>
          <p:spPr bwMode="auto">
            <a:xfrm>
              <a:off x="2045227" y="4199336"/>
              <a:ext cx="173208" cy="83140"/>
            </a:xfrm>
            <a:custGeom>
              <a:avLst/>
              <a:gdLst>
                <a:gd name="T0" fmla="*/ 16 w 100"/>
                <a:gd name="T1" fmla="*/ 10 h 48"/>
                <a:gd name="T2" fmla="*/ 16 w 100"/>
                <a:gd name="T3" fmla="*/ 18 h 48"/>
                <a:gd name="T4" fmla="*/ 14 w 100"/>
                <a:gd name="T5" fmla="*/ 20 h 48"/>
                <a:gd name="T6" fmla="*/ 12 w 100"/>
                <a:gd name="T7" fmla="*/ 22 h 48"/>
                <a:gd name="T8" fmla="*/ 8 w 100"/>
                <a:gd name="T9" fmla="*/ 20 h 48"/>
                <a:gd name="T10" fmla="*/ 4 w 100"/>
                <a:gd name="T11" fmla="*/ 20 h 48"/>
                <a:gd name="T12" fmla="*/ 2 w 100"/>
                <a:gd name="T13" fmla="*/ 22 h 48"/>
                <a:gd name="T14" fmla="*/ 2 w 100"/>
                <a:gd name="T15" fmla="*/ 26 h 48"/>
                <a:gd name="T16" fmla="*/ 0 w 100"/>
                <a:gd name="T17" fmla="*/ 34 h 48"/>
                <a:gd name="T18" fmla="*/ 10 w 100"/>
                <a:gd name="T19" fmla="*/ 30 h 48"/>
                <a:gd name="T20" fmla="*/ 16 w 100"/>
                <a:gd name="T21" fmla="*/ 28 h 48"/>
                <a:gd name="T22" fmla="*/ 22 w 100"/>
                <a:gd name="T23" fmla="*/ 28 h 48"/>
                <a:gd name="T24" fmla="*/ 26 w 100"/>
                <a:gd name="T25" fmla="*/ 30 h 48"/>
                <a:gd name="T26" fmla="*/ 28 w 100"/>
                <a:gd name="T27" fmla="*/ 32 h 48"/>
                <a:gd name="T28" fmla="*/ 30 w 100"/>
                <a:gd name="T29" fmla="*/ 34 h 48"/>
                <a:gd name="T30" fmla="*/ 30 w 100"/>
                <a:gd name="T31" fmla="*/ 44 h 48"/>
                <a:gd name="T32" fmla="*/ 30 w 100"/>
                <a:gd name="T33" fmla="*/ 48 h 48"/>
                <a:gd name="T34" fmla="*/ 42 w 100"/>
                <a:gd name="T35" fmla="*/ 42 h 48"/>
                <a:gd name="T36" fmla="*/ 46 w 100"/>
                <a:gd name="T37" fmla="*/ 40 h 48"/>
                <a:gd name="T38" fmla="*/ 56 w 100"/>
                <a:gd name="T39" fmla="*/ 42 h 48"/>
                <a:gd name="T40" fmla="*/ 60 w 100"/>
                <a:gd name="T41" fmla="*/ 40 h 48"/>
                <a:gd name="T42" fmla="*/ 62 w 100"/>
                <a:gd name="T43" fmla="*/ 40 h 48"/>
                <a:gd name="T44" fmla="*/ 64 w 100"/>
                <a:gd name="T45" fmla="*/ 36 h 48"/>
                <a:gd name="T46" fmla="*/ 66 w 100"/>
                <a:gd name="T47" fmla="*/ 30 h 48"/>
                <a:gd name="T48" fmla="*/ 66 w 100"/>
                <a:gd name="T49" fmla="*/ 26 h 48"/>
                <a:gd name="T50" fmla="*/ 68 w 100"/>
                <a:gd name="T51" fmla="*/ 24 h 48"/>
                <a:gd name="T52" fmla="*/ 72 w 100"/>
                <a:gd name="T53" fmla="*/ 24 h 48"/>
                <a:gd name="T54" fmla="*/ 84 w 100"/>
                <a:gd name="T55" fmla="*/ 26 h 48"/>
                <a:gd name="T56" fmla="*/ 92 w 100"/>
                <a:gd name="T57" fmla="*/ 24 h 48"/>
                <a:gd name="T58" fmla="*/ 96 w 100"/>
                <a:gd name="T59" fmla="*/ 20 h 48"/>
                <a:gd name="T60" fmla="*/ 100 w 100"/>
                <a:gd name="T61" fmla="*/ 16 h 48"/>
                <a:gd name="T62" fmla="*/ 98 w 100"/>
                <a:gd name="T63" fmla="*/ 14 h 48"/>
                <a:gd name="T64" fmla="*/ 96 w 100"/>
                <a:gd name="T65" fmla="*/ 14 h 48"/>
                <a:gd name="T66" fmla="*/ 88 w 100"/>
                <a:gd name="T67" fmla="*/ 12 h 48"/>
                <a:gd name="T68" fmla="*/ 84 w 100"/>
                <a:gd name="T69" fmla="*/ 10 h 48"/>
                <a:gd name="T70" fmla="*/ 80 w 100"/>
                <a:gd name="T71" fmla="*/ 6 h 48"/>
                <a:gd name="T72" fmla="*/ 76 w 100"/>
                <a:gd name="T73" fmla="*/ 2 h 48"/>
                <a:gd name="T74" fmla="*/ 72 w 100"/>
                <a:gd name="T75" fmla="*/ 0 h 48"/>
                <a:gd name="T76" fmla="*/ 62 w 100"/>
                <a:gd name="T77" fmla="*/ 0 h 48"/>
                <a:gd name="T78" fmla="*/ 54 w 100"/>
                <a:gd name="T79" fmla="*/ 0 h 48"/>
                <a:gd name="T80" fmla="*/ 50 w 100"/>
                <a:gd name="T81" fmla="*/ 2 h 48"/>
                <a:gd name="T82" fmla="*/ 46 w 100"/>
                <a:gd name="T83" fmla="*/ 8 h 48"/>
                <a:gd name="T84" fmla="*/ 44 w 100"/>
                <a:gd name="T85" fmla="*/ 8 h 48"/>
                <a:gd name="T86" fmla="*/ 42 w 100"/>
                <a:gd name="T87" fmla="*/ 10 h 48"/>
                <a:gd name="T88" fmla="*/ 38 w 100"/>
                <a:gd name="T89" fmla="*/ 6 h 48"/>
                <a:gd name="T90" fmla="*/ 36 w 100"/>
                <a:gd name="T91" fmla="*/ 0 h 48"/>
                <a:gd name="T92" fmla="*/ 26 w 100"/>
                <a:gd name="T93" fmla="*/ 6 h 48"/>
                <a:gd name="T94" fmla="*/ 22 w 100"/>
                <a:gd name="T9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48">
                  <a:moveTo>
                    <a:pt x="16" y="8"/>
                  </a:moveTo>
                  <a:lnTo>
                    <a:pt x="16" y="8"/>
                  </a:lnTo>
                  <a:lnTo>
                    <a:pt x="16" y="10"/>
                  </a:lnTo>
                  <a:lnTo>
                    <a:pt x="16" y="14"/>
                  </a:lnTo>
                  <a:lnTo>
                    <a:pt x="16" y="16"/>
                  </a:lnTo>
                  <a:lnTo>
                    <a:pt x="16" y="18"/>
                  </a:lnTo>
                  <a:lnTo>
                    <a:pt x="14" y="20"/>
                  </a:lnTo>
                  <a:lnTo>
                    <a:pt x="14" y="20"/>
                  </a:lnTo>
                  <a:lnTo>
                    <a:pt x="14" y="20"/>
                  </a:lnTo>
                  <a:lnTo>
                    <a:pt x="14" y="20"/>
                  </a:lnTo>
                  <a:lnTo>
                    <a:pt x="12" y="20"/>
                  </a:lnTo>
                  <a:lnTo>
                    <a:pt x="12" y="22"/>
                  </a:lnTo>
                  <a:lnTo>
                    <a:pt x="10" y="20"/>
                  </a:lnTo>
                  <a:lnTo>
                    <a:pt x="8" y="20"/>
                  </a:lnTo>
                  <a:lnTo>
                    <a:pt x="8" y="20"/>
                  </a:lnTo>
                  <a:lnTo>
                    <a:pt x="6" y="20"/>
                  </a:lnTo>
                  <a:lnTo>
                    <a:pt x="4" y="20"/>
                  </a:lnTo>
                  <a:lnTo>
                    <a:pt x="4" y="20"/>
                  </a:lnTo>
                  <a:lnTo>
                    <a:pt x="4" y="20"/>
                  </a:lnTo>
                  <a:lnTo>
                    <a:pt x="4" y="22"/>
                  </a:lnTo>
                  <a:lnTo>
                    <a:pt x="2" y="22"/>
                  </a:lnTo>
                  <a:lnTo>
                    <a:pt x="2" y="22"/>
                  </a:lnTo>
                  <a:lnTo>
                    <a:pt x="2" y="24"/>
                  </a:lnTo>
                  <a:lnTo>
                    <a:pt x="2" y="26"/>
                  </a:lnTo>
                  <a:lnTo>
                    <a:pt x="2" y="28"/>
                  </a:lnTo>
                  <a:lnTo>
                    <a:pt x="0" y="32"/>
                  </a:lnTo>
                  <a:lnTo>
                    <a:pt x="0" y="34"/>
                  </a:lnTo>
                  <a:lnTo>
                    <a:pt x="4" y="32"/>
                  </a:lnTo>
                  <a:lnTo>
                    <a:pt x="8" y="30"/>
                  </a:lnTo>
                  <a:lnTo>
                    <a:pt x="10" y="30"/>
                  </a:lnTo>
                  <a:lnTo>
                    <a:pt x="12" y="30"/>
                  </a:lnTo>
                  <a:lnTo>
                    <a:pt x="12" y="28"/>
                  </a:lnTo>
                  <a:lnTo>
                    <a:pt x="16" y="28"/>
                  </a:lnTo>
                  <a:lnTo>
                    <a:pt x="18" y="28"/>
                  </a:lnTo>
                  <a:lnTo>
                    <a:pt x="20" y="28"/>
                  </a:lnTo>
                  <a:lnTo>
                    <a:pt x="22" y="28"/>
                  </a:lnTo>
                  <a:lnTo>
                    <a:pt x="24" y="28"/>
                  </a:lnTo>
                  <a:lnTo>
                    <a:pt x="26" y="30"/>
                  </a:lnTo>
                  <a:lnTo>
                    <a:pt x="26" y="30"/>
                  </a:lnTo>
                  <a:lnTo>
                    <a:pt x="28" y="30"/>
                  </a:lnTo>
                  <a:lnTo>
                    <a:pt x="28" y="30"/>
                  </a:lnTo>
                  <a:lnTo>
                    <a:pt x="28" y="32"/>
                  </a:lnTo>
                  <a:lnTo>
                    <a:pt x="28" y="32"/>
                  </a:lnTo>
                  <a:lnTo>
                    <a:pt x="28" y="34"/>
                  </a:lnTo>
                  <a:lnTo>
                    <a:pt x="30" y="34"/>
                  </a:lnTo>
                  <a:lnTo>
                    <a:pt x="30" y="38"/>
                  </a:lnTo>
                  <a:lnTo>
                    <a:pt x="30" y="40"/>
                  </a:lnTo>
                  <a:lnTo>
                    <a:pt x="30" y="44"/>
                  </a:lnTo>
                  <a:lnTo>
                    <a:pt x="30" y="46"/>
                  </a:lnTo>
                  <a:lnTo>
                    <a:pt x="28" y="48"/>
                  </a:lnTo>
                  <a:lnTo>
                    <a:pt x="30" y="48"/>
                  </a:lnTo>
                  <a:lnTo>
                    <a:pt x="34" y="46"/>
                  </a:lnTo>
                  <a:lnTo>
                    <a:pt x="40" y="42"/>
                  </a:lnTo>
                  <a:lnTo>
                    <a:pt x="42" y="42"/>
                  </a:lnTo>
                  <a:lnTo>
                    <a:pt x="44" y="42"/>
                  </a:lnTo>
                  <a:lnTo>
                    <a:pt x="44" y="40"/>
                  </a:lnTo>
                  <a:lnTo>
                    <a:pt x="46" y="40"/>
                  </a:lnTo>
                  <a:lnTo>
                    <a:pt x="48" y="40"/>
                  </a:lnTo>
                  <a:lnTo>
                    <a:pt x="54" y="40"/>
                  </a:lnTo>
                  <a:lnTo>
                    <a:pt x="56" y="42"/>
                  </a:lnTo>
                  <a:lnTo>
                    <a:pt x="58" y="40"/>
                  </a:lnTo>
                  <a:lnTo>
                    <a:pt x="60" y="40"/>
                  </a:lnTo>
                  <a:lnTo>
                    <a:pt x="60" y="40"/>
                  </a:lnTo>
                  <a:lnTo>
                    <a:pt x="62" y="40"/>
                  </a:lnTo>
                  <a:lnTo>
                    <a:pt x="62" y="40"/>
                  </a:lnTo>
                  <a:lnTo>
                    <a:pt x="62" y="40"/>
                  </a:lnTo>
                  <a:lnTo>
                    <a:pt x="64" y="38"/>
                  </a:lnTo>
                  <a:lnTo>
                    <a:pt x="64" y="38"/>
                  </a:lnTo>
                  <a:lnTo>
                    <a:pt x="64" y="36"/>
                  </a:lnTo>
                  <a:lnTo>
                    <a:pt x="64" y="34"/>
                  </a:lnTo>
                  <a:lnTo>
                    <a:pt x="64" y="32"/>
                  </a:lnTo>
                  <a:lnTo>
                    <a:pt x="66" y="30"/>
                  </a:lnTo>
                  <a:lnTo>
                    <a:pt x="66" y="28"/>
                  </a:lnTo>
                  <a:lnTo>
                    <a:pt x="66" y="26"/>
                  </a:lnTo>
                  <a:lnTo>
                    <a:pt x="66" y="26"/>
                  </a:lnTo>
                  <a:lnTo>
                    <a:pt x="66" y="26"/>
                  </a:lnTo>
                  <a:lnTo>
                    <a:pt x="68" y="26"/>
                  </a:lnTo>
                  <a:lnTo>
                    <a:pt x="68" y="24"/>
                  </a:lnTo>
                  <a:lnTo>
                    <a:pt x="70" y="24"/>
                  </a:lnTo>
                  <a:lnTo>
                    <a:pt x="72" y="24"/>
                  </a:lnTo>
                  <a:lnTo>
                    <a:pt x="72" y="24"/>
                  </a:lnTo>
                  <a:lnTo>
                    <a:pt x="76" y="24"/>
                  </a:lnTo>
                  <a:lnTo>
                    <a:pt x="80" y="24"/>
                  </a:lnTo>
                  <a:lnTo>
                    <a:pt x="84" y="26"/>
                  </a:lnTo>
                  <a:lnTo>
                    <a:pt x="88" y="26"/>
                  </a:lnTo>
                  <a:lnTo>
                    <a:pt x="90" y="26"/>
                  </a:lnTo>
                  <a:lnTo>
                    <a:pt x="92" y="24"/>
                  </a:lnTo>
                  <a:lnTo>
                    <a:pt x="94" y="24"/>
                  </a:lnTo>
                  <a:lnTo>
                    <a:pt x="96" y="22"/>
                  </a:lnTo>
                  <a:lnTo>
                    <a:pt x="96" y="20"/>
                  </a:lnTo>
                  <a:lnTo>
                    <a:pt x="98" y="18"/>
                  </a:lnTo>
                  <a:lnTo>
                    <a:pt x="98" y="18"/>
                  </a:lnTo>
                  <a:lnTo>
                    <a:pt x="100" y="16"/>
                  </a:lnTo>
                  <a:lnTo>
                    <a:pt x="100" y="16"/>
                  </a:lnTo>
                  <a:lnTo>
                    <a:pt x="100" y="16"/>
                  </a:lnTo>
                  <a:lnTo>
                    <a:pt x="98" y="14"/>
                  </a:lnTo>
                  <a:lnTo>
                    <a:pt x="98" y="14"/>
                  </a:lnTo>
                  <a:lnTo>
                    <a:pt x="98" y="14"/>
                  </a:lnTo>
                  <a:lnTo>
                    <a:pt x="96" y="14"/>
                  </a:lnTo>
                  <a:lnTo>
                    <a:pt x="94" y="12"/>
                  </a:lnTo>
                  <a:lnTo>
                    <a:pt x="92" y="12"/>
                  </a:lnTo>
                  <a:lnTo>
                    <a:pt x="88" y="12"/>
                  </a:lnTo>
                  <a:lnTo>
                    <a:pt x="86" y="12"/>
                  </a:lnTo>
                  <a:lnTo>
                    <a:pt x="84" y="10"/>
                  </a:lnTo>
                  <a:lnTo>
                    <a:pt x="84" y="10"/>
                  </a:lnTo>
                  <a:lnTo>
                    <a:pt x="82" y="10"/>
                  </a:lnTo>
                  <a:lnTo>
                    <a:pt x="82" y="8"/>
                  </a:lnTo>
                  <a:lnTo>
                    <a:pt x="80" y="6"/>
                  </a:lnTo>
                  <a:lnTo>
                    <a:pt x="78" y="4"/>
                  </a:lnTo>
                  <a:lnTo>
                    <a:pt x="78" y="4"/>
                  </a:lnTo>
                  <a:lnTo>
                    <a:pt x="76" y="2"/>
                  </a:lnTo>
                  <a:lnTo>
                    <a:pt x="74" y="2"/>
                  </a:lnTo>
                  <a:lnTo>
                    <a:pt x="74" y="2"/>
                  </a:lnTo>
                  <a:lnTo>
                    <a:pt x="72" y="0"/>
                  </a:lnTo>
                  <a:lnTo>
                    <a:pt x="70" y="0"/>
                  </a:lnTo>
                  <a:lnTo>
                    <a:pt x="66" y="0"/>
                  </a:lnTo>
                  <a:lnTo>
                    <a:pt x="62" y="0"/>
                  </a:lnTo>
                  <a:lnTo>
                    <a:pt x="60" y="0"/>
                  </a:lnTo>
                  <a:lnTo>
                    <a:pt x="56" y="0"/>
                  </a:lnTo>
                  <a:lnTo>
                    <a:pt x="54" y="0"/>
                  </a:lnTo>
                  <a:lnTo>
                    <a:pt x="50" y="2"/>
                  </a:lnTo>
                  <a:lnTo>
                    <a:pt x="50" y="2"/>
                  </a:lnTo>
                  <a:lnTo>
                    <a:pt x="50" y="2"/>
                  </a:lnTo>
                  <a:lnTo>
                    <a:pt x="48" y="4"/>
                  </a:lnTo>
                  <a:lnTo>
                    <a:pt x="46" y="6"/>
                  </a:lnTo>
                  <a:lnTo>
                    <a:pt x="46" y="8"/>
                  </a:lnTo>
                  <a:lnTo>
                    <a:pt x="44" y="8"/>
                  </a:lnTo>
                  <a:lnTo>
                    <a:pt x="44" y="8"/>
                  </a:lnTo>
                  <a:lnTo>
                    <a:pt x="44" y="8"/>
                  </a:lnTo>
                  <a:lnTo>
                    <a:pt x="42" y="10"/>
                  </a:lnTo>
                  <a:lnTo>
                    <a:pt x="42" y="10"/>
                  </a:lnTo>
                  <a:lnTo>
                    <a:pt x="42" y="10"/>
                  </a:lnTo>
                  <a:lnTo>
                    <a:pt x="40" y="8"/>
                  </a:lnTo>
                  <a:lnTo>
                    <a:pt x="40" y="8"/>
                  </a:lnTo>
                  <a:lnTo>
                    <a:pt x="38" y="6"/>
                  </a:lnTo>
                  <a:lnTo>
                    <a:pt x="38" y="4"/>
                  </a:lnTo>
                  <a:lnTo>
                    <a:pt x="36" y="2"/>
                  </a:lnTo>
                  <a:lnTo>
                    <a:pt x="36" y="0"/>
                  </a:lnTo>
                  <a:lnTo>
                    <a:pt x="32" y="4"/>
                  </a:lnTo>
                  <a:lnTo>
                    <a:pt x="28" y="6"/>
                  </a:lnTo>
                  <a:lnTo>
                    <a:pt x="26" y="6"/>
                  </a:lnTo>
                  <a:lnTo>
                    <a:pt x="26" y="6"/>
                  </a:lnTo>
                  <a:lnTo>
                    <a:pt x="24" y="8"/>
                  </a:lnTo>
                  <a:lnTo>
                    <a:pt x="22" y="8"/>
                  </a:lnTo>
                  <a:lnTo>
                    <a:pt x="20" y="8"/>
                  </a:lnTo>
                  <a:lnTo>
                    <a:pt x="16" y="8"/>
                  </a:lnTo>
                </a:path>
              </a:pathLst>
            </a:custGeom>
            <a:grp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4" name="Freeform 493">
              <a:extLst>
                <a:ext uri="{FF2B5EF4-FFF2-40B4-BE49-F238E27FC236}">
                  <a16:creationId xmlns:a16="http://schemas.microsoft.com/office/drawing/2014/main" id="{8D459A99-277D-4261-84C0-136B5E83D409}"/>
                </a:ext>
              </a:extLst>
            </p:cNvPr>
            <p:cNvSpPr>
              <a:spLocks/>
            </p:cNvSpPr>
            <p:nvPr/>
          </p:nvSpPr>
          <p:spPr bwMode="auto">
            <a:xfrm>
              <a:off x="2045227" y="4199336"/>
              <a:ext cx="173208" cy="83140"/>
            </a:xfrm>
            <a:custGeom>
              <a:avLst/>
              <a:gdLst>
                <a:gd name="T0" fmla="*/ 16 w 100"/>
                <a:gd name="T1" fmla="*/ 10 h 48"/>
                <a:gd name="T2" fmla="*/ 16 w 100"/>
                <a:gd name="T3" fmla="*/ 18 h 48"/>
                <a:gd name="T4" fmla="*/ 14 w 100"/>
                <a:gd name="T5" fmla="*/ 20 h 48"/>
                <a:gd name="T6" fmla="*/ 12 w 100"/>
                <a:gd name="T7" fmla="*/ 22 h 48"/>
                <a:gd name="T8" fmla="*/ 8 w 100"/>
                <a:gd name="T9" fmla="*/ 20 h 48"/>
                <a:gd name="T10" fmla="*/ 4 w 100"/>
                <a:gd name="T11" fmla="*/ 20 h 48"/>
                <a:gd name="T12" fmla="*/ 2 w 100"/>
                <a:gd name="T13" fmla="*/ 22 h 48"/>
                <a:gd name="T14" fmla="*/ 2 w 100"/>
                <a:gd name="T15" fmla="*/ 26 h 48"/>
                <a:gd name="T16" fmla="*/ 0 w 100"/>
                <a:gd name="T17" fmla="*/ 34 h 48"/>
                <a:gd name="T18" fmla="*/ 10 w 100"/>
                <a:gd name="T19" fmla="*/ 30 h 48"/>
                <a:gd name="T20" fmla="*/ 16 w 100"/>
                <a:gd name="T21" fmla="*/ 28 h 48"/>
                <a:gd name="T22" fmla="*/ 22 w 100"/>
                <a:gd name="T23" fmla="*/ 28 h 48"/>
                <a:gd name="T24" fmla="*/ 26 w 100"/>
                <a:gd name="T25" fmla="*/ 30 h 48"/>
                <a:gd name="T26" fmla="*/ 28 w 100"/>
                <a:gd name="T27" fmla="*/ 32 h 48"/>
                <a:gd name="T28" fmla="*/ 30 w 100"/>
                <a:gd name="T29" fmla="*/ 34 h 48"/>
                <a:gd name="T30" fmla="*/ 30 w 100"/>
                <a:gd name="T31" fmla="*/ 44 h 48"/>
                <a:gd name="T32" fmla="*/ 30 w 100"/>
                <a:gd name="T33" fmla="*/ 48 h 48"/>
                <a:gd name="T34" fmla="*/ 42 w 100"/>
                <a:gd name="T35" fmla="*/ 42 h 48"/>
                <a:gd name="T36" fmla="*/ 46 w 100"/>
                <a:gd name="T37" fmla="*/ 40 h 48"/>
                <a:gd name="T38" fmla="*/ 56 w 100"/>
                <a:gd name="T39" fmla="*/ 42 h 48"/>
                <a:gd name="T40" fmla="*/ 60 w 100"/>
                <a:gd name="T41" fmla="*/ 40 h 48"/>
                <a:gd name="T42" fmla="*/ 62 w 100"/>
                <a:gd name="T43" fmla="*/ 40 h 48"/>
                <a:gd name="T44" fmla="*/ 64 w 100"/>
                <a:gd name="T45" fmla="*/ 36 h 48"/>
                <a:gd name="T46" fmla="*/ 66 w 100"/>
                <a:gd name="T47" fmla="*/ 30 h 48"/>
                <a:gd name="T48" fmla="*/ 66 w 100"/>
                <a:gd name="T49" fmla="*/ 26 h 48"/>
                <a:gd name="T50" fmla="*/ 68 w 100"/>
                <a:gd name="T51" fmla="*/ 24 h 48"/>
                <a:gd name="T52" fmla="*/ 72 w 100"/>
                <a:gd name="T53" fmla="*/ 24 h 48"/>
                <a:gd name="T54" fmla="*/ 84 w 100"/>
                <a:gd name="T55" fmla="*/ 26 h 48"/>
                <a:gd name="T56" fmla="*/ 92 w 100"/>
                <a:gd name="T57" fmla="*/ 24 h 48"/>
                <a:gd name="T58" fmla="*/ 96 w 100"/>
                <a:gd name="T59" fmla="*/ 20 h 48"/>
                <a:gd name="T60" fmla="*/ 100 w 100"/>
                <a:gd name="T61" fmla="*/ 16 h 48"/>
                <a:gd name="T62" fmla="*/ 98 w 100"/>
                <a:gd name="T63" fmla="*/ 14 h 48"/>
                <a:gd name="T64" fmla="*/ 96 w 100"/>
                <a:gd name="T65" fmla="*/ 14 h 48"/>
                <a:gd name="T66" fmla="*/ 88 w 100"/>
                <a:gd name="T67" fmla="*/ 12 h 48"/>
                <a:gd name="T68" fmla="*/ 84 w 100"/>
                <a:gd name="T69" fmla="*/ 10 h 48"/>
                <a:gd name="T70" fmla="*/ 80 w 100"/>
                <a:gd name="T71" fmla="*/ 6 h 48"/>
                <a:gd name="T72" fmla="*/ 76 w 100"/>
                <a:gd name="T73" fmla="*/ 2 h 48"/>
                <a:gd name="T74" fmla="*/ 72 w 100"/>
                <a:gd name="T75" fmla="*/ 0 h 48"/>
                <a:gd name="T76" fmla="*/ 62 w 100"/>
                <a:gd name="T77" fmla="*/ 0 h 48"/>
                <a:gd name="T78" fmla="*/ 54 w 100"/>
                <a:gd name="T79" fmla="*/ 0 h 48"/>
                <a:gd name="T80" fmla="*/ 50 w 100"/>
                <a:gd name="T81" fmla="*/ 2 h 48"/>
                <a:gd name="T82" fmla="*/ 46 w 100"/>
                <a:gd name="T83" fmla="*/ 8 h 48"/>
                <a:gd name="T84" fmla="*/ 44 w 100"/>
                <a:gd name="T85" fmla="*/ 8 h 48"/>
                <a:gd name="T86" fmla="*/ 42 w 100"/>
                <a:gd name="T87" fmla="*/ 10 h 48"/>
                <a:gd name="T88" fmla="*/ 38 w 100"/>
                <a:gd name="T89" fmla="*/ 6 h 48"/>
                <a:gd name="T90" fmla="*/ 36 w 100"/>
                <a:gd name="T91" fmla="*/ 0 h 48"/>
                <a:gd name="T92" fmla="*/ 26 w 100"/>
                <a:gd name="T93" fmla="*/ 6 h 48"/>
                <a:gd name="T94" fmla="*/ 22 w 100"/>
                <a:gd name="T9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48">
                  <a:moveTo>
                    <a:pt x="16" y="8"/>
                  </a:moveTo>
                  <a:lnTo>
                    <a:pt x="16" y="8"/>
                  </a:lnTo>
                  <a:lnTo>
                    <a:pt x="16" y="10"/>
                  </a:lnTo>
                  <a:lnTo>
                    <a:pt x="16" y="14"/>
                  </a:lnTo>
                  <a:lnTo>
                    <a:pt x="16" y="16"/>
                  </a:lnTo>
                  <a:lnTo>
                    <a:pt x="16" y="18"/>
                  </a:lnTo>
                  <a:lnTo>
                    <a:pt x="14" y="20"/>
                  </a:lnTo>
                  <a:lnTo>
                    <a:pt x="14" y="20"/>
                  </a:lnTo>
                  <a:lnTo>
                    <a:pt x="14" y="20"/>
                  </a:lnTo>
                  <a:lnTo>
                    <a:pt x="14" y="20"/>
                  </a:lnTo>
                  <a:lnTo>
                    <a:pt x="12" y="20"/>
                  </a:lnTo>
                  <a:lnTo>
                    <a:pt x="12" y="22"/>
                  </a:lnTo>
                  <a:lnTo>
                    <a:pt x="10" y="20"/>
                  </a:lnTo>
                  <a:lnTo>
                    <a:pt x="8" y="20"/>
                  </a:lnTo>
                  <a:lnTo>
                    <a:pt x="8" y="20"/>
                  </a:lnTo>
                  <a:lnTo>
                    <a:pt x="6" y="20"/>
                  </a:lnTo>
                  <a:lnTo>
                    <a:pt x="4" y="20"/>
                  </a:lnTo>
                  <a:lnTo>
                    <a:pt x="4" y="20"/>
                  </a:lnTo>
                  <a:lnTo>
                    <a:pt x="4" y="20"/>
                  </a:lnTo>
                  <a:lnTo>
                    <a:pt x="4" y="22"/>
                  </a:lnTo>
                  <a:lnTo>
                    <a:pt x="2" y="22"/>
                  </a:lnTo>
                  <a:lnTo>
                    <a:pt x="2" y="22"/>
                  </a:lnTo>
                  <a:lnTo>
                    <a:pt x="2" y="24"/>
                  </a:lnTo>
                  <a:lnTo>
                    <a:pt x="2" y="26"/>
                  </a:lnTo>
                  <a:lnTo>
                    <a:pt x="2" y="28"/>
                  </a:lnTo>
                  <a:lnTo>
                    <a:pt x="0" y="32"/>
                  </a:lnTo>
                  <a:lnTo>
                    <a:pt x="0" y="34"/>
                  </a:lnTo>
                  <a:lnTo>
                    <a:pt x="4" y="32"/>
                  </a:lnTo>
                  <a:lnTo>
                    <a:pt x="8" y="30"/>
                  </a:lnTo>
                  <a:lnTo>
                    <a:pt x="10" y="30"/>
                  </a:lnTo>
                  <a:lnTo>
                    <a:pt x="12" y="30"/>
                  </a:lnTo>
                  <a:lnTo>
                    <a:pt x="12" y="28"/>
                  </a:lnTo>
                  <a:lnTo>
                    <a:pt x="16" y="28"/>
                  </a:lnTo>
                  <a:lnTo>
                    <a:pt x="18" y="28"/>
                  </a:lnTo>
                  <a:lnTo>
                    <a:pt x="20" y="28"/>
                  </a:lnTo>
                  <a:lnTo>
                    <a:pt x="22" y="28"/>
                  </a:lnTo>
                  <a:lnTo>
                    <a:pt x="24" y="28"/>
                  </a:lnTo>
                  <a:lnTo>
                    <a:pt x="26" y="30"/>
                  </a:lnTo>
                  <a:lnTo>
                    <a:pt x="26" y="30"/>
                  </a:lnTo>
                  <a:lnTo>
                    <a:pt x="28" y="30"/>
                  </a:lnTo>
                  <a:lnTo>
                    <a:pt x="28" y="30"/>
                  </a:lnTo>
                  <a:lnTo>
                    <a:pt x="28" y="32"/>
                  </a:lnTo>
                  <a:lnTo>
                    <a:pt x="28" y="32"/>
                  </a:lnTo>
                  <a:lnTo>
                    <a:pt x="28" y="34"/>
                  </a:lnTo>
                  <a:lnTo>
                    <a:pt x="30" y="34"/>
                  </a:lnTo>
                  <a:lnTo>
                    <a:pt x="30" y="38"/>
                  </a:lnTo>
                  <a:lnTo>
                    <a:pt x="30" y="40"/>
                  </a:lnTo>
                  <a:lnTo>
                    <a:pt x="30" y="44"/>
                  </a:lnTo>
                  <a:lnTo>
                    <a:pt x="30" y="46"/>
                  </a:lnTo>
                  <a:lnTo>
                    <a:pt x="28" y="48"/>
                  </a:lnTo>
                  <a:lnTo>
                    <a:pt x="30" y="48"/>
                  </a:lnTo>
                  <a:lnTo>
                    <a:pt x="34" y="46"/>
                  </a:lnTo>
                  <a:lnTo>
                    <a:pt x="40" y="42"/>
                  </a:lnTo>
                  <a:lnTo>
                    <a:pt x="42" y="42"/>
                  </a:lnTo>
                  <a:lnTo>
                    <a:pt x="44" y="42"/>
                  </a:lnTo>
                  <a:lnTo>
                    <a:pt x="44" y="40"/>
                  </a:lnTo>
                  <a:lnTo>
                    <a:pt x="46" y="40"/>
                  </a:lnTo>
                  <a:lnTo>
                    <a:pt x="48" y="40"/>
                  </a:lnTo>
                  <a:lnTo>
                    <a:pt x="54" y="40"/>
                  </a:lnTo>
                  <a:lnTo>
                    <a:pt x="56" y="42"/>
                  </a:lnTo>
                  <a:lnTo>
                    <a:pt x="58" y="40"/>
                  </a:lnTo>
                  <a:lnTo>
                    <a:pt x="60" y="40"/>
                  </a:lnTo>
                  <a:lnTo>
                    <a:pt x="60" y="40"/>
                  </a:lnTo>
                  <a:lnTo>
                    <a:pt x="62" y="40"/>
                  </a:lnTo>
                  <a:lnTo>
                    <a:pt x="62" y="40"/>
                  </a:lnTo>
                  <a:lnTo>
                    <a:pt x="62" y="40"/>
                  </a:lnTo>
                  <a:lnTo>
                    <a:pt x="64" y="38"/>
                  </a:lnTo>
                  <a:lnTo>
                    <a:pt x="64" y="38"/>
                  </a:lnTo>
                  <a:lnTo>
                    <a:pt x="64" y="36"/>
                  </a:lnTo>
                  <a:lnTo>
                    <a:pt x="64" y="34"/>
                  </a:lnTo>
                  <a:lnTo>
                    <a:pt x="64" y="32"/>
                  </a:lnTo>
                  <a:lnTo>
                    <a:pt x="66" y="30"/>
                  </a:lnTo>
                  <a:lnTo>
                    <a:pt x="66" y="28"/>
                  </a:lnTo>
                  <a:lnTo>
                    <a:pt x="66" y="26"/>
                  </a:lnTo>
                  <a:lnTo>
                    <a:pt x="66" y="26"/>
                  </a:lnTo>
                  <a:lnTo>
                    <a:pt x="66" y="26"/>
                  </a:lnTo>
                  <a:lnTo>
                    <a:pt x="68" y="26"/>
                  </a:lnTo>
                  <a:lnTo>
                    <a:pt x="68" y="24"/>
                  </a:lnTo>
                  <a:lnTo>
                    <a:pt x="70" y="24"/>
                  </a:lnTo>
                  <a:lnTo>
                    <a:pt x="72" y="24"/>
                  </a:lnTo>
                  <a:lnTo>
                    <a:pt x="72" y="24"/>
                  </a:lnTo>
                  <a:lnTo>
                    <a:pt x="76" y="24"/>
                  </a:lnTo>
                  <a:lnTo>
                    <a:pt x="80" y="24"/>
                  </a:lnTo>
                  <a:lnTo>
                    <a:pt x="84" y="26"/>
                  </a:lnTo>
                  <a:lnTo>
                    <a:pt x="88" y="26"/>
                  </a:lnTo>
                  <a:lnTo>
                    <a:pt x="90" y="26"/>
                  </a:lnTo>
                  <a:lnTo>
                    <a:pt x="92" y="24"/>
                  </a:lnTo>
                  <a:lnTo>
                    <a:pt x="94" y="24"/>
                  </a:lnTo>
                  <a:lnTo>
                    <a:pt x="96" y="22"/>
                  </a:lnTo>
                  <a:lnTo>
                    <a:pt x="96" y="20"/>
                  </a:lnTo>
                  <a:lnTo>
                    <a:pt x="98" y="18"/>
                  </a:lnTo>
                  <a:lnTo>
                    <a:pt x="98" y="18"/>
                  </a:lnTo>
                  <a:lnTo>
                    <a:pt x="100" y="16"/>
                  </a:lnTo>
                  <a:lnTo>
                    <a:pt x="100" y="16"/>
                  </a:lnTo>
                  <a:lnTo>
                    <a:pt x="100" y="16"/>
                  </a:lnTo>
                  <a:lnTo>
                    <a:pt x="98" y="14"/>
                  </a:lnTo>
                  <a:lnTo>
                    <a:pt x="98" y="14"/>
                  </a:lnTo>
                  <a:lnTo>
                    <a:pt x="98" y="14"/>
                  </a:lnTo>
                  <a:lnTo>
                    <a:pt x="96" y="14"/>
                  </a:lnTo>
                  <a:lnTo>
                    <a:pt x="94" y="12"/>
                  </a:lnTo>
                  <a:lnTo>
                    <a:pt x="92" y="12"/>
                  </a:lnTo>
                  <a:lnTo>
                    <a:pt x="88" y="12"/>
                  </a:lnTo>
                  <a:lnTo>
                    <a:pt x="86" y="12"/>
                  </a:lnTo>
                  <a:lnTo>
                    <a:pt x="84" y="10"/>
                  </a:lnTo>
                  <a:lnTo>
                    <a:pt x="84" y="10"/>
                  </a:lnTo>
                  <a:lnTo>
                    <a:pt x="82" y="10"/>
                  </a:lnTo>
                  <a:lnTo>
                    <a:pt x="82" y="8"/>
                  </a:lnTo>
                  <a:lnTo>
                    <a:pt x="80" y="6"/>
                  </a:lnTo>
                  <a:lnTo>
                    <a:pt x="78" y="4"/>
                  </a:lnTo>
                  <a:lnTo>
                    <a:pt x="78" y="4"/>
                  </a:lnTo>
                  <a:lnTo>
                    <a:pt x="76" y="2"/>
                  </a:lnTo>
                  <a:lnTo>
                    <a:pt x="74" y="2"/>
                  </a:lnTo>
                  <a:lnTo>
                    <a:pt x="74" y="2"/>
                  </a:lnTo>
                  <a:lnTo>
                    <a:pt x="72" y="0"/>
                  </a:lnTo>
                  <a:lnTo>
                    <a:pt x="70" y="0"/>
                  </a:lnTo>
                  <a:lnTo>
                    <a:pt x="66" y="0"/>
                  </a:lnTo>
                  <a:lnTo>
                    <a:pt x="62" y="0"/>
                  </a:lnTo>
                  <a:lnTo>
                    <a:pt x="60" y="0"/>
                  </a:lnTo>
                  <a:lnTo>
                    <a:pt x="56" y="0"/>
                  </a:lnTo>
                  <a:lnTo>
                    <a:pt x="54" y="0"/>
                  </a:lnTo>
                  <a:lnTo>
                    <a:pt x="50" y="2"/>
                  </a:lnTo>
                  <a:lnTo>
                    <a:pt x="50" y="2"/>
                  </a:lnTo>
                  <a:lnTo>
                    <a:pt x="50" y="2"/>
                  </a:lnTo>
                  <a:lnTo>
                    <a:pt x="48" y="4"/>
                  </a:lnTo>
                  <a:lnTo>
                    <a:pt x="46" y="6"/>
                  </a:lnTo>
                  <a:lnTo>
                    <a:pt x="46" y="8"/>
                  </a:lnTo>
                  <a:lnTo>
                    <a:pt x="44" y="8"/>
                  </a:lnTo>
                  <a:lnTo>
                    <a:pt x="44" y="8"/>
                  </a:lnTo>
                  <a:lnTo>
                    <a:pt x="44" y="8"/>
                  </a:lnTo>
                  <a:lnTo>
                    <a:pt x="42" y="10"/>
                  </a:lnTo>
                  <a:lnTo>
                    <a:pt x="42" y="10"/>
                  </a:lnTo>
                  <a:lnTo>
                    <a:pt x="42" y="10"/>
                  </a:lnTo>
                  <a:lnTo>
                    <a:pt x="40" y="8"/>
                  </a:lnTo>
                  <a:lnTo>
                    <a:pt x="40" y="8"/>
                  </a:lnTo>
                  <a:lnTo>
                    <a:pt x="38" y="6"/>
                  </a:lnTo>
                  <a:lnTo>
                    <a:pt x="38" y="4"/>
                  </a:lnTo>
                  <a:lnTo>
                    <a:pt x="36" y="2"/>
                  </a:lnTo>
                  <a:lnTo>
                    <a:pt x="36" y="0"/>
                  </a:lnTo>
                  <a:lnTo>
                    <a:pt x="32" y="4"/>
                  </a:lnTo>
                  <a:lnTo>
                    <a:pt x="28" y="6"/>
                  </a:lnTo>
                  <a:lnTo>
                    <a:pt x="26" y="6"/>
                  </a:lnTo>
                  <a:lnTo>
                    <a:pt x="26" y="6"/>
                  </a:lnTo>
                  <a:lnTo>
                    <a:pt x="24" y="8"/>
                  </a:lnTo>
                  <a:lnTo>
                    <a:pt x="22" y="8"/>
                  </a:lnTo>
                  <a:lnTo>
                    <a:pt x="20" y="8"/>
                  </a:lnTo>
                  <a:lnTo>
                    <a:pt x="16" y="8"/>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5" name="Freeform 498">
              <a:extLst>
                <a:ext uri="{FF2B5EF4-FFF2-40B4-BE49-F238E27FC236}">
                  <a16:creationId xmlns:a16="http://schemas.microsoft.com/office/drawing/2014/main" id="{FCF5A26E-2F73-4C19-97B8-88EFEF5E5CE7}"/>
                </a:ext>
              </a:extLst>
            </p:cNvPr>
            <p:cNvSpPr>
              <a:spLocks/>
            </p:cNvSpPr>
            <p:nvPr/>
          </p:nvSpPr>
          <p:spPr bwMode="auto">
            <a:xfrm>
              <a:off x="2547529" y="5300935"/>
              <a:ext cx="426090" cy="966498"/>
            </a:xfrm>
            <a:custGeom>
              <a:avLst/>
              <a:gdLst>
                <a:gd name="T0" fmla="*/ 56 w 246"/>
                <a:gd name="T1" fmla="*/ 0 h 558"/>
                <a:gd name="T2" fmla="*/ 78 w 246"/>
                <a:gd name="T3" fmla="*/ 16 h 558"/>
                <a:gd name="T4" fmla="*/ 104 w 246"/>
                <a:gd name="T5" fmla="*/ 4 h 558"/>
                <a:gd name="T6" fmla="*/ 128 w 246"/>
                <a:gd name="T7" fmla="*/ 24 h 558"/>
                <a:gd name="T8" fmla="*/ 148 w 246"/>
                <a:gd name="T9" fmla="*/ 38 h 558"/>
                <a:gd name="T10" fmla="*/ 162 w 246"/>
                <a:gd name="T11" fmla="*/ 50 h 558"/>
                <a:gd name="T12" fmla="*/ 182 w 246"/>
                <a:gd name="T13" fmla="*/ 60 h 558"/>
                <a:gd name="T14" fmla="*/ 172 w 246"/>
                <a:gd name="T15" fmla="*/ 90 h 558"/>
                <a:gd name="T16" fmla="*/ 190 w 246"/>
                <a:gd name="T17" fmla="*/ 100 h 558"/>
                <a:gd name="T18" fmla="*/ 218 w 246"/>
                <a:gd name="T19" fmla="*/ 92 h 558"/>
                <a:gd name="T20" fmla="*/ 232 w 246"/>
                <a:gd name="T21" fmla="*/ 74 h 558"/>
                <a:gd name="T22" fmla="*/ 238 w 246"/>
                <a:gd name="T23" fmla="*/ 84 h 558"/>
                <a:gd name="T24" fmla="*/ 246 w 246"/>
                <a:gd name="T25" fmla="*/ 92 h 558"/>
                <a:gd name="T26" fmla="*/ 234 w 246"/>
                <a:gd name="T27" fmla="*/ 98 h 558"/>
                <a:gd name="T28" fmla="*/ 220 w 246"/>
                <a:gd name="T29" fmla="*/ 110 h 558"/>
                <a:gd name="T30" fmla="*/ 194 w 246"/>
                <a:gd name="T31" fmla="*/ 144 h 558"/>
                <a:gd name="T32" fmla="*/ 180 w 246"/>
                <a:gd name="T33" fmla="*/ 192 h 558"/>
                <a:gd name="T34" fmla="*/ 186 w 246"/>
                <a:gd name="T35" fmla="*/ 222 h 558"/>
                <a:gd name="T36" fmla="*/ 192 w 246"/>
                <a:gd name="T37" fmla="*/ 228 h 558"/>
                <a:gd name="T38" fmla="*/ 208 w 246"/>
                <a:gd name="T39" fmla="*/ 234 h 558"/>
                <a:gd name="T40" fmla="*/ 210 w 246"/>
                <a:gd name="T41" fmla="*/ 254 h 558"/>
                <a:gd name="T42" fmla="*/ 214 w 246"/>
                <a:gd name="T43" fmla="*/ 270 h 558"/>
                <a:gd name="T44" fmla="*/ 194 w 246"/>
                <a:gd name="T45" fmla="*/ 280 h 558"/>
                <a:gd name="T46" fmla="*/ 188 w 246"/>
                <a:gd name="T47" fmla="*/ 292 h 558"/>
                <a:gd name="T48" fmla="*/ 146 w 246"/>
                <a:gd name="T49" fmla="*/ 298 h 558"/>
                <a:gd name="T50" fmla="*/ 142 w 246"/>
                <a:gd name="T51" fmla="*/ 318 h 558"/>
                <a:gd name="T52" fmla="*/ 140 w 246"/>
                <a:gd name="T53" fmla="*/ 342 h 558"/>
                <a:gd name="T54" fmla="*/ 114 w 246"/>
                <a:gd name="T55" fmla="*/ 334 h 558"/>
                <a:gd name="T56" fmla="*/ 102 w 246"/>
                <a:gd name="T57" fmla="*/ 336 h 558"/>
                <a:gd name="T58" fmla="*/ 112 w 246"/>
                <a:gd name="T59" fmla="*/ 354 h 558"/>
                <a:gd name="T60" fmla="*/ 120 w 246"/>
                <a:gd name="T61" fmla="*/ 378 h 558"/>
                <a:gd name="T62" fmla="*/ 106 w 246"/>
                <a:gd name="T63" fmla="*/ 408 h 558"/>
                <a:gd name="T64" fmla="*/ 94 w 246"/>
                <a:gd name="T65" fmla="*/ 420 h 558"/>
                <a:gd name="T66" fmla="*/ 82 w 246"/>
                <a:gd name="T67" fmla="*/ 426 h 558"/>
                <a:gd name="T68" fmla="*/ 82 w 246"/>
                <a:gd name="T69" fmla="*/ 448 h 558"/>
                <a:gd name="T70" fmla="*/ 102 w 246"/>
                <a:gd name="T71" fmla="*/ 460 h 558"/>
                <a:gd name="T72" fmla="*/ 96 w 246"/>
                <a:gd name="T73" fmla="*/ 480 h 558"/>
                <a:gd name="T74" fmla="*/ 90 w 246"/>
                <a:gd name="T75" fmla="*/ 504 h 558"/>
                <a:gd name="T76" fmla="*/ 80 w 246"/>
                <a:gd name="T77" fmla="*/ 516 h 558"/>
                <a:gd name="T78" fmla="*/ 72 w 246"/>
                <a:gd name="T79" fmla="*/ 532 h 558"/>
                <a:gd name="T80" fmla="*/ 34 w 246"/>
                <a:gd name="T81" fmla="*/ 558 h 558"/>
                <a:gd name="T82" fmla="*/ 24 w 246"/>
                <a:gd name="T83" fmla="*/ 540 h 558"/>
                <a:gd name="T84" fmla="*/ 12 w 246"/>
                <a:gd name="T85" fmla="*/ 528 h 558"/>
                <a:gd name="T86" fmla="*/ 6 w 246"/>
                <a:gd name="T87" fmla="*/ 492 h 558"/>
                <a:gd name="T88" fmla="*/ 16 w 246"/>
                <a:gd name="T89" fmla="*/ 480 h 558"/>
                <a:gd name="T90" fmla="*/ 20 w 246"/>
                <a:gd name="T91" fmla="*/ 418 h 558"/>
                <a:gd name="T92" fmla="*/ 12 w 246"/>
                <a:gd name="T93" fmla="*/ 372 h 558"/>
                <a:gd name="T94" fmla="*/ 2 w 246"/>
                <a:gd name="T95" fmla="*/ 326 h 558"/>
                <a:gd name="T96" fmla="*/ 14 w 246"/>
                <a:gd name="T97" fmla="*/ 302 h 558"/>
                <a:gd name="T98" fmla="*/ 2 w 246"/>
                <a:gd name="T99" fmla="*/ 278 h 558"/>
                <a:gd name="T100" fmla="*/ 12 w 246"/>
                <a:gd name="T101" fmla="*/ 254 h 558"/>
                <a:gd name="T102" fmla="*/ 12 w 246"/>
                <a:gd name="T103" fmla="*/ 238 h 558"/>
                <a:gd name="T104" fmla="*/ 12 w 246"/>
                <a:gd name="T105" fmla="*/ 214 h 558"/>
                <a:gd name="T106" fmla="*/ 20 w 246"/>
                <a:gd name="T107" fmla="*/ 208 h 558"/>
                <a:gd name="T108" fmla="*/ 12 w 246"/>
                <a:gd name="T109" fmla="*/ 192 h 558"/>
                <a:gd name="T110" fmla="*/ 12 w 246"/>
                <a:gd name="T111" fmla="*/ 166 h 558"/>
                <a:gd name="T112" fmla="*/ 14 w 246"/>
                <a:gd name="T113" fmla="*/ 138 h 558"/>
                <a:gd name="T114" fmla="*/ 18 w 246"/>
                <a:gd name="T115" fmla="*/ 112 h 558"/>
                <a:gd name="T116" fmla="*/ 30 w 246"/>
                <a:gd name="T117" fmla="*/ 92 h 558"/>
                <a:gd name="T118" fmla="*/ 26 w 246"/>
                <a:gd name="T119" fmla="*/ 74 h 558"/>
                <a:gd name="T120" fmla="*/ 34 w 246"/>
                <a:gd name="T121" fmla="*/ 60 h 558"/>
                <a:gd name="T122" fmla="*/ 36 w 246"/>
                <a:gd name="T123" fmla="*/ 40 h 558"/>
                <a:gd name="T124" fmla="*/ 46 w 246"/>
                <a:gd name="T125" fmla="*/ 2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6" h="558">
                  <a:moveTo>
                    <a:pt x="46" y="20"/>
                  </a:moveTo>
                  <a:lnTo>
                    <a:pt x="46" y="20"/>
                  </a:lnTo>
                  <a:lnTo>
                    <a:pt x="46" y="16"/>
                  </a:lnTo>
                  <a:lnTo>
                    <a:pt x="46" y="14"/>
                  </a:lnTo>
                  <a:lnTo>
                    <a:pt x="48" y="10"/>
                  </a:lnTo>
                  <a:lnTo>
                    <a:pt x="50" y="6"/>
                  </a:lnTo>
                  <a:lnTo>
                    <a:pt x="50" y="6"/>
                  </a:lnTo>
                  <a:lnTo>
                    <a:pt x="50" y="4"/>
                  </a:lnTo>
                  <a:lnTo>
                    <a:pt x="52" y="2"/>
                  </a:lnTo>
                  <a:lnTo>
                    <a:pt x="52" y="2"/>
                  </a:lnTo>
                  <a:lnTo>
                    <a:pt x="54" y="0"/>
                  </a:lnTo>
                  <a:lnTo>
                    <a:pt x="54" y="0"/>
                  </a:lnTo>
                  <a:lnTo>
                    <a:pt x="56" y="0"/>
                  </a:lnTo>
                  <a:lnTo>
                    <a:pt x="56" y="0"/>
                  </a:lnTo>
                  <a:lnTo>
                    <a:pt x="56" y="0"/>
                  </a:lnTo>
                  <a:lnTo>
                    <a:pt x="58" y="2"/>
                  </a:lnTo>
                  <a:lnTo>
                    <a:pt x="60" y="2"/>
                  </a:lnTo>
                  <a:lnTo>
                    <a:pt x="62" y="4"/>
                  </a:lnTo>
                  <a:lnTo>
                    <a:pt x="64" y="8"/>
                  </a:lnTo>
                  <a:lnTo>
                    <a:pt x="66" y="10"/>
                  </a:lnTo>
                  <a:lnTo>
                    <a:pt x="68" y="12"/>
                  </a:lnTo>
                  <a:lnTo>
                    <a:pt x="68" y="12"/>
                  </a:lnTo>
                  <a:lnTo>
                    <a:pt x="72" y="14"/>
                  </a:lnTo>
                  <a:lnTo>
                    <a:pt x="74" y="14"/>
                  </a:lnTo>
                  <a:lnTo>
                    <a:pt x="76" y="16"/>
                  </a:lnTo>
                  <a:lnTo>
                    <a:pt x="78" y="16"/>
                  </a:lnTo>
                  <a:lnTo>
                    <a:pt x="82" y="18"/>
                  </a:lnTo>
                  <a:lnTo>
                    <a:pt x="84" y="18"/>
                  </a:lnTo>
                  <a:lnTo>
                    <a:pt x="84" y="18"/>
                  </a:lnTo>
                  <a:lnTo>
                    <a:pt x="86" y="18"/>
                  </a:lnTo>
                  <a:lnTo>
                    <a:pt x="86" y="18"/>
                  </a:lnTo>
                  <a:lnTo>
                    <a:pt x="88" y="18"/>
                  </a:lnTo>
                  <a:lnTo>
                    <a:pt x="90" y="16"/>
                  </a:lnTo>
                  <a:lnTo>
                    <a:pt x="90" y="16"/>
                  </a:lnTo>
                  <a:lnTo>
                    <a:pt x="94" y="12"/>
                  </a:lnTo>
                  <a:lnTo>
                    <a:pt x="96" y="10"/>
                  </a:lnTo>
                  <a:lnTo>
                    <a:pt x="100" y="8"/>
                  </a:lnTo>
                  <a:lnTo>
                    <a:pt x="102" y="6"/>
                  </a:lnTo>
                  <a:lnTo>
                    <a:pt x="104" y="4"/>
                  </a:lnTo>
                  <a:lnTo>
                    <a:pt x="106" y="8"/>
                  </a:lnTo>
                  <a:lnTo>
                    <a:pt x="110" y="12"/>
                  </a:lnTo>
                  <a:lnTo>
                    <a:pt x="110" y="12"/>
                  </a:lnTo>
                  <a:lnTo>
                    <a:pt x="112" y="14"/>
                  </a:lnTo>
                  <a:lnTo>
                    <a:pt x="114" y="14"/>
                  </a:lnTo>
                  <a:lnTo>
                    <a:pt x="114" y="16"/>
                  </a:lnTo>
                  <a:lnTo>
                    <a:pt x="118" y="18"/>
                  </a:lnTo>
                  <a:lnTo>
                    <a:pt x="122" y="18"/>
                  </a:lnTo>
                  <a:lnTo>
                    <a:pt x="124" y="20"/>
                  </a:lnTo>
                  <a:lnTo>
                    <a:pt x="126" y="20"/>
                  </a:lnTo>
                  <a:lnTo>
                    <a:pt x="126" y="20"/>
                  </a:lnTo>
                  <a:lnTo>
                    <a:pt x="126" y="22"/>
                  </a:lnTo>
                  <a:lnTo>
                    <a:pt x="128" y="24"/>
                  </a:lnTo>
                  <a:lnTo>
                    <a:pt x="128" y="26"/>
                  </a:lnTo>
                  <a:lnTo>
                    <a:pt x="130" y="26"/>
                  </a:lnTo>
                  <a:lnTo>
                    <a:pt x="130" y="26"/>
                  </a:lnTo>
                  <a:lnTo>
                    <a:pt x="130" y="28"/>
                  </a:lnTo>
                  <a:lnTo>
                    <a:pt x="132" y="28"/>
                  </a:lnTo>
                  <a:lnTo>
                    <a:pt x="134" y="28"/>
                  </a:lnTo>
                  <a:lnTo>
                    <a:pt x="136" y="30"/>
                  </a:lnTo>
                  <a:lnTo>
                    <a:pt x="138" y="30"/>
                  </a:lnTo>
                  <a:lnTo>
                    <a:pt x="140" y="30"/>
                  </a:lnTo>
                  <a:lnTo>
                    <a:pt x="142" y="32"/>
                  </a:lnTo>
                  <a:lnTo>
                    <a:pt x="144" y="34"/>
                  </a:lnTo>
                  <a:lnTo>
                    <a:pt x="146" y="36"/>
                  </a:lnTo>
                  <a:lnTo>
                    <a:pt x="148" y="38"/>
                  </a:lnTo>
                  <a:lnTo>
                    <a:pt x="148" y="40"/>
                  </a:lnTo>
                  <a:lnTo>
                    <a:pt x="148" y="40"/>
                  </a:lnTo>
                  <a:lnTo>
                    <a:pt x="150" y="44"/>
                  </a:lnTo>
                  <a:lnTo>
                    <a:pt x="150" y="44"/>
                  </a:lnTo>
                  <a:lnTo>
                    <a:pt x="150" y="46"/>
                  </a:lnTo>
                  <a:lnTo>
                    <a:pt x="150" y="46"/>
                  </a:lnTo>
                  <a:lnTo>
                    <a:pt x="152" y="48"/>
                  </a:lnTo>
                  <a:lnTo>
                    <a:pt x="152" y="48"/>
                  </a:lnTo>
                  <a:lnTo>
                    <a:pt x="154" y="48"/>
                  </a:lnTo>
                  <a:lnTo>
                    <a:pt x="154" y="48"/>
                  </a:lnTo>
                  <a:lnTo>
                    <a:pt x="156" y="50"/>
                  </a:lnTo>
                  <a:lnTo>
                    <a:pt x="158" y="50"/>
                  </a:lnTo>
                  <a:lnTo>
                    <a:pt x="162" y="50"/>
                  </a:lnTo>
                  <a:lnTo>
                    <a:pt x="164" y="50"/>
                  </a:lnTo>
                  <a:lnTo>
                    <a:pt x="168" y="50"/>
                  </a:lnTo>
                  <a:lnTo>
                    <a:pt x="170" y="50"/>
                  </a:lnTo>
                  <a:lnTo>
                    <a:pt x="172" y="50"/>
                  </a:lnTo>
                  <a:lnTo>
                    <a:pt x="172" y="50"/>
                  </a:lnTo>
                  <a:lnTo>
                    <a:pt x="174" y="50"/>
                  </a:lnTo>
                  <a:lnTo>
                    <a:pt x="174" y="52"/>
                  </a:lnTo>
                  <a:lnTo>
                    <a:pt x="176" y="54"/>
                  </a:lnTo>
                  <a:lnTo>
                    <a:pt x="178" y="56"/>
                  </a:lnTo>
                  <a:lnTo>
                    <a:pt x="180" y="56"/>
                  </a:lnTo>
                  <a:lnTo>
                    <a:pt x="180" y="58"/>
                  </a:lnTo>
                  <a:lnTo>
                    <a:pt x="182" y="58"/>
                  </a:lnTo>
                  <a:lnTo>
                    <a:pt x="182" y="60"/>
                  </a:lnTo>
                  <a:lnTo>
                    <a:pt x="182" y="60"/>
                  </a:lnTo>
                  <a:lnTo>
                    <a:pt x="182" y="62"/>
                  </a:lnTo>
                  <a:lnTo>
                    <a:pt x="182" y="64"/>
                  </a:lnTo>
                  <a:lnTo>
                    <a:pt x="180" y="66"/>
                  </a:lnTo>
                  <a:lnTo>
                    <a:pt x="180" y="68"/>
                  </a:lnTo>
                  <a:lnTo>
                    <a:pt x="178" y="74"/>
                  </a:lnTo>
                  <a:lnTo>
                    <a:pt x="176" y="78"/>
                  </a:lnTo>
                  <a:lnTo>
                    <a:pt x="176" y="80"/>
                  </a:lnTo>
                  <a:lnTo>
                    <a:pt x="174" y="80"/>
                  </a:lnTo>
                  <a:lnTo>
                    <a:pt x="174" y="82"/>
                  </a:lnTo>
                  <a:lnTo>
                    <a:pt x="172" y="86"/>
                  </a:lnTo>
                  <a:lnTo>
                    <a:pt x="172" y="88"/>
                  </a:lnTo>
                  <a:lnTo>
                    <a:pt x="172" y="90"/>
                  </a:lnTo>
                  <a:lnTo>
                    <a:pt x="172" y="92"/>
                  </a:lnTo>
                  <a:lnTo>
                    <a:pt x="172" y="92"/>
                  </a:lnTo>
                  <a:lnTo>
                    <a:pt x="172" y="92"/>
                  </a:lnTo>
                  <a:lnTo>
                    <a:pt x="172" y="94"/>
                  </a:lnTo>
                  <a:lnTo>
                    <a:pt x="172" y="94"/>
                  </a:lnTo>
                  <a:lnTo>
                    <a:pt x="174" y="94"/>
                  </a:lnTo>
                  <a:lnTo>
                    <a:pt x="174" y="96"/>
                  </a:lnTo>
                  <a:lnTo>
                    <a:pt x="176" y="96"/>
                  </a:lnTo>
                  <a:lnTo>
                    <a:pt x="178" y="98"/>
                  </a:lnTo>
                  <a:lnTo>
                    <a:pt x="180" y="98"/>
                  </a:lnTo>
                  <a:lnTo>
                    <a:pt x="184" y="98"/>
                  </a:lnTo>
                  <a:lnTo>
                    <a:pt x="188" y="100"/>
                  </a:lnTo>
                  <a:lnTo>
                    <a:pt x="190" y="100"/>
                  </a:lnTo>
                  <a:lnTo>
                    <a:pt x="194" y="100"/>
                  </a:lnTo>
                  <a:lnTo>
                    <a:pt x="198" y="100"/>
                  </a:lnTo>
                  <a:lnTo>
                    <a:pt x="202" y="100"/>
                  </a:lnTo>
                  <a:lnTo>
                    <a:pt x="204" y="98"/>
                  </a:lnTo>
                  <a:lnTo>
                    <a:pt x="208" y="98"/>
                  </a:lnTo>
                  <a:lnTo>
                    <a:pt x="210" y="98"/>
                  </a:lnTo>
                  <a:lnTo>
                    <a:pt x="214" y="96"/>
                  </a:lnTo>
                  <a:lnTo>
                    <a:pt x="216" y="96"/>
                  </a:lnTo>
                  <a:lnTo>
                    <a:pt x="216" y="94"/>
                  </a:lnTo>
                  <a:lnTo>
                    <a:pt x="218" y="94"/>
                  </a:lnTo>
                  <a:lnTo>
                    <a:pt x="218" y="94"/>
                  </a:lnTo>
                  <a:lnTo>
                    <a:pt x="218" y="92"/>
                  </a:lnTo>
                  <a:lnTo>
                    <a:pt x="218" y="92"/>
                  </a:lnTo>
                  <a:lnTo>
                    <a:pt x="218" y="90"/>
                  </a:lnTo>
                  <a:lnTo>
                    <a:pt x="218" y="88"/>
                  </a:lnTo>
                  <a:lnTo>
                    <a:pt x="218" y="88"/>
                  </a:lnTo>
                  <a:lnTo>
                    <a:pt x="218" y="86"/>
                  </a:lnTo>
                  <a:lnTo>
                    <a:pt x="220" y="86"/>
                  </a:lnTo>
                  <a:lnTo>
                    <a:pt x="220" y="84"/>
                  </a:lnTo>
                  <a:lnTo>
                    <a:pt x="224" y="84"/>
                  </a:lnTo>
                  <a:lnTo>
                    <a:pt x="226" y="82"/>
                  </a:lnTo>
                  <a:lnTo>
                    <a:pt x="226" y="82"/>
                  </a:lnTo>
                  <a:lnTo>
                    <a:pt x="228" y="80"/>
                  </a:lnTo>
                  <a:lnTo>
                    <a:pt x="228" y="80"/>
                  </a:lnTo>
                  <a:lnTo>
                    <a:pt x="230" y="78"/>
                  </a:lnTo>
                  <a:lnTo>
                    <a:pt x="232" y="74"/>
                  </a:lnTo>
                  <a:lnTo>
                    <a:pt x="234" y="68"/>
                  </a:lnTo>
                  <a:lnTo>
                    <a:pt x="234" y="70"/>
                  </a:lnTo>
                  <a:lnTo>
                    <a:pt x="234" y="72"/>
                  </a:lnTo>
                  <a:lnTo>
                    <a:pt x="234" y="76"/>
                  </a:lnTo>
                  <a:lnTo>
                    <a:pt x="234" y="78"/>
                  </a:lnTo>
                  <a:lnTo>
                    <a:pt x="236" y="80"/>
                  </a:lnTo>
                  <a:lnTo>
                    <a:pt x="236" y="82"/>
                  </a:lnTo>
                  <a:lnTo>
                    <a:pt x="236" y="82"/>
                  </a:lnTo>
                  <a:lnTo>
                    <a:pt x="236" y="84"/>
                  </a:lnTo>
                  <a:lnTo>
                    <a:pt x="236" y="84"/>
                  </a:lnTo>
                  <a:lnTo>
                    <a:pt x="236" y="84"/>
                  </a:lnTo>
                  <a:lnTo>
                    <a:pt x="238" y="84"/>
                  </a:lnTo>
                  <a:lnTo>
                    <a:pt x="238" y="84"/>
                  </a:lnTo>
                  <a:lnTo>
                    <a:pt x="240" y="84"/>
                  </a:lnTo>
                  <a:lnTo>
                    <a:pt x="240" y="84"/>
                  </a:lnTo>
                  <a:lnTo>
                    <a:pt x="242" y="84"/>
                  </a:lnTo>
                  <a:lnTo>
                    <a:pt x="242" y="84"/>
                  </a:lnTo>
                  <a:lnTo>
                    <a:pt x="244" y="84"/>
                  </a:lnTo>
                  <a:lnTo>
                    <a:pt x="244" y="84"/>
                  </a:lnTo>
                  <a:lnTo>
                    <a:pt x="244" y="84"/>
                  </a:lnTo>
                  <a:lnTo>
                    <a:pt x="244" y="84"/>
                  </a:lnTo>
                  <a:lnTo>
                    <a:pt x="244" y="84"/>
                  </a:lnTo>
                  <a:lnTo>
                    <a:pt x="246" y="86"/>
                  </a:lnTo>
                  <a:lnTo>
                    <a:pt x="246" y="88"/>
                  </a:lnTo>
                  <a:lnTo>
                    <a:pt x="246" y="90"/>
                  </a:lnTo>
                  <a:lnTo>
                    <a:pt x="246" y="92"/>
                  </a:lnTo>
                  <a:lnTo>
                    <a:pt x="246" y="94"/>
                  </a:lnTo>
                  <a:lnTo>
                    <a:pt x="246" y="94"/>
                  </a:lnTo>
                  <a:lnTo>
                    <a:pt x="246" y="96"/>
                  </a:lnTo>
                  <a:lnTo>
                    <a:pt x="244" y="96"/>
                  </a:lnTo>
                  <a:lnTo>
                    <a:pt x="244" y="96"/>
                  </a:lnTo>
                  <a:lnTo>
                    <a:pt x="244" y="96"/>
                  </a:lnTo>
                  <a:lnTo>
                    <a:pt x="242" y="96"/>
                  </a:lnTo>
                  <a:lnTo>
                    <a:pt x="242" y="96"/>
                  </a:lnTo>
                  <a:lnTo>
                    <a:pt x="240" y="96"/>
                  </a:lnTo>
                  <a:lnTo>
                    <a:pt x="236" y="96"/>
                  </a:lnTo>
                  <a:lnTo>
                    <a:pt x="236" y="96"/>
                  </a:lnTo>
                  <a:lnTo>
                    <a:pt x="234" y="96"/>
                  </a:lnTo>
                  <a:lnTo>
                    <a:pt x="234" y="98"/>
                  </a:lnTo>
                  <a:lnTo>
                    <a:pt x="232" y="98"/>
                  </a:lnTo>
                  <a:lnTo>
                    <a:pt x="232" y="100"/>
                  </a:lnTo>
                  <a:lnTo>
                    <a:pt x="232" y="100"/>
                  </a:lnTo>
                  <a:lnTo>
                    <a:pt x="230" y="102"/>
                  </a:lnTo>
                  <a:lnTo>
                    <a:pt x="228" y="106"/>
                  </a:lnTo>
                  <a:lnTo>
                    <a:pt x="228" y="106"/>
                  </a:lnTo>
                  <a:lnTo>
                    <a:pt x="226" y="108"/>
                  </a:lnTo>
                  <a:lnTo>
                    <a:pt x="226" y="108"/>
                  </a:lnTo>
                  <a:lnTo>
                    <a:pt x="224" y="108"/>
                  </a:lnTo>
                  <a:lnTo>
                    <a:pt x="222" y="108"/>
                  </a:lnTo>
                  <a:lnTo>
                    <a:pt x="222" y="110"/>
                  </a:lnTo>
                  <a:lnTo>
                    <a:pt x="220" y="110"/>
                  </a:lnTo>
                  <a:lnTo>
                    <a:pt x="220" y="110"/>
                  </a:lnTo>
                  <a:lnTo>
                    <a:pt x="218" y="112"/>
                  </a:lnTo>
                  <a:lnTo>
                    <a:pt x="218" y="112"/>
                  </a:lnTo>
                  <a:lnTo>
                    <a:pt x="216" y="116"/>
                  </a:lnTo>
                  <a:lnTo>
                    <a:pt x="214" y="118"/>
                  </a:lnTo>
                  <a:lnTo>
                    <a:pt x="212" y="122"/>
                  </a:lnTo>
                  <a:lnTo>
                    <a:pt x="210" y="124"/>
                  </a:lnTo>
                  <a:lnTo>
                    <a:pt x="208" y="126"/>
                  </a:lnTo>
                  <a:lnTo>
                    <a:pt x="206" y="128"/>
                  </a:lnTo>
                  <a:lnTo>
                    <a:pt x="204" y="130"/>
                  </a:lnTo>
                  <a:lnTo>
                    <a:pt x="202" y="132"/>
                  </a:lnTo>
                  <a:lnTo>
                    <a:pt x="200" y="136"/>
                  </a:lnTo>
                  <a:lnTo>
                    <a:pt x="198" y="140"/>
                  </a:lnTo>
                  <a:lnTo>
                    <a:pt x="194" y="144"/>
                  </a:lnTo>
                  <a:lnTo>
                    <a:pt x="190" y="152"/>
                  </a:lnTo>
                  <a:lnTo>
                    <a:pt x="186" y="158"/>
                  </a:lnTo>
                  <a:lnTo>
                    <a:pt x="184" y="162"/>
                  </a:lnTo>
                  <a:lnTo>
                    <a:pt x="182" y="164"/>
                  </a:lnTo>
                  <a:lnTo>
                    <a:pt x="182" y="166"/>
                  </a:lnTo>
                  <a:lnTo>
                    <a:pt x="182" y="166"/>
                  </a:lnTo>
                  <a:lnTo>
                    <a:pt x="180" y="168"/>
                  </a:lnTo>
                  <a:lnTo>
                    <a:pt x="180" y="172"/>
                  </a:lnTo>
                  <a:lnTo>
                    <a:pt x="180" y="178"/>
                  </a:lnTo>
                  <a:lnTo>
                    <a:pt x="180" y="180"/>
                  </a:lnTo>
                  <a:lnTo>
                    <a:pt x="180" y="184"/>
                  </a:lnTo>
                  <a:lnTo>
                    <a:pt x="180" y="186"/>
                  </a:lnTo>
                  <a:lnTo>
                    <a:pt x="180" y="192"/>
                  </a:lnTo>
                  <a:lnTo>
                    <a:pt x="180" y="198"/>
                  </a:lnTo>
                  <a:lnTo>
                    <a:pt x="182" y="204"/>
                  </a:lnTo>
                  <a:lnTo>
                    <a:pt x="182" y="206"/>
                  </a:lnTo>
                  <a:lnTo>
                    <a:pt x="182" y="208"/>
                  </a:lnTo>
                  <a:lnTo>
                    <a:pt x="182" y="210"/>
                  </a:lnTo>
                  <a:lnTo>
                    <a:pt x="182" y="214"/>
                  </a:lnTo>
                  <a:lnTo>
                    <a:pt x="182" y="216"/>
                  </a:lnTo>
                  <a:lnTo>
                    <a:pt x="184" y="218"/>
                  </a:lnTo>
                  <a:lnTo>
                    <a:pt x="184" y="220"/>
                  </a:lnTo>
                  <a:lnTo>
                    <a:pt x="184" y="220"/>
                  </a:lnTo>
                  <a:lnTo>
                    <a:pt x="184" y="220"/>
                  </a:lnTo>
                  <a:lnTo>
                    <a:pt x="186" y="222"/>
                  </a:lnTo>
                  <a:lnTo>
                    <a:pt x="186" y="222"/>
                  </a:lnTo>
                  <a:lnTo>
                    <a:pt x="188" y="222"/>
                  </a:lnTo>
                  <a:lnTo>
                    <a:pt x="188" y="220"/>
                  </a:lnTo>
                  <a:lnTo>
                    <a:pt x="190" y="220"/>
                  </a:lnTo>
                  <a:lnTo>
                    <a:pt x="190" y="220"/>
                  </a:lnTo>
                  <a:lnTo>
                    <a:pt x="192" y="220"/>
                  </a:lnTo>
                  <a:lnTo>
                    <a:pt x="192" y="220"/>
                  </a:lnTo>
                  <a:lnTo>
                    <a:pt x="190" y="222"/>
                  </a:lnTo>
                  <a:lnTo>
                    <a:pt x="190" y="224"/>
                  </a:lnTo>
                  <a:lnTo>
                    <a:pt x="190" y="224"/>
                  </a:lnTo>
                  <a:lnTo>
                    <a:pt x="190" y="226"/>
                  </a:lnTo>
                  <a:lnTo>
                    <a:pt x="190" y="226"/>
                  </a:lnTo>
                  <a:lnTo>
                    <a:pt x="192" y="226"/>
                  </a:lnTo>
                  <a:lnTo>
                    <a:pt x="192" y="228"/>
                  </a:lnTo>
                  <a:lnTo>
                    <a:pt x="192" y="228"/>
                  </a:lnTo>
                  <a:lnTo>
                    <a:pt x="194" y="228"/>
                  </a:lnTo>
                  <a:lnTo>
                    <a:pt x="196" y="228"/>
                  </a:lnTo>
                  <a:lnTo>
                    <a:pt x="198" y="230"/>
                  </a:lnTo>
                  <a:lnTo>
                    <a:pt x="200" y="230"/>
                  </a:lnTo>
                  <a:lnTo>
                    <a:pt x="200" y="230"/>
                  </a:lnTo>
                  <a:lnTo>
                    <a:pt x="202" y="230"/>
                  </a:lnTo>
                  <a:lnTo>
                    <a:pt x="204" y="230"/>
                  </a:lnTo>
                  <a:lnTo>
                    <a:pt x="204" y="230"/>
                  </a:lnTo>
                  <a:lnTo>
                    <a:pt x="206" y="230"/>
                  </a:lnTo>
                  <a:lnTo>
                    <a:pt x="206" y="232"/>
                  </a:lnTo>
                  <a:lnTo>
                    <a:pt x="206" y="232"/>
                  </a:lnTo>
                  <a:lnTo>
                    <a:pt x="208" y="234"/>
                  </a:lnTo>
                  <a:lnTo>
                    <a:pt x="208" y="234"/>
                  </a:lnTo>
                  <a:lnTo>
                    <a:pt x="208" y="236"/>
                  </a:lnTo>
                  <a:lnTo>
                    <a:pt x="208" y="238"/>
                  </a:lnTo>
                  <a:lnTo>
                    <a:pt x="206" y="242"/>
                  </a:lnTo>
                  <a:lnTo>
                    <a:pt x="206" y="244"/>
                  </a:lnTo>
                  <a:lnTo>
                    <a:pt x="206" y="248"/>
                  </a:lnTo>
                  <a:lnTo>
                    <a:pt x="206" y="248"/>
                  </a:lnTo>
                  <a:lnTo>
                    <a:pt x="206" y="250"/>
                  </a:lnTo>
                  <a:lnTo>
                    <a:pt x="206" y="250"/>
                  </a:lnTo>
                  <a:lnTo>
                    <a:pt x="206" y="252"/>
                  </a:lnTo>
                  <a:lnTo>
                    <a:pt x="208" y="252"/>
                  </a:lnTo>
                  <a:lnTo>
                    <a:pt x="208" y="252"/>
                  </a:lnTo>
                  <a:lnTo>
                    <a:pt x="210" y="254"/>
                  </a:lnTo>
                  <a:lnTo>
                    <a:pt x="212" y="254"/>
                  </a:lnTo>
                  <a:lnTo>
                    <a:pt x="212" y="254"/>
                  </a:lnTo>
                  <a:lnTo>
                    <a:pt x="214" y="254"/>
                  </a:lnTo>
                  <a:lnTo>
                    <a:pt x="214" y="254"/>
                  </a:lnTo>
                  <a:lnTo>
                    <a:pt x="214" y="256"/>
                  </a:lnTo>
                  <a:lnTo>
                    <a:pt x="214" y="256"/>
                  </a:lnTo>
                  <a:lnTo>
                    <a:pt x="216" y="256"/>
                  </a:lnTo>
                  <a:lnTo>
                    <a:pt x="216" y="258"/>
                  </a:lnTo>
                  <a:lnTo>
                    <a:pt x="216" y="260"/>
                  </a:lnTo>
                  <a:lnTo>
                    <a:pt x="216" y="262"/>
                  </a:lnTo>
                  <a:lnTo>
                    <a:pt x="216" y="264"/>
                  </a:lnTo>
                  <a:lnTo>
                    <a:pt x="216" y="268"/>
                  </a:lnTo>
                  <a:lnTo>
                    <a:pt x="214" y="270"/>
                  </a:lnTo>
                  <a:lnTo>
                    <a:pt x="214" y="272"/>
                  </a:lnTo>
                  <a:lnTo>
                    <a:pt x="212" y="274"/>
                  </a:lnTo>
                  <a:lnTo>
                    <a:pt x="212" y="276"/>
                  </a:lnTo>
                  <a:lnTo>
                    <a:pt x="212" y="276"/>
                  </a:lnTo>
                  <a:lnTo>
                    <a:pt x="210" y="278"/>
                  </a:lnTo>
                  <a:lnTo>
                    <a:pt x="208" y="278"/>
                  </a:lnTo>
                  <a:lnTo>
                    <a:pt x="206" y="280"/>
                  </a:lnTo>
                  <a:lnTo>
                    <a:pt x="204" y="280"/>
                  </a:lnTo>
                  <a:lnTo>
                    <a:pt x="202" y="280"/>
                  </a:lnTo>
                  <a:lnTo>
                    <a:pt x="202" y="280"/>
                  </a:lnTo>
                  <a:lnTo>
                    <a:pt x="198" y="280"/>
                  </a:lnTo>
                  <a:lnTo>
                    <a:pt x="196" y="280"/>
                  </a:lnTo>
                  <a:lnTo>
                    <a:pt x="194" y="280"/>
                  </a:lnTo>
                  <a:lnTo>
                    <a:pt x="192" y="282"/>
                  </a:lnTo>
                  <a:lnTo>
                    <a:pt x="192" y="282"/>
                  </a:lnTo>
                  <a:lnTo>
                    <a:pt x="192" y="282"/>
                  </a:lnTo>
                  <a:lnTo>
                    <a:pt x="192" y="282"/>
                  </a:lnTo>
                  <a:lnTo>
                    <a:pt x="192" y="282"/>
                  </a:lnTo>
                  <a:lnTo>
                    <a:pt x="190" y="284"/>
                  </a:lnTo>
                  <a:lnTo>
                    <a:pt x="190" y="284"/>
                  </a:lnTo>
                  <a:lnTo>
                    <a:pt x="190" y="286"/>
                  </a:lnTo>
                  <a:lnTo>
                    <a:pt x="190" y="288"/>
                  </a:lnTo>
                  <a:lnTo>
                    <a:pt x="190" y="290"/>
                  </a:lnTo>
                  <a:lnTo>
                    <a:pt x="188" y="290"/>
                  </a:lnTo>
                  <a:lnTo>
                    <a:pt x="188" y="292"/>
                  </a:lnTo>
                  <a:lnTo>
                    <a:pt x="188" y="292"/>
                  </a:lnTo>
                  <a:lnTo>
                    <a:pt x="188" y="292"/>
                  </a:lnTo>
                  <a:lnTo>
                    <a:pt x="186" y="292"/>
                  </a:lnTo>
                  <a:lnTo>
                    <a:pt x="186" y="292"/>
                  </a:lnTo>
                  <a:lnTo>
                    <a:pt x="184" y="292"/>
                  </a:lnTo>
                  <a:lnTo>
                    <a:pt x="182" y="292"/>
                  </a:lnTo>
                  <a:lnTo>
                    <a:pt x="180" y="292"/>
                  </a:lnTo>
                  <a:lnTo>
                    <a:pt x="166" y="296"/>
                  </a:lnTo>
                  <a:lnTo>
                    <a:pt x="158" y="296"/>
                  </a:lnTo>
                  <a:lnTo>
                    <a:pt x="152" y="298"/>
                  </a:lnTo>
                  <a:lnTo>
                    <a:pt x="150" y="298"/>
                  </a:lnTo>
                  <a:lnTo>
                    <a:pt x="148" y="298"/>
                  </a:lnTo>
                  <a:lnTo>
                    <a:pt x="146" y="298"/>
                  </a:lnTo>
                  <a:lnTo>
                    <a:pt x="146" y="298"/>
                  </a:lnTo>
                  <a:lnTo>
                    <a:pt x="144" y="300"/>
                  </a:lnTo>
                  <a:lnTo>
                    <a:pt x="142" y="300"/>
                  </a:lnTo>
                  <a:lnTo>
                    <a:pt x="142" y="302"/>
                  </a:lnTo>
                  <a:lnTo>
                    <a:pt x="140" y="302"/>
                  </a:lnTo>
                  <a:lnTo>
                    <a:pt x="140" y="304"/>
                  </a:lnTo>
                  <a:lnTo>
                    <a:pt x="140" y="304"/>
                  </a:lnTo>
                  <a:lnTo>
                    <a:pt x="140" y="304"/>
                  </a:lnTo>
                  <a:lnTo>
                    <a:pt x="140" y="306"/>
                  </a:lnTo>
                  <a:lnTo>
                    <a:pt x="140" y="308"/>
                  </a:lnTo>
                  <a:lnTo>
                    <a:pt x="140" y="310"/>
                  </a:lnTo>
                  <a:lnTo>
                    <a:pt x="140" y="312"/>
                  </a:lnTo>
                  <a:lnTo>
                    <a:pt x="142" y="316"/>
                  </a:lnTo>
                  <a:lnTo>
                    <a:pt x="142" y="318"/>
                  </a:lnTo>
                  <a:lnTo>
                    <a:pt x="142" y="320"/>
                  </a:lnTo>
                  <a:lnTo>
                    <a:pt x="144" y="324"/>
                  </a:lnTo>
                  <a:lnTo>
                    <a:pt x="144" y="326"/>
                  </a:lnTo>
                  <a:lnTo>
                    <a:pt x="144" y="330"/>
                  </a:lnTo>
                  <a:lnTo>
                    <a:pt x="144" y="332"/>
                  </a:lnTo>
                  <a:lnTo>
                    <a:pt x="144" y="334"/>
                  </a:lnTo>
                  <a:lnTo>
                    <a:pt x="144" y="336"/>
                  </a:lnTo>
                  <a:lnTo>
                    <a:pt x="144" y="338"/>
                  </a:lnTo>
                  <a:lnTo>
                    <a:pt x="144" y="338"/>
                  </a:lnTo>
                  <a:lnTo>
                    <a:pt x="144" y="338"/>
                  </a:lnTo>
                  <a:lnTo>
                    <a:pt x="142" y="340"/>
                  </a:lnTo>
                  <a:lnTo>
                    <a:pt x="142" y="340"/>
                  </a:lnTo>
                  <a:lnTo>
                    <a:pt x="140" y="342"/>
                  </a:lnTo>
                  <a:lnTo>
                    <a:pt x="138" y="342"/>
                  </a:lnTo>
                  <a:lnTo>
                    <a:pt x="136" y="342"/>
                  </a:lnTo>
                  <a:lnTo>
                    <a:pt x="134" y="344"/>
                  </a:lnTo>
                  <a:lnTo>
                    <a:pt x="132" y="344"/>
                  </a:lnTo>
                  <a:lnTo>
                    <a:pt x="130" y="344"/>
                  </a:lnTo>
                  <a:lnTo>
                    <a:pt x="128" y="344"/>
                  </a:lnTo>
                  <a:lnTo>
                    <a:pt x="128" y="344"/>
                  </a:lnTo>
                  <a:lnTo>
                    <a:pt x="126" y="344"/>
                  </a:lnTo>
                  <a:lnTo>
                    <a:pt x="124" y="342"/>
                  </a:lnTo>
                  <a:lnTo>
                    <a:pt x="122" y="342"/>
                  </a:lnTo>
                  <a:lnTo>
                    <a:pt x="120" y="340"/>
                  </a:lnTo>
                  <a:lnTo>
                    <a:pt x="116" y="338"/>
                  </a:lnTo>
                  <a:lnTo>
                    <a:pt x="114" y="334"/>
                  </a:lnTo>
                  <a:lnTo>
                    <a:pt x="112" y="334"/>
                  </a:lnTo>
                  <a:lnTo>
                    <a:pt x="110" y="332"/>
                  </a:lnTo>
                  <a:lnTo>
                    <a:pt x="110" y="332"/>
                  </a:lnTo>
                  <a:lnTo>
                    <a:pt x="108" y="332"/>
                  </a:lnTo>
                  <a:lnTo>
                    <a:pt x="106" y="332"/>
                  </a:lnTo>
                  <a:lnTo>
                    <a:pt x="106" y="332"/>
                  </a:lnTo>
                  <a:lnTo>
                    <a:pt x="106" y="332"/>
                  </a:lnTo>
                  <a:lnTo>
                    <a:pt x="106" y="332"/>
                  </a:lnTo>
                  <a:lnTo>
                    <a:pt x="104" y="332"/>
                  </a:lnTo>
                  <a:lnTo>
                    <a:pt x="104" y="334"/>
                  </a:lnTo>
                  <a:lnTo>
                    <a:pt x="104" y="334"/>
                  </a:lnTo>
                  <a:lnTo>
                    <a:pt x="104" y="336"/>
                  </a:lnTo>
                  <a:lnTo>
                    <a:pt x="102" y="336"/>
                  </a:lnTo>
                  <a:lnTo>
                    <a:pt x="102" y="340"/>
                  </a:lnTo>
                  <a:lnTo>
                    <a:pt x="102" y="342"/>
                  </a:lnTo>
                  <a:lnTo>
                    <a:pt x="102" y="344"/>
                  </a:lnTo>
                  <a:lnTo>
                    <a:pt x="102" y="346"/>
                  </a:lnTo>
                  <a:lnTo>
                    <a:pt x="102" y="348"/>
                  </a:lnTo>
                  <a:lnTo>
                    <a:pt x="102" y="348"/>
                  </a:lnTo>
                  <a:lnTo>
                    <a:pt x="102" y="348"/>
                  </a:lnTo>
                  <a:lnTo>
                    <a:pt x="104" y="350"/>
                  </a:lnTo>
                  <a:lnTo>
                    <a:pt x="104" y="350"/>
                  </a:lnTo>
                  <a:lnTo>
                    <a:pt x="106" y="352"/>
                  </a:lnTo>
                  <a:lnTo>
                    <a:pt x="108" y="352"/>
                  </a:lnTo>
                  <a:lnTo>
                    <a:pt x="112" y="354"/>
                  </a:lnTo>
                  <a:lnTo>
                    <a:pt x="112" y="354"/>
                  </a:lnTo>
                  <a:lnTo>
                    <a:pt x="114" y="356"/>
                  </a:lnTo>
                  <a:lnTo>
                    <a:pt x="114" y="356"/>
                  </a:lnTo>
                  <a:lnTo>
                    <a:pt x="114" y="356"/>
                  </a:lnTo>
                  <a:lnTo>
                    <a:pt x="114" y="358"/>
                  </a:lnTo>
                  <a:lnTo>
                    <a:pt x="116" y="360"/>
                  </a:lnTo>
                  <a:lnTo>
                    <a:pt x="118" y="366"/>
                  </a:lnTo>
                  <a:lnTo>
                    <a:pt x="118" y="368"/>
                  </a:lnTo>
                  <a:lnTo>
                    <a:pt x="120" y="372"/>
                  </a:lnTo>
                  <a:lnTo>
                    <a:pt x="120" y="372"/>
                  </a:lnTo>
                  <a:lnTo>
                    <a:pt x="120" y="374"/>
                  </a:lnTo>
                  <a:lnTo>
                    <a:pt x="120" y="376"/>
                  </a:lnTo>
                  <a:lnTo>
                    <a:pt x="120" y="378"/>
                  </a:lnTo>
                  <a:lnTo>
                    <a:pt x="120" y="378"/>
                  </a:lnTo>
                  <a:lnTo>
                    <a:pt x="120" y="380"/>
                  </a:lnTo>
                  <a:lnTo>
                    <a:pt x="118" y="380"/>
                  </a:lnTo>
                  <a:lnTo>
                    <a:pt x="118" y="382"/>
                  </a:lnTo>
                  <a:lnTo>
                    <a:pt x="116" y="384"/>
                  </a:lnTo>
                  <a:lnTo>
                    <a:pt x="114" y="384"/>
                  </a:lnTo>
                  <a:lnTo>
                    <a:pt x="112" y="388"/>
                  </a:lnTo>
                  <a:lnTo>
                    <a:pt x="110" y="390"/>
                  </a:lnTo>
                  <a:lnTo>
                    <a:pt x="108" y="392"/>
                  </a:lnTo>
                  <a:lnTo>
                    <a:pt x="108" y="394"/>
                  </a:lnTo>
                  <a:lnTo>
                    <a:pt x="108" y="396"/>
                  </a:lnTo>
                  <a:lnTo>
                    <a:pt x="106" y="402"/>
                  </a:lnTo>
                  <a:lnTo>
                    <a:pt x="106" y="404"/>
                  </a:lnTo>
                  <a:lnTo>
                    <a:pt x="106" y="408"/>
                  </a:lnTo>
                  <a:lnTo>
                    <a:pt x="104" y="410"/>
                  </a:lnTo>
                  <a:lnTo>
                    <a:pt x="104" y="410"/>
                  </a:lnTo>
                  <a:lnTo>
                    <a:pt x="104" y="412"/>
                  </a:lnTo>
                  <a:lnTo>
                    <a:pt x="102" y="412"/>
                  </a:lnTo>
                  <a:lnTo>
                    <a:pt x="102" y="412"/>
                  </a:lnTo>
                  <a:lnTo>
                    <a:pt x="98" y="414"/>
                  </a:lnTo>
                  <a:lnTo>
                    <a:pt x="96" y="414"/>
                  </a:lnTo>
                  <a:lnTo>
                    <a:pt x="96" y="414"/>
                  </a:lnTo>
                  <a:lnTo>
                    <a:pt x="94" y="414"/>
                  </a:lnTo>
                  <a:lnTo>
                    <a:pt x="94" y="416"/>
                  </a:lnTo>
                  <a:lnTo>
                    <a:pt x="94" y="416"/>
                  </a:lnTo>
                  <a:lnTo>
                    <a:pt x="94" y="418"/>
                  </a:lnTo>
                  <a:lnTo>
                    <a:pt x="94" y="420"/>
                  </a:lnTo>
                  <a:lnTo>
                    <a:pt x="92" y="422"/>
                  </a:lnTo>
                  <a:lnTo>
                    <a:pt x="92" y="422"/>
                  </a:lnTo>
                  <a:lnTo>
                    <a:pt x="92" y="422"/>
                  </a:lnTo>
                  <a:lnTo>
                    <a:pt x="92" y="424"/>
                  </a:lnTo>
                  <a:lnTo>
                    <a:pt x="90" y="424"/>
                  </a:lnTo>
                  <a:lnTo>
                    <a:pt x="90" y="424"/>
                  </a:lnTo>
                  <a:lnTo>
                    <a:pt x="88" y="424"/>
                  </a:lnTo>
                  <a:lnTo>
                    <a:pt x="86" y="424"/>
                  </a:lnTo>
                  <a:lnTo>
                    <a:pt x="84" y="424"/>
                  </a:lnTo>
                  <a:lnTo>
                    <a:pt x="84" y="426"/>
                  </a:lnTo>
                  <a:lnTo>
                    <a:pt x="84" y="426"/>
                  </a:lnTo>
                  <a:lnTo>
                    <a:pt x="84" y="426"/>
                  </a:lnTo>
                  <a:lnTo>
                    <a:pt x="82" y="426"/>
                  </a:lnTo>
                  <a:lnTo>
                    <a:pt x="82" y="428"/>
                  </a:lnTo>
                  <a:lnTo>
                    <a:pt x="80" y="430"/>
                  </a:lnTo>
                  <a:lnTo>
                    <a:pt x="80" y="432"/>
                  </a:lnTo>
                  <a:lnTo>
                    <a:pt x="80" y="436"/>
                  </a:lnTo>
                  <a:lnTo>
                    <a:pt x="78" y="438"/>
                  </a:lnTo>
                  <a:lnTo>
                    <a:pt x="78" y="442"/>
                  </a:lnTo>
                  <a:lnTo>
                    <a:pt x="78" y="442"/>
                  </a:lnTo>
                  <a:lnTo>
                    <a:pt x="80" y="444"/>
                  </a:lnTo>
                  <a:lnTo>
                    <a:pt x="80" y="444"/>
                  </a:lnTo>
                  <a:lnTo>
                    <a:pt x="80" y="446"/>
                  </a:lnTo>
                  <a:lnTo>
                    <a:pt x="80" y="446"/>
                  </a:lnTo>
                  <a:lnTo>
                    <a:pt x="82" y="448"/>
                  </a:lnTo>
                  <a:lnTo>
                    <a:pt x="82" y="448"/>
                  </a:lnTo>
                  <a:lnTo>
                    <a:pt x="84" y="448"/>
                  </a:lnTo>
                  <a:lnTo>
                    <a:pt x="86" y="450"/>
                  </a:lnTo>
                  <a:lnTo>
                    <a:pt x="88" y="450"/>
                  </a:lnTo>
                  <a:lnTo>
                    <a:pt x="90" y="452"/>
                  </a:lnTo>
                  <a:lnTo>
                    <a:pt x="94" y="452"/>
                  </a:lnTo>
                  <a:lnTo>
                    <a:pt x="98" y="452"/>
                  </a:lnTo>
                  <a:lnTo>
                    <a:pt x="98" y="454"/>
                  </a:lnTo>
                  <a:lnTo>
                    <a:pt x="100" y="454"/>
                  </a:lnTo>
                  <a:lnTo>
                    <a:pt x="102" y="454"/>
                  </a:lnTo>
                  <a:lnTo>
                    <a:pt x="102" y="456"/>
                  </a:lnTo>
                  <a:lnTo>
                    <a:pt x="102" y="456"/>
                  </a:lnTo>
                  <a:lnTo>
                    <a:pt x="102" y="458"/>
                  </a:lnTo>
                  <a:lnTo>
                    <a:pt x="102" y="460"/>
                  </a:lnTo>
                  <a:lnTo>
                    <a:pt x="104" y="460"/>
                  </a:lnTo>
                  <a:lnTo>
                    <a:pt x="104" y="464"/>
                  </a:lnTo>
                  <a:lnTo>
                    <a:pt x="104" y="466"/>
                  </a:lnTo>
                  <a:lnTo>
                    <a:pt x="104" y="468"/>
                  </a:lnTo>
                  <a:lnTo>
                    <a:pt x="104" y="470"/>
                  </a:lnTo>
                  <a:lnTo>
                    <a:pt x="104" y="472"/>
                  </a:lnTo>
                  <a:lnTo>
                    <a:pt x="102" y="474"/>
                  </a:lnTo>
                  <a:lnTo>
                    <a:pt x="102" y="474"/>
                  </a:lnTo>
                  <a:lnTo>
                    <a:pt x="102" y="474"/>
                  </a:lnTo>
                  <a:lnTo>
                    <a:pt x="100" y="476"/>
                  </a:lnTo>
                  <a:lnTo>
                    <a:pt x="98" y="478"/>
                  </a:lnTo>
                  <a:lnTo>
                    <a:pt x="96" y="478"/>
                  </a:lnTo>
                  <a:lnTo>
                    <a:pt x="96" y="480"/>
                  </a:lnTo>
                  <a:lnTo>
                    <a:pt x="94" y="480"/>
                  </a:lnTo>
                  <a:lnTo>
                    <a:pt x="92" y="482"/>
                  </a:lnTo>
                  <a:lnTo>
                    <a:pt x="92" y="484"/>
                  </a:lnTo>
                  <a:lnTo>
                    <a:pt x="90" y="488"/>
                  </a:lnTo>
                  <a:lnTo>
                    <a:pt x="90" y="488"/>
                  </a:lnTo>
                  <a:lnTo>
                    <a:pt x="88" y="490"/>
                  </a:lnTo>
                  <a:lnTo>
                    <a:pt x="88" y="490"/>
                  </a:lnTo>
                  <a:lnTo>
                    <a:pt x="88" y="492"/>
                  </a:lnTo>
                  <a:lnTo>
                    <a:pt x="88" y="494"/>
                  </a:lnTo>
                  <a:lnTo>
                    <a:pt x="88" y="494"/>
                  </a:lnTo>
                  <a:lnTo>
                    <a:pt x="90" y="498"/>
                  </a:lnTo>
                  <a:lnTo>
                    <a:pt x="90" y="502"/>
                  </a:lnTo>
                  <a:lnTo>
                    <a:pt x="90" y="504"/>
                  </a:lnTo>
                  <a:lnTo>
                    <a:pt x="90" y="506"/>
                  </a:lnTo>
                  <a:lnTo>
                    <a:pt x="90" y="508"/>
                  </a:lnTo>
                  <a:lnTo>
                    <a:pt x="90" y="510"/>
                  </a:lnTo>
                  <a:lnTo>
                    <a:pt x="90" y="510"/>
                  </a:lnTo>
                  <a:lnTo>
                    <a:pt x="90" y="512"/>
                  </a:lnTo>
                  <a:lnTo>
                    <a:pt x="90" y="514"/>
                  </a:lnTo>
                  <a:lnTo>
                    <a:pt x="88" y="514"/>
                  </a:lnTo>
                  <a:lnTo>
                    <a:pt x="88" y="514"/>
                  </a:lnTo>
                  <a:lnTo>
                    <a:pt x="88" y="514"/>
                  </a:lnTo>
                  <a:lnTo>
                    <a:pt x="86" y="514"/>
                  </a:lnTo>
                  <a:lnTo>
                    <a:pt x="84" y="514"/>
                  </a:lnTo>
                  <a:lnTo>
                    <a:pt x="82" y="516"/>
                  </a:lnTo>
                  <a:lnTo>
                    <a:pt x="80" y="516"/>
                  </a:lnTo>
                  <a:lnTo>
                    <a:pt x="78" y="516"/>
                  </a:lnTo>
                  <a:lnTo>
                    <a:pt x="76" y="516"/>
                  </a:lnTo>
                  <a:lnTo>
                    <a:pt x="74" y="518"/>
                  </a:lnTo>
                  <a:lnTo>
                    <a:pt x="74" y="518"/>
                  </a:lnTo>
                  <a:lnTo>
                    <a:pt x="72" y="520"/>
                  </a:lnTo>
                  <a:lnTo>
                    <a:pt x="72" y="520"/>
                  </a:lnTo>
                  <a:lnTo>
                    <a:pt x="72" y="522"/>
                  </a:lnTo>
                  <a:lnTo>
                    <a:pt x="70" y="522"/>
                  </a:lnTo>
                  <a:lnTo>
                    <a:pt x="70" y="522"/>
                  </a:lnTo>
                  <a:lnTo>
                    <a:pt x="70" y="524"/>
                  </a:lnTo>
                  <a:lnTo>
                    <a:pt x="70" y="526"/>
                  </a:lnTo>
                  <a:lnTo>
                    <a:pt x="70" y="528"/>
                  </a:lnTo>
                  <a:lnTo>
                    <a:pt x="72" y="532"/>
                  </a:lnTo>
                  <a:lnTo>
                    <a:pt x="72" y="534"/>
                  </a:lnTo>
                  <a:lnTo>
                    <a:pt x="72" y="534"/>
                  </a:lnTo>
                  <a:lnTo>
                    <a:pt x="72" y="540"/>
                  </a:lnTo>
                  <a:lnTo>
                    <a:pt x="72" y="546"/>
                  </a:lnTo>
                  <a:lnTo>
                    <a:pt x="70" y="554"/>
                  </a:lnTo>
                  <a:lnTo>
                    <a:pt x="64" y="554"/>
                  </a:lnTo>
                  <a:lnTo>
                    <a:pt x="58" y="556"/>
                  </a:lnTo>
                  <a:lnTo>
                    <a:pt x="52" y="558"/>
                  </a:lnTo>
                  <a:lnTo>
                    <a:pt x="48" y="558"/>
                  </a:lnTo>
                  <a:lnTo>
                    <a:pt x="44" y="558"/>
                  </a:lnTo>
                  <a:lnTo>
                    <a:pt x="40" y="558"/>
                  </a:lnTo>
                  <a:lnTo>
                    <a:pt x="36" y="558"/>
                  </a:lnTo>
                  <a:lnTo>
                    <a:pt x="34" y="558"/>
                  </a:lnTo>
                  <a:lnTo>
                    <a:pt x="30" y="558"/>
                  </a:lnTo>
                  <a:lnTo>
                    <a:pt x="30" y="556"/>
                  </a:lnTo>
                  <a:lnTo>
                    <a:pt x="28" y="556"/>
                  </a:lnTo>
                  <a:lnTo>
                    <a:pt x="28" y="556"/>
                  </a:lnTo>
                  <a:lnTo>
                    <a:pt x="26" y="556"/>
                  </a:lnTo>
                  <a:lnTo>
                    <a:pt x="26" y="554"/>
                  </a:lnTo>
                  <a:lnTo>
                    <a:pt x="26" y="554"/>
                  </a:lnTo>
                  <a:lnTo>
                    <a:pt x="24" y="552"/>
                  </a:lnTo>
                  <a:lnTo>
                    <a:pt x="24" y="552"/>
                  </a:lnTo>
                  <a:lnTo>
                    <a:pt x="24" y="548"/>
                  </a:lnTo>
                  <a:lnTo>
                    <a:pt x="24" y="546"/>
                  </a:lnTo>
                  <a:lnTo>
                    <a:pt x="24" y="542"/>
                  </a:lnTo>
                  <a:lnTo>
                    <a:pt x="24" y="540"/>
                  </a:lnTo>
                  <a:lnTo>
                    <a:pt x="24" y="538"/>
                  </a:lnTo>
                  <a:lnTo>
                    <a:pt x="24" y="536"/>
                  </a:lnTo>
                  <a:lnTo>
                    <a:pt x="24" y="536"/>
                  </a:lnTo>
                  <a:lnTo>
                    <a:pt x="24" y="534"/>
                  </a:lnTo>
                  <a:lnTo>
                    <a:pt x="22" y="534"/>
                  </a:lnTo>
                  <a:lnTo>
                    <a:pt x="22" y="534"/>
                  </a:lnTo>
                  <a:lnTo>
                    <a:pt x="20" y="532"/>
                  </a:lnTo>
                  <a:lnTo>
                    <a:pt x="18" y="532"/>
                  </a:lnTo>
                  <a:lnTo>
                    <a:pt x="16" y="532"/>
                  </a:lnTo>
                  <a:lnTo>
                    <a:pt x="16" y="530"/>
                  </a:lnTo>
                  <a:lnTo>
                    <a:pt x="14" y="530"/>
                  </a:lnTo>
                  <a:lnTo>
                    <a:pt x="12" y="528"/>
                  </a:lnTo>
                  <a:lnTo>
                    <a:pt x="12" y="528"/>
                  </a:lnTo>
                  <a:lnTo>
                    <a:pt x="10" y="528"/>
                  </a:lnTo>
                  <a:lnTo>
                    <a:pt x="10" y="526"/>
                  </a:lnTo>
                  <a:lnTo>
                    <a:pt x="8" y="524"/>
                  </a:lnTo>
                  <a:lnTo>
                    <a:pt x="8" y="520"/>
                  </a:lnTo>
                  <a:lnTo>
                    <a:pt x="6" y="518"/>
                  </a:lnTo>
                  <a:lnTo>
                    <a:pt x="6" y="514"/>
                  </a:lnTo>
                  <a:lnTo>
                    <a:pt x="6" y="512"/>
                  </a:lnTo>
                  <a:lnTo>
                    <a:pt x="6" y="508"/>
                  </a:lnTo>
                  <a:lnTo>
                    <a:pt x="4" y="506"/>
                  </a:lnTo>
                  <a:lnTo>
                    <a:pt x="4" y="502"/>
                  </a:lnTo>
                  <a:lnTo>
                    <a:pt x="4" y="498"/>
                  </a:lnTo>
                  <a:lnTo>
                    <a:pt x="4" y="496"/>
                  </a:lnTo>
                  <a:lnTo>
                    <a:pt x="6" y="492"/>
                  </a:lnTo>
                  <a:lnTo>
                    <a:pt x="6" y="490"/>
                  </a:lnTo>
                  <a:lnTo>
                    <a:pt x="6" y="488"/>
                  </a:lnTo>
                  <a:lnTo>
                    <a:pt x="8" y="484"/>
                  </a:lnTo>
                  <a:lnTo>
                    <a:pt x="8" y="482"/>
                  </a:lnTo>
                  <a:lnTo>
                    <a:pt x="8" y="482"/>
                  </a:lnTo>
                  <a:lnTo>
                    <a:pt x="8" y="482"/>
                  </a:lnTo>
                  <a:lnTo>
                    <a:pt x="10" y="482"/>
                  </a:lnTo>
                  <a:lnTo>
                    <a:pt x="12" y="482"/>
                  </a:lnTo>
                  <a:lnTo>
                    <a:pt x="12" y="482"/>
                  </a:lnTo>
                  <a:lnTo>
                    <a:pt x="14" y="482"/>
                  </a:lnTo>
                  <a:lnTo>
                    <a:pt x="16" y="480"/>
                  </a:lnTo>
                  <a:lnTo>
                    <a:pt x="16" y="480"/>
                  </a:lnTo>
                  <a:lnTo>
                    <a:pt x="16" y="480"/>
                  </a:lnTo>
                  <a:lnTo>
                    <a:pt x="18" y="480"/>
                  </a:lnTo>
                  <a:lnTo>
                    <a:pt x="18" y="478"/>
                  </a:lnTo>
                  <a:lnTo>
                    <a:pt x="18" y="476"/>
                  </a:lnTo>
                  <a:lnTo>
                    <a:pt x="18" y="474"/>
                  </a:lnTo>
                  <a:lnTo>
                    <a:pt x="18" y="470"/>
                  </a:lnTo>
                  <a:lnTo>
                    <a:pt x="18" y="468"/>
                  </a:lnTo>
                  <a:lnTo>
                    <a:pt x="20" y="462"/>
                  </a:lnTo>
                  <a:lnTo>
                    <a:pt x="20" y="454"/>
                  </a:lnTo>
                  <a:lnTo>
                    <a:pt x="20" y="446"/>
                  </a:lnTo>
                  <a:lnTo>
                    <a:pt x="20" y="438"/>
                  </a:lnTo>
                  <a:lnTo>
                    <a:pt x="20" y="430"/>
                  </a:lnTo>
                  <a:lnTo>
                    <a:pt x="20" y="422"/>
                  </a:lnTo>
                  <a:lnTo>
                    <a:pt x="20" y="418"/>
                  </a:lnTo>
                  <a:lnTo>
                    <a:pt x="20" y="414"/>
                  </a:lnTo>
                  <a:lnTo>
                    <a:pt x="20" y="410"/>
                  </a:lnTo>
                  <a:lnTo>
                    <a:pt x="20" y="408"/>
                  </a:lnTo>
                  <a:lnTo>
                    <a:pt x="20" y="406"/>
                  </a:lnTo>
                  <a:lnTo>
                    <a:pt x="18" y="404"/>
                  </a:lnTo>
                  <a:lnTo>
                    <a:pt x="16" y="398"/>
                  </a:lnTo>
                  <a:lnTo>
                    <a:pt x="14" y="394"/>
                  </a:lnTo>
                  <a:lnTo>
                    <a:pt x="14" y="392"/>
                  </a:lnTo>
                  <a:lnTo>
                    <a:pt x="14" y="390"/>
                  </a:lnTo>
                  <a:lnTo>
                    <a:pt x="12" y="388"/>
                  </a:lnTo>
                  <a:lnTo>
                    <a:pt x="12" y="384"/>
                  </a:lnTo>
                  <a:lnTo>
                    <a:pt x="12" y="378"/>
                  </a:lnTo>
                  <a:lnTo>
                    <a:pt x="12" y="372"/>
                  </a:lnTo>
                  <a:lnTo>
                    <a:pt x="12" y="368"/>
                  </a:lnTo>
                  <a:lnTo>
                    <a:pt x="12" y="366"/>
                  </a:lnTo>
                  <a:lnTo>
                    <a:pt x="12" y="360"/>
                  </a:lnTo>
                  <a:lnTo>
                    <a:pt x="12" y="352"/>
                  </a:lnTo>
                  <a:lnTo>
                    <a:pt x="10" y="346"/>
                  </a:lnTo>
                  <a:lnTo>
                    <a:pt x="10" y="342"/>
                  </a:lnTo>
                  <a:lnTo>
                    <a:pt x="8" y="340"/>
                  </a:lnTo>
                  <a:lnTo>
                    <a:pt x="8" y="338"/>
                  </a:lnTo>
                  <a:lnTo>
                    <a:pt x="8" y="336"/>
                  </a:lnTo>
                  <a:lnTo>
                    <a:pt x="6" y="332"/>
                  </a:lnTo>
                  <a:lnTo>
                    <a:pt x="4" y="328"/>
                  </a:lnTo>
                  <a:lnTo>
                    <a:pt x="2" y="328"/>
                  </a:lnTo>
                  <a:lnTo>
                    <a:pt x="2" y="326"/>
                  </a:lnTo>
                  <a:lnTo>
                    <a:pt x="2" y="324"/>
                  </a:lnTo>
                  <a:lnTo>
                    <a:pt x="2" y="322"/>
                  </a:lnTo>
                  <a:lnTo>
                    <a:pt x="2" y="320"/>
                  </a:lnTo>
                  <a:lnTo>
                    <a:pt x="4" y="316"/>
                  </a:lnTo>
                  <a:lnTo>
                    <a:pt x="4" y="314"/>
                  </a:lnTo>
                  <a:lnTo>
                    <a:pt x="4" y="314"/>
                  </a:lnTo>
                  <a:lnTo>
                    <a:pt x="4" y="312"/>
                  </a:lnTo>
                  <a:lnTo>
                    <a:pt x="4" y="312"/>
                  </a:lnTo>
                  <a:lnTo>
                    <a:pt x="6" y="310"/>
                  </a:lnTo>
                  <a:lnTo>
                    <a:pt x="10" y="306"/>
                  </a:lnTo>
                  <a:lnTo>
                    <a:pt x="12" y="306"/>
                  </a:lnTo>
                  <a:lnTo>
                    <a:pt x="12" y="304"/>
                  </a:lnTo>
                  <a:lnTo>
                    <a:pt x="14" y="302"/>
                  </a:lnTo>
                  <a:lnTo>
                    <a:pt x="14" y="302"/>
                  </a:lnTo>
                  <a:lnTo>
                    <a:pt x="14" y="300"/>
                  </a:lnTo>
                  <a:lnTo>
                    <a:pt x="14" y="300"/>
                  </a:lnTo>
                  <a:lnTo>
                    <a:pt x="14" y="298"/>
                  </a:lnTo>
                  <a:lnTo>
                    <a:pt x="14" y="296"/>
                  </a:lnTo>
                  <a:lnTo>
                    <a:pt x="14" y="294"/>
                  </a:lnTo>
                  <a:lnTo>
                    <a:pt x="12" y="294"/>
                  </a:lnTo>
                  <a:lnTo>
                    <a:pt x="12" y="290"/>
                  </a:lnTo>
                  <a:lnTo>
                    <a:pt x="10" y="288"/>
                  </a:lnTo>
                  <a:lnTo>
                    <a:pt x="8" y="284"/>
                  </a:lnTo>
                  <a:lnTo>
                    <a:pt x="6" y="282"/>
                  </a:lnTo>
                  <a:lnTo>
                    <a:pt x="4" y="280"/>
                  </a:lnTo>
                  <a:lnTo>
                    <a:pt x="2" y="278"/>
                  </a:lnTo>
                  <a:lnTo>
                    <a:pt x="2" y="276"/>
                  </a:lnTo>
                  <a:lnTo>
                    <a:pt x="2" y="274"/>
                  </a:lnTo>
                  <a:lnTo>
                    <a:pt x="0" y="272"/>
                  </a:lnTo>
                  <a:lnTo>
                    <a:pt x="0" y="270"/>
                  </a:lnTo>
                  <a:lnTo>
                    <a:pt x="0" y="270"/>
                  </a:lnTo>
                  <a:lnTo>
                    <a:pt x="2" y="268"/>
                  </a:lnTo>
                  <a:lnTo>
                    <a:pt x="2" y="268"/>
                  </a:lnTo>
                  <a:lnTo>
                    <a:pt x="2" y="266"/>
                  </a:lnTo>
                  <a:lnTo>
                    <a:pt x="4" y="264"/>
                  </a:lnTo>
                  <a:lnTo>
                    <a:pt x="6" y="262"/>
                  </a:lnTo>
                  <a:lnTo>
                    <a:pt x="8" y="258"/>
                  </a:lnTo>
                  <a:lnTo>
                    <a:pt x="10" y="256"/>
                  </a:lnTo>
                  <a:lnTo>
                    <a:pt x="12" y="254"/>
                  </a:lnTo>
                  <a:lnTo>
                    <a:pt x="14" y="252"/>
                  </a:lnTo>
                  <a:lnTo>
                    <a:pt x="16" y="250"/>
                  </a:lnTo>
                  <a:lnTo>
                    <a:pt x="16" y="248"/>
                  </a:lnTo>
                  <a:lnTo>
                    <a:pt x="16" y="246"/>
                  </a:lnTo>
                  <a:lnTo>
                    <a:pt x="18" y="244"/>
                  </a:lnTo>
                  <a:lnTo>
                    <a:pt x="18" y="244"/>
                  </a:lnTo>
                  <a:lnTo>
                    <a:pt x="18" y="244"/>
                  </a:lnTo>
                  <a:lnTo>
                    <a:pt x="18" y="244"/>
                  </a:lnTo>
                  <a:lnTo>
                    <a:pt x="18" y="242"/>
                  </a:lnTo>
                  <a:lnTo>
                    <a:pt x="16" y="242"/>
                  </a:lnTo>
                  <a:lnTo>
                    <a:pt x="16" y="240"/>
                  </a:lnTo>
                  <a:lnTo>
                    <a:pt x="14" y="240"/>
                  </a:lnTo>
                  <a:lnTo>
                    <a:pt x="12" y="238"/>
                  </a:lnTo>
                  <a:lnTo>
                    <a:pt x="12" y="238"/>
                  </a:lnTo>
                  <a:lnTo>
                    <a:pt x="12" y="236"/>
                  </a:lnTo>
                  <a:lnTo>
                    <a:pt x="10" y="234"/>
                  </a:lnTo>
                  <a:lnTo>
                    <a:pt x="10" y="232"/>
                  </a:lnTo>
                  <a:lnTo>
                    <a:pt x="10" y="228"/>
                  </a:lnTo>
                  <a:lnTo>
                    <a:pt x="10" y="224"/>
                  </a:lnTo>
                  <a:lnTo>
                    <a:pt x="10" y="222"/>
                  </a:lnTo>
                  <a:lnTo>
                    <a:pt x="10" y="218"/>
                  </a:lnTo>
                  <a:lnTo>
                    <a:pt x="10" y="218"/>
                  </a:lnTo>
                  <a:lnTo>
                    <a:pt x="10" y="216"/>
                  </a:lnTo>
                  <a:lnTo>
                    <a:pt x="10" y="216"/>
                  </a:lnTo>
                  <a:lnTo>
                    <a:pt x="12" y="214"/>
                  </a:lnTo>
                  <a:lnTo>
                    <a:pt x="12" y="214"/>
                  </a:lnTo>
                  <a:lnTo>
                    <a:pt x="12" y="214"/>
                  </a:lnTo>
                  <a:lnTo>
                    <a:pt x="14" y="214"/>
                  </a:lnTo>
                  <a:lnTo>
                    <a:pt x="14" y="214"/>
                  </a:lnTo>
                  <a:lnTo>
                    <a:pt x="16" y="214"/>
                  </a:lnTo>
                  <a:lnTo>
                    <a:pt x="16" y="214"/>
                  </a:lnTo>
                  <a:lnTo>
                    <a:pt x="18" y="214"/>
                  </a:lnTo>
                  <a:lnTo>
                    <a:pt x="18" y="212"/>
                  </a:lnTo>
                  <a:lnTo>
                    <a:pt x="20" y="212"/>
                  </a:lnTo>
                  <a:lnTo>
                    <a:pt x="20" y="212"/>
                  </a:lnTo>
                  <a:lnTo>
                    <a:pt x="20" y="212"/>
                  </a:lnTo>
                  <a:lnTo>
                    <a:pt x="20" y="210"/>
                  </a:lnTo>
                  <a:lnTo>
                    <a:pt x="20" y="210"/>
                  </a:lnTo>
                  <a:lnTo>
                    <a:pt x="20" y="208"/>
                  </a:lnTo>
                  <a:lnTo>
                    <a:pt x="22" y="206"/>
                  </a:lnTo>
                  <a:lnTo>
                    <a:pt x="20" y="204"/>
                  </a:lnTo>
                  <a:lnTo>
                    <a:pt x="20" y="200"/>
                  </a:lnTo>
                  <a:lnTo>
                    <a:pt x="20" y="198"/>
                  </a:lnTo>
                  <a:lnTo>
                    <a:pt x="20" y="196"/>
                  </a:lnTo>
                  <a:lnTo>
                    <a:pt x="18" y="196"/>
                  </a:lnTo>
                  <a:lnTo>
                    <a:pt x="18" y="194"/>
                  </a:lnTo>
                  <a:lnTo>
                    <a:pt x="18" y="194"/>
                  </a:lnTo>
                  <a:lnTo>
                    <a:pt x="16" y="194"/>
                  </a:lnTo>
                  <a:lnTo>
                    <a:pt x="14" y="194"/>
                  </a:lnTo>
                  <a:lnTo>
                    <a:pt x="12" y="194"/>
                  </a:lnTo>
                  <a:lnTo>
                    <a:pt x="12" y="192"/>
                  </a:lnTo>
                  <a:lnTo>
                    <a:pt x="12" y="192"/>
                  </a:lnTo>
                  <a:lnTo>
                    <a:pt x="10" y="192"/>
                  </a:lnTo>
                  <a:lnTo>
                    <a:pt x="10" y="190"/>
                  </a:lnTo>
                  <a:lnTo>
                    <a:pt x="10" y="188"/>
                  </a:lnTo>
                  <a:lnTo>
                    <a:pt x="10" y="188"/>
                  </a:lnTo>
                  <a:lnTo>
                    <a:pt x="8" y="184"/>
                  </a:lnTo>
                  <a:lnTo>
                    <a:pt x="8" y="180"/>
                  </a:lnTo>
                  <a:lnTo>
                    <a:pt x="8" y="176"/>
                  </a:lnTo>
                  <a:lnTo>
                    <a:pt x="8" y="174"/>
                  </a:lnTo>
                  <a:lnTo>
                    <a:pt x="10" y="170"/>
                  </a:lnTo>
                  <a:lnTo>
                    <a:pt x="10" y="168"/>
                  </a:lnTo>
                  <a:lnTo>
                    <a:pt x="10" y="168"/>
                  </a:lnTo>
                  <a:lnTo>
                    <a:pt x="10" y="166"/>
                  </a:lnTo>
                  <a:lnTo>
                    <a:pt x="12" y="166"/>
                  </a:lnTo>
                  <a:lnTo>
                    <a:pt x="14" y="164"/>
                  </a:lnTo>
                  <a:lnTo>
                    <a:pt x="16" y="164"/>
                  </a:lnTo>
                  <a:lnTo>
                    <a:pt x="16" y="162"/>
                  </a:lnTo>
                  <a:lnTo>
                    <a:pt x="16" y="162"/>
                  </a:lnTo>
                  <a:lnTo>
                    <a:pt x="18" y="160"/>
                  </a:lnTo>
                  <a:lnTo>
                    <a:pt x="18" y="160"/>
                  </a:lnTo>
                  <a:lnTo>
                    <a:pt x="18" y="158"/>
                  </a:lnTo>
                  <a:lnTo>
                    <a:pt x="16" y="156"/>
                  </a:lnTo>
                  <a:lnTo>
                    <a:pt x="16" y="152"/>
                  </a:lnTo>
                  <a:lnTo>
                    <a:pt x="16" y="150"/>
                  </a:lnTo>
                  <a:lnTo>
                    <a:pt x="16" y="148"/>
                  </a:lnTo>
                  <a:lnTo>
                    <a:pt x="14" y="144"/>
                  </a:lnTo>
                  <a:lnTo>
                    <a:pt x="14" y="138"/>
                  </a:lnTo>
                  <a:lnTo>
                    <a:pt x="12" y="134"/>
                  </a:lnTo>
                  <a:lnTo>
                    <a:pt x="12" y="130"/>
                  </a:lnTo>
                  <a:lnTo>
                    <a:pt x="12" y="128"/>
                  </a:lnTo>
                  <a:lnTo>
                    <a:pt x="12" y="126"/>
                  </a:lnTo>
                  <a:lnTo>
                    <a:pt x="12" y="124"/>
                  </a:lnTo>
                  <a:lnTo>
                    <a:pt x="12" y="124"/>
                  </a:lnTo>
                  <a:lnTo>
                    <a:pt x="14" y="122"/>
                  </a:lnTo>
                  <a:lnTo>
                    <a:pt x="14" y="120"/>
                  </a:lnTo>
                  <a:lnTo>
                    <a:pt x="16" y="118"/>
                  </a:lnTo>
                  <a:lnTo>
                    <a:pt x="18" y="116"/>
                  </a:lnTo>
                  <a:lnTo>
                    <a:pt x="18" y="116"/>
                  </a:lnTo>
                  <a:lnTo>
                    <a:pt x="18" y="114"/>
                  </a:lnTo>
                  <a:lnTo>
                    <a:pt x="18" y="112"/>
                  </a:lnTo>
                  <a:lnTo>
                    <a:pt x="18" y="108"/>
                  </a:lnTo>
                  <a:lnTo>
                    <a:pt x="18" y="106"/>
                  </a:lnTo>
                  <a:lnTo>
                    <a:pt x="18" y="104"/>
                  </a:lnTo>
                  <a:lnTo>
                    <a:pt x="18" y="102"/>
                  </a:lnTo>
                  <a:lnTo>
                    <a:pt x="20" y="102"/>
                  </a:lnTo>
                  <a:lnTo>
                    <a:pt x="20" y="100"/>
                  </a:lnTo>
                  <a:lnTo>
                    <a:pt x="22" y="100"/>
                  </a:lnTo>
                  <a:lnTo>
                    <a:pt x="24" y="98"/>
                  </a:lnTo>
                  <a:lnTo>
                    <a:pt x="26" y="96"/>
                  </a:lnTo>
                  <a:lnTo>
                    <a:pt x="28" y="96"/>
                  </a:lnTo>
                  <a:lnTo>
                    <a:pt x="28" y="94"/>
                  </a:lnTo>
                  <a:lnTo>
                    <a:pt x="30" y="94"/>
                  </a:lnTo>
                  <a:lnTo>
                    <a:pt x="30" y="92"/>
                  </a:lnTo>
                  <a:lnTo>
                    <a:pt x="30" y="90"/>
                  </a:lnTo>
                  <a:lnTo>
                    <a:pt x="32" y="88"/>
                  </a:lnTo>
                  <a:lnTo>
                    <a:pt x="32" y="86"/>
                  </a:lnTo>
                  <a:lnTo>
                    <a:pt x="34" y="84"/>
                  </a:lnTo>
                  <a:lnTo>
                    <a:pt x="34" y="82"/>
                  </a:lnTo>
                  <a:lnTo>
                    <a:pt x="34" y="82"/>
                  </a:lnTo>
                  <a:lnTo>
                    <a:pt x="34" y="80"/>
                  </a:lnTo>
                  <a:lnTo>
                    <a:pt x="34" y="80"/>
                  </a:lnTo>
                  <a:lnTo>
                    <a:pt x="32" y="78"/>
                  </a:lnTo>
                  <a:lnTo>
                    <a:pt x="30" y="78"/>
                  </a:lnTo>
                  <a:lnTo>
                    <a:pt x="30" y="76"/>
                  </a:lnTo>
                  <a:lnTo>
                    <a:pt x="28" y="74"/>
                  </a:lnTo>
                  <a:lnTo>
                    <a:pt x="26" y="74"/>
                  </a:lnTo>
                  <a:lnTo>
                    <a:pt x="26" y="72"/>
                  </a:lnTo>
                  <a:lnTo>
                    <a:pt x="26" y="72"/>
                  </a:lnTo>
                  <a:lnTo>
                    <a:pt x="26" y="70"/>
                  </a:lnTo>
                  <a:lnTo>
                    <a:pt x="26" y="70"/>
                  </a:lnTo>
                  <a:lnTo>
                    <a:pt x="26" y="70"/>
                  </a:lnTo>
                  <a:lnTo>
                    <a:pt x="28" y="68"/>
                  </a:lnTo>
                  <a:lnTo>
                    <a:pt x="28" y="66"/>
                  </a:lnTo>
                  <a:lnTo>
                    <a:pt x="30" y="66"/>
                  </a:lnTo>
                  <a:lnTo>
                    <a:pt x="32" y="62"/>
                  </a:lnTo>
                  <a:lnTo>
                    <a:pt x="34" y="62"/>
                  </a:lnTo>
                  <a:lnTo>
                    <a:pt x="34" y="60"/>
                  </a:lnTo>
                  <a:lnTo>
                    <a:pt x="34" y="60"/>
                  </a:lnTo>
                  <a:lnTo>
                    <a:pt x="34" y="60"/>
                  </a:lnTo>
                  <a:lnTo>
                    <a:pt x="34" y="58"/>
                  </a:lnTo>
                  <a:lnTo>
                    <a:pt x="34" y="56"/>
                  </a:lnTo>
                  <a:lnTo>
                    <a:pt x="34" y="54"/>
                  </a:lnTo>
                  <a:lnTo>
                    <a:pt x="34" y="50"/>
                  </a:lnTo>
                  <a:lnTo>
                    <a:pt x="34" y="48"/>
                  </a:lnTo>
                  <a:lnTo>
                    <a:pt x="34" y="46"/>
                  </a:lnTo>
                  <a:lnTo>
                    <a:pt x="34" y="44"/>
                  </a:lnTo>
                  <a:lnTo>
                    <a:pt x="34" y="42"/>
                  </a:lnTo>
                  <a:lnTo>
                    <a:pt x="34" y="42"/>
                  </a:lnTo>
                  <a:lnTo>
                    <a:pt x="34" y="42"/>
                  </a:lnTo>
                  <a:lnTo>
                    <a:pt x="34" y="40"/>
                  </a:lnTo>
                  <a:lnTo>
                    <a:pt x="36" y="40"/>
                  </a:lnTo>
                  <a:lnTo>
                    <a:pt x="36" y="40"/>
                  </a:lnTo>
                  <a:lnTo>
                    <a:pt x="38" y="40"/>
                  </a:lnTo>
                  <a:lnTo>
                    <a:pt x="40" y="40"/>
                  </a:lnTo>
                  <a:lnTo>
                    <a:pt x="40" y="40"/>
                  </a:lnTo>
                  <a:lnTo>
                    <a:pt x="42" y="40"/>
                  </a:lnTo>
                  <a:lnTo>
                    <a:pt x="44" y="38"/>
                  </a:lnTo>
                  <a:lnTo>
                    <a:pt x="44" y="38"/>
                  </a:lnTo>
                  <a:lnTo>
                    <a:pt x="44" y="38"/>
                  </a:lnTo>
                  <a:lnTo>
                    <a:pt x="44" y="38"/>
                  </a:lnTo>
                  <a:lnTo>
                    <a:pt x="44" y="36"/>
                  </a:lnTo>
                  <a:lnTo>
                    <a:pt x="46" y="34"/>
                  </a:lnTo>
                  <a:lnTo>
                    <a:pt x="46" y="34"/>
                  </a:lnTo>
                  <a:lnTo>
                    <a:pt x="46" y="30"/>
                  </a:lnTo>
                  <a:lnTo>
                    <a:pt x="46" y="28"/>
                  </a:lnTo>
                  <a:lnTo>
                    <a:pt x="46" y="24"/>
                  </a:lnTo>
                  <a:lnTo>
                    <a:pt x="46" y="22"/>
                  </a:lnTo>
                  <a:lnTo>
                    <a:pt x="46" y="2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396" name="Gruppieren 1">
              <a:extLst>
                <a:ext uri="{FF2B5EF4-FFF2-40B4-BE49-F238E27FC236}">
                  <a16:creationId xmlns:a16="http://schemas.microsoft.com/office/drawing/2014/main" id="{77B9779B-EEDC-4F2F-B372-6D9969F66F01}"/>
                </a:ext>
              </a:extLst>
            </p:cNvPr>
            <p:cNvGrpSpPr/>
            <p:nvPr/>
          </p:nvGrpSpPr>
          <p:grpSpPr>
            <a:xfrm>
              <a:off x="2492103" y="5172762"/>
              <a:ext cx="284060" cy="1208988"/>
              <a:chOff x="2681578" y="5273842"/>
              <a:chExt cx="260350" cy="1108075"/>
            </a:xfrm>
            <a:grpFill/>
          </p:grpSpPr>
          <p:sp>
            <p:nvSpPr>
              <p:cNvPr id="525" name="Freeform 494">
                <a:extLst>
                  <a:ext uri="{FF2B5EF4-FFF2-40B4-BE49-F238E27FC236}">
                    <a16:creationId xmlns:a16="http://schemas.microsoft.com/office/drawing/2014/main" id="{9D5DA91A-6BDD-4C7A-9BCD-90F2F3B44CBE}"/>
                  </a:ext>
                </a:extLst>
              </p:cNvPr>
              <p:cNvSpPr>
                <a:spLocks/>
              </p:cNvSpPr>
              <p:nvPr/>
            </p:nvSpPr>
            <p:spPr bwMode="auto">
              <a:xfrm>
                <a:off x="2681578" y="5273842"/>
                <a:ext cx="168275" cy="1076325"/>
              </a:xfrm>
              <a:custGeom>
                <a:avLst/>
                <a:gdLst>
                  <a:gd name="T0" fmla="*/ 62 w 106"/>
                  <a:gd name="T1" fmla="*/ 630 h 678"/>
                  <a:gd name="T2" fmla="*/ 56 w 106"/>
                  <a:gd name="T3" fmla="*/ 616 h 678"/>
                  <a:gd name="T4" fmla="*/ 46 w 106"/>
                  <a:gd name="T5" fmla="*/ 604 h 678"/>
                  <a:gd name="T6" fmla="*/ 36 w 106"/>
                  <a:gd name="T7" fmla="*/ 582 h 678"/>
                  <a:gd name="T8" fmla="*/ 40 w 106"/>
                  <a:gd name="T9" fmla="*/ 556 h 678"/>
                  <a:gd name="T10" fmla="*/ 50 w 106"/>
                  <a:gd name="T11" fmla="*/ 548 h 678"/>
                  <a:gd name="T12" fmla="*/ 52 w 106"/>
                  <a:gd name="T13" fmla="*/ 484 h 678"/>
                  <a:gd name="T14" fmla="*/ 44 w 106"/>
                  <a:gd name="T15" fmla="*/ 444 h 678"/>
                  <a:gd name="T16" fmla="*/ 34 w 106"/>
                  <a:gd name="T17" fmla="*/ 402 h 678"/>
                  <a:gd name="T18" fmla="*/ 38 w 106"/>
                  <a:gd name="T19" fmla="*/ 384 h 678"/>
                  <a:gd name="T20" fmla="*/ 44 w 106"/>
                  <a:gd name="T21" fmla="*/ 366 h 678"/>
                  <a:gd name="T22" fmla="*/ 32 w 106"/>
                  <a:gd name="T23" fmla="*/ 342 h 678"/>
                  <a:gd name="T24" fmla="*/ 48 w 106"/>
                  <a:gd name="T25" fmla="*/ 322 h 678"/>
                  <a:gd name="T26" fmla="*/ 44 w 106"/>
                  <a:gd name="T27" fmla="*/ 310 h 678"/>
                  <a:gd name="T28" fmla="*/ 42 w 106"/>
                  <a:gd name="T29" fmla="*/ 288 h 678"/>
                  <a:gd name="T30" fmla="*/ 52 w 106"/>
                  <a:gd name="T31" fmla="*/ 286 h 678"/>
                  <a:gd name="T32" fmla="*/ 50 w 106"/>
                  <a:gd name="T33" fmla="*/ 268 h 678"/>
                  <a:gd name="T34" fmla="*/ 40 w 106"/>
                  <a:gd name="T35" fmla="*/ 254 h 678"/>
                  <a:gd name="T36" fmla="*/ 48 w 106"/>
                  <a:gd name="T37" fmla="*/ 236 h 678"/>
                  <a:gd name="T38" fmla="*/ 44 w 106"/>
                  <a:gd name="T39" fmla="*/ 204 h 678"/>
                  <a:gd name="T40" fmla="*/ 50 w 106"/>
                  <a:gd name="T41" fmla="*/ 186 h 678"/>
                  <a:gd name="T42" fmla="*/ 60 w 106"/>
                  <a:gd name="T43" fmla="*/ 168 h 678"/>
                  <a:gd name="T44" fmla="*/ 64 w 106"/>
                  <a:gd name="T45" fmla="*/ 152 h 678"/>
                  <a:gd name="T46" fmla="*/ 60 w 106"/>
                  <a:gd name="T47" fmla="*/ 140 h 678"/>
                  <a:gd name="T48" fmla="*/ 66 w 106"/>
                  <a:gd name="T49" fmla="*/ 122 h 678"/>
                  <a:gd name="T50" fmla="*/ 72 w 106"/>
                  <a:gd name="T51" fmla="*/ 114 h 678"/>
                  <a:gd name="T52" fmla="*/ 78 w 106"/>
                  <a:gd name="T53" fmla="*/ 98 h 678"/>
                  <a:gd name="T54" fmla="*/ 58 w 106"/>
                  <a:gd name="T55" fmla="*/ 74 h 678"/>
                  <a:gd name="T56" fmla="*/ 56 w 106"/>
                  <a:gd name="T57" fmla="*/ 42 h 678"/>
                  <a:gd name="T58" fmla="*/ 44 w 106"/>
                  <a:gd name="T59" fmla="*/ 26 h 678"/>
                  <a:gd name="T60" fmla="*/ 40 w 106"/>
                  <a:gd name="T61" fmla="*/ 10 h 678"/>
                  <a:gd name="T62" fmla="*/ 24 w 106"/>
                  <a:gd name="T63" fmla="*/ 26 h 678"/>
                  <a:gd name="T64" fmla="*/ 32 w 106"/>
                  <a:gd name="T65" fmla="*/ 52 h 678"/>
                  <a:gd name="T66" fmla="*/ 30 w 106"/>
                  <a:gd name="T67" fmla="*/ 98 h 678"/>
                  <a:gd name="T68" fmla="*/ 24 w 106"/>
                  <a:gd name="T69" fmla="*/ 112 h 678"/>
                  <a:gd name="T70" fmla="*/ 32 w 106"/>
                  <a:gd name="T71" fmla="*/ 122 h 678"/>
                  <a:gd name="T72" fmla="*/ 28 w 106"/>
                  <a:gd name="T73" fmla="*/ 148 h 678"/>
                  <a:gd name="T74" fmla="*/ 22 w 106"/>
                  <a:gd name="T75" fmla="*/ 152 h 678"/>
                  <a:gd name="T76" fmla="*/ 26 w 106"/>
                  <a:gd name="T77" fmla="*/ 184 h 678"/>
                  <a:gd name="T78" fmla="*/ 16 w 106"/>
                  <a:gd name="T79" fmla="*/ 186 h 678"/>
                  <a:gd name="T80" fmla="*/ 18 w 106"/>
                  <a:gd name="T81" fmla="*/ 194 h 678"/>
                  <a:gd name="T82" fmla="*/ 14 w 106"/>
                  <a:gd name="T83" fmla="*/ 216 h 678"/>
                  <a:gd name="T84" fmla="*/ 10 w 106"/>
                  <a:gd name="T85" fmla="*/ 264 h 678"/>
                  <a:gd name="T86" fmla="*/ 18 w 106"/>
                  <a:gd name="T87" fmla="*/ 274 h 678"/>
                  <a:gd name="T88" fmla="*/ 12 w 106"/>
                  <a:gd name="T89" fmla="*/ 326 h 678"/>
                  <a:gd name="T90" fmla="*/ 0 w 106"/>
                  <a:gd name="T91" fmla="*/ 350 h 678"/>
                  <a:gd name="T92" fmla="*/ 10 w 106"/>
                  <a:gd name="T93" fmla="*/ 418 h 678"/>
                  <a:gd name="T94" fmla="*/ 6 w 106"/>
                  <a:gd name="T95" fmla="*/ 450 h 678"/>
                  <a:gd name="T96" fmla="*/ 14 w 106"/>
                  <a:gd name="T97" fmla="*/ 452 h 678"/>
                  <a:gd name="T98" fmla="*/ 22 w 106"/>
                  <a:gd name="T99" fmla="*/ 464 h 678"/>
                  <a:gd name="T100" fmla="*/ 18 w 106"/>
                  <a:gd name="T101" fmla="*/ 508 h 678"/>
                  <a:gd name="T102" fmla="*/ 14 w 106"/>
                  <a:gd name="T103" fmla="*/ 538 h 678"/>
                  <a:gd name="T104" fmla="*/ 24 w 106"/>
                  <a:gd name="T105" fmla="*/ 544 h 678"/>
                  <a:gd name="T106" fmla="*/ 14 w 106"/>
                  <a:gd name="T107" fmla="*/ 566 h 678"/>
                  <a:gd name="T108" fmla="*/ 22 w 106"/>
                  <a:gd name="T109" fmla="*/ 598 h 678"/>
                  <a:gd name="T110" fmla="*/ 38 w 106"/>
                  <a:gd name="T111" fmla="*/ 612 h 678"/>
                  <a:gd name="T112" fmla="*/ 44 w 106"/>
                  <a:gd name="T113" fmla="*/ 632 h 678"/>
                  <a:gd name="T114" fmla="*/ 60 w 106"/>
                  <a:gd name="T115" fmla="*/ 646 h 678"/>
                  <a:gd name="T116" fmla="*/ 82 w 106"/>
                  <a:gd name="T117" fmla="*/ 666 h 678"/>
                  <a:gd name="T118" fmla="*/ 90 w 106"/>
                  <a:gd name="T119" fmla="*/ 678 h 678"/>
                  <a:gd name="T120" fmla="*/ 94 w 106"/>
                  <a:gd name="T121" fmla="*/ 660 h 678"/>
                  <a:gd name="T122" fmla="*/ 106 w 106"/>
                  <a:gd name="T123" fmla="*/ 65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6" h="678">
                    <a:moveTo>
                      <a:pt x="102" y="626"/>
                    </a:moveTo>
                    <a:lnTo>
                      <a:pt x="102" y="626"/>
                    </a:lnTo>
                    <a:lnTo>
                      <a:pt x="96" y="628"/>
                    </a:lnTo>
                    <a:lnTo>
                      <a:pt x="90" y="630"/>
                    </a:lnTo>
                    <a:lnTo>
                      <a:pt x="84" y="630"/>
                    </a:lnTo>
                    <a:lnTo>
                      <a:pt x="80" y="630"/>
                    </a:lnTo>
                    <a:lnTo>
                      <a:pt x="76" y="632"/>
                    </a:lnTo>
                    <a:lnTo>
                      <a:pt x="72" y="632"/>
                    </a:lnTo>
                    <a:lnTo>
                      <a:pt x="68" y="632"/>
                    </a:lnTo>
                    <a:lnTo>
                      <a:pt x="66" y="632"/>
                    </a:lnTo>
                    <a:lnTo>
                      <a:pt x="62" y="630"/>
                    </a:lnTo>
                    <a:lnTo>
                      <a:pt x="60" y="630"/>
                    </a:lnTo>
                    <a:lnTo>
                      <a:pt x="60" y="630"/>
                    </a:lnTo>
                    <a:lnTo>
                      <a:pt x="58" y="630"/>
                    </a:lnTo>
                    <a:lnTo>
                      <a:pt x="58" y="628"/>
                    </a:lnTo>
                    <a:lnTo>
                      <a:pt x="58" y="628"/>
                    </a:lnTo>
                    <a:lnTo>
                      <a:pt x="56" y="626"/>
                    </a:lnTo>
                    <a:lnTo>
                      <a:pt x="56" y="626"/>
                    </a:lnTo>
                    <a:lnTo>
                      <a:pt x="56" y="624"/>
                    </a:lnTo>
                    <a:lnTo>
                      <a:pt x="56" y="622"/>
                    </a:lnTo>
                    <a:lnTo>
                      <a:pt x="56" y="618"/>
                    </a:lnTo>
                    <a:lnTo>
                      <a:pt x="56" y="616"/>
                    </a:lnTo>
                    <a:lnTo>
                      <a:pt x="56" y="612"/>
                    </a:lnTo>
                    <a:lnTo>
                      <a:pt x="56" y="612"/>
                    </a:lnTo>
                    <a:lnTo>
                      <a:pt x="56" y="610"/>
                    </a:lnTo>
                    <a:lnTo>
                      <a:pt x="56" y="608"/>
                    </a:lnTo>
                    <a:lnTo>
                      <a:pt x="54" y="608"/>
                    </a:lnTo>
                    <a:lnTo>
                      <a:pt x="54" y="608"/>
                    </a:lnTo>
                    <a:lnTo>
                      <a:pt x="54" y="606"/>
                    </a:lnTo>
                    <a:lnTo>
                      <a:pt x="52" y="606"/>
                    </a:lnTo>
                    <a:lnTo>
                      <a:pt x="50" y="606"/>
                    </a:lnTo>
                    <a:lnTo>
                      <a:pt x="48" y="604"/>
                    </a:lnTo>
                    <a:lnTo>
                      <a:pt x="46" y="604"/>
                    </a:lnTo>
                    <a:lnTo>
                      <a:pt x="44" y="602"/>
                    </a:lnTo>
                    <a:lnTo>
                      <a:pt x="44" y="602"/>
                    </a:lnTo>
                    <a:lnTo>
                      <a:pt x="42" y="602"/>
                    </a:lnTo>
                    <a:lnTo>
                      <a:pt x="42" y="600"/>
                    </a:lnTo>
                    <a:lnTo>
                      <a:pt x="42" y="600"/>
                    </a:lnTo>
                    <a:lnTo>
                      <a:pt x="40" y="596"/>
                    </a:lnTo>
                    <a:lnTo>
                      <a:pt x="38" y="594"/>
                    </a:lnTo>
                    <a:lnTo>
                      <a:pt x="38" y="592"/>
                    </a:lnTo>
                    <a:lnTo>
                      <a:pt x="38" y="588"/>
                    </a:lnTo>
                    <a:lnTo>
                      <a:pt x="36" y="586"/>
                    </a:lnTo>
                    <a:lnTo>
                      <a:pt x="36" y="582"/>
                    </a:lnTo>
                    <a:lnTo>
                      <a:pt x="36" y="578"/>
                    </a:lnTo>
                    <a:lnTo>
                      <a:pt x="36" y="576"/>
                    </a:lnTo>
                    <a:lnTo>
                      <a:pt x="36" y="572"/>
                    </a:lnTo>
                    <a:lnTo>
                      <a:pt x="36" y="568"/>
                    </a:lnTo>
                    <a:lnTo>
                      <a:pt x="36" y="566"/>
                    </a:lnTo>
                    <a:lnTo>
                      <a:pt x="36" y="564"/>
                    </a:lnTo>
                    <a:lnTo>
                      <a:pt x="38" y="560"/>
                    </a:lnTo>
                    <a:lnTo>
                      <a:pt x="38" y="558"/>
                    </a:lnTo>
                    <a:lnTo>
                      <a:pt x="40" y="556"/>
                    </a:lnTo>
                    <a:lnTo>
                      <a:pt x="40" y="556"/>
                    </a:lnTo>
                    <a:lnTo>
                      <a:pt x="40" y="556"/>
                    </a:lnTo>
                    <a:lnTo>
                      <a:pt x="42" y="556"/>
                    </a:lnTo>
                    <a:lnTo>
                      <a:pt x="42" y="556"/>
                    </a:lnTo>
                    <a:lnTo>
                      <a:pt x="44" y="556"/>
                    </a:lnTo>
                    <a:lnTo>
                      <a:pt x="46" y="554"/>
                    </a:lnTo>
                    <a:lnTo>
                      <a:pt x="48" y="554"/>
                    </a:lnTo>
                    <a:lnTo>
                      <a:pt x="48" y="554"/>
                    </a:lnTo>
                    <a:lnTo>
                      <a:pt x="48" y="554"/>
                    </a:lnTo>
                    <a:lnTo>
                      <a:pt x="48" y="552"/>
                    </a:lnTo>
                    <a:lnTo>
                      <a:pt x="48" y="552"/>
                    </a:lnTo>
                    <a:lnTo>
                      <a:pt x="50" y="550"/>
                    </a:lnTo>
                    <a:lnTo>
                      <a:pt x="50" y="548"/>
                    </a:lnTo>
                    <a:lnTo>
                      <a:pt x="50" y="544"/>
                    </a:lnTo>
                    <a:lnTo>
                      <a:pt x="50" y="542"/>
                    </a:lnTo>
                    <a:lnTo>
                      <a:pt x="50" y="534"/>
                    </a:lnTo>
                    <a:lnTo>
                      <a:pt x="52" y="528"/>
                    </a:lnTo>
                    <a:lnTo>
                      <a:pt x="52" y="520"/>
                    </a:lnTo>
                    <a:lnTo>
                      <a:pt x="52" y="512"/>
                    </a:lnTo>
                    <a:lnTo>
                      <a:pt x="52" y="502"/>
                    </a:lnTo>
                    <a:lnTo>
                      <a:pt x="52" y="494"/>
                    </a:lnTo>
                    <a:lnTo>
                      <a:pt x="52" y="490"/>
                    </a:lnTo>
                    <a:lnTo>
                      <a:pt x="52" y="488"/>
                    </a:lnTo>
                    <a:lnTo>
                      <a:pt x="52" y="484"/>
                    </a:lnTo>
                    <a:lnTo>
                      <a:pt x="50" y="480"/>
                    </a:lnTo>
                    <a:lnTo>
                      <a:pt x="50" y="480"/>
                    </a:lnTo>
                    <a:lnTo>
                      <a:pt x="50" y="476"/>
                    </a:lnTo>
                    <a:lnTo>
                      <a:pt x="48" y="472"/>
                    </a:lnTo>
                    <a:lnTo>
                      <a:pt x="46" y="468"/>
                    </a:lnTo>
                    <a:lnTo>
                      <a:pt x="44" y="466"/>
                    </a:lnTo>
                    <a:lnTo>
                      <a:pt x="44" y="464"/>
                    </a:lnTo>
                    <a:lnTo>
                      <a:pt x="44" y="462"/>
                    </a:lnTo>
                    <a:lnTo>
                      <a:pt x="44" y="458"/>
                    </a:lnTo>
                    <a:lnTo>
                      <a:pt x="44" y="452"/>
                    </a:lnTo>
                    <a:lnTo>
                      <a:pt x="44" y="444"/>
                    </a:lnTo>
                    <a:lnTo>
                      <a:pt x="44" y="442"/>
                    </a:lnTo>
                    <a:lnTo>
                      <a:pt x="44" y="440"/>
                    </a:lnTo>
                    <a:lnTo>
                      <a:pt x="44" y="434"/>
                    </a:lnTo>
                    <a:lnTo>
                      <a:pt x="42" y="426"/>
                    </a:lnTo>
                    <a:lnTo>
                      <a:pt x="42" y="418"/>
                    </a:lnTo>
                    <a:lnTo>
                      <a:pt x="40" y="416"/>
                    </a:lnTo>
                    <a:lnTo>
                      <a:pt x="40" y="412"/>
                    </a:lnTo>
                    <a:lnTo>
                      <a:pt x="40" y="412"/>
                    </a:lnTo>
                    <a:lnTo>
                      <a:pt x="38" y="410"/>
                    </a:lnTo>
                    <a:lnTo>
                      <a:pt x="36" y="406"/>
                    </a:lnTo>
                    <a:lnTo>
                      <a:pt x="34" y="402"/>
                    </a:lnTo>
                    <a:lnTo>
                      <a:pt x="34" y="400"/>
                    </a:lnTo>
                    <a:lnTo>
                      <a:pt x="34" y="400"/>
                    </a:lnTo>
                    <a:lnTo>
                      <a:pt x="34" y="398"/>
                    </a:lnTo>
                    <a:lnTo>
                      <a:pt x="34" y="396"/>
                    </a:lnTo>
                    <a:lnTo>
                      <a:pt x="34" y="394"/>
                    </a:lnTo>
                    <a:lnTo>
                      <a:pt x="34" y="390"/>
                    </a:lnTo>
                    <a:lnTo>
                      <a:pt x="34" y="388"/>
                    </a:lnTo>
                    <a:lnTo>
                      <a:pt x="36" y="388"/>
                    </a:lnTo>
                    <a:lnTo>
                      <a:pt x="36" y="386"/>
                    </a:lnTo>
                    <a:lnTo>
                      <a:pt x="36" y="386"/>
                    </a:lnTo>
                    <a:lnTo>
                      <a:pt x="38" y="384"/>
                    </a:lnTo>
                    <a:lnTo>
                      <a:pt x="40" y="380"/>
                    </a:lnTo>
                    <a:lnTo>
                      <a:pt x="42" y="378"/>
                    </a:lnTo>
                    <a:lnTo>
                      <a:pt x="44" y="376"/>
                    </a:lnTo>
                    <a:lnTo>
                      <a:pt x="44" y="376"/>
                    </a:lnTo>
                    <a:lnTo>
                      <a:pt x="46" y="376"/>
                    </a:lnTo>
                    <a:lnTo>
                      <a:pt x="46" y="374"/>
                    </a:lnTo>
                    <a:lnTo>
                      <a:pt x="46" y="374"/>
                    </a:lnTo>
                    <a:lnTo>
                      <a:pt x="46" y="372"/>
                    </a:lnTo>
                    <a:lnTo>
                      <a:pt x="46" y="370"/>
                    </a:lnTo>
                    <a:lnTo>
                      <a:pt x="44" y="368"/>
                    </a:lnTo>
                    <a:lnTo>
                      <a:pt x="44" y="366"/>
                    </a:lnTo>
                    <a:lnTo>
                      <a:pt x="42" y="364"/>
                    </a:lnTo>
                    <a:lnTo>
                      <a:pt x="42" y="362"/>
                    </a:lnTo>
                    <a:lnTo>
                      <a:pt x="38" y="358"/>
                    </a:lnTo>
                    <a:lnTo>
                      <a:pt x="36" y="354"/>
                    </a:lnTo>
                    <a:lnTo>
                      <a:pt x="36" y="352"/>
                    </a:lnTo>
                    <a:lnTo>
                      <a:pt x="34" y="350"/>
                    </a:lnTo>
                    <a:lnTo>
                      <a:pt x="34" y="348"/>
                    </a:lnTo>
                    <a:lnTo>
                      <a:pt x="32" y="348"/>
                    </a:lnTo>
                    <a:lnTo>
                      <a:pt x="32" y="346"/>
                    </a:lnTo>
                    <a:lnTo>
                      <a:pt x="32" y="344"/>
                    </a:lnTo>
                    <a:lnTo>
                      <a:pt x="32" y="342"/>
                    </a:lnTo>
                    <a:lnTo>
                      <a:pt x="32" y="342"/>
                    </a:lnTo>
                    <a:lnTo>
                      <a:pt x="32" y="340"/>
                    </a:lnTo>
                    <a:lnTo>
                      <a:pt x="34" y="340"/>
                    </a:lnTo>
                    <a:lnTo>
                      <a:pt x="34" y="338"/>
                    </a:lnTo>
                    <a:lnTo>
                      <a:pt x="36" y="336"/>
                    </a:lnTo>
                    <a:lnTo>
                      <a:pt x="40" y="332"/>
                    </a:lnTo>
                    <a:lnTo>
                      <a:pt x="42" y="330"/>
                    </a:lnTo>
                    <a:lnTo>
                      <a:pt x="42" y="328"/>
                    </a:lnTo>
                    <a:lnTo>
                      <a:pt x="44" y="326"/>
                    </a:lnTo>
                    <a:lnTo>
                      <a:pt x="46" y="322"/>
                    </a:lnTo>
                    <a:lnTo>
                      <a:pt x="48" y="322"/>
                    </a:lnTo>
                    <a:lnTo>
                      <a:pt x="48" y="320"/>
                    </a:lnTo>
                    <a:lnTo>
                      <a:pt x="48" y="318"/>
                    </a:lnTo>
                    <a:lnTo>
                      <a:pt x="48" y="318"/>
                    </a:lnTo>
                    <a:lnTo>
                      <a:pt x="48" y="318"/>
                    </a:lnTo>
                    <a:lnTo>
                      <a:pt x="48" y="316"/>
                    </a:lnTo>
                    <a:lnTo>
                      <a:pt x="48" y="316"/>
                    </a:lnTo>
                    <a:lnTo>
                      <a:pt x="48" y="316"/>
                    </a:lnTo>
                    <a:lnTo>
                      <a:pt x="48" y="314"/>
                    </a:lnTo>
                    <a:lnTo>
                      <a:pt x="46" y="314"/>
                    </a:lnTo>
                    <a:lnTo>
                      <a:pt x="44" y="312"/>
                    </a:lnTo>
                    <a:lnTo>
                      <a:pt x="44" y="310"/>
                    </a:lnTo>
                    <a:lnTo>
                      <a:pt x="42" y="310"/>
                    </a:lnTo>
                    <a:lnTo>
                      <a:pt x="42" y="308"/>
                    </a:lnTo>
                    <a:lnTo>
                      <a:pt x="42" y="304"/>
                    </a:lnTo>
                    <a:lnTo>
                      <a:pt x="40" y="302"/>
                    </a:lnTo>
                    <a:lnTo>
                      <a:pt x="40" y="298"/>
                    </a:lnTo>
                    <a:lnTo>
                      <a:pt x="40" y="296"/>
                    </a:lnTo>
                    <a:lnTo>
                      <a:pt x="42" y="292"/>
                    </a:lnTo>
                    <a:lnTo>
                      <a:pt x="42" y="290"/>
                    </a:lnTo>
                    <a:lnTo>
                      <a:pt x="42" y="290"/>
                    </a:lnTo>
                    <a:lnTo>
                      <a:pt x="42" y="288"/>
                    </a:lnTo>
                    <a:lnTo>
                      <a:pt x="42" y="288"/>
                    </a:lnTo>
                    <a:lnTo>
                      <a:pt x="42" y="288"/>
                    </a:lnTo>
                    <a:lnTo>
                      <a:pt x="44" y="288"/>
                    </a:lnTo>
                    <a:lnTo>
                      <a:pt x="44" y="288"/>
                    </a:lnTo>
                    <a:lnTo>
                      <a:pt x="46" y="286"/>
                    </a:lnTo>
                    <a:lnTo>
                      <a:pt x="46" y="286"/>
                    </a:lnTo>
                    <a:lnTo>
                      <a:pt x="48" y="286"/>
                    </a:lnTo>
                    <a:lnTo>
                      <a:pt x="50" y="286"/>
                    </a:lnTo>
                    <a:lnTo>
                      <a:pt x="50" y="286"/>
                    </a:lnTo>
                    <a:lnTo>
                      <a:pt x="50" y="286"/>
                    </a:lnTo>
                    <a:lnTo>
                      <a:pt x="50" y="286"/>
                    </a:lnTo>
                    <a:lnTo>
                      <a:pt x="52" y="286"/>
                    </a:lnTo>
                    <a:lnTo>
                      <a:pt x="52" y="284"/>
                    </a:lnTo>
                    <a:lnTo>
                      <a:pt x="52" y="284"/>
                    </a:lnTo>
                    <a:lnTo>
                      <a:pt x="52" y="282"/>
                    </a:lnTo>
                    <a:lnTo>
                      <a:pt x="52" y="280"/>
                    </a:lnTo>
                    <a:lnTo>
                      <a:pt x="52" y="278"/>
                    </a:lnTo>
                    <a:lnTo>
                      <a:pt x="52" y="274"/>
                    </a:lnTo>
                    <a:lnTo>
                      <a:pt x="52" y="272"/>
                    </a:lnTo>
                    <a:lnTo>
                      <a:pt x="50" y="270"/>
                    </a:lnTo>
                    <a:lnTo>
                      <a:pt x="50" y="270"/>
                    </a:lnTo>
                    <a:lnTo>
                      <a:pt x="50" y="268"/>
                    </a:lnTo>
                    <a:lnTo>
                      <a:pt x="50" y="268"/>
                    </a:lnTo>
                    <a:lnTo>
                      <a:pt x="48" y="268"/>
                    </a:lnTo>
                    <a:lnTo>
                      <a:pt x="46" y="268"/>
                    </a:lnTo>
                    <a:lnTo>
                      <a:pt x="44" y="266"/>
                    </a:lnTo>
                    <a:lnTo>
                      <a:pt x="44" y="266"/>
                    </a:lnTo>
                    <a:lnTo>
                      <a:pt x="42" y="266"/>
                    </a:lnTo>
                    <a:lnTo>
                      <a:pt x="42" y="264"/>
                    </a:lnTo>
                    <a:lnTo>
                      <a:pt x="42" y="264"/>
                    </a:lnTo>
                    <a:lnTo>
                      <a:pt x="42" y="262"/>
                    </a:lnTo>
                    <a:lnTo>
                      <a:pt x="40" y="260"/>
                    </a:lnTo>
                    <a:lnTo>
                      <a:pt x="40" y="258"/>
                    </a:lnTo>
                    <a:lnTo>
                      <a:pt x="40" y="254"/>
                    </a:lnTo>
                    <a:lnTo>
                      <a:pt x="40" y="250"/>
                    </a:lnTo>
                    <a:lnTo>
                      <a:pt x="40" y="246"/>
                    </a:lnTo>
                    <a:lnTo>
                      <a:pt x="40" y="244"/>
                    </a:lnTo>
                    <a:lnTo>
                      <a:pt x="42" y="242"/>
                    </a:lnTo>
                    <a:lnTo>
                      <a:pt x="42" y="242"/>
                    </a:lnTo>
                    <a:lnTo>
                      <a:pt x="42" y="240"/>
                    </a:lnTo>
                    <a:lnTo>
                      <a:pt x="42" y="240"/>
                    </a:lnTo>
                    <a:lnTo>
                      <a:pt x="44" y="238"/>
                    </a:lnTo>
                    <a:lnTo>
                      <a:pt x="48" y="238"/>
                    </a:lnTo>
                    <a:lnTo>
                      <a:pt x="48" y="236"/>
                    </a:lnTo>
                    <a:lnTo>
                      <a:pt x="48" y="236"/>
                    </a:lnTo>
                    <a:lnTo>
                      <a:pt x="48" y="234"/>
                    </a:lnTo>
                    <a:lnTo>
                      <a:pt x="48" y="234"/>
                    </a:lnTo>
                    <a:lnTo>
                      <a:pt x="48" y="232"/>
                    </a:lnTo>
                    <a:lnTo>
                      <a:pt x="48" y="230"/>
                    </a:lnTo>
                    <a:lnTo>
                      <a:pt x="48" y="226"/>
                    </a:lnTo>
                    <a:lnTo>
                      <a:pt x="48" y="224"/>
                    </a:lnTo>
                    <a:lnTo>
                      <a:pt x="46" y="222"/>
                    </a:lnTo>
                    <a:lnTo>
                      <a:pt x="46" y="218"/>
                    </a:lnTo>
                    <a:lnTo>
                      <a:pt x="44" y="212"/>
                    </a:lnTo>
                    <a:lnTo>
                      <a:pt x="44" y="208"/>
                    </a:lnTo>
                    <a:lnTo>
                      <a:pt x="44" y="204"/>
                    </a:lnTo>
                    <a:lnTo>
                      <a:pt x="44" y="202"/>
                    </a:lnTo>
                    <a:lnTo>
                      <a:pt x="44" y="200"/>
                    </a:lnTo>
                    <a:lnTo>
                      <a:pt x="44" y="198"/>
                    </a:lnTo>
                    <a:lnTo>
                      <a:pt x="44" y="198"/>
                    </a:lnTo>
                    <a:lnTo>
                      <a:pt x="44" y="196"/>
                    </a:lnTo>
                    <a:lnTo>
                      <a:pt x="46" y="194"/>
                    </a:lnTo>
                    <a:lnTo>
                      <a:pt x="48" y="192"/>
                    </a:lnTo>
                    <a:lnTo>
                      <a:pt x="48" y="190"/>
                    </a:lnTo>
                    <a:lnTo>
                      <a:pt x="48" y="190"/>
                    </a:lnTo>
                    <a:lnTo>
                      <a:pt x="50" y="188"/>
                    </a:lnTo>
                    <a:lnTo>
                      <a:pt x="50" y="186"/>
                    </a:lnTo>
                    <a:lnTo>
                      <a:pt x="50" y="182"/>
                    </a:lnTo>
                    <a:lnTo>
                      <a:pt x="50" y="180"/>
                    </a:lnTo>
                    <a:lnTo>
                      <a:pt x="50" y="178"/>
                    </a:lnTo>
                    <a:lnTo>
                      <a:pt x="50" y="176"/>
                    </a:lnTo>
                    <a:lnTo>
                      <a:pt x="50" y="176"/>
                    </a:lnTo>
                    <a:lnTo>
                      <a:pt x="52" y="174"/>
                    </a:lnTo>
                    <a:lnTo>
                      <a:pt x="52" y="174"/>
                    </a:lnTo>
                    <a:lnTo>
                      <a:pt x="56" y="172"/>
                    </a:lnTo>
                    <a:lnTo>
                      <a:pt x="58" y="170"/>
                    </a:lnTo>
                    <a:lnTo>
                      <a:pt x="58" y="170"/>
                    </a:lnTo>
                    <a:lnTo>
                      <a:pt x="60" y="168"/>
                    </a:lnTo>
                    <a:lnTo>
                      <a:pt x="60" y="168"/>
                    </a:lnTo>
                    <a:lnTo>
                      <a:pt x="62" y="166"/>
                    </a:lnTo>
                    <a:lnTo>
                      <a:pt x="62" y="164"/>
                    </a:lnTo>
                    <a:lnTo>
                      <a:pt x="64" y="162"/>
                    </a:lnTo>
                    <a:lnTo>
                      <a:pt x="64" y="160"/>
                    </a:lnTo>
                    <a:lnTo>
                      <a:pt x="64" y="158"/>
                    </a:lnTo>
                    <a:lnTo>
                      <a:pt x="64" y="156"/>
                    </a:lnTo>
                    <a:lnTo>
                      <a:pt x="64" y="156"/>
                    </a:lnTo>
                    <a:lnTo>
                      <a:pt x="64" y="154"/>
                    </a:lnTo>
                    <a:lnTo>
                      <a:pt x="64" y="154"/>
                    </a:lnTo>
                    <a:lnTo>
                      <a:pt x="64" y="152"/>
                    </a:lnTo>
                    <a:lnTo>
                      <a:pt x="62" y="152"/>
                    </a:lnTo>
                    <a:lnTo>
                      <a:pt x="60" y="150"/>
                    </a:lnTo>
                    <a:lnTo>
                      <a:pt x="60" y="148"/>
                    </a:lnTo>
                    <a:lnTo>
                      <a:pt x="58" y="148"/>
                    </a:lnTo>
                    <a:lnTo>
                      <a:pt x="58" y="146"/>
                    </a:lnTo>
                    <a:lnTo>
                      <a:pt x="58" y="146"/>
                    </a:lnTo>
                    <a:lnTo>
                      <a:pt x="58" y="144"/>
                    </a:lnTo>
                    <a:lnTo>
                      <a:pt x="58" y="144"/>
                    </a:lnTo>
                    <a:lnTo>
                      <a:pt x="58" y="144"/>
                    </a:lnTo>
                    <a:lnTo>
                      <a:pt x="58" y="142"/>
                    </a:lnTo>
                    <a:lnTo>
                      <a:pt x="60" y="140"/>
                    </a:lnTo>
                    <a:lnTo>
                      <a:pt x="60" y="140"/>
                    </a:lnTo>
                    <a:lnTo>
                      <a:pt x="64" y="136"/>
                    </a:lnTo>
                    <a:lnTo>
                      <a:pt x="64" y="136"/>
                    </a:lnTo>
                    <a:lnTo>
                      <a:pt x="66" y="134"/>
                    </a:lnTo>
                    <a:lnTo>
                      <a:pt x="66" y="134"/>
                    </a:lnTo>
                    <a:lnTo>
                      <a:pt x="66" y="132"/>
                    </a:lnTo>
                    <a:lnTo>
                      <a:pt x="66" y="132"/>
                    </a:lnTo>
                    <a:lnTo>
                      <a:pt x="66" y="130"/>
                    </a:lnTo>
                    <a:lnTo>
                      <a:pt x="66" y="126"/>
                    </a:lnTo>
                    <a:lnTo>
                      <a:pt x="66" y="124"/>
                    </a:lnTo>
                    <a:lnTo>
                      <a:pt x="66" y="122"/>
                    </a:lnTo>
                    <a:lnTo>
                      <a:pt x="66" y="120"/>
                    </a:lnTo>
                    <a:lnTo>
                      <a:pt x="66" y="118"/>
                    </a:lnTo>
                    <a:lnTo>
                      <a:pt x="66" y="116"/>
                    </a:lnTo>
                    <a:lnTo>
                      <a:pt x="66" y="116"/>
                    </a:lnTo>
                    <a:lnTo>
                      <a:pt x="66" y="114"/>
                    </a:lnTo>
                    <a:lnTo>
                      <a:pt x="66" y="114"/>
                    </a:lnTo>
                    <a:lnTo>
                      <a:pt x="66" y="114"/>
                    </a:lnTo>
                    <a:lnTo>
                      <a:pt x="68" y="114"/>
                    </a:lnTo>
                    <a:lnTo>
                      <a:pt x="70" y="114"/>
                    </a:lnTo>
                    <a:lnTo>
                      <a:pt x="70" y="114"/>
                    </a:lnTo>
                    <a:lnTo>
                      <a:pt x="72" y="114"/>
                    </a:lnTo>
                    <a:lnTo>
                      <a:pt x="74" y="112"/>
                    </a:lnTo>
                    <a:lnTo>
                      <a:pt x="74" y="112"/>
                    </a:lnTo>
                    <a:lnTo>
                      <a:pt x="76" y="112"/>
                    </a:lnTo>
                    <a:lnTo>
                      <a:pt x="76" y="112"/>
                    </a:lnTo>
                    <a:lnTo>
                      <a:pt x="76" y="112"/>
                    </a:lnTo>
                    <a:lnTo>
                      <a:pt x="76" y="110"/>
                    </a:lnTo>
                    <a:lnTo>
                      <a:pt x="76" y="108"/>
                    </a:lnTo>
                    <a:lnTo>
                      <a:pt x="78" y="108"/>
                    </a:lnTo>
                    <a:lnTo>
                      <a:pt x="78" y="104"/>
                    </a:lnTo>
                    <a:lnTo>
                      <a:pt x="78" y="102"/>
                    </a:lnTo>
                    <a:lnTo>
                      <a:pt x="78" y="98"/>
                    </a:lnTo>
                    <a:lnTo>
                      <a:pt x="78" y="96"/>
                    </a:lnTo>
                    <a:lnTo>
                      <a:pt x="76" y="94"/>
                    </a:lnTo>
                    <a:lnTo>
                      <a:pt x="72" y="90"/>
                    </a:lnTo>
                    <a:lnTo>
                      <a:pt x="70" y="88"/>
                    </a:lnTo>
                    <a:lnTo>
                      <a:pt x="68" y="88"/>
                    </a:lnTo>
                    <a:lnTo>
                      <a:pt x="66" y="86"/>
                    </a:lnTo>
                    <a:lnTo>
                      <a:pt x="66" y="84"/>
                    </a:lnTo>
                    <a:lnTo>
                      <a:pt x="64" y="82"/>
                    </a:lnTo>
                    <a:lnTo>
                      <a:pt x="62" y="80"/>
                    </a:lnTo>
                    <a:lnTo>
                      <a:pt x="60" y="78"/>
                    </a:lnTo>
                    <a:lnTo>
                      <a:pt x="58" y="74"/>
                    </a:lnTo>
                    <a:lnTo>
                      <a:pt x="58" y="72"/>
                    </a:lnTo>
                    <a:lnTo>
                      <a:pt x="56" y="68"/>
                    </a:lnTo>
                    <a:lnTo>
                      <a:pt x="56" y="66"/>
                    </a:lnTo>
                    <a:lnTo>
                      <a:pt x="56" y="66"/>
                    </a:lnTo>
                    <a:lnTo>
                      <a:pt x="54" y="64"/>
                    </a:lnTo>
                    <a:lnTo>
                      <a:pt x="54" y="62"/>
                    </a:lnTo>
                    <a:lnTo>
                      <a:pt x="54" y="60"/>
                    </a:lnTo>
                    <a:lnTo>
                      <a:pt x="56" y="56"/>
                    </a:lnTo>
                    <a:lnTo>
                      <a:pt x="56" y="50"/>
                    </a:lnTo>
                    <a:lnTo>
                      <a:pt x="56" y="46"/>
                    </a:lnTo>
                    <a:lnTo>
                      <a:pt x="56" y="42"/>
                    </a:lnTo>
                    <a:lnTo>
                      <a:pt x="56" y="40"/>
                    </a:lnTo>
                    <a:lnTo>
                      <a:pt x="56" y="38"/>
                    </a:lnTo>
                    <a:lnTo>
                      <a:pt x="56" y="36"/>
                    </a:lnTo>
                    <a:lnTo>
                      <a:pt x="56" y="36"/>
                    </a:lnTo>
                    <a:lnTo>
                      <a:pt x="54" y="34"/>
                    </a:lnTo>
                    <a:lnTo>
                      <a:pt x="54" y="34"/>
                    </a:lnTo>
                    <a:lnTo>
                      <a:pt x="52" y="32"/>
                    </a:lnTo>
                    <a:lnTo>
                      <a:pt x="50" y="30"/>
                    </a:lnTo>
                    <a:lnTo>
                      <a:pt x="48" y="28"/>
                    </a:lnTo>
                    <a:lnTo>
                      <a:pt x="46" y="28"/>
                    </a:lnTo>
                    <a:lnTo>
                      <a:pt x="44" y="26"/>
                    </a:lnTo>
                    <a:lnTo>
                      <a:pt x="42" y="24"/>
                    </a:lnTo>
                    <a:lnTo>
                      <a:pt x="42" y="24"/>
                    </a:lnTo>
                    <a:lnTo>
                      <a:pt x="42" y="22"/>
                    </a:lnTo>
                    <a:lnTo>
                      <a:pt x="42" y="22"/>
                    </a:lnTo>
                    <a:lnTo>
                      <a:pt x="40" y="22"/>
                    </a:lnTo>
                    <a:lnTo>
                      <a:pt x="40" y="20"/>
                    </a:lnTo>
                    <a:lnTo>
                      <a:pt x="40" y="18"/>
                    </a:lnTo>
                    <a:lnTo>
                      <a:pt x="40" y="16"/>
                    </a:lnTo>
                    <a:lnTo>
                      <a:pt x="40" y="12"/>
                    </a:lnTo>
                    <a:lnTo>
                      <a:pt x="40" y="10"/>
                    </a:lnTo>
                    <a:lnTo>
                      <a:pt x="40" y="10"/>
                    </a:lnTo>
                    <a:lnTo>
                      <a:pt x="40" y="8"/>
                    </a:lnTo>
                    <a:lnTo>
                      <a:pt x="40" y="8"/>
                    </a:lnTo>
                    <a:lnTo>
                      <a:pt x="40" y="6"/>
                    </a:lnTo>
                    <a:lnTo>
                      <a:pt x="38" y="6"/>
                    </a:lnTo>
                    <a:lnTo>
                      <a:pt x="36" y="2"/>
                    </a:lnTo>
                    <a:lnTo>
                      <a:pt x="34" y="0"/>
                    </a:lnTo>
                    <a:lnTo>
                      <a:pt x="32" y="0"/>
                    </a:lnTo>
                    <a:lnTo>
                      <a:pt x="22" y="10"/>
                    </a:lnTo>
                    <a:lnTo>
                      <a:pt x="22" y="12"/>
                    </a:lnTo>
                    <a:lnTo>
                      <a:pt x="22" y="18"/>
                    </a:lnTo>
                    <a:lnTo>
                      <a:pt x="24" y="26"/>
                    </a:lnTo>
                    <a:lnTo>
                      <a:pt x="24" y="28"/>
                    </a:lnTo>
                    <a:lnTo>
                      <a:pt x="26" y="32"/>
                    </a:lnTo>
                    <a:lnTo>
                      <a:pt x="26" y="32"/>
                    </a:lnTo>
                    <a:lnTo>
                      <a:pt x="26" y="34"/>
                    </a:lnTo>
                    <a:lnTo>
                      <a:pt x="28" y="36"/>
                    </a:lnTo>
                    <a:lnTo>
                      <a:pt x="28" y="38"/>
                    </a:lnTo>
                    <a:lnTo>
                      <a:pt x="28" y="38"/>
                    </a:lnTo>
                    <a:lnTo>
                      <a:pt x="28" y="38"/>
                    </a:lnTo>
                    <a:lnTo>
                      <a:pt x="30" y="42"/>
                    </a:lnTo>
                    <a:lnTo>
                      <a:pt x="30" y="44"/>
                    </a:lnTo>
                    <a:lnTo>
                      <a:pt x="32" y="52"/>
                    </a:lnTo>
                    <a:lnTo>
                      <a:pt x="32" y="60"/>
                    </a:lnTo>
                    <a:lnTo>
                      <a:pt x="32" y="68"/>
                    </a:lnTo>
                    <a:lnTo>
                      <a:pt x="32" y="72"/>
                    </a:lnTo>
                    <a:lnTo>
                      <a:pt x="32" y="76"/>
                    </a:lnTo>
                    <a:lnTo>
                      <a:pt x="32" y="80"/>
                    </a:lnTo>
                    <a:lnTo>
                      <a:pt x="32" y="84"/>
                    </a:lnTo>
                    <a:lnTo>
                      <a:pt x="32" y="88"/>
                    </a:lnTo>
                    <a:lnTo>
                      <a:pt x="32" y="92"/>
                    </a:lnTo>
                    <a:lnTo>
                      <a:pt x="30" y="94"/>
                    </a:lnTo>
                    <a:lnTo>
                      <a:pt x="30" y="96"/>
                    </a:lnTo>
                    <a:lnTo>
                      <a:pt x="30" y="98"/>
                    </a:lnTo>
                    <a:lnTo>
                      <a:pt x="28" y="98"/>
                    </a:lnTo>
                    <a:lnTo>
                      <a:pt x="26" y="100"/>
                    </a:lnTo>
                    <a:lnTo>
                      <a:pt x="26" y="102"/>
                    </a:lnTo>
                    <a:lnTo>
                      <a:pt x="24" y="104"/>
                    </a:lnTo>
                    <a:lnTo>
                      <a:pt x="24" y="104"/>
                    </a:lnTo>
                    <a:lnTo>
                      <a:pt x="24" y="106"/>
                    </a:lnTo>
                    <a:lnTo>
                      <a:pt x="24" y="108"/>
                    </a:lnTo>
                    <a:lnTo>
                      <a:pt x="24" y="110"/>
                    </a:lnTo>
                    <a:lnTo>
                      <a:pt x="24" y="110"/>
                    </a:lnTo>
                    <a:lnTo>
                      <a:pt x="24" y="112"/>
                    </a:lnTo>
                    <a:lnTo>
                      <a:pt x="24" y="112"/>
                    </a:lnTo>
                    <a:lnTo>
                      <a:pt x="24" y="112"/>
                    </a:lnTo>
                    <a:lnTo>
                      <a:pt x="24" y="112"/>
                    </a:lnTo>
                    <a:lnTo>
                      <a:pt x="26" y="112"/>
                    </a:lnTo>
                    <a:lnTo>
                      <a:pt x="28" y="112"/>
                    </a:lnTo>
                    <a:lnTo>
                      <a:pt x="28" y="112"/>
                    </a:lnTo>
                    <a:lnTo>
                      <a:pt x="28" y="112"/>
                    </a:lnTo>
                    <a:lnTo>
                      <a:pt x="30" y="114"/>
                    </a:lnTo>
                    <a:lnTo>
                      <a:pt x="30" y="114"/>
                    </a:lnTo>
                    <a:lnTo>
                      <a:pt x="32" y="116"/>
                    </a:lnTo>
                    <a:lnTo>
                      <a:pt x="32" y="120"/>
                    </a:lnTo>
                    <a:lnTo>
                      <a:pt x="32" y="122"/>
                    </a:lnTo>
                    <a:lnTo>
                      <a:pt x="34" y="124"/>
                    </a:lnTo>
                    <a:lnTo>
                      <a:pt x="34" y="126"/>
                    </a:lnTo>
                    <a:lnTo>
                      <a:pt x="34" y="130"/>
                    </a:lnTo>
                    <a:lnTo>
                      <a:pt x="34" y="132"/>
                    </a:lnTo>
                    <a:lnTo>
                      <a:pt x="34" y="134"/>
                    </a:lnTo>
                    <a:lnTo>
                      <a:pt x="32" y="138"/>
                    </a:lnTo>
                    <a:lnTo>
                      <a:pt x="32" y="140"/>
                    </a:lnTo>
                    <a:lnTo>
                      <a:pt x="32" y="142"/>
                    </a:lnTo>
                    <a:lnTo>
                      <a:pt x="30" y="144"/>
                    </a:lnTo>
                    <a:lnTo>
                      <a:pt x="30" y="146"/>
                    </a:lnTo>
                    <a:lnTo>
                      <a:pt x="28" y="148"/>
                    </a:lnTo>
                    <a:lnTo>
                      <a:pt x="28" y="148"/>
                    </a:lnTo>
                    <a:lnTo>
                      <a:pt x="28" y="148"/>
                    </a:lnTo>
                    <a:lnTo>
                      <a:pt x="26" y="148"/>
                    </a:lnTo>
                    <a:lnTo>
                      <a:pt x="26" y="146"/>
                    </a:lnTo>
                    <a:lnTo>
                      <a:pt x="26" y="146"/>
                    </a:lnTo>
                    <a:lnTo>
                      <a:pt x="26" y="148"/>
                    </a:lnTo>
                    <a:lnTo>
                      <a:pt x="24" y="148"/>
                    </a:lnTo>
                    <a:lnTo>
                      <a:pt x="24" y="148"/>
                    </a:lnTo>
                    <a:lnTo>
                      <a:pt x="24" y="150"/>
                    </a:lnTo>
                    <a:lnTo>
                      <a:pt x="24" y="150"/>
                    </a:lnTo>
                    <a:lnTo>
                      <a:pt x="22" y="152"/>
                    </a:lnTo>
                    <a:lnTo>
                      <a:pt x="22" y="152"/>
                    </a:lnTo>
                    <a:lnTo>
                      <a:pt x="22" y="156"/>
                    </a:lnTo>
                    <a:lnTo>
                      <a:pt x="22" y="158"/>
                    </a:lnTo>
                    <a:lnTo>
                      <a:pt x="24" y="162"/>
                    </a:lnTo>
                    <a:lnTo>
                      <a:pt x="24" y="168"/>
                    </a:lnTo>
                    <a:lnTo>
                      <a:pt x="26" y="174"/>
                    </a:lnTo>
                    <a:lnTo>
                      <a:pt x="26" y="176"/>
                    </a:lnTo>
                    <a:lnTo>
                      <a:pt x="26" y="180"/>
                    </a:lnTo>
                    <a:lnTo>
                      <a:pt x="26" y="182"/>
                    </a:lnTo>
                    <a:lnTo>
                      <a:pt x="26" y="182"/>
                    </a:lnTo>
                    <a:lnTo>
                      <a:pt x="26" y="184"/>
                    </a:lnTo>
                    <a:lnTo>
                      <a:pt x="26" y="184"/>
                    </a:lnTo>
                    <a:lnTo>
                      <a:pt x="24" y="186"/>
                    </a:lnTo>
                    <a:lnTo>
                      <a:pt x="24" y="186"/>
                    </a:lnTo>
                    <a:lnTo>
                      <a:pt x="24" y="188"/>
                    </a:lnTo>
                    <a:lnTo>
                      <a:pt x="24" y="188"/>
                    </a:lnTo>
                    <a:lnTo>
                      <a:pt x="22" y="188"/>
                    </a:lnTo>
                    <a:lnTo>
                      <a:pt x="22" y="188"/>
                    </a:lnTo>
                    <a:lnTo>
                      <a:pt x="20" y="188"/>
                    </a:lnTo>
                    <a:lnTo>
                      <a:pt x="18" y="188"/>
                    </a:lnTo>
                    <a:lnTo>
                      <a:pt x="16" y="186"/>
                    </a:lnTo>
                    <a:lnTo>
                      <a:pt x="16" y="186"/>
                    </a:lnTo>
                    <a:lnTo>
                      <a:pt x="14" y="186"/>
                    </a:lnTo>
                    <a:lnTo>
                      <a:pt x="14" y="186"/>
                    </a:lnTo>
                    <a:lnTo>
                      <a:pt x="14" y="186"/>
                    </a:lnTo>
                    <a:lnTo>
                      <a:pt x="14" y="188"/>
                    </a:lnTo>
                    <a:lnTo>
                      <a:pt x="14" y="188"/>
                    </a:lnTo>
                    <a:lnTo>
                      <a:pt x="14" y="188"/>
                    </a:lnTo>
                    <a:lnTo>
                      <a:pt x="14" y="188"/>
                    </a:lnTo>
                    <a:lnTo>
                      <a:pt x="14" y="190"/>
                    </a:lnTo>
                    <a:lnTo>
                      <a:pt x="14" y="190"/>
                    </a:lnTo>
                    <a:lnTo>
                      <a:pt x="16" y="192"/>
                    </a:lnTo>
                    <a:lnTo>
                      <a:pt x="18" y="194"/>
                    </a:lnTo>
                    <a:lnTo>
                      <a:pt x="18" y="196"/>
                    </a:lnTo>
                    <a:lnTo>
                      <a:pt x="18" y="196"/>
                    </a:lnTo>
                    <a:lnTo>
                      <a:pt x="18" y="198"/>
                    </a:lnTo>
                    <a:lnTo>
                      <a:pt x="18" y="198"/>
                    </a:lnTo>
                    <a:lnTo>
                      <a:pt x="18" y="200"/>
                    </a:lnTo>
                    <a:lnTo>
                      <a:pt x="18" y="202"/>
                    </a:lnTo>
                    <a:lnTo>
                      <a:pt x="18" y="204"/>
                    </a:lnTo>
                    <a:lnTo>
                      <a:pt x="18" y="206"/>
                    </a:lnTo>
                    <a:lnTo>
                      <a:pt x="16" y="212"/>
                    </a:lnTo>
                    <a:lnTo>
                      <a:pt x="16" y="214"/>
                    </a:lnTo>
                    <a:lnTo>
                      <a:pt x="14" y="216"/>
                    </a:lnTo>
                    <a:lnTo>
                      <a:pt x="14" y="222"/>
                    </a:lnTo>
                    <a:lnTo>
                      <a:pt x="12" y="228"/>
                    </a:lnTo>
                    <a:lnTo>
                      <a:pt x="12" y="234"/>
                    </a:lnTo>
                    <a:lnTo>
                      <a:pt x="10" y="242"/>
                    </a:lnTo>
                    <a:lnTo>
                      <a:pt x="10" y="246"/>
                    </a:lnTo>
                    <a:lnTo>
                      <a:pt x="10" y="250"/>
                    </a:lnTo>
                    <a:lnTo>
                      <a:pt x="8" y="252"/>
                    </a:lnTo>
                    <a:lnTo>
                      <a:pt x="8" y="256"/>
                    </a:lnTo>
                    <a:lnTo>
                      <a:pt x="10" y="258"/>
                    </a:lnTo>
                    <a:lnTo>
                      <a:pt x="10" y="262"/>
                    </a:lnTo>
                    <a:lnTo>
                      <a:pt x="10" y="264"/>
                    </a:lnTo>
                    <a:lnTo>
                      <a:pt x="10" y="266"/>
                    </a:lnTo>
                    <a:lnTo>
                      <a:pt x="12" y="266"/>
                    </a:lnTo>
                    <a:lnTo>
                      <a:pt x="12" y="266"/>
                    </a:lnTo>
                    <a:lnTo>
                      <a:pt x="12" y="268"/>
                    </a:lnTo>
                    <a:lnTo>
                      <a:pt x="14" y="268"/>
                    </a:lnTo>
                    <a:lnTo>
                      <a:pt x="16" y="268"/>
                    </a:lnTo>
                    <a:lnTo>
                      <a:pt x="16" y="268"/>
                    </a:lnTo>
                    <a:lnTo>
                      <a:pt x="16" y="268"/>
                    </a:lnTo>
                    <a:lnTo>
                      <a:pt x="16" y="270"/>
                    </a:lnTo>
                    <a:lnTo>
                      <a:pt x="18" y="272"/>
                    </a:lnTo>
                    <a:lnTo>
                      <a:pt x="18" y="274"/>
                    </a:lnTo>
                    <a:lnTo>
                      <a:pt x="18" y="274"/>
                    </a:lnTo>
                    <a:lnTo>
                      <a:pt x="18" y="278"/>
                    </a:lnTo>
                    <a:lnTo>
                      <a:pt x="20" y="282"/>
                    </a:lnTo>
                    <a:lnTo>
                      <a:pt x="20" y="286"/>
                    </a:lnTo>
                    <a:lnTo>
                      <a:pt x="18" y="290"/>
                    </a:lnTo>
                    <a:lnTo>
                      <a:pt x="18" y="296"/>
                    </a:lnTo>
                    <a:lnTo>
                      <a:pt x="18" y="300"/>
                    </a:lnTo>
                    <a:lnTo>
                      <a:pt x="16" y="304"/>
                    </a:lnTo>
                    <a:lnTo>
                      <a:pt x="16" y="308"/>
                    </a:lnTo>
                    <a:lnTo>
                      <a:pt x="14" y="318"/>
                    </a:lnTo>
                    <a:lnTo>
                      <a:pt x="12" y="326"/>
                    </a:lnTo>
                    <a:lnTo>
                      <a:pt x="10" y="332"/>
                    </a:lnTo>
                    <a:lnTo>
                      <a:pt x="10" y="332"/>
                    </a:lnTo>
                    <a:lnTo>
                      <a:pt x="8" y="334"/>
                    </a:lnTo>
                    <a:lnTo>
                      <a:pt x="8" y="338"/>
                    </a:lnTo>
                    <a:lnTo>
                      <a:pt x="4" y="342"/>
                    </a:lnTo>
                    <a:lnTo>
                      <a:pt x="4" y="344"/>
                    </a:lnTo>
                    <a:lnTo>
                      <a:pt x="2" y="346"/>
                    </a:lnTo>
                    <a:lnTo>
                      <a:pt x="2" y="346"/>
                    </a:lnTo>
                    <a:lnTo>
                      <a:pt x="2" y="348"/>
                    </a:lnTo>
                    <a:lnTo>
                      <a:pt x="2" y="348"/>
                    </a:lnTo>
                    <a:lnTo>
                      <a:pt x="0" y="350"/>
                    </a:lnTo>
                    <a:lnTo>
                      <a:pt x="0" y="352"/>
                    </a:lnTo>
                    <a:lnTo>
                      <a:pt x="0" y="356"/>
                    </a:lnTo>
                    <a:lnTo>
                      <a:pt x="0" y="358"/>
                    </a:lnTo>
                    <a:lnTo>
                      <a:pt x="0" y="362"/>
                    </a:lnTo>
                    <a:lnTo>
                      <a:pt x="0" y="368"/>
                    </a:lnTo>
                    <a:lnTo>
                      <a:pt x="2" y="374"/>
                    </a:lnTo>
                    <a:lnTo>
                      <a:pt x="2" y="380"/>
                    </a:lnTo>
                    <a:lnTo>
                      <a:pt x="6" y="394"/>
                    </a:lnTo>
                    <a:lnTo>
                      <a:pt x="8" y="406"/>
                    </a:lnTo>
                    <a:lnTo>
                      <a:pt x="8" y="412"/>
                    </a:lnTo>
                    <a:lnTo>
                      <a:pt x="10" y="418"/>
                    </a:lnTo>
                    <a:lnTo>
                      <a:pt x="10" y="424"/>
                    </a:lnTo>
                    <a:lnTo>
                      <a:pt x="12" y="430"/>
                    </a:lnTo>
                    <a:lnTo>
                      <a:pt x="12" y="434"/>
                    </a:lnTo>
                    <a:lnTo>
                      <a:pt x="12" y="436"/>
                    </a:lnTo>
                    <a:lnTo>
                      <a:pt x="12" y="438"/>
                    </a:lnTo>
                    <a:lnTo>
                      <a:pt x="10" y="440"/>
                    </a:lnTo>
                    <a:lnTo>
                      <a:pt x="10" y="440"/>
                    </a:lnTo>
                    <a:lnTo>
                      <a:pt x="10" y="442"/>
                    </a:lnTo>
                    <a:lnTo>
                      <a:pt x="8" y="446"/>
                    </a:lnTo>
                    <a:lnTo>
                      <a:pt x="6" y="448"/>
                    </a:lnTo>
                    <a:lnTo>
                      <a:pt x="6" y="450"/>
                    </a:lnTo>
                    <a:lnTo>
                      <a:pt x="6" y="452"/>
                    </a:lnTo>
                    <a:lnTo>
                      <a:pt x="6" y="452"/>
                    </a:lnTo>
                    <a:lnTo>
                      <a:pt x="6" y="454"/>
                    </a:lnTo>
                    <a:lnTo>
                      <a:pt x="6" y="454"/>
                    </a:lnTo>
                    <a:lnTo>
                      <a:pt x="6" y="454"/>
                    </a:lnTo>
                    <a:lnTo>
                      <a:pt x="6" y="454"/>
                    </a:lnTo>
                    <a:lnTo>
                      <a:pt x="8" y="454"/>
                    </a:lnTo>
                    <a:lnTo>
                      <a:pt x="8" y="454"/>
                    </a:lnTo>
                    <a:lnTo>
                      <a:pt x="10" y="454"/>
                    </a:lnTo>
                    <a:lnTo>
                      <a:pt x="10" y="454"/>
                    </a:lnTo>
                    <a:lnTo>
                      <a:pt x="14" y="452"/>
                    </a:lnTo>
                    <a:lnTo>
                      <a:pt x="16" y="452"/>
                    </a:lnTo>
                    <a:lnTo>
                      <a:pt x="16" y="452"/>
                    </a:lnTo>
                    <a:lnTo>
                      <a:pt x="16" y="452"/>
                    </a:lnTo>
                    <a:lnTo>
                      <a:pt x="16" y="452"/>
                    </a:lnTo>
                    <a:lnTo>
                      <a:pt x="18" y="454"/>
                    </a:lnTo>
                    <a:lnTo>
                      <a:pt x="18" y="454"/>
                    </a:lnTo>
                    <a:lnTo>
                      <a:pt x="20" y="456"/>
                    </a:lnTo>
                    <a:lnTo>
                      <a:pt x="20" y="456"/>
                    </a:lnTo>
                    <a:lnTo>
                      <a:pt x="20" y="458"/>
                    </a:lnTo>
                    <a:lnTo>
                      <a:pt x="22" y="460"/>
                    </a:lnTo>
                    <a:lnTo>
                      <a:pt x="22" y="464"/>
                    </a:lnTo>
                    <a:lnTo>
                      <a:pt x="22" y="466"/>
                    </a:lnTo>
                    <a:lnTo>
                      <a:pt x="22" y="470"/>
                    </a:lnTo>
                    <a:lnTo>
                      <a:pt x="22" y="472"/>
                    </a:lnTo>
                    <a:lnTo>
                      <a:pt x="24" y="478"/>
                    </a:lnTo>
                    <a:lnTo>
                      <a:pt x="24" y="486"/>
                    </a:lnTo>
                    <a:lnTo>
                      <a:pt x="22" y="492"/>
                    </a:lnTo>
                    <a:lnTo>
                      <a:pt x="22" y="496"/>
                    </a:lnTo>
                    <a:lnTo>
                      <a:pt x="22" y="502"/>
                    </a:lnTo>
                    <a:lnTo>
                      <a:pt x="20" y="504"/>
                    </a:lnTo>
                    <a:lnTo>
                      <a:pt x="20" y="504"/>
                    </a:lnTo>
                    <a:lnTo>
                      <a:pt x="18" y="508"/>
                    </a:lnTo>
                    <a:lnTo>
                      <a:pt x="16" y="512"/>
                    </a:lnTo>
                    <a:lnTo>
                      <a:pt x="16" y="514"/>
                    </a:lnTo>
                    <a:lnTo>
                      <a:pt x="14" y="516"/>
                    </a:lnTo>
                    <a:lnTo>
                      <a:pt x="14" y="520"/>
                    </a:lnTo>
                    <a:lnTo>
                      <a:pt x="14" y="524"/>
                    </a:lnTo>
                    <a:lnTo>
                      <a:pt x="12" y="528"/>
                    </a:lnTo>
                    <a:lnTo>
                      <a:pt x="12" y="530"/>
                    </a:lnTo>
                    <a:lnTo>
                      <a:pt x="12" y="534"/>
                    </a:lnTo>
                    <a:lnTo>
                      <a:pt x="12" y="534"/>
                    </a:lnTo>
                    <a:lnTo>
                      <a:pt x="12" y="536"/>
                    </a:lnTo>
                    <a:lnTo>
                      <a:pt x="14" y="538"/>
                    </a:lnTo>
                    <a:lnTo>
                      <a:pt x="14" y="538"/>
                    </a:lnTo>
                    <a:lnTo>
                      <a:pt x="14" y="538"/>
                    </a:lnTo>
                    <a:lnTo>
                      <a:pt x="14" y="538"/>
                    </a:lnTo>
                    <a:lnTo>
                      <a:pt x="16" y="540"/>
                    </a:lnTo>
                    <a:lnTo>
                      <a:pt x="18" y="540"/>
                    </a:lnTo>
                    <a:lnTo>
                      <a:pt x="18" y="540"/>
                    </a:lnTo>
                    <a:lnTo>
                      <a:pt x="20" y="540"/>
                    </a:lnTo>
                    <a:lnTo>
                      <a:pt x="22" y="542"/>
                    </a:lnTo>
                    <a:lnTo>
                      <a:pt x="24" y="542"/>
                    </a:lnTo>
                    <a:lnTo>
                      <a:pt x="24" y="542"/>
                    </a:lnTo>
                    <a:lnTo>
                      <a:pt x="24" y="544"/>
                    </a:lnTo>
                    <a:lnTo>
                      <a:pt x="24" y="544"/>
                    </a:lnTo>
                    <a:lnTo>
                      <a:pt x="24" y="546"/>
                    </a:lnTo>
                    <a:lnTo>
                      <a:pt x="24" y="548"/>
                    </a:lnTo>
                    <a:lnTo>
                      <a:pt x="24" y="550"/>
                    </a:lnTo>
                    <a:lnTo>
                      <a:pt x="22" y="550"/>
                    </a:lnTo>
                    <a:lnTo>
                      <a:pt x="22" y="552"/>
                    </a:lnTo>
                    <a:lnTo>
                      <a:pt x="20" y="556"/>
                    </a:lnTo>
                    <a:lnTo>
                      <a:pt x="18" y="560"/>
                    </a:lnTo>
                    <a:lnTo>
                      <a:pt x="16" y="564"/>
                    </a:lnTo>
                    <a:lnTo>
                      <a:pt x="14" y="566"/>
                    </a:lnTo>
                    <a:lnTo>
                      <a:pt x="14" y="566"/>
                    </a:lnTo>
                    <a:lnTo>
                      <a:pt x="14" y="568"/>
                    </a:lnTo>
                    <a:lnTo>
                      <a:pt x="14" y="570"/>
                    </a:lnTo>
                    <a:lnTo>
                      <a:pt x="14" y="572"/>
                    </a:lnTo>
                    <a:lnTo>
                      <a:pt x="14" y="572"/>
                    </a:lnTo>
                    <a:lnTo>
                      <a:pt x="14" y="576"/>
                    </a:lnTo>
                    <a:lnTo>
                      <a:pt x="16" y="580"/>
                    </a:lnTo>
                    <a:lnTo>
                      <a:pt x="16" y="582"/>
                    </a:lnTo>
                    <a:lnTo>
                      <a:pt x="18" y="586"/>
                    </a:lnTo>
                    <a:lnTo>
                      <a:pt x="18" y="590"/>
                    </a:lnTo>
                    <a:lnTo>
                      <a:pt x="22" y="596"/>
                    </a:lnTo>
                    <a:lnTo>
                      <a:pt x="22" y="598"/>
                    </a:lnTo>
                    <a:lnTo>
                      <a:pt x="24" y="602"/>
                    </a:lnTo>
                    <a:lnTo>
                      <a:pt x="26" y="604"/>
                    </a:lnTo>
                    <a:lnTo>
                      <a:pt x="26" y="606"/>
                    </a:lnTo>
                    <a:lnTo>
                      <a:pt x="28" y="608"/>
                    </a:lnTo>
                    <a:lnTo>
                      <a:pt x="28" y="608"/>
                    </a:lnTo>
                    <a:lnTo>
                      <a:pt x="30" y="610"/>
                    </a:lnTo>
                    <a:lnTo>
                      <a:pt x="32" y="610"/>
                    </a:lnTo>
                    <a:lnTo>
                      <a:pt x="34" y="610"/>
                    </a:lnTo>
                    <a:lnTo>
                      <a:pt x="36" y="612"/>
                    </a:lnTo>
                    <a:lnTo>
                      <a:pt x="36" y="612"/>
                    </a:lnTo>
                    <a:lnTo>
                      <a:pt x="38" y="612"/>
                    </a:lnTo>
                    <a:lnTo>
                      <a:pt x="38" y="614"/>
                    </a:lnTo>
                    <a:lnTo>
                      <a:pt x="40" y="614"/>
                    </a:lnTo>
                    <a:lnTo>
                      <a:pt x="40" y="614"/>
                    </a:lnTo>
                    <a:lnTo>
                      <a:pt x="40" y="616"/>
                    </a:lnTo>
                    <a:lnTo>
                      <a:pt x="40" y="618"/>
                    </a:lnTo>
                    <a:lnTo>
                      <a:pt x="40" y="620"/>
                    </a:lnTo>
                    <a:lnTo>
                      <a:pt x="40" y="626"/>
                    </a:lnTo>
                    <a:lnTo>
                      <a:pt x="42" y="626"/>
                    </a:lnTo>
                    <a:lnTo>
                      <a:pt x="42" y="628"/>
                    </a:lnTo>
                    <a:lnTo>
                      <a:pt x="42" y="630"/>
                    </a:lnTo>
                    <a:lnTo>
                      <a:pt x="44" y="632"/>
                    </a:lnTo>
                    <a:lnTo>
                      <a:pt x="46" y="634"/>
                    </a:lnTo>
                    <a:lnTo>
                      <a:pt x="46" y="636"/>
                    </a:lnTo>
                    <a:lnTo>
                      <a:pt x="48" y="636"/>
                    </a:lnTo>
                    <a:lnTo>
                      <a:pt x="48" y="638"/>
                    </a:lnTo>
                    <a:lnTo>
                      <a:pt x="52" y="638"/>
                    </a:lnTo>
                    <a:lnTo>
                      <a:pt x="54" y="640"/>
                    </a:lnTo>
                    <a:lnTo>
                      <a:pt x="56" y="640"/>
                    </a:lnTo>
                    <a:lnTo>
                      <a:pt x="56" y="642"/>
                    </a:lnTo>
                    <a:lnTo>
                      <a:pt x="58" y="642"/>
                    </a:lnTo>
                    <a:lnTo>
                      <a:pt x="58" y="644"/>
                    </a:lnTo>
                    <a:lnTo>
                      <a:pt x="60" y="646"/>
                    </a:lnTo>
                    <a:lnTo>
                      <a:pt x="60" y="648"/>
                    </a:lnTo>
                    <a:lnTo>
                      <a:pt x="60" y="650"/>
                    </a:lnTo>
                    <a:lnTo>
                      <a:pt x="62" y="650"/>
                    </a:lnTo>
                    <a:lnTo>
                      <a:pt x="62" y="652"/>
                    </a:lnTo>
                    <a:lnTo>
                      <a:pt x="64" y="652"/>
                    </a:lnTo>
                    <a:lnTo>
                      <a:pt x="68" y="654"/>
                    </a:lnTo>
                    <a:lnTo>
                      <a:pt x="72" y="656"/>
                    </a:lnTo>
                    <a:lnTo>
                      <a:pt x="74" y="658"/>
                    </a:lnTo>
                    <a:lnTo>
                      <a:pt x="78" y="662"/>
                    </a:lnTo>
                    <a:lnTo>
                      <a:pt x="82" y="664"/>
                    </a:lnTo>
                    <a:lnTo>
                      <a:pt x="82" y="666"/>
                    </a:lnTo>
                    <a:lnTo>
                      <a:pt x="84" y="666"/>
                    </a:lnTo>
                    <a:lnTo>
                      <a:pt x="84" y="668"/>
                    </a:lnTo>
                    <a:lnTo>
                      <a:pt x="84" y="670"/>
                    </a:lnTo>
                    <a:lnTo>
                      <a:pt x="86" y="672"/>
                    </a:lnTo>
                    <a:lnTo>
                      <a:pt x="86" y="674"/>
                    </a:lnTo>
                    <a:lnTo>
                      <a:pt x="88" y="676"/>
                    </a:lnTo>
                    <a:lnTo>
                      <a:pt x="88" y="676"/>
                    </a:lnTo>
                    <a:lnTo>
                      <a:pt x="88" y="678"/>
                    </a:lnTo>
                    <a:lnTo>
                      <a:pt x="88" y="678"/>
                    </a:lnTo>
                    <a:lnTo>
                      <a:pt x="90" y="678"/>
                    </a:lnTo>
                    <a:lnTo>
                      <a:pt x="90" y="678"/>
                    </a:lnTo>
                    <a:lnTo>
                      <a:pt x="90" y="676"/>
                    </a:lnTo>
                    <a:lnTo>
                      <a:pt x="92" y="676"/>
                    </a:lnTo>
                    <a:lnTo>
                      <a:pt x="92" y="676"/>
                    </a:lnTo>
                    <a:lnTo>
                      <a:pt x="92" y="674"/>
                    </a:lnTo>
                    <a:lnTo>
                      <a:pt x="92" y="672"/>
                    </a:lnTo>
                    <a:lnTo>
                      <a:pt x="92" y="670"/>
                    </a:lnTo>
                    <a:lnTo>
                      <a:pt x="92" y="668"/>
                    </a:lnTo>
                    <a:lnTo>
                      <a:pt x="94" y="664"/>
                    </a:lnTo>
                    <a:lnTo>
                      <a:pt x="94" y="662"/>
                    </a:lnTo>
                    <a:lnTo>
                      <a:pt x="94" y="662"/>
                    </a:lnTo>
                    <a:lnTo>
                      <a:pt x="94" y="660"/>
                    </a:lnTo>
                    <a:lnTo>
                      <a:pt x="94" y="660"/>
                    </a:lnTo>
                    <a:lnTo>
                      <a:pt x="96" y="660"/>
                    </a:lnTo>
                    <a:lnTo>
                      <a:pt x="96" y="658"/>
                    </a:lnTo>
                    <a:lnTo>
                      <a:pt x="100" y="656"/>
                    </a:lnTo>
                    <a:lnTo>
                      <a:pt x="102" y="656"/>
                    </a:lnTo>
                    <a:lnTo>
                      <a:pt x="102" y="656"/>
                    </a:lnTo>
                    <a:lnTo>
                      <a:pt x="104" y="654"/>
                    </a:lnTo>
                    <a:lnTo>
                      <a:pt x="104" y="654"/>
                    </a:lnTo>
                    <a:lnTo>
                      <a:pt x="104" y="654"/>
                    </a:lnTo>
                    <a:lnTo>
                      <a:pt x="106" y="652"/>
                    </a:lnTo>
                    <a:lnTo>
                      <a:pt x="106" y="650"/>
                    </a:lnTo>
                    <a:lnTo>
                      <a:pt x="106" y="648"/>
                    </a:lnTo>
                    <a:lnTo>
                      <a:pt x="106" y="646"/>
                    </a:lnTo>
                    <a:lnTo>
                      <a:pt x="106" y="644"/>
                    </a:lnTo>
                    <a:lnTo>
                      <a:pt x="106" y="642"/>
                    </a:lnTo>
                    <a:lnTo>
                      <a:pt x="104" y="638"/>
                    </a:lnTo>
                    <a:lnTo>
                      <a:pt x="104" y="634"/>
                    </a:lnTo>
                    <a:lnTo>
                      <a:pt x="102" y="630"/>
                    </a:lnTo>
                    <a:lnTo>
                      <a:pt x="102" y="62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26" name="Freeform 496">
                <a:extLst>
                  <a:ext uri="{FF2B5EF4-FFF2-40B4-BE49-F238E27FC236}">
                    <a16:creationId xmlns:a16="http://schemas.microsoft.com/office/drawing/2014/main" id="{1F9A09B8-5E83-4044-A079-FD643C176426}"/>
                  </a:ext>
                </a:extLst>
              </p:cNvPr>
              <p:cNvSpPr>
                <a:spLocks/>
              </p:cNvSpPr>
              <p:nvPr/>
            </p:nvSpPr>
            <p:spPr bwMode="auto">
              <a:xfrm>
                <a:off x="2843503" y="6312067"/>
                <a:ext cx="53975" cy="60325"/>
              </a:xfrm>
              <a:custGeom>
                <a:avLst/>
                <a:gdLst>
                  <a:gd name="T0" fmla="*/ 32 w 34"/>
                  <a:gd name="T1" fmla="*/ 6 h 38"/>
                  <a:gd name="T2" fmla="*/ 32 w 34"/>
                  <a:gd name="T3" fmla="*/ 6 h 38"/>
                  <a:gd name="T4" fmla="*/ 32 w 34"/>
                  <a:gd name="T5" fmla="*/ 8 h 38"/>
                  <a:gd name="T6" fmla="*/ 30 w 34"/>
                  <a:gd name="T7" fmla="*/ 8 h 38"/>
                  <a:gd name="T8" fmla="*/ 30 w 34"/>
                  <a:gd name="T9" fmla="*/ 10 h 38"/>
                  <a:gd name="T10" fmla="*/ 28 w 34"/>
                  <a:gd name="T11" fmla="*/ 10 h 38"/>
                  <a:gd name="T12" fmla="*/ 28 w 34"/>
                  <a:gd name="T13" fmla="*/ 14 h 38"/>
                  <a:gd name="T14" fmla="*/ 26 w 34"/>
                  <a:gd name="T15" fmla="*/ 16 h 38"/>
                  <a:gd name="T16" fmla="*/ 26 w 34"/>
                  <a:gd name="T17" fmla="*/ 18 h 38"/>
                  <a:gd name="T18" fmla="*/ 24 w 34"/>
                  <a:gd name="T19" fmla="*/ 20 h 38"/>
                  <a:gd name="T20" fmla="*/ 24 w 34"/>
                  <a:gd name="T21" fmla="*/ 24 h 38"/>
                  <a:gd name="T22" fmla="*/ 22 w 34"/>
                  <a:gd name="T23" fmla="*/ 28 h 38"/>
                  <a:gd name="T24" fmla="*/ 22 w 34"/>
                  <a:gd name="T25" fmla="*/ 34 h 38"/>
                  <a:gd name="T26" fmla="*/ 22 w 34"/>
                  <a:gd name="T27" fmla="*/ 38 h 38"/>
                  <a:gd name="T28" fmla="*/ 18 w 34"/>
                  <a:gd name="T29" fmla="*/ 36 h 38"/>
                  <a:gd name="T30" fmla="*/ 16 w 34"/>
                  <a:gd name="T31" fmla="*/ 34 h 38"/>
                  <a:gd name="T32" fmla="*/ 12 w 34"/>
                  <a:gd name="T33" fmla="*/ 34 h 38"/>
                  <a:gd name="T34" fmla="*/ 8 w 34"/>
                  <a:gd name="T35" fmla="*/ 32 h 38"/>
                  <a:gd name="T36" fmla="*/ 6 w 34"/>
                  <a:gd name="T37" fmla="*/ 30 h 38"/>
                  <a:gd name="T38" fmla="*/ 4 w 34"/>
                  <a:gd name="T39" fmla="*/ 30 h 38"/>
                  <a:gd name="T40" fmla="*/ 2 w 34"/>
                  <a:gd name="T41" fmla="*/ 28 h 38"/>
                  <a:gd name="T42" fmla="*/ 2 w 34"/>
                  <a:gd name="T43" fmla="*/ 28 h 38"/>
                  <a:gd name="T44" fmla="*/ 0 w 34"/>
                  <a:gd name="T45" fmla="*/ 26 h 38"/>
                  <a:gd name="T46" fmla="*/ 0 w 34"/>
                  <a:gd name="T47" fmla="*/ 24 h 38"/>
                  <a:gd name="T48" fmla="*/ 0 w 34"/>
                  <a:gd name="T49" fmla="*/ 24 h 38"/>
                  <a:gd name="T50" fmla="*/ 0 w 34"/>
                  <a:gd name="T51" fmla="*/ 22 h 38"/>
                  <a:gd name="T52" fmla="*/ 0 w 34"/>
                  <a:gd name="T53" fmla="*/ 22 h 38"/>
                  <a:gd name="T54" fmla="*/ 0 w 34"/>
                  <a:gd name="T55" fmla="*/ 20 h 38"/>
                  <a:gd name="T56" fmla="*/ 0 w 34"/>
                  <a:gd name="T57" fmla="*/ 18 h 38"/>
                  <a:gd name="T58" fmla="*/ 0 w 34"/>
                  <a:gd name="T59" fmla="*/ 16 h 38"/>
                  <a:gd name="T60" fmla="*/ 2 w 34"/>
                  <a:gd name="T61" fmla="*/ 14 h 38"/>
                  <a:gd name="T62" fmla="*/ 2 w 34"/>
                  <a:gd name="T63" fmla="*/ 10 h 38"/>
                  <a:gd name="T64" fmla="*/ 4 w 34"/>
                  <a:gd name="T65" fmla="*/ 8 h 38"/>
                  <a:gd name="T66" fmla="*/ 4 w 34"/>
                  <a:gd name="T67" fmla="*/ 8 h 38"/>
                  <a:gd name="T68" fmla="*/ 6 w 34"/>
                  <a:gd name="T69" fmla="*/ 6 h 38"/>
                  <a:gd name="T70" fmla="*/ 6 w 34"/>
                  <a:gd name="T71" fmla="*/ 6 h 38"/>
                  <a:gd name="T72" fmla="*/ 8 w 34"/>
                  <a:gd name="T73" fmla="*/ 4 h 38"/>
                  <a:gd name="T74" fmla="*/ 10 w 34"/>
                  <a:gd name="T75" fmla="*/ 4 h 38"/>
                  <a:gd name="T76" fmla="*/ 12 w 34"/>
                  <a:gd name="T77" fmla="*/ 2 h 38"/>
                  <a:gd name="T78" fmla="*/ 12 w 34"/>
                  <a:gd name="T79" fmla="*/ 2 h 38"/>
                  <a:gd name="T80" fmla="*/ 14 w 34"/>
                  <a:gd name="T81" fmla="*/ 2 h 38"/>
                  <a:gd name="T82" fmla="*/ 16 w 34"/>
                  <a:gd name="T83" fmla="*/ 0 h 38"/>
                  <a:gd name="T84" fmla="*/ 16 w 34"/>
                  <a:gd name="T85" fmla="*/ 0 h 38"/>
                  <a:gd name="T86" fmla="*/ 18 w 34"/>
                  <a:gd name="T87" fmla="*/ 0 h 38"/>
                  <a:gd name="T88" fmla="*/ 20 w 34"/>
                  <a:gd name="T89" fmla="*/ 2 h 38"/>
                  <a:gd name="T90" fmla="*/ 24 w 34"/>
                  <a:gd name="T91" fmla="*/ 2 h 38"/>
                  <a:gd name="T92" fmla="*/ 26 w 34"/>
                  <a:gd name="T93" fmla="*/ 4 h 38"/>
                  <a:gd name="T94" fmla="*/ 32 w 34"/>
                  <a:gd name="T95" fmla="*/ 6 h 38"/>
                  <a:gd name="T96" fmla="*/ 34 w 34"/>
                  <a:gd name="T97" fmla="*/ 6 h 38"/>
                  <a:gd name="T98" fmla="*/ 34 w 34"/>
                  <a:gd name="T99" fmla="*/ 6 h 38"/>
                  <a:gd name="T100" fmla="*/ 32 w 34"/>
                  <a:gd name="T101" fmla="*/ 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38">
                    <a:moveTo>
                      <a:pt x="32" y="6"/>
                    </a:moveTo>
                    <a:lnTo>
                      <a:pt x="32" y="6"/>
                    </a:lnTo>
                    <a:lnTo>
                      <a:pt x="32" y="8"/>
                    </a:lnTo>
                    <a:lnTo>
                      <a:pt x="30" y="8"/>
                    </a:lnTo>
                    <a:lnTo>
                      <a:pt x="30" y="10"/>
                    </a:lnTo>
                    <a:lnTo>
                      <a:pt x="28" y="10"/>
                    </a:lnTo>
                    <a:lnTo>
                      <a:pt x="28" y="14"/>
                    </a:lnTo>
                    <a:lnTo>
                      <a:pt x="26" y="16"/>
                    </a:lnTo>
                    <a:lnTo>
                      <a:pt x="26" y="18"/>
                    </a:lnTo>
                    <a:lnTo>
                      <a:pt x="24" y="20"/>
                    </a:lnTo>
                    <a:lnTo>
                      <a:pt x="24" y="24"/>
                    </a:lnTo>
                    <a:lnTo>
                      <a:pt x="22" y="28"/>
                    </a:lnTo>
                    <a:lnTo>
                      <a:pt x="22" y="34"/>
                    </a:lnTo>
                    <a:lnTo>
                      <a:pt x="22" y="38"/>
                    </a:lnTo>
                    <a:lnTo>
                      <a:pt x="18" y="36"/>
                    </a:lnTo>
                    <a:lnTo>
                      <a:pt x="16" y="34"/>
                    </a:lnTo>
                    <a:lnTo>
                      <a:pt x="12" y="34"/>
                    </a:lnTo>
                    <a:lnTo>
                      <a:pt x="8" y="32"/>
                    </a:lnTo>
                    <a:lnTo>
                      <a:pt x="6" y="30"/>
                    </a:lnTo>
                    <a:lnTo>
                      <a:pt x="4" y="30"/>
                    </a:lnTo>
                    <a:lnTo>
                      <a:pt x="2" y="28"/>
                    </a:lnTo>
                    <a:lnTo>
                      <a:pt x="2" y="28"/>
                    </a:lnTo>
                    <a:lnTo>
                      <a:pt x="0" y="26"/>
                    </a:lnTo>
                    <a:lnTo>
                      <a:pt x="0" y="24"/>
                    </a:lnTo>
                    <a:lnTo>
                      <a:pt x="0" y="24"/>
                    </a:lnTo>
                    <a:lnTo>
                      <a:pt x="0" y="22"/>
                    </a:lnTo>
                    <a:lnTo>
                      <a:pt x="0" y="22"/>
                    </a:lnTo>
                    <a:lnTo>
                      <a:pt x="0" y="20"/>
                    </a:lnTo>
                    <a:lnTo>
                      <a:pt x="0" y="18"/>
                    </a:lnTo>
                    <a:lnTo>
                      <a:pt x="0" y="16"/>
                    </a:lnTo>
                    <a:lnTo>
                      <a:pt x="2" y="14"/>
                    </a:lnTo>
                    <a:lnTo>
                      <a:pt x="2" y="10"/>
                    </a:lnTo>
                    <a:lnTo>
                      <a:pt x="4" y="8"/>
                    </a:lnTo>
                    <a:lnTo>
                      <a:pt x="4" y="8"/>
                    </a:lnTo>
                    <a:lnTo>
                      <a:pt x="6" y="6"/>
                    </a:lnTo>
                    <a:lnTo>
                      <a:pt x="6" y="6"/>
                    </a:lnTo>
                    <a:lnTo>
                      <a:pt x="8" y="4"/>
                    </a:lnTo>
                    <a:lnTo>
                      <a:pt x="10" y="4"/>
                    </a:lnTo>
                    <a:lnTo>
                      <a:pt x="12" y="2"/>
                    </a:lnTo>
                    <a:lnTo>
                      <a:pt x="12" y="2"/>
                    </a:lnTo>
                    <a:lnTo>
                      <a:pt x="14" y="2"/>
                    </a:lnTo>
                    <a:lnTo>
                      <a:pt x="16" y="0"/>
                    </a:lnTo>
                    <a:lnTo>
                      <a:pt x="16" y="0"/>
                    </a:lnTo>
                    <a:lnTo>
                      <a:pt x="18" y="0"/>
                    </a:lnTo>
                    <a:lnTo>
                      <a:pt x="20" y="2"/>
                    </a:lnTo>
                    <a:lnTo>
                      <a:pt x="24" y="2"/>
                    </a:lnTo>
                    <a:lnTo>
                      <a:pt x="26" y="4"/>
                    </a:lnTo>
                    <a:lnTo>
                      <a:pt x="32" y="6"/>
                    </a:lnTo>
                    <a:lnTo>
                      <a:pt x="34" y="6"/>
                    </a:lnTo>
                    <a:lnTo>
                      <a:pt x="34" y="6"/>
                    </a:lnTo>
                    <a:lnTo>
                      <a:pt x="32" y="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27" name="Freeform 500">
                <a:extLst>
                  <a:ext uri="{FF2B5EF4-FFF2-40B4-BE49-F238E27FC236}">
                    <a16:creationId xmlns:a16="http://schemas.microsoft.com/office/drawing/2014/main" id="{820639B2-D8FE-49BC-94F6-D4F5C7F6D91E}"/>
                  </a:ext>
                </a:extLst>
              </p:cNvPr>
              <p:cNvSpPr>
                <a:spLocks/>
              </p:cNvSpPr>
              <p:nvPr/>
            </p:nvSpPr>
            <p:spPr bwMode="auto">
              <a:xfrm>
                <a:off x="2875253" y="6321592"/>
                <a:ext cx="66675" cy="60325"/>
              </a:xfrm>
              <a:custGeom>
                <a:avLst/>
                <a:gdLst>
                  <a:gd name="T0" fmla="*/ 0 w 42"/>
                  <a:gd name="T1" fmla="*/ 32 h 38"/>
                  <a:gd name="T2" fmla="*/ 2 w 42"/>
                  <a:gd name="T3" fmla="*/ 22 h 38"/>
                  <a:gd name="T4" fmla="*/ 4 w 42"/>
                  <a:gd name="T5" fmla="*/ 16 h 38"/>
                  <a:gd name="T6" fmla="*/ 6 w 42"/>
                  <a:gd name="T7" fmla="*/ 10 h 38"/>
                  <a:gd name="T8" fmla="*/ 8 w 42"/>
                  <a:gd name="T9" fmla="*/ 6 h 38"/>
                  <a:gd name="T10" fmla="*/ 10 w 42"/>
                  <a:gd name="T11" fmla="*/ 2 h 38"/>
                  <a:gd name="T12" fmla="*/ 12 w 42"/>
                  <a:gd name="T13" fmla="*/ 2 h 38"/>
                  <a:gd name="T14" fmla="*/ 12 w 42"/>
                  <a:gd name="T15" fmla="*/ 0 h 38"/>
                  <a:gd name="T16" fmla="*/ 14 w 42"/>
                  <a:gd name="T17" fmla="*/ 2 h 38"/>
                  <a:gd name="T18" fmla="*/ 18 w 42"/>
                  <a:gd name="T19" fmla="*/ 4 h 38"/>
                  <a:gd name="T20" fmla="*/ 22 w 42"/>
                  <a:gd name="T21" fmla="*/ 10 h 38"/>
                  <a:gd name="T22" fmla="*/ 24 w 42"/>
                  <a:gd name="T23" fmla="*/ 12 h 38"/>
                  <a:gd name="T24" fmla="*/ 26 w 42"/>
                  <a:gd name="T25" fmla="*/ 14 h 38"/>
                  <a:gd name="T26" fmla="*/ 32 w 42"/>
                  <a:gd name="T27" fmla="*/ 16 h 38"/>
                  <a:gd name="T28" fmla="*/ 38 w 42"/>
                  <a:gd name="T29" fmla="*/ 20 h 38"/>
                  <a:gd name="T30" fmla="*/ 42 w 42"/>
                  <a:gd name="T31" fmla="*/ 22 h 38"/>
                  <a:gd name="T32" fmla="*/ 42 w 42"/>
                  <a:gd name="T33" fmla="*/ 24 h 38"/>
                  <a:gd name="T34" fmla="*/ 42 w 42"/>
                  <a:gd name="T35" fmla="*/ 26 h 38"/>
                  <a:gd name="T36" fmla="*/ 42 w 42"/>
                  <a:gd name="T37" fmla="*/ 26 h 38"/>
                  <a:gd name="T38" fmla="*/ 42 w 42"/>
                  <a:gd name="T39" fmla="*/ 28 h 38"/>
                  <a:gd name="T40" fmla="*/ 38 w 42"/>
                  <a:gd name="T41" fmla="*/ 28 h 38"/>
                  <a:gd name="T42" fmla="*/ 36 w 42"/>
                  <a:gd name="T43" fmla="*/ 28 h 38"/>
                  <a:gd name="T44" fmla="*/ 30 w 42"/>
                  <a:gd name="T45" fmla="*/ 26 h 38"/>
                  <a:gd name="T46" fmla="*/ 24 w 42"/>
                  <a:gd name="T47" fmla="*/ 24 h 38"/>
                  <a:gd name="T48" fmla="*/ 22 w 42"/>
                  <a:gd name="T49" fmla="*/ 24 h 38"/>
                  <a:gd name="T50" fmla="*/ 20 w 42"/>
                  <a:gd name="T51" fmla="*/ 26 h 38"/>
                  <a:gd name="T52" fmla="*/ 20 w 42"/>
                  <a:gd name="T53" fmla="*/ 28 h 38"/>
                  <a:gd name="T54" fmla="*/ 20 w 42"/>
                  <a:gd name="T55" fmla="*/ 30 h 38"/>
                  <a:gd name="T56" fmla="*/ 18 w 42"/>
                  <a:gd name="T57" fmla="*/ 34 h 38"/>
                  <a:gd name="T58" fmla="*/ 18 w 42"/>
                  <a:gd name="T59" fmla="*/ 36 h 38"/>
                  <a:gd name="T60" fmla="*/ 16 w 42"/>
                  <a:gd name="T61" fmla="*/ 38 h 38"/>
                  <a:gd name="T62" fmla="*/ 16 w 42"/>
                  <a:gd name="T63" fmla="*/ 38 h 38"/>
                  <a:gd name="T64" fmla="*/ 14 w 42"/>
                  <a:gd name="T65" fmla="*/ 38 h 38"/>
                  <a:gd name="T66" fmla="*/ 10 w 42"/>
                  <a:gd name="T67" fmla="*/ 36 h 38"/>
                  <a:gd name="T68" fmla="*/ 4 w 42"/>
                  <a:gd name="T69" fmla="*/ 34 h 38"/>
                  <a:gd name="T70" fmla="*/ 0 w 42"/>
                  <a:gd name="T71" fmla="*/ 3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 h="38">
                    <a:moveTo>
                      <a:pt x="0" y="32"/>
                    </a:moveTo>
                    <a:lnTo>
                      <a:pt x="0" y="32"/>
                    </a:lnTo>
                    <a:lnTo>
                      <a:pt x="2" y="28"/>
                    </a:lnTo>
                    <a:lnTo>
                      <a:pt x="2" y="22"/>
                    </a:lnTo>
                    <a:lnTo>
                      <a:pt x="4" y="18"/>
                    </a:lnTo>
                    <a:lnTo>
                      <a:pt x="4" y="16"/>
                    </a:lnTo>
                    <a:lnTo>
                      <a:pt x="6" y="12"/>
                    </a:lnTo>
                    <a:lnTo>
                      <a:pt x="6" y="10"/>
                    </a:lnTo>
                    <a:lnTo>
                      <a:pt x="6" y="8"/>
                    </a:lnTo>
                    <a:lnTo>
                      <a:pt x="8" y="6"/>
                    </a:lnTo>
                    <a:lnTo>
                      <a:pt x="8" y="4"/>
                    </a:lnTo>
                    <a:lnTo>
                      <a:pt x="10" y="2"/>
                    </a:lnTo>
                    <a:lnTo>
                      <a:pt x="10" y="2"/>
                    </a:lnTo>
                    <a:lnTo>
                      <a:pt x="12" y="2"/>
                    </a:lnTo>
                    <a:lnTo>
                      <a:pt x="12" y="0"/>
                    </a:lnTo>
                    <a:lnTo>
                      <a:pt x="12" y="0"/>
                    </a:lnTo>
                    <a:lnTo>
                      <a:pt x="14" y="0"/>
                    </a:lnTo>
                    <a:lnTo>
                      <a:pt x="14" y="2"/>
                    </a:lnTo>
                    <a:lnTo>
                      <a:pt x="16" y="2"/>
                    </a:lnTo>
                    <a:lnTo>
                      <a:pt x="18" y="4"/>
                    </a:lnTo>
                    <a:lnTo>
                      <a:pt x="18" y="6"/>
                    </a:lnTo>
                    <a:lnTo>
                      <a:pt x="22" y="10"/>
                    </a:lnTo>
                    <a:lnTo>
                      <a:pt x="22" y="10"/>
                    </a:lnTo>
                    <a:lnTo>
                      <a:pt x="24" y="12"/>
                    </a:lnTo>
                    <a:lnTo>
                      <a:pt x="24" y="12"/>
                    </a:lnTo>
                    <a:lnTo>
                      <a:pt x="26" y="14"/>
                    </a:lnTo>
                    <a:lnTo>
                      <a:pt x="28" y="14"/>
                    </a:lnTo>
                    <a:lnTo>
                      <a:pt x="32" y="16"/>
                    </a:lnTo>
                    <a:lnTo>
                      <a:pt x="36" y="18"/>
                    </a:lnTo>
                    <a:lnTo>
                      <a:pt x="38" y="20"/>
                    </a:lnTo>
                    <a:lnTo>
                      <a:pt x="40" y="22"/>
                    </a:lnTo>
                    <a:lnTo>
                      <a:pt x="42" y="22"/>
                    </a:lnTo>
                    <a:lnTo>
                      <a:pt x="42" y="24"/>
                    </a:lnTo>
                    <a:lnTo>
                      <a:pt x="42" y="24"/>
                    </a:lnTo>
                    <a:lnTo>
                      <a:pt x="42" y="26"/>
                    </a:lnTo>
                    <a:lnTo>
                      <a:pt x="42" y="26"/>
                    </a:lnTo>
                    <a:lnTo>
                      <a:pt x="42" y="26"/>
                    </a:lnTo>
                    <a:lnTo>
                      <a:pt x="42" y="26"/>
                    </a:lnTo>
                    <a:lnTo>
                      <a:pt x="42" y="28"/>
                    </a:lnTo>
                    <a:lnTo>
                      <a:pt x="42" y="28"/>
                    </a:lnTo>
                    <a:lnTo>
                      <a:pt x="40" y="28"/>
                    </a:lnTo>
                    <a:lnTo>
                      <a:pt x="38" y="28"/>
                    </a:lnTo>
                    <a:lnTo>
                      <a:pt x="38" y="28"/>
                    </a:lnTo>
                    <a:lnTo>
                      <a:pt x="36" y="28"/>
                    </a:lnTo>
                    <a:lnTo>
                      <a:pt x="32" y="26"/>
                    </a:lnTo>
                    <a:lnTo>
                      <a:pt x="30" y="26"/>
                    </a:lnTo>
                    <a:lnTo>
                      <a:pt x="26" y="26"/>
                    </a:lnTo>
                    <a:lnTo>
                      <a:pt x="24" y="24"/>
                    </a:lnTo>
                    <a:lnTo>
                      <a:pt x="24" y="24"/>
                    </a:lnTo>
                    <a:lnTo>
                      <a:pt x="22" y="24"/>
                    </a:lnTo>
                    <a:lnTo>
                      <a:pt x="22" y="26"/>
                    </a:lnTo>
                    <a:lnTo>
                      <a:pt x="20" y="26"/>
                    </a:lnTo>
                    <a:lnTo>
                      <a:pt x="20" y="26"/>
                    </a:lnTo>
                    <a:lnTo>
                      <a:pt x="20" y="28"/>
                    </a:lnTo>
                    <a:lnTo>
                      <a:pt x="20" y="28"/>
                    </a:lnTo>
                    <a:lnTo>
                      <a:pt x="20" y="30"/>
                    </a:lnTo>
                    <a:lnTo>
                      <a:pt x="18" y="32"/>
                    </a:lnTo>
                    <a:lnTo>
                      <a:pt x="18" y="34"/>
                    </a:lnTo>
                    <a:lnTo>
                      <a:pt x="18" y="36"/>
                    </a:lnTo>
                    <a:lnTo>
                      <a:pt x="18" y="36"/>
                    </a:lnTo>
                    <a:lnTo>
                      <a:pt x="18" y="36"/>
                    </a:lnTo>
                    <a:lnTo>
                      <a:pt x="16" y="38"/>
                    </a:lnTo>
                    <a:lnTo>
                      <a:pt x="16" y="38"/>
                    </a:lnTo>
                    <a:lnTo>
                      <a:pt x="16" y="38"/>
                    </a:lnTo>
                    <a:lnTo>
                      <a:pt x="14" y="38"/>
                    </a:lnTo>
                    <a:lnTo>
                      <a:pt x="14" y="38"/>
                    </a:lnTo>
                    <a:lnTo>
                      <a:pt x="12" y="38"/>
                    </a:lnTo>
                    <a:lnTo>
                      <a:pt x="10" y="36"/>
                    </a:lnTo>
                    <a:lnTo>
                      <a:pt x="8" y="36"/>
                    </a:lnTo>
                    <a:lnTo>
                      <a:pt x="4" y="34"/>
                    </a:lnTo>
                    <a:lnTo>
                      <a:pt x="2" y="32"/>
                    </a:lnTo>
                    <a:lnTo>
                      <a:pt x="0" y="3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397" name="Freeform 502">
              <a:extLst>
                <a:ext uri="{FF2B5EF4-FFF2-40B4-BE49-F238E27FC236}">
                  <a16:creationId xmlns:a16="http://schemas.microsoft.com/office/drawing/2014/main" id="{D7B30AC0-376A-4AB1-B9B6-20D35E5B60E7}"/>
                </a:ext>
              </a:extLst>
            </p:cNvPr>
            <p:cNvSpPr>
              <a:spLocks/>
            </p:cNvSpPr>
            <p:nvPr/>
          </p:nvSpPr>
          <p:spPr bwMode="auto">
            <a:xfrm>
              <a:off x="2855838" y="6218935"/>
              <a:ext cx="93532" cy="62355"/>
            </a:xfrm>
            <a:custGeom>
              <a:avLst/>
              <a:gdLst>
                <a:gd name="T0" fmla="*/ 18 w 54"/>
                <a:gd name="T1" fmla="*/ 8 h 36"/>
                <a:gd name="T2" fmla="*/ 12 w 54"/>
                <a:gd name="T3" fmla="*/ 8 h 36"/>
                <a:gd name="T4" fmla="*/ 6 w 54"/>
                <a:gd name="T5" fmla="*/ 8 h 36"/>
                <a:gd name="T6" fmla="*/ 4 w 54"/>
                <a:gd name="T7" fmla="*/ 10 h 36"/>
                <a:gd name="T8" fmla="*/ 2 w 54"/>
                <a:gd name="T9" fmla="*/ 12 h 36"/>
                <a:gd name="T10" fmla="*/ 2 w 54"/>
                <a:gd name="T11" fmla="*/ 12 h 36"/>
                <a:gd name="T12" fmla="*/ 0 w 54"/>
                <a:gd name="T13" fmla="*/ 16 h 36"/>
                <a:gd name="T14" fmla="*/ 0 w 54"/>
                <a:gd name="T15" fmla="*/ 22 h 36"/>
                <a:gd name="T16" fmla="*/ 0 w 54"/>
                <a:gd name="T17" fmla="*/ 28 h 36"/>
                <a:gd name="T18" fmla="*/ 2 w 54"/>
                <a:gd name="T19" fmla="*/ 32 h 36"/>
                <a:gd name="T20" fmla="*/ 2 w 54"/>
                <a:gd name="T21" fmla="*/ 34 h 36"/>
                <a:gd name="T22" fmla="*/ 2 w 54"/>
                <a:gd name="T23" fmla="*/ 36 h 36"/>
                <a:gd name="T24" fmla="*/ 4 w 54"/>
                <a:gd name="T25" fmla="*/ 36 h 36"/>
                <a:gd name="T26" fmla="*/ 6 w 54"/>
                <a:gd name="T27" fmla="*/ 36 h 36"/>
                <a:gd name="T28" fmla="*/ 8 w 54"/>
                <a:gd name="T29" fmla="*/ 32 h 36"/>
                <a:gd name="T30" fmla="*/ 10 w 54"/>
                <a:gd name="T31" fmla="*/ 28 h 36"/>
                <a:gd name="T32" fmla="*/ 12 w 54"/>
                <a:gd name="T33" fmla="*/ 26 h 36"/>
                <a:gd name="T34" fmla="*/ 14 w 54"/>
                <a:gd name="T35" fmla="*/ 24 h 36"/>
                <a:gd name="T36" fmla="*/ 14 w 54"/>
                <a:gd name="T37" fmla="*/ 24 h 36"/>
                <a:gd name="T38" fmla="*/ 16 w 54"/>
                <a:gd name="T39" fmla="*/ 26 h 36"/>
                <a:gd name="T40" fmla="*/ 18 w 54"/>
                <a:gd name="T41" fmla="*/ 28 h 36"/>
                <a:gd name="T42" fmla="*/ 22 w 54"/>
                <a:gd name="T43" fmla="*/ 30 h 36"/>
                <a:gd name="T44" fmla="*/ 24 w 54"/>
                <a:gd name="T45" fmla="*/ 30 h 36"/>
                <a:gd name="T46" fmla="*/ 26 w 54"/>
                <a:gd name="T47" fmla="*/ 30 h 36"/>
                <a:gd name="T48" fmla="*/ 32 w 54"/>
                <a:gd name="T49" fmla="*/ 28 h 36"/>
                <a:gd name="T50" fmla="*/ 42 w 54"/>
                <a:gd name="T51" fmla="*/ 24 h 36"/>
                <a:gd name="T52" fmla="*/ 46 w 54"/>
                <a:gd name="T53" fmla="*/ 22 h 36"/>
                <a:gd name="T54" fmla="*/ 52 w 54"/>
                <a:gd name="T55" fmla="*/ 20 h 36"/>
                <a:gd name="T56" fmla="*/ 54 w 54"/>
                <a:gd name="T57" fmla="*/ 18 h 36"/>
                <a:gd name="T58" fmla="*/ 54 w 54"/>
                <a:gd name="T59" fmla="*/ 18 h 36"/>
                <a:gd name="T60" fmla="*/ 54 w 54"/>
                <a:gd name="T61" fmla="*/ 16 h 36"/>
                <a:gd name="T62" fmla="*/ 54 w 54"/>
                <a:gd name="T63" fmla="*/ 16 h 36"/>
                <a:gd name="T64" fmla="*/ 52 w 54"/>
                <a:gd name="T65" fmla="*/ 14 h 36"/>
                <a:gd name="T66" fmla="*/ 48 w 54"/>
                <a:gd name="T67" fmla="*/ 12 h 36"/>
                <a:gd name="T68" fmla="*/ 40 w 54"/>
                <a:gd name="T69" fmla="*/ 10 h 36"/>
                <a:gd name="T70" fmla="*/ 40 w 54"/>
                <a:gd name="T71" fmla="*/ 8 h 36"/>
                <a:gd name="T72" fmla="*/ 38 w 54"/>
                <a:gd name="T73" fmla="*/ 6 h 36"/>
                <a:gd name="T74" fmla="*/ 34 w 54"/>
                <a:gd name="T75" fmla="*/ 2 h 36"/>
                <a:gd name="T76" fmla="*/ 32 w 54"/>
                <a:gd name="T77" fmla="*/ 0 h 36"/>
                <a:gd name="T78" fmla="*/ 32 w 54"/>
                <a:gd name="T79" fmla="*/ 0 h 36"/>
                <a:gd name="T80" fmla="*/ 30 w 54"/>
                <a:gd name="T81" fmla="*/ 0 h 36"/>
                <a:gd name="T82" fmla="*/ 30 w 54"/>
                <a:gd name="T83" fmla="*/ 0 h 36"/>
                <a:gd name="T84" fmla="*/ 30 w 54"/>
                <a:gd name="T85" fmla="*/ 2 h 36"/>
                <a:gd name="T86" fmla="*/ 30 w 54"/>
                <a:gd name="T87" fmla="*/ 6 h 36"/>
                <a:gd name="T88" fmla="*/ 30 w 54"/>
                <a:gd name="T89" fmla="*/ 8 h 36"/>
                <a:gd name="T90" fmla="*/ 30 w 54"/>
                <a:gd name="T91" fmla="*/ 10 h 36"/>
                <a:gd name="T92" fmla="*/ 28 w 54"/>
                <a:gd name="T93" fmla="*/ 10 h 36"/>
                <a:gd name="T94" fmla="*/ 26 w 54"/>
                <a:gd name="T95" fmla="*/ 10 h 36"/>
                <a:gd name="T96" fmla="*/ 24 w 54"/>
                <a:gd name="T97" fmla="*/ 10 h 36"/>
                <a:gd name="T98" fmla="*/ 18 w 54"/>
                <a:gd name="T99"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 h="36">
                  <a:moveTo>
                    <a:pt x="18" y="8"/>
                  </a:moveTo>
                  <a:lnTo>
                    <a:pt x="18" y="8"/>
                  </a:lnTo>
                  <a:lnTo>
                    <a:pt x="14" y="8"/>
                  </a:lnTo>
                  <a:lnTo>
                    <a:pt x="12" y="8"/>
                  </a:lnTo>
                  <a:lnTo>
                    <a:pt x="10" y="8"/>
                  </a:lnTo>
                  <a:lnTo>
                    <a:pt x="6" y="8"/>
                  </a:lnTo>
                  <a:lnTo>
                    <a:pt x="6" y="10"/>
                  </a:lnTo>
                  <a:lnTo>
                    <a:pt x="4" y="10"/>
                  </a:lnTo>
                  <a:lnTo>
                    <a:pt x="2" y="10"/>
                  </a:lnTo>
                  <a:lnTo>
                    <a:pt x="2" y="12"/>
                  </a:lnTo>
                  <a:lnTo>
                    <a:pt x="2" y="12"/>
                  </a:lnTo>
                  <a:lnTo>
                    <a:pt x="2" y="12"/>
                  </a:lnTo>
                  <a:lnTo>
                    <a:pt x="0" y="14"/>
                  </a:lnTo>
                  <a:lnTo>
                    <a:pt x="0" y="16"/>
                  </a:lnTo>
                  <a:lnTo>
                    <a:pt x="0" y="18"/>
                  </a:lnTo>
                  <a:lnTo>
                    <a:pt x="0" y="22"/>
                  </a:lnTo>
                  <a:lnTo>
                    <a:pt x="0" y="24"/>
                  </a:lnTo>
                  <a:lnTo>
                    <a:pt x="0" y="28"/>
                  </a:lnTo>
                  <a:lnTo>
                    <a:pt x="2" y="32"/>
                  </a:lnTo>
                  <a:lnTo>
                    <a:pt x="2" y="32"/>
                  </a:lnTo>
                  <a:lnTo>
                    <a:pt x="2" y="34"/>
                  </a:lnTo>
                  <a:lnTo>
                    <a:pt x="2" y="34"/>
                  </a:lnTo>
                  <a:lnTo>
                    <a:pt x="2" y="36"/>
                  </a:lnTo>
                  <a:lnTo>
                    <a:pt x="2" y="36"/>
                  </a:lnTo>
                  <a:lnTo>
                    <a:pt x="4" y="36"/>
                  </a:lnTo>
                  <a:lnTo>
                    <a:pt x="4" y="36"/>
                  </a:lnTo>
                  <a:lnTo>
                    <a:pt x="4" y="36"/>
                  </a:lnTo>
                  <a:lnTo>
                    <a:pt x="6" y="36"/>
                  </a:lnTo>
                  <a:lnTo>
                    <a:pt x="6" y="34"/>
                  </a:lnTo>
                  <a:lnTo>
                    <a:pt x="8" y="32"/>
                  </a:lnTo>
                  <a:lnTo>
                    <a:pt x="8" y="30"/>
                  </a:lnTo>
                  <a:lnTo>
                    <a:pt x="10" y="28"/>
                  </a:lnTo>
                  <a:lnTo>
                    <a:pt x="12" y="26"/>
                  </a:lnTo>
                  <a:lnTo>
                    <a:pt x="12" y="26"/>
                  </a:lnTo>
                  <a:lnTo>
                    <a:pt x="14" y="26"/>
                  </a:lnTo>
                  <a:lnTo>
                    <a:pt x="14" y="24"/>
                  </a:lnTo>
                  <a:lnTo>
                    <a:pt x="14" y="24"/>
                  </a:lnTo>
                  <a:lnTo>
                    <a:pt x="14" y="24"/>
                  </a:lnTo>
                  <a:lnTo>
                    <a:pt x="16" y="24"/>
                  </a:lnTo>
                  <a:lnTo>
                    <a:pt x="16" y="26"/>
                  </a:lnTo>
                  <a:lnTo>
                    <a:pt x="18" y="26"/>
                  </a:lnTo>
                  <a:lnTo>
                    <a:pt x="18" y="28"/>
                  </a:lnTo>
                  <a:lnTo>
                    <a:pt x="20" y="28"/>
                  </a:lnTo>
                  <a:lnTo>
                    <a:pt x="22" y="30"/>
                  </a:lnTo>
                  <a:lnTo>
                    <a:pt x="22" y="30"/>
                  </a:lnTo>
                  <a:lnTo>
                    <a:pt x="24" y="30"/>
                  </a:lnTo>
                  <a:lnTo>
                    <a:pt x="24" y="30"/>
                  </a:lnTo>
                  <a:lnTo>
                    <a:pt x="26" y="30"/>
                  </a:lnTo>
                  <a:lnTo>
                    <a:pt x="30" y="28"/>
                  </a:lnTo>
                  <a:lnTo>
                    <a:pt x="32" y="28"/>
                  </a:lnTo>
                  <a:lnTo>
                    <a:pt x="38" y="26"/>
                  </a:lnTo>
                  <a:lnTo>
                    <a:pt x="42" y="24"/>
                  </a:lnTo>
                  <a:lnTo>
                    <a:pt x="44" y="22"/>
                  </a:lnTo>
                  <a:lnTo>
                    <a:pt x="46" y="22"/>
                  </a:lnTo>
                  <a:lnTo>
                    <a:pt x="50" y="22"/>
                  </a:lnTo>
                  <a:lnTo>
                    <a:pt x="52" y="20"/>
                  </a:lnTo>
                  <a:lnTo>
                    <a:pt x="52" y="20"/>
                  </a:lnTo>
                  <a:lnTo>
                    <a:pt x="54" y="18"/>
                  </a:lnTo>
                  <a:lnTo>
                    <a:pt x="54" y="18"/>
                  </a:lnTo>
                  <a:lnTo>
                    <a:pt x="54" y="18"/>
                  </a:lnTo>
                  <a:lnTo>
                    <a:pt x="54" y="18"/>
                  </a:lnTo>
                  <a:lnTo>
                    <a:pt x="54" y="16"/>
                  </a:lnTo>
                  <a:lnTo>
                    <a:pt x="54" y="16"/>
                  </a:lnTo>
                  <a:lnTo>
                    <a:pt x="54" y="16"/>
                  </a:lnTo>
                  <a:lnTo>
                    <a:pt x="52" y="14"/>
                  </a:lnTo>
                  <a:lnTo>
                    <a:pt x="52" y="14"/>
                  </a:lnTo>
                  <a:lnTo>
                    <a:pt x="50" y="14"/>
                  </a:lnTo>
                  <a:lnTo>
                    <a:pt x="48" y="12"/>
                  </a:lnTo>
                  <a:lnTo>
                    <a:pt x="44" y="10"/>
                  </a:lnTo>
                  <a:lnTo>
                    <a:pt x="40" y="10"/>
                  </a:lnTo>
                  <a:lnTo>
                    <a:pt x="40" y="8"/>
                  </a:lnTo>
                  <a:lnTo>
                    <a:pt x="40" y="8"/>
                  </a:lnTo>
                  <a:lnTo>
                    <a:pt x="38" y="8"/>
                  </a:lnTo>
                  <a:lnTo>
                    <a:pt x="38" y="6"/>
                  </a:lnTo>
                  <a:lnTo>
                    <a:pt x="36" y="4"/>
                  </a:lnTo>
                  <a:lnTo>
                    <a:pt x="34" y="2"/>
                  </a:lnTo>
                  <a:lnTo>
                    <a:pt x="32" y="0"/>
                  </a:lnTo>
                  <a:lnTo>
                    <a:pt x="32" y="0"/>
                  </a:lnTo>
                  <a:lnTo>
                    <a:pt x="32" y="0"/>
                  </a:lnTo>
                  <a:lnTo>
                    <a:pt x="32" y="0"/>
                  </a:lnTo>
                  <a:lnTo>
                    <a:pt x="30" y="0"/>
                  </a:lnTo>
                  <a:lnTo>
                    <a:pt x="30" y="0"/>
                  </a:lnTo>
                  <a:lnTo>
                    <a:pt x="30" y="0"/>
                  </a:lnTo>
                  <a:lnTo>
                    <a:pt x="30" y="0"/>
                  </a:lnTo>
                  <a:lnTo>
                    <a:pt x="30" y="2"/>
                  </a:lnTo>
                  <a:lnTo>
                    <a:pt x="30" y="2"/>
                  </a:lnTo>
                  <a:lnTo>
                    <a:pt x="30" y="4"/>
                  </a:lnTo>
                  <a:lnTo>
                    <a:pt x="30" y="6"/>
                  </a:lnTo>
                  <a:lnTo>
                    <a:pt x="30" y="8"/>
                  </a:lnTo>
                  <a:lnTo>
                    <a:pt x="30" y="8"/>
                  </a:lnTo>
                  <a:lnTo>
                    <a:pt x="30" y="10"/>
                  </a:lnTo>
                  <a:lnTo>
                    <a:pt x="30" y="10"/>
                  </a:lnTo>
                  <a:lnTo>
                    <a:pt x="28" y="10"/>
                  </a:lnTo>
                  <a:lnTo>
                    <a:pt x="28" y="10"/>
                  </a:lnTo>
                  <a:lnTo>
                    <a:pt x="28" y="10"/>
                  </a:lnTo>
                  <a:lnTo>
                    <a:pt x="26" y="10"/>
                  </a:lnTo>
                  <a:lnTo>
                    <a:pt x="26" y="10"/>
                  </a:lnTo>
                  <a:lnTo>
                    <a:pt x="24" y="10"/>
                  </a:lnTo>
                  <a:lnTo>
                    <a:pt x="20" y="8"/>
                  </a:lnTo>
                  <a:lnTo>
                    <a:pt x="18" y="8"/>
                  </a:lnTo>
                  <a:lnTo>
                    <a:pt x="18" y="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8" name="Freeform 503">
              <a:extLst>
                <a:ext uri="{FF2B5EF4-FFF2-40B4-BE49-F238E27FC236}">
                  <a16:creationId xmlns:a16="http://schemas.microsoft.com/office/drawing/2014/main" id="{B279C8CE-7742-4778-9467-2DEE98C82497}"/>
                </a:ext>
              </a:extLst>
            </p:cNvPr>
            <p:cNvSpPr>
              <a:spLocks/>
            </p:cNvSpPr>
            <p:nvPr/>
          </p:nvSpPr>
          <p:spPr bwMode="auto">
            <a:xfrm>
              <a:off x="2855838" y="6218935"/>
              <a:ext cx="93532" cy="62355"/>
            </a:xfrm>
            <a:custGeom>
              <a:avLst/>
              <a:gdLst>
                <a:gd name="T0" fmla="*/ 18 w 54"/>
                <a:gd name="T1" fmla="*/ 8 h 36"/>
                <a:gd name="T2" fmla="*/ 12 w 54"/>
                <a:gd name="T3" fmla="*/ 8 h 36"/>
                <a:gd name="T4" fmla="*/ 6 w 54"/>
                <a:gd name="T5" fmla="*/ 8 h 36"/>
                <a:gd name="T6" fmla="*/ 4 w 54"/>
                <a:gd name="T7" fmla="*/ 10 h 36"/>
                <a:gd name="T8" fmla="*/ 2 w 54"/>
                <a:gd name="T9" fmla="*/ 12 h 36"/>
                <a:gd name="T10" fmla="*/ 2 w 54"/>
                <a:gd name="T11" fmla="*/ 12 h 36"/>
                <a:gd name="T12" fmla="*/ 0 w 54"/>
                <a:gd name="T13" fmla="*/ 16 h 36"/>
                <a:gd name="T14" fmla="*/ 0 w 54"/>
                <a:gd name="T15" fmla="*/ 22 h 36"/>
                <a:gd name="T16" fmla="*/ 0 w 54"/>
                <a:gd name="T17" fmla="*/ 28 h 36"/>
                <a:gd name="T18" fmla="*/ 2 w 54"/>
                <a:gd name="T19" fmla="*/ 32 h 36"/>
                <a:gd name="T20" fmla="*/ 2 w 54"/>
                <a:gd name="T21" fmla="*/ 34 h 36"/>
                <a:gd name="T22" fmla="*/ 2 w 54"/>
                <a:gd name="T23" fmla="*/ 36 h 36"/>
                <a:gd name="T24" fmla="*/ 4 w 54"/>
                <a:gd name="T25" fmla="*/ 36 h 36"/>
                <a:gd name="T26" fmla="*/ 6 w 54"/>
                <a:gd name="T27" fmla="*/ 36 h 36"/>
                <a:gd name="T28" fmla="*/ 8 w 54"/>
                <a:gd name="T29" fmla="*/ 32 h 36"/>
                <a:gd name="T30" fmla="*/ 10 w 54"/>
                <a:gd name="T31" fmla="*/ 28 h 36"/>
                <a:gd name="T32" fmla="*/ 12 w 54"/>
                <a:gd name="T33" fmla="*/ 26 h 36"/>
                <a:gd name="T34" fmla="*/ 14 w 54"/>
                <a:gd name="T35" fmla="*/ 24 h 36"/>
                <a:gd name="T36" fmla="*/ 14 w 54"/>
                <a:gd name="T37" fmla="*/ 24 h 36"/>
                <a:gd name="T38" fmla="*/ 16 w 54"/>
                <a:gd name="T39" fmla="*/ 26 h 36"/>
                <a:gd name="T40" fmla="*/ 18 w 54"/>
                <a:gd name="T41" fmla="*/ 28 h 36"/>
                <a:gd name="T42" fmla="*/ 22 w 54"/>
                <a:gd name="T43" fmla="*/ 30 h 36"/>
                <a:gd name="T44" fmla="*/ 24 w 54"/>
                <a:gd name="T45" fmla="*/ 30 h 36"/>
                <a:gd name="T46" fmla="*/ 26 w 54"/>
                <a:gd name="T47" fmla="*/ 30 h 36"/>
                <a:gd name="T48" fmla="*/ 32 w 54"/>
                <a:gd name="T49" fmla="*/ 28 h 36"/>
                <a:gd name="T50" fmla="*/ 42 w 54"/>
                <a:gd name="T51" fmla="*/ 24 h 36"/>
                <a:gd name="T52" fmla="*/ 46 w 54"/>
                <a:gd name="T53" fmla="*/ 22 h 36"/>
                <a:gd name="T54" fmla="*/ 52 w 54"/>
                <a:gd name="T55" fmla="*/ 20 h 36"/>
                <a:gd name="T56" fmla="*/ 54 w 54"/>
                <a:gd name="T57" fmla="*/ 18 h 36"/>
                <a:gd name="T58" fmla="*/ 54 w 54"/>
                <a:gd name="T59" fmla="*/ 18 h 36"/>
                <a:gd name="T60" fmla="*/ 54 w 54"/>
                <a:gd name="T61" fmla="*/ 16 h 36"/>
                <a:gd name="T62" fmla="*/ 54 w 54"/>
                <a:gd name="T63" fmla="*/ 16 h 36"/>
                <a:gd name="T64" fmla="*/ 52 w 54"/>
                <a:gd name="T65" fmla="*/ 14 h 36"/>
                <a:gd name="T66" fmla="*/ 48 w 54"/>
                <a:gd name="T67" fmla="*/ 12 h 36"/>
                <a:gd name="T68" fmla="*/ 40 w 54"/>
                <a:gd name="T69" fmla="*/ 10 h 36"/>
                <a:gd name="T70" fmla="*/ 40 w 54"/>
                <a:gd name="T71" fmla="*/ 8 h 36"/>
                <a:gd name="T72" fmla="*/ 38 w 54"/>
                <a:gd name="T73" fmla="*/ 6 h 36"/>
                <a:gd name="T74" fmla="*/ 34 w 54"/>
                <a:gd name="T75" fmla="*/ 2 h 36"/>
                <a:gd name="T76" fmla="*/ 32 w 54"/>
                <a:gd name="T77" fmla="*/ 0 h 36"/>
                <a:gd name="T78" fmla="*/ 32 w 54"/>
                <a:gd name="T79" fmla="*/ 0 h 36"/>
                <a:gd name="T80" fmla="*/ 30 w 54"/>
                <a:gd name="T81" fmla="*/ 0 h 36"/>
                <a:gd name="T82" fmla="*/ 30 w 54"/>
                <a:gd name="T83" fmla="*/ 0 h 36"/>
                <a:gd name="T84" fmla="*/ 30 w 54"/>
                <a:gd name="T85" fmla="*/ 2 h 36"/>
                <a:gd name="T86" fmla="*/ 30 w 54"/>
                <a:gd name="T87" fmla="*/ 6 h 36"/>
                <a:gd name="T88" fmla="*/ 30 w 54"/>
                <a:gd name="T89" fmla="*/ 8 h 36"/>
                <a:gd name="T90" fmla="*/ 30 w 54"/>
                <a:gd name="T91" fmla="*/ 10 h 36"/>
                <a:gd name="T92" fmla="*/ 28 w 54"/>
                <a:gd name="T93" fmla="*/ 10 h 36"/>
                <a:gd name="T94" fmla="*/ 26 w 54"/>
                <a:gd name="T95" fmla="*/ 10 h 36"/>
                <a:gd name="T96" fmla="*/ 24 w 54"/>
                <a:gd name="T97" fmla="*/ 10 h 36"/>
                <a:gd name="T98" fmla="*/ 18 w 54"/>
                <a:gd name="T99"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 h="36">
                  <a:moveTo>
                    <a:pt x="18" y="8"/>
                  </a:moveTo>
                  <a:lnTo>
                    <a:pt x="18" y="8"/>
                  </a:lnTo>
                  <a:lnTo>
                    <a:pt x="14" y="8"/>
                  </a:lnTo>
                  <a:lnTo>
                    <a:pt x="12" y="8"/>
                  </a:lnTo>
                  <a:lnTo>
                    <a:pt x="10" y="8"/>
                  </a:lnTo>
                  <a:lnTo>
                    <a:pt x="6" y="8"/>
                  </a:lnTo>
                  <a:lnTo>
                    <a:pt x="6" y="10"/>
                  </a:lnTo>
                  <a:lnTo>
                    <a:pt x="4" y="10"/>
                  </a:lnTo>
                  <a:lnTo>
                    <a:pt x="2" y="10"/>
                  </a:lnTo>
                  <a:lnTo>
                    <a:pt x="2" y="12"/>
                  </a:lnTo>
                  <a:lnTo>
                    <a:pt x="2" y="12"/>
                  </a:lnTo>
                  <a:lnTo>
                    <a:pt x="2" y="12"/>
                  </a:lnTo>
                  <a:lnTo>
                    <a:pt x="0" y="14"/>
                  </a:lnTo>
                  <a:lnTo>
                    <a:pt x="0" y="16"/>
                  </a:lnTo>
                  <a:lnTo>
                    <a:pt x="0" y="18"/>
                  </a:lnTo>
                  <a:lnTo>
                    <a:pt x="0" y="22"/>
                  </a:lnTo>
                  <a:lnTo>
                    <a:pt x="0" y="24"/>
                  </a:lnTo>
                  <a:lnTo>
                    <a:pt x="0" y="28"/>
                  </a:lnTo>
                  <a:lnTo>
                    <a:pt x="2" y="32"/>
                  </a:lnTo>
                  <a:lnTo>
                    <a:pt x="2" y="32"/>
                  </a:lnTo>
                  <a:lnTo>
                    <a:pt x="2" y="34"/>
                  </a:lnTo>
                  <a:lnTo>
                    <a:pt x="2" y="34"/>
                  </a:lnTo>
                  <a:lnTo>
                    <a:pt x="2" y="36"/>
                  </a:lnTo>
                  <a:lnTo>
                    <a:pt x="2" y="36"/>
                  </a:lnTo>
                  <a:lnTo>
                    <a:pt x="4" y="36"/>
                  </a:lnTo>
                  <a:lnTo>
                    <a:pt x="4" y="36"/>
                  </a:lnTo>
                  <a:lnTo>
                    <a:pt x="4" y="36"/>
                  </a:lnTo>
                  <a:lnTo>
                    <a:pt x="6" y="36"/>
                  </a:lnTo>
                  <a:lnTo>
                    <a:pt x="6" y="34"/>
                  </a:lnTo>
                  <a:lnTo>
                    <a:pt x="8" y="32"/>
                  </a:lnTo>
                  <a:lnTo>
                    <a:pt x="8" y="30"/>
                  </a:lnTo>
                  <a:lnTo>
                    <a:pt x="10" y="28"/>
                  </a:lnTo>
                  <a:lnTo>
                    <a:pt x="12" y="26"/>
                  </a:lnTo>
                  <a:lnTo>
                    <a:pt x="12" y="26"/>
                  </a:lnTo>
                  <a:lnTo>
                    <a:pt x="14" y="26"/>
                  </a:lnTo>
                  <a:lnTo>
                    <a:pt x="14" y="24"/>
                  </a:lnTo>
                  <a:lnTo>
                    <a:pt x="14" y="24"/>
                  </a:lnTo>
                  <a:lnTo>
                    <a:pt x="14" y="24"/>
                  </a:lnTo>
                  <a:lnTo>
                    <a:pt x="16" y="24"/>
                  </a:lnTo>
                  <a:lnTo>
                    <a:pt x="16" y="26"/>
                  </a:lnTo>
                  <a:lnTo>
                    <a:pt x="18" y="26"/>
                  </a:lnTo>
                  <a:lnTo>
                    <a:pt x="18" y="28"/>
                  </a:lnTo>
                  <a:lnTo>
                    <a:pt x="20" y="28"/>
                  </a:lnTo>
                  <a:lnTo>
                    <a:pt x="22" y="30"/>
                  </a:lnTo>
                  <a:lnTo>
                    <a:pt x="22" y="30"/>
                  </a:lnTo>
                  <a:lnTo>
                    <a:pt x="24" y="30"/>
                  </a:lnTo>
                  <a:lnTo>
                    <a:pt x="24" y="30"/>
                  </a:lnTo>
                  <a:lnTo>
                    <a:pt x="26" y="30"/>
                  </a:lnTo>
                  <a:lnTo>
                    <a:pt x="30" y="28"/>
                  </a:lnTo>
                  <a:lnTo>
                    <a:pt x="32" y="28"/>
                  </a:lnTo>
                  <a:lnTo>
                    <a:pt x="38" y="26"/>
                  </a:lnTo>
                  <a:lnTo>
                    <a:pt x="42" y="24"/>
                  </a:lnTo>
                  <a:lnTo>
                    <a:pt x="44" y="22"/>
                  </a:lnTo>
                  <a:lnTo>
                    <a:pt x="46" y="22"/>
                  </a:lnTo>
                  <a:lnTo>
                    <a:pt x="50" y="22"/>
                  </a:lnTo>
                  <a:lnTo>
                    <a:pt x="52" y="20"/>
                  </a:lnTo>
                  <a:lnTo>
                    <a:pt x="52" y="20"/>
                  </a:lnTo>
                  <a:lnTo>
                    <a:pt x="54" y="18"/>
                  </a:lnTo>
                  <a:lnTo>
                    <a:pt x="54" y="18"/>
                  </a:lnTo>
                  <a:lnTo>
                    <a:pt x="54" y="18"/>
                  </a:lnTo>
                  <a:lnTo>
                    <a:pt x="54" y="18"/>
                  </a:lnTo>
                  <a:lnTo>
                    <a:pt x="54" y="16"/>
                  </a:lnTo>
                  <a:lnTo>
                    <a:pt x="54" y="16"/>
                  </a:lnTo>
                  <a:lnTo>
                    <a:pt x="54" y="16"/>
                  </a:lnTo>
                  <a:lnTo>
                    <a:pt x="52" y="14"/>
                  </a:lnTo>
                  <a:lnTo>
                    <a:pt x="52" y="14"/>
                  </a:lnTo>
                  <a:lnTo>
                    <a:pt x="50" y="14"/>
                  </a:lnTo>
                  <a:lnTo>
                    <a:pt x="48" y="12"/>
                  </a:lnTo>
                  <a:lnTo>
                    <a:pt x="44" y="10"/>
                  </a:lnTo>
                  <a:lnTo>
                    <a:pt x="40" y="10"/>
                  </a:lnTo>
                  <a:lnTo>
                    <a:pt x="40" y="8"/>
                  </a:lnTo>
                  <a:lnTo>
                    <a:pt x="40" y="8"/>
                  </a:lnTo>
                  <a:lnTo>
                    <a:pt x="38" y="8"/>
                  </a:lnTo>
                  <a:lnTo>
                    <a:pt x="38" y="6"/>
                  </a:lnTo>
                  <a:lnTo>
                    <a:pt x="36" y="4"/>
                  </a:lnTo>
                  <a:lnTo>
                    <a:pt x="34" y="2"/>
                  </a:lnTo>
                  <a:lnTo>
                    <a:pt x="32" y="0"/>
                  </a:lnTo>
                  <a:lnTo>
                    <a:pt x="32" y="0"/>
                  </a:lnTo>
                  <a:lnTo>
                    <a:pt x="32" y="0"/>
                  </a:lnTo>
                  <a:lnTo>
                    <a:pt x="32" y="0"/>
                  </a:lnTo>
                  <a:lnTo>
                    <a:pt x="30" y="0"/>
                  </a:lnTo>
                  <a:lnTo>
                    <a:pt x="30" y="0"/>
                  </a:lnTo>
                  <a:lnTo>
                    <a:pt x="30" y="0"/>
                  </a:lnTo>
                  <a:lnTo>
                    <a:pt x="30" y="0"/>
                  </a:lnTo>
                  <a:lnTo>
                    <a:pt x="30" y="2"/>
                  </a:lnTo>
                  <a:lnTo>
                    <a:pt x="30" y="2"/>
                  </a:lnTo>
                  <a:lnTo>
                    <a:pt x="30" y="4"/>
                  </a:lnTo>
                  <a:lnTo>
                    <a:pt x="30" y="6"/>
                  </a:lnTo>
                  <a:lnTo>
                    <a:pt x="30" y="8"/>
                  </a:lnTo>
                  <a:lnTo>
                    <a:pt x="30" y="8"/>
                  </a:lnTo>
                  <a:lnTo>
                    <a:pt x="30" y="10"/>
                  </a:lnTo>
                  <a:lnTo>
                    <a:pt x="30" y="10"/>
                  </a:lnTo>
                  <a:lnTo>
                    <a:pt x="28" y="10"/>
                  </a:lnTo>
                  <a:lnTo>
                    <a:pt x="28" y="10"/>
                  </a:lnTo>
                  <a:lnTo>
                    <a:pt x="28" y="10"/>
                  </a:lnTo>
                  <a:lnTo>
                    <a:pt x="26" y="10"/>
                  </a:lnTo>
                  <a:lnTo>
                    <a:pt x="26" y="10"/>
                  </a:lnTo>
                  <a:lnTo>
                    <a:pt x="24" y="10"/>
                  </a:lnTo>
                  <a:lnTo>
                    <a:pt x="20" y="8"/>
                  </a:lnTo>
                  <a:lnTo>
                    <a:pt x="18" y="8"/>
                  </a:lnTo>
                  <a:lnTo>
                    <a:pt x="18" y="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9" name="Freeform 504">
              <a:extLst>
                <a:ext uri="{FF2B5EF4-FFF2-40B4-BE49-F238E27FC236}">
                  <a16:creationId xmlns:a16="http://schemas.microsoft.com/office/drawing/2014/main" id="{D381F48B-049C-471E-97F0-569178CB7659}"/>
                </a:ext>
              </a:extLst>
            </p:cNvPr>
            <p:cNvSpPr>
              <a:spLocks/>
            </p:cNvSpPr>
            <p:nvPr/>
          </p:nvSpPr>
          <p:spPr bwMode="auto">
            <a:xfrm>
              <a:off x="2339680" y="4119660"/>
              <a:ext cx="58891" cy="34641"/>
            </a:xfrm>
            <a:custGeom>
              <a:avLst/>
              <a:gdLst>
                <a:gd name="T0" fmla="*/ 8 w 34"/>
                <a:gd name="T1" fmla="*/ 2 h 20"/>
                <a:gd name="T2" fmla="*/ 8 w 34"/>
                <a:gd name="T3" fmla="*/ 2 h 20"/>
                <a:gd name="T4" fmla="*/ 10 w 34"/>
                <a:gd name="T5" fmla="*/ 0 h 20"/>
                <a:gd name="T6" fmla="*/ 10 w 34"/>
                <a:gd name="T7" fmla="*/ 0 h 20"/>
                <a:gd name="T8" fmla="*/ 12 w 34"/>
                <a:gd name="T9" fmla="*/ 0 h 20"/>
                <a:gd name="T10" fmla="*/ 14 w 34"/>
                <a:gd name="T11" fmla="*/ 0 h 20"/>
                <a:gd name="T12" fmla="*/ 18 w 34"/>
                <a:gd name="T13" fmla="*/ 0 h 20"/>
                <a:gd name="T14" fmla="*/ 20 w 34"/>
                <a:gd name="T15" fmla="*/ 2 h 20"/>
                <a:gd name="T16" fmla="*/ 24 w 34"/>
                <a:gd name="T17" fmla="*/ 2 h 20"/>
                <a:gd name="T18" fmla="*/ 26 w 34"/>
                <a:gd name="T19" fmla="*/ 2 h 20"/>
                <a:gd name="T20" fmla="*/ 28 w 34"/>
                <a:gd name="T21" fmla="*/ 4 h 20"/>
                <a:gd name="T22" fmla="*/ 30 w 34"/>
                <a:gd name="T23" fmla="*/ 4 h 20"/>
                <a:gd name="T24" fmla="*/ 32 w 34"/>
                <a:gd name="T25" fmla="*/ 4 h 20"/>
                <a:gd name="T26" fmla="*/ 32 w 34"/>
                <a:gd name="T27" fmla="*/ 6 h 20"/>
                <a:gd name="T28" fmla="*/ 34 w 34"/>
                <a:gd name="T29" fmla="*/ 6 h 20"/>
                <a:gd name="T30" fmla="*/ 34 w 34"/>
                <a:gd name="T31" fmla="*/ 6 h 20"/>
                <a:gd name="T32" fmla="*/ 34 w 34"/>
                <a:gd name="T33" fmla="*/ 8 h 20"/>
                <a:gd name="T34" fmla="*/ 34 w 34"/>
                <a:gd name="T35" fmla="*/ 8 h 20"/>
                <a:gd name="T36" fmla="*/ 34 w 34"/>
                <a:gd name="T37" fmla="*/ 8 h 20"/>
                <a:gd name="T38" fmla="*/ 34 w 34"/>
                <a:gd name="T39" fmla="*/ 10 h 20"/>
                <a:gd name="T40" fmla="*/ 34 w 34"/>
                <a:gd name="T41" fmla="*/ 12 h 20"/>
                <a:gd name="T42" fmla="*/ 32 w 34"/>
                <a:gd name="T43" fmla="*/ 12 h 20"/>
                <a:gd name="T44" fmla="*/ 32 w 34"/>
                <a:gd name="T45" fmla="*/ 14 h 20"/>
                <a:gd name="T46" fmla="*/ 30 w 34"/>
                <a:gd name="T47" fmla="*/ 16 h 20"/>
                <a:gd name="T48" fmla="*/ 30 w 34"/>
                <a:gd name="T49" fmla="*/ 16 h 20"/>
                <a:gd name="T50" fmla="*/ 30 w 34"/>
                <a:gd name="T51" fmla="*/ 18 h 20"/>
                <a:gd name="T52" fmla="*/ 28 w 34"/>
                <a:gd name="T53" fmla="*/ 18 h 20"/>
                <a:gd name="T54" fmla="*/ 28 w 34"/>
                <a:gd name="T55" fmla="*/ 18 h 20"/>
                <a:gd name="T56" fmla="*/ 26 w 34"/>
                <a:gd name="T57" fmla="*/ 18 h 20"/>
                <a:gd name="T58" fmla="*/ 24 w 34"/>
                <a:gd name="T59" fmla="*/ 18 h 20"/>
                <a:gd name="T60" fmla="*/ 20 w 34"/>
                <a:gd name="T61" fmla="*/ 20 h 20"/>
                <a:gd name="T62" fmla="*/ 18 w 34"/>
                <a:gd name="T63" fmla="*/ 20 h 20"/>
                <a:gd name="T64" fmla="*/ 16 w 34"/>
                <a:gd name="T65" fmla="*/ 18 h 20"/>
                <a:gd name="T66" fmla="*/ 14 w 34"/>
                <a:gd name="T67" fmla="*/ 18 h 20"/>
                <a:gd name="T68" fmla="*/ 12 w 34"/>
                <a:gd name="T69" fmla="*/ 18 h 20"/>
                <a:gd name="T70" fmla="*/ 10 w 34"/>
                <a:gd name="T71" fmla="*/ 18 h 20"/>
                <a:gd name="T72" fmla="*/ 8 w 34"/>
                <a:gd name="T73" fmla="*/ 18 h 20"/>
                <a:gd name="T74" fmla="*/ 8 w 34"/>
                <a:gd name="T75" fmla="*/ 16 h 20"/>
                <a:gd name="T76" fmla="*/ 6 w 34"/>
                <a:gd name="T77" fmla="*/ 16 h 20"/>
                <a:gd name="T78" fmla="*/ 4 w 34"/>
                <a:gd name="T79" fmla="*/ 14 h 20"/>
                <a:gd name="T80" fmla="*/ 2 w 34"/>
                <a:gd name="T81" fmla="*/ 14 h 20"/>
                <a:gd name="T82" fmla="*/ 2 w 34"/>
                <a:gd name="T83" fmla="*/ 12 h 20"/>
                <a:gd name="T84" fmla="*/ 2 w 34"/>
                <a:gd name="T85" fmla="*/ 12 h 20"/>
                <a:gd name="T86" fmla="*/ 0 w 34"/>
                <a:gd name="T87" fmla="*/ 12 h 20"/>
                <a:gd name="T88" fmla="*/ 0 w 34"/>
                <a:gd name="T89" fmla="*/ 10 h 20"/>
                <a:gd name="T90" fmla="*/ 0 w 34"/>
                <a:gd name="T91" fmla="*/ 10 h 20"/>
                <a:gd name="T92" fmla="*/ 0 w 34"/>
                <a:gd name="T93" fmla="*/ 10 h 20"/>
                <a:gd name="T94" fmla="*/ 2 w 34"/>
                <a:gd name="T95" fmla="*/ 8 h 20"/>
                <a:gd name="T96" fmla="*/ 2 w 34"/>
                <a:gd name="T97" fmla="*/ 8 h 20"/>
                <a:gd name="T98" fmla="*/ 4 w 34"/>
                <a:gd name="T99" fmla="*/ 6 h 20"/>
                <a:gd name="T100" fmla="*/ 4 w 34"/>
                <a:gd name="T101" fmla="*/ 4 h 20"/>
                <a:gd name="T102" fmla="*/ 6 w 34"/>
                <a:gd name="T103" fmla="*/ 2 h 20"/>
                <a:gd name="T104" fmla="*/ 8 w 34"/>
                <a:gd name="T105" fmla="*/ 2 h 20"/>
                <a:gd name="T106" fmla="*/ 8 w 34"/>
                <a:gd name="T10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 h="20">
                  <a:moveTo>
                    <a:pt x="8" y="2"/>
                  </a:moveTo>
                  <a:lnTo>
                    <a:pt x="8" y="2"/>
                  </a:lnTo>
                  <a:lnTo>
                    <a:pt x="10" y="0"/>
                  </a:lnTo>
                  <a:lnTo>
                    <a:pt x="10" y="0"/>
                  </a:lnTo>
                  <a:lnTo>
                    <a:pt x="12" y="0"/>
                  </a:lnTo>
                  <a:lnTo>
                    <a:pt x="14" y="0"/>
                  </a:lnTo>
                  <a:lnTo>
                    <a:pt x="18" y="0"/>
                  </a:lnTo>
                  <a:lnTo>
                    <a:pt x="20" y="2"/>
                  </a:lnTo>
                  <a:lnTo>
                    <a:pt x="24" y="2"/>
                  </a:lnTo>
                  <a:lnTo>
                    <a:pt x="26" y="2"/>
                  </a:lnTo>
                  <a:lnTo>
                    <a:pt x="28" y="4"/>
                  </a:lnTo>
                  <a:lnTo>
                    <a:pt x="30" y="4"/>
                  </a:lnTo>
                  <a:lnTo>
                    <a:pt x="32" y="4"/>
                  </a:lnTo>
                  <a:lnTo>
                    <a:pt x="32" y="6"/>
                  </a:lnTo>
                  <a:lnTo>
                    <a:pt x="34" y="6"/>
                  </a:lnTo>
                  <a:lnTo>
                    <a:pt x="34" y="6"/>
                  </a:lnTo>
                  <a:lnTo>
                    <a:pt x="34" y="8"/>
                  </a:lnTo>
                  <a:lnTo>
                    <a:pt x="34" y="8"/>
                  </a:lnTo>
                  <a:lnTo>
                    <a:pt x="34" y="8"/>
                  </a:lnTo>
                  <a:lnTo>
                    <a:pt x="34" y="10"/>
                  </a:lnTo>
                  <a:lnTo>
                    <a:pt x="34" y="12"/>
                  </a:lnTo>
                  <a:lnTo>
                    <a:pt x="32" y="12"/>
                  </a:lnTo>
                  <a:lnTo>
                    <a:pt x="32" y="14"/>
                  </a:lnTo>
                  <a:lnTo>
                    <a:pt x="30" y="16"/>
                  </a:lnTo>
                  <a:lnTo>
                    <a:pt x="30" y="16"/>
                  </a:lnTo>
                  <a:lnTo>
                    <a:pt x="30" y="18"/>
                  </a:lnTo>
                  <a:lnTo>
                    <a:pt x="28" y="18"/>
                  </a:lnTo>
                  <a:lnTo>
                    <a:pt x="28" y="18"/>
                  </a:lnTo>
                  <a:lnTo>
                    <a:pt x="26" y="18"/>
                  </a:lnTo>
                  <a:lnTo>
                    <a:pt x="24" y="18"/>
                  </a:lnTo>
                  <a:lnTo>
                    <a:pt x="20" y="20"/>
                  </a:lnTo>
                  <a:lnTo>
                    <a:pt x="18" y="20"/>
                  </a:lnTo>
                  <a:lnTo>
                    <a:pt x="16" y="18"/>
                  </a:lnTo>
                  <a:lnTo>
                    <a:pt x="14" y="18"/>
                  </a:lnTo>
                  <a:lnTo>
                    <a:pt x="12" y="18"/>
                  </a:lnTo>
                  <a:lnTo>
                    <a:pt x="10" y="18"/>
                  </a:lnTo>
                  <a:lnTo>
                    <a:pt x="8" y="18"/>
                  </a:lnTo>
                  <a:lnTo>
                    <a:pt x="8" y="16"/>
                  </a:lnTo>
                  <a:lnTo>
                    <a:pt x="6" y="16"/>
                  </a:lnTo>
                  <a:lnTo>
                    <a:pt x="4" y="14"/>
                  </a:lnTo>
                  <a:lnTo>
                    <a:pt x="2" y="14"/>
                  </a:lnTo>
                  <a:lnTo>
                    <a:pt x="2" y="12"/>
                  </a:lnTo>
                  <a:lnTo>
                    <a:pt x="2" y="12"/>
                  </a:lnTo>
                  <a:lnTo>
                    <a:pt x="0" y="12"/>
                  </a:lnTo>
                  <a:lnTo>
                    <a:pt x="0" y="10"/>
                  </a:lnTo>
                  <a:lnTo>
                    <a:pt x="0" y="10"/>
                  </a:lnTo>
                  <a:lnTo>
                    <a:pt x="0" y="10"/>
                  </a:lnTo>
                  <a:lnTo>
                    <a:pt x="2" y="8"/>
                  </a:lnTo>
                  <a:lnTo>
                    <a:pt x="2" y="8"/>
                  </a:lnTo>
                  <a:lnTo>
                    <a:pt x="4" y="6"/>
                  </a:lnTo>
                  <a:lnTo>
                    <a:pt x="4" y="4"/>
                  </a:lnTo>
                  <a:lnTo>
                    <a:pt x="6" y="2"/>
                  </a:lnTo>
                  <a:lnTo>
                    <a:pt x="8" y="2"/>
                  </a:lnTo>
                  <a:lnTo>
                    <a:pt x="8"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0" name="Freeform 505">
              <a:extLst>
                <a:ext uri="{FF2B5EF4-FFF2-40B4-BE49-F238E27FC236}">
                  <a16:creationId xmlns:a16="http://schemas.microsoft.com/office/drawing/2014/main" id="{23728992-2699-4F55-BD79-47217A6DAE34}"/>
                </a:ext>
              </a:extLst>
            </p:cNvPr>
            <p:cNvSpPr>
              <a:spLocks/>
            </p:cNvSpPr>
            <p:nvPr/>
          </p:nvSpPr>
          <p:spPr bwMode="auto">
            <a:xfrm>
              <a:off x="2339680" y="4119660"/>
              <a:ext cx="58891" cy="34641"/>
            </a:xfrm>
            <a:custGeom>
              <a:avLst/>
              <a:gdLst>
                <a:gd name="T0" fmla="*/ 8 w 34"/>
                <a:gd name="T1" fmla="*/ 2 h 20"/>
                <a:gd name="T2" fmla="*/ 8 w 34"/>
                <a:gd name="T3" fmla="*/ 2 h 20"/>
                <a:gd name="T4" fmla="*/ 10 w 34"/>
                <a:gd name="T5" fmla="*/ 0 h 20"/>
                <a:gd name="T6" fmla="*/ 10 w 34"/>
                <a:gd name="T7" fmla="*/ 0 h 20"/>
                <a:gd name="T8" fmla="*/ 12 w 34"/>
                <a:gd name="T9" fmla="*/ 0 h 20"/>
                <a:gd name="T10" fmla="*/ 14 w 34"/>
                <a:gd name="T11" fmla="*/ 0 h 20"/>
                <a:gd name="T12" fmla="*/ 18 w 34"/>
                <a:gd name="T13" fmla="*/ 0 h 20"/>
                <a:gd name="T14" fmla="*/ 20 w 34"/>
                <a:gd name="T15" fmla="*/ 2 h 20"/>
                <a:gd name="T16" fmla="*/ 24 w 34"/>
                <a:gd name="T17" fmla="*/ 2 h 20"/>
                <a:gd name="T18" fmla="*/ 26 w 34"/>
                <a:gd name="T19" fmla="*/ 2 h 20"/>
                <a:gd name="T20" fmla="*/ 28 w 34"/>
                <a:gd name="T21" fmla="*/ 4 h 20"/>
                <a:gd name="T22" fmla="*/ 30 w 34"/>
                <a:gd name="T23" fmla="*/ 4 h 20"/>
                <a:gd name="T24" fmla="*/ 32 w 34"/>
                <a:gd name="T25" fmla="*/ 4 h 20"/>
                <a:gd name="T26" fmla="*/ 32 w 34"/>
                <a:gd name="T27" fmla="*/ 6 h 20"/>
                <a:gd name="T28" fmla="*/ 34 w 34"/>
                <a:gd name="T29" fmla="*/ 6 h 20"/>
                <a:gd name="T30" fmla="*/ 34 w 34"/>
                <a:gd name="T31" fmla="*/ 6 h 20"/>
                <a:gd name="T32" fmla="*/ 34 w 34"/>
                <a:gd name="T33" fmla="*/ 8 h 20"/>
                <a:gd name="T34" fmla="*/ 34 w 34"/>
                <a:gd name="T35" fmla="*/ 8 h 20"/>
                <a:gd name="T36" fmla="*/ 34 w 34"/>
                <a:gd name="T37" fmla="*/ 8 h 20"/>
                <a:gd name="T38" fmla="*/ 34 w 34"/>
                <a:gd name="T39" fmla="*/ 10 h 20"/>
                <a:gd name="T40" fmla="*/ 34 w 34"/>
                <a:gd name="T41" fmla="*/ 12 h 20"/>
                <a:gd name="T42" fmla="*/ 32 w 34"/>
                <a:gd name="T43" fmla="*/ 12 h 20"/>
                <a:gd name="T44" fmla="*/ 32 w 34"/>
                <a:gd name="T45" fmla="*/ 14 h 20"/>
                <a:gd name="T46" fmla="*/ 30 w 34"/>
                <a:gd name="T47" fmla="*/ 16 h 20"/>
                <a:gd name="T48" fmla="*/ 30 w 34"/>
                <a:gd name="T49" fmla="*/ 16 h 20"/>
                <a:gd name="T50" fmla="*/ 30 w 34"/>
                <a:gd name="T51" fmla="*/ 18 h 20"/>
                <a:gd name="T52" fmla="*/ 28 w 34"/>
                <a:gd name="T53" fmla="*/ 18 h 20"/>
                <a:gd name="T54" fmla="*/ 28 w 34"/>
                <a:gd name="T55" fmla="*/ 18 h 20"/>
                <a:gd name="T56" fmla="*/ 26 w 34"/>
                <a:gd name="T57" fmla="*/ 18 h 20"/>
                <a:gd name="T58" fmla="*/ 24 w 34"/>
                <a:gd name="T59" fmla="*/ 18 h 20"/>
                <a:gd name="T60" fmla="*/ 20 w 34"/>
                <a:gd name="T61" fmla="*/ 20 h 20"/>
                <a:gd name="T62" fmla="*/ 18 w 34"/>
                <a:gd name="T63" fmla="*/ 20 h 20"/>
                <a:gd name="T64" fmla="*/ 16 w 34"/>
                <a:gd name="T65" fmla="*/ 18 h 20"/>
                <a:gd name="T66" fmla="*/ 14 w 34"/>
                <a:gd name="T67" fmla="*/ 18 h 20"/>
                <a:gd name="T68" fmla="*/ 12 w 34"/>
                <a:gd name="T69" fmla="*/ 18 h 20"/>
                <a:gd name="T70" fmla="*/ 10 w 34"/>
                <a:gd name="T71" fmla="*/ 18 h 20"/>
                <a:gd name="T72" fmla="*/ 8 w 34"/>
                <a:gd name="T73" fmla="*/ 18 h 20"/>
                <a:gd name="T74" fmla="*/ 8 w 34"/>
                <a:gd name="T75" fmla="*/ 16 h 20"/>
                <a:gd name="T76" fmla="*/ 6 w 34"/>
                <a:gd name="T77" fmla="*/ 16 h 20"/>
                <a:gd name="T78" fmla="*/ 4 w 34"/>
                <a:gd name="T79" fmla="*/ 14 h 20"/>
                <a:gd name="T80" fmla="*/ 2 w 34"/>
                <a:gd name="T81" fmla="*/ 14 h 20"/>
                <a:gd name="T82" fmla="*/ 2 w 34"/>
                <a:gd name="T83" fmla="*/ 12 h 20"/>
                <a:gd name="T84" fmla="*/ 2 w 34"/>
                <a:gd name="T85" fmla="*/ 12 h 20"/>
                <a:gd name="T86" fmla="*/ 0 w 34"/>
                <a:gd name="T87" fmla="*/ 12 h 20"/>
                <a:gd name="T88" fmla="*/ 0 w 34"/>
                <a:gd name="T89" fmla="*/ 10 h 20"/>
                <a:gd name="T90" fmla="*/ 0 w 34"/>
                <a:gd name="T91" fmla="*/ 10 h 20"/>
                <a:gd name="T92" fmla="*/ 0 w 34"/>
                <a:gd name="T93" fmla="*/ 10 h 20"/>
                <a:gd name="T94" fmla="*/ 2 w 34"/>
                <a:gd name="T95" fmla="*/ 8 h 20"/>
                <a:gd name="T96" fmla="*/ 2 w 34"/>
                <a:gd name="T97" fmla="*/ 8 h 20"/>
                <a:gd name="T98" fmla="*/ 4 w 34"/>
                <a:gd name="T99" fmla="*/ 6 h 20"/>
                <a:gd name="T100" fmla="*/ 4 w 34"/>
                <a:gd name="T101" fmla="*/ 4 h 20"/>
                <a:gd name="T102" fmla="*/ 6 w 34"/>
                <a:gd name="T103" fmla="*/ 2 h 20"/>
                <a:gd name="T104" fmla="*/ 8 w 34"/>
                <a:gd name="T105" fmla="*/ 2 h 20"/>
                <a:gd name="T106" fmla="*/ 8 w 34"/>
                <a:gd name="T10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 h="20">
                  <a:moveTo>
                    <a:pt x="8" y="2"/>
                  </a:moveTo>
                  <a:lnTo>
                    <a:pt x="8" y="2"/>
                  </a:lnTo>
                  <a:lnTo>
                    <a:pt x="10" y="0"/>
                  </a:lnTo>
                  <a:lnTo>
                    <a:pt x="10" y="0"/>
                  </a:lnTo>
                  <a:lnTo>
                    <a:pt x="12" y="0"/>
                  </a:lnTo>
                  <a:lnTo>
                    <a:pt x="14" y="0"/>
                  </a:lnTo>
                  <a:lnTo>
                    <a:pt x="18" y="0"/>
                  </a:lnTo>
                  <a:lnTo>
                    <a:pt x="20" y="2"/>
                  </a:lnTo>
                  <a:lnTo>
                    <a:pt x="24" y="2"/>
                  </a:lnTo>
                  <a:lnTo>
                    <a:pt x="26" y="2"/>
                  </a:lnTo>
                  <a:lnTo>
                    <a:pt x="28" y="4"/>
                  </a:lnTo>
                  <a:lnTo>
                    <a:pt x="30" y="4"/>
                  </a:lnTo>
                  <a:lnTo>
                    <a:pt x="32" y="4"/>
                  </a:lnTo>
                  <a:lnTo>
                    <a:pt x="32" y="6"/>
                  </a:lnTo>
                  <a:lnTo>
                    <a:pt x="34" y="6"/>
                  </a:lnTo>
                  <a:lnTo>
                    <a:pt x="34" y="6"/>
                  </a:lnTo>
                  <a:lnTo>
                    <a:pt x="34" y="8"/>
                  </a:lnTo>
                  <a:lnTo>
                    <a:pt x="34" y="8"/>
                  </a:lnTo>
                  <a:lnTo>
                    <a:pt x="34" y="8"/>
                  </a:lnTo>
                  <a:lnTo>
                    <a:pt x="34" y="10"/>
                  </a:lnTo>
                  <a:lnTo>
                    <a:pt x="34" y="12"/>
                  </a:lnTo>
                  <a:lnTo>
                    <a:pt x="32" y="12"/>
                  </a:lnTo>
                  <a:lnTo>
                    <a:pt x="32" y="14"/>
                  </a:lnTo>
                  <a:lnTo>
                    <a:pt x="30" y="16"/>
                  </a:lnTo>
                  <a:lnTo>
                    <a:pt x="30" y="16"/>
                  </a:lnTo>
                  <a:lnTo>
                    <a:pt x="30" y="18"/>
                  </a:lnTo>
                  <a:lnTo>
                    <a:pt x="28" y="18"/>
                  </a:lnTo>
                  <a:lnTo>
                    <a:pt x="28" y="18"/>
                  </a:lnTo>
                  <a:lnTo>
                    <a:pt x="26" y="18"/>
                  </a:lnTo>
                  <a:lnTo>
                    <a:pt x="24" y="18"/>
                  </a:lnTo>
                  <a:lnTo>
                    <a:pt x="20" y="20"/>
                  </a:lnTo>
                  <a:lnTo>
                    <a:pt x="18" y="20"/>
                  </a:lnTo>
                  <a:lnTo>
                    <a:pt x="16" y="18"/>
                  </a:lnTo>
                  <a:lnTo>
                    <a:pt x="14" y="18"/>
                  </a:lnTo>
                  <a:lnTo>
                    <a:pt x="12" y="18"/>
                  </a:lnTo>
                  <a:lnTo>
                    <a:pt x="10" y="18"/>
                  </a:lnTo>
                  <a:lnTo>
                    <a:pt x="8" y="18"/>
                  </a:lnTo>
                  <a:lnTo>
                    <a:pt x="8" y="16"/>
                  </a:lnTo>
                  <a:lnTo>
                    <a:pt x="6" y="16"/>
                  </a:lnTo>
                  <a:lnTo>
                    <a:pt x="4" y="14"/>
                  </a:lnTo>
                  <a:lnTo>
                    <a:pt x="2" y="14"/>
                  </a:lnTo>
                  <a:lnTo>
                    <a:pt x="2" y="12"/>
                  </a:lnTo>
                  <a:lnTo>
                    <a:pt x="2" y="12"/>
                  </a:lnTo>
                  <a:lnTo>
                    <a:pt x="0" y="12"/>
                  </a:lnTo>
                  <a:lnTo>
                    <a:pt x="0" y="10"/>
                  </a:lnTo>
                  <a:lnTo>
                    <a:pt x="0" y="10"/>
                  </a:lnTo>
                  <a:lnTo>
                    <a:pt x="0" y="10"/>
                  </a:lnTo>
                  <a:lnTo>
                    <a:pt x="2" y="8"/>
                  </a:lnTo>
                  <a:lnTo>
                    <a:pt x="2" y="8"/>
                  </a:lnTo>
                  <a:lnTo>
                    <a:pt x="4" y="6"/>
                  </a:lnTo>
                  <a:lnTo>
                    <a:pt x="4" y="4"/>
                  </a:lnTo>
                  <a:lnTo>
                    <a:pt x="6" y="2"/>
                  </a:lnTo>
                  <a:lnTo>
                    <a:pt x="8" y="2"/>
                  </a:lnTo>
                  <a:lnTo>
                    <a:pt x="8"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1" name="Freeform 506">
              <a:extLst>
                <a:ext uri="{FF2B5EF4-FFF2-40B4-BE49-F238E27FC236}">
                  <a16:creationId xmlns:a16="http://schemas.microsoft.com/office/drawing/2014/main" id="{4C86FAA2-4FA6-4F55-BA0E-02813C11F523}"/>
                </a:ext>
              </a:extLst>
            </p:cNvPr>
            <p:cNvSpPr>
              <a:spLocks/>
            </p:cNvSpPr>
            <p:nvPr/>
          </p:nvSpPr>
          <p:spPr bwMode="auto">
            <a:xfrm>
              <a:off x="2502495" y="4074626"/>
              <a:ext cx="96996" cy="69283"/>
            </a:xfrm>
            <a:custGeom>
              <a:avLst/>
              <a:gdLst>
                <a:gd name="T0" fmla="*/ 0 w 56"/>
                <a:gd name="T1" fmla="*/ 40 h 40"/>
                <a:gd name="T2" fmla="*/ 4 w 56"/>
                <a:gd name="T3" fmla="*/ 32 h 40"/>
                <a:gd name="T4" fmla="*/ 4 w 56"/>
                <a:gd name="T5" fmla="*/ 28 h 40"/>
                <a:gd name="T6" fmla="*/ 6 w 56"/>
                <a:gd name="T7" fmla="*/ 24 h 40"/>
                <a:gd name="T8" fmla="*/ 6 w 56"/>
                <a:gd name="T9" fmla="*/ 18 h 40"/>
                <a:gd name="T10" fmla="*/ 4 w 56"/>
                <a:gd name="T11" fmla="*/ 8 h 40"/>
                <a:gd name="T12" fmla="*/ 6 w 56"/>
                <a:gd name="T13" fmla="*/ 0 h 40"/>
                <a:gd name="T14" fmla="*/ 12 w 56"/>
                <a:gd name="T15" fmla="*/ 2 h 40"/>
                <a:gd name="T16" fmla="*/ 16 w 56"/>
                <a:gd name="T17" fmla="*/ 2 h 40"/>
                <a:gd name="T18" fmla="*/ 18 w 56"/>
                <a:gd name="T19" fmla="*/ 4 h 40"/>
                <a:gd name="T20" fmla="*/ 20 w 56"/>
                <a:gd name="T21" fmla="*/ 6 h 40"/>
                <a:gd name="T22" fmla="*/ 22 w 56"/>
                <a:gd name="T23" fmla="*/ 8 h 40"/>
                <a:gd name="T24" fmla="*/ 24 w 56"/>
                <a:gd name="T25" fmla="*/ 10 h 40"/>
                <a:gd name="T26" fmla="*/ 28 w 56"/>
                <a:gd name="T27" fmla="*/ 12 h 40"/>
                <a:gd name="T28" fmla="*/ 30 w 56"/>
                <a:gd name="T29" fmla="*/ 12 h 40"/>
                <a:gd name="T30" fmla="*/ 32 w 56"/>
                <a:gd name="T31" fmla="*/ 12 h 40"/>
                <a:gd name="T32" fmla="*/ 36 w 56"/>
                <a:gd name="T33" fmla="*/ 12 h 40"/>
                <a:gd name="T34" fmla="*/ 36 w 56"/>
                <a:gd name="T35" fmla="*/ 12 h 40"/>
                <a:gd name="T36" fmla="*/ 36 w 56"/>
                <a:gd name="T37" fmla="*/ 14 h 40"/>
                <a:gd name="T38" fmla="*/ 38 w 56"/>
                <a:gd name="T39" fmla="*/ 16 h 40"/>
                <a:gd name="T40" fmla="*/ 38 w 56"/>
                <a:gd name="T41" fmla="*/ 20 h 40"/>
                <a:gd name="T42" fmla="*/ 38 w 56"/>
                <a:gd name="T43" fmla="*/ 22 h 40"/>
                <a:gd name="T44" fmla="*/ 42 w 56"/>
                <a:gd name="T45" fmla="*/ 22 h 40"/>
                <a:gd name="T46" fmla="*/ 46 w 56"/>
                <a:gd name="T47" fmla="*/ 24 h 40"/>
                <a:gd name="T48" fmla="*/ 52 w 56"/>
                <a:gd name="T49" fmla="*/ 28 h 40"/>
                <a:gd name="T50" fmla="*/ 54 w 56"/>
                <a:gd name="T51" fmla="*/ 30 h 40"/>
                <a:gd name="T52" fmla="*/ 56 w 56"/>
                <a:gd name="T53" fmla="*/ 30 h 40"/>
                <a:gd name="T54" fmla="*/ 56 w 56"/>
                <a:gd name="T55" fmla="*/ 32 h 40"/>
                <a:gd name="T56" fmla="*/ 56 w 56"/>
                <a:gd name="T57" fmla="*/ 34 h 40"/>
                <a:gd name="T58" fmla="*/ 54 w 56"/>
                <a:gd name="T59" fmla="*/ 36 h 40"/>
                <a:gd name="T60" fmla="*/ 52 w 56"/>
                <a:gd name="T61" fmla="*/ 38 h 40"/>
                <a:gd name="T62" fmla="*/ 50 w 56"/>
                <a:gd name="T63" fmla="*/ 38 h 40"/>
                <a:gd name="T64" fmla="*/ 46 w 56"/>
                <a:gd name="T65" fmla="*/ 38 h 40"/>
                <a:gd name="T66" fmla="*/ 38 w 56"/>
                <a:gd name="T67" fmla="*/ 38 h 40"/>
                <a:gd name="T68" fmla="*/ 28 w 56"/>
                <a:gd name="T69" fmla="*/ 38 h 40"/>
                <a:gd name="T70" fmla="*/ 20 w 56"/>
                <a:gd name="T71" fmla="*/ 38 h 40"/>
                <a:gd name="T72" fmla="*/ 14 w 56"/>
                <a:gd name="T73" fmla="*/ 38 h 40"/>
                <a:gd name="T74" fmla="*/ 0 w 56"/>
                <a:gd name="T7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40">
                  <a:moveTo>
                    <a:pt x="0" y="40"/>
                  </a:moveTo>
                  <a:lnTo>
                    <a:pt x="0" y="40"/>
                  </a:lnTo>
                  <a:lnTo>
                    <a:pt x="2" y="36"/>
                  </a:lnTo>
                  <a:lnTo>
                    <a:pt x="4" y="32"/>
                  </a:lnTo>
                  <a:lnTo>
                    <a:pt x="4" y="30"/>
                  </a:lnTo>
                  <a:lnTo>
                    <a:pt x="4" y="28"/>
                  </a:lnTo>
                  <a:lnTo>
                    <a:pt x="6" y="26"/>
                  </a:lnTo>
                  <a:lnTo>
                    <a:pt x="6" y="24"/>
                  </a:lnTo>
                  <a:lnTo>
                    <a:pt x="6" y="22"/>
                  </a:lnTo>
                  <a:lnTo>
                    <a:pt x="6" y="18"/>
                  </a:lnTo>
                  <a:lnTo>
                    <a:pt x="4" y="12"/>
                  </a:lnTo>
                  <a:lnTo>
                    <a:pt x="4" y="8"/>
                  </a:lnTo>
                  <a:lnTo>
                    <a:pt x="4" y="0"/>
                  </a:lnTo>
                  <a:lnTo>
                    <a:pt x="6" y="0"/>
                  </a:lnTo>
                  <a:lnTo>
                    <a:pt x="10" y="2"/>
                  </a:lnTo>
                  <a:lnTo>
                    <a:pt x="12" y="2"/>
                  </a:lnTo>
                  <a:lnTo>
                    <a:pt x="14" y="2"/>
                  </a:lnTo>
                  <a:lnTo>
                    <a:pt x="16" y="2"/>
                  </a:lnTo>
                  <a:lnTo>
                    <a:pt x="18" y="4"/>
                  </a:lnTo>
                  <a:lnTo>
                    <a:pt x="18" y="4"/>
                  </a:lnTo>
                  <a:lnTo>
                    <a:pt x="20" y="4"/>
                  </a:lnTo>
                  <a:lnTo>
                    <a:pt x="20" y="6"/>
                  </a:lnTo>
                  <a:lnTo>
                    <a:pt x="22" y="8"/>
                  </a:lnTo>
                  <a:lnTo>
                    <a:pt x="22" y="8"/>
                  </a:lnTo>
                  <a:lnTo>
                    <a:pt x="24" y="10"/>
                  </a:lnTo>
                  <a:lnTo>
                    <a:pt x="24" y="10"/>
                  </a:lnTo>
                  <a:lnTo>
                    <a:pt x="26" y="10"/>
                  </a:lnTo>
                  <a:lnTo>
                    <a:pt x="28" y="12"/>
                  </a:lnTo>
                  <a:lnTo>
                    <a:pt x="30" y="12"/>
                  </a:lnTo>
                  <a:lnTo>
                    <a:pt x="30" y="12"/>
                  </a:lnTo>
                  <a:lnTo>
                    <a:pt x="30" y="12"/>
                  </a:lnTo>
                  <a:lnTo>
                    <a:pt x="32" y="12"/>
                  </a:lnTo>
                  <a:lnTo>
                    <a:pt x="34" y="12"/>
                  </a:lnTo>
                  <a:lnTo>
                    <a:pt x="36" y="12"/>
                  </a:lnTo>
                  <a:lnTo>
                    <a:pt x="36" y="12"/>
                  </a:lnTo>
                  <a:lnTo>
                    <a:pt x="36" y="12"/>
                  </a:lnTo>
                  <a:lnTo>
                    <a:pt x="36" y="12"/>
                  </a:lnTo>
                  <a:lnTo>
                    <a:pt x="36" y="14"/>
                  </a:lnTo>
                  <a:lnTo>
                    <a:pt x="36" y="14"/>
                  </a:lnTo>
                  <a:lnTo>
                    <a:pt x="38" y="16"/>
                  </a:lnTo>
                  <a:lnTo>
                    <a:pt x="38" y="18"/>
                  </a:lnTo>
                  <a:lnTo>
                    <a:pt x="38" y="20"/>
                  </a:lnTo>
                  <a:lnTo>
                    <a:pt x="38" y="20"/>
                  </a:lnTo>
                  <a:lnTo>
                    <a:pt x="38" y="22"/>
                  </a:lnTo>
                  <a:lnTo>
                    <a:pt x="40" y="22"/>
                  </a:lnTo>
                  <a:lnTo>
                    <a:pt x="42" y="22"/>
                  </a:lnTo>
                  <a:lnTo>
                    <a:pt x="44" y="24"/>
                  </a:lnTo>
                  <a:lnTo>
                    <a:pt x="46" y="24"/>
                  </a:lnTo>
                  <a:lnTo>
                    <a:pt x="48" y="26"/>
                  </a:lnTo>
                  <a:lnTo>
                    <a:pt x="52" y="28"/>
                  </a:lnTo>
                  <a:lnTo>
                    <a:pt x="54" y="28"/>
                  </a:lnTo>
                  <a:lnTo>
                    <a:pt x="54" y="30"/>
                  </a:lnTo>
                  <a:lnTo>
                    <a:pt x="56" y="30"/>
                  </a:lnTo>
                  <a:lnTo>
                    <a:pt x="56" y="30"/>
                  </a:lnTo>
                  <a:lnTo>
                    <a:pt x="56" y="32"/>
                  </a:lnTo>
                  <a:lnTo>
                    <a:pt x="56" y="32"/>
                  </a:lnTo>
                  <a:lnTo>
                    <a:pt x="56" y="32"/>
                  </a:lnTo>
                  <a:lnTo>
                    <a:pt x="56" y="34"/>
                  </a:lnTo>
                  <a:lnTo>
                    <a:pt x="54" y="34"/>
                  </a:lnTo>
                  <a:lnTo>
                    <a:pt x="54" y="36"/>
                  </a:lnTo>
                  <a:lnTo>
                    <a:pt x="52" y="36"/>
                  </a:lnTo>
                  <a:lnTo>
                    <a:pt x="52" y="38"/>
                  </a:lnTo>
                  <a:lnTo>
                    <a:pt x="52" y="38"/>
                  </a:lnTo>
                  <a:lnTo>
                    <a:pt x="50" y="38"/>
                  </a:lnTo>
                  <a:lnTo>
                    <a:pt x="48" y="38"/>
                  </a:lnTo>
                  <a:lnTo>
                    <a:pt x="46" y="38"/>
                  </a:lnTo>
                  <a:lnTo>
                    <a:pt x="42" y="38"/>
                  </a:lnTo>
                  <a:lnTo>
                    <a:pt x="38" y="38"/>
                  </a:lnTo>
                  <a:lnTo>
                    <a:pt x="34" y="38"/>
                  </a:lnTo>
                  <a:lnTo>
                    <a:pt x="28" y="38"/>
                  </a:lnTo>
                  <a:lnTo>
                    <a:pt x="22" y="38"/>
                  </a:lnTo>
                  <a:lnTo>
                    <a:pt x="20" y="38"/>
                  </a:lnTo>
                  <a:lnTo>
                    <a:pt x="18" y="38"/>
                  </a:lnTo>
                  <a:lnTo>
                    <a:pt x="14" y="38"/>
                  </a:lnTo>
                  <a:lnTo>
                    <a:pt x="8" y="38"/>
                  </a:lnTo>
                  <a:lnTo>
                    <a:pt x="0" y="4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2" name="Freeform 507">
              <a:extLst>
                <a:ext uri="{FF2B5EF4-FFF2-40B4-BE49-F238E27FC236}">
                  <a16:creationId xmlns:a16="http://schemas.microsoft.com/office/drawing/2014/main" id="{4B1E051A-7272-4D9E-91DE-F1922E51CE38}"/>
                </a:ext>
              </a:extLst>
            </p:cNvPr>
            <p:cNvSpPr>
              <a:spLocks/>
            </p:cNvSpPr>
            <p:nvPr/>
          </p:nvSpPr>
          <p:spPr bwMode="auto">
            <a:xfrm>
              <a:off x="2502495" y="4074626"/>
              <a:ext cx="96996" cy="69283"/>
            </a:xfrm>
            <a:custGeom>
              <a:avLst/>
              <a:gdLst>
                <a:gd name="T0" fmla="*/ 0 w 56"/>
                <a:gd name="T1" fmla="*/ 40 h 40"/>
                <a:gd name="T2" fmla="*/ 4 w 56"/>
                <a:gd name="T3" fmla="*/ 32 h 40"/>
                <a:gd name="T4" fmla="*/ 4 w 56"/>
                <a:gd name="T5" fmla="*/ 28 h 40"/>
                <a:gd name="T6" fmla="*/ 6 w 56"/>
                <a:gd name="T7" fmla="*/ 24 h 40"/>
                <a:gd name="T8" fmla="*/ 6 w 56"/>
                <a:gd name="T9" fmla="*/ 18 h 40"/>
                <a:gd name="T10" fmla="*/ 4 w 56"/>
                <a:gd name="T11" fmla="*/ 8 h 40"/>
                <a:gd name="T12" fmla="*/ 6 w 56"/>
                <a:gd name="T13" fmla="*/ 0 h 40"/>
                <a:gd name="T14" fmla="*/ 12 w 56"/>
                <a:gd name="T15" fmla="*/ 2 h 40"/>
                <a:gd name="T16" fmla="*/ 16 w 56"/>
                <a:gd name="T17" fmla="*/ 2 h 40"/>
                <a:gd name="T18" fmla="*/ 18 w 56"/>
                <a:gd name="T19" fmla="*/ 4 h 40"/>
                <a:gd name="T20" fmla="*/ 20 w 56"/>
                <a:gd name="T21" fmla="*/ 6 h 40"/>
                <a:gd name="T22" fmla="*/ 22 w 56"/>
                <a:gd name="T23" fmla="*/ 8 h 40"/>
                <a:gd name="T24" fmla="*/ 24 w 56"/>
                <a:gd name="T25" fmla="*/ 10 h 40"/>
                <a:gd name="T26" fmla="*/ 28 w 56"/>
                <a:gd name="T27" fmla="*/ 12 h 40"/>
                <a:gd name="T28" fmla="*/ 30 w 56"/>
                <a:gd name="T29" fmla="*/ 12 h 40"/>
                <a:gd name="T30" fmla="*/ 32 w 56"/>
                <a:gd name="T31" fmla="*/ 12 h 40"/>
                <a:gd name="T32" fmla="*/ 36 w 56"/>
                <a:gd name="T33" fmla="*/ 12 h 40"/>
                <a:gd name="T34" fmla="*/ 36 w 56"/>
                <a:gd name="T35" fmla="*/ 12 h 40"/>
                <a:gd name="T36" fmla="*/ 36 w 56"/>
                <a:gd name="T37" fmla="*/ 14 h 40"/>
                <a:gd name="T38" fmla="*/ 38 w 56"/>
                <a:gd name="T39" fmla="*/ 16 h 40"/>
                <a:gd name="T40" fmla="*/ 38 w 56"/>
                <a:gd name="T41" fmla="*/ 20 h 40"/>
                <a:gd name="T42" fmla="*/ 38 w 56"/>
                <a:gd name="T43" fmla="*/ 22 h 40"/>
                <a:gd name="T44" fmla="*/ 42 w 56"/>
                <a:gd name="T45" fmla="*/ 22 h 40"/>
                <a:gd name="T46" fmla="*/ 46 w 56"/>
                <a:gd name="T47" fmla="*/ 24 h 40"/>
                <a:gd name="T48" fmla="*/ 52 w 56"/>
                <a:gd name="T49" fmla="*/ 28 h 40"/>
                <a:gd name="T50" fmla="*/ 54 w 56"/>
                <a:gd name="T51" fmla="*/ 30 h 40"/>
                <a:gd name="T52" fmla="*/ 56 w 56"/>
                <a:gd name="T53" fmla="*/ 30 h 40"/>
                <a:gd name="T54" fmla="*/ 56 w 56"/>
                <a:gd name="T55" fmla="*/ 32 h 40"/>
                <a:gd name="T56" fmla="*/ 56 w 56"/>
                <a:gd name="T57" fmla="*/ 34 h 40"/>
                <a:gd name="T58" fmla="*/ 54 w 56"/>
                <a:gd name="T59" fmla="*/ 36 h 40"/>
                <a:gd name="T60" fmla="*/ 52 w 56"/>
                <a:gd name="T61" fmla="*/ 38 h 40"/>
                <a:gd name="T62" fmla="*/ 50 w 56"/>
                <a:gd name="T63" fmla="*/ 38 h 40"/>
                <a:gd name="T64" fmla="*/ 46 w 56"/>
                <a:gd name="T65" fmla="*/ 38 h 40"/>
                <a:gd name="T66" fmla="*/ 38 w 56"/>
                <a:gd name="T67" fmla="*/ 38 h 40"/>
                <a:gd name="T68" fmla="*/ 28 w 56"/>
                <a:gd name="T69" fmla="*/ 38 h 40"/>
                <a:gd name="T70" fmla="*/ 20 w 56"/>
                <a:gd name="T71" fmla="*/ 38 h 40"/>
                <a:gd name="T72" fmla="*/ 14 w 56"/>
                <a:gd name="T73" fmla="*/ 38 h 40"/>
                <a:gd name="T74" fmla="*/ 0 w 56"/>
                <a:gd name="T7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40">
                  <a:moveTo>
                    <a:pt x="0" y="40"/>
                  </a:moveTo>
                  <a:lnTo>
                    <a:pt x="0" y="40"/>
                  </a:lnTo>
                  <a:lnTo>
                    <a:pt x="2" y="36"/>
                  </a:lnTo>
                  <a:lnTo>
                    <a:pt x="4" y="32"/>
                  </a:lnTo>
                  <a:lnTo>
                    <a:pt x="4" y="30"/>
                  </a:lnTo>
                  <a:lnTo>
                    <a:pt x="4" y="28"/>
                  </a:lnTo>
                  <a:lnTo>
                    <a:pt x="6" y="26"/>
                  </a:lnTo>
                  <a:lnTo>
                    <a:pt x="6" y="24"/>
                  </a:lnTo>
                  <a:lnTo>
                    <a:pt x="6" y="22"/>
                  </a:lnTo>
                  <a:lnTo>
                    <a:pt x="6" y="18"/>
                  </a:lnTo>
                  <a:lnTo>
                    <a:pt x="4" y="12"/>
                  </a:lnTo>
                  <a:lnTo>
                    <a:pt x="4" y="8"/>
                  </a:lnTo>
                  <a:lnTo>
                    <a:pt x="4" y="0"/>
                  </a:lnTo>
                  <a:lnTo>
                    <a:pt x="6" y="0"/>
                  </a:lnTo>
                  <a:lnTo>
                    <a:pt x="10" y="2"/>
                  </a:lnTo>
                  <a:lnTo>
                    <a:pt x="12" y="2"/>
                  </a:lnTo>
                  <a:lnTo>
                    <a:pt x="14" y="2"/>
                  </a:lnTo>
                  <a:lnTo>
                    <a:pt x="16" y="2"/>
                  </a:lnTo>
                  <a:lnTo>
                    <a:pt x="18" y="4"/>
                  </a:lnTo>
                  <a:lnTo>
                    <a:pt x="18" y="4"/>
                  </a:lnTo>
                  <a:lnTo>
                    <a:pt x="20" y="4"/>
                  </a:lnTo>
                  <a:lnTo>
                    <a:pt x="20" y="6"/>
                  </a:lnTo>
                  <a:lnTo>
                    <a:pt x="22" y="8"/>
                  </a:lnTo>
                  <a:lnTo>
                    <a:pt x="22" y="8"/>
                  </a:lnTo>
                  <a:lnTo>
                    <a:pt x="24" y="10"/>
                  </a:lnTo>
                  <a:lnTo>
                    <a:pt x="24" y="10"/>
                  </a:lnTo>
                  <a:lnTo>
                    <a:pt x="26" y="10"/>
                  </a:lnTo>
                  <a:lnTo>
                    <a:pt x="28" y="12"/>
                  </a:lnTo>
                  <a:lnTo>
                    <a:pt x="30" y="12"/>
                  </a:lnTo>
                  <a:lnTo>
                    <a:pt x="30" y="12"/>
                  </a:lnTo>
                  <a:lnTo>
                    <a:pt x="30" y="12"/>
                  </a:lnTo>
                  <a:lnTo>
                    <a:pt x="32" y="12"/>
                  </a:lnTo>
                  <a:lnTo>
                    <a:pt x="34" y="12"/>
                  </a:lnTo>
                  <a:lnTo>
                    <a:pt x="36" y="12"/>
                  </a:lnTo>
                  <a:lnTo>
                    <a:pt x="36" y="12"/>
                  </a:lnTo>
                  <a:lnTo>
                    <a:pt x="36" y="12"/>
                  </a:lnTo>
                  <a:lnTo>
                    <a:pt x="36" y="12"/>
                  </a:lnTo>
                  <a:lnTo>
                    <a:pt x="36" y="14"/>
                  </a:lnTo>
                  <a:lnTo>
                    <a:pt x="36" y="14"/>
                  </a:lnTo>
                  <a:lnTo>
                    <a:pt x="38" y="16"/>
                  </a:lnTo>
                  <a:lnTo>
                    <a:pt x="38" y="18"/>
                  </a:lnTo>
                  <a:lnTo>
                    <a:pt x="38" y="20"/>
                  </a:lnTo>
                  <a:lnTo>
                    <a:pt x="38" y="20"/>
                  </a:lnTo>
                  <a:lnTo>
                    <a:pt x="38" y="22"/>
                  </a:lnTo>
                  <a:lnTo>
                    <a:pt x="40" y="22"/>
                  </a:lnTo>
                  <a:lnTo>
                    <a:pt x="42" y="22"/>
                  </a:lnTo>
                  <a:lnTo>
                    <a:pt x="44" y="24"/>
                  </a:lnTo>
                  <a:lnTo>
                    <a:pt x="46" y="24"/>
                  </a:lnTo>
                  <a:lnTo>
                    <a:pt x="48" y="26"/>
                  </a:lnTo>
                  <a:lnTo>
                    <a:pt x="52" y="28"/>
                  </a:lnTo>
                  <a:lnTo>
                    <a:pt x="54" y="28"/>
                  </a:lnTo>
                  <a:lnTo>
                    <a:pt x="54" y="30"/>
                  </a:lnTo>
                  <a:lnTo>
                    <a:pt x="56" y="30"/>
                  </a:lnTo>
                  <a:lnTo>
                    <a:pt x="56" y="30"/>
                  </a:lnTo>
                  <a:lnTo>
                    <a:pt x="56" y="32"/>
                  </a:lnTo>
                  <a:lnTo>
                    <a:pt x="56" y="32"/>
                  </a:lnTo>
                  <a:lnTo>
                    <a:pt x="56" y="32"/>
                  </a:lnTo>
                  <a:lnTo>
                    <a:pt x="56" y="34"/>
                  </a:lnTo>
                  <a:lnTo>
                    <a:pt x="54" y="34"/>
                  </a:lnTo>
                  <a:lnTo>
                    <a:pt x="54" y="36"/>
                  </a:lnTo>
                  <a:lnTo>
                    <a:pt x="52" y="36"/>
                  </a:lnTo>
                  <a:lnTo>
                    <a:pt x="52" y="38"/>
                  </a:lnTo>
                  <a:lnTo>
                    <a:pt x="52" y="38"/>
                  </a:lnTo>
                  <a:lnTo>
                    <a:pt x="50" y="38"/>
                  </a:lnTo>
                  <a:lnTo>
                    <a:pt x="48" y="38"/>
                  </a:lnTo>
                  <a:lnTo>
                    <a:pt x="46" y="38"/>
                  </a:lnTo>
                  <a:lnTo>
                    <a:pt x="42" y="38"/>
                  </a:lnTo>
                  <a:lnTo>
                    <a:pt x="38" y="38"/>
                  </a:lnTo>
                  <a:lnTo>
                    <a:pt x="34" y="38"/>
                  </a:lnTo>
                  <a:lnTo>
                    <a:pt x="28" y="38"/>
                  </a:lnTo>
                  <a:lnTo>
                    <a:pt x="22" y="38"/>
                  </a:lnTo>
                  <a:lnTo>
                    <a:pt x="20" y="38"/>
                  </a:lnTo>
                  <a:lnTo>
                    <a:pt x="18" y="38"/>
                  </a:lnTo>
                  <a:lnTo>
                    <a:pt x="14" y="38"/>
                  </a:lnTo>
                  <a:lnTo>
                    <a:pt x="8" y="38"/>
                  </a:lnTo>
                  <a:lnTo>
                    <a:pt x="0" y="4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3" name="Freeform 508">
              <a:extLst>
                <a:ext uri="{FF2B5EF4-FFF2-40B4-BE49-F238E27FC236}">
                  <a16:creationId xmlns:a16="http://schemas.microsoft.com/office/drawing/2014/main" id="{5783E3DC-AE22-4530-9709-93E5D2B584C0}"/>
                </a:ext>
              </a:extLst>
            </p:cNvPr>
            <p:cNvSpPr>
              <a:spLocks/>
            </p:cNvSpPr>
            <p:nvPr/>
          </p:nvSpPr>
          <p:spPr bwMode="auto">
            <a:xfrm>
              <a:off x="2616812" y="4119660"/>
              <a:ext cx="41570" cy="27713"/>
            </a:xfrm>
            <a:custGeom>
              <a:avLst/>
              <a:gdLst>
                <a:gd name="T0" fmla="*/ 8 w 24"/>
                <a:gd name="T1" fmla="*/ 2 h 16"/>
                <a:gd name="T2" fmla="*/ 8 w 24"/>
                <a:gd name="T3" fmla="*/ 2 h 16"/>
                <a:gd name="T4" fmla="*/ 6 w 24"/>
                <a:gd name="T5" fmla="*/ 4 h 16"/>
                <a:gd name="T6" fmla="*/ 2 w 24"/>
                <a:gd name="T7" fmla="*/ 4 h 16"/>
                <a:gd name="T8" fmla="*/ 2 w 24"/>
                <a:gd name="T9" fmla="*/ 6 h 16"/>
                <a:gd name="T10" fmla="*/ 0 w 24"/>
                <a:gd name="T11" fmla="*/ 6 h 16"/>
                <a:gd name="T12" fmla="*/ 0 w 24"/>
                <a:gd name="T13" fmla="*/ 8 h 16"/>
                <a:gd name="T14" fmla="*/ 0 w 24"/>
                <a:gd name="T15" fmla="*/ 8 h 16"/>
                <a:gd name="T16" fmla="*/ 0 w 24"/>
                <a:gd name="T17" fmla="*/ 8 h 16"/>
                <a:gd name="T18" fmla="*/ 0 w 24"/>
                <a:gd name="T19" fmla="*/ 8 h 16"/>
                <a:gd name="T20" fmla="*/ 0 w 24"/>
                <a:gd name="T21" fmla="*/ 10 h 16"/>
                <a:gd name="T22" fmla="*/ 0 w 24"/>
                <a:gd name="T23" fmla="*/ 10 h 16"/>
                <a:gd name="T24" fmla="*/ 2 w 24"/>
                <a:gd name="T25" fmla="*/ 10 h 16"/>
                <a:gd name="T26" fmla="*/ 4 w 24"/>
                <a:gd name="T27" fmla="*/ 12 h 16"/>
                <a:gd name="T28" fmla="*/ 6 w 24"/>
                <a:gd name="T29" fmla="*/ 12 h 16"/>
                <a:gd name="T30" fmla="*/ 8 w 24"/>
                <a:gd name="T31" fmla="*/ 14 h 16"/>
                <a:gd name="T32" fmla="*/ 10 w 24"/>
                <a:gd name="T33" fmla="*/ 14 h 16"/>
                <a:gd name="T34" fmla="*/ 12 w 24"/>
                <a:gd name="T35" fmla="*/ 16 h 16"/>
                <a:gd name="T36" fmla="*/ 12 w 24"/>
                <a:gd name="T37" fmla="*/ 16 h 16"/>
                <a:gd name="T38" fmla="*/ 14 w 24"/>
                <a:gd name="T39" fmla="*/ 16 h 16"/>
                <a:gd name="T40" fmla="*/ 14 w 24"/>
                <a:gd name="T41" fmla="*/ 16 h 16"/>
                <a:gd name="T42" fmla="*/ 16 w 24"/>
                <a:gd name="T43" fmla="*/ 16 h 16"/>
                <a:gd name="T44" fmla="*/ 16 w 24"/>
                <a:gd name="T45" fmla="*/ 16 h 16"/>
                <a:gd name="T46" fmla="*/ 18 w 24"/>
                <a:gd name="T47" fmla="*/ 16 h 16"/>
                <a:gd name="T48" fmla="*/ 20 w 24"/>
                <a:gd name="T49" fmla="*/ 14 h 16"/>
                <a:gd name="T50" fmla="*/ 20 w 24"/>
                <a:gd name="T51" fmla="*/ 14 h 16"/>
                <a:gd name="T52" fmla="*/ 22 w 24"/>
                <a:gd name="T53" fmla="*/ 14 h 16"/>
                <a:gd name="T54" fmla="*/ 22 w 24"/>
                <a:gd name="T55" fmla="*/ 12 h 16"/>
                <a:gd name="T56" fmla="*/ 22 w 24"/>
                <a:gd name="T57" fmla="*/ 12 h 16"/>
                <a:gd name="T58" fmla="*/ 24 w 24"/>
                <a:gd name="T59" fmla="*/ 10 h 16"/>
                <a:gd name="T60" fmla="*/ 24 w 24"/>
                <a:gd name="T61" fmla="*/ 10 h 16"/>
                <a:gd name="T62" fmla="*/ 24 w 24"/>
                <a:gd name="T63" fmla="*/ 8 h 16"/>
                <a:gd name="T64" fmla="*/ 24 w 24"/>
                <a:gd name="T65" fmla="*/ 6 h 16"/>
                <a:gd name="T66" fmla="*/ 24 w 24"/>
                <a:gd name="T67" fmla="*/ 4 h 16"/>
                <a:gd name="T68" fmla="*/ 24 w 24"/>
                <a:gd name="T69" fmla="*/ 4 h 16"/>
                <a:gd name="T70" fmla="*/ 22 w 24"/>
                <a:gd name="T71" fmla="*/ 2 h 16"/>
                <a:gd name="T72" fmla="*/ 22 w 24"/>
                <a:gd name="T73" fmla="*/ 2 h 16"/>
                <a:gd name="T74" fmla="*/ 22 w 24"/>
                <a:gd name="T75" fmla="*/ 2 h 16"/>
                <a:gd name="T76" fmla="*/ 22 w 24"/>
                <a:gd name="T77" fmla="*/ 0 h 16"/>
                <a:gd name="T78" fmla="*/ 22 w 24"/>
                <a:gd name="T79" fmla="*/ 0 h 16"/>
                <a:gd name="T80" fmla="*/ 20 w 24"/>
                <a:gd name="T81" fmla="*/ 0 h 16"/>
                <a:gd name="T82" fmla="*/ 20 w 24"/>
                <a:gd name="T83" fmla="*/ 0 h 16"/>
                <a:gd name="T84" fmla="*/ 18 w 24"/>
                <a:gd name="T85" fmla="*/ 0 h 16"/>
                <a:gd name="T86" fmla="*/ 16 w 24"/>
                <a:gd name="T87" fmla="*/ 0 h 16"/>
                <a:gd name="T88" fmla="*/ 14 w 24"/>
                <a:gd name="T89" fmla="*/ 0 h 16"/>
                <a:gd name="T90" fmla="*/ 12 w 24"/>
                <a:gd name="T91" fmla="*/ 2 h 16"/>
                <a:gd name="T92" fmla="*/ 8 w 24"/>
                <a:gd name="T9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16">
                  <a:moveTo>
                    <a:pt x="8" y="2"/>
                  </a:moveTo>
                  <a:lnTo>
                    <a:pt x="8" y="2"/>
                  </a:lnTo>
                  <a:lnTo>
                    <a:pt x="6" y="4"/>
                  </a:lnTo>
                  <a:lnTo>
                    <a:pt x="2" y="4"/>
                  </a:lnTo>
                  <a:lnTo>
                    <a:pt x="2" y="6"/>
                  </a:lnTo>
                  <a:lnTo>
                    <a:pt x="0" y="6"/>
                  </a:lnTo>
                  <a:lnTo>
                    <a:pt x="0" y="8"/>
                  </a:lnTo>
                  <a:lnTo>
                    <a:pt x="0" y="8"/>
                  </a:lnTo>
                  <a:lnTo>
                    <a:pt x="0" y="8"/>
                  </a:lnTo>
                  <a:lnTo>
                    <a:pt x="0" y="8"/>
                  </a:lnTo>
                  <a:lnTo>
                    <a:pt x="0" y="10"/>
                  </a:lnTo>
                  <a:lnTo>
                    <a:pt x="0" y="10"/>
                  </a:lnTo>
                  <a:lnTo>
                    <a:pt x="2" y="10"/>
                  </a:lnTo>
                  <a:lnTo>
                    <a:pt x="4" y="12"/>
                  </a:lnTo>
                  <a:lnTo>
                    <a:pt x="6" y="12"/>
                  </a:lnTo>
                  <a:lnTo>
                    <a:pt x="8" y="14"/>
                  </a:lnTo>
                  <a:lnTo>
                    <a:pt x="10" y="14"/>
                  </a:lnTo>
                  <a:lnTo>
                    <a:pt x="12" y="16"/>
                  </a:lnTo>
                  <a:lnTo>
                    <a:pt x="12" y="16"/>
                  </a:lnTo>
                  <a:lnTo>
                    <a:pt x="14" y="16"/>
                  </a:lnTo>
                  <a:lnTo>
                    <a:pt x="14" y="16"/>
                  </a:lnTo>
                  <a:lnTo>
                    <a:pt x="16" y="16"/>
                  </a:lnTo>
                  <a:lnTo>
                    <a:pt x="16" y="16"/>
                  </a:lnTo>
                  <a:lnTo>
                    <a:pt x="18" y="16"/>
                  </a:lnTo>
                  <a:lnTo>
                    <a:pt x="20" y="14"/>
                  </a:lnTo>
                  <a:lnTo>
                    <a:pt x="20" y="14"/>
                  </a:lnTo>
                  <a:lnTo>
                    <a:pt x="22" y="14"/>
                  </a:lnTo>
                  <a:lnTo>
                    <a:pt x="22" y="12"/>
                  </a:lnTo>
                  <a:lnTo>
                    <a:pt x="22" y="12"/>
                  </a:lnTo>
                  <a:lnTo>
                    <a:pt x="24" y="10"/>
                  </a:lnTo>
                  <a:lnTo>
                    <a:pt x="24" y="10"/>
                  </a:lnTo>
                  <a:lnTo>
                    <a:pt x="24" y="8"/>
                  </a:lnTo>
                  <a:lnTo>
                    <a:pt x="24" y="6"/>
                  </a:lnTo>
                  <a:lnTo>
                    <a:pt x="24" y="4"/>
                  </a:lnTo>
                  <a:lnTo>
                    <a:pt x="24" y="4"/>
                  </a:lnTo>
                  <a:lnTo>
                    <a:pt x="22" y="2"/>
                  </a:lnTo>
                  <a:lnTo>
                    <a:pt x="22" y="2"/>
                  </a:lnTo>
                  <a:lnTo>
                    <a:pt x="22" y="2"/>
                  </a:lnTo>
                  <a:lnTo>
                    <a:pt x="22" y="0"/>
                  </a:lnTo>
                  <a:lnTo>
                    <a:pt x="22" y="0"/>
                  </a:lnTo>
                  <a:lnTo>
                    <a:pt x="20" y="0"/>
                  </a:lnTo>
                  <a:lnTo>
                    <a:pt x="20" y="0"/>
                  </a:lnTo>
                  <a:lnTo>
                    <a:pt x="18" y="0"/>
                  </a:lnTo>
                  <a:lnTo>
                    <a:pt x="16" y="0"/>
                  </a:lnTo>
                  <a:lnTo>
                    <a:pt x="14" y="0"/>
                  </a:lnTo>
                  <a:lnTo>
                    <a:pt x="12" y="2"/>
                  </a:lnTo>
                  <a:lnTo>
                    <a:pt x="8"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4" name="Freeform 509">
              <a:extLst>
                <a:ext uri="{FF2B5EF4-FFF2-40B4-BE49-F238E27FC236}">
                  <a16:creationId xmlns:a16="http://schemas.microsoft.com/office/drawing/2014/main" id="{46C46DC0-90A2-4BA8-9576-BA3B7F4883BD}"/>
                </a:ext>
              </a:extLst>
            </p:cNvPr>
            <p:cNvSpPr>
              <a:spLocks/>
            </p:cNvSpPr>
            <p:nvPr/>
          </p:nvSpPr>
          <p:spPr bwMode="auto">
            <a:xfrm>
              <a:off x="2616812" y="4119660"/>
              <a:ext cx="41570" cy="27713"/>
            </a:xfrm>
            <a:custGeom>
              <a:avLst/>
              <a:gdLst>
                <a:gd name="T0" fmla="*/ 8 w 24"/>
                <a:gd name="T1" fmla="*/ 2 h 16"/>
                <a:gd name="T2" fmla="*/ 8 w 24"/>
                <a:gd name="T3" fmla="*/ 2 h 16"/>
                <a:gd name="T4" fmla="*/ 6 w 24"/>
                <a:gd name="T5" fmla="*/ 4 h 16"/>
                <a:gd name="T6" fmla="*/ 2 w 24"/>
                <a:gd name="T7" fmla="*/ 4 h 16"/>
                <a:gd name="T8" fmla="*/ 2 w 24"/>
                <a:gd name="T9" fmla="*/ 6 h 16"/>
                <a:gd name="T10" fmla="*/ 0 w 24"/>
                <a:gd name="T11" fmla="*/ 6 h 16"/>
                <a:gd name="T12" fmla="*/ 0 w 24"/>
                <a:gd name="T13" fmla="*/ 8 h 16"/>
                <a:gd name="T14" fmla="*/ 0 w 24"/>
                <a:gd name="T15" fmla="*/ 8 h 16"/>
                <a:gd name="T16" fmla="*/ 0 w 24"/>
                <a:gd name="T17" fmla="*/ 8 h 16"/>
                <a:gd name="T18" fmla="*/ 0 w 24"/>
                <a:gd name="T19" fmla="*/ 8 h 16"/>
                <a:gd name="T20" fmla="*/ 0 w 24"/>
                <a:gd name="T21" fmla="*/ 10 h 16"/>
                <a:gd name="T22" fmla="*/ 0 w 24"/>
                <a:gd name="T23" fmla="*/ 10 h 16"/>
                <a:gd name="T24" fmla="*/ 2 w 24"/>
                <a:gd name="T25" fmla="*/ 10 h 16"/>
                <a:gd name="T26" fmla="*/ 4 w 24"/>
                <a:gd name="T27" fmla="*/ 12 h 16"/>
                <a:gd name="T28" fmla="*/ 6 w 24"/>
                <a:gd name="T29" fmla="*/ 12 h 16"/>
                <a:gd name="T30" fmla="*/ 8 w 24"/>
                <a:gd name="T31" fmla="*/ 14 h 16"/>
                <a:gd name="T32" fmla="*/ 10 w 24"/>
                <a:gd name="T33" fmla="*/ 14 h 16"/>
                <a:gd name="T34" fmla="*/ 12 w 24"/>
                <a:gd name="T35" fmla="*/ 16 h 16"/>
                <a:gd name="T36" fmla="*/ 12 w 24"/>
                <a:gd name="T37" fmla="*/ 16 h 16"/>
                <a:gd name="T38" fmla="*/ 14 w 24"/>
                <a:gd name="T39" fmla="*/ 16 h 16"/>
                <a:gd name="T40" fmla="*/ 14 w 24"/>
                <a:gd name="T41" fmla="*/ 16 h 16"/>
                <a:gd name="T42" fmla="*/ 16 w 24"/>
                <a:gd name="T43" fmla="*/ 16 h 16"/>
                <a:gd name="T44" fmla="*/ 16 w 24"/>
                <a:gd name="T45" fmla="*/ 16 h 16"/>
                <a:gd name="T46" fmla="*/ 18 w 24"/>
                <a:gd name="T47" fmla="*/ 16 h 16"/>
                <a:gd name="T48" fmla="*/ 20 w 24"/>
                <a:gd name="T49" fmla="*/ 14 h 16"/>
                <a:gd name="T50" fmla="*/ 20 w 24"/>
                <a:gd name="T51" fmla="*/ 14 h 16"/>
                <a:gd name="T52" fmla="*/ 22 w 24"/>
                <a:gd name="T53" fmla="*/ 14 h 16"/>
                <a:gd name="T54" fmla="*/ 22 w 24"/>
                <a:gd name="T55" fmla="*/ 12 h 16"/>
                <a:gd name="T56" fmla="*/ 22 w 24"/>
                <a:gd name="T57" fmla="*/ 12 h 16"/>
                <a:gd name="T58" fmla="*/ 24 w 24"/>
                <a:gd name="T59" fmla="*/ 10 h 16"/>
                <a:gd name="T60" fmla="*/ 24 w 24"/>
                <a:gd name="T61" fmla="*/ 10 h 16"/>
                <a:gd name="T62" fmla="*/ 24 w 24"/>
                <a:gd name="T63" fmla="*/ 8 h 16"/>
                <a:gd name="T64" fmla="*/ 24 w 24"/>
                <a:gd name="T65" fmla="*/ 6 h 16"/>
                <a:gd name="T66" fmla="*/ 24 w 24"/>
                <a:gd name="T67" fmla="*/ 4 h 16"/>
                <a:gd name="T68" fmla="*/ 24 w 24"/>
                <a:gd name="T69" fmla="*/ 4 h 16"/>
                <a:gd name="T70" fmla="*/ 22 w 24"/>
                <a:gd name="T71" fmla="*/ 2 h 16"/>
                <a:gd name="T72" fmla="*/ 22 w 24"/>
                <a:gd name="T73" fmla="*/ 2 h 16"/>
                <a:gd name="T74" fmla="*/ 22 w 24"/>
                <a:gd name="T75" fmla="*/ 2 h 16"/>
                <a:gd name="T76" fmla="*/ 22 w 24"/>
                <a:gd name="T77" fmla="*/ 0 h 16"/>
                <a:gd name="T78" fmla="*/ 22 w 24"/>
                <a:gd name="T79" fmla="*/ 0 h 16"/>
                <a:gd name="T80" fmla="*/ 20 w 24"/>
                <a:gd name="T81" fmla="*/ 0 h 16"/>
                <a:gd name="T82" fmla="*/ 20 w 24"/>
                <a:gd name="T83" fmla="*/ 0 h 16"/>
                <a:gd name="T84" fmla="*/ 18 w 24"/>
                <a:gd name="T85" fmla="*/ 0 h 16"/>
                <a:gd name="T86" fmla="*/ 16 w 24"/>
                <a:gd name="T87" fmla="*/ 0 h 16"/>
                <a:gd name="T88" fmla="*/ 14 w 24"/>
                <a:gd name="T89" fmla="*/ 0 h 16"/>
                <a:gd name="T90" fmla="*/ 12 w 24"/>
                <a:gd name="T91" fmla="*/ 2 h 16"/>
                <a:gd name="T92" fmla="*/ 8 w 24"/>
                <a:gd name="T9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16">
                  <a:moveTo>
                    <a:pt x="8" y="2"/>
                  </a:moveTo>
                  <a:lnTo>
                    <a:pt x="8" y="2"/>
                  </a:lnTo>
                  <a:lnTo>
                    <a:pt x="6" y="4"/>
                  </a:lnTo>
                  <a:lnTo>
                    <a:pt x="2" y="4"/>
                  </a:lnTo>
                  <a:lnTo>
                    <a:pt x="2" y="6"/>
                  </a:lnTo>
                  <a:lnTo>
                    <a:pt x="0" y="6"/>
                  </a:lnTo>
                  <a:lnTo>
                    <a:pt x="0" y="8"/>
                  </a:lnTo>
                  <a:lnTo>
                    <a:pt x="0" y="8"/>
                  </a:lnTo>
                  <a:lnTo>
                    <a:pt x="0" y="8"/>
                  </a:lnTo>
                  <a:lnTo>
                    <a:pt x="0" y="8"/>
                  </a:lnTo>
                  <a:lnTo>
                    <a:pt x="0" y="10"/>
                  </a:lnTo>
                  <a:lnTo>
                    <a:pt x="0" y="10"/>
                  </a:lnTo>
                  <a:lnTo>
                    <a:pt x="2" y="10"/>
                  </a:lnTo>
                  <a:lnTo>
                    <a:pt x="4" y="12"/>
                  </a:lnTo>
                  <a:lnTo>
                    <a:pt x="6" y="12"/>
                  </a:lnTo>
                  <a:lnTo>
                    <a:pt x="8" y="14"/>
                  </a:lnTo>
                  <a:lnTo>
                    <a:pt x="10" y="14"/>
                  </a:lnTo>
                  <a:lnTo>
                    <a:pt x="12" y="16"/>
                  </a:lnTo>
                  <a:lnTo>
                    <a:pt x="12" y="16"/>
                  </a:lnTo>
                  <a:lnTo>
                    <a:pt x="14" y="16"/>
                  </a:lnTo>
                  <a:lnTo>
                    <a:pt x="14" y="16"/>
                  </a:lnTo>
                  <a:lnTo>
                    <a:pt x="16" y="16"/>
                  </a:lnTo>
                  <a:lnTo>
                    <a:pt x="16" y="16"/>
                  </a:lnTo>
                  <a:lnTo>
                    <a:pt x="18" y="16"/>
                  </a:lnTo>
                  <a:lnTo>
                    <a:pt x="20" y="14"/>
                  </a:lnTo>
                  <a:lnTo>
                    <a:pt x="20" y="14"/>
                  </a:lnTo>
                  <a:lnTo>
                    <a:pt x="22" y="14"/>
                  </a:lnTo>
                  <a:lnTo>
                    <a:pt x="22" y="12"/>
                  </a:lnTo>
                  <a:lnTo>
                    <a:pt x="22" y="12"/>
                  </a:lnTo>
                  <a:lnTo>
                    <a:pt x="24" y="10"/>
                  </a:lnTo>
                  <a:lnTo>
                    <a:pt x="24" y="10"/>
                  </a:lnTo>
                  <a:lnTo>
                    <a:pt x="24" y="8"/>
                  </a:lnTo>
                  <a:lnTo>
                    <a:pt x="24" y="6"/>
                  </a:lnTo>
                  <a:lnTo>
                    <a:pt x="24" y="4"/>
                  </a:lnTo>
                  <a:lnTo>
                    <a:pt x="24" y="4"/>
                  </a:lnTo>
                  <a:lnTo>
                    <a:pt x="22" y="2"/>
                  </a:lnTo>
                  <a:lnTo>
                    <a:pt x="22" y="2"/>
                  </a:lnTo>
                  <a:lnTo>
                    <a:pt x="22" y="2"/>
                  </a:lnTo>
                  <a:lnTo>
                    <a:pt x="22" y="0"/>
                  </a:lnTo>
                  <a:lnTo>
                    <a:pt x="22" y="0"/>
                  </a:lnTo>
                  <a:lnTo>
                    <a:pt x="20" y="0"/>
                  </a:lnTo>
                  <a:lnTo>
                    <a:pt x="20" y="0"/>
                  </a:lnTo>
                  <a:lnTo>
                    <a:pt x="18" y="0"/>
                  </a:lnTo>
                  <a:lnTo>
                    <a:pt x="16" y="0"/>
                  </a:lnTo>
                  <a:lnTo>
                    <a:pt x="14" y="0"/>
                  </a:lnTo>
                  <a:lnTo>
                    <a:pt x="12" y="2"/>
                  </a:lnTo>
                  <a:lnTo>
                    <a:pt x="8"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5" name="Freeform 510">
              <a:extLst>
                <a:ext uri="{FF2B5EF4-FFF2-40B4-BE49-F238E27FC236}">
                  <a16:creationId xmlns:a16="http://schemas.microsoft.com/office/drawing/2014/main" id="{1ACE587B-7176-40C1-940F-759B6FE60012}"/>
                </a:ext>
              </a:extLst>
            </p:cNvPr>
            <p:cNvSpPr>
              <a:spLocks/>
            </p:cNvSpPr>
            <p:nvPr/>
          </p:nvSpPr>
          <p:spPr bwMode="auto">
            <a:xfrm>
              <a:off x="2450533" y="4303260"/>
              <a:ext cx="332558" cy="336023"/>
            </a:xfrm>
            <a:custGeom>
              <a:avLst/>
              <a:gdLst>
                <a:gd name="T0" fmla="*/ 16 w 192"/>
                <a:gd name="T1" fmla="*/ 20 h 194"/>
                <a:gd name="T2" fmla="*/ 12 w 192"/>
                <a:gd name="T3" fmla="*/ 38 h 194"/>
                <a:gd name="T4" fmla="*/ 8 w 192"/>
                <a:gd name="T5" fmla="*/ 46 h 194"/>
                <a:gd name="T6" fmla="*/ 0 w 192"/>
                <a:gd name="T7" fmla="*/ 50 h 194"/>
                <a:gd name="T8" fmla="*/ 6 w 192"/>
                <a:gd name="T9" fmla="*/ 58 h 194"/>
                <a:gd name="T10" fmla="*/ 12 w 192"/>
                <a:gd name="T11" fmla="*/ 68 h 194"/>
                <a:gd name="T12" fmla="*/ 8 w 192"/>
                <a:gd name="T13" fmla="*/ 82 h 194"/>
                <a:gd name="T14" fmla="*/ 10 w 192"/>
                <a:gd name="T15" fmla="*/ 86 h 194"/>
                <a:gd name="T16" fmla="*/ 28 w 192"/>
                <a:gd name="T17" fmla="*/ 84 h 194"/>
                <a:gd name="T18" fmla="*/ 36 w 192"/>
                <a:gd name="T19" fmla="*/ 86 h 194"/>
                <a:gd name="T20" fmla="*/ 36 w 192"/>
                <a:gd name="T21" fmla="*/ 96 h 194"/>
                <a:gd name="T22" fmla="*/ 44 w 192"/>
                <a:gd name="T23" fmla="*/ 100 h 194"/>
                <a:gd name="T24" fmla="*/ 70 w 192"/>
                <a:gd name="T25" fmla="*/ 108 h 194"/>
                <a:gd name="T26" fmla="*/ 82 w 192"/>
                <a:gd name="T27" fmla="*/ 114 h 194"/>
                <a:gd name="T28" fmla="*/ 82 w 192"/>
                <a:gd name="T29" fmla="*/ 132 h 194"/>
                <a:gd name="T30" fmla="*/ 76 w 192"/>
                <a:gd name="T31" fmla="*/ 158 h 194"/>
                <a:gd name="T32" fmla="*/ 86 w 192"/>
                <a:gd name="T33" fmla="*/ 176 h 194"/>
                <a:gd name="T34" fmla="*/ 94 w 192"/>
                <a:gd name="T35" fmla="*/ 186 h 194"/>
                <a:gd name="T36" fmla="*/ 106 w 192"/>
                <a:gd name="T37" fmla="*/ 194 h 194"/>
                <a:gd name="T38" fmla="*/ 120 w 192"/>
                <a:gd name="T39" fmla="*/ 192 h 194"/>
                <a:gd name="T40" fmla="*/ 132 w 192"/>
                <a:gd name="T41" fmla="*/ 184 h 194"/>
                <a:gd name="T42" fmla="*/ 134 w 192"/>
                <a:gd name="T43" fmla="*/ 174 h 194"/>
                <a:gd name="T44" fmla="*/ 130 w 192"/>
                <a:gd name="T45" fmla="*/ 168 h 194"/>
                <a:gd name="T46" fmla="*/ 122 w 192"/>
                <a:gd name="T47" fmla="*/ 164 h 194"/>
                <a:gd name="T48" fmla="*/ 122 w 192"/>
                <a:gd name="T49" fmla="*/ 146 h 194"/>
                <a:gd name="T50" fmla="*/ 130 w 192"/>
                <a:gd name="T51" fmla="*/ 140 h 194"/>
                <a:gd name="T52" fmla="*/ 136 w 192"/>
                <a:gd name="T53" fmla="*/ 144 h 194"/>
                <a:gd name="T54" fmla="*/ 144 w 192"/>
                <a:gd name="T55" fmla="*/ 152 h 194"/>
                <a:gd name="T56" fmla="*/ 150 w 192"/>
                <a:gd name="T57" fmla="*/ 146 h 194"/>
                <a:gd name="T58" fmla="*/ 164 w 192"/>
                <a:gd name="T59" fmla="*/ 146 h 194"/>
                <a:gd name="T60" fmla="*/ 178 w 192"/>
                <a:gd name="T61" fmla="*/ 144 h 194"/>
                <a:gd name="T62" fmla="*/ 182 w 192"/>
                <a:gd name="T63" fmla="*/ 130 h 194"/>
                <a:gd name="T64" fmla="*/ 176 w 192"/>
                <a:gd name="T65" fmla="*/ 118 h 194"/>
                <a:gd name="T66" fmla="*/ 174 w 192"/>
                <a:gd name="T67" fmla="*/ 106 h 194"/>
                <a:gd name="T68" fmla="*/ 182 w 192"/>
                <a:gd name="T69" fmla="*/ 94 h 194"/>
                <a:gd name="T70" fmla="*/ 186 w 192"/>
                <a:gd name="T71" fmla="*/ 86 h 194"/>
                <a:gd name="T72" fmla="*/ 192 w 192"/>
                <a:gd name="T73" fmla="*/ 78 h 194"/>
                <a:gd name="T74" fmla="*/ 190 w 192"/>
                <a:gd name="T75" fmla="*/ 64 h 194"/>
                <a:gd name="T76" fmla="*/ 184 w 192"/>
                <a:gd name="T77" fmla="*/ 54 h 194"/>
                <a:gd name="T78" fmla="*/ 176 w 192"/>
                <a:gd name="T79" fmla="*/ 44 h 194"/>
                <a:gd name="T80" fmla="*/ 176 w 192"/>
                <a:gd name="T81" fmla="*/ 38 h 194"/>
                <a:gd name="T82" fmla="*/ 178 w 192"/>
                <a:gd name="T83" fmla="*/ 30 h 194"/>
                <a:gd name="T84" fmla="*/ 174 w 192"/>
                <a:gd name="T85" fmla="*/ 26 h 194"/>
                <a:gd name="T86" fmla="*/ 156 w 192"/>
                <a:gd name="T87" fmla="*/ 28 h 194"/>
                <a:gd name="T88" fmla="*/ 138 w 192"/>
                <a:gd name="T89" fmla="*/ 32 h 194"/>
                <a:gd name="T90" fmla="*/ 128 w 192"/>
                <a:gd name="T91" fmla="*/ 38 h 194"/>
                <a:gd name="T92" fmla="*/ 116 w 192"/>
                <a:gd name="T93" fmla="*/ 36 h 194"/>
                <a:gd name="T94" fmla="*/ 92 w 192"/>
                <a:gd name="T95" fmla="*/ 36 h 194"/>
                <a:gd name="T96" fmla="*/ 86 w 192"/>
                <a:gd name="T97" fmla="*/ 32 h 194"/>
                <a:gd name="T98" fmla="*/ 80 w 192"/>
                <a:gd name="T99" fmla="*/ 24 h 194"/>
                <a:gd name="T100" fmla="*/ 64 w 192"/>
                <a:gd name="T101" fmla="*/ 20 h 194"/>
                <a:gd name="T102" fmla="*/ 60 w 192"/>
                <a:gd name="T103" fmla="*/ 10 h 194"/>
                <a:gd name="T104" fmla="*/ 50 w 192"/>
                <a:gd name="T105" fmla="*/ 8 h 194"/>
                <a:gd name="T106" fmla="*/ 50 w 192"/>
                <a:gd name="T107" fmla="*/ 2 h 194"/>
                <a:gd name="T108" fmla="*/ 48 w 192"/>
                <a:gd name="T109" fmla="*/ 2 h 194"/>
                <a:gd name="T110" fmla="*/ 42 w 192"/>
                <a:gd name="T111" fmla="*/ 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2" h="194">
                  <a:moveTo>
                    <a:pt x="28" y="6"/>
                  </a:moveTo>
                  <a:lnTo>
                    <a:pt x="28" y="6"/>
                  </a:lnTo>
                  <a:lnTo>
                    <a:pt x="26" y="8"/>
                  </a:lnTo>
                  <a:lnTo>
                    <a:pt x="24" y="12"/>
                  </a:lnTo>
                  <a:lnTo>
                    <a:pt x="20" y="16"/>
                  </a:lnTo>
                  <a:lnTo>
                    <a:pt x="18" y="18"/>
                  </a:lnTo>
                  <a:lnTo>
                    <a:pt x="16" y="20"/>
                  </a:lnTo>
                  <a:lnTo>
                    <a:pt x="16" y="20"/>
                  </a:lnTo>
                  <a:lnTo>
                    <a:pt x="16" y="22"/>
                  </a:lnTo>
                  <a:lnTo>
                    <a:pt x="14" y="26"/>
                  </a:lnTo>
                  <a:lnTo>
                    <a:pt x="14" y="28"/>
                  </a:lnTo>
                  <a:lnTo>
                    <a:pt x="14" y="32"/>
                  </a:lnTo>
                  <a:lnTo>
                    <a:pt x="12" y="36"/>
                  </a:lnTo>
                  <a:lnTo>
                    <a:pt x="12" y="38"/>
                  </a:lnTo>
                  <a:lnTo>
                    <a:pt x="12" y="40"/>
                  </a:lnTo>
                  <a:lnTo>
                    <a:pt x="12" y="42"/>
                  </a:lnTo>
                  <a:lnTo>
                    <a:pt x="10" y="42"/>
                  </a:lnTo>
                  <a:lnTo>
                    <a:pt x="10" y="44"/>
                  </a:lnTo>
                  <a:lnTo>
                    <a:pt x="10" y="44"/>
                  </a:lnTo>
                  <a:lnTo>
                    <a:pt x="10" y="44"/>
                  </a:lnTo>
                  <a:lnTo>
                    <a:pt x="8" y="46"/>
                  </a:lnTo>
                  <a:lnTo>
                    <a:pt x="4" y="46"/>
                  </a:lnTo>
                  <a:lnTo>
                    <a:pt x="4" y="48"/>
                  </a:lnTo>
                  <a:lnTo>
                    <a:pt x="2" y="48"/>
                  </a:lnTo>
                  <a:lnTo>
                    <a:pt x="2" y="48"/>
                  </a:lnTo>
                  <a:lnTo>
                    <a:pt x="0" y="48"/>
                  </a:lnTo>
                  <a:lnTo>
                    <a:pt x="0" y="50"/>
                  </a:lnTo>
                  <a:lnTo>
                    <a:pt x="0" y="50"/>
                  </a:lnTo>
                  <a:lnTo>
                    <a:pt x="0" y="50"/>
                  </a:lnTo>
                  <a:lnTo>
                    <a:pt x="0" y="52"/>
                  </a:lnTo>
                  <a:lnTo>
                    <a:pt x="0" y="52"/>
                  </a:lnTo>
                  <a:lnTo>
                    <a:pt x="2" y="54"/>
                  </a:lnTo>
                  <a:lnTo>
                    <a:pt x="2" y="56"/>
                  </a:lnTo>
                  <a:lnTo>
                    <a:pt x="4" y="56"/>
                  </a:lnTo>
                  <a:lnTo>
                    <a:pt x="6" y="58"/>
                  </a:lnTo>
                  <a:lnTo>
                    <a:pt x="8" y="60"/>
                  </a:lnTo>
                  <a:lnTo>
                    <a:pt x="10" y="64"/>
                  </a:lnTo>
                  <a:lnTo>
                    <a:pt x="12" y="64"/>
                  </a:lnTo>
                  <a:lnTo>
                    <a:pt x="12" y="66"/>
                  </a:lnTo>
                  <a:lnTo>
                    <a:pt x="12" y="66"/>
                  </a:lnTo>
                  <a:lnTo>
                    <a:pt x="12" y="68"/>
                  </a:lnTo>
                  <a:lnTo>
                    <a:pt x="12" y="68"/>
                  </a:lnTo>
                  <a:lnTo>
                    <a:pt x="12" y="70"/>
                  </a:lnTo>
                  <a:lnTo>
                    <a:pt x="12" y="70"/>
                  </a:lnTo>
                  <a:lnTo>
                    <a:pt x="12" y="72"/>
                  </a:lnTo>
                  <a:lnTo>
                    <a:pt x="12" y="74"/>
                  </a:lnTo>
                  <a:lnTo>
                    <a:pt x="10" y="76"/>
                  </a:lnTo>
                  <a:lnTo>
                    <a:pt x="10" y="78"/>
                  </a:lnTo>
                  <a:lnTo>
                    <a:pt x="8" y="82"/>
                  </a:lnTo>
                  <a:lnTo>
                    <a:pt x="8" y="82"/>
                  </a:lnTo>
                  <a:lnTo>
                    <a:pt x="8" y="84"/>
                  </a:lnTo>
                  <a:lnTo>
                    <a:pt x="8" y="84"/>
                  </a:lnTo>
                  <a:lnTo>
                    <a:pt x="8" y="84"/>
                  </a:lnTo>
                  <a:lnTo>
                    <a:pt x="10" y="86"/>
                  </a:lnTo>
                  <a:lnTo>
                    <a:pt x="10" y="86"/>
                  </a:lnTo>
                  <a:lnTo>
                    <a:pt x="10" y="86"/>
                  </a:lnTo>
                  <a:lnTo>
                    <a:pt x="12" y="86"/>
                  </a:lnTo>
                  <a:lnTo>
                    <a:pt x="14" y="86"/>
                  </a:lnTo>
                  <a:lnTo>
                    <a:pt x="16" y="86"/>
                  </a:lnTo>
                  <a:lnTo>
                    <a:pt x="18" y="86"/>
                  </a:lnTo>
                  <a:lnTo>
                    <a:pt x="22" y="86"/>
                  </a:lnTo>
                  <a:lnTo>
                    <a:pt x="26" y="86"/>
                  </a:lnTo>
                  <a:lnTo>
                    <a:pt x="28" y="84"/>
                  </a:lnTo>
                  <a:lnTo>
                    <a:pt x="30" y="84"/>
                  </a:lnTo>
                  <a:lnTo>
                    <a:pt x="32" y="84"/>
                  </a:lnTo>
                  <a:lnTo>
                    <a:pt x="34" y="84"/>
                  </a:lnTo>
                  <a:lnTo>
                    <a:pt x="34" y="86"/>
                  </a:lnTo>
                  <a:lnTo>
                    <a:pt x="34" y="86"/>
                  </a:lnTo>
                  <a:lnTo>
                    <a:pt x="36" y="86"/>
                  </a:lnTo>
                  <a:lnTo>
                    <a:pt x="36" y="86"/>
                  </a:lnTo>
                  <a:lnTo>
                    <a:pt x="36" y="88"/>
                  </a:lnTo>
                  <a:lnTo>
                    <a:pt x="36" y="88"/>
                  </a:lnTo>
                  <a:lnTo>
                    <a:pt x="36" y="90"/>
                  </a:lnTo>
                  <a:lnTo>
                    <a:pt x="36" y="92"/>
                  </a:lnTo>
                  <a:lnTo>
                    <a:pt x="36" y="92"/>
                  </a:lnTo>
                  <a:lnTo>
                    <a:pt x="36" y="94"/>
                  </a:lnTo>
                  <a:lnTo>
                    <a:pt x="36" y="96"/>
                  </a:lnTo>
                  <a:lnTo>
                    <a:pt x="36" y="96"/>
                  </a:lnTo>
                  <a:lnTo>
                    <a:pt x="36" y="96"/>
                  </a:lnTo>
                  <a:lnTo>
                    <a:pt x="38" y="98"/>
                  </a:lnTo>
                  <a:lnTo>
                    <a:pt x="38" y="98"/>
                  </a:lnTo>
                  <a:lnTo>
                    <a:pt x="40" y="98"/>
                  </a:lnTo>
                  <a:lnTo>
                    <a:pt x="40" y="100"/>
                  </a:lnTo>
                  <a:lnTo>
                    <a:pt x="44" y="100"/>
                  </a:lnTo>
                  <a:lnTo>
                    <a:pt x="46" y="102"/>
                  </a:lnTo>
                  <a:lnTo>
                    <a:pt x="50" y="104"/>
                  </a:lnTo>
                  <a:lnTo>
                    <a:pt x="52" y="104"/>
                  </a:lnTo>
                  <a:lnTo>
                    <a:pt x="58" y="106"/>
                  </a:lnTo>
                  <a:lnTo>
                    <a:pt x="60" y="106"/>
                  </a:lnTo>
                  <a:lnTo>
                    <a:pt x="64" y="108"/>
                  </a:lnTo>
                  <a:lnTo>
                    <a:pt x="70" y="108"/>
                  </a:lnTo>
                  <a:lnTo>
                    <a:pt x="74" y="110"/>
                  </a:lnTo>
                  <a:lnTo>
                    <a:pt x="76" y="110"/>
                  </a:lnTo>
                  <a:lnTo>
                    <a:pt x="78" y="112"/>
                  </a:lnTo>
                  <a:lnTo>
                    <a:pt x="80" y="112"/>
                  </a:lnTo>
                  <a:lnTo>
                    <a:pt x="80" y="112"/>
                  </a:lnTo>
                  <a:lnTo>
                    <a:pt x="80" y="114"/>
                  </a:lnTo>
                  <a:lnTo>
                    <a:pt x="82" y="114"/>
                  </a:lnTo>
                  <a:lnTo>
                    <a:pt x="82" y="116"/>
                  </a:lnTo>
                  <a:lnTo>
                    <a:pt x="82" y="118"/>
                  </a:lnTo>
                  <a:lnTo>
                    <a:pt x="82" y="120"/>
                  </a:lnTo>
                  <a:lnTo>
                    <a:pt x="84" y="122"/>
                  </a:lnTo>
                  <a:lnTo>
                    <a:pt x="84" y="124"/>
                  </a:lnTo>
                  <a:lnTo>
                    <a:pt x="82" y="128"/>
                  </a:lnTo>
                  <a:lnTo>
                    <a:pt x="82" y="132"/>
                  </a:lnTo>
                  <a:lnTo>
                    <a:pt x="82" y="136"/>
                  </a:lnTo>
                  <a:lnTo>
                    <a:pt x="80" y="142"/>
                  </a:lnTo>
                  <a:lnTo>
                    <a:pt x="80" y="144"/>
                  </a:lnTo>
                  <a:lnTo>
                    <a:pt x="80" y="146"/>
                  </a:lnTo>
                  <a:lnTo>
                    <a:pt x="78" y="152"/>
                  </a:lnTo>
                  <a:lnTo>
                    <a:pt x="76" y="156"/>
                  </a:lnTo>
                  <a:lnTo>
                    <a:pt x="76" y="158"/>
                  </a:lnTo>
                  <a:lnTo>
                    <a:pt x="76" y="160"/>
                  </a:lnTo>
                  <a:lnTo>
                    <a:pt x="76" y="162"/>
                  </a:lnTo>
                  <a:lnTo>
                    <a:pt x="76" y="164"/>
                  </a:lnTo>
                  <a:lnTo>
                    <a:pt x="78" y="168"/>
                  </a:lnTo>
                  <a:lnTo>
                    <a:pt x="78" y="174"/>
                  </a:lnTo>
                  <a:lnTo>
                    <a:pt x="82" y="176"/>
                  </a:lnTo>
                  <a:lnTo>
                    <a:pt x="86" y="176"/>
                  </a:lnTo>
                  <a:lnTo>
                    <a:pt x="86" y="178"/>
                  </a:lnTo>
                  <a:lnTo>
                    <a:pt x="88" y="178"/>
                  </a:lnTo>
                  <a:lnTo>
                    <a:pt x="88" y="178"/>
                  </a:lnTo>
                  <a:lnTo>
                    <a:pt x="90" y="180"/>
                  </a:lnTo>
                  <a:lnTo>
                    <a:pt x="92" y="182"/>
                  </a:lnTo>
                  <a:lnTo>
                    <a:pt x="94" y="186"/>
                  </a:lnTo>
                  <a:lnTo>
                    <a:pt x="94" y="186"/>
                  </a:lnTo>
                  <a:lnTo>
                    <a:pt x="96" y="188"/>
                  </a:lnTo>
                  <a:lnTo>
                    <a:pt x="96" y="188"/>
                  </a:lnTo>
                  <a:lnTo>
                    <a:pt x="98" y="190"/>
                  </a:lnTo>
                  <a:lnTo>
                    <a:pt x="100" y="192"/>
                  </a:lnTo>
                  <a:lnTo>
                    <a:pt x="104" y="192"/>
                  </a:lnTo>
                  <a:lnTo>
                    <a:pt x="104" y="192"/>
                  </a:lnTo>
                  <a:lnTo>
                    <a:pt x="106" y="194"/>
                  </a:lnTo>
                  <a:lnTo>
                    <a:pt x="108" y="194"/>
                  </a:lnTo>
                  <a:lnTo>
                    <a:pt x="110" y="194"/>
                  </a:lnTo>
                  <a:lnTo>
                    <a:pt x="112" y="194"/>
                  </a:lnTo>
                  <a:lnTo>
                    <a:pt x="114" y="194"/>
                  </a:lnTo>
                  <a:lnTo>
                    <a:pt x="116" y="192"/>
                  </a:lnTo>
                  <a:lnTo>
                    <a:pt x="118" y="192"/>
                  </a:lnTo>
                  <a:lnTo>
                    <a:pt x="120" y="192"/>
                  </a:lnTo>
                  <a:lnTo>
                    <a:pt x="122" y="192"/>
                  </a:lnTo>
                  <a:lnTo>
                    <a:pt x="122" y="190"/>
                  </a:lnTo>
                  <a:lnTo>
                    <a:pt x="124" y="190"/>
                  </a:lnTo>
                  <a:lnTo>
                    <a:pt x="126" y="188"/>
                  </a:lnTo>
                  <a:lnTo>
                    <a:pt x="128" y="188"/>
                  </a:lnTo>
                  <a:lnTo>
                    <a:pt x="130" y="186"/>
                  </a:lnTo>
                  <a:lnTo>
                    <a:pt x="132" y="184"/>
                  </a:lnTo>
                  <a:lnTo>
                    <a:pt x="134" y="182"/>
                  </a:lnTo>
                  <a:lnTo>
                    <a:pt x="134" y="182"/>
                  </a:lnTo>
                  <a:lnTo>
                    <a:pt x="134" y="180"/>
                  </a:lnTo>
                  <a:lnTo>
                    <a:pt x="134" y="178"/>
                  </a:lnTo>
                  <a:lnTo>
                    <a:pt x="134" y="178"/>
                  </a:lnTo>
                  <a:lnTo>
                    <a:pt x="134" y="176"/>
                  </a:lnTo>
                  <a:lnTo>
                    <a:pt x="134" y="174"/>
                  </a:lnTo>
                  <a:lnTo>
                    <a:pt x="134" y="172"/>
                  </a:lnTo>
                  <a:lnTo>
                    <a:pt x="134" y="172"/>
                  </a:lnTo>
                  <a:lnTo>
                    <a:pt x="134" y="170"/>
                  </a:lnTo>
                  <a:lnTo>
                    <a:pt x="134" y="170"/>
                  </a:lnTo>
                  <a:lnTo>
                    <a:pt x="132" y="170"/>
                  </a:lnTo>
                  <a:lnTo>
                    <a:pt x="132" y="168"/>
                  </a:lnTo>
                  <a:lnTo>
                    <a:pt x="130" y="168"/>
                  </a:lnTo>
                  <a:lnTo>
                    <a:pt x="128" y="168"/>
                  </a:lnTo>
                  <a:lnTo>
                    <a:pt x="126" y="166"/>
                  </a:lnTo>
                  <a:lnTo>
                    <a:pt x="126" y="166"/>
                  </a:lnTo>
                  <a:lnTo>
                    <a:pt x="124" y="166"/>
                  </a:lnTo>
                  <a:lnTo>
                    <a:pt x="124" y="164"/>
                  </a:lnTo>
                  <a:lnTo>
                    <a:pt x="124" y="164"/>
                  </a:lnTo>
                  <a:lnTo>
                    <a:pt x="122" y="164"/>
                  </a:lnTo>
                  <a:lnTo>
                    <a:pt x="122" y="162"/>
                  </a:lnTo>
                  <a:lnTo>
                    <a:pt x="122" y="160"/>
                  </a:lnTo>
                  <a:lnTo>
                    <a:pt x="122" y="158"/>
                  </a:lnTo>
                  <a:lnTo>
                    <a:pt x="122" y="156"/>
                  </a:lnTo>
                  <a:lnTo>
                    <a:pt x="122" y="152"/>
                  </a:lnTo>
                  <a:lnTo>
                    <a:pt x="122" y="148"/>
                  </a:lnTo>
                  <a:lnTo>
                    <a:pt x="122" y="146"/>
                  </a:lnTo>
                  <a:lnTo>
                    <a:pt x="124" y="146"/>
                  </a:lnTo>
                  <a:lnTo>
                    <a:pt x="124" y="144"/>
                  </a:lnTo>
                  <a:lnTo>
                    <a:pt x="124" y="142"/>
                  </a:lnTo>
                  <a:lnTo>
                    <a:pt x="126" y="142"/>
                  </a:lnTo>
                  <a:lnTo>
                    <a:pt x="126" y="142"/>
                  </a:lnTo>
                  <a:lnTo>
                    <a:pt x="128" y="140"/>
                  </a:lnTo>
                  <a:lnTo>
                    <a:pt x="130" y="140"/>
                  </a:lnTo>
                  <a:lnTo>
                    <a:pt x="130" y="140"/>
                  </a:lnTo>
                  <a:lnTo>
                    <a:pt x="130" y="140"/>
                  </a:lnTo>
                  <a:lnTo>
                    <a:pt x="132" y="140"/>
                  </a:lnTo>
                  <a:lnTo>
                    <a:pt x="132" y="140"/>
                  </a:lnTo>
                  <a:lnTo>
                    <a:pt x="134" y="142"/>
                  </a:lnTo>
                  <a:lnTo>
                    <a:pt x="134" y="142"/>
                  </a:lnTo>
                  <a:lnTo>
                    <a:pt x="136" y="144"/>
                  </a:lnTo>
                  <a:lnTo>
                    <a:pt x="138" y="146"/>
                  </a:lnTo>
                  <a:lnTo>
                    <a:pt x="138" y="148"/>
                  </a:lnTo>
                  <a:lnTo>
                    <a:pt x="140" y="150"/>
                  </a:lnTo>
                  <a:lnTo>
                    <a:pt x="142" y="150"/>
                  </a:lnTo>
                  <a:lnTo>
                    <a:pt x="142" y="150"/>
                  </a:lnTo>
                  <a:lnTo>
                    <a:pt x="142" y="152"/>
                  </a:lnTo>
                  <a:lnTo>
                    <a:pt x="144" y="152"/>
                  </a:lnTo>
                  <a:lnTo>
                    <a:pt x="144" y="152"/>
                  </a:lnTo>
                  <a:lnTo>
                    <a:pt x="144" y="152"/>
                  </a:lnTo>
                  <a:lnTo>
                    <a:pt x="146" y="150"/>
                  </a:lnTo>
                  <a:lnTo>
                    <a:pt x="146" y="150"/>
                  </a:lnTo>
                  <a:lnTo>
                    <a:pt x="148" y="148"/>
                  </a:lnTo>
                  <a:lnTo>
                    <a:pt x="150" y="146"/>
                  </a:lnTo>
                  <a:lnTo>
                    <a:pt x="150" y="146"/>
                  </a:lnTo>
                  <a:lnTo>
                    <a:pt x="152" y="146"/>
                  </a:lnTo>
                  <a:lnTo>
                    <a:pt x="154" y="146"/>
                  </a:lnTo>
                  <a:lnTo>
                    <a:pt x="154" y="146"/>
                  </a:lnTo>
                  <a:lnTo>
                    <a:pt x="156" y="146"/>
                  </a:lnTo>
                  <a:lnTo>
                    <a:pt x="158" y="146"/>
                  </a:lnTo>
                  <a:lnTo>
                    <a:pt x="162" y="146"/>
                  </a:lnTo>
                  <a:lnTo>
                    <a:pt x="164" y="146"/>
                  </a:lnTo>
                  <a:lnTo>
                    <a:pt x="168" y="146"/>
                  </a:lnTo>
                  <a:lnTo>
                    <a:pt x="172" y="146"/>
                  </a:lnTo>
                  <a:lnTo>
                    <a:pt x="174" y="146"/>
                  </a:lnTo>
                  <a:lnTo>
                    <a:pt x="174" y="146"/>
                  </a:lnTo>
                  <a:lnTo>
                    <a:pt x="176" y="144"/>
                  </a:lnTo>
                  <a:lnTo>
                    <a:pt x="178" y="144"/>
                  </a:lnTo>
                  <a:lnTo>
                    <a:pt x="178" y="144"/>
                  </a:lnTo>
                  <a:lnTo>
                    <a:pt x="178" y="144"/>
                  </a:lnTo>
                  <a:lnTo>
                    <a:pt x="178" y="142"/>
                  </a:lnTo>
                  <a:lnTo>
                    <a:pt x="180" y="140"/>
                  </a:lnTo>
                  <a:lnTo>
                    <a:pt x="180" y="138"/>
                  </a:lnTo>
                  <a:lnTo>
                    <a:pt x="182" y="136"/>
                  </a:lnTo>
                  <a:lnTo>
                    <a:pt x="182" y="134"/>
                  </a:lnTo>
                  <a:lnTo>
                    <a:pt x="182" y="130"/>
                  </a:lnTo>
                  <a:lnTo>
                    <a:pt x="182" y="126"/>
                  </a:lnTo>
                  <a:lnTo>
                    <a:pt x="182" y="126"/>
                  </a:lnTo>
                  <a:lnTo>
                    <a:pt x="180" y="124"/>
                  </a:lnTo>
                  <a:lnTo>
                    <a:pt x="180" y="124"/>
                  </a:lnTo>
                  <a:lnTo>
                    <a:pt x="180" y="122"/>
                  </a:lnTo>
                  <a:lnTo>
                    <a:pt x="178" y="120"/>
                  </a:lnTo>
                  <a:lnTo>
                    <a:pt x="176" y="118"/>
                  </a:lnTo>
                  <a:lnTo>
                    <a:pt x="174" y="116"/>
                  </a:lnTo>
                  <a:lnTo>
                    <a:pt x="174" y="116"/>
                  </a:lnTo>
                  <a:lnTo>
                    <a:pt x="174" y="114"/>
                  </a:lnTo>
                  <a:lnTo>
                    <a:pt x="174" y="112"/>
                  </a:lnTo>
                  <a:lnTo>
                    <a:pt x="174" y="110"/>
                  </a:lnTo>
                  <a:lnTo>
                    <a:pt x="174" y="108"/>
                  </a:lnTo>
                  <a:lnTo>
                    <a:pt x="174" y="106"/>
                  </a:lnTo>
                  <a:lnTo>
                    <a:pt x="174" y="104"/>
                  </a:lnTo>
                  <a:lnTo>
                    <a:pt x="174" y="102"/>
                  </a:lnTo>
                  <a:lnTo>
                    <a:pt x="176" y="102"/>
                  </a:lnTo>
                  <a:lnTo>
                    <a:pt x="176" y="100"/>
                  </a:lnTo>
                  <a:lnTo>
                    <a:pt x="176" y="100"/>
                  </a:lnTo>
                  <a:lnTo>
                    <a:pt x="180" y="98"/>
                  </a:lnTo>
                  <a:lnTo>
                    <a:pt x="182" y="94"/>
                  </a:lnTo>
                  <a:lnTo>
                    <a:pt x="182" y="94"/>
                  </a:lnTo>
                  <a:lnTo>
                    <a:pt x="184" y="92"/>
                  </a:lnTo>
                  <a:lnTo>
                    <a:pt x="184" y="92"/>
                  </a:lnTo>
                  <a:lnTo>
                    <a:pt x="184" y="92"/>
                  </a:lnTo>
                  <a:lnTo>
                    <a:pt x="184" y="90"/>
                  </a:lnTo>
                  <a:lnTo>
                    <a:pt x="186" y="88"/>
                  </a:lnTo>
                  <a:lnTo>
                    <a:pt x="186" y="86"/>
                  </a:lnTo>
                  <a:lnTo>
                    <a:pt x="186" y="84"/>
                  </a:lnTo>
                  <a:lnTo>
                    <a:pt x="188" y="84"/>
                  </a:lnTo>
                  <a:lnTo>
                    <a:pt x="190" y="82"/>
                  </a:lnTo>
                  <a:lnTo>
                    <a:pt x="192" y="80"/>
                  </a:lnTo>
                  <a:lnTo>
                    <a:pt x="192" y="80"/>
                  </a:lnTo>
                  <a:lnTo>
                    <a:pt x="192" y="80"/>
                  </a:lnTo>
                  <a:lnTo>
                    <a:pt x="192" y="78"/>
                  </a:lnTo>
                  <a:lnTo>
                    <a:pt x="192" y="78"/>
                  </a:lnTo>
                  <a:lnTo>
                    <a:pt x="192" y="76"/>
                  </a:lnTo>
                  <a:lnTo>
                    <a:pt x="192" y="74"/>
                  </a:lnTo>
                  <a:lnTo>
                    <a:pt x="192" y="70"/>
                  </a:lnTo>
                  <a:lnTo>
                    <a:pt x="192" y="66"/>
                  </a:lnTo>
                  <a:lnTo>
                    <a:pt x="192" y="64"/>
                  </a:lnTo>
                  <a:lnTo>
                    <a:pt x="190" y="64"/>
                  </a:lnTo>
                  <a:lnTo>
                    <a:pt x="188" y="62"/>
                  </a:lnTo>
                  <a:lnTo>
                    <a:pt x="186" y="62"/>
                  </a:lnTo>
                  <a:lnTo>
                    <a:pt x="186" y="62"/>
                  </a:lnTo>
                  <a:lnTo>
                    <a:pt x="186" y="60"/>
                  </a:lnTo>
                  <a:lnTo>
                    <a:pt x="184" y="58"/>
                  </a:lnTo>
                  <a:lnTo>
                    <a:pt x="184" y="56"/>
                  </a:lnTo>
                  <a:lnTo>
                    <a:pt x="184" y="54"/>
                  </a:lnTo>
                  <a:lnTo>
                    <a:pt x="182" y="50"/>
                  </a:lnTo>
                  <a:lnTo>
                    <a:pt x="182" y="50"/>
                  </a:lnTo>
                  <a:lnTo>
                    <a:pt x="180" y="48"/>
                  </a:lnTo>
                  <a:lnTo>
                    <a:pt x="180" y="48"/>
                  </a:lnTo>
                  <a:lnTo>
                    <a:pt x="180" y="46"/>
                  </a:lnTo>
                  <a:lnTo>
                    <a:pt x="176" y="44"/>
                  </a:lnTo>
                  <a:lnTo>
                    <a:pt x="176" y="44"/>
                  </a:lnTo>
                  <a:lnTo>
                    <a:pt x="174" y="42"/>
                  </a:lnTo>
                  <a:lnTo>
                    <a:pt x="174" y="42"/>
                  </a:lnTo>
                  <a:lnTo>
                    <a:pt x="174" y="40"/>
                  </a:lnTo>
                  <a:lnTo>
                    <a:pt x="174" y="40"/>
                  </a:lnTo>
                  <a:lnTo>
                    <a:pt x="174" y="40"/>
                  </a:lnTo>
                  <a:lnTo>
                    <a:pt x="174" y="40"/>
                  </a:lnTo>
                  <a:lnTo>
                    <a:pt x="176" y="38"/>
                  </a:lnTo>
                  <a:lnTo>
                    <a:pt x="176" y="38"/>
                  </a:lnTo>
                  <a:lnTo>
                    <a:pt x="178" y="36"/>
                  </a:lnTo>
                  <a:lnTo>
                    <a:pt x="178" y="36"/>
                  </a:lnTo>
                  <a:lnTo>
                    <a:pt x="178" y="36"/>
                  </a:lnTo>
                  <a:lnTo>
                    <a:pt x="178" y="34"/>
                  </a:lnTo>
                  <a:lnTo>
                    <a:pt x="178" y="32"/>
                  </a:lnTo>
                  <a:lnTo>
                    <a:pt x="178" y="30"/>
                  </a:lnTo>
                  <a:lnTo>
                    <a:pt x="178" y="30"/>
                  </a:lnTo>
                  <a:lnTo>
                    <a:pt x="178" y="30"/>
                  </a:lnTo>
                  <a:lnTo>
                    <a:pt x="178" y="28"/>
                  </a:lnTo>
                  <a:lnTo>
                    <a:pt x="178" y="28"/>
                  </a:lnTo>
                  <a:lnTo>
                    <a:pt x="176" y="28"/>
                  </a:lnTo>
                  <a:lnTo>
                    <a:pt x="176" y="26"/>
                  </a:lnTo>
                  <a:lnTo>
                    <a:pt x="174" y="26"/>
                  </a:lnTo>
                  <a:lnTo>
                    <a:pt x="172" y="26"/>
                  </a:lnTo>
                  <a:lnTo>
                    <a:pt x="170" y="26"/>
                  </a:lnTo>
                  <a:lnTo>
                    <a:pt x="168" y="26"/>
                  </a:lnTo>
                  <a:lnTo>
                    <a:pt x="164" y="26"/>
                  </a:lnTo>
                  <a:lnTo>
                    <a:pt x="160" y="28"/>
                  </a:lnTo>
                  <a:lnTo>
                    <a:pt x="158" y="28"/>
                  </a:lnTo>
                  <a:lnTo>
                    <a:pt x="156" y="28"/>
                  </a:lnTo>
                  <a:lnTo>
                    <a:pt x="152" y="28"/>
                  </a:lnTo>
                  <a:lnTo>
                    <a:pt x="148" y="28"/>
                  </a:lnTo>
                  <a:lnTo>
                    <a:pt x="144" y="28"/>
                  </a:lnTo>
                  <a:lnTo>
                    <a:pt x="142" y="30"/>
                  </a:lnTo>
                  <a:lnTo>
                    <a:pt x="140" y="30"/>
                  </a:lnTo>
                  <a:lnTo>
                    <a:pt x="140" y="30"/>
                  </a:lnTo>
                  <a:lnTo>
                    <a:pt x="138" y="32"/>
                  </a:lnTo>
                  <a:lnTo>
                    <a:pt x="136" y="32"/>
                  </a:lnTo>
                  <a:lnTo>
                    <a:pt x="134" y="34"/>
                  </a:lnTo>
                  <a:lnTo>
                    <a:pt x="134" y="36"/>
                  </a:lnTo>
                  <a:lnTo>
                    <a:pt x="132" y="36"/>
                  </a:lnTo>
                  <a:lnTo>
                    <a:pt x="130" y="38"/>
                  </a:lnTo>
                  <a:lnTo>
                    <a:pt x="130" y="38"/>
                  </a:lnTo>
                  <a:lnTo>
                    <a:pt x="128" y="38"/>
                  </a:lnTo>
                  <a:lnTo>
                    <a:pt x="128" y="38"/>
                  </a:lnTo>
                  <a:lnTo>
                    <a:pt x="126" y="38"/>
                  </a:lnTo>
                  <a:lnTo>
                    <a:pt x="124" y="38"/>
                  </a:lnTo>
                  <a:lnTo>
                    <a:pt x="120" y="36"/>
                  </a:lnTo>
                  <a:lnTo>
                    <a:pt x="118" y="36"/>
                  </a:lnTo>
                  <a:lnTo>
                    <a:pt x="118" y="36"/>
                  </a:lnTo>
                  <a:lnTo>
                    <a:pt x="116" y="36"/>
                  </a:lnTo>
                  <a:lnTo>
                    <a:pt x="114" y="36"/>
                  </a:lnTo>
                  <a:lnTo>
                    <a:pt x="110" y="36"/>
                  </a:lnTo>
                  <a:lnTo>
                    <a:pt x="102" y="36"/>
                  </a:lnTo>
                  <a:lnTo>
                    <a:pt x="98" y="36"/>
                  </a:lnTo>
                  <a:lnTo>
                    <a:pt x="96" y="36"/>
                  </a:lnTo>
                  <a:lnTo>
                    <a:pt x="94" y="36"/>
                  </a:lnTo>
                  <a:lnTo>
                    <a:pt x="92" y="36"/>
                  </a:lnTo>
                  <a:lnTo>
                    <a:pt x="90" y="36"/>
                  </a:lnTo>
                  <a:lnTo>
                    <a:pt x="88" y="34"/>
                  </a:lnTo>
                  <a:lnTo>
                    <a:pt x="86" y="34"/>
                  </a:lnTo>
                  <a:lnTo>
                    <a:pt x="86" y="34"/>
                  </a:lnTo>
                  <a:lnTo>
                    <a:pt x="86" y="34"/>
                  </a:lnTo>
                  <a:lnTo>
                    <a:pt x="86" y="32"/>
                  </a:lnTo>
                  <a:lnTo>
                    <a:pt x="86" y="32"/>
                  </a:lnTo>
                  <a:lnTo>
                    <a:pt x="84" y="30"/>
                  </a:lnTo>
                  <a:lnTo>
                    <a:pt x="84" y="28"/>
                  </a:lnTo>
                  <a:lnTo>
                    <a:pt x="84" y="26"/>
                  </a:lnTo>
                  <a:lnTo>
                    <a:pt x="84" y="26"/>
                  </a:lnTo>
                  <a:lnTo>
                    <a:pt x="82" y="24"/>
                  </a:lnTo>
                  <a:lnTo>
                    <a:pt x="82" y="24"/>
                  </a:lnTo>
                  <a:lnTo>
                    <a:pt x="80" y="24"/>
                  </a:lnTo>
                  <a:lnTo>
                    <a:pt x="78" y="24"/>
                  </a:lnTo>
                  <a:lnTo>
                    <a:pt x="76" y="22"/>
                  </a:lnTo>
                  <a:lnTo>
                    <a:pt x="72" y="22"/>
                  </a:lnTo>
                  <a:lnTo>
                    <a:pt x="68" y="22"/>
                  </a:lnTo>
                  <a:lnTo>
                    <a:pt x="66" y="20"/>
                  </a:lnTo>
                  <a:lnTo>
                    <a:pt x="66" y="20"/>
                  </a:lnTo>
                  <a:lnTo>
                    <a:pt x="64" y="20"/>
                  </a:lnTo>
                  <a:lnTo>
                    <a:pt x="62" y="18"/>
                  </a:lnTo>
                  <a:lnTo>
                    <a:pt x="62" y="18"/>
                  </a:lnTo>
                  <a:lnTo>
                    <a:pt x="62" y="16"/>
                  </a:lnTo>
                  <a:lnTo>
                    <a:pt x="62" y="14"/>
                  </a:lnTo>
                  <a:lnTo>
                    <a:pt x="60" y="12"/>
                  </a:lnTo>
                  <a:lnTo>
                    <a:pt x="60" y="10"/>
                  </a:lnTo>
                  <a:lnTo>
                    <a:pt x="60" y="10"/>
                  </a:lnTo>
                  <a:lnTo>
                    <a:pt x="60" y="10"/>
                  </a:lnTo>
                  <a:lnTo>
                    <a:pt x="58" y="10"/>
                  </a:lnTo>
                  <a:lnTo>
                    <a:pt x="58" y="8"/>
                  </a:lnTo>
                  <a:lnTo>
                    <a:pt x="56" y="8"/>
                  </a:lnTo>
                  <a:lnTo>
                    <a:pt x="54" y="8"/>
                  </a:lnTo>
                  <a:lnTo>
                    <a:pt x="52" y="8"/>
                  </a:lnTo>
                  <a:lnTo>
                    <a:pt x="50" y="8"/>
                  </a:lnTo>
                  <a:lnTo>
                    <a:pt x="50" y="8"/>
                  </a:lnTo>
                  <a:lnTo>
                    <a:pt x="50" y="6"/>
                  </a:lnTo>
                  <a:lnTo>
                    <a:pt x="48" y="6"/>
                  </a:lnTo>
                  <a:lnTo>
                    <a:pt x="48" y="6"/>
                  </a:lnTo>
                  <a:lnTo>
                    <a:pt x="48" y="6"/>
                  </a:lnTo>
                  <a:lnTo>
                    <a:pt x="48" y="4"/>
                  </a:lnTo>
                  <a:lnTo>
                    <a:pt x="50" y="2"/>
                  </a:lnTo>
                  <a:lnTo>
                    <a:pt x="50" y="2"/>
                  </a:lnTo>
                  <a:lnTo>
                    <a:pt x="50" y="2"/>
                  </a:lnTo>
                  <a:lnTo>
                    <a:pt x="50" y="2"/>
                  </a:lnTo>
                  <a:lnTo>
                    <a:pt x="48" y="0"/>
                  </a:lnTo>
                  <a:lnTo>
                    <a:pt x="48" y="0"/>
                  </a:lnTo>
                  <a:lnTo>
                    <a:pt x="48" y="0"/>
                  </a:lnTo>
                  <a:lnTo>
                    <a:pt x="48" y="2"/>
                  </a:lnTo>
                  <a:lnTo>
                    <a:pt x="46" y="2"/>
                  </a:lnTo>
                  <a:lnTo>
                    <a:pt x="46" y="4"/>
                  </a:lnTo>
                  <a:lnTo>
                    <a:pt x="46" y="6"/>
                  </a:lnTo>
                  <a:lnTo>
                    <a:pt x="44" y="6"/>
                  </a:lnTo>
                  <a:lnTo>
                    <a:pt x="44" y="6"/>
                  </a:lnTo>
                  <a:lnTo>
                    <a:pt x="44" y="6"/>
                  </a:lnTo>
                  <a:lnTo>
                    <a:pt x="42" y="8"/>
                  </a:lnTo>
                  <a:lnTo>
                    <a:pt x="40" y="8"/>
                  </a:lnTo>
                  <a:lnTo>
                    <a:pt x="38" y="8"/>
                  </a:lnTo>
                  <a:lnTo>
                    <a:pt x="34" y="6"/>
                  </a:lnTo>
                  <a:lnTo>
                    <a:pt x="30" y="6"/>
                  </a:lnTo>
                  <a:lnTo>
                    <a:pt x="28" y="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6" name="Freeform 511">
              <a:extLst>
                <a:ext uri="{FF2B5EF4-FFF2-40B4-BE49-F238E27FC236}">
                  <a16:creationId xmlns:a16="http://schemas.microsoft.com/office/drawing/2014/main" id="{4894A96A-9307-4707-A88A-78CD3B830486}"/>
                </a:ext>
              </a:extLst>
            </p:cNvPr>
            <p:cNvSpPr>
              <a:spLocks/>
            </p:cNvSpPr>
            <p:nvPr/>
          </p:nvSpPr>
          <p:spPr bwMode="auto">
            <a:xfrm>
              <a:off x="2450533" y="4303260"/>
              <a:ext cx="332558" cy="336023"/>
            </a:xfrm>
            <a:custGeom>
              <a:avLst/>
              <a:gdLst>
                <a:gd name="T0" fmla="*/ 16 w 192"/>
                <a:gd name="T1" fmla="*/ 20 h 194"/>
                <a:gd name="T2" fmla="*/ 12 w 192"/>
                <a:gd name="T3" fmla="*/ 38 h 194"/>
                <a:gd name="T4" fmla="*/ 8 w 192"/>
                <a:gd name="T5" fmla="*/ 46 h 194"/>
                <a:gd name="T6" fmla="*/ 0 w 192"/>
                <a:gd name="T7" fmla="*/ 50 h 194"/>
                <a:gd name="T8" fmla="*/ 6 w 192"/>
                <a:gd name="T9" fmla="*/ 58 h 194"/>
                <a:gd name="T10" fmla="*/ 12 w 192"/>
                <a:gd name="T11" fmla="*/ 68 h 194"/>
                <a:gd name="T12" fmla="*/ 8 w 192"/>
                <a:gd name="T13" fmla="*/ 82 h 194"/>
                <a:gd name="T14" fmla="*/ 10 w 192"/>
                <a:gd name="T15" fmla="*/ 86 h 194"/>
                <a:gd name="T16" fmla="*/ 28 w 192"/>
                <a:gd name="T17" fmla="*/ 84 h 194"/>
                <a:gd name="T18" fmla="*/ 36 w 192"/>
                <a:gd name="T19" fmla="*/ 86 h 194"/>
                <a:gd name="T20" fmla="*/ 36 w 192"/>
                <a:gd name="T21" fmla="*/ 96 h 194"/>
                <a:gd name="T22" fmla="*/ 44 w 192"/>
                <a:gd name="T23" fmla="*/ 100 h 194"/>
                <a:gd name="T24" fmla="*/ 70 w 192"/>
                <a:gd name="T25" fmla="*/ 108 h 194"/>
                <a:gd name="T26" fmla="*/ 82 w 192"/>
                <a:gd name="T27" fmla="*/ 114 h 194"/>
                <a:gd name="T28" fmla="*/ 82 w 192"/>
                <a:gd name="T29" fmla="*/ 132 h 194"/>
                <a:gd name="T30" fmla="*/ 76 w 192"/>
                <a:gd name="T31" fmla="*/ 158 h 194"/>
                <a:gd name="T32" fmla="*/ 86 w 192"/>
                <a:gd name="T33" fmla="*/ 176 h 194"/>
                <a:gd name="T34" fmla="*/ 94 w 192"/>
                <a:gd name="T35" fmla="*/ 186 h 194"/>
                <a:gd name="T36" fmla="*/ 106 w 192"/>
                <a:gd name="T37" fmla="*/ 194 h 194"/>
                <a:gd name="T38" fmla="*/ 120 w 192"/>
                <a:gd name="T39" fmla="*/ 192 h 194"/>
                <a:gd name="T40" fmla="*/ 132 w 192"/>
                <a:gd name="T41" fmla="*/ 184 h 194"/>
                <a:gd name="T42" fmla="*/ 134 w 192"/>
                <a:gd name="T43" fmla="*/ 174 h 194"/>
                <a:gd name="T44" fmla="*/ 130 w 192"/>
                <a:gd name="T45" fmla="*/ 168 h 194"/>
                <a:gd name="T46" fmla="*/ 122 w 192"/>
                <a:gd name="T47" fmla="*/ 164 h 194"/>
                <a:gd name="T48" fmla="*/ 122 w 192"/>
                <a:gd name="T49" fmla="*/ 146 h 194"/>
                <a:gd name="T50" fmla="*/ 130 w 192"/>
                <a:gd name="T51" fmla="*/ 140 h 194"/>
                <a:gd name="T52" fmla="*/ 136 w 192"/>
                <a:gd name="T53" fmla="*/ 144 h 194"/>
                <a:gd name="T54" fmla="*/ 144 w 192"/>
                <a:gd name="T55" fmla="*/ 152 h 194"/>
                <a:gd name="T56" fmla="*/ 150 w 192"/>
                <a:gd name="T57" fmla="*/ 146 h 194"/>
                <a:gd name="T58" fmla="*/ 164 w 192"/>
                <a:gd name="T59" fmla="*/ 146 h 194"/>
                <a:gd name="T60" fmla="*/ 178 w 192"/>
                <a:gd name="T61" fmla="*/ 144 h 194"/>
                <a:gd name="T62" fmla="*/ 182 w 192"/>
                <a:gd name="T63" fmla="*/ 130 h 194"/>
                <a:gd name="T64" fmla="*/ 176 w 192"/>
                <a:gd name="T65" fmla="*/ 118 h 194"/>
                <a:gd name="T66" fmla="*/ 174 w 192"/>
                <a:gd name="T67" fmla="*/ 106 h 194"/>
                <a:gd name="T68" fmla="*/ 182 w 192"/>
                <a:gd name="T69" fmla="*/ 94 h 194"/>
                <a:gd name="T70" fmla="*/ 186 w 192"/>
                <a:gd name="T71" fmla="*/ 86 h 194"/>
                <a:gd name="T72" fmla="*/ 192 w 192"/>
                <a:gd name="T73" fmla="*/ 78 h 194"/>
                <a:gd name="T74" fmla="*/ 190 w 192"/>
                <a:gd name="T75" fmla="*/ 64 h 194"/>
                <a:gd name="T76" fmla="*/ 184 w 192"/>
                <a:gd name="T77" fmla="*/ 54 h 194"/>
                <a:gd name="T78" fmla="*/ 176 w 192"/>
                <a:gd name="T79" fmla="*/ 44 h 194"/>
                <a:gd name="T80" fmla="*/ 176 w 192"/>
                <a:gd name="T81" fmla="*/ 38 h 194"/>
                <a:gd name="T82" fmla="*/ 178 w 192"/>
                <a:gd name="T83" fmla="*/ 30 h 194"/>
                <a:gd name="T84" fmla="*/ 174 w 192"/>
                <a:gd name="T85" fmla="*/ 26 h 194"/>
                <a:gd name="T86" fmla="*/ 156 w 192"/>
                <a:gd name="T87" fmla="*/ 28 h 194"/>
                <a:gd name="T88" fmla="*/ 138 w 192"/>
                <a:gd name="T89" fmla="*/ 32 h 194"/>
                <a:gd name="T90" fmla="*/ 128 w 192"/>
                <a:gd name="T91" fmla="*/ 38 h 194"/>
                <a:gd name="T92" fmla="*/ 116 w 192"/>
                <a:gd name="T93" fmla="*/ 36 h 194"/>
                <a:gd name="T94" fmla="*/ 92 w 192"/>
                <a:gd name="T95" fmla="*/ 36 h 194"/>
                <a:gd name="T96" fmla="*/ 86 w 192"/>
                <a:gd name="T97" fmla="*/ 32 h 194"/>
                <a:gd name="T98" fmla="*/ 80 w 192"/>
                <a:gd name="T99" fmla="*/ 24 h 194"/>
                <a:gd name="T100" fmla="*/ 64 w 192"/>
                <a:gd name="T101" fmla="*/ 20 h 194"/>
                <a:gd name="T102" fmla="*/ 60 w 192"/>
                <a:gd name="T103" fmla="*/ 10 h 194"/>
                <a:gd name="T104" fmla="*/ 50 w 192"/>
                <a:gd name="T105" fmla="*/ 8 h 194"/>
                <a:gd name="T106" fmla="*/ 50 w 192"/>
                <a:gd name="T107" fmla="*/ 2 h 194"/>
                <a:gd name="T108" fmla="*/ 48 w 192"/>
                <a:gd name="T109" fmla="*/ 2 h 194"/>
                <a:gd name="T110" fmla="*/ 42 w 192"/>
                <a:gd name="T111" fmla="*/ 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2" h="194">
                  <a:moveTo>
                    <a:pt x="28" y="6"/>
                  </a:moveTo>
                  <a:lnTo>
                    <a:pt x="28" y="6"/>
                  </a:lnTo>
                  <a:lnTo>
                    <a:pt x="26" y="8"/>
                  </a:lnTo>
                  <a:lnTo>
                    <a:pt x="24" y="12"/>
                  </a:lnTo>
                  <a:lnTo>
                    <a:pt x="20" y="16"/>
                  </a:lnTo>
                  <a:lnTo>
                    <a:pt x="18" y="18"/>
                  </a:lnTo>
                  <a:lnTo>
                    <a:pt x="16" y="20"/>
                  </a:lnTo>
                  <a:lnTo>
                    <a:pt x="16" y="20"/>
                  </a:lnTo>
                  <a:lnTo>
                    <a:pt x="16" y="22"/>
                  </a:lnTo>
                  <a:lnTo>
                    <a:pt x="14" y="26"/>
                  </a:lnTo>
                  <a:lnTo>
                    <a:pt x="14" y="28"/>
                  </a:lnTo>
                  <a:lnTo>
                    <a:pt x="14" y="32"/>
                  </a:lnTo>
                  <a:lnTo>
                    <a:pt x="12" y="36"/>
                  </a:lnTo>
                  <a:lnTo>
                    <a:pt x="12" y="38"/>
                  </a:lnTo>
                  <a:lnTo>
                    <a:pt x="12" y="40"/>
                  </a:lnTo>
                  <a:lnTo>
                    <a:pt x="12" y="42"/>
                  </a:lnTo>
                  <a:lnTo>
                    <a:pt x="10" y="42"/>
                  </a:lnTo>
                  <a:lnTo>
                    <a:pt x="10" y="44"/>
                  </a:lnTo>
                  <a:lnTo>
                    <a:pt x="10" y="44"/>
                  </a:lnTo>
                  <a:lnTo>
                    <a:pt x="10" y="44"/>
                  </a:lnTo>
                  <a:lnTo>
                    <a:pt x="8" y="46"/>
                  </a:lnTo>
                  <a:lnTo>
                    <a:pt x="4" y="46"/>
                  </a:lnTo>
                  <a:lnTo>
                    <a:pt x="4" y="48"/>
                  </a:lnTo>
                  <a:lnTo>
                    <a:pt x="2" y="48"/>
                  </a:lnTo>
                  <a:lnTo>
                    <a:pt x="2" y="48"/>
                  </a:lnTo>
                  <a:lnTo>
                    <a:pt x="0" y="48"/>
                  </a:lnTo>
                  <a:lnTo>
                    <a:pt x="0" y="50"/>
                  </a:lnTo>
                  <a:lnTo>
                    <a:pt x="0" y="50"/>
                  </a:lnTo>
                  <a:lnTo>
                    <a:pt x="0" y="50"/>
                  </a:lnTo>
                  <a:lnTo>
                    <a:pt x="0" y="52"/>
                  </a:lnTo>
                  <a:lnTo>
                    <a:pt x="0" y="52"/>
                  </a:lnTo>
                  <a:lnTo>
                    <a:pt x="2" y="54"/>
                  </a:lnTo>
                  <a:lnTo>
                    <a:pt x="2" y="56"/>
                  </a:lnTo>
                  <a:lnTo>
                    <a:pt x="4" y="56"/>
                  </a:lnTo>
                  <a:lnTo>
                    <a:pt x="6" y="58"/>
                  </a:lnTo>
                  <a:lnTo>
                    <a:pt x="8" y="60"/>
                  </a:lnTo>
                  <a:lnTo>
                    <a:pt x="10" y="64"/>
                  </a:lnTo>
                  <a:lnTo>
                    <a:pt x="12" y="64"/>
                  </a:lnTo>
                  <a:lnTo>
                    <a:pt x="12" y="66"/>
                  </a:lnTo>
                  <a:lnTo>
                    <a:pt x="12" y="66"/>
                  </a:lnTo>
                  <a:lnTo>
                    <a:pt x="12" y="68"/>
                  </a:lnTo>
                  <a:lnTo>
                    <a:pt x="12" y="68"/>
                  </a:lnTo>
                  <a:lnTo>
                    <a:pt x="12" y="70"/>
                  </a:lnTo>
                  <a:lnTo>
                    <a:pt x="12" y="70"/>
                  </a:lnTo>
                  <a:lnTo>
                    <a:pt x="12" y="72"/>
                  </a:lnTo>
                  <a:lnTo>
                    <a:pt x="12" y="74"/>
                  </a:lnTo>
                  <a:lnTo>
                    <a:pt x="10" y="76"/>
                  </a:lnTo>
                  <a:lnTo>
                    <a:pt x="10" y="78"/>
                  </a:lnTo>
                  <a:lnTo>
                    <a:pt x="8" y="82"/>
                  </a:lnTo>
                  <a:lnTo>
                    <a:pt x="8" y="82"/>
                  </a:lnTo>
                  <a:lnTo>
                    <a:pt x="8" y="84"/>
                  </a:lnTo>
                  <a:lnTo>
                    <a:pt x="8" y="84"/>
                  </a:lnTo>
                  <a:lnTo>
                    <a:pt x="8" y="84"/>
                  </a:lnTo>
                  <a:lnTo>
                    <a:pt x="10" y="86"/>
                  </a:lnTo>
                  <a:lnTo>
                    <a:pt x="10" y="86"/>
                  </a:lnTo>
                  <a:lnTo>
                    <a:pt x="10" y="86"/>
                  </a:lnTo>
                  <a:lnTo>
                    <a:pt x="12" y="86"/>
                  </a:lnTo>
                  <a:lnTo>
                    <a:pt x="14" y="86"/>
                  </a:lnTo>
                  <a:lnTo>
                    <a:pt x="16" y="86"/>
                  </a:lnTo>
                  <a:lnTo>
                    <a:pt x="18" y="86"/>
                  </a:lnTo>
                  <a:lnTo>
                    <a:pt x="22" y="86"/>
                  </a:lnTo>
                  <a:lnTo>
                    <a:pt x="26" y="86"/>
                  </a:lnTo>
                  <a:lnTo>
                    <a:pt x="28" y="84"/>
                  </a:lnTo>
                  <a:lnTo>
                    <a:pt x="30" y="84"/>
                  </a:lnTo>
                  <a:lnTo>
                    <a:pt x="32" y="84"/>
                  </a:lnTo>
                  <a:lnTo>
                    <a:pt x="34" y="84"/>
                  </a:lnTo>
                  <a:lnTo>
                    <a:pt x="34" y="86"/>
                  </a:lnTo>
                  <a:lnTo>
                    <a:pt x="34" y="86"/>
                  </a:lnTo>
                  <a:lnTo>
                    <a:pt x="36" y="86"/>
                  </a:lnTo>
                  <a:lnTo>
                    <a:pt x="36" y="86"/>
                  </a:lnTo>
                  <a:lnTo>
                    <a:pt x="36" y="88"/>
                  </a:lnTo>
                  <a:lnTo>
                    <a:pt x="36" y="88"/>
                  </a:lnTo>
                  <a:lnTo>
                    <a:pt x="36" y="90"/>
                  </a:lnTo>
                  <a:lnTo>
                    <a:pt x="36" y="92"/>
                  </a:lnTo>
                  <a:lnTo>
                    <a:pt x="36" y="92"/>
                  </a:lnTo>
                  <a:lnTo>
                    <a:pt x="36" y="94"/>
                  </a:lnTo>
                  <a:lnTo>
                    <a:pt x="36" y="96"/>
                  </a:lnTo>
                  <a:lnTo>
                    <a:pt x="36" y="96"/>
                  </a:lnTo>
                  <a:lnTo>
                    <a:pt x="36" y="96"/>
                  </a:lnTo>
                  <a:lnTo>
                    <a:pt x="38" y="98"/>
                  </a:lnTo>
                  <a:lnTo>
                    <a:pt x="38" y="98"/>
                  </a:lnTo>
                  <a:lnTo>
                    <a:pt x="40" y="98"/>
                  </a:lnTo>
                  <a:lnTo>
                    <a:pt x="40" y="100"/>
                  </a:lnTo>
                  <a:lnTo>
                    <a:pt x="44" y="100"/>
                  </a:lnTo>
                  <a:lnTo>
                    <a:pt x="46" y="102"/>
                  </a:lnTo>
                  <a:lnTo>
                    <a:pt x="50" y="104"/>
                  </a:lnTo>
                  <a:lnTo>
                    <a:pt x="52" y="104"/>
                  </a:lnTo>
                  <a:lnTo>
                    <a:pt x="58" y="106"/>
                  </a:lnTo>
                  <a:lnTo>
                    <a:pt x="60" y="106"/>
                  </a:lnTo>
                  <a:lnTo>
                    <a:pt x="64" y="108"/>
                  </a:lnTo>
                  <a:lnTo>
                    <a:pt x="70" y="108"/>
                  </a:lnTo>
                  <a:lnTo>
                    <a:pt x="74" y="110"/>
                  </a:lnTo>
                  <a:lnTo>
                    <a:pt x="76" y="110"/>
                  </a:lnTo>
                  <a:lnTo>
                    <a:pt x="78" y="112"/>
                  </a:lnTo>
                  <a:lnTo>
                    <a:pt x="80" y="112"/>
                  </a:lnTo>
                  <a:lnTo>
                    <a:pt x="80" y="112"/>
                  </a:lnTo>
                  <a:lnTo>
                    <a:pt x="80" y="114"/>
                  </a:lnTo>
                  <a:lnTo>
                    <a:pt x="82" y="114"/>
                  </a:lnTo>
                  <a:lnTo>
                    <a:pt x="82" y="116"/>
                  </a:lnTo>
                  <a:lnTo>
                    <a:pt x="82" y="118"/>
                  </a:lnTo>
                  <a:lnTo>
                    <a:pt x="82" y="120"/>
                  </a:lnTo>
                  <a:lnTo>
                    <a:pt x="84" y="122"/>
                  </a:lnTo>
                  <a:lnTo>
                    <a:pt x="84" y="124"/>
                  </a:lnTo>
                  <a:lnTo>
                    <a:pt x="82" y="128"/>
                  </a:lnTo>
                  <a:lnTo>
                    <a:pt x="82" y="132"/>
                  </a:lnTo>
                  <a:lnTo>
                    <a:pt x="82" y="136"/>
                  </a:lnTo>
                  <a:lnTo>
                    <a:pt x="80" y="142"/>
                  </a:lnTo>
                  <a:lnTo>
                    <a:pt x="80" y="144"/>
                  </a:lnTo>
                  <a:lnTo>
                    <a:pt x="80" y="146"/>
                  </a:lnTo>
                  <a:lnTo>
                    <a:pt x="78" y="152"/>
                  </a:lnTo>
                  <a:lnTo>
                    <a:pt x="76" y="156"/>
                  </a:lnTo>
                  <a:lnTo>
                    <a:pt x="76" y="158"/>
                  </a:lnTo>
                  <a:lnTo>
                    <a:pt x="76" y="160"/>
                  </a:lnTo>
                  <a:lnTo>
                    <a:pt x="76" y="162"/>
                  </a:lnTo>
                  <a:lnTo>
                    <a:pt x="76" y="164"/>
                  </a:lnTo>
                  <a:lnTo>
                    <a:pt x="78" y="168"/>
                  </a:lnTo>
                  <a:lnTo>
                    <a:pt x="78" y="174"/>
                  </a:lnTo>
                  <a:lnTo>
                    <a:pt x="82" y="176"/>
                  </a:lnTo>
                  <a:lnTo>
                    <a:pt x="86" y="176"/>
                  </a:lnTo>
                  <a:lnTo>
                    <a:pt x="86" y="178"/>
                  </a:lnTo>
                  <a:lnTo>
                    <a:pt x="88" y="178"/>
                  </a:lnTo>
                  <a:lnTo>
                    <a:pt x="88" y="178"/>
                  </a:lnTo>
                  <a:lnTo>
                    <a:pt x="90" y="180"/>
                  </a:lnTo>
                  <a:lnTo>
                    <a:pt x="92" y="182"/>
                  </a:lnTo>
                  <a:lnTo>
                    <a:pt x="94" y="186"/>
                  </a:lnTo>
                  <a:lnTo>
                    <a:pt x="94" y="186"/>
                  </a:lnTo>
                  <a:lnTo>
                    <a:pt x="96" y="188"/>
                  </a:lnTo>
                  <a:lnTo>
                    <a:pt x="96" y="188"/>
                  </a:lnTo>
                  <a:lnTo>
                    <a:pt x="98" y="190"/>
                  </a:lnTo>
                  <a:lnTo>
                    <a:pt x="100" y="192"/>
                  </a:lnTo>
                  <a:lnTo>
                    <a:pt x="104" y="192"/>
                  </a:lnTo>
                  <a:lnTo>
                    <a:pt x="104" y="192"/>
                  </a:lnTo>
                  <a:lnTo>
                    <a:pt x="106" y="194"/>
                  </a:lnTo>
                  <a:lnTo>
                    <a:pt x="108" y="194"/>
                  </a:lnTo>
                  <a:lnTo>
                    <a:pt x="110" y="194"/>
                  </a:lnTo>
                  <a:lnTo>
                    <a:pt x="112" y="194"/>
                  </a:lnTo>
                  <a:lnTo>
                    <a:pt x="114" y="194"/>
                  </a:lnTo>
                  <a:lnTo>
                    <a:pt x="116" y="192"/>
                  </a:lnTo>
                  <a:lnTo>
                    <a:pt x="118" y="192"/>
                  </a:lnTo>
                  <a:lnTo>
                    <a:pt x="120" y="192"/>
                  </a:lnTo>
                  <a:lnTo>
                    <a:pt x="122" y="192"/>
                  </a:lnTo>
                  <a:lnTo>
                    <a:pt x="122" y="190"/>
                  </a:lnTo>
                  <a:lnTo>
                    <a:pt x="124" y="190"/>
                  </a:lnTo>
                  <a:lnTo>
                    <a:pt x="126" y="188"/>
                  </a:lnTo>
                  <a:lnTo>
                    <a:pt x="128" y="188"/>
                  </a:lnTo>
                  <a:lnTo>
                    <a:pt x="130" y="186"/>
                  </a:lnTo>
                  <a:lnTo>
                    <a:pt x="132" y="184"/>
                  </a:lnTo>
                  <a:lnTo>
                    <a:pt x="134" y="182"/>
                  </a:lnTo>
                  <a:lnTo>
                    <a:pt x="134" y="182"/>
                  </a:lnTo>
                  <a:lnTo>
                    <a:pt x="134" y="180"/>
                  </a:lnTo>
                  <a:lnTo>
                    <a:pt x="134" y="178"/>
                  </a:lnTo>
                  <a:lnTo>
                    <a:pt x="134" y="178"/>
                  </a:lnTo>
                  <a:lnTo>
                    <a:pt x="134" y="176"/>
                  </a:lnTo>
                  <a:lnTo>
                    <a:pt x="134" y="174"/>
                  </a:lnTo>
                  <a:lnTo>
                    <a:pt x="134" y="172"/>
                  </a:lnTo>
                  <a:lnTo>
                    <a:pt x="134" y="172"/>
                  </a:lnTo>
                  <a:lnTo>
                    <a:pt x="134" y="170"/>
                  </a:lnTo>
                  <a:lnTo>
                    <a:pt x="134" y="170"/>
                  </a:lnTo>
                  <a:lnTo>
                    <a:pt x="132" y="170"/>
                  </a:lnTo>
                  <a:lnTo>
                    <a:pt x="132" y="168"/>
                  </a:lnTo>
                  <a:lnTo>
                    <a:pt x="130" y="168"/>
                  </a:lnTo>
                  <a:lnTo>
                    <a:pt x="128" y="168"/>
                  </a:lnTo>
                  <a:lnTo>
                    <a:pt x="126" y="166"/>
                  </a:lnTo>
                  <a:lnTo>
                    <a:pt x="126" y="166"/>
                  </a:lnTo>
                  <a:lnTo>
                    <a:pt x="124" y="166"/>
                  </a:lnTo>
                  <a:lnTo>
                    <a:pt x="124" y="164"/>
                  </a:lnTo>
                  <a:lnTo>
                    <a:pt x="124" y="164"/>
                  </a:lnTo>
                  <a:lnTo>
                    <a:pt x="122" y="164"/>
                  </a:lnTo>
                  <a:lnTo>
                    <a:pt x="122" y="162"/>
                  </a:lnTo>
                  <a:lnTo>
                    <a:pt x="122" y="160"/>
                  </a:lnTo>
                  <a:lnTo>
                    <a:pt x="122" y="158"/>
                  </a:lnTo>
                  <a:lnTo>
                    <a:pt x="122" y="156"/>
                  </a:lnTo>
                  <a:lnTo>
                    <a:pt x="122" y="152"/>
                  </a:lnTo>
                  <a:lnTo>
                    <a:pt x="122" y="148"/>
                  </a:lnTo>
                  <a:lnTo>
                    <a:pt x="122" y="146"/>
                  </a:lnTo>
                  <a:lnTo>
                    <a:pt x="124" y="146"/>
                  </a:lnTo>
                  <a:lnTo>
                    <a:pt x="124" y="144"/>
                  </a:lnTo>
                  <a:lnTo>
                    <a:pt x="124" y="142"/>
                  </a:lnTo>
                  <a:lnTo>
                    <a:pt x="126" y="142"/>
                  </a:lnTo>
                  <a:lnTo>
                    <a:pt x="126" y="142"/>
                  </a:lnTo>
                  <a:lnTo>
                    <a:pt x="128" y="140"/>
                  </a:lnTo>
                  <a:lnTo>
                    <a:pt x="130" y="140"/>
                  </a:lnTo>
                  <a:lnTo>
                    <a:pt x="130" y="140"/>
                  </a:lnTo>
                  <a:lnTo>
                    <a:pt x="130" y="140"/>
                  </a:lnTo>
                  <a:lnTo>
                    <a:pt x="132" y="140"/>
                  </a:lnTo>
                  <a:lnTo>
                    <a:pt x="132" y="140"/>
                  </a:lnTo>
                  <a:lnTo>
                    <a:pt x="134" y="142"/>
                  </a:lnTo>
                  <a:lnTo>
                    <a:pt x="134" y="142"/>
                  </a:lnTo>
                  <a:lnTo>
                    <a:pt x="136" y="144"/>
                  </a:lnTo>
                  <a:lnTo>
                    <a:pt x="138" y="146"/>
                  </a:lnTo>
                  <a:lnTo>
                    <a:pt x="138" y="148"/>
                  </a:lnTo>
                  <a:lnTo>
                    <a:pt x="140" y="150"/>
                  </a:lnTo>
                  <a:lnTo>
                    <a:pt x="142" y="150"/>
                  </a:lnTo>
                  <a:lnTo>
                    <a:pt x="142" y="150"/>
                  </a:lnTo>
                  <a:lnTo>
                    <a:pt x="142" y="152"/>
                  </a:lnTo>
                  <a:lnTo>
                    <a:pt x="144" y="152"/>
                  </a:lnTo>
                  <a:lnTo>
                    <a:pt x="144" y="152"/>
                  </a:lnTo>
                  <a:lnTo>
                    <a:pt x="144" y="152"/>
                  </a:lnTo>
                  <a:lnTo>
                    <a:pt x="146" y="150"/>
                  </a:lnTo>
                  <a:lnTo>
                    <a:pt x="146" y="150"/>
                  </a:lnTo>
                  <a:lnTo>
                    <a:pt x="148" y="148"/>
                  </a:lnTo>
                  <a:lnTo>
                    <a:pt x="150" y="146"/>
                  </a:lnTo>
                  <a:lnTo>
                    <a:pt x="150" y="146"/>
                  </a:lnTo>
                  <a:lnTo>
                    <a:pt x="152" y="146"/>
                  </a:lnTo>
                  <a:lnTo>
                    <a:pt x="154" y="146"/>
                  </a:lnTo>
                  <a:lnTo>
                    <a:pt x="154" y="146"/>
                  </a:lnTo>
                  <a:lnTo>
                    <a:pt x="156" y="146"/>
                  </a:lnTo>
                  <a:lnTo>
                    <a:pt x="158" y="146"/>
                  </a:lnTo>
                  <a:lnTo>
                    <a:pt x="162" y="146"/>
                  </a:lnTo>
                  <a:lnTo>
                    <a:pt x="164" y="146"/>
                  </a:lnTo>
                  <a:lnTo>
                    <a:pt x="168" y="146"/>
                  </a:lnTo>
                  <a:lnTo>
                    <a:pt x="172" y="146"/>
                  </a:lnTo>
                  <a:lnTo>
                    <a:pt x="174" y="146"/>
                  </a:lnTo>
                  <a:lnTo>
                    <a:pt x="174" y="146"/>
                  </a:lnTo>
                  <a:lnTo>
                    <a:pt x="176" y="144"/>
                  </a:lnTo>
                  <a:lnTo>
                    <a:pt x="178" y="144"/>
                  </a:lnTo>
                  <a:lnTo>
                    <a:pt x="178" y="144"/>
                  </a:lnTo>
                  <a:lnTo>
                    <a:pt x="178" y="144"/>
                  </a:lnTo>
                  <a:lnTo>
                    <a:pt x="178" y="142"/>
                  </a:lnTo>
                  <a:lnTo>
                    <a:pt x="180" y="140"/>
                  </a:lnTo>
                  <a:lnTo>
                    <a:pt x="180" y="138"/>
                  </a:lnTo>
                  <a:lnTo>
                    <a:pt x="182" y="136"/>
                  </a:lnTo>
                  <a:lnTo>
                    <a:pt x="182" y="134"/>
                  </a:lnTo>
                  <a:lnTo>
                    <a:pt x="182" y="130"/>
                  </a:lnTo>
                  <a:lnTo>
                    <a:pt x="182" y="126"/>
                  </a:lnTo>
                  <a:lnTo>
                    <a:pt x="182" y="126"/>
                  </a:lnTo>
                  <a:lnTo>
                    <a:pt x="180" y="124"/>
                  </a:lnTo>
                  <a:lnTo>
                    <a:pt x="180" y="124"/>
                  </a:lnTo>
                  <a:lnTo>
                    <a:pt x="180" y="122"/>
                  </a:lnTo>
                  <a:lnTo>
                    <a:pt x="178" y="120"/>
                  </a:lnTo>
                  <a:lnTo>
                    <a:pt x="176" y="118"/>
                  </a:lnTo>
                  <a:lnTo>
                    <a:pt x="174" y="116"/>
                  </a:lnTo>
                  <a:lnTo>
                    <a:pt x="174" y="116"/>
                  </a:lnTo>
                  <a:lnTo>
                    <a:pt x="174" y="114"/>
                  </a:lnTo>
                  <a:lnTo>
                    <a:pt x="174" y="112"/>
                  </a:lnTo>
                  <a:lnTo>
                    <a:pt x="174" y="110"/>
                  </a:lnTo>
                  <a:lnTo>
                    <a:pt x="174" y="108"/>
                  </a:lnTo>
                  <a:lnTo>
                    <a:pt x="174" y="106"/>
                  </a:lnTo>
                  <a:lnTo>
                    <a:pt x="174" y="104"/>
                  </a:lnTo>
                  <a:lnTo>
                    <a:pt x="174" y="102"/>
                  </a:lnTo>
                  <a:lnTo>
                    <a:pt x="176" y="102"/>
                  </a:lnTo>
                  <a:lnTo>
                    <a:pt x="176" y="100"/>
                  </a:lnTo>
                  <a:lnTo>
                    <a:pt x="176" y="100"/>
                  </a:lnTo>
                  <a:lnTo>
                    <a:pt x="180" y="98"/>
                  </a:lnTo>
                  <a:lnTo>
                    <a:pt x="182" y="94"/>
                  </a:lnTo>
                  <a:lnTo>
                    <a:pt x="182" y="94"/>
                  </a:lnTo>
                  <a:lnTo>
                    <a:pt x="184" y="92"/>
                  </a:lnTo>
                  <a:lnTo>
                    <a:pt x="184" y="92"/>
                  </a:lnTo>
                  <a:lnTo>
                    <a:pt x="184" y="92"/>
                  </a:lnTo>
                  <a:lnTo>
                    <a:pt x="184" y="90"/>
                  </a:lnTo>
                  <a:lnTo>
                    <a:pt x="186" y="88"/>
                  </a:lnTo>
                  <a:lnTo>
                    <a:pt x="186" y="86"/>
                  </a:lnTo>
                  <a:lnTo>
                    <a:pt x="186" y="84"/>
                  </a:lnTo>
                  <a:lnTo>
                    <a:pt x="188" y="84"/>
                  </a:lnTo>
                  <a:lnTo>
                    <a:pt x="190" y="82"/>
                  </a:lnTo>
                  <a:lnTo>
                    <a:pt x="192" y="80"/>
                  </a:lnTo>
                  <a:lnTo>
                    <a:pt x="192" y="80"/>
                  </a:lnTo>
                  <a:lnTo>
                    <a:pt x="192" y="80"/>
                  </a:lnTo>
                  <a:lnTo>
                    <a:pt x="192" y="78"/>
                  </a:lnTo>
                  <a:lnTo>
                    <a:pt x="192" y="78"/>
                  </a:lnTo>
                  <a:lnTo>
                    <a:pt x="192" y="76"/>
                  </a:lnTo>
                  <a:lnTo>
                    <a:pt x="192" y="74"/>
                  </a:lnTo>
                  <a:lnTo>
                    <a:pt x="192" y="70"/>
                  </a:lnTo>
                  <a:lnTo>
                    <a:pt x="192" y="66"/>
                  </a:lnTo>
                  <a:lnTo>
                    <a:pt x="192" y="64"/>
                  </a:lnTo>
                  <a:lnTo>
                    <a:pt x="190" y="64"/>
                  </a:lnTo>
                  <a:lnTo>
                    <a:pt x="188" y="62"/>
                  </a:lnTo>
                  <a:lnTo>
                    <a:pt x="186" y="62"/>
                  </a:lnTo>
                  <a:lnTo>
                    <a:pt x="186" y="62"/>
                  </a:lnTo>
                  <a:lnTo>
                    <a:pt x="186" y="60"/>
                  </a:lnTo>
                  <a:lnTo>
                    <a:pt x="184" y="58"/>
                  </a:lnTo>
                  <a:lnTo>
                    <a:pt x="184" y="56"/>
                  </a:lnTo>
                  <a:lnTo>
                    <a:pt x="184" y="54"/>
                  </a:lnTo>
                  <a:lnTo>
                    <a:pt x="182" y="50"/>
                  </a:lnTo>
                  <a:lnTo>
                    <a:pt x="182" y="50"/>
                  </a:lnTo>
                  <a:lnTo>
                    <a:pt x="180" y="48"/>
                  </a:lnTo>
                  <a:lnTo>
                    <a:pt x="180" y="48"/>
                  </a:lnTo>
                  <a:lnTo>
                    <a:pt x="180" y="46"/>
                  </a:lnTo>
                  <a:lnTo>
                    <a:pt x="176" y="44"/>
                  </a:lnTo>
                  <a:lnTo>
                    <a:pt x="176" y="44"/>
                  </a:lnTo>
                  <a:lnTo>
                    <a:pt x="174" y="42"/>
                  </a:lnTo>
                  <a:lnTo>
                    <a:pt x="174" y="42"/>
                  </a:lnTo>
                  <a:lnTo>
                    <a:pt x="174" y="40"/>
                  </a:lnTo>
                  <a:lnTo>
                    <a:pt x="174" y="40"/>
                  </a:lnTo>
                  <a:lnTo>
                    <a:pt x="174" y="40"/>
                  </a:lnTo>
                  <a:lnTo>
                    <a:pt x="174" y="40"/>
                  </a:lnTo>
                  <a:lnTo>
                    <a:pt x="176" y="38"/>
                  </a:lnTo>
                  <a:lnTo>
                    <a:pt x="176" y="38"/>
                  </a:lnTo>
                  <a:lnTo>
                    <a:pt x="178" y="36"/>
                  </a:lnTo>
                  <a:lnTo>
                    <a:pt x="178" y="36"/>
                  </a:lnTo>
                  <a:lnTo>
                    <a:pt x="178" y="36"/>
                  </a:lnTo>
                  <a:lnTo>
                    <a:pt x="178" y="34"/>
                  </a:lnTo>
                  <a:lnTo>
                    <a:pt x="178" y="32"/>
                  </a:lnTo>
                  <a:lnTo>
                    <a:pt x="178" y="30"/>
                  </a:lnTo>
                  <a:lnTo>
                    <a:pt x="178" y="30"/>
                  </a:lnTo>
                  <a:lnTo>
                    <a:pt x="178" y="30"/>
                  </a:lnTo>
                  <a:lnTo>
                    <a:pt x="178" y="28"/>
                  </a:lnTo>
                  <a:lnTo>
                    <a:pt x="178" y="28"/>
                  </a:lnTo>
                  <a:lnTo>
                    <a:pt x="176" y="28"/>
                  </a:lnTo>
                  <a:lnTo>
                    <a:pt x="176" y="26"/>
                  </a:lnTo>
                  <a:lnTo>
                    <a:pt x="174" y="26"/>
                  </a:lnTo>
                  <a:lnTo>
                    <a:pt x="172" y="26"/>
                  </a:lnTo>
                  <a:lnTo>
                    <a:pt x="170" y="26"/>
                  </a:lnTo>
                  <a:lnTo>
                    <a:pt x="168" y="26"/>
                  </a:lnTo>
                  <a:lnTo>
                    <a:pt x="164" y="26"/>
                  </a:lnTo>
                  <a:lnTo>
                    <a:pt x="160" y="28"/>
                  </a:lnTo>
                  <a:lnTo>
                    <a:pt x="158" y="28"/>
                  </a:lnTo>
                  <a:lnTo>
                    <a:pt x="156" y="28"/>
                  </a:lnTo>
                  <a:lnTo>
                    <a:pt x="152" y="28"/>
                  </a:lnTo>
                  <a:lnTo>
                    <a:pt x="148" y="28"/>
                  </a:lnTo>
                  <a:lnTo>
                    <a:pt x="144" y="28"/>
                  </a:lnTo>
                  <a:lnTo>
                    <a:pt x="142" y="30"/>
                  </a:lnTo>
                  <a:lnTo>
                    <a:pt x="140" y="30"/>
                  </a:lnTo>
                  <a:lnTo>
                    <a:pt x="140" y="30"/>
                  </a:lnTo>
                  <a:lnTo>
                    <a:pt x="138" y="32"/>
                  </a:lnTo>
                  <a:lnTo>
                    <a:pt x="136" y="32"/>
                  </a:lnTo>
                  <a:lnTo>
                    <a:pt x="134" y="34"/>
                  </a:lnTo>
                  <a:lnTo>
                    <a:pt x="134" y="36"/>
                  </a:lnTo>
                  <a:lnTo>
                    <a:pt x="132" y="36"/>
                  </a:lnTo>
                  <a:lnTo>
                    <a:pt x="130" y="38"/>
                  </a:lnTo>
                  <a:lnTo>
                    <a:pt x="130" y="38"/>
                  </a:lnTo>
                  <a:lnTo>
                    <a:pt x="128" y="38"/>
                  </a:lnTo>
                  <a:lnTo>
                    <a:pt x="128" y="38"/>
                  </a:lnTo>
                  <a:lnTo>
                    <a:pt x="126" y="38"/>
                  </a:lnTo>
                  <a:lnTo>
                    <a:pt x="124" y="38"/>
                  </a:lnTo>
                  <a:lnTo>
                    <a:pt x="120" y="36"/>
                  </a:lnTo>
                  <a:lnTo>
                    <a:pt x="118" y="36"/>
                  </a:lnTo>
                  <a:lnTo>
                    <a:pt x="118" y="36"/>
                  </a:lnTo>
                  <a:lnTo>
                    <a:pt x="116" y="36"/>
                  </a:lnTo>
                  <a:lnTo>
                    <a:pt x="114" y="36"/>
                  </a:lnTo>
                  <a:lnTo>
                    <a:pt x="110" y="36"/>
                  </a:lnTo>
                  <a:lnTo>
                    <a:pt x="102" y="36"/>
                  </a:lnTo>
                  <a:lnTo>
                    <a:pt x="98" y="36"/>
                  </a:lnTo>
                  <a:lnTo>
                    <a:pt x="96" y="36"/>
                  </a:lnTo>
                  <a:lnTo>
                    <a:pt x="94" y="36"/>
                  </a:lnTo>
                  <a:lnTo>
                    <a:pt x="92" y="36"/>
                  </a:lnTo>
                  <a:lnTo>
                    <a:pt x="90" y="36"/>
                  </a:lnTo>
                  <a:lnTo>
                    <a:pt x="88" y="34"/>
                  </a:lnTo>
                  <a:lnTo>
                    <a:pt x="86" y="34"/>
                  </a:lnTo>
                  <a:lnTo>
                    <a:pt x="86" y="34"/>
                  </a:lnTo>
                  <a:lnTo>
                    <a:pt x="86" y="34"/>
                  </a:lnTo>
                  <a:lnTo>
                    <a:pt x="86" y="32"/>
                  </a:lnTo>
                  <a:lnTo>
                    <a:pt x="86" y="32"/>
                  </a:lnTo>
                  <a:lnTo>
                    <a:pt x="84" y="30"/>
                  </a:lnTo>
                  <a:lnTo>
                    <a:pt x="84" y="28"/>
                  </a:lnTo>
                  <a:lnTo>
                    <a:pt x="84" y="26"/>
                  </a:lnTo>
                  <a:lnTo>
                    <a:pt x="84" y="26"/>
                  </a:lnTo>
                  <a:lnTo>
                    <a:pt x="82" y="24"/>
                  </a:lnTo>
                  <a:lnTo>
                    <a:pt x="82" y="24"/>
                  </a:lnTo>
                  <a:lnTo>
                    <a:pt x="80" y="24"/>
                  </a:lnTo>
                  <a:lnTo>
                    <a:pt x="78" y="24"/>
                  </a:lnTo>
                  <a:lnTo>
                    <a:pt x="76" y="22"/>
                  </a:lnTo>
                  <a:lnTo>
                    <a:pt x="72" y="22"/>
                  </a:lnTo>
                  <a:lnTo>
                    <a:pt x="68" y="22"/>
                  </a:lnTo>
                  <a:lnTo>
                    <a:pt x="66" y="20"/>
                  </a:lnTo>
                  <a:lnTo>
                    <a:pt x="66" y="20"/>
                  </a:lnTo>
                  <a:lnTo>
                    <a:pt x="64" y="20"/>
                  </a:lnTo>
                  <a:lnTo>
                    <a:pt x="62" y="18"/>
                  </a:lnTo>
                  <a:lnTo>
                    <a:pt x="62" y="18"/>
                  </a:lnTo>
                  <a:lnTo>
                    <a:pt x="62" y="16"/>
                  </a:lnTo>
                  <a:lnTo>
                    <a:pt x="62" y="14"/>
                  </a:lnTo>
                  <a:lnTo>
                    <a:pt x="60" y="12"/>
                  </a:lnTo>
                  <a:lnTo>
                    <a:pt x="60" y="10"/>
                  </a:lnTo>
                  <a:lnTo>
                    <a:pt x="60" y="10"/>
                  </a:lnTo>
                  <a:lnTo>
                    <a:pt x="60" y="10"/>
                  </a:lnTo>
                  <a:lnTo>
                    <a:pt x="58" y="10"/>
                  </a:lnTo>
                  <a:lnTo>
                    <a:pt x="58" y="8"/>
                  </a:lnTo>
                  <a:lnTo>
                    <a:pt x="56" y="8"/>
                  </a:lnTo>
                  <a:lnTo>
                    <a:pt x="54" y="8"/>
                  </a:lnTo>
                  <a:lnTo>
                    <a:pt x="52" y="8"/>
                  </a:lnTo>
                  <a:lnTo>
                    <a:pt x="50" y="8"/>
                  </a:lnTo>
                  <a:lnTo>
                    <a:pt x="50" y="8"/>
                  </a:lnTo>
                  <a:lnTo>
                    <a:pt x="50" y="6"/>
                  </a:lnTo>
                  <a:lnTo>
                    <a:pt x="48" y="6"/>
                  </a:lnTo>
                  <a:lnTo>
                    <a:pt x="48" y="6"/>
                  </a:lnTo>
                  <a:lnTo>
                    <a:pt x="48" y="6"/>
                  </a:lnTo>
                  <a:lnTo>
                    <a:pt x="48" y="4"/>
                  </a:lnTo>
                  <a:lnTo>
                    <a:pt x="50" y="2"/>
                  </a:lnTo>
                  <a:lnTo>
                    <a:pt x="50" y="2"/>
                  </a:lnTo>
                  <a:lnTo>
                    <a:pt x="50" y="2"/>
                  </a:lnTo>
                  <a:lnTo>
                    <a:pt x="50" y="2"/>
                  </a:lnTo>
                  <a:lnTo>
                    <a:pt x="48" y="0"/>
                  </a:lnTo>
                  <a:lnTo>
                    <a:pt x="48" y="0"/>
                  </a:lnTo>
                  <a:lnTo>
                    <a:pt x="48" y="0"/>
                  </a:lnTo>
                  <a:lnTo>
                    <a:pt x="48" y="2"/>
                  </a:lnTo>
                  <a:lnTo>
                    <a:pt x="46" y="2"/>
                  </a:lnTo>
                  <a:lnTo>
                    <a:pt x="46" y="4"/>
                  </a:lnTo>
                  <a:lnTo>
                    <a:pt x="46" y="6"/>
                  </a:lnTo>
                  <a:lnTo>
                    <a:pt x="44" y="6"/>
                  </a:lnTo>
                  <a:lnTo>
                    <a:pt x="44" y="6"/>
                  </a:lnTo>
                  <a:lnTo>
                    <a:pt x="44" y="6"/>
                  </a:lnTo>
                  <a:lnTo>
                    <a:pt x="42" y="8"/>
                  </a:lnTo>
                  <a:lnTo>
                    <a:pt x="40" y="8"/>
                  </a:lnTo>
                  <a:lnTo>
                    <a:pt x="38" y="8"/>
                  </a:lnTo>
                  <a:lnTo>
                    <a:pt x="34" y="6"/>
                  </a:lnTo>
                  <a:lnTo>
                    <a:pt x="30" y="6"/>
                  </a:lnTo>
                  <a:lnTo>
                    <a:pt x="28" y="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7" name="Freeform 512">
              <a:extLst>
                <a:ext uri="{FF2B5EF4-FFF2-40B4-BE49-F238E27FC236}">
                  <a16:creationId xmlns:a16="http://schemas.microsoft.com/office/drawing/2014/main" id="{6042D34E-5CDF-45D6-94D6-781BDA53FA66}"/>
                </a:ext>
              </a:extLst>
            </p:cNvPr>
            <p:cNvSpPr>
              <a:spLocks/>
            </p:cNvSpPr>
            <p:nvPr/>
          </p:nvSpPr>
          <p:spPr bwMode="auto">
            <a:xfrm>
              <a:off x="2918193" y="4493788"/>
              <a:ext cx="86604" cy="114317"/>
            </a:xfrm>
            <a:custGeom>
              <a:avLst/>
              <a:gdLst>
                <a:gd name="T0" fmla="*/ 10 w 50"/>
                <a:gd name="T1" fmla="*/ 2 h 66"/>
                <a:gd name="T2" fmla="*/ 6 w 50"/>
                <a:gd name="T3" fmla="*/ 8 h 66"/>
                <a:gd name="T4" fmla="*/ 6 w 50"/>
                <a:gd name="T5" fmla="*/ 10 h 66"/>
                <a:gd name="T6" fmla="*/ 4 w 50"/>
                <a:gd name="T7" fmla="*/ 14 h 66"/>
                <a:gd name="T8" fmla="*/ 4 w 50"/>
                <a:gd name="T9" fmla="*/ 20 h 66"/>
                <a:gd name="T10" fmla="*/ 6 w 50"/>
                <a:gd name="T11" fmla="*/ 32 h 66"/>
                <a:gd name="T12" fmla="*/ 6 w 50"/>
                <a:gd name="T13" fmla="*/ 40 h 66"/>
                <a:gd name="T14" fmla="*/ 6 w 50"/>
                <a:gd name="T15" fmla="*/ 46 h 66"/>
                <a:gd name="T16" fmla="*/ 6 w 50"/>
                <a:gd name="T17" fmla="*/ 50 h 66"/>
                <a:gd name="T18" fmla="*/ 4 w 50"/>
                <a:gd name="T19" fmla="*/ 54 h 66"/>
                <a:gd name="T20" fmla="*/ 2 w 50"/>
                <a:gd name="T21" fmla="*/ 56 h 66"/>
                <a:gd name="T22" fmla="*/ 2 w 50"/>
                <a:gd name="T23" fmla="*/ 58 h 66"/>
                <a:gd name="T24" fmla="*/ 6 w 50"/>
                <a:gd name="T25" fmla="*/ 62 h 66"/>
                <a:gd name="T26" fmla="*/ 8 w 50"/>
                <a:gd name="T27" fmla="*/ 64 h 66"/>
                <a:gd name="T28" fmla="*/ 10 w 50"/>
                <a:gd name="T29" fmla="*/ 66 h 66"/>
                <a:gd name="T30" fmla="*/ 14 w 50"/>
                <a:gd name="T31" fmla="*/ 66 h 66"/>
                <a:gd name="T32" fmla="*/ 18 w 50"/>
                <a:gd name="T33" fmla="*/ 66 h 66"/>
                <a:gd name="T34" fmla="*/ 22 w 50"/>
                <a:gd name="T35" fmla="*/ 66 h 66"/>
                <a:gd name="T36" fmla="*/ 22 w 50"/>
                <a:gd name="T37" fmla="*/ 64 h 66"/>
                <a:gd name="T38" fmla="*/ 24 w 50"/>
                <a:gd name="T39" fmla="*/ 62 h 66"/>
                <a:gd name="T40" fmla="*/ 26 w 50"/>
                <a:gd name="T41" fmla="*/ 58 h 66"/>
                <a:gd name="T42" fmla="*/ 28 w 50"/>
                <a:gd name="T43" fmla="*/ 52 h 66"/>
                <a:gd name="T44" fmla="*/ 30 w 50"/>
                <a:gd name="T45" fmla="*/ 48 h 66"/>
                <a:gd name="T46" fmla="*/ 34 w 50"/>
                <a:gd name="T47" fmla="*/ 44 h 66"/>
                <a:gd name="T48" fmla="*/ 38 w 50"/>
                <a:gd name="T49" fmla="*/ 42 h 66"/>
                <a:gd name="T50" fmla="*/ 40 w 50"/>
                <a:gd name="T51" fmla="*/ 40 h 66"/>
                <a:gd name="T52" fmla="*/ 42 w 50"/>
                <a:gd name="T53" fmla="*/ 40 h 66"/>
                <a:gd name="T54" fmla="*/ 46 w 50"/>
                <a:gd name="T55" fmla="*/ 40 h 66"/>
                <a:gd name="T56" fmla="*/ 50 w 50"/>
                <a:gd name="T57" fmla="*/ 40 h 66"/>
                <a:gd name="T58" fmla="*/ 50 w 50"/>
                <a:gd name="T59" fmla="*/ 36 h 66"/>
                <a:gd name="T60" fmla="*/ 48 w 50"/>
                <a:gd name="T61" fmla="*/ 30 h 66"/>
                <a:gd name="T62" fmla="*/ 46 w 50"/>
                <a:gd name="T63" fmla="*/ 28 h 66"/>
                <a:gd name="T64" fmla="*/ 42 w 50"/>
                <a:gd name="T65" fmla="*/ 26 h 66"/>
                <a:gd name="T66" fmla="*/ 40 w 50"/>
                <a:gd name="T67" fmla="*/ 24 h 66"/>
                <a:gd name="T68" fmla="*/ 38 w 50"/>
                <a:gd name="T69" fmla="*/ 22 h 66"/>
                <a:gd name="T70" fmla="*/ 38 w 50"/>
                <a:gd name="T71" fmla="*/ 18 h 66"/>
                <a:gd name="T72" fmla="*/ 36 w 50"/>
                <a:gd name="T73" fmla="*/ 16 h 66"/>
                <a:gd name="T74" fmla="*/ 36 w 50"/>
                <a:gd name="T75" fmla="*/ 14 h 66"/>
                <a:gd name="T76" fmla="*/ 32 w 50"/>
                <a:gd name="T77" fmla="*/ 12 h 66"/>
                <a:gd name="T78" fmla="*/ 28 w 50"/>
                <a:gd name="T79" fmla="*/ 10 h 66"/>
                <a:gd name="T80" fmla="*/ 26 w 50"/>
                <a:gd name="T81" fmla="*/ 10 h 66"/>
                <a:gd name="T82" fmla="*/ 22 w 50"/>
                <a:gd name="T83" fmla="*/ 10 h 66"/>
                <a:gd name="T84" fmla="*/ 20 w 50"/>
                <a:gd name="T85" fmla="*/ 8 h 66"/>
                <a:gd name="T86" fmla="*/ 18 w 50"/>
                <a:gd name="T87" fmla="*/ 8 h 66"/>
                <a:gd name="T88" fmla="*/ 18 w 50"/>
                <a:gd name="T89" fmla="*/ 4 h 66"/>
                <a:gd name="T90" fmla="*/ 18 w 50"/>
                <a:gd name="T91" fmla="*/ 2 h 66"/>
                <a:gd name="T92" fmla="*/ 16 w 50"/>
                <a:gd name="T93" fmla="*/ 0 h 66"/>
                <a:gd name="T94" fmla="*/ 16 w 50"/>
                <a:gd name="T95" fmla="*/ 0 h 66"/>
                <a:gd name="T96" fmla="*/ 14 w 50"/>
                <a:gd name="T97" fmla="*/ 0 h 66"/>
                <a:gd name="T98" fmla="*/ 10 w 50"/>
                <a:gd name="T99"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0" h="66">
                  <a:moveTo>
                    <a:pt x="10" y="2"/>
                  </a:moveTo>
                  <a:lnTo>
                    <a:pt x="10" y="2"/>
                  </a:lnTo>
                  <a:lnTo>
                    <a:pt x="8" y="4"/>
                  </a:lnTo>
                  <a:lnTo>
                    <a:pt x="6" y="8"/>
                  </a:lnTo>
                  <a:lnTo>
                    <a:pt x="6" y="8"/>
                  </a:lnTo>
                  <a:lnTo>
                    <a:pt x="6" y="10"/>
                  </a:lnTo>
                  <a:lnTo>
                    <a:pt x="4" y="12"/>
                  </a:lnTo>
                  <a:lnTo>
                    <a:pt x="4" y="14"/>
                  </a:lnTo>
                  <a:lnTo>
                    <a:pt x="4" y="16"/>
                  </a:lnTo>
                  <a:lnTo>
                    <a:pt x="4" y="20"/>
                  </a:lnTo>
                  <a:lnTo>
                    <a:pt x="6" y="26"/>
                  </a:lnTo>
                  <a:lnTo>
                    <a:pt x="6" y="32"/>
                  </a:lnTo>
                  <a:lnTo>
                    <a:pt x="6" y="38"/>
                  </a:lnTo>
                  <a:lnTo>
                    <a:pt x="6" y="40"/>
                  </a:lnTo>
                  <a:lnTo>
                    <a:pt x="6" y="44"/>
                  </a:lnTo>
                  <a:lnTo>
                    <a:pt x="6" y="46"/>
                  </a:lnTo>
                  <a:lnTo>
                    <a:pt x="6" y="48"/>
                  </a:lnTo>
                  <a:lnTo>
                    <a:pt x="6" y="50"/>
                  </a:lnTo>
                  <a:lnTo>
                    <a:pt x="6" y="54"/>
                  </a:lnTo>
                  <a:lnTo>
                    <a:pt x="4" y="54"/>
                  </a:lnTo>
                  <a:lnTo>
                    <a:pt x="4" y="54"/>
                  </a:lnTo>
                  <a:lnTo>
                    <a:pt x="2" y="56"/>
                  </a:lnTo>
                  <a:lnTo>
                    <a:pt x="0" y="56"/>
                  </a:lnTo>
                  <a:lnTo>
                    <a:pt x="2" y="58"/>
                  </a:lnTo>
                  <a:lnTo>
                    <a:pt x="4" y="60"/>
                  </a:lnTo>
                  <a:lnTo>
                    <a:pt x="6" y="62"/>
                  </a:lnTo>
                  <a:lnTo>
                    <a:pt x="6" y="64"/>
                  </a:lnTo>
                  <a:lnTo>
                    <a:pt x="8" y="64"/>
                  </a:lnTo>
                  <a:lnTo>
                    <a:pt x="8" y="64"/>
                  </a:lnTo>
                  <a:lnTo>
                    <a:pt x="10" y="66"/>
                  </a:lnTo>
                  <a:lnTo>
                    <a:pt x="12" y="66"/>
                  </a:lnTo>
                  <a:lnTo>
                    <a:pt x="14" y="66"/>
                  </a:lnTo>
                  <a:lnTo>
                    <a:pt x="16" y="66"/>
                  </a:lnTo>
                  <a:lnTo>
                    <a:pt x="18" y="66"/>
                  </a:lnTo>
                  <a:lnTo>
                    <a:pt x="20" y="66"/>
                  </a:lnTo>
                  <a:lnTo>
                    <a:pt x="22" y="66"/>
                  </a:lnTo>
                  <a:lnTo>
                    <a:pt x="22" y="66"/>
                  </a:lnTo>
                  <a:lnTo>
                    <a:pt x="22" y="64"/>
                  </a:lnTo>
                  <a:lnTo>
                    <a:pt x="24" y="64"/>
                  </a:lnTo>
                  <a:lnTo>
                    <a:pt x="24" y="62"/>
                  </a:lnTo>
                  <a:lnTo>
                    <a:pt x="24" y="60"/>
                  </a:lnTo>
                  <a:lnTo>
                    <a:pt x="26" y="58"/>
                  </a:lnTo>
                  <a:lnTo>
                    <a:pt x="26" y="56"/>
                  </a:lnTo>
                  <a:lnTo>
                    <a:pt x="28" y="52"/>
                  </a:lnTo>
                  <a:lnTo>
                    <a:pt x="30" y="50"/>
                  </a:lnTo>
                  <a:lnTo>
                    <a:pt x="30" y="48"/>
                  </a:lnTo>
                  <a:lnTo>
                    <a:pt x="32" y="46"/>
                  </a:lnTo>
                  <a:lnTo>
                    <a:pt x="34" y="44"/>
                  </a:lnTo>
                  <a:lnTo>
                    <a:pt x="36" y="42"/>
                  </a:lnTo>
                  <a:lnTo>
                    <a:pt x="38" y="42"/>
                  </a:lnTo>
                  <a:lnTo>
                    <a:pt x="38" y="40"/>
                  </a:lnTo>
                  <a:lnTo>
                    <a:pt x="40" y="40"/>
                  </a:lnTo>
                  <a:lnTo>
                    <a:pt x="40" y="40"/>
                  </a:lnTo>
                  <a:lnTo>
                    <a:pt x="42" y="40"/>
                  </a:lnTo>
                  <a:lnTo>
                    <a:pt x="44" y="40"/>
                  </a:lnTo>
                  <a:lnTo>
                    <a:pt x="46" y="40"/>
                  </a:lnTo>
                  <a:lnTo>
                    <a:pt x="50" y="40"/>
                  </a:lnTo>
                  <a:lnTo>
                    <a:pt x="50" y="40"/>
                  </a:lnTo>
                  <a:lnTo>
                    <a:pt x="50" y="38"/>
                  </a:lnTo>
                  <a:lnTo>
                    <a:pt x="50" y="36"/>
                  </a:lnTo>
                  <a:lnTo>
                    <a:pt x="48" y="32"/>
                  </a:lnTo>
                  <a:lnTo>
                    <a:pt x="48" y="30"/>
                  </a:lnTo>
                  <a:lnTo>
                    <a:pt x="48" y="30"/>
                  </a:lnTo>
                  <a:lnTo>
                    <a:pt x="46" y="28"/>
                  </a:lnTo>
                  <a:lnTo>
                    <a:pt x="46" y="28"/>
                  </a:lnTo>
                  <a:lnTo>
                    <a:pt x="42" y="26"/>
                  </a:lnTo>
                  <a:lnTo>
                    <a:pt x="40" y="24"/>
                  </a:lnTo>
                  <a:lnTo>
                    <a:pt x="40" y="24"/>
                  </a:lnTo>
                  <a:lnTo>
                    <a:pt x="38" y="24"/>
                  </a:lnTo>
                  <a:lnTo>
                    <a:pt x="38" y="22"/>
                  </a:lnTo>
                  <a:lnTo>
                    <a:pt x="38" y="22"/>
                  </a:lnTo>
                  <a:lnTo>
                    <a:pt x="38" y="18"/>
                  </a:lnTo>
                  <a:lnTo>
                    <a:pt x="36" y="16"/>
                  </a:lnTo>
                  <a:lnTo>
                    <a:pt x="36" y="16"/>
                  </a:lnTo>
                  <a:lnTo>
                    <a:pt x="36" y="14"/>
                  </a:lnTo>
                  <a:lnTo>
                    <a:pt x="36" y="14"/>
                  </a:lnTo>
                  <a:lnTo>
                    <a:pt x="34" y="12"/>
                  </a:lnTo>
                  <a:lnTo>
                    <a:pt x="32" y="12"/>
                  </a:lnTo>
                  <a:lnTo>
                    <a:pt x="30" y="12"/>
                  </a:lnTo>
                  <a:lnTo>
                    <a:pt x="28" y="10"/>
                  </a:lnTo>
                  <a:lnTo>
                    <a:pt x="28" y="10"/>
                  </a:lnTo>
                  <a:lnTo>
                    <a:pt x="26" y="10"/>
                  </a:lnTo>
                  <a:lnTo>
                    <a:pt x="24" y="10"/>
                  </a:lnTo>
                  <a:lnTo>
                    <a:pt x="22" y="10"/>
                  </a:lnTo>
                  <a:lnTo>
                    <a:pt x="22" y="10"/>
                  </a:lnTo>
                  <a:lnTo>
                    <a:pt x="20" y="8"/>
                  </a:lnTo>
                  <a:lnTo>
                    <a:pt x="20" y="8"/>
                  </a:lnTo>
                  <a:lnTo>
                    <a:pt x="18" y="8"/>
                  </a:lnTo>
                  <a:lnTo>
                    <a:pt x="18" y="6"/>
                  </a:lnTo>
                  <a:lnTo>
                    <a:pt x="18" y="4"/>
                  </a:lnTo>
                  <a:lnTo>
                    <a:pt x="18" y="2"/>
                  </a:lnTo>
                  <a:lnTo>
                    <a:pt x="18" y="2"/>
                  </a:lnTo>
                  <a:lnTo>
                    <a:pt x="16" y="0"/>
                  </a:lnTo>
                  <a:lnTo>
                    <a:pt x="16" y="0"/>
                  </a:lnTo>
                  <a:lnTo>
                    <a:pt x="16" y="0"/>
                  </a:lnTo>
                  <a:lnTo>
                    <a:pt x="16" y="0"/>
                  </a:lnTo>
                  <a:lnTo>
                    <a:pt x="14" y="0"/>
                  </a:lnTo>
                  <a:lnTo>
                    <a:pt x="14" y="0"/>
                  </a:lnTo>
                  <a:lnTo>
                    <a:pt x="12" y="0"/>
                  </a:lnTo>
                  <a:lnTo>
                    <a:pt x="10" y="2"/>
                  </a:lnTo>
                  <a:lnTo>
                    <a:pt x="10"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8" name="Freeform 513">
              <a:extLst>
                <a:ext uri="{FF2B5EF4-FFF2-40B4-BE49-F238E27FC236}">
                  <a16:creationId xmlns:a16="http://schemas.microsoft.com/office/drawing/2014/main" id="{BA4B495D-A978-48ED-99AA-693750C173C8}"/>
                </a:ext>
              </a:extLst>
            </p:cNvPr>
            <p:cNvSpPr>
              <a:spLocks/>
            </p:cNvSpPr>
            <p:nvPr/>
          </p:nvSpPr>
          <p:spPr bwMode="auto">
            <a:xfrm>
              <a:off x="2918193" y="4493788"/>
              <a:ext cx="86604" cy="114317"/>
            </a:xfrm>
            <a:custGeom>
              <a:avLst/>
              <a:gdLst>
                <a:gd name="T0" fmla="*/ 10 w 50"/>
                <a:gd name="T1" fmla="*/ 2 h 66"/>
                <a:gd name="T2" fmla="*/ 6 w 50"/>
                <a:gd name="T3" fmla="*/ 8 h 66"/>
                <a:gd name="T4" fmla="*/ 6 w 50"/>
                <a:gd name="T5" fmla="*/ 10 h 66"/>
                <a:gd name="T6" fmla="*/ 4 w 50"/>
                <a:gd name="T7" fmla="*/ 14 h 66"/>
                <a:gd name="T8" fmla="*/ 4 w 50"/>
                <a:gd name="T9" fmla="*/ 20 h 66"/>
                <a:gd name="T10" fmla="*/ 6 w 50"/>
                <a:gd name="T11" fmla="*/ 32 h 66"/>
                <a:gd name="T12" fmla="*/ 6 w 50"/>
                <a:gd name="T13" fmla="*/ 40 h 66"/>
                <a:gd name="T14" fmla="*/ 6 w 50"/>
                <a:gd name="T15" fmla="*/ 46 h 66"/>
                <a:gd name="T16" fmla="*/ 6 w 50"/>
                <a:gd name="T17" fmla="*/ 50 h 66"/>
                <a:gd name="T18" fmla="*/ 4 w 50"/>
                <a:gd name="T19" fmla="*/ 54 h 66"/>
                <a:gd name="T20" fmla="*/ 2 w 50"/>
                <a:gd name="T21" fmla="*/ 56 h 66"/>
                <a:gd name="T22" fmla="*/ 2 w 50"/>
                <a:gd name="T23" fmla="*/ 58 h 66"/>
                <a:gd name="T24" fmla="*/ 6 w 50"/>
                <a:gd name="T25" fmla="*/ 62 h 66"/>
                <a:gd name="T26" fmla="*/ 8 w 50"/>
                <a:gd name="T27" fmla="*/ 64 h 66"/>
                <a:gd name="T28" fmla="*/ 10 w 50"/>
                <a:gd name="T29" fmla="*/ 66 h 66"/>
                <a:gd name="T30" fmla="*/ 14 w 50"/>
                <a:gd name="T31" fmla="*/ 66 h 66"/>
                <a:gd name="T32" fmla="*/ 18 w 50"/>
                <a:gd name="T33" fmla="*/ 66 h 66"/>
                <a:gd name="T34" fmla="*/ 22 w 50"/>
                <a:gd name="T35" fmla="*/ 66 h 66"/>
                <a:gd name="T36" fmla="*/ 22 w 50"/>
                <a:gd name="T37" fmla="*/ 64 h 66"/>
                <a:gd name="T38" fmla="*/ 24 w 50"/>
                <a:gd name="T39" fmla="*/ 62 h 66"/>
                <a:gd name="T40" fmla="*/ 26 w 50"/>
                <a:gd name="T41" fmla="*/ 58 h 66"/>
                <a:gd name="T42" fmla="*/ 28 w 50"/>
                <a:gd name="T43" fmla="*/ 52 h 66"/>
                <a:gd name="T44" fmla="*/ 30 w 50"/>
                <a:gd name="T45" fmla="*/ 48 h 66"/>
                <a:gd name="T46" fmla="*/ 34 w 50"/>
                <a:gd name="T47" fmla="*/ 44 h 66"/>
                <a:gd name="T48" fmla="*/ 38 w 50"/>
                <a:gd name="T49" fmla="*/ 42 h 66"/>
                <a:gd name="T50" fmla="*/ 40 w 50"/>
                <a:gd name="T51" fmla="*/ 40 h 66"/>
                <a:gd name="T52" fmla="*/ 42 w 50"/>
                <a:gd name="T53" fmla="*/ 40 h 66"/>
                <a:gd name="T54" fmla="*/ 46 w 50"/>
                <a:gd name="T55" fmla="*/ 40 h 66"/>
                <a:gd name="T56" fmla="*/ 50 w 50"/>
                <a:gd name="T57" fmla="*/ 40 h 66"/>
                <a:gd name="T58" fmla="*/ 50 w 50"/>
                <a:gd name="T59" fmla="*/ 36 h 66"/>
                <a:gd name="T60" fmla="*/ 48 w 50"/>
                <a:gd name="T61" fmla="*/ 30 h 66"/>
                <a:gd name="T62" fmla="*/ 46 w 50"/>
                <a:gd name="T63" fmla="*/ 28 h 66"/>
                <a:gd name="T64" fmla="*/ 42 w 50"/>
                <a:gd name="T65" fmla="*/ 26 h 66"/>
                <a:gd name="T66" fmla="*/ 40 w 50"/>
                <a:gd name="T67" fmla="*/ 24 h 66"/>
                <a:gd name="T68" fmla="*/ 38 w 50"/>
                <a:gd name="T69" fmla="*/ 22 h 66"/>
                <a:gd name="T70" fmla="*/ 38 w 50"/>
                <a:gd name="T71" fmla="*/ 18 h 66"/>
                <a:gd name="T72" fmla="*/ 36 w 50"/>
                <a:gd name="T73" fmla="*/ 16 h 66"/>
                <a:gd name="T74" fmla="*/ 36 w 50"/>
                <a:gd name="T75" fmla="*/ 14 h 66"/>
                <a:gd name="T76" fmla="*/ 32 w 50"/>
                <a:gd name="T77" fmla="*/ 12 h 66"/>
                <a:gd name="T78" fmla="*/ 28 w 50"/>
                <a:gd name="T79" fmla="*/ 10 h 66"/>
                <a:gd name="T80" fmla="*/ 26 w 50"/>
                <a:gd name="T81" fmla="*/ 10 h 66"/>
                <a:gd name="T82" fmla="*/ 22 w 50"/>
                <a:gd name="T83" fmla="*/ 10 h 66"/>
                <a:gd name="T84" fmla="*/ 20 w 50"/>
                <a:gd name="T85" fmla="*/ 8 h 66"/>
                <a:gd name="T86" fmla="*/ 18 w 50"/>
                <a:gd name="T87" fmla="*/ 8 h 66"/>
                <a:gd name="T88" fmla="*/ 18 w 50"/>
                <a:gd name="T89" fmla="*/ 4 h 66"/>
                <a:gd name="T90" fmla="*/ 18 w 50"/>
                <a:gd name="T91" fmla="*/ 2 h 66"/>
                <a:gd name="T92" fmla="*/ 16 w 50"/>
                <a:gd name="T93" fmla="*/ 0 h 66"/>
                <a:gd name="T94" fmla="*/ 16 w 50"/>
                <a:gd name="T95" fmla="*/ 0 h 66"/>
                <a:gd name="T96" fmla="*/ 14 w 50"/>
                <a:gd name="T97" fmla="*/ 0 h 66"/>
                <a:gd name="T98" fmla="*/ 10 w 50"/>
                <a:gd name="T99"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0" h="66">
                  <a:moveTo>
                    <a:pt x="10" y="2"/>
                  </a:moveTo>
                  <a:lnTo>
                    <a:pt x="10" y="2"/>
                  </a:lnTo>
                  <a:lnTo>
                    <a:pt x="8" y="4"/>
                  </a:lnTo>
                  <a:lnTo>
                    <a:pt x="6" y="8"/>
                  </a:lnTo>
                  <a:lnTo>
                    <a:pt x="6" y="8"/>
                  </a:lnTo>
                  <a:lnTo>
                    <a:pt x="6" y="10"/>
                  </a:lnTo>
                  <a:lnTo>
                    <a:pt x="4" y="12"/>
                  </a:lnTo>
                  <a:lnTo>
                    <a:pt x="4" y="14"/>
                  </a:lnTo>
                  <a:lnTo>
                    <a:pt x="4" y="16"/>
                  </a:lnTo>
                  <a:lnTo>
                    <a:pt x="4" y="20"/>
                  </a:lnTo>
                  <a:lnTo>
                    <a:pt x="6" y="26"/>
                  </a:lnTo>
                  <a:lnTo>
                    <a:pt x="6" y="32"/>
                  </a:lnTo>
                  <a:lnTo>
                    <a:pt x="6" y="38"/>
                  </a:lnTo>
                  <a:lnTo>
                    <a:pt x="6" y="40"/>
                  </a:lnTo>
                  <a:lnTo>
                    <a:pt x="6" y="44"/>
                  </a:lnTo>
                  <a:lnTo>
                    <a:pt x="6" y="46"/>
                  </a:lnTo>
                  <a:lnTo>
                    <a:pt x="6" y="48"/>
                  </a:lnTo>
                  <a:lnTo>
                    <a:pt x="6" y="50"/>
                  </a:lnTo>
                  <a:lnTo>
                    <a:pt x="6" y="54"/>
                  </a:lnTo>
                  <a:lnTo>
                    <a:pt x="4" y="54"/>
                  </a:lnTo>
                  <a:lnTo>
                    <a:pt x="4" y="54"/>
                  </a:lnTo>
                  <a:lnTo>
                    <a:pt x="2" y="56"/>
                  </a:lnTo>
                  <a:lnTo>
                    <a:pt x="0" y="56"/>
                  </a:lnTo>
                  <a:lnTo>
                    <a:pt x="2" y="58"/>
                  </a:lnTo>
                  <a:lnTo>
                    <a:pt x="4" y="60"/>
                  </a:lnTo>
                  <a:lnTo>
                    <a:pt x="6" y="62"/>
                  </a:lnTo>
                  <a:lnTo>
                    <a:pt x="6" y="64"/>
                  </a:lnTo>
                  <a:lnTo>
                    <a:pt x="8" y="64"/>
                  </a:lnTo>
                  <a:lnTo>
                    <a:pt x="8" y="64"/>
                  </a:lnTo>
                  <a:lnTo>
                    <a:pt x="10" y="66"/>
                  </a:lnTo>
                  <a:lnTo>
                    <a:pt x="12" y="66"/>
                  </a:lnTo>
                  <a:lnTo>
                    <a:pt x="14" y="66"/>
                  </a:lnTo>
                  <a:lnTo>
                    <a:pt x="16" y="66"/>
                  </a:lnTo>
                  <a:lnTo>
                    <a:pt x="18" y="66"/>
                  </a:lnTo>
                  <a:lnTo>
                    <a:pt x="20" y="66"/>
                  </a:lnTo>
                  <a:lnTo>
                    <a:pt x="22" y="66"/>
                  </a:lnTo>
                  <a:lnTo>
                    <a:pt x="22" y="66"/>
                  </a:lnTo>
                  <a:lnTo>
                    <a:pt x="22" y="64"/>
                  </a:lnTo>
                  <a:lnTo>
                    <a:pt x="24" y="64"/>
                  </a:lnTo>
                  <a:lnTo>
                    <a:pt x="24" y="62"/>
                  </a:lnTo>
                  <a:lnTo>
                    <a:pt x="24" y="60"/>
                  </a:lnTo>
                  <a:lnTo>
                    <a:pt x="26" y="58"/>
                  </a:lnTo>
                  <a:lnTo>
                    <a:pt x="26" y="56"/>
                  </a:lnTo>
                  <a:lnTo>
                    <a:pt x="28" y="52"/>
                  </a:lnTo>
                  <a:lnTo>
                    <a:pt x="30" y="50"/>
                  </a:lnTo>
                  <a:lnTo>
                    <a:pt x="30" y="48"/>
                  </a:lnTo>
                  <a:lnTo>
                    <a:pt x="32" y="46"/>
                  </a:lnTo>
                  <a:lnTo>
                    <a:pt x="34" y="44"/>
                  </a:lnTo>
                  <a:lnTo>
                    <a:pt x="36" y="42"/>
                  </a:lnTo>
                  <a:lnTo>
                    <a:pt x="38" y="42"/>
                  </a:lnTo>
                  <a:lnTo>
                    <a:pt x="38" y="40"/>
                  </a:lnTo>
                  <a:lnTo>
                    <a:pt x="40" y="40"/>
                  </a:lnTo>
                  <a:lnTo>
                    <a:pt x="40" y="40"/>
                  </a:lnTo>
                  <a:lnTo>
                    <a:pt x="42" y="40"/>
                  </a:lnTo>
                  <a:lnTo>
                    <a:pt x="44" y="40"/>
                  </a:lnTo>
                  <a:lnTo>
                    <a:pt x="46" y="40"/>
                  </a:lnTo>
                  <a:lnTo>
                    <a:pt x="50" y="40"/>
                  </a:lnTo>
                  <a:lnTo>
                    <a:pt x="50" y="40"/>
                  </a:lnTo>
                  <a:lnTo>
                    <a:pt x="50" y="38"/>
                  </a:lnTo>
                  <a:lnTo>
                    <a:pt x="50" y="36"/>
                  </a:lnTo>
                  <a:lnTo>
                    <a:pt x="48" y="32"/>
                  </a:lnTo>
                  <a:lnTo>
                    <a:pt x="48" y="30"/>
                  </a:lnTo>
                  <a:lnTo>
                    <a:pt x="48" y="30"/>
                  </a:lnTo>
                  <a:lnTo>
                    <a:pt x="46" y="28"/>
                  </a:lnTo>
                  <a:lnTo>
                    <a:pt x="46" y="28"/>
                  </a:lnTo>
                  <a:lnTo>
                    <a:pt x="42" y="26"/>
                  </a:lnTo>
                  <a:lnTo>
                    <a:pt x="40" y="24"/>
                  </a:lnTo>
                  <a:lnTo>
                    <a:pt x="40" y="24"/>
                  </a:lnTo>
                  <a:lnTo>
                    <a:pt x="38" y="24"/>
                  </a:lnTo>
                  <a:lnTo>
                    <a:pt x="38" y="22"/>
                  </a:lnTo>
                  <a:lnTo>
                    <a:pt x="38" y="22"/>
                  </a:lnTo>
                  <a:lnTo>
                    <a:pt x="38" y="18"/>
                  </a:lnTo>
                  <a:lnTo>
                    <a:pt x="36" y="16"/>
                  </a:lnTo>
                  <a:lnTo>
                    <a:pt x="36" y="16"/>
                  </a:lnTo>
                  <a:lnTo>
                    <a:pt x="36" y="14"/>
                  </a:lnTo>
                  <a:lnTo>
                    <a:pt x="36" y="14"/>
                  </a:lnTo>
                  <a:lnTo>
                    <a:pt x="34" y="12"/>
                  </a:lnTo>
                  <a:lnTo>
                    <a:pt x="32" y="12"/>
                  </a:lnTo>
                  <a:lnTo>
                    <a:pt x="30" y="12"/>
                  </a:lnTo>
                  <a:lnTo>
                    <a:pt x="28" y="10"/>
                  </a:lnTo>
                  <a:lnTo>
                    <a:pt x="28" y="10"/>
                  </a:lnTo>
                  <a:lnTo>
                    <a:pt x="26" y="10"/>
                  </a:lnTo>
                  <a:lnTo>
                    <a:pt x="24" y="10"/>
                  </a:lnTo>
                  <a:lnTo>
                    <a:pt x="22" y="10"/>
                  </a:lnTo>
                  <a:lnTo>
                    <a:pt x="22" y="10"/>
                  </a:lnTo>
                  <a:lnTo>
                    <a:pt x="20" y="8"/>
                  </a:lnTo>
                  <a:lnTo>
                    <a:pt x="20" y="8"/>
                  </a:lnTo>
                  <a:lnTo>
                    <a:pt x="18" y="8"/>
                  </a:lnTo>
                  <a:lnTo>
                    <a:pt x="18" y="6"/>
                  </a:lnTo>
                  <a:lnTo>
                    <a:pt x="18" y="4"/>
                  </a:lnTo>
                  <a:lnTo>
                    <a:pt x="18" y="2"/>
                  </a:lnTo>
                  <a:lnTo>
                    <a:pt x="18" y="2"/>
                  </a:lnTo>
                  <a:lnTo>
                    <a:pt x="16" y="0"/>
                  </a:lnTo>
                  <a:lnTo>
                    <a:pt x="16" y="0"/>
                  </a:lnTo>
                  <a:lnTo>
                    <a:pt x="16" y="0"/>
                  </a:lnTo>
                  <a:lnTo>
                    <a:pt x="16" y="0"/>
                  </a:lnTo>
                  <a:lnTo>
                    <a:pt x="14" y="0"/>
                  </a:lnTo>
                  <a:lnTo>
                    <a:pt x="14" y="0"/>
                  </a:lnTo>
                  <a:lnTo>
                    <a:pt x="12" y="0"/>
                  </a:lnTo>
                  <a:lnTo>
                    <a:pt x="10" y="2"/>
                  </a:lnTo>
                  <a:lnTo>
                    <a:pt x="10"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9" name="Freeform 514">
              <a:extLst>
                <a:ext uri="{FF2B5EF4-FFF2-40B4-BE49-F238E27FC236}">
                  <a16:creationId xmlns:a16="http://schemas.microsoft.com/office/drawing/2014/main" id="{B6BA8AC2-622B-46B9-A9DD-C66AAD5B5C2C}"/>
                </a:ext>
              </a:extLst>
            </p:cNvPr>
            <p:cNvSpPr>
              <a:spLocks/>
            </p:cNvSpPr>
            <p:nvPr/>
          </p:nvSpPr>
          <p:spPr bwMode="auto">
            <a:xfrm>
              <a:off x="2190722" y="3991487"/>
              <a:ext cx="256347" cy="114317"/>
            </a:xfrm>
            <a:custGeom>
              <a:avLst/>
              <a:gdLst>
                <a:gd name="T0" fmla="*/ 0 w 148"/>
                <a:gd name="T1" fmla="*/ 20 h 66"/>
                <a:gd name="T2" fmla="*/ 0 w 148"/>
                <a:gd name="T3" fmla="*/ 18 h 66"/>
                <a:gd name="T4" fmla="*/ 0 w 148"/>
                <a:gd name="T5" fmla="*/ 16 h 66"/>
                <a:gd name="T6" fmla="*/ 2 w 148"/>
                <a:gd name="T7" fmla="*/ 14 h 66"/>
                <a:gd name="T8" fmla="*/ 6 w 148"/>
                <a:gd name="T9" fmla="*/ 10 h 66"/>
                <a:gd name="T10" fmla="*/ 14 w 148"/>
                <a:gd name="T11" fmla="*/ 6 h 66"/>
                <a:gd name="T12" fmla="*/ 20 w 148"/>
                <a:gd name="T13" fmla="*/ 4 h 66"/>
                <a:gd name="T14" fmla="*/ 22 w 148"/>
                <a:gd name="T15" fmla="*/ 2 h 66"/>
                <a:gd name="T16" fmla="*/ 26 w 148"/>
                <a:gd name="T17" fmla="*/ 0 h 66"/>
                <a:gd name="T18" fmla="*/ 30 w 148"/>
                <a:gd name="T19" fmla="*/ 0 h 66"/>
                <a:gd name="T20" fmla="*/ 36 w 148"/>
                <a:gd name="T21" fmla="*/ 0 h 66"/>
                <a:gd name="T22" fmla="*/ 46 w 148"/>
                <a:gd name="T23" fmla="*/ 4 h 66"/>
                <a:gd name="T24" fmla="*/ 60 w 148"/>
                <a:gd name="T25" fmla="*/ 6 h 66"/>
                <a:gd name="T26" fmla="*/ 68 w 148"/>
                <a:gd name="T27" fmla="*/ 8 h 66"/>
                <a:gd name="T28" fmla="*/ 76 w 148"/>
                <a:gd name="T29" fmla="*/ 10 h 66"/>
                <a:gd name="T30" fmla="*/ 82 w 148"/>
                <a:gd name="T31" fmla="*/ 12 h 66"/>
                <a:gd name="T32" fmla="*/ 94 w 148"/>
                <a:gd name="T33" fmla="*/ 20 h 66"/>
                <a:gd name="T34" fmla="*/ 100 w 148"/>
                <a:gd name="T35" fmla="*/ 24 h 66"/>
                <a:gd name="T36" fmla="*/ 110 w 148"/>
                <a:gd name="T37" fmla="*/ 28 h 66"/>
                <a:gd name="T38" fmla="*/ 128 w 148"/>
                <a:gd name="T39" fmla="*/ 34 h 66"/>
                <a:gd name="T40" fmla="*/ 136 w 148"/>
                <a:gd name="T41" fmla="*/ 38 h 66"/>
                <a:gd name="T42" fmla="*/ 140 w 148"/>
                <a:gd name="T43" fmla="*/ 42 h 66"/>
                <a:gd name="T44" fmla="*/ 144 w 148"/>
                <a:gd name="T45" fmla="*/ 46 h 66"/>
                <a:gd name="T46" fmla="*/ 146 w 148"/>
                <a:gd name="T47" fmla="*/ 48 h 66"/>
                <a:gd name="T48" fmla="*/ 148 w 148"/>
                <a:gd name="T49" fmla="*/ 50 h 66"/>
                <a:gd name="T50" fmla="*/ 148 w 148"/>
                <a:gd name="T51" fmla="*/ 52 h 66"/>
                <a:gd name="T52" fmla="*/ 148 w 148"/>
                <a:gd name="T53" fmla="*/ 54 h 66"/>
                <a:gd name="T54" fmla="*/ 146 w 148"/>
                <a:gd name="T55" fmla="*/ 56 h 66"/>
                <a:gd name="T56" fmla="*/ 144 w 148"/>
                <a:gd name="T57" fmla="*/ 58 h 66"/>
                <a:gd name="T58" fmla="*/ 140 w 148"/>
                <a:gd name="T59" fmla="*/ 60 h 66"/>
                <a:gd name="T60" fmla="*/ 134 w 148"/>
                <a:gd name="T61" fmla="*/ 64 h 66"/>
                <a:gd name="T62" fmla="*/ 128 w 148"/>
                <a:gd name="T63" fmla="*/ 64 h 66"/>
                <a:gd name="T64" fmla="*/ 122 w 148"/>
                <a:gd name="T65" fmla="*/ 66 h 66"/>
                <a:gd name="T66" fmla="*/ 112 w 148"/>
                <a:gd name="T67" fmla="*/ 66 h 66"/>
                <a:gd name="T68" fmla="*/ 108 w 148"/>
                <a:gd name="T69" fmla="*/ 66 h 66"/>
                <a:gd name="T70" fmla="*/ 104 w 148"/>
                <a:gd name="T71" fmla="*/ 66 h 66"/>
                <a:gd name="T72" fmla="*/ 100 w 148"/>
                <a:gd name="T73" fmla="*/ 64 h 66"/>
                <a:gd name="T74" fmla="*/ 98 w 148"/>
                <a:gd name="T75" fmla="*/ 62 h 66"/>
                <a:gd name="T76" fmla="*/ 98 w 148"/>
                <a:gd name="T77" fmla="*/ 60 h 66"/>
                <a:gd name="T78" fmla="*/ 98 w 148"/>
                <a:gd name="T79" fmla="*/ 58 h 66"/>
                <a:gd name="T80" fmla="*/ 98 w 148"/>
                <a:gd name="T81" fmla="*/ 54 h 66"/>
                <a:gd name="T82" fmla="*/ 100 w 148"/>
                <a:gd name="T83" fmla="*/ 50 h 66"/>
                <a:gd name="T84" fmla="*/ 100 w 148"/>
                <a:gd name="T85" fmla="*/ 48 h 66"/>
                <a:gd name="T86" fmla="*/ 100 w 148"/>
                <a:gd name="T87" fmla="*/ 46 h 66"/>
                <a:gd name="T88" fmla="*/ 98 w 148"/>
                <a:gd name="T89" fmla="*/ 44 h 66"/>
                <a:gd name="T90" fmla="*/ 96 w 148"/>
                <a:gd name="T91" fmla="*/ 40 h 66"/>
                <a:gd name="T92" fmla="*/ 90 w 148"/>
                <a:gd name="T93" fmla="*/ 36 h 66"/>
                <a:gd name="T94" fmla="*/ 80 w 148"/>
                <a:gd name="T95" fmla="*/ 28 h 66"/>
                <a:gd name="T96" fmla="*/ 72 w 148"/>
                <a:gd name="T97" fmla="*/ 22 h 66"/>
                <a:gd name="T98" fmla="*/ 66 w 148"/>
                <a:gd name="T99" fmla="*/ 20 h 66"/>
                <a:gd name="T100" fmla="*/ 62 w 148"/>
                <a:gd name="T101" fmla="*/ 18 h 66"/>
                <a:gd name="T102" fmla="*/ 56 w 148"/>
                <a:gd name="T103" fmla="*/ 16 h 66"/>
                <a:gd name="T104" fmla="*/ 44 w 148"/>
                <a:gd name="T105" fmla="*/ 14 h 66"/>
                <a:gd name="T106" fmla="*/ 32 w 148"/>
                <a:gd name="T107" fmla="*/ 14 h 66"/>
                <a:gd name="T108" fmla="*/ 22 w 148"/>
                <a:gd name="T109" fmla="*/ 14 h 66"/>
                <a:gd name="T110" fmla="*/ 16 w 148"/>
                <a:gd name="T111" fmla="*/ 14 h 66"/>
                <a:gd name="T112" fmla="*/ 12 w 148"/>
                <a:gd name="T113" fmla="*/ 16 h 66"/>
                <a:gd name="T114" fmla="*/ 4 w 148"/>
                <a:gd name="T115" fmla="*/ 20 h 66"/>
                <a:gd name="T116" fmla="*/ 2 w 148"/>
                <a:gd name="T117" fmla="*/ 20 h 66"/>
                <a:gd name="T118" fmla="*/ 0 w 148"/>
                <a:gd name="T119" fmla="*/ 20 h 66"/>
                <a:gd name="T120" fmla="*/ 0 w 148"/>
                <a:gd name="T121" fmla="*/ 2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 h="66">
                  <a:moveTo>
                    <a:pt x="0" y="20"/>
                  </a:moveTo>
                  <a:lnTo>
                    <a:pt x="0" y="20"/>
                  </a:lnTo>
                  <a:lnTo>
                    <a:pt x="0" y="18"/>
                  </a:lnTo>
                  <a:lnTo>
                    <a:pt x="0" y="18"/>
                  </a:lnTo>
                  <a:lnTo>
                    <a:pt x="0" y="16"/>
                  </a:lnTo>
                  <a:lnTo>
                    <a:pt x="0" y="16"/>
                  </a:lnTo>
                  <a:lnTo>
                    <a:pt x="0" y="16"/>
                  </a:lnTo>
                  <a:lnTo>
                    <a:pt x="2" y="14"/>
                  </a:lnTo>
                  <a:lnTo>
                    <a:pt x="4" y="12"/>
                  </a:lnTo>
                  <a:lnTo>
                    <a:pt x="6" y="10"/>
                  </a:lnTo>
                  <a:lnTo>
                    <a:pt x="10" y="10"/>
                  </a:lnTo>
                  <a:lnTo>
                    <a:pt x="14" y="6"/>
                  </a:lnTo>
                  <a:lnTo>
                    <a:pt x="16" y="4"/>
                  </a:lnTo>
                  <a:lnTo>
                    <a:pt x="20" y="4"/>
                  </a:lnTo>
                  <a:lnTo>
                    <a:pt x="22" y="2"/>
                  </a:lnTo>
                  <a:lnTo>
                    <a:pt x="22" y="2"/>
                  </a:lnTo>
                  <a:lnTo>
                    <a:pt x="24" y="0"/>
                  </a:lnTo>
                  <a:lnTo>
                    <a:pt x="26" y="0"/>
                  </a:lnTo>
                  <a:lnTo>
                    <a:pt x="28" y="0"/>
                  </a:lnTo>
                  <a:lnTo>
                    <a:pt x="30" y="0"/>
                  </a:lnTo>
                  <a:lnTo>
                    <a:pt x="34" y="0"/>
                  </a:lnTo>
                  <a:lnTo>
                    <a:pt x="36" y="0"/>
                  </a:lnTo>
                  <a:lnTo>
                    <a:pt x="42" y="2"/>
                  </a:lnTo>
                  <a:lnTo>
                    <a:pt x="46" y="4"/>
                  </a:lnTo>
                  <a:lnTo>
                    <a:pt x="52" y="4"/>
                  </a:lnTo>
                  <a:lnTo>
                    <a:pt x="60" y="6"/>
                  </a:lnTo>
                  <a:lnTo>
                    <a:pt x="64" y="6"/>
                  </a:lnTo>
                  <a:lnTo>
                    <a:pt x="68" y="8"/>
                  </a:lnTo>
                  <a:lnTo>
                    <a:pt x="72" y="8"/>
                  </a:lnTo>
                  <a:lnTo>
                    <a:pt x="76" y="10"/>
                  </a:lnTo>
                  <a:lnTo>
                    <a:pt x="78" y="10"/>
                  </a:lnTo>
                  <a:lnTo>
                    <a:pt x="82" y="12"/>
                  </a:lnTo>
                  <a:lnTo>
                    <a:pt x="88" y="16"/>
                  </a:lnTo>
                  <a:lnTo>
                    <a:pt x="94" y="20"/>
                  </a:lnTo>
                  <a:lnTo>
                    <a:pt x="98" y="22"/>
                  </a:lnTo>
                  <a:lnTo>
                    <a:pt x="100" y="24"/>
                  </a:lnTo>
                  <a:lnTo>
                    <a:pt x="104" y="26"/>
                  </a:lnTo>
                  <a:lnTo>
                    <a:pt x="110" y="28"/>
                  </a:lnTo>
                  <a:lnTo>
                    <a:pt x="122" y="32"/>
                  </a:lnTo>
                  <a:lnTo>
                    <a:pt x="128" y="34"/>
                  </a:lnTo>
                  <a:lnTo>
                    <a:pt x="134" y="38"/>
                  </a:lnTo>
                  <a:lnTo>
                    <a:pt x="136" y="38"/>
                  </a:lnTo>
                  <a:lnTo>
                    <a:pt x="138" y="40"/>
                  </a:lnTo>
                  <a:lnTo>
                    <a:pt x="140" y="42"/>
                  </a:lnTo>
                  <a:lnTo>
                    <a:pt x="142" y="44"/>
                  </a:lnTo>
                  <a:lnTo>
                    <a:pt x="144" y="46"/>
                  </a:lnTo>
                  <a:lnTo>
                    <a:pt x="146" y="46"/>
                  </a:lnTo>
                  <a:lnTo>
                    <a:pt x="146" y="48"/>
                  </a:lnTo>
                  <a:lnTo>
                    <a:pt x="148" y="50"/>
                  </a:lnTo>
                  <a:lnTo>
                    <a:pt x="148" y="50"/>
                  </a:lnTo>
                  <a:lnTo>
                    <a:pt x="148" y="52"/>
                  </a:lnTo>
                  <a:lnTo>
                    <a:pt x="148" y="52"/>
                  </a:lnTo>
                  <a:lnTo>
                    <a:pt x="148" y="54"/>
                  </a:lnTo>
                  <a:lnTo>
                    <a:pt x="148" y="54"/>
                  </a:lnTo>
                  <a:lnTo>
                    <a:pt x="148" y="56"/>
                  </a:lnTo>
                  <a:lnTo>
                    <a:pt x="146" y="56"/>
                  </a:lnTo>
                  <a:lnTo>
                    <a:pt x="146" y="58"/>
                  </a:lnTo>
                  <a:lnTo>
                    <a:pt x="144" y="58"/>
                  </a:lnTo>
                  <a:lnTo>
                    <a:pt x="142" y="60"/>
                  </a:lnTo>
                  <a:lnTo>
                    <a:pt x="140" y="60"/>
                  </a:lnTo>
                  <a:lnTo>
                    <a:pt x="136" y="62"/>
                  </a:lnTo>
                  <a:lnTo>
                    <a:pt x="134" y="64"/>
                  </a:lnTo>
                  <a:lnTo>
                    <a:pt x="130" y="64"/>
                  </a:lnTo>
                  <a:lnTo>
                    <a:pt x="128" y="64"/>
                  </a:lnTo>
                  <a:lnTo>
                    <a:pt x="124" y="66"/>
                  </a:lnTo>
                  <a:lnTo>
                    <a:pt x="122" y="66"/>
                  </a:lnTo>
                  <a:lnTo>
                    <a:pt x="116" y="66"/>
                  </a:lnTo>
                  <a:lnTo>
                    <a:pt x="112" y="66"/>
                  </a:lnTo>
                  <a:lnTo>
                    <a:pt x="110" y="66"/>
                  </a:lnTo>
                  <a:lnTo>
                    <a:pt x="108" y="66"/>
                  </a:lnTo>
                  <a:lnTo>
                    <a:pt x="106" y="66"/>
                  </a:lnTo>
                  <a:lnTo>
                    <a:pt x="104" y="66"/>
                  </a:lnTo>
                  <a:lnTo>
                    <a:pt x="102" y="64"/>
                  </a:lnTo>
                  <a:lnTo>
                    <a:pt x="100" y="64"/>
                  </a:lnTo>
                  <a:lnTo>
                    <a:pt x="98" y="64"/>
                  </a:lnTo>
                  <a:lnTo>
                    <a:pt x="98" y="62"/>
                  </a:lnTo>
                  <a:lnTo>
                    <a:pt x="98" y="62"/>
                  </a:lnTo>
                  <a:lnTo>
                    <a:pt x="98" y="60"/>
                  </a:lnTo>
                  <a:lnTo>
                    <a:pt x="98" y="60"/>
                  </a:lnTo>
                  <a:lnTo>
                    <a:pt x="98" y="58"/>
                  </a:lnTo>
                  <a:lnTo>
                    <a:pt x="98" y="56"/>
                  </a:lnTo>
                  <a:lnTo>
                    <a:pt x="98" y="54"/>
                  </a:lnTo>
                  <a:lnTo>
                    <a:pt x="100" y="52"/>
                  </a:lnTo>
                  <a:lnTo>
                    <a:pt x="100" y="50"/>
                  </a:lnTo>
                  <a:lnTo>
                    <a:pt x="100" y="48"/>
                  </a:lnTo>
                  <a:lnTo>
                    <a:pt x="100" y="48"/>
                  </a:lnTo>
                  <a:lnTo>
                    <a:pt x="100" y="46"/>
                  </a:lnTo>
                  <a:lnTo>
                    <a:pt x="100" y="46"/>
                  </a:lnTo>
                  <a:lnTo>
                    <a:pt x="100" y="44"/>
                  </a:lnTo>
                  <a:lnTo>
                    <a:pt x="98" y="44"/>
                  </a:lnTo>
                  <a:lnTo>
                    <a:pt x="98" y="42"/>
                  </a:lnTo>
                  <a:lnTo>
                    <a:pt x="96" y="40"/>
                  </a:lnTo>
                  <a:lnTo>
                    <a:pt x="92" y="38"/>
                  </a:lnTo>
                  <a:lnTo>
                    <a:pt x="90" y="36"/>
                  </a:lnTo>
                  <a:lnTo>
                    <a:pt x="86" y="32"/>
                  </a:lnTo>
                  <a:lnTo>
                    <a:pt x="80" y="28"/>
                  </a:lnTo>
                  <a:lnTo>
                    <a:pt x="74" y="24"/>
                  </a:lnTo>
                  <a:lnTo>
                    <a:pt x="72" y="22"/>
                  </a:lnTo>
                  <a:lnTo>
                    <a:pt x="68" y="20"/>
                  </a:lnTo>
                  <a:lnTo>
                    <a:pt x="66" y="20"/>
                  </a:lnTo>
                  <a:lnTo>
                    <a:pt x="64" y="18"/>
                  </a:lnTo>
                  <a:lnTo>
                    <a:pt x="62" y="18"/>
                  </a:lnTo>
                  <a:lnTo>
                    <a:pt x="60" y="16"/>
                  </a:lnTo>
                  <a:lnTo>
                    <a:pt x="56" y="16"/>
                  </a:lnTo>
                  <a:lnTo>
                    <a:pt x="50" y="16"/>
                  </a:lnTo>
                  <a:lnTo>
                    <a:pt x="44" y="14"/>
                  </a:lnTo>
                  <a:lnTo>
                    <a:pt x="38" y="14"/>
                  </a:lnTo>
                  <a:lnTo>
                    <a:pt x="32" y="14"/>
                  </a:lnTo>
                  <a:lnTo>
                    <a:pt x="26" y="14"/>
                  </a:lnTo>
                  <a:lnTo>
                    <a:pt x="22" y="14"/>
                  </a:lnTo>
                  <a:lnTo>
                    <a:pt x="16" y="14"/>
                  </a:lnTo>
                  <a:lnTo>
                    <a:pt x="16" y="14"/>
                  </a:lnTo>
                  <a:lnTo>
                    <a:pt x="16" y="14"/>
                  </a:lnTo>
                  <a:lnTo>
                    <a:pt x="12" y="16"/>
                  </a:lnTo>
                  <a:lnTo>
                    <a:pt x="8" y="18"/>
                  </a:lnTo>
                  <a:lnTo>
                    <a:pt x="4" y="20"/>
                  </a:lnTo>
                  <a:lnTo>
                    <a:pt x="4" y="20"/>
                  </a:lnTo>
                  <a:lnTo>
                    <a:pt x="2" y="20"/>
                  </a:lnTo>
                  <a:lnTo>
                    <a:pt x="2" y="20"/>
                  </a:lnTo>
                  <a:lnTo>
                    <a:pt x="0" y="20"/>
                  </a:lnTo>
                  <a:lnTo>
                    <a:pt x="0" y="20"/>
                  </a:lnTo>
                  <a:lnTo>
                    <a:pt x="0" y="2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0" name="Freeform 515">
              <a:extLst>
                <a:ext uri="{FF2B5EF4-FFF2-40B4-BE49-F238E27FC236}">
                  <a16:creationId xmlns:a16="http://schemas.microsoft.com/office/drawing/2014/main" id="{4ED0BCFF-112F-4BC1-857A-F5C4BA7AA04C}"/>
                </a:ext>
              </a:extLst>
            </p:cNvPr>
            <p:cNvSpPr>
              <a:spLocks/>
            </p:cNvSpPr>
            <p:nvPr/>
          </p:nvSpPr>
          <p:spPr bwMode="auto">
            <a:xfrm>
              <a:off x="2190722" y="3991487"/>
              <a:ext cx="256347" cy="114317"/>
            </a:xfrm>
            <a:custGeom>
              <a:avLst/>
              <a:gdLst>
                <a:gd name="T0" fmla="*/ 0 w 148"/>
                <a:gd name="T1" fmla="*/ 20 h 66"/>
                <a:gd name="T2" fmla="*/ 0 w 148"/>
                <a:gd name="T3" fmla="*/ 18 h 66"/>
                <a:gd name="T4" fmla="*/ 0 w 148"/>
                <a:gd name="T5" fmla="*/ 16 h 66"/>
                <a:gd name="T6" fmla="*/ 2 w 148"/>
                <a:gd name="T7" fmla="*/ 14 h 66"/>
                <a:gd name="T8" fmla="*/ 6 w 148"/>
                <a:gd name="T9" fmla="*/ 10 h 66"/>
                <a:gd name="T10" fmla="*/ 14 w 148"/>
                <a:gd name="T11" fmla="*/ 6 h 66"/>
                <a:gd name="T12" fmla="*/ 20 w 148"/>
                <a:gd name="T13" fmla="*/ 4 h 66"/>
                <a:gd name="T14" fmla="*/ 22 w 148"/>
                <a:gd name="T15" fmla="*/ 2 h 66"/>
                <a:gd name="T16" fmla="*/ 26 w 148"/>
                <a:gd name="T17" fmla="*/ 0 h 66"/>
                <a:gd name="T18" fmla="*/ 30 w 148"/>
                <a:gd name="T19" fmla="*/ 0 h 66"/>
                <a:gd name="T20" fmla="*/ 36 w 148"/>
                <a:gd name="T21" fmla="*/ 0 h 66"/>
                <a:gd name="T22" fmla="*/ 46 w 148"/>
                <a:gd name="T23" fmla="*/ 4 h 66"/>
                <a:gd name="T24" fmla="*/ 60 w 148"/>
                <a:gd name="T25" fmla="*/ 6 h 66"/>
                <a:gd name="T26" fmla="*/ 68 w 148"/>
                <a:gd name="T27" fmla="*/ 8 h 66"/>
                <a:gd name="T28" fmla="*/ 76 w 148"/>
                <a:gd name="T29" fmla="*/ 10 h 66"/>
                <a:gd name="T30" fmla="*/ 82 w 148"/>
                <a:gd name="T31" fmla="*/ 12 h 66"/>
                <a:gd name="T32" fmla="*/ 94 w 148"/>
                <a:gd name="T33" fmla="*/ 20 h 66"/>
                <a:gd name="T34" fmla="*/ 100 w 148"/>
                <a:gd name="T35" fmla="*/ 24 h 66"/>
                <a:gd name="T36" fmla="*/ 110 w 148"/>
                <a:gd name="T37" fmla="*/ 28 h 66"/>
                <a:gd name="T38" fmla="*/ 128 w 148"/>
                <a:gd name="T39" fmla="*/ 34 h 66"/>
                <a:gd name="T40" fmla="*/ 136 w 148"/>
                <a:gd name="T41" fmla="*/ 38 h 66"/>
                <a:gd name="T42" fmla="*/ 140 w 148"/>
                <a:gd name="T43" fmla="*/ 42 h 66"/>
                <a:gd name="T44" fmla="*/ 144 w 148"/>
                <a:gd name="T45" fmla="*/ 46 h 66"/>
                <a:gd name="T46" fmla="*/ 146 w 148"/>
                <a:gd name="T47" fmla="*/ 48 h 66"/>
                <a:gd name="T48" fmla="*/ 148 w 148"/>
                <a:gd name="T49" fmla="*/ 50 h 66"/>
                <a:gd name="T50" fmla="*/ 148 w 148"/>
                <a:gd name="T51" fmla="*/ 52 h 66"/>
                <a:gd name="T52" fmla="*/ 148 w 148"/>
                <a:gd name="T53" fmla="*/ 54 h 66"/>
                <a:gd name="T54" fmla="*/ 146 w 148"/>
                <a:gd name="T55" fmla="*/ 56 h 66"/>
                <a:gd name="T56" fmla="*/ 144 w 148"/>
                <a:gd name="T57" fmla="*/ 58 h 66"/>
                <a:gd name="T58" fmla="*/ 140 w 148"/>
                <a:gd name="T59" fmla="*/ 60 h 66"/>
                <a:gd name="T60" fmla="*/ 134 w 148"/>
                <a:gd name="T61" fmla="*/ 64 h 66"/>
                <a:gd name="T62" fmla="*/ 128 w 148"/>
                <a:gd name="T63" fmla="*/ 64 h 66"/>
                <a:gd name="T64" fmla="*/ 122 w 148"/>
                <a:gd name="T65" fmla="*/ 66 h 66"/>
                <a:gd name="T66" fmla="*/ 112 w 148"/>
                <a:gd name="T67" fmla="*/ 66 h 66"/>
                <a:gd name="T68" fmla="*/ 108 w 148"/>
                <a:gd name="T69" fmla="*/ 66 h 66"/>
                <a:gd name="T70" fmla="*/ 104 w 148"/>
                <a:gd name="T71" fmla="*/ 66 h 66"/>
                <a:gd name="T72" fmla="*/ 100 w 148"/>
                <a:gd name="T73" fmla="*/ 64 h 66"/>
                <a:gd name="T74" fmla="*/ 98 w 148"/>
                <a:gd name="T75" fmla="*/ 62 h 66"/>
                <a:gd name="T76" fmla="*/ 98 w 148"/>
                <a:gd name="T77" fmla="*/ 60 h 66"/>
                <a:gd name="T78" fmla="*/ 98 w 148"/>
                <a:gd name="T79" fmla="*/ 58 h 66"/>
                <a:gd name="T80" fmla="*/ 98 w 148"/>
                <a:gd name="T81" fmla="*/ 54 h 66"/>
                <a:gd name="T82" fmla="*/ 100 w 148"/>
                <a:gd name="T83" fmla="*/ 50 h 66"/>
                <a:gd name="T84" fmla="*/ 100 w 148"/>
                <a:gd name="T85" fmla="*/ 48 h 66"/>
                <a:gd name="T86" fmla="*/ 100 w 148"/>
                <a:gd name="T87" fmla="*/ 46 h 66"/>
                <a:gd name="T88" fmla="*/ 98 w 148"/>
                <a:gd name="T89" fmla="*/ 44 h 66"/>
                <a:gd name="T90" fmla="*/ 96 w 148"/>
                <a:gd name="T91" fmla="*/ 40 h 66"/>
                <a:gd name="T92" fmla="*/ 90 w 148"/>
                <a:gd name="T93" fmla="*/ 36 h 66"/>
                <a:gd name="T94" fmla="*/ 80 w 148"/>
                <a:gd name="T95" fmla="*/ 28 h 66"/>
                <a:gd name="T96" fmla="*/ 72 w 148"/>
                <a:gd name="T97" fmla="*/ 22 h 66"/>
                <a:gd name="T98" fmla="*/ 66 w 148"/>
                <a:gd name="T99" fmla="*/ 20 h 66"/>
                <a:gd name="T100" fmla="*/ 62 w 148"/>
                <a:gd name="T101" fmla="*/ 18 h 66"/>
                <a:gd name="T102" fmla="*/ 56 w 148"/>
                <a:gd name="T103" fmla="*/ 16 h 66"/>
                <a:gd name="T104" fmla="*/ 44 w 148"/>
                <a:gd name="T105" fmla="*/ 14 h 66"/>
                <a:gd name="T106" fmla="*/ 32 w 148"/>
                <a:gd name="T107" fmla="*/ 14 h 66"/>
                <a:gd name="T108" fmla="*/ 22 w 148"/>
                <a:gd name="T109" fmla="*/ 14 h 66"/>
                <a:gd name="T110" fmla="*/ 16 w 148"/>
                <a:gd name="T111" fmla="*/ 14 h 66"/>
                <a:gd name="T112" fmla="*/ 12 w 148"/>
                <a:gd name="T113" fmla="*/ 16 h 66"/>
                <a:gd name="T114" fmla="*/ 4 w 148"/>
                <a:gd name="T115" fmla="*/ 20 h 66"/>
                <a:gd name="T116" fmla="*/ 2 w 148"/>
                <a:gd name="T117" fmla="*/ 20 h 66"/>
                <a:gd name="T118" fmla="*/ 0 w 148"/>
                <a:gd name="T119" fmla="*/ 20 h 66"/>
                <a:gd name="T120" fmla="*/ 0 w 148"/>
                <a:gd name="T121" fmla="*/ 2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 h="66">
                  <a:moveTo>
                    <a:pt x="0" y="20"/>
                  </a:moveTo>
                  <a:lnTo>
                    <a:pt x="0" y="20"/>
                  </a:lnTo>
                  <a:lnTo>
                    <a:pt x="0" y="18"/>
                  </a:lnTo>
                  <a:lnTo>
                    <a:pt x="0" y="18"/>
                  </a:lnTo>
                  <a:lnTo>
                    <a:pt x="0" y="16"/>
                  </a:lnTo>
                  <a:lnTo>
                    <a:pt x="0" y="16"/>
                  </a:lnTo>
                  <a:lnTo>
                    <a:pt x="0" y="16"/>
                  </a:lnTo>
                  <a:lnTo>
                    <a:pt x="2" y="14"/>
                  </a:lnTo>
                  <a:lnTo>
                    <a:pt x="4" y="12"/>
                  </a:lnTo>
                  <a:lnTo>
                    <a:pt x="6" y="10"/>
                  </a:lnTo>
                  <a:lnTo>
                    <a:pt x="10" y="10"/>
                  </a:lnTo>
                  <a:lnTo>
                    <a:pt x="14" y="6"/>
                  </a:lnTo>
                  <a:lnTo>
                    <a:pt x="16" y="4"/>
                  </a:lnTo>
                  <a:lnTo>
                    <a:pt x="20" y="4"/>
                  </a:lnTo>
                  <a:lnTo>
                    <a:pt x="22" y="2"/>
                  </a:lnTo>
                  <a:lnTo>
                    <a:pt x="22" y="2"/>
                  </a:lnTo>
                  <a:lnTo>
                    <a:pt x="24" y="0"/>
                  </a:lnTo>
                  <a:lnTo>
                    <a:pt x="26" y="0"/>
                  </a:lnTo>
                  <a:lnTo>
                    <a:pt x="28" y="0"/>
                  </a:lnTo>
                  <a:lnTo>
                    <a:pt x="30" y="0"/>
                  </a:lnTo>
                  <a:lnTo>
                    <a:pt x="34" y="0"/>
                  </a:lnTo>
                  <a:lnTo>
                    <a:pt x="36" y="0"/>
                  </a:lnTo>
                  <a:lnTo>
                    <a:pt x="42" y="2"/>
                  </a:lnTo>
                  <a:lnTo>
                    <a:pt x="46" y="4"/>
                  </a:lnTo>
                  <a:lnTo>
                    <a:pt x="52" y="4"/>
                  </a:lnTo>
                  <a:lnTo>
                    <a:pt x="60" y="6"/>
                  </a:lnTo>
                  <a:lnTo>
                    <a:pt x="64" y="6"/>
                  </a:lnTo>
                  <a:lnTo>
                    <a:pt x="68" y="8"/>
                  </a:lnTo>
                  <a:lnTo>
                    <a:pt x="72" y="8"/>
                  </a:lnTo>
                  <a:lnTo>
                    <a:pt x="76" y="10"/>
                  </a:lnTo>
                  <a:lnTo>
                    <a:pt x="78" y="10"/>
                  </a:lnTo>
                  <a:lnTo>
                    <a:pt x="82" y="12"/>
                  </a:lnTo>
                  <a:lnTo>
                    <a:pt x="88" y="16"/>
                  </a:lnTo>
                  <a:lnTo>
                    <a:pt x="94" y="20"/>
                  </a:lnTo>
                  <a:lnTo>
                    <a:pt x="98" y="22"/>
                  </a:lnTo>
                  <a:lnTo>
                    <a:pt x="100" y="24"/>
                  </a:lnTo>
                  <a:lnTo>
                    <a:pt x="104" y="26"/>
                  </a:lnTo>
                  <a:lnTo>
                    <a:pt x="110" y="28"/>
                  </a:lnTo>
                  <a:lnTo>
                    <a:pt x="122" y="32"/>
                  </a:lnTo>
                  <a:lnTo>
                    <a:pt x="128" y="34"/>
                  </a:lnTo>
                  <a:lnTo>
                    <a:pt x="134" y="38"/>
                  </a:lnTo>
                  <a:lnTo>
                    <a:pt x="136" y="38"/>
                  </a:lnTo>
                  <a:lnTo>
                    <a:pt x="138" y="40"/>
                  </a:lnTo>
                  <a:lnTo>
                    <a:pt x="140" y="42"/>
                  </a:lnTo>
                  <a:lnTo>
                    <a:pt x="142" y="44"/>
                  </a:lnTo>
                  <a:lnTo>
                    <a:pt x="144" y="46"/>
                  </a:lnTo>
                  <a:lnTo>
                    <a:pt x="146" y="46"/>
                  </a:lnTo>
                  <a:lnTo>
                    <a:pt x="146" y="48"/>
                  </a:lnTo>
                  <a:lnTo>
                    <a:pt x="148" y="50"/>
                  </a:lnTo>
                  <a:lnTo>
                    <a:pt x="148" y="50"/>
                  </a:lnTo>
                  <a:lnTo>
                    <a:pt x="148" y="52"/>
                  </a:lnTo>
                  <a:lnTo>
                    <a:pt x="148" y="52"/>
                  </a:lnTo>
                  <a:lnTo>
                    <a:pt x="148" y="54"/>
                  </a:lnTo>
                  <a:lnTo>
                    <a:pt x="148" y="54"/>
                  </a:lnTo>
                  <a:lnTo>
                    <a:pt x="148" y="56"/>
                  </a:lnTo>
                  <a:lnTo>
                    <a:pt x="146" y="56"/>
                  </a:lnTo>
                  <a:lnTo>
                    <a:pt x="146" y="58"/>
                  </a:lnTo>
                  <a:lnTo>
                    <a:pt x="144" y="58"/>
                  </a:lnTo>
                  <a:lnTo>
                    <a:pt x="142" y="60"/>
                  </a:lnTo>
                  <a:lnTo>
                    <a:pt x="140" y="60"/>
                  </a:lnTo>
                  <a:lnTo>
                    <a:pt x="136" y="62"/>
                  </a:lnTo>
                  <a:lnTo>
                    <a:pt x="134" y="64"/>
                  </a:lnTo>
                  <a:lnTo>
                    <a:pt x="130" y="64"/>
                  </a:lnTo>
                  <a:lnTo>
                    <a:pt x="128" y="64"/>
                  </a:lnTo>
                  <a:lnTo>
                    <a:pt x="124" y="66"/>
                  </a:lnTo>
                  <a:lnTo>
                    <a:pt x="122" y="66"/>
                  </a:lnTo>
                  <a:lnTo>
                    <a:pt x="116" y="66"/>
                  </a:lnTo>
                  <a:lnTo>
                    <a:pt x="112" y="66"/>
                  </a:lnTo>
                  <a:lnTo>
                    <a:pt x="110" y="66"/>
                  </a:lnTo>
                  <a:lnTo>
                    <a:pt x="108" y="66"/>
                  </a:lnTo>
                  <a:lnTo>
                    <a:pt x="106" y="66"/>
                  </a:lnTo>
                  <a:lnTo>
                    <a:pt x="104" y="66"/>
                  </a:lnTo>
                  <a:lnTo>
                    <a:pt x="102" y="64"/>
                  </a:lnTo>
                  <a:lnTo>
                    <a:pt x="100" y="64"/>
                  </a:lnTo>
                  <a:lnTo>
                    <a:pt x="98" y="64"/>
                  </a:lnTo>
                  <a:lnTo>
                    <a:pt x="98" y="62"/>
                  </a:lnTo>
                  <a:lnTo>
                    <a:pt x="98" y="62"/>
                  </a:lnTo>
                  <a:lnTo>
                    <a:pt x="98" y="60"/>
                  </a:lnTo>
                  <a:lnTo>
                    <a:pt x="98" y="60"/>
                  </a:lnTo>
                  <a:lnTo>
                    <a:pt x="98" y="58"/>
                  </a:lnTo>
                  <a:lnTo>
                    <a:pt x="98" y="56"/>
                  </a:lnTo>
                  <a:lnTo>
                    <a:pt x="98" y="54"/>
                  </a:lnTo>
                  <a:lnTo>
                    <a:pt x="100" y="52"/>
                  </a:lnTo>
                  <a:lnTo>
                    <a:pt x="100" y="50"/>
                  </a:lnTo>
                  <a:lnTo>
                    <a:pt x="100" y="48"/>
                  </a:lnTo>
                  <a:lnTo>
                    <a:pt x="100" y="48"/>
                  </a:lnTo>
                  <a:lnTo>
                    <a:pt x="100" y="46"/>
                  </a:lnTo>
                  <a:lnTo>
                    <a:pt x="100" y="46"/>
                  </a:lnTo>
                  <a:lnTo>
                    <a:pt x="100" y="44"/>
                  </a:lnTo>
                  <a:lnTo>
                    <a:pt x="98" y="44"/>
                  </a:lnTo>
                  <a:lnTo>
                    <a:pt x="98" y="42"/>
                  </a:lnTo>
                  <a:lnTo>
                    <a:pt x="96" y="40"/>
                  </a:lnTo>
                  <a:lnTo>
                    <a:pt x="92" y="38"/>
                  </a:lnTo>
                  <a:lnTo>
                    <a:pt x="90" y="36"/>
                  </a:lnTo>
                  <a:lnTo>
                    <a:pt x="86" y="32"/>
                  </a:lnTo>
                  <a:lnTo>
                    <a:pt x="80" y="28"/>
                  </a:lnTo>
                  <a:lnTo>
                    <a:pt x="74" y="24"/>
                  </a:lnTo>
                  <a:lnTo>
                    <a:pt x="72" y="22"/>
                  </a:lnTo>
                  <a:lnTo>
                    <a:pt x="68" y="20"/>
                  </a:lnTo>
                  <a:lnTo>
                    <a:pt x="66" y="20"/>
                  </a:lnTo>
                  <a:lnTo>
                    <a:pt x="64" y="18"/>
                  </a:lnTo>
                  <a:lnTo>
                    <a:pt x="62" y="18"/>
                  </a:lnTo>
                  <a:lnTo>
                    <a:pt x="60" y="16"/>
                  </a:lnTo>
                  <a:lnTo>
                    <a:pt x="56" y="16"/>
                  </a:lnTo>
                  <a:lnTo>
                    <a:pt x="50" y="16"/>
                  </a:lnTo>
                  <a:lnTo>
                    <a:pt x="44" y="14"/>
                  </a:lnTo>
                  <a:lnTo>
                    <a:pt x="38" y="14"/>
                  </a:lnTo>
                  <a:lnTo>
                    <a:pt x="32" y="14"/>
                  </a:lnTo>
                  <a:lnTo>
                    <a:pt x="26" y="14"/>
                  </a:lnTo>
                  <a:lnTo>
                    <a:pt x="22" y="14"/>
                  </a:lnTo>
                  <a:lnTo>
                    <a:pt x="16" y="14"/>
                  </a:lnTo>
                  <a:lnTo>
                    <a:pt x="16" y="14"/>
                  </a:lnTo>
                  <a:lnTo>
                    <a:pt x="16" y="14"/>
                  </a:lnTo>
                  <a:lnTo>
                    <a:pt x="12" y="16"/>
                  </a:lnTo>
                  <a:lnTo>
                    <a:pt x="8" y="18"/>
                  </a:lnTo>
                  <a:lnTo>
                    <a:pt x="4" y="20"/>
                  </a:lnTo>
                  <a:lnTo>
                    <a:pt x="4" y="20"/>
                  </a:lnTo>
                  <a:lnTo>
                    <a:pt x="2" y="20"/>
                  </a:lnTo>
                  <a:lnTo>
                    <a:pt x="2" y="20"/>
                  </a:lnTo>
                  <a:lnTo>
                    <a:pt x="0" y="20"/>
                  </a:lnTo>
                  <a:lnTo>
                    <a:pt x="0" y="20"/>
                  </a:lnTo>
                  <a:lnTo>
                    <a:pt x="0" y="2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1" name="Freeform 516">
              <a:extLst>
                <a:ext uri="{FF2B5EF4-FFF2-40B4-BE49-F238E27FC236}">
                  <a16:creationId xmlns:a16="http://schemas.microsoft.com/office/drawing/2014/main" id="{DECF10A6-60EB-4A94-A962-62A476186717}"/>
                </a:ext>
              </a:extLst>
            </p:cNvPr>
            <p:cNvSpPr>
              <a:spLocks/>
            </p:cNvSpPr>
            <p:nvPr/>
          </p:nvSpPr>
          <p:spPr bwMode="auto">
            <a:xfrm>
              <a:off x="2828125" y="4476468"/>
              <a:ext cx="103925" cy="142030"/>
            </a:xfrm>
            <a:custGeom>
              <a:avLst/>
              <a:gdLst>
                <a:gd name="T0" fmla="*/ 20 w 60"/>
                <a:gd name="T1" fmla="*/ 18 h 82"/>
                <a:gd name="T2" fmla="*/ 20 w 60"/>
                <a:gd name="T3" fmla="*/ 26 h 82"/>
                <a:gd name="T4" fmla="*/ 20 w 60"/>
                <a:gd name="T5" fmla="*/ 30 h 82"/>
                <a:gd name="T6" fmla="*/ 18 w 60"/>
                <a:gd name="T7" fmla="*/ 32 h 82"/>
                <a:gd name="T8" fmla="*/ 14 w 60"/>
                <a:gd name="T9" fmla="*/ 32 h 82"/>
                <a:gd name="T10" fmla="*/ 10 w 60"/>
                <a:gd name="T11" fmla="*/ 30 h 82"/>
                <a:gd name="T12" fmla="*/ 4 w 60"/>
                <a:gd name="T13" fmla="*/ 32 h 82"/>
                <a:gd name="T14" fmla="*/ 2 w 60"/>
                <a:gd name="T15" fmla="*/ 34 h 82"/>
                <a:gd name="T16" fmla="*/ 0 w 60"/>
                <a:gd name="T17" fmla="*/ 38 h 82"/>
                <a:gd name="T18" fmla="*/ 0 w 60"/>
                <a:gd name="T19" fmla="*/ 44 h 82"/>
                <a:gd name="T20" fmla="*/ 2 w 60"/>
                <a:gd name="T21" fmla="*/ 48 h 82"/>
                <a:gd name="T22" fmla="*/ 4 w 60"/>
                <a:gd name="T23" fmla="*/ 52 h 82"/>
                <a:gd name="T24" fmla="*/ 8 w 60"/>
                <a:gd name="T25" fmla="*/ 56 h 82"/>
                <a:gd name="T26" fmla="*/ 12 w 60"/>
                <a:gd name="T27" fmla="*/ 58 h 82"/>
                <a:gd name="T28" fmla="*/ 16 w 60"/>
                <a:gd name="T29" fmla="*/ 60 h 82"/>
                <a:gd name="T30" fmla="*/ 16 w 60"/>
                <a:gd name="T31" fmla="*/ 64 h 82"/>
                <a:gd name="T32" fmla="*/ 16 w 60"/>
                <a:gd name="T33" fmla="*/ 70 h 82"/>
                <a:gd name="T34" fmla="*/ 16 w 60"/>
                <a:gd name="T35" fmla="*/ 76 h 82"/>
                <a:gd name="T36" fmla="*/ 16 w 60"/>
                <a:gd name="T37" fmla="*/ 82 h 82"/>
                <a:gd name="T38" fmla="*/ 24 w 60"/>
                <a:gd name="T39" fmla="*/ 82 h 82"/>
                <a:gd name="T40" fmla="*/ 30 w 60"/>
                <a:gd name="T41" fmla="*/ 82 h 82"/>
                <a:gd name="T42" fmla="*/ 32 w 60"/>
                <a:gd name="T43" fmla="*/ 80 h 82"/>
                <a:gd name="T44" fmla="*/ 32 w 60"/>
                <a:gd name="T45" fmla="*/ 78 h 82"/>
                <a:gd name="T46" fmla="*/ 32 w 60"/>
                <a:gd name="T47" fmla="*/ 72 h 82"/>
                <a:gd name="T48" fmla="*/ 32 w 60"/>
                <a:gd name="T49" fmla="*/ 70 h 82"/>
                <a:gd name="T50" fmla="*/ 32 w 60"/>
                <a:gd name="T51" fmla="*/ 68 h 82"/>
                <a:gd name="T52" fmla="*/ 36 w 60"/>
                <a:gd name="T53" fmla="*/ 66 h 82"/>
                <a:gd name="T54" fmla="*/ 44 w 60"/>
                <a:gd name="T55" fmla="*/ 66 h 82"/>
                <a:gd name="T56" fmla="*/ 52 w 60"/>
                <a:gd name="T57" fmla="*/ 66 h 82"/>
                <a:gd name="T58" fmla="*/ 56 w 60"/>
                <a:gd name="T59" fmla="*/ 64 h 82"/>
                <a:gd name="T60" fmla="*/ 58 w 60"/>
                <a:gd name="T61" fmla="*/ 58 h 82"/>
                <a:gd name="T62" fmla="*/ 58 w 60"/>
                <a:gd name="T63" fmla="*/ 50 h 82"/>
                <a:gd name="T64" fmla="*/ 58 w 60"/>
                <a:gd name="T65" fmla="*/ 36 h 82"/>
                <a:gd name="T66" fmla="*/ 56 w 60"/>
                <a:gd name="T67" fmla="*/ 24 h 82"/>
                <a:gd name="T68" fmla="*/ 58 w 60"/>
                <a:gd name="T69" fmla="*/ 18 h 82"/>
                <a:gd name="T70" fmla="*/ 60 w 60"/>
                <a:gd name="T71" fmla="*/ 12 h 82"/>
                <a:gd name="T72" fmla="*/ 58 w 60"/>
                <a:gd name="T73" fmla="*/ 6 h 82"/>
                <a:gd name="T74" fmla="*/ 56 w 60"/>
                <a:gd name="T75" fmla="*/ 2 h 82"/>
                <a:gd name="T76" fmla="*/ 52 w 60"/>
                <a:gd name="T77" fmla="*/ 0 h 82"/>
                <a:gd name="T78" fmla="*/ 44 w 60"/>
                <a:gd name="T79" fmla="*/ 0 h 82"/>
                <a:gd name="T80" fmla="*/ 38 w 60"/>
                <a:gd name="T81" fmla="*/ 2 h 82"/>
                <a:gd name="T82" fmla="*/ 36 w 60"/>
                <a:gd name="T83" fmla="*/ 4 h 82"/>
                <a:gd name="T84" fmla="*/ 34 w 60"/>
                <a:gd name="T85" fmla="*/ 10 h 82"/>
                <a:gd name="T86" fmla="*/ 30 w 60"/>
                <a:gd name="T87" fmla="*/ 12 h 82"/>
                <a:gd name="T88" fmla="*/ 20 w 60"/>
                <a:gd name="T89" fmla="*/ 1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 h="82">
                  <a:moveTo>
                    <a:pt x="20" y="16"/>
                  </a:moveTo>
                  <a:lnTo>
                    <a:pt x="20" y="16"/>
                  </a:lnTo>
                  <a:lnTo>
                    <a:pt x="20" y="18"/>
                  </a:lnTo>
                  <a:lnTo>
                    <a:pt x="20" y="20"/>
                  </a:lnTo>
                  <a:lnTo>
                    <a:pt x="20" y="22"/>
                  </a:lnTo>
                  <a:lnTo>
                    <a:pt x="20" y="26"/>
                  </a:lnTo>
                  <a:lnTo>
                    <a:pt x="20" y="28"/>
                  </a:lnTo>
                  <a:lnTo>
                    <a:pt x="20" y="28"/>
                  </a:lnTo>
                  <a:lnTo>
                    <a:pt x="20" y="30"/>
                  </a:lnTo>
                  <a:lnTo>
                    <a:pt x="18" y="30"/>
                  </a:lnTo>
                  <a:lnTo>
                    <a:pt x="18" y="32"/>
                  </a:lnTo>
                  <a:lnTo>
                    <a:pt x="18" y="32"/>
                  </a:lnTo>
                  <a:lnTo>
                    <a:pt x="18" y="32"/>
                  </a:lnTo>
                  <a:lnTo>
                    <a:pt x="16" y="32"/>
                  </a:lnTo>
                  <a:lnTo>
                    <a:pt x="14" y="32"/>
                  </a:lnTo>
                  <a:lnTo>
                    <a:pt x="14" y="32"/>
                  </a:lnTo>
                  <a:lnTo>
                    <a:pt x="10" y="30"/>
                  </a:lnTo>
                  <a:lnTo>
                    <a:pt x="10" y="30"/>
                  </a:lnTo>
                  <a:lnTo>
                    <a:pt x="8" y="30"/>
                  </a:lnTo>
                  <a:lnTo>
                    <a:pt x="6" y="32"/>
                  </a:lnTo>
                  <a:lnTo>
                    <a:pt x="4" y="32"/>
                  </a:lnTo>
                  <a:lnTo>
                    <a:pt x="4" y="34"/>
                  </a:lnTo>
                  <a:lnTo>
                    <a:pt x="2" y="34"/>
                  </a:lnTo>
                  <a:lnTo>
                    <a:pt x="2" y="34"/>
                  </a:lnTo>
                  <a:lnTo>
                    <a:pt x="2" y="36"/>
                  </a:lnTo>
                  <a:lnTo>
                    <a:pt x="0" y="36"/>
                  </a:lnTo>
                  <a:lnTo>
                    <a:pt x="0" y="38"/>
                  </a:lnTo>
                  <a:lnTo>
                    <a:pt x="0" y="40"/>
                  </a:lnTo>
                  <a:lnTo>
                    <a:pt x="0" y="42"/>
                  </a:lnTo>
                  <a:lnTo>
                    <a:pt x="0" y="44"/>
                  </a:lnTo>
                  <a:lnTo>
                    <a:pt x="0" y="46"/>
                  </a:lnTo>
                  <a:lnTo>
                    <a:pt x="2" y="46"/>
                  </a:lnTo>
                  <a:lnTo>
                    <a:pt x="2" y="48"/>
                  </a:lnTo>
                  <a:lnTo>
                    <a:pt x="2" y="50"/>
                  </a:lnTo>
                  <a:lnTo>
                    <a:pt x="2" y="50"/>
                  </a:lnTo>
                  <a:lnTo>
                    <a:pt x="4" y="52"/>
                  </a:lnTo>
                  <a:lnTo>
                    <a:pt x="6" y="54"/>
                  </a:lnTo>
                  <a:lnTo>
                    <a:pt x="8" y="54"/>
                  </a:lnTo>
                  <a:lnTo>
                    <a:pt x="8" y="56"/>
                  </a:lnTo>
                  <a:lnTo>
                    <a:pt x="10" y="56"/>
                  </a:lnTo>
                  <a:lnTo>
                    <a:pt x="12" y="58"/>
                  </a:lnTo>
                  <a:lnTo>
                    <a:pt x="12" y="58"/>
                  </a:lnTo>
                  <a:lnTo>
                    <a:pt x="14" y="58"/>
                  </a:lnTo>
                  <a:lnTo>
                    <a:pt x="14" y="58"/>
                  </a:lnTo>
                  <a:lnTo>
                    <a:pt x="16" y="60"/>
                  </a:lnTo>
                  <a:lnTo>
                    <a:pt x="16" y="60"/>
                  </a:lnTo>
                  <a:lnTo>
                    <a:pt x="16" y="62"/>
                  </a:lnTo>
                  <a:lnTo>
                    <a:pt x="16" y="64"/>
                  </a:lnTo>
                  <a:lnTo>
                    <a:pt x="16" y="66"/>
                  </a:lnTo>
                  <a:lnTo>
                    <a:pt x="18" y="68"/>
                  </a:lnTo>
                  <a:lnTo>
                    <a:pt x="16" y="70"/>
                  </a:lnTo>
                  <a:lnTo>
                    <a:pt x="16" y="74"/>
                  </a:lnTo>
                  <a:lnTo>
                    <a:pt x="16" y="76"/>
                  </a:lnTo>
                  <a:lnTo>
                    <a:pt x="16" y="76"/>
                  </a:lnTo>
                  <a:lnTo>
                    <a:pt x="16" y="78"/>
                  </a:lnTo>
                  <a:lnTo>
                    <a:pt x="14" y="82"/>
                  </a:lnTo>
                  <a:lnTo>
                    <a:pt x="16" y="82"/>
                  </a:lnTo>
                  <a:lnTo>
                    <a:pt x="18" y="82"/>
                  </a:lnTo>
                  <a:lnTo>
                    <a:pt x="22" y="82"/>
                  </a:lnTo>
                  <a:lnTo>
                    <a:pt x="24" y="82"/>
                  </a:lnTo>
                  <a:lnTo>
                    <a:pt x="26" y="82"/>
                  </a:lnTo>
                  <a:lnTo>
                    <a:pt x="28" y="82"/>
                  </a:lnTo>
                  <a:lnTo>
                    <a:pt x="30" y="82"/>
                  </a:lnTo>
                  <a:lnTo>
                    <a:pt x="30" y="82"/>
                  </a:lnTo>
                  <a:lnTo>
                    <a:pt x="30" y="82"/>
                  </a:lnTo>
                  <a:lnTo>
                    <a:pt x="32" y="80"/>
                  </a:lnTo>
                  <a:lnTo>
                    <a:pt x="32" y="80"/>
                  </a:lnTo>
                  <a:lnTo>
                    <a:pt x="32" y="80"/>
                  </a:lnTo>
                  <a:lnTo>
                    <a:pt x="32" y="78"/>
                  </a:lnTo>
                  <a:lnTo>
                    <a:pt x="32" y="76"/>
                  </a:lnTo>
                  <a:lnTo>
                    <a:pt x="32" y="74"/>
                  </a:lnTo>
                  <a:lnTo>
                    <a:pt x="32" y="72"/>
                  </a:lnTo>
                  <a:lnTo>
                    <a:pt x="30" y="70"/>
                  </a:lnTo>
                  <a:lnTo>
                    <a:pt x="30" y="70"/>
                  </a:lnTo>
                  <a:lnTo>
                    <a:pt x="32" y="70"/>
                  </a:lnTo>
                  <a:lnTo>
                    <a:pt x="32" y="68"/>
                  </a:lnTo>
                  <a:lnTo>
                    <a:pt x="32" y="68"/>
                  </a:lnTo>
                  <a:lnTo>
                    <a:pt x="32" y="68"/>
                  </a:lnTo>
                  <a:lnTo>
                    <a:pt x="34" y="66"/>
                  </a:lnTo>
                  <a:lnTo>
                    <a:pt x="34" y="66"/>
                  </a:lnTo>
                  <a:lnTo>
                    <a:pt x="36" y="66"/>
                  </a:lnTo>
                  <a:lnTo>
                    <a:pt x="38" y="66"/>
                  </a:lnTo>
                  <a:lnTo>
                    <a:pt x="40" y="66"/>
                  </a:lnTo>
                  <a:lnTo>
                    <a:pt x="44" y="66"/>
                  </a:lnTo>
                  <a:lnTo>
                    <a:pt x="48" y="66"/>
                  </a:lnTo>
                  <a:lnTo>
                    <a:pt x="50" y="66"/>
                  </a:lnTo>
                  <a:lnTo>
                    <a:pt x="52" y="66"/>
                  </a:lnTo>
                  <a:lnTo>
                    <a:pt x="54" y="66"/>
                  </a:lnTo>
                  <a:lnTo>
                    <a:pt x="56" y="64"/>
                  </a:lnTo>
                  <a:lnTo>
                    <a:pt x="56" y="64"/>
                  </a:lnTo>
                  <a:lnTo>
                    <a:pt x="58" y="62"/>
                  </a:lnTo>
                  <a:lnTo>
                    <a:pt x="58" y="60"/>
                  </a:lnTo>
                  <a:lnTo>
                    <a:pt x="58" y="58"/>
                  </a:lnTo>
                  <a:lnTo>
                    <a:pt x="58" y="56"/>
                  </a:lnTo>
                  <a:lnTo>
                    <a:pt x="58" y="54"/>
                  </a:lnTo>
                  <a:lnTo>
                    <a:pt x="58" y="50"/>
                  </a:lnTo>
                  <a:lnTo>
                    <a:pt x="58" y="48"/>
                  </a:lnTo>
                  <a:lnTo>
                    <a:pt x="58" y="42"/>
                  </a:lnTo>
                  <a:lnTo>
                    <a:pt x="58" y="36"/>
                  </a:lnTo>
                  <a:lnTo>
                    <a:pt x="56" y="30"/>
                  </a:lnTo>
                  <a:lnTo>
                    <a:pt x="56" y="28"/>
                  </a:lnTo>
                  <a:lnTo>
                    <a:pt x="56" y="24"/>
                  </a:lnTo>
                  <a:lnTo>
                    <a:pt x="56" y="22"/>
                  </a:lnTo>
                  <a:lnTo>
                    <a:pt x="58" y="20"/>
                  </a:lnTo>
                  <a:lnTo>
                    <a:pt x="58" y="18"/>
                  </a:lnTo>
                  <a:lnTo>
                    <a:pt x="58" y="18"/>
                  </a:lnTo>
                  <a:lnTo>
                    <a:pt x="60" y="16"/>
                  </a:lnTo>
                  <a:lnTo>
                    <a:pt x="60" y="12"/>
                  </a:lnTo>
                  <a:lnTo>
                    <a:pt x="60" y="10"/>
                  </a:lnTo>
                  <a:lnTo>
                    <a:pt x="58" y="8"/>
                  </a:lnTo>
                  <a:lnTo>
                    <a:pt x="58" y="6"/>
                  </a:lnTo>
                  <a:lnTo>
                    <a:pt x="58" y="4"/>
                  </a:lnTo>
                  <a:lnTo>
                    <a:pt x="56" y="4"/>
                  </a:lnTo>
                  <a:lnTo>
                    <a:pt x="56" y="2"/>
                  </a:lnTo>
                  <a:lnTo>
                    <a:pt x="56" y="2"/>
                  </a:lnTo>
                  <a:lnTo>
                    <a:pt x="54" y="2"/>
                  </a:lnTo>
                  <a:lnTo>
                    <a:pt x="52" y="0"/>
                  </a:lnTo>
                  <a:lnTo>
                    <a:pt x="50" y="0"/>
                  </a:lnTo>
                  <a:lnTo>
                    <a:pt x="46" y="0"/>
                  </a:lnTo>
                  <a:lnTo>
                    <a:pt x="44" y="0"/>
                  </a:lnTo>
                  <a:lnTo>
                    <a:pt x="42" y="0"/>
                  </a:lnTo>
                  <a:lnTo>
                    <a:pt x="40" y="2"/>
                  </a:lnTo>
                  <a:lnTo>
                    <a:pt x="38" y="2"/>
                  </a:lnTo>
                  <a:lnTo>
                    <a:pt x="38" y="2"/>
                  </a:lnTo>
                  <a:lnTo>
                    <a:pt x="36" y="4"/>
                  </a:lnTo>
                  <a:lnTo>
                    <a:pt x="36" y="4"/>
                  </a:lnTo>
                  <a:lnTo>
                    <a:pt x="36" y="6"/>
                  </a:lnTo>
                  <a:lnTo>
                    <a:pt x="34" y="8"/>
                  </a:lnTo>
                  <a:lnTo>
                    <a:pt x="34" y="10"/>
                  </a:lnTo>
                  <a:lnTo>
                    <a:pt x="32" y="10"/>
                  </a:lnTo>
                  <a:lnTo>
                    <a:pt x="32" y="10"/>
                  </a:lnTo>
                  <a:lnTo>
                    <a:pt x="30" y="12"/>
                  </a:lnTo>
                  <a:lnTo>
                    <a:pt x="26" y="14"/>
                  </a:lnTo>
                  <a:lnTo>
                    <a:pt x="22" y="16"/>
                  </a:lnTo>
                  <a:lnTo>
                    <a:pt x="20" y="1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2" name="Freeform 517">
              <a:extLst>
                <a:ext uri="{FF2B5EF4-FFF2-40B4-BE49-F238E27FC236}">
                  <a16:creationId xmlns:a16="http://schemas.microsoft.com/office/drawing/2014/main" id="{B23F5D26-0536-4FF6-A867-7AD79566A16D}"/>
                </a:ext>
              </a:extLst>
            </p:cNvPr>
            <p:cNvSpPr>
              <a:spLocks/>
            </p:cNvSpPr>
            <p:nvPr/>
          </p:nvSpPr>
          <p:spPr bwMode="auto">
            <a:xfrm>
              <a:off x="2828125" y="4476468"/>
              <a:ext cx="103925" cy="142030"/>
            </a:xfrm>
            <a:custGeom>
              <a:avLst/>
              <a:gdLst>
                <a:gd name="T0" fmla="*/ 20 w 60"/>
                <a:gd name="T1" fmla="*/ 18 h 82"/>
                <a:gd name="T2" fmla="*/ 20 w 60"/>
                <a:gd name="T3" fmla="*/ 26 h 82"/>
                <a:gd name="T4" fmla="*/ 20 w 60"/>
                <a:gd name="T5" fmla="*/ 30 h 82"/>
                <a:gd name="T6" fmla="*/ 18 w 60"/>
                <a:gd name="T7" fmla="*/ 32 h 82"/>
                <a:gd name="T8" fmla="*/ 14 w 60"/>
                <a:gd name="T9" fmla="*/ 32 h 82"/>
                <a:gd name="T10" fmla="*/ 10 w 60"/>
                <a:gd name="T11" fmla="*/ 30 h 82"/>
                <a:gd name="T12" fmla="*/ 4 w 60"/>
                <a:gd name="T13" fmla="*/ 32 h 82"/>
                <a:gd name="T14" fmla="*/ 2 w 60"/>
                <a:gd name="T15" fmla="*/ 34 h 82"/>
                <a:gd name="T16" fmla="*/ 0 w 60"/>
                <a:gd name="T17" fmla="*/ 38 h 82"/>
                <a:gd name="T18" fmla="*/ 0 w 60"/>
                <a:gd name="T19" fmla="*/ 44 h 82"/>
                <a:gd name="T20" fmla="*/ 2 w 60"/>
                <a:gd name="T21" fmla="*/ 48 h 82"/>
                <a:gd name="T22" fmla="*/ 4 w 60"/>
                <a:gd name="T23" fmla="*/ 52 h 82"/>
                <a:gd name="T24" fmla="*/ 8 w 60"/>
                <a:gd name="T25" fmla="*/ 56 h 82"/>
                <a:gd name="T26" fmla="*/ 12 w 60"/>
                <a:gd name="T27" fmla="*/ 58 h 82"/>
                <a:gd name="T28" fmla="*/ 16 w 60"/>
                <a:gd name="T29" fmla="*/ 60 h 82"/>
                <a:gd name="T30" fmla="*/ 16 w 60"/>
                <a:gd name="T31" fmla="*/ 64 h 82"/>
                <a:gd name="T32" fmla="*/ 16 w 60"/>
                <a:gd name="T33" fmla="*/ 70 h 82"/>
                <a:gd name="T34" fmla="*/ 16 w 60"/>
                <a:gd name="T35" fmla="*/ 76 h 82"/>
                <a:gd name="T36" fmla="*/ 16 w 60"/>
                <a:gd name="T37" fmla="*/ 82 h 82"/>
                <a:gd name="T38" fmla="*/ 24 w 60"/>
                <a:gd name="T39" fmla="*/ 82 h 82"/>
                <a:gd name="T40" fmla="*/ 30 w 60"/>
                <a:gd name="T41" fmla="*/ 82 h 82"/>
                <a:gd name="T42" fmla="*/ 32 w 60"/>
                <a:gd name="T43" fmla="*/ 80 h 82"/>
                <a:gd name="T44" fmla="*/ 32 w 60"/>
                <a:gd name="T45" fmla="*/ 78 h 82"/>
                <a:gd name="T46" fmla="*/ 32 w 60"/>
                <a:gd name="T47" fmla="*/ 72 h 82"/>
                <a:gd name="T48" fmla="*/ 32 w 60"/>
                <a:gd name="T49" fmla="*/ 70 h 82"/>
                <a:gd name="T50" fmla="*/ 32 w 60"/>
                <a:gd name="T51" fmla="*/ 68 h 82"/>
                <a:gd name="T52" fmla="*/ 36 w 60"/>
                <a:gd name="T53" fmla="*/ 66 h 82"/>
                <a:gd name="T54" fmla="*/ 44 w 60"/>
                <a:gd name="T55" fmla="*/ 66 h 82"/>
                <a:gd name="T56" fmla="*/ 52 w 60"/>
                <a:gd name="T57" fmla="*/ 66 h 82"/>
                <a:gd name="T58" fmla="*/ 56 w 60"/>
                <a:gd name="T59" fmla="*/ 64 h 82"/>
                <a:gd name="T60" fmla="*/ 58 w 60"/>
                <a:gd name="T61" fmla="*/ 58 h 82"/>
                <a:gd name="T62" fmla="*/ 58 w 60"/>
                <a:gd name="T63" fmla="*/ 50 h 82"/>
                <a:gd name="T64" fmla="*/ 58 w 60"/>
                <a:gd name="T65" fmla="*/ 36 h 82"/>
                <a:gd name="T66" fmla="*/ 56 w 60"/>
                <a:gd name="T67" fmla="*/ 24 h 82"/>
                <a:gd name="T68" fmla="*/ 58 w 60"/>
                <a:gd name="T69" fmla="*/ 18 h 82"/>
                <a:gd name="T70" fmla="*/ 60 w 60"/>
                <a:gd name="T71" fmla="*/ 12 h 82"/>
                <a:gd name="T72" fmla="*/ 58 w 60"/>
                <a:gd name="T73" fmla="*/ 6 h 82"/>
                <a:gd name="T74" fmla="*/ 56 w 60"/>
                <a:gd name="T75" fmla="*/ 2 h 82"/>
                <a:gd name="T76" fmla="*/ 52 w 60"/>
                <a:gd name="T77" fmla="*/ 0 h 82"/>
                <a:gd name="T78" fmla="*/ 44 w 60"/>
                <a:gd name="T79" fmla="*/ 0 h 82"/>
                <a:gd name="T80" fmla="*/ 38 w 60"/>
                <a:gd name="T81" fmla="*/ 2 h 82"/>
                <a:gd name="T82" fmla="*/ 36 w 60"/>
                <a:gd name="T83" fmla="*/ 4 h 82"/>
                <a:gd name="T84" fmla="*/ 34 w 60"/>
                <a:gd name="T85" fmla="*/ 10 h 82"/>
                <a:gd name="T86" fmla="*/ 30 w 60"/>
                <a:gd name="T87" fmla="*/ 12 h 82"/>
                <a:gd name="T88" fmla="*/ 20 w 60"/>
                <a:gd name="T89" fmla="*/ 1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 h="82">
                  <a:moveTo>
                    <a:pt x="20" y="16"/>
                  </a:moveTo>
                  <a:lnTo>
                    <a:pt x="20" y="16"/>
                  </a:lnTo>
                  <a:lnTo>
                    <a:pt x="20" y="18"/>
                  </a:lnTo>
                  <a:lnTo>
                    <a:pt x="20" y="20"/>
                  </a:lnTo>
                  <a:lnTo>
                    <a:pt x="20" y="22"/>
                  </a:lnTo>
                  <a:lnTo>
                    <a:pt x="20" y="26"/>
                  </a:lnTo>
                  <a:lnTo>
                    <a:pt x="20" y="28"/>
                  </a:lnTo>
                  <a:lnTo>
                    <a:pt x="20" y="28"/>
                  </a:lnTo>
                  <a:lnTo>
                    <a:pt x="20" y="30"/>
                  </a:lnTo>
                  <a:lnTo>
                    <a:pt x="18" y="30"/>
                  </a:lnTo>
                  <a:lnTo>
                    <a:pt x="18" y="32"/>
                  </a:lnTo>
                  <a:lnTo>
                    <a:pt x="18" y="32"/>
                  </a:lnTo>
                  <a:lnTo>
                    <a:pt x="18" y="32"/>
                  </a:lnTo>
                  <a:lnTo>
                    <a:pt x="16" y="32"/>
                  </a:lnTo>
                  <a:lnTo>
                    <a:pt x="14" y="32"/>
                  </a:lnTo>
                  <a:lnTo>
                    <a:pt x="14" y="32"/>
                  </a:lnTo>
                  <a:lnTo>
                    <a:pt x="10" y="30"/>
                  </a:lnTo>
                  <a:lnTo>
                    <a:pt x="10" y="30"/>
                  </a:lnTo>
                  <a:lnTo>
                    <a:pt x="8" y="30"/>
                  </a:lnTo>
                  <a:lnTo>
                    <a:pt x="6" y="32"/>
                  </a:lnTo>
                  <a:lnTo>
                    <a:pt x="4" y="32"/>
                  </a:lnTo>
                  <a:lnTo>
                    <a:pt x="4" y="34"/>
                  </a:lnTo>
                  <a:lnTo>
                    <a:pt x="2" y="34"/>
                  </a:lnTo>
                  <a:lnTo>
                    <a:pt x="2" y="34"/>
                  </a:lnTo>
                  <a:lnTo>
                    <a:pt x="2" y="36"/>
                  </a:lnTo>
                  <a:lnTo>
                    <a:pt x="0" y="36"/>
                  </a:lnTo>
                  <a:lnTo>
                    <a:pt x="0" y="38"/>
                  </a:lnTo>
                  <a:lnTo>
                    <a:pt x="0" y="40"/>
                  </a:lnTo>
                  <a:lnTo>
                    <a:pt x="0" y="42"/>
                  </a:lnTo>
                  <a:lnTo>
                    <a:pt x="0" y="44"/>
                  </a:lnTo>
                  <a:lnTo>
                    <a:pt x="0" y="46"/>
                  </a:lnTo>
                  <a:lnTo>
                    <a:pt x="2" y="46"/>
                  </a:lnTo>
                  <a:lnTo>
                    <a:pt x="2" y="48"/>
                  </a:lnTo>
                  <a:lnTo>
                    <a:pt x="2" y="50"/>
                  </a:lnTo>
                  <a:lnTo>
                    <a:pt x="2" y="50"/>
                  </a:lnTo>
                  <a:lnTo>
                    <a:pt x="4" y="52"/>
                  </a:lnTo>
                  <a:lnTo>
                    <a:pt x="6" y="54"/>
                  </a:lnTo>
                  <a:lnTo>
                    <a:pt x="8" y="54"/>
                  </a:lnTo>
                  <a:lnTo>
                    <a:pt x="8" y="56"/>
                  </a:lnTo>
                  <a:lnTo>
                    <a:pt x="10" y="56"/>
                  </a:lnTo>
                  <a:lnTo>
                    <a:pt x="12" y="58"/>
                  </a:lnTo>
                  <a:lnTo>
                    <a:pt x="12" y="58"/>
                  </a:lnTo>
                  <a:lnTo>
                    <a:pt x="14" y="58"/>
                  </a:lnTo>
                  <a:lnTo>
                    <a:pt x="14" y="58"/>
                  </a:lnTo>
                  <a:lnTo>
                    <a:pt x="16" y="60"/>
                  </a:lnTo>
                  <a:lnTo>
                    <a:pt x="16" y="60"/>
                  </a:lnTo>
                  <a:lnTo>
                    <a:pt x="16" y="62"/>
                  </a:lnTo>
                  <a:lnTo>
                    <a:pt x="16" y="64"/>
                  </a:lnTo>
                  <a:lnTo>
                    <a:pt x="16" y="66"/>
                  </a:lnTo>
                  <a:lnTo>
                    <a:pt x="18" y="68"/>
                  </a:lnTo>
                  <a:lnTo>
                    <a:pt x="16" y="70"/>
                  </a:lnTo>
                  <a:lnTo>
                    <a:pt x="16" y="74"/>
                  </a:lnTo>
                  <a:lnTo>
                    <a:pt x="16" y="76"/>
                  </a:lnTo>
                  <a:lnTo>
                    <a:pt x="16" y="76"/>
                  </a:lnTo>
                  <a:lnTo>
                    <a:pt x="16" y="78"/>
                  </a:lnTo>
                  <a:lnTo>
                    <a:pt x="14" y="82"/>
                  </a:lnTo>
                  <a:lnTo>
                    <a:pt x="16" y="82"/>
                  </a:lnTo>
                  <a:lnTo>
                    <a:pt x="18" y="82"/>
                  </a:lnTo>
                  <a:lnTo>
                    <a:pt x="22" y="82"/>
                  </a:lnTo>
                  <a:lnTo>
                    <a:pt x="24" y="82"/>
                  </a:lnTo>
                  <a:lnTo>
                    <a:pt x="26" y="82"/>
                  </a:lnTo>
                  <a:lnTo>
                    <a:pt x="28" y="82"/>
                  </a:lnTo>
                  <a:lnTo>
                    <a:pt x="30" y="82"/>
                  </a:lnTo>
                  <a:lnTo>
                    <a:pt x="30" y="82"/>
                  </a:lnTo>
                  <a:lnTo>
                    <a:pt x="30" y="82"/>
                  </a:lnTo>
                  <a:lnTo>
                    <a:pt x="32" y="80"/>
                  </a:lnTo>
                  <a:lnTo>
                    <a:pt x="32" y="80"/>
                  </a:lnTo>
                  <a:lnTo>
                    <a:pt x="32" y="80"/>
                  </a:lnTo>
                  <a:lnTo>
                    <a:pt x="32" y="78"/>
                  </a:lnTo>
                  <a:lnTo>
                    <a:pt x="32" y="76"/>
                  </a:lnTo>
                  <a:lnTo>
                    <a:pt x="32" y="74"/>
                  </a:lnTo>
                  <a:lnTo>
                    <a:pt x="32" y="72"/>
                  </a:lnTo>
                  <a:lnTo>
                    <a:pt x="30" y="70"/>
                  </a:lnTo>
                  <a:lnTo>
                    <a:pt x="30" y="70"/>
                  </a:lnTo>
                  <a:lnTo>
                    <a:pt x="32" y="70"/>
                  </a:lnTo>
                  <a:lnTo>
                    <a:pt x="32" y="68"/>
                  </a:lnTo>
                  <a:lnTo>
                    <a:pt x="32" y="68"/>
                  </a:lnTo>
                  <a:lnTo>
                    <a:pt x="32" y="68"/>
                  </a:lnTo>
                  <a:lnTo>
                    <a:pt x="34" y="66"/>
                  </a:lnTo>
                  <a:lnTo>
                    <a:pt x="34" y="66"/>
                  </a:lnTo>
                  <a:lnTo>
                    <a:pt x="36" y="66"/>
                  </a:lnTo>
                  <a:lnTo>
                    <a:pt x="38" y="66"/>
                  </a:lnTo>
                  <a:lnTo>
                    <a:pt x="40" y="66"/>
                  </a:lnTo>
                  <a:lnTo>
                    <a:pt x="44" y="66"/>
                  </a:lnTo>
                  <a:lnTo>
                    <a:pt x="48" y="66"/>
                  </a:lnTo>
                  <a:lnTo>
                    <a:pt x="50" y="66"/>
                  </a:lnTo>
                  <a:lnTo>
                    <a:pt x="52" y="66"/>
                  </a:lnTo>
                  <a:lnTo>
                    <a:pt x="54" y="66"/>
                  </a:lnTo>
                  <a:lnTo>
                    <a:pt x="56" y="64"/>
                  </a:lnTo>
                  <a:lnTo>
                    <a:pt x="56" y="64"/>
                  </a:lnTo>
                  <a:lnTo>
                    <a:pt x="58" y="62"/>
                  </a:lnTo>
                  <a:lnTo>
                    <a:pt x="58" y="60"/>
                  </a:lnTo>
                  <a:lnTo>
                    <a:pt x="58" y="58"/>
                  </a:lnTo>
                  <a:lnTo>
                    <a:pt x="58" y="56"/>
                  </a:lnTo>
                  <a:lnTo>
                    <a:pt x="58" y="54"/>
                  </a:lnTo>
                  <a:lnTo>
                    <a:pt x="58" y="50"/>
                  </a:lnTo>
                  <a:lnTo>
                    <a:pt x="58" y="48"/>
                  </a:lnTo>
                  <a:lnTo>
                    <a:pt x="58" y="42"/>
                  </a:lnTo>
                  <a:lnTo>
                    <a:pt x="58" y="36"/>
                  </a:lnTo>
                  <a:lnTo>
                    <a:pt x="56" y="30"/>
                  </a:lnTo>
                  <a:lnTo>
                    <a:pt x="56" y="28"/>
                  </a:lnTo>
                  <a:lnTo>
                    <a:pt x="56" y="24"/>
                  </a:lnTo>
                  <a:lnTo>
                    <a:pt x="56" y="22"/>
                  </a:lnTo>
                  <a:lnTo>
                    <a:pt x="58" y="20"/>
                  </a:lnTo>
                  <a:lnTo>
                    <a:pt x="58" y="18"/>
                  </a:lnTo>
                  <a:lnTo>
                    <a:pt x="58" y="18"/>
                  </a:lnTo>
                  <a:lnTo>
                    <a:pt x="60" y="16"/>
                  </a:lnTo>
                  <a:lnTo>
                    <a:pt x="60" y="12"/>
                  </a:lnTo>
                  <a:lnTo>
                    <a:pt x="60" y="10"/>
                  </a:lnTo>
                  <a:lnTo>
                    <a:pt x="58" y="8"/>
                  </a:lnTo>
                  <a:lnTo>
                    <a:pt x="58" y="6"/>
                  </a:lnTo>
                  <a:lnTo>
                    <a:pt x="58" y="4"/>
                  </a:lnTo>
                  <a:lnTo>
                    <a:pt x="56" y="4"/>
                  </a:lnTo>
                  <a:lnTo>
                    <a:pt x="56" y="2"/>
                  </a:lnTo>
                  <a:lnTo>
                    <a:pt x="56" y="2"/>
                  </a:lnTo>
                  <a:lnTo>
                    <a:pt x="54" y="2"/>
                  </a:lnTo>
                  <a:lnTo>
                    <a:pt x="52" y="0"/>
                  </a:lnTo>
                  <a:lnTo>
                    <a:pt x="50" y="0"/>
                  </a:lnTo>
                  <a:lnTo>
                    <a:pt x="46" y="0"/>
                  </a:lnTo>
                  <a:lnTo>
                    <a:pt x="44" y="0"/>
                  </a:lnTo>
                  <a:lnTo>
                    <a:pt x="42" y="0"/>
                  </a:lnTo>
                  <a:lnTo>
                    <a:pt x="40" y="2"/>
                  </a:lnTo>
                  <a:lnTo>
                    <a:pt x="38" y="2"/>
                  </a:lnTo>
                  <a:lnTo>
                    <a:pt x="38" y="2"/>
                  </a:lnTo>
                  <a:lnTo>
                    <a:pt x="36" y="4"/>
                  </a:lnTo>
                  <a:lnTo>
                    <a:pt x="36" y="4"/>
                  </a:lnTo>
                  <a:lnTo>
                    <a:pt x="36" y="6"/>
                  </a:lnTo>
                  <a:lnTo>
                    <a:pt x="34" y="8"/>
                  </a:lnTo>
                  <a:lnTo>
                    <a:pt x="34" y="10"/>
                  </a:lnTo>
                  <a:lnTo>
                    <a:pt x="32" y="10"/>
                  </a:lnTo>
                  <a:lnTo>
                    <a:pt x="32" y="10"/>
                  </a:lnTo>
                  <a:lnTo>
                    <a:pt x="30" y="12"/>
                  </a:lnTo>
                  <a:lnTo>
                    <a:pt x="26" y="14"/>
                  </a:lnTo>
                  <a:lnTo>
                    <a:pt x="22" y="16"/>
                  </a:lnTo>
                  <a:lnTo>
                    <a:pt x="20" y="1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3" name="Freeform 518">
              <a:extLst>
                <a:ext uri="{FF2B5EF4-FFF2-40B4-BE49-F238E27FC236}">
                  <a16:creationId xmlns:a16="http://schemas.microsoft.com/office/drawing/2014/main" id="{A4470BEF-1113-4AEF-BBC3-A75FC6A6556E}"/>
                </a:ext>
              </a:extLst>
            </p:cNvPr>
            <p:cNvSpPr>
              <a:spLocks/>
            </p:cNvSpPr>
            <p:nvPr/>
          </p:nvSpPr>
          <p:spPr bwMode="auto">
            <a:xfrm>
              <a:off x="1986337" y="4154302"/>
              <a:ext cx="86604" cy="107389"/>
            </a:xfrm>
            <a:custGeom>
              <a:avLst/>
              <a:gdLst>
                <a:gd name="T0" fmla="*/ 0 w 50"/>
                <a:gd name="T1" fmla="*/ 48 h 62"/>
                <a:gd name="T2" fmla="*/ 2 w 50"/>
                <a:gd name="T3" fmla="*/ 40 h 62"/>
                <a:gd name="T4" fmla="*/ 4 w 50"/>
                <a:gd name="T5" fmla="*/ 34 h 62"/>
                <a:gd name="T6" fmla="*/ 6 w 50"/>
                <a:gd name="T7" fmla="*/ 32 h 62"/>
                <a:gd name="T8" fmla="*/ 6 w 50"/>
                <a:gd name="T9" fmla="*/ 30 h 62"/>
                <a:gd name="T10" fmla="*/ 8 w 50"/>
                <a:gd name="T11" fmla="*/ 30 h 62"/>
                <a:gd name="T12" fmla="*/ 12 w 50"/>
                <a:gd name="T13" fmla="*/ 28 h 62"/>
                <a:gd name="T14" fmla="*/ 16 w 50"/>
                <a:gd name="T15" fmla="*/ 28 h 62"/>
                <a:gd name="T16" fmla="*/ 18 w 50"/>
                <a:gd name="T17" fmla="*/ 28 h 62"/>
                <a:gd name="T18" fmla="*/ 20 w 50"/>
                <a:gd name="T19" fmla="*/ 26 h 62"/>
                <a:gd name="T20" fmla="*/ 20 w 50"/>
                <a:gd name="T21" fmla="*/ 24 h 62"/>
                <a:gd name="T22" fmla="*/ 20 w 50"/>
                <a:gd name="T23" fmla="*/ 20 h 62"/>
                <a:gd name="T24" fmla="*/ 20 w 50"/>
                <a:gd name="T25" fmla="*/ 16 h 62"/>
                <a:gd name="T26" fmla="*/ 20 w 50"/>
                <a:gd name="T27" fmla="*/ 12 h 62"/>
                <a:gd name="T28" fmla="*/ 20 w 50"/>
                <a:gd name="T29" fmla="*/ 10 h 62"/>
                <a:gd name="T30" fmla="*/ 22 w 50"/>
                <a:gd name="T31" fmla="*/ 8 h 62"/>
                <a:gd name="T32" fmla="*/ 24 w 50"/>
                <a:gd name="T33" fmla="*/ 6 h 62"/>
                <a:gd name="T34" fmla="*/ 30 w 50"/>
                <a:gd name="T35" fmla="*/ 4 h 62"/>
                <a:gd name="T36" fmla="*/ 38 w 50"/>
                <a:gd name="T37" fmla="*/ 2 h 62"/>
                <a:gd name="T38" fmla="*/ 44 w 50"/>
                <a:gd name="T39" fmla="*/ 0 h 62"/>
                <a:gd name="T40" fmla="*/ 42 w 50"/>
                <a:gd name="T41" fmla="*/ 14 h 62"/>
                <a:gd name="T42" fmla="*/ 42 w 50"/>
                <a:gd name="T43" fmla="*/ 22 h 62"/>
                <a:gd name="T44" fmla="*/ 40 w 50"/>
                <a:gd name="T45" fmla="*/ 28 h 62"/>
                <a:gd name="T46" fmla="*/ 42 w 50"/>
                <a:gd name="T47" fmla="*/ 32 h 62"/>
                <a:gd name="T48" fmla="*/ 42 w 50"/>
                <a:gd name="T49" fmla="*/ 32 h 62"/>
                <a:gd name="T50" fmla="*/ 44 w 50"/>
                <a:gd name="T51" fmla="*/ 34 h 62"/>
                <a:gd name="T52" fmla="*/ 46 w 50"/>
                <a:gd name="T53" fmla="*/ 34 h 62"/>
                <a:gd name="T54" fmla="*/ 50 w 50"/>
                <a:gd name="T55" fmla="*/ 34 h 62"/>
                <a:gd name="T56" fmla="*/ 50 w 50"/>
                <a:gd name="T57" fmla="*/ 40 h 62"/>
                <a:gd name="T58" fmla="*/ 48 w 50"/>
                <a:gd name="T59" fmla="*/ 44 h 62"/>
                <a:gd name="T60" fmla="*/ 48 w 50"/>
                <a:gd name="T61" fmla="*/ 46 h 62"/>
                <a:gd name="T62" fmla="*/ 46 w 50"/>
                <a:gd name="T63" fmla="*/ 48 h 62"/>
                <a:gd name="T64" fmla="*/ 46 w 50"/>
                <a:gd name="T65" fmla="*/ 48 h 62"/>
                <a:gd name="T66" fmla="*/ 42 w 50"/>
                <a:gd name="T67" fmla="*/ 48 h 62"/>
                <a:gd name="T68" fmla="*/ 40 w 50"/>
                <a:gd name="T69" fmla="*/ 46 h 62"/>
                <a:gd name="T70" fmla="*/ 38 w 50"/>
                <a:gd name="T71" fmla="*/ 46 h 62"/>
                <a:gd name="T72" fmla="*/ 36 w 50"/>
                <a:gd name="T73" fmla="*/ 48 h 62"/>
                <a:gd name="T74" fmla="*/ 36 w 50"/>
                <a:gd name="T75" fmla="*/ 50 h 62"/>
                <a:gd name="T76" fmla="*/ 36 w 50"/>
                <a:gd name="T77" fmla="*/ 52 h 62"/>
                <a:gd name="T78" fmla="*/ 34 w 50"/>
                <a:gd name="T79" fmla="*/ 60 h 62"/>
                <a:gd name="T80" fmla="*/ 32 w 50"/>
                <a:gd name="T81" fmla="*/ 60 h 62"/>
                <a:gd name="T82" fmla="*/ 22 w 50"/>
                <a:gd name="T83" fmla="*/ 60 h 62"/>
                <a:gd name="T84" fmla="*/ 16 w 50"/>
                <a:gd name="T85" fmla="*/ 60 h 62"/>
                <a:gd name="T86" fmla="*/ 14 w 50"/>
                <a:gd name="T87" fmla="*/ 60 h 62"/>
                <a:gd name="T88" fmla="*/ 12 w 50"/>
                <a:gd name="T89" fmla="*/ 58 h 62"/>
                <a:gd name="T90" fmla="*/ 8 w 50"/>
                <a:gd name="T91" fmla="*/ 56 h 62"/>
                <a:gd name="T92" fmla="*/ 2 w 50"/>
                <a:gd name="T93" fmla="*/ 5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 h="62">
                  <a:moveTo>
                    <a:pt x="0" y="48"/>
                  </a:moveTo>
                  <a:lnTo>
                    <a:pt x="0" y="48"/>
                  </a:lnTo>
                  <a:lnTo>
                    <a:pt x="0" y="46"/>
                  </a:lnTo>
                  <a:lnTo>
                    <a:pt x="2" y="40"/>
                  </a:lnTo>
                  <a:lnTo>
                    <a:pt x="2" y="38"/>
                  </a:lnTo>
                  <a:lnTo>
                    <a:pt x="4" y="34"/>
                  </a:lnTo>
                  <a:lnTo>
                    <a:pt x="4" y="32"/>
                  </a:lnTo>
                  <a:lnTo>
                    <a:pt x="6" y="32"/>
                  </a:lnTo>
                  <a:lnTo>
                    <a:pt x="6" y="30"/>
                  </a:lnTo>
                  <a:lnTo>
                    <a:pt x="6" y="30"/>
                  </a:lnTo>
                  <a:lnTo>
                    <a:pt x="8" y="30"/>
                  </a:lnTo>
                  <a:lnTo>
                    <a:pt x="8" y="30"/>
                  </a:lnTo>
                  <a:lnTo>
                    <a:pt x="10" y="30"/>
                  </a:lnTo>
                  <a:lnTo>
                    <a:pt x="12" y="28"/>
                  </a:lnTo>
                  <a:lnTo>
                    <a:pt x="14" y="28"/>
                  </a:lnTo>
                  <a:lnTo>
                    <a:pt x="16" y="28"/>
                  </a:lnTo>
                  <a:lnTo>
                    <a:pt x="18" y="28"/>
                  </a:lnTo>
                  <a:lnTo>
                    <a:pt x="18" y="28"/>
                  </a:lnTo>
                  <a:lnTo>
                    <a:pt x="18" y="26"/>
                  </a:lnTo>
                  <a:lnTo>
                    <a:pt x="20" y="26"/>
                  </a:lnTo>
                  <a:lnTo>
                    <a:pt x="20" y="26"/>
                  </a:lnTo>
                  <a:lnTo>
                    <a:pt x="20" y="24"/>
                  </a:lnTo>
                  <a:lnTo>
                    <a:pt x="20" y="24"/>
                  </a:lnTo>
                  <a:lnTo>
                    <a:pt x="20" y="20"/>
                  </a:lnTo>
                  <a:lnTo>
                    <a:pt x="20" y="18"/>
                  </a:lnTo>
                  <a:lnTo>
                    <a:pt x="20" y="16"/>
                  </a:lnTo>
                  <a:lnTo>
                    <a:pt x="20" y="14"/>
                  </a:lnTo>
                  <a:lnTo>
                    <a:pt x="20" y="12"/>
                  </a:lnTo>
                  <a:lnTo>
                    <a:pt x="20" y="10"/>
                  </a:lnTo>
                  <a:lnTo>
                    <a:pt x="20" y="10"/>
                  </a:lnTo>
                  <a:lnTo>
                    <a:pt x="22" y="10"/>
                  </a:lnTo>
                  <a:lnTo>
                    <a:pt x="22" y="8"/>
                  </a:lnTo>
                  <a:lnTo>
                    <a:pt x="24" y="8"/>
                  </a:lnTo>
                  <a:lnTo>
                    <a:pt x="24" y="6"/>
                  </a:lnTo>
                  <a:lnTo>
                    <a:pt x="26" y="6"/>
                  </a:lnTo>
                  <a:lnTo>
                    <a:pt x="30" y="4"/>
                  </a:lnTo>
                  <a:lnTo>
                    <a:pt x="34" y="2"/>
                  </a:lnTo>
                  <a:lnTo>
                    <a:pt x="38" y="2"/>
                  </a:lnTo>
                  <a:lnTo>
                    <a:pt x="40" y="0"/>
                  </a:lnTo>
                  <a:lnTo>
                    <a:pt x="44" y="0"/>
                  </a:lnTo>
                  <a:lnTo>
                    <a:pt x="42" y="8"/>
                  </a:lnTo>
                  <a:lnTo>
                    <a:pt x="42" y="14"/>
                  </a:lnTo>
                  <a:lnTo>
                    <a:pt x="42" y="18"/>
                  </a:lnTo>
                  <a:lnTo>
                    <a:pt x="42" y="22"/>
                  </a:lnTo>
                  <a:lnTo>
                    <a:pt x="42" y="26"/>
                  </a:lnTo>
                  <a:lnTo>
                    <a:pt x="40" y="28"/>
                  </a:lnTo>
                  <a:lnTo>
                    <a:pt x="40" y="30"/>
                  </a:lnTo>
                  <a:lnTo>
                    <a:pt x="42" y="32"/>
                  </a:lnTo>
                  <a:lnTo>
                    <a:pt x="42" y="32"/>
                  </a:lnTo>
                  <a:lnTo>
                    <a:pt x="42" y="32"/>
                  </a:lnTo>
                  <a:lnTo>
                    <a:pt x="42" y="32"/>
                  </a:lnTo>
                  <a:lnTo>
                    <a:pt x="44" y="34"/>
                  </a:lnTo>
                  <a:lnTo>
                    <a:pt x="44" y="34"/>
                  </a:lnTo>
                  <a:lnTo>
                    <a:pt x="46" y="34"/>
                  </a:lnTo>
                  <a:lnTo>
                    <a:pt x="48" y="34"/>
                  </a:lnTo>
                  <a:lnTo>
                    <a:pt x="50" y="34"/>
                  </a:lnTo>
                  <a:lnTo>
                    <a:pt x="50" y="36"/>
                  </a:lnTo>
                  <a:lnTo>
                    <a:pt x="50" y="40"/>
                  </a:lnTo>
                  <a:lnTo>
                    <a:pt x="50" y="42"/>
                  </a:lnTo>
                  <a:lnTo>
                    <a:pt x="48" y="44"/>
                  </a:lnTo>
                  <a:lnTo>
                    <a:pt x="48" y="46"/>
                  </a:lnTo>
                  <a:lnTo>
                    <a:pt x="48" y="46"/>
                  </a:lnTo>
                  <a:lnTo>
                    <a:pt x="48" y="48"/>
                  </a:lnTo>
                  <a:lnTo>
                    <a:pt x="46" y="48"/>
                  </a:lnTo>
                  <a:lnTo>
                    <a:pt x="46" y="48"/>
                  </a:lnTo>
                  <a:lnTo>
                    <a:pt x="46" y="48"/>
                  </a:lnTo>
                  <a:lnTo>
                    <a:pt x="44" y="48"/>
                  </a:lnTo>
                  <a:lnTo>
                    <a:pt x="42" y="48"/>
                  </a:lnTo>
                  <a:lnTo>
                    <a:pt x="40" y="46"/>
                  </a:lnTo>
                  <a:lnTo>
                    <a:pt x="40" y="46"/>
                  </a:lnTo>
                  <a:lnTo>
                    <a:pt x="38" y="46"/>
                  </a:lnTo>
                  <a:lnTo>
                    <a:pt x="38" y="46"/>
                  </a:lnTo>
                  <a:lnTo>
                    <a:pt x="38" y="48"/>
                  </a:lnTo>
                  <a:lnTo>
                    <a:pt x="36" y="48"/>
                  </a:lnTo>
                  <a:lnTo>
                    <a:pt x="36" y="48"/>
                  </a:lnTo>
                  <a:lnTo>
                    <a:pt x="36" y="50"/>
                  </a:lnTo>
                  <a:lnTo>
                    <a:pt x="36" y="50"/>
                  </a:lnTo>
                  <a:lnTo>
                    <a:pt x="36" y="52"/>
                  </a:lnTo>
                  <a:lnTo>
                    <a:pt x="34" y="54"/>
                  </a:lnTo>
                  <a:lnTo>
                    <a:pt x="34" y="60"/>
                  </a:lnTo>
                  <a:lnTo>
                    <a:pt x="34" y="60"/>
                  </a:lnTo>
                  <a:lnTo>
                    <a:pt x="32" y="60"/>
                  </a:lnTo>
                  <a:lnTo>
                    <a:pt x="26" y="62"/>
                  </a:lnTo>
                  <a:lnTo>
                    <a:pt x="22" y="60"/>
                  </a:lnTo>
                  <a:lnTo>
                    <a:pt x="20" y="60"/>
                  </a:lnTo>
                  <a:lnTo>
                    <a:pt x="16" y="60"/>
                  </a:lnTo>
                  <a:lnTo>
                    <a:pt x="16" y="60"/>
                  </a:lnTo>
                  <a:lnTo>
                    <a:pt x="14" y="60"/>
                  </a:lnTo>
                  <a:lnTo>
                    <a:pt x="14" y="60"/>
                  </a:lnTo>
                  <a:lnTo>
                    <a:pt x="12" y="58"/>
                  </a:lnTo>
                  <a:lnTo>
                    <a:pt x="10" y="58"/>
                  </a:lnTo>
                  <a:lnTo>
                    <a:pt x="8" y="56"/>
                  </a:lnTo>
                  <a:lnTo>
                    <a:pt x="6" y="54"/>
                  </a:lnTo>
                  <a:lnTo>
                    <a:pt x="2" y="50"/>
                  </a:lnTo>
                  <a:lnTo>
                    <a:pt x="0" y="4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4" name="Freeform 519">
              <a:extLst>
                <a:ext uri="{FF2B5EF4-FFF2-40B4-BE49-F238E27FC236}">
                  <a16:creationId xmlns:a16="http://schemas.microsoft.com/office/drawing/2014/main" id="{B167BAAD-6A90-4130-8B64-78FC4584C2E8}"/>
                </a:ext>
              </a:extLst>
            </p:cNvPr>
            <p:cNvSpPr>
              <a:spLocks/>
            </p:cNvSpPr>
            <p:nvPr/>
          </p:nvSpPr>
          <p:spPr bwMode="auto">
            <a:xfrm>
              <a:off x="1986337" y="4154302"/>
              <a:ext cx="86604" cy="107389"/>
            </a:xfrm>
            <a:custGeom>
              <a:avLst/>
              <a:gdLst>
                <a:gd name="T0" fmla="*/ 0 w 50"/>
                <a:gd name="T1" fmla="*/ 48 h 62"/>
                <a:gd name="T2" fmla="*/ 2 w 50"/>
                <a:gd name="T3" fmla="*/ 40 h 62"/>
                <a:gd name="T4" fmla="*/ 4 w 50"/>
                <a:gd name="T5" fmla="*/ 34 h 62"/>
                <a:gd name="T6" fmla="*/ 6 w 50"/>
                <a:gd name="T7" fmla="*/ 32 h 62"/>
                <a:gd name="T8" fmla="*/ 6 w 50"/>
                <a:gd name="T9" fmla="*/ 30 h 62"/>
                <a:gd name="T10" fmla="*/ 8 w 50"/>
                <a:gd name="T11" fmla="*/ 30 h 62"/>
                <a:gd name="T12" fmla="*/ 12 w 50"/>
                <a:gd name="T13" fmla="*/ 28 h 62"/>
                <a:gd name="T14" fmla="*/ 16 w 50"/>
                <a:gd name="T15" fmla="*/ 28 h 62"/>
                <a:gd name="T16" fmla="*/ 18 w 50"/>
                <a:gd name="T17" fmla="*/ 28 h 62"/>
                <a:gd name="T18" fmla="*/ 20 w 50"/>
                <a:gd name="T19" fmla="*/ 26 h 62"/>
                <a:gd name="T20" fmla="*/ 20 w 50"/>
                <a:gd name="T21" fmla="*/ 24 h 62"/>
                <a:gd name="T22" fmla="*/ 20 w 50"/>
                <a:gd name="T23" fmla="*/ 20 h 62"/>
                <a:gd name="T24" fmla="*/ 20 w 50"/>
                <a:gd name="T25" fmla="*/ 16 h 62"/>
                <a:gd name="T26" fmla="*/ 20 w 50"/>
                <a:gd name="T27" fmla="*/ 12 h 62"/>
                <a:gd name="T28" fmla="*/ 20 w 50"/>
                <a:gd name="T29" fmla="*/ 10 h 62"/>
                <a:gd name="T30" fmla="*/ 22 w 50"/>
                <a:gd name="T31" fmla="*/ 8 h 62"/>
                <a:gd name="T32" fmla="*/ 24 w 50"/>
                <a:gd name="T33" fmla="*/ 6 h 62"/>
                <a:gd name="T34" fmla="*/ 30 w 50"/>
                <a:gd name="T35" fmla="*/ 4 h 62"/>
                <a:gd name="T36" fmla="*/ 38 w 50"/>
                <a:gd name="T37" fmla="*/ 2 h 62"/>
                <a:gd name="T38" fmla="*/ 44 w 50"/>
                <a:gd name="T39" fmla="*/ 0 h 62"/>
                <a:gd name="T40" fmla="*/ 42 w 50"/>
                <a:gd name="T41" fmla="*/ 14 h 62"/>
                <a:gd name="T42" fmla="*/ 42 w 50"/>
                <a:gd name="T43" fmla="*/ 22 h 62"/>
                <a:gd name="T44" fmla="*/ 40 w 50"/>
                <a:gd name="T45" fmla="*/ 28 h 62"/>
                <a:gd name="T46" fmla="*/ 42 w 50"/>
                <a:gd name="T47" fmla="*/ 32 h 62"/>
                <a:gd name="T48" fmla="*/ 42 w 50"/>
                <a:gd name="T49" fmla="*/ 32 h 62"/>
                <a:gd name="T50" fmla="*/ 44 w 50"/>
                <a:gd name="T51" fmla="*/ 34 h 62"/>
                <a:gd name="T52" fmla="*/ 46 w 50"/>
                <a:gd name="T53" fmla="*/ 34 h 62"/>
                <a:gd name="T54" fmla="*/ 50 w 50"/>
                <a:gd name="T55" fmla="*/ 34 h 62"/>
                <a:gd name="T56" fmla="*/ 50 w 50"/>
                <a:gd name="T57" fmla="*/ 40 h 62"/>
                <a:gd name="T58" fmla="*/ 48 w 50"/>
                <a:gd name="T59" fmla="*/ 44 h 62"/>
                <a:gd name="T60" fmla="*/ 48 w 50"/>
                <a:gd name="T61" fmla="*/ 46 h 62"/>
                <a:gd name="T62" fmla="*/ 46 w 50"/>
                <a:gd name="T63" fmla="*/ 48 h 62"/>
                <a:gd name="T64" fmla="*/ 46 w 50"/>
                <a:gd name="T65" fmla="*/ 48 h 62"/>
                <a:gd name="T66" fmla="*/ 42 w 50"/>
                <a:gd name="T67" fmla="*/ 48 h 62"/>
                <a:gd name="T68" fmla="*/ 40 w 50"/>
                <a:gd name="T69" fmla="*/ 46 h 62"/>
                <a:gd name="T70" fmla="*/ 38 w 50"/>
                <a:gd name="T71" fmla="*/ 46 h 62"/>
                <a:gd name="T72" fmla="*/ 36 w 50"/>
                <a:gd name="T73" fmla="*/ 48 h 62"/>
                <a:gd name="T74" fmla="*/ 36 w 50"/>
                <a:gd name="T75" fmla="*/ 50 h 62"/>
                <a:gd name="T76" fmla="*/ 36 w 50"/>
                <a:gd name="T77" fmla="*/ 52 h 62"/>
                <a:gd name="T78" fmla="*/ 34 w 50"/>
                <a:gd name="T79" fmla="*/ 60 h 62"/>
                <a:gd name="T80" fmla="*/ 32 w 50"/>
                <a:gd name="T81" fmla="*/ 60 h 62"/>
                <a:gd name="T82" fmla="*/ 22 w 50"/>
                <a:gd name="T83" fmla="*/ 60 h 62"/>
                <a:gd name="T84" fmla="*/ 16 w 50"/>
                <a:gd name="T85" fmla="*/ 60 h 62"/>
                <a:gd name="T86" fmla="*/ 14 w 50"/>
                <a:gd name="T87" fmla="*/ 60 h 62"/>
                <a:gd name="T88" fmla="*/ 12 w 50"/>
                <a:gd name="T89" fmla="*/ 58 h 62"/>
                <a:gd name="T90" fmla="*/ 8 w 50"/>
                <a:gd name="T91" fmla="*/ 56 h 62"/>
                <a:gd name="T92" fmla="*/ 2 w 50"/>
                <a:gd name="T93" fmla="*/ 5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 h="62">
                  <a:moveTo>
                    <a:pt x="0" y="48"/>
                  </a:moveTo>
                  <a:lnTo>
                    <a:pt x="0" y="48"/>
                  </a:lnTo>
                  <a:lnTo>
                    <a:pt x="0" y="46"/>
                  </a:lnTo>
                  <a:lnTo>
                    <a:pt x="2" y="40"/>
                  </a:lnTo>
                  <a:lnTo>
                    <a:pt x="2" y="38"/>
                  </a:lnTo>
                  <a:lnTo>
                    <a:pt x="4" y="34"/>
                  </a:lnTo>
                  <a:lnTo>
                    <a:pt x="4" y="32"/>
                  </a:lnTo>
                  <a:lnTo>
                    <a:pt x="6" y="32"/>
                  </a:lnTo>
                  <a:lnTo>
                    <a:pt x="6" y="30"/>
                  </a:lnTo>
                  <a:lnTo>
                    <a:pt x="6" y="30"/>
                  </a:lnTo>
                  <a:lnTo>
                    <a:pt x="8" y="30"/>
                  </a:lnTo>
                  <a:lnTo>
                    <a:pt x="8" y="30"/>
                  </a:lnTo>
                  <a:lnTo>
                    <a:pt x="10" y="30"/>
                  </a:lnTo>
                  <a:lnTo>
                    <a:pt x="12" y="28"/>
                  </a:lnTo>
                  <a:lnTo>
                    <a:pt x="14" y="28"/>
                  </a:lnTo>
                  <a:lnTo>
                    <a:pt x="16" y="28"/>
                  </a:lnTo>
                  <a:lnTo>
                    <a:pt x="18" y="28"/>
                  </a:lnTo>
                  <a:lnTo>
                    <a:pt x="18" y="28"/>
                  </a:lnTo>
                  <a:lnTo>
                    <a:pt x="18" y="26"/>
                  </a:lnTo>
                  <a:lnTo>
                    <a:pt x="20" y="26"/>
                  </a:lnTo>
                  <a:lnTo>
                    <a:pt x="20" y="26"/>
                  </a:lnTo>
                  <a:lnTo>
                    <a:pt x="20" y="24"/>
                  </a:lnTo>
                  <a:lnTo>
                    <a:pt x="20" y="24"/>
                  </a:lnTo>
                  <a:lnTo>
                    <a:pt x="20" y="20"/>
                  </a:lnTo>
                  <a:lnTo>
                    <a:pt x="20" y="18"/>
                  </a:lnTo>
                  <a:lnTo>
                    <a:pt x="20" y="16"/>
                  </a:lnTo>
                  <a:lnTo>
                    <a:pt x="20" y="14"/>
                  </a:lnTo>
                  <a:lnTo>
                    <a:pt x="20" y="12"/>
                  </a:lnTo>
                  <a:lnTo>
                    <a:pt x="20" y="10"/>
                  </a:lnTo>
                  <a:lnTo>
                    <a:pt x="20" y="10"/>
                  </a:lnTo>
                  <a:lnTo>
                    <a:pt x="22" y="10"/>
                  </a:lnTo>
                  <a:lnTo>
                    <a:pt x="22" y="8"/>
                  </a:lnTo>
                  <a:lnTo>
                    <a:pt x="24" y="8"/>
                  </a:lnTo>
                  <a:lnTo>
                    <a:pt x="24" y="6"/>
                  </a:lnTo>
                  <a:lnTo>
                    <a:pt x="26" y="6"/>
                  </a:lnTo>
                  <a:lnTo>
                    <a:pt x="30" y="4"/>
                  </a:lnTo>
                  <a:lnTo>
                    <a:pt x="34" y="2"/>
                  </a:lnTo>
                  <a:lnTo>
                    <a:pt x="38" y="2"/>
                  </a:lnTo>
                  <a:lnTo>
                    <a:pt x="40" y="0"/>
                  </a:lnTo>
                  <a:lnTo>
                    <a:pt x="44" y="0"/>
                  </a:lnTo>
                  <a:lnTo>
                    <a:pt x="42" y="8"/>
                  </a:lnTo>
                  <a:lnTo>
                    <a:pt x="42" y="14"/>
                  </a:lnTo>
                  <a:lnTo>
                    <a:pt x="42" y="18"/>
                  </a:lnTo>
                  <a:lnTo>
                    <a:pt x="42" y="22"/>
                  </a:lnTo>
                  <a:lnTo>
                    <a:pt x="42" y="26"/>
                  </a:lnTo>
                  <a:lnTo>
                    <a:pt x="40" y="28"/>
                  </a:lnTo>
                  <a:lnTo>
                    <a:pt x="40" y="30"/>
                  </a:lnTo>
                  <a:lnTo>
                    <a:pt x="42" y="32"/>
                  </a:lnTo>
                  <a:lnTo>
                    <a:pt x="42" y="32"/>
                  </a:lnTo>
                  <a:lnTo>
                    <a:pt x="42" y="32"/>
                  </a:lnTo>
                  <a:lnTo>
                    <a:pt x="42" y="32"/>
                  </a:lnTo>
                  <a:lnTo>
                    <a:pt x="44" y="34"/>
                  </a:lnTo>
                  <a:lnTo>
                    <a:pt x="44" y="34"/>
                  </a:lnTo>
                  <a:lnTo>
                    <a:pt x="46" y="34"/>
                  </a:lnTo>
                  <a:lnTo>
                    <a:pt x="48" y="34"/>
                  </a:lnTo>
                  <a:lnTo>
                    <a:pt x="50" y="34"/>
                  </a:lnTo>
                  <a:lnTo>
                    <a:pt x="50" y="36"/>
                  </a:lnTo>
                  <a:lnTo>
                    <a:pt x="50" y="40"/>
                  </a:lnTo>
                  <a:lnTo>
                    <a:pt x="50" y="42"/>
                  </a:lnTo>
                  <a:lnTo>
                    <a:pt x="48" y="44"/>
                  </a:lnTo>
                  <a:lnTo>
                    <a:pt x="48" y="46"/>
                  </a:lnTo>
                  <a:lnTo>
                    <a:pt x="48" y="46"/>
                  </a:lnTo>
                  <a:lnTo>
                    <a:pt x="48" y="48"/>
                  </a:lnTo>
                  <a:lnTo>
                    <a:pt x="46" y="48"/>
                  </a:lnTo>
                  <a:lnTo>
                    <a:pt x="46" y="48"/>
                  </a:lnTo>
                  <a:lnTo>
                    <a:pt x="46" y="48"/>
                  </a:lnTo>
                  <a:lnTo>
                    <a:pt x="44" y="48"/>
                  </a:lnTo>
                  <a:lnTo>
                    <a:pt x="42" y="48"/>
                  </a:lnTo>
                  <a:lnTo>
                    <a:pt x="40" y="46"/>
                  </a:lnTo>
                  <a:lnTo>
                    <a:pt x="40" y="46"/>
                  </a:lnTo>
                  <a:lnTo>
                    <a:pt x="38" y="46"/>
                  </a:lnTo>
                  <a:lnTo>
                    <a:pt x="38" y="46"/>
                  </a:lnTo>
                  <a:lnTo>
                    <a:pt x="38" y="48"/>
                  </a:lnTo>
                  <a:lnTo>
                    <a:pt x="36" y="48"/>
                  </a:lnTo>
                  <a:lnTo>
                    <a:pt x="36" y="48"/>
                  </a:lnTo>
                  <a:lnTo>
                    <a:pt x="36" y="50"/>
                  </a:lnTo>
                  <a:lnTo>
                    <a:pt x="36" y="50"/>
                  </a:lnTo>
                  <a:lnTo>
                    <a:pt x="36" y="52"/>
                  </a:lnTo>
                  <a:lnTo>
                    <a:pt x="34" y="54"/>
                  </a:lnTo>
                  <a:lnTo>
                    <a:pt x="34" y="60"/>
                  </a:lnTo>
                  <a:lnTo>
                    <a:pt x="34" y="60"/>
                  </a:lnTo>
                  <a:lnTo>
                    <a:pt x="32" y="60"/>
                  </a:lnTo>
                  <a:lnTo>
                    <a:pt x="26" y="62"/>
                  </a:lnTo>
                  <a:lnTo>
                    <a:pt x="22" y="60"/>
                  </a:lnTo>
                  <a:lnTo>
                    <a:pt x="20" y="60"/>
                  </a:lnTo>
                  <a:lnTo>
                    <a:pt x="16" y="60"/>
                  </a:lnTo>
                  <a:lnTo>
                    <a:pt x="16" y="60"/>
                  </a:lnTo>
                  <a:lnTo>
                    <a:pt x="14" y="60"/>
                  </a:lnTo>
                  <a:lnTo>
                    <a:pt x="14" y="60"/>
                  </a:lnTo>
                  <a:lnTo>
                    <a:pt x="12" y="58"/>
                  </a:lnTo>
                  <a:lnTo>
                    <a:pt x="10" y="58"/>
                  </a:lnTo>
                  <a:lnTo>
                    <a:pt x="8" y="56"/>
                  </a:lnTo>
                  <a:lnTo>
                    <a:pt x="6" y="54"/>
                  </a:lnTo>
                  <a:lnTo>
                    <a:pt x="2" y="50"/>
                  </a:lnTo>
                  <a:lnTo>
                    <a:pt x="0" y="4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5" name="Freeform 520">
              <a:extLst>
                <a:ext uri="{FF2B5EF4-FFF2-40B4-BE49-F238E27FC236}">
                  <a16:creationId xmlns:a16="http://schemas.microsoft.com/office/drawing/2014/main" id="{178E294C-D36F-49CF-8D70-912D67FD23AE}"/>
                </a:ext>
              </a:extLst>
            </p:cNvPr>
            <p:cNvSpPr>
              <a:spLocks/>
            </p:cNvSpPr>
            <p:nvPr/>
          </p:nvSpPr>
          <p:spPr bwMode="auto">
            <a:xfrm>
              <a:off x="2059084" y="4130053"/>
              <a:ext cx="45034" cy="83140"/>
            </a:xfrm>
            <a:custGeom>
              <a:avLst/>
              <a:gdLst>
                <a:gd name="T0" fmla="*/ 2 w 26"/>
                <a:gd name="T1" fmla="*/ 12 h 48"/>
                <a:gd name="T2" fmla="*/ 2 w 26"/>
                <a:gd name="T3" fmla="*/ 12 h 48"/>
                <a:gd name="T4" fmla="*/ 6 w 26"/>
                <a:gd name="T5" fmla="*/ 12 h 48"/>
                <a:gd name="T6" fmla="*/ 8 w 26"/>
                <a:gd name="T7" fmla="*/ 10 h 48"/>
                <a:gd name="T8" fmla="*/ 10 w 26"/>
                <a:gd name="T9" fmla="*/ 10 h 48"/>
                <a:gd name="T10" fmla="*/ 12 w 26"/>
                <a:gd name="T11" fmla="*/ 8 h 48"/>
                <a:gd name="T12" fmla="*/ 14 w 26"/>
                <a:gd name="T13" fmla="*/ 8 h 48"/>
                <a:gd name="T14" fmla="*/ 20 w 26"/>
                <a:gd name="T15" fmla="*/ 4 h 48"/>
                <a:gd name="T16" fmla="*/ 26 w 26"/>
                <a:gd name="T17" fmla="*/ 0 h 48"/>
                <a:gd name="T18" fmla="*/ 26 w 26"/>
                <a:gd name="T19" fmla="*/ 8 h 48"/>
                <a:gd name="T20" fmla="*/ 24 w 26"/>
                <a:gd name="T21" fmla="*/ 14 h 48"/>
                <a:gd name="T22" fmla="*/ 24 w 26"/>
                <a:gd name="T23" fmla="*/ 16 h 48"/>
                <a:gd name="T24" fmla="*/ 24 w 26"/>
                <a:gd name="T25" fmla="*/ 20 h 48"/>
                <a:gd name="T26" fmla="*/ 24 w 26"/>
                <a:gd name="T27" fmla="*/ 22 h 48"/>
                <a:gd name="T28" fmla="*/ 24 w 26"/>
                <a:gd name="T29" fmla="*/ 24 h 48"/>
                <a:gd name="T30" fmla="*/ 26 w 26"/>
                <a:gd name="T31" fmla="*/ 32 h 48"/>
                <a:gd name="T32" fmla="*/ 26 w 26"/>
                <a:gd name="T33" fmla="*/ 40 h 48"/>
                <a:gd name="T34" fmla="*/ 22 w 26"/>
                <a:gd name="T35" fmla="*/ 44 h 48"/>
                <a:gd name="T36" fmla="*/ 20 w 26"/>
                <a:gd name="T37" fmla="*/ 46 h 48"/>
                <a:gd name="T38" fmla="*/ 18 w 26"/>
                <a:gd name="T39" fmla="*/ 46 h 48"/>
                <a:gd name="T40" fmla="*/ 16 w 26"/>
                <a:gd name="T41" fmla="*/ 46 h 48"/>
                <a:gd name="T42" fmla="*/ 16 w 26"/>
                <a:gd name="T43" fmla="*/ 48 h 48"/>
                <a:gd name="T44" fmla="*/ 14 w 26"/>
                <a:gd name="T45" fmla="*/ 48 h 48"/>
                <a:gd name="T46" fmla="*/ 12 w 26"/>
                <a:gd name="T47" fmla="*/ 48 h 48"/>
                <a:gd name="T48" fmla="*/ 8 w 26"/>
                <a:gd name="T49" fmla="*/ 48 h 48"/>
                <a:gd name="T50" fmla="*/ 8 w 26"/>
                <a:gd name="T51" fmla="*/ 48 h 48"/>
                <a:gd name="T52" fmla="*/ 4 w 26"/>
                <a:gd name="T53" fmla="*/ 48 h 48"/>
                <a:gd name="T54" fmla="*/ 4 w 26"/>
                <a:gd name="T55" fmla="*/ 48 h 48"/>
                <a:gd name="T56" fmla="*/ 2 w 26"/>
                <a:gd name="T57" fmla="*/ 46 h 48"/>
                <a:gd name="T58" fmla="*/ 2 w 26"/>
                <a:gd name="T59" fmla="*/ 46 h 48"/>
                <a:gd name="T60" fmla="*/ 0 w 26"/>
                <a:gd name="T61" fmla="*/ 46 h 48"/>
                <a:gd name="T62" fmla="*/ 0 w 26"/>
                <a:gd name="T63" fmla="*/ 46 h 48"/>
                <a:gd name="T64" fmla="*/ 0 w 26"/>
                <a:gd name="T65" fmla="*/ 44 h 48"/>
                <a:gd name="T66" fmla="*/ 0 w 26"/>
                <a:gd name="T67" fmla="*/ 44 h 48"/>
                <a:gd name="T68" fmla="*/ 0 w 26"/>
                <a:gd name="T69" fmla="*/ 42 h 48"/>
                <a:gd name="T70" fmla="*/ 0 w 26"/>
                <a:gd name="T71" fmla="*/ 40 h 48"/>
                <a:gd name="T72" fmla="*/ 0 w 26"/>
                <a:gd name="T73" fmla="*/ 36 h 48"/>
                <a:gd name="T74" fmla="*/ 0 w 26"/>
                <a:gd name="T75" fmla="*/ 32 h 48"/>
                <a:gd name="T76" fmla="*/ 0 w 26"/>
                <a:gd name="T77" fmla="*/ 26 h 48"/>
                <a:gd name="T78" fmla="*/ 2 w 26"/>
                <a:gd name="T79" fmla="*/ 20 h 48"/>
                <a:gd name="T80" fmla="*/ 2 w 26"/>
                <a:gd name="T81"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48">
                  <a:moveTo>
                    <a:pt x="2" y="12"/>
                  </a:moveTo>
                  <a:lnTo>
                    <a:pt x="2" y="12"/>
                  </a:lnTo>
                  <a:lnTo>
                    <a:pt x="6" y="12"/>
                  </a:lnTo>
                  <a:lnTo>
                    <a:pt x="8" y="10"/>
                  </a:lnTo>
                  <a:lnTo>
                    <a:pt x="10" y="10"/>
                  </a:lnTo>
                  <a:lnTo>
                    <a:pt x="12" y="8"/>
                  </a:lnTo>
                  <a:lnTo>
                    <a:pt x="14" y="8"/>
                  </a:lnTo>
                  <a:lnTo>
                    <a:pt x="20" y="4"/>
                  </a:lnTo>
                  <a:lnTo>
                    <a:pt x="26" y="0"/>
                  </a:lnTo>
                  <a:lnTo>
                    <a:pt x="26" y="8"/>
                  </a:lnTo>
                  <a:lnTo>
                    <a:pt x="24" y="14"/>
                  </a:lnTo>
                  <a:lnTo>
                    <a:pt x="24" y="16"/>
                  </a:lnTo>
                  <a:lnTo>
                    <a:pt x="24" y="20"/>
                  </a:lnTo>
                  <a:lnTo>
                    <a:pt x="24" y="22"/>
                  </a:lnTo>
                  <a:lnTo>
                    <a:pt x="24" y="24"/>
                  </a:lnTo>
                  <a:lnTo>
                    <a:pt x="26" y="32"/>
                  </a:lnTo>
                  <a:lnTo>
                    <a:pt x="26" y="40"/>
                  </a:lnTo>
                  <a:lnTo>
                    <a:pt x="22" y="44"/>
                  </a:lnTo>
                  <a:lnTo>
                    <a:pt x="20" y="46"/>
                  </a:lnTo>
                  <a:lnTo>
                    <a:pt x="18" y="46"/>
                  </a:lnTo>
                  <a:lnTo>
                    <a:pt x="16" y="46"/>
                  </a:lnTo>
                  <a:lnTo>
                    <a:pt x="16" y="48"/>
                  </a:lnTo>
                  <a:lnTo>
                    <a:pt x="14" y="48"/>
                  </a:lnTo>
                  <a:lnTo>
                    <a:pt x="12" y="48"/>
                  </a:lnTo>
                  <a:lnTo>
                    <a:pt x="8" y="48"/>
                  </a:lnTo>
                  <a:lnTo>
                    <a:pt x="8" y="48"/>
                  </a:lnTo>
                  <a:lnTo>
                    <a:pt x="4" y="48"/>
                  </a:lnTo>
                  <a:lnTo>
                    <a:pt x="4" y="48"/>
                  </a:lnTo>
                  <a:lnTo>
                    <a:pt x="2" y="46"/>
                  </a:lnTo>
                  <a:lnTo>
                    <a:pt x="2" y="46"/>
                  </a:lnTo>
                  <a:lnTo>
                    <a:pt x="0" y="46"/>
                  </a:lnTo>
                  <a:lnTo>
                    <a:pt x="0" y="46"/>
                  </a:lnTo>
                  <a:lnTo>
                    <a:pt x="0" y="44"/>
                  </a:lnTo>
                  <a:lnTo>
                    <a:pt x="0" y="44"/>
                  </a:lnTo>
                  <a:lnTo>
                    <a:pt x="0" y="42"/>
                  </a:lnTo>
                  <a:lnTo>
                    <a:pt x="0" y="40"/>
                  </a:lnTo>
                  <a:lnTo>
                    <a:pt x="0" y="36"/>
                  </a:lnTo>
                  <a:lnTo>
                    <a:pt x="0" y="32"/>
                  </a:lnTo>
                  <a:lnTo>
                    <a:pt x="0" y="26"/>
                  </a:lnTo>
                  <a:lnTo>
                    <a:pt x="2" y="20"/>
                  </a:lnTo>
                  <a:lnTo>
                    <a:pt x="2" y="1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6" name="Freeform 521">
              <a:extLst>
                <a:ext uri="{FF2B5EF4-FFF2-40B4-BE49-F238E27FC236}">
                  <a16:creationId xmlns:a16="http://schemas.microsoft.com/office/drawing/2014/main" id="{9CE8D269-3EC7-4A68-98F7-9A9570E1777D}"/>
                </a:ext>
              </a:extLst>
            </p:cNvPr>
            <p:cNvSpPr>
              <a:spLocks/>
            </p:cNvSpPr>
            <p:nvPr/>
          </p:nvSpPr>
          <p:spPr bwMode="auto">
            <a:xfrm>
              <a:off x="2059084" y="4130053"/>
              <a:ext cx="45034" cy="83140"/>
            </a:xfrm>
            <a:custGeom>
              <a:avLst/>
              <a:gdLst>
                <a:gd name="T0" fmla="*/ 2 w 26"/>
                <a:gd name="T1" fmla="*/ 12 h 48"/>
                <a:gd name="T2" fmla="*/ 2 w 26"/>
                <a:gd name="T3" fmla="*/ 12 h 48"/>
                <a:gd name="T4" fmla="*/ 6 w 26"/>
                <a:gd name="T5" fmla="*/ 12 h 48"/>
                <a:gd name="T6" fmla="*/ 8 w 26"/>
                <a:gd name="T7" fmla="*/ 10 h 48"/>
                <a:gd name="T8" fmla="*/ 10 w 26"/>
                <a:gd name="T9" fmla="*/ 10 h 48"/>
                <a:gd name="T10" fmla="*/ 12 w 26"/>
                <a:gd name="T11" fmla="*/ 8 h 48"/>
                <a:gd name="T12" fmla="*/ 14 w 26"/>
                <a:gd name="T13" fmla="*/ 8 h 48"/>
                <a:gd name="T14" fmla="*/ 20 w 26"/>
                <a:gd name="T15" fmla="*/ 4 h 48"/>
                <a:gd name="T16" fmla="*/ 26 w 26"/>
                <a:gd name="T17" fmla="*/ 0 h 48"/>
                <a:gd name="T18" fmla="*/ 26 w 26"/>
                <a:gd name="T19" fmla="*/ 8 h 48"/>
                <a:gd name="T20" fmla="*/ 24 w 26"/>
                <a:gd name="T21" fmla="*/ 14 h 48"/>
                <a:gd name="T22" fmla="*/ 24 w 26"/>
                <a:gd name="T23" fmla="*/ 16 h 48"/>
                <a:gd name="T24" fmla="*/ 24 w 26"/>
                <a:gd name="T25" fmla="*/ 20 h 48"/>
                <a:gd name="T26" fmla="*/ 24 w 26"/>
                <a:gd name="T27" fmla="*/ 22 h 48"/>
                <a:gd name="T28" fmla="*/ 24 w 26"/>
                <a:gd name="T29" fmla="*/ 24 h 48"/>
                <a:gd name="T30" fmla="*/ 26 w 26"/>
                <a:gd name="T31" fmla="*/ 32 h 48"/>
                <a:gd name="T32" fmla="*/ 26 w 26"/>
                <a:gd name="T33" fmla="*/ 40 h 48"/>
                <a:gd name="T34" fmla="*/ 22 w 26"/>
                <a:gd name="T35" fmla="*/ 44 h 48"/>
                <a:gd name="T36" fmla="*/ 20 w 26"/>
                <a:gd name="T37" fmla="*/ 46 h 48"/>
                <a:gd name="T38" fmla="*/ 18 w 26"/>
                <a:gd name="T39" fmla="*/ 46 h 48"/>
                <a:gd name="T40" fmla="*/ 16 w 26"/>
                <a:gd name="T41" fmla="*/ 46 h 48"/>
                <a:gd name="T42" fmla="*/ 16 w 26"/>
                <a:gd name="T43" fmla="*/ 48 h 48"/>
                <a:gd name="T44" fmla="*/ 14 w 26"/>
                <a:gd name="T45" fmla="*/ 48 h 48"/>
                <a:gd name="T46" fmla="*/ 12 w 26"/>
                <a:gd name="T47" fmla="*/ 48 h 48"/>
                <a:gd name="T48" fmla="*/ 8 w 26"/>
                <a:gd name="T49" fmla="*/ 48 h 48"/>
                <a:gd name="T50" fmla="*/ 8 w 26"/>
                <a:gd name="T51" fmla="*/ 48 h 48"/>
                <a:gd name="T52" fmla="*/ 4 w 26"/>
                <a:gd name="T53" fmla="*/ 48 h 48"/>
                <a:gd name="T54" fmla="*/ 4 w 26"/>
                <a:gd name="T55" fmla="*/ 48 h 48"/>
                <a:gd name="T56" fmla="*/ 2 w 26"/>
                <a:gd name="T57" fmla="*/ 46 h 48"/>
                <a:gd name="T58" fmla="*/ 2 w 26"/>
                <a:gd name="T59" fmla="*/ 46 h 48"/>
                <a:gd name="T60" fmla="*/ 0 w 26"/>
                <a:gd name="T61" fmla="*/ 46 h 48"/>
                <a:gd name="T62" fmla="*/ 0 w 26"/>
                <a:gd name="T63" fmla="*/ 46 h 48"/>
                <a:gd name="T64" fmla="*/ 0 w 26"/>
                <a:gd name="T65" fmla="*/ 44 h 48"/>
                <a:gd name="T66" fmla="*/ 0 w 26"/>
                <a:gd name="T67" fmla="*/ 44 h 48"/>
                <a:gd name="T68" fmla="*/ 0 w 26"/>
                <a:gd name="T69" fmla="*/ 42 h 48"/>
                <a:gd name="T70" fmla="*/ 0 w 26"/>
                <a:gd name="T71" fmla="*/ 40 h 48"/>
                <a:gd name="T72" fmla="*/ 0 w 26"/>
                <a:gd name="T73" fmla="*/ 36 h 48"/>
                <a:gd name="T74" fmla="*/ 0 w 26"/>
                <a:gd name="T75" fmla="*/ 32 h 48"/>
                <a:gd name="T76" fmla="*/ 0 w 26"/>
                <a:gd name="T77" fmla="*/ 26 h 48"/>
                <a:gd name="T78" fmla="*/ 2 w 26"/>
                <a:gd name="T79" fmla="*/ 20 h 48"/>
                <a:gd name="T80" fmla="*/ 2 w 26"/>
                <a:gd name="T81"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48">
                  <a:moveTo>
                    <a:pt x="2" y="12"/>
                  </a:moveTo>
                  <a:lnTo>
                    <a:pt x="2" y="12"/>
                  </a:lnTo>
                  <a:lnTo>
                    <a:pt x="6" y="12"/>
                  </a:lnTo>
                  <a:lnTo>
                    <a:pt x="8" y="10"/>
                  </a:lnTo>
                  <a:lnTo>
                    <a:pt x="10" y="10"/>
                  </a:lnTo>
                  <a:lnTo>
                    <a:pt x="12" y="8"/>
                  </a:lnTo>
                  <a:lnTo>
                    <a:pt x="14" y="8"/>
                  </a:lnTo>
                  <a:lnTo>
                    <a:pt x="20" y="4"/>
                  </a:lnTo>
                  <a:lnTo>
                    <a:pt x="26" y="0"/>
                  </a:lnTo>
                  <a:lnTo>
                    <a:pt x="26" y="8"/>
                  </a:lnTo>
                  <a:lnTo>
                    <a:pt x="24" y="14"/>
                  </a:lnTo>
                  <a:lnTo>
                    <a:pt x="24" y="16"/>
                  </a:lnTo>
                  <a:lnTo>
                    <a:pt x="24" y="20"/>
                  </a:lnTo>
                  <a:lnTo>
                    <a:pt x="24" y="22"/>
                  </a:lnTo>
                  <a:lnTo>
                    <a:pt x="24" y="24"/>
                  </a:lnTo>
                  <a:lnTo>
                    <a:pt x="26" y="32"/>
                  </a:lnTo>
                  <a:lnTo>
                    <a:pt x="26" y="40"/>
                  </a:lnTo>
                  <a:lnTo>
                    <a:pt x="22" y="44"/>
                  </a:lnTo>
                  <a:lnTo>
                    <a:pt x="20" y="46"/>
                  </a:lnTo>
                  <a:lnTo>
                    <a:pt x="18" y="46"/>
                  </a:lnTo>
                  <a:lnTo>
                    <a:pt x="16" y="46"/>
                  </a:lnTo>
                  <a:lnTo>
                    <a:pt x="16" y="48"/>
                  </a:lnTo>
                  <a:lnTo>
                    <a:pt x="14" y="48"/>
                  </a:lnTo>
                  <a:lnTo>
                    <a:pt x="12" y="48"/>
                  </a:lnTo>
                  <a:lnTo>
                    <a:pt x="8" y="48"/>
                  </a:lnTo>
                  <a:lnTo>
                    <a:pt x="8" y="48"/>
                  </a:lnTo>
                  <a:lnTo>
                    <a:pt x="4" y="48"/>
                  </a:lnTo>
                  <a:lnTo>
                    <a:pt x="4" y="48"/>
                  </a:lnTo>
                  <a:lnTo>
                    <a:pt x="2" y="46"/>
                  </a:lnTo>
                  <a:lnTo>
                    <a:pt x="2" y="46"/>
                  </a:lnTo>
                  <a:lnTo>
                    <a:pt x="0" y="46"/>
                  </a:lnTo>
                  <a:lnTo>
                    <a:pt x="0" y="46"/>
                  </a:lnTo>
                  <a:lnTo>
                    <a:pt x="0" y="44"/>
                  </a:lnTo>
                  <a:lnTo>
                    <a:pt x="0" y="44"/>
                  </a:lnTo>
                  <a:lnTo>
                    <a:pt x="0" y="42"/>
                  </a:lnTo>
                  <a:lnTo>
                    <a:pt x="0" y="40"/>
                  </a:lnTo>
                  <a:lnTo>
                    <a:pt x="0" y="36"/>
                  </a:lnTo>
                  <a:lnTo>
                    <a:pt x="0" y="32"/>
                  </a:lnTo>
                  <a:lnTo>
                    <a:pt x="0" y="26"/>
                  </a:lnTo>
                  <a:lnTo>
                    <a:pt x="2" y="20"/>
                  </a:lnTo>
                  <a:lnTo>
                    <a:pt x="2" y="1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7" name="Freeform 522">
              <a:extLst>
                <a:ext uri="{FF2B5EF4-FFF2-40B4-BE49-F238E27FC236}">
                  <a16:creationId xmlns:a16="http://schemas.microsoft.com/office/drawing/2014/main" id="{0ADB67DD-A676-4CFB-B44C-57F26470835B}"/>
                </a:ext>
              </a:extLst>
            </p:cNvPr>
            <p:cNvSpPr>
              <a:spLocks/>
            </p:cNvSpPr>
            <p:nvPr/>
          </p:nvSpPr>
          <p:spPr bwMode="auto">
            <a:xfrm>
              <a:off x="1414752" y="3693570"/>
              <a:ext cx="717079" cy="543872"/>
            </a:xfrm>
            <a:custGeom>
              <a:avLst/>
              <a:gdLst>
                <a:gd name="T0" fmla="*/ 246 w 414"/>
                <a:gd name="T1" fmla="*/ 120 h 314"/>
                <a:gd name="T2" fmla="*/ 242 w 414"/>
                <a:gd name="T3" fmla="*/ 100 h 314"/>
                <a:gd name="T4" fmla="*/ 230 w 414"/>
                <a:gd name="T5" fmla="*/ 90 h 314"/>
                <a:gd name="T6" fmla="*/ 220 w 414"/>
                <a:gd name="T7" fmla="*/ 64 h 314"/>
                <a:gd name="T8" fmla="*/ 202 w 414"/>
                <a:gd name="T9" fmla="*/ 50 h 314"/>
                <a:gd name="T10" fmla="*/ 198 w 414"/>
                <a:gd name="T11" fmla="*/ 70 h 314"/>
                <a:gd name="T12" fmla="*/ 180 w 414"/>
                <a:gd name="T13" fmla="*/ 68 h 314"/>
                <a:gd name="T14" fmla="*/ 174 w 414"/>
                <a:gd name="T15" fmla="*/ 46 h 314"/>
                <a:gd name="T16" fmla="*/ 166 w 414"/>
                <a:gd name="T17" fmla="*/ 38 h 314"/>
                <a:gd name="T18" fmla="*/ 160 w 414"/>
                <a:gd name="T19" fmla="*/ 28 h 314"/>
                <a:gd name="T20" fmla="*/ 152 w 414"/>
                <a:gd name="T21" fmla="*/ 16 h 314"/>
                <a:gd name="T22" fmla="*/ 140 w 414"/>
                <a:gd name="T23" fmla="*/ 18 h 314"/>
                <a:gd name="T24" fmla="*/ 126 w 414"/>
                <a:gd name="T25" fmla="*/ 22 h 314"/>
                <a:gd name="T26" fmla="*/ 120 w 414"/>
                <a:gd name="T27" fmla="*/ 32 h 314"/>
                <a:gd name="T28" fmla="*/ 90 w 414"/>
                <a:gd name="T29" fmla="*/ 36 h 314"/>
                <a:gd name="T30" fmla="*/ 62 w 414"/>
                <a:gd name="T31" fmla="*/ 30 h 314"/>
                <a:gd name="T32" fmla="*/ 36 w 414"/>
                <a:gd name="T33" fmla="*/ 12 h 314"/>
                <a:gd name="T34" fmla="*/ 26 w 414"/>
                <a:gd name="T35" fmla="*/ 0 h 314"/>
                <a:gd name="T36" fmla="*/ 0 w 414"/>
                <a:gd name="T37" fmla="*/ 28 h 314"/>
                <a:gd name="T38" fmla="*/ 16 w 414"/>
                <a:gd name="T39" fmla="*/ 54 h 314"/>
                <a:gd name="T40" fmla="*/ 28 w 414"/>
                <a:gd name="T41" fmla="*/ 84 h 314"/>
                <a:gd name="T42" fmla="*/ 18 w 414"/>
                <a:gd name="T43" fmla="*/ 94 h 314"/>
                <a:gd name="T44" fmla="*/ 40 w 414"/>
                <a:gd name="T45" fmla="*/ 110 h 314"/>
                <a:gd name="T46" fmla="*/ 58 w 414"/>
                <a:gd name="T47" fmla="*/ 128 h 314"/>
                <a:gd name="T48" fmla="*/ 64 w 414"/>
                <a:gd name="T49" fmla="*/ 154 h 314"/>
                <a:gd name="T50" fmla="*/ 90 w 414"/>
                <a:gd name="T51" fmla="*/ 180 h 314"/>
                <a:gd name="T52" fmla="*/ 100 w 414"/>
                <a:gd name="T53" fmla="*/ 172 h 314"/>
                <a:gd name="T54" fmla="*/ 78 w 414"/>
                <a:gd name="T55" fmla="*/ 128 h 314"/>
                <a:gd name="T56" fmla="*/ 48 w 414"/>
                <a:gd name="T57" fmla="*/ 80 h 314"/>
                <a:gd name="T58" fmla="*/ 28 w 414"/>
                <a:gd name="T59" fmla="*/ 30 h 314"/>
                <a:gd name="T60" fmla="*/ 36 w 414"/>
                <a:gd name="T61" fmla="*/ 24 h 314"/>
                <a:gd name="T62" fmla="*/ 60 w 414"/>
                <a:gd name="T63" fmla="*/ 46 h 314"/>
                <a:gd name="T64" fmla="*/ 66 w 414"/>
                <a:gd name="T65" fmla="*/ 74 h 314"/>
                <a:gd name="T66" fmla="*/ 80 w 414"/>
                <a:gd name="T67" fmla="*/ 94 h 314"/>
                <a:gd name="T68" fmla="*/ 98 w 414"/>
                <a:gd name="T69" fmla="*/ 112 h 314"/>
                <a:gd name="T70" fmla="*/ 96 w 414"/>
                <a:gd name="T71" fmla="*/ 126 h 314"/>
                <a:gd name="T72" fmla="*/ 110 w 414"/>
                <a:gd name="T73" fmla="*/ 132 h 314"/>
                <a:gd name="T74" fmla="*/ 112 w 414"/>
                <a:gd name="T75" fmla="*/ 150 h 314"/>
                <a:gd name="T76" fmla="*/ 128 w 414"/>
                <a:gd name="T77" fmla="*/ 158 h 314"/>
                <a:gd name="T78" fmla="*/ 130 w 414"/>
                <a:gd name="T79" fmla="*/ 172 h 314"/>
                <a:gd name="T80" fmla="*/ 142 w 414"/>
                <a:gd name="T81" fmla="*/ 174 h 314"/>
                <a:gd name="T82" fmla="*/ 146 w 414"/>
                <a:gd name="T83" fmla="*/ 200 h 314"/>
                <a:gd name="T84" fmla="*/ 144 w 414"/>
                <a:gd name="T85" fmla="*/ 220 h 314"/>
                <a:gd name="T86" fmla="*/ 156 w 414"/>
                <a:gd name="T87" fmla="*/ 232 h 314"/>
                <a:gd name="T88" fmla="*/ 250 w 414"/>
                <a:gd name="T89" fmla="*/ 290 h 314"/>
                <a:gd name="T90" fmla="*/ 282 w 414"/>
                <a:gd name="T91" fmla="*/ 294 h 314"/>
                <a:gd name="T92" fmla="*/ 302 w 414"/>
                <a:gd name="T93" fmla="*/ 292 h 314"/>
                <a:gd name="T94" fmla="*/ 328 w 414"/>
                <a:gd name="T95" fmla="*/ 312 h 314"/>
                <a:gd name="T96" fmla="*/ 340 w 414"/>
                <a:gd name="T97" fmla="*/ 294 h 314"/>
                <a:gd name="T98" fmla="*/ 350 w 414"/>
                <a:gd name="T99" fmla="*/ 284 h 314"/>
                <a:gd name="T100" fmla="*/ 364 w 414"/>
                <a:gd name="T101" fmla="*/ 268 h 314"/>
                <a:gd name="T102" fmla="*/ 404 w 414"/>
                <a:gd name="T103" fmla="*/ 248 h 314"/>
                <a:gd name="T104" fmla="*/ 408 w 414"/>
                <a:gd name="T105" fmla="*/ 224 h 314"/>
                <a:gd name="T106" fmla="*/ 414 w 414"/>
                <a:gd name="T107" fmla="*/ 214 h 314"/>
                <a:gd name="T108" fmla="*/ 404 w 414"/>
                <a:gd name="T109" fmla="*/ 198 h 314"/>
                <a:gd name="T110" fmla="*/ 374 w 414"/>
                <a:gd name="T111" fmla="*/ 202 h 314"/>
                <a:gd name="T112" fmla="*/ 356 w 414"/>
                <a:gd name="T113" fmla="*/ 230 h 314"/>
                <a:gd name="T114" fmla="*/ 332 w 414"/>
                <a:gd name="T115" fmla="*/ 246 h 314"/>
                <a:gd name="T116" fmla="*/ 286 w 414"/>
                <a:gd name="T117" fmla="*/ 244 h 314"/>
                <a:gd name="T118" fmla="*/ 268 w 414"/>
                <a:gd name="T119" fmla="*/ 218 h 314"/>
                <a:gd name="T120" fmla="*/ 258 w 414"/>
                <a:gd name="T121" fmla="*/ 16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 h="314">
                  <a:moveTo>
                    <a:pt x="266" y="120"/>
                  </a:moveTo>
                  <a:lnTo>
                    <a:pt x="266" y="120"/>
                  </a:lnTo>
                  <a:lnTo>
                    <a:pt x="264" y="122"/>
                  </a:lnTo>
                  <a:lnTo>
                    <a:pt x="262" y="122"/>
                  </a:lnTo>
                  <a:lnTo>
                    <a:pt x="258" y="122"/>
                  </a:lnTo>
                  <a:lnTo>
                    <a:pt x="254" y="122"/>
                  </a:lnTo>
                  <a:lnTo>
                    <a:pt x="252" y="122"/>
                  </a:lnTo>
                  <a:lnTo>
                    <a:pt x="250" y="122"/>
                  </a:lnTo>
                  <a:lnTo>
                    <a:pt x="248" y="122"/>
                  </a:lnTo>
                  <a:lnTo>
                    <a:pt x="248" y="122"/>
                  </a:lnTo>
                  <a:lnTo>
                    <a:pt x="246" y="120"/>
                  </a:lnTo>
                  <a:lnTo>
                    <a:pt x="246" y="120"/>
                  </a:lnTo>
                  <a:lnTo>
                    <a:pt x="246" y="118"/>
                  </a:lnTo>
                  <a:lnTo>
                    <a:pt x="246" y="118"/>
                  </a:lnTo>
                  <a:lnTo>
                    <a:pt x="246" y="116"/>
                  </a:lnTo>
                  <a:lnTo>
                    <a:pt x="244" y="114"/>
                  </a:lnTo>
                  <a:lnTo>
                    <a:pt x="244" y="110"/>
                  </a:lnTo>
                  <a:lnTo>
                    <a:pt x="244" y="108"/>
                  </a:lnTo>
                  <a:lnTo>
                    <a:pt x="244" y="104"/>
                  </a:lnTo>
                  <a:lnTo>
                    <a:pt x="244" y="104"/>
                  </a:lnTo>
                  <a:lnTo>
                    <a:pt x="244" y="102"/>
                  </a:lnTo>
                  <a:lnTo>
                    <a:pt x="244" y="102"/>
                  </a:lnTo>
                  <a:lnTo>
                    <a:pt x="242" y="100"/>
                  </a:lnTo>
                  <a:lnTo>
                    <a:pt x="242" y="100"/>
                  </a:lnTo>
                  <a:lnTo>
                    <a:pt x="242" y="100"/>
                  </a:lnTo>
                  <a:lnTo>
                    <a:pt x="240" y="98"/>
                  </a:lnTo>
                  <a:lnTo>
                    <a:pt x="238" y="98"/>
                  </a:lnTo>
                  <a:lnTo>
                    <a:pt x="236" y="98"/>
                  </a:lnTo>
                  <a:lnTo>
                    <a:pt x="234" y="96"/>
                  </a:lnTo>
                  <a:lnTo>
                    <a:pt x="232" y="96"/>
                  </a:lnTo>
                  <a:lnTo>
                    <a:pt x="232" y="94"/>
                  </a:lnTo>
                  <a:lnTo>
                    <a:pt x="230" y="94"/>
                  </a:lnTo>
                  <a:lnTo>
                    <a:pt x="230" y="94"/>
                  </a:lnTo>
                  <a:lnTo>
                    <a:pt x="230" y="94"/>
                  </a:lnTo>
                  <a:lnTo>
                    <a:pt x="230" y="92"/>
                  </a:lnTo>
                  <a:lnTo>
                    <a:pt x="230" y="90"/>
                  </a:lnTo>
                  <a:lnTo>
                    <a:pt x="228" y="90"/>
                  </a:lnTo>
                  <a:lnTo>
                    <a:pt x="228" y="86"/>
                  </a:lnTo>
                  <a:lnTo>
                    <a:pt x="228" y="84"/>
                  </a:lnTo>
                  <a:lnTo>
                    <a:pt x="228" y="80"/>
                  </a:lnTo>
                  <a:lnTo>
                    <a:pt x="228" y="78"/>
                  </a:lnTo>
                  <a:lnTo>
                    <a:pt x="228" y="74"/>
                  </a:lnTo>
                  <a:lnTo>
                    <a:pt x="226" y="74"/>
                  </a:lnTo>
                  <a:lnTo>
                    <a:pt x="226" y="72"/>
                  </a:lnTo>
                  <a:lnTo>
                    <a:pt x="226" y="72"/>
                  </a:lnTo>
                  <a:lnTo>
                    <a:pt x="224" y="70"/>
                  </a:lnTo>
                  <a:lnTo>
                    <a:pt x="222" y="66"/>
                  </a:lnTo>
                  <a:lnTo>
                    <a:pt x="220" y="64"/>
                  </a:lnTo>
                  <a:lnTo>
                    <a:pt x="218" y="62"/>
                  </a:lnTo>
                  <a:lnTo>
                    <a:pt x="214" y="58"/>
                  </a:lnTo>
                  <a:lnTo>
                    <a:pt x="212" y="56"/>
                  </a:lnTo>
                  <a:lnTo>
                    <a:pt x="210" y="54"/>
                  </a:lnTo>
                  <a:lnTo>
                    <a:pt x="208" y="52"/>
                  </a:lnTo>
                  <a:lnTo>
                    <a:pt x="208" y="52"/>
                  </a:lnTo>
                  <a:lnTo>
                    <a:pt x="206" y="50"/>
                  </a:lnTo>
                  <a:lnTo>
                    <a:pt x="206" y="50"/>
                  </a:lnTo>
                  <a:lnTo>
                    <a:pt x="204" y="50"/>
                  </a:lnTo>
                  <a:lnTo>
                    <a:pt x="204" y="50"/>
                  </a:lnTo>
                  <a:lnTo>
                    <a:pt x="202" y="50"/>
                  </a:lnTo>
                  <a:lnTo>
                    <a:pt x="202" y="50"/>
                  </a:lnTo>
                  <a:lnTo>
                    <a:pt x="202" y="52"/>
                  </a:lnTo>
                  <a:lnTo>
                    <a:pt x="200" y="52"/>
                  </a:lnTo>
                  <a:lnTo>
                    <a:pt x="200" y="54"/>
                  </a:lnTo>
                  <a:lnTo>
                    <a:pt x="200" y="54"/>
                  </a:lnTo>
                  <a:lnTo>
                    <a:pt x="200" y="56"/>
                  </a:lnTo>
                  <a:lnTo>
                    <a:pt x="200" y="60"/>
                  </a:lnTo>
                  <a:lnTo>
                    <a:pt x="200" y="62"/>
                  </a:lnTo>
                  <a:lnTo>
                    <a:pt x="200" y="66"/>
                  </a:lnTo>
                  <a:lnTo>
                    <a:pt x="200" y="68"/>
                  </a:lnTo>
                  <a:lnTo>
                    <a:pt x="198" y="68"/>
                  </a:lnTo>
                  <a:lnTo>
                    <a:pt x="198" y="70"/>
                  </a:lnTo>
                  <a:lnTo>
                    <a:pt x="198" y="70"/>
                  </a:lnTo>
                  <a:lnTo>
                    <a:pt x="196" y="70"/>
                  </a:lnTo>
                  <a:lnTo>
                    <a:pt x="196" y="72"/>
                  </a:lnTo>
                  <a:lnTo>
                    <a:pt x="194" y="72"/>
                  </a:lnTo>
                  <a:lnTo>
                    <a:pt x="192" y="72"/>
                  </a:lnTo>
                  <a:lnTo>
                    <a:pt x="190" y="72"/>
                  </a:lnTo>
                  <a:lnTo>
                    <a:pt x="188" y="72"/>
                  </a:lnTo>
                  <a:lnTo>
                    <a:pt x="186" y="72"/>
                  </a:lnTo>
                  <a:lnTo>
                    <a:pt x="184" y="72"/>
                  </a:lnTo>
                  <a:lnTo>
                    <a:pt x="184" y="70"/>
                  </a:lnTo>
                  <a:lnTo>
                    <a:pt x="182" y="70"/>
                  </a:lnTo>
                  <a:lnTo>
                    <a:pt x="182" y="70"/>
                  </a:lnTo>
                  <a:lnTo>
                    <a:pt x="180" y="68"/>
                  </a:lnTo>
                  <a:lnTo>
                    <a:pt x="180" y="66"/>
                  </a:lnTo>
                  <a:lnTo>
                    <a:pt x="180" y="66"/>
                  </a:lnTo>
                  <a:lnTo>
                    <a:pt x="180" y="64"/>
                  </a:lnTo>
                  <a:lnTo>
                    <a:pt x="180" y="62"/>
                  </a:lnTo>
                  <a:lnTo>
                    <a:pt x="178" y="58"/>
                  </a:lnTo>
                  <a:lnTo>
                    <a:pt x="178" y="54"/>
                  </a:lnTo>
                  <a:lnTo>
                    <a:pt x="178" y="52"/>
                  </a:lnTo>
                  <a:lnTo>
                    <a:pt x="176" y="50"/>
                  </a:lnTo>
                  <a:lnTo>
                    <a:pt x="176" y="48"/>
                  </a:lnTo>
                  <a:lnTo>
                    <a:pt x="176" y="48"/>
                  </a:lnTo>
                  <a:lnTo>
                    <a:pt x="174" y="46"/>
                  </a:lnTo>
                  <a:lnTo>
                    <a:pt x="174" y="46"/>
                  </a:lnTo>
                  <a:lnTo>
                    <a:pt x="174" y="46"/>
                  </a:lnTo>
                  <a:lnTo>
                    <a:pt x="170" y="46"/>
                  </a:lnTo>
                  <a:lnTo>
                    <a:pt x="170" y="44"/>
                  </a:lnTo>
                  <a:lnTo>
                    <a:pt x="168" y="44"/>
                  </a:lnTo>
                  <a:lnTo>
                    <a:pt x="166" y="44"/>
                  </a:lnTo>
                  <a:lnTo>
                    <a:pt x="166" y="44"/>
                  </a:lnTo>
                  <a:lnTo>
                    <a:pt x="166" y="44"/>
                  </a:lnTo>
                  <a:lnTo>
                    <a:pt x="166" y="44"/>
                  </a:lnTo>
                  <a:lnTo>
                    <a:pt x="166" y="42"/>
                  </a:lnTo>
                  <a:lnTo>
                    <a:pt x="166" y="42"/>
                  </a:lnTo>
                  <a:lnTo>
                    <a:pt x="166" y="40"/>
                  </a:lnTo>
                  <a:lnTo>
                    <a:pt x="166" y="38"/>
                  </a:lnTo>
                  <a:lnTo>
                    <a:pt x="166" y="36"/>
                  </a:lnTo>
                  <a:lnTo>
                    <a:pt x="166" y="34"/>
                  </a:lnTo>
                  <a:lnTo>
                    <a:pt x="166" y="32"/>
                  </a:lnTo>
                  <a:lnTo>
                    <a:pt x="166" y="32"/>
                  </a:lnTo>
                  <a:lnTo>
                    <a:pt x="166" y="32"/>
                  </a:lnTo>
                  <a:lnTo>
                    <a:pt x="166" y="30"/>
                  </a:lnTo>
                  <a:lnTo>
                    <a:pt x="164" y="30"/>
                  </a:lnTo>
                  <a:lnTo>
                    <a:pt x="164" y="30"/>
                  </a:lnTo>
                  <a:lnTo>
                    <a:pt x="164" y="30"/>
                  </a:lnTo>
                  <a:lnTo>
                    <a:pt x="162" y="28"/>
                  </a:lnTo>
                  <a:lnTo>
                    <a:pt x="162" y="28"/>
                  </a:lnTo>
                  <a:lnTo>
                    <a:pt x="160" y="28"/>
                  </a:lnTo>
                  <a:lnTo>
                    <a:pt x="158" y="28"/>
                  </a:lnTo>
                  <a:lnTo>
                    <a:pt x="156" y="28"/>
                  </a:lnTo>
                  <a:lnTo>
                    <a:pt x="154" y="28"/>
                  </a:lnTo>
                  <a:lnTo>
                    <a:pt x="154" y="28"/>
                  </a:lnTo>
                  <a:lnTo>
                    <a:pt x="154" y="28"/>
                  </a:lnTo>
                  <a:lnTo>
                    <a:pt x="152" y="26"/>
                  </a:lnTo>
                  <a:lnTo>
                    <a:pt x="152" y="26"/>
                  </a:lnTo>
                  <a:lnTo>
                    <a:pt x="152" y="26"/>
                  </a:lnTo>
                  <a:lnTo>
                    <a:pt x="152" y="24"/>
                  </a:lnTo>
                  <a:lnTo>
                    <a:pt x="152" y="22"/>
                  </a:lnTo>
                  <a:lnTo>
                    <a:pt x="152" y="20"/>
                  </a:lnTo>
                  <a:lnTo>
                    <a:pt x="152" y="16"/>
                  </a:lnTo>
                  <a:lnTo>
                    <a:pt x="150" y="14"/>
                  </a:lnTo>
                  <a:lnTo>
                    <a:pt x="150" y="14"/>
                  </a:lnTo>
                  <a:lnTo>
                    <a:pt x="150" y="14"/>
                  </a:lnTo>
                  <a:lnTo>
                    <a:pt x="150" y="12"/>
                  </a:lnTo>
                  <a:lnTo>
                    <a:pt x="148" y="12"/>
                  </a:lnTo>
                  <a:lnTo>
                    <a:pt x="148" y="12"/>
                  </a:lnTo>
                  <a:lnTo>
                    <a:pt x="148" y="12"/>
                  </a:lnTo>
                  <a:lnTo>
                    <a:pt x="146" y="12"/>
                  </a:lnTo>
                  <a:lnTo>
                    <a:pt x="146" y="12"/>
                  </a:lnTo>
                  <a:lnTo>
                    <a:pt x="144" y="14"/>
                  </a:lnTo>
                  <a:lnTo>
                    <a:pt x="144" y="16"/>
                  </a:lnTo>
                  <a:lnTo>
                    <a:pt x="140" y="18"/>
                  </a:lnTo>
                  <a:lnTo>
                    <a:pt x="140" y="20"/>
                  </a:lnTo>
                  <a:lnTo>
                    <a:pt x="140" y="20"/>
                  </a:lnTo>
                  <a:lnTo>
                    <a:pt x="138" y="20"/>
                  </a:lnTo>
                  <a:lnTo>
                    <a:pt x="138" y="20"/>
                  </a:lnTo>
                  <a:lnTo>
                    <a:pt x="136" y="20"/>
                  </a:lnTo>
                  <a:lnTo>
                    <a:pt x="132" y="20"/>
                  </a:lnTo>
                  <a:lnTo>
                    <a:pt x="130" y="20"/>
                  </a:lnTo>
                  <a:lnTo>
                    <a:pt x="128" y="20"/>
                  </a:lnTo>
                  <a:lnTo>
                    <a:pt x="128" y="20"/>
                  </a:lnTo>
                  <a:lnTo>
                    <a:pt x="126" y="20"/>
                  </a:lnTo>
                  <a:lnTo>
                    <a:pt x="126" y="22"/>
                  </a:lnTo>
                  <a:lnTo>
                    <a:pt x="126" y="22"/>
                  </a:lnTo>
                  <a:lnTo>
                    <a:pt x="126" y="22"/>
                  </a:lnTo>
                  <a:lnTo>
                    <a:pt x="124" y="22"/>
                  </a:lnTo>
                  <a:lnTo>
                    <a:pt x="124" y="24"/>
                  </a:lnTo>
                  <a:lnTo>
                    <a:pt x="124" y="26"/>
                  </a:lnTo>
                  <a:lnTo>
                    <a:pt x="124" y="26"/>
                  </a:lnTo>
                  <a:lnTo>
                    <a:pt x="124" y="28"/>
                  </a:lnTo>
                  <a:lnTo>
                    <a:pt x="124" y="30"/>
                  </a:lnTo>
                  <a:lnTo>
                    <a:pt x="124" y="30"/>
                  </a:lnTo>
                  <a:lnTo>
                    <a:pt x="124" y="30"/>
                  </a:lnTo>
                  <a:lnTo>
                    <a:pt x="122" y="30"/>
                  </a:lnTo>
                  <a:lnTo>
                    <a:pt x="122" y="30"/>
                  </a:lnTo>
                  <a:lnTo>
                    <a:pt x="120" y="32"/>
                  </a:lnTo>
                  <a:lnTo>
                    <a:pt x="118" y="32"/>
                  </a:lnTo>
                  <a:lnTo>
                    <a:pt x="116" y="32"/>
                  </a:lnTo>
                  <a:lnTo>
                    <a:pt x="112" y="30"/>
                  </a:lnTo>
                  <a:lnTo>
                    <a:pt x="106" y="30"/>
                  </a:lnTo>
                  <a:lnTo>
                    <a:pt x="104" y="30"/>
                  </a:lnTo>
                  <a:lnTo>
                    <a:pt x="102" y="30"/>
                  </a:lnTo>
                  <a:lnTo>
                    <a:pt x="102" y="30"/>
                  </a:lnTo>
                  <a:lnTo>
                    <a:pt x="100" y="30"/>
                  </a:lnTo>
                  <a:lnTo>
                    <a:pt x="98" y="32"/>
                  </a:lnTo>
                  <a:lnTo>
                    <a:pt x="94" y="34"/>
                  </a:lnTo>
                  <a:lnTo>
                    <a:pt x="92" y="34"/>
                  </a:lnTo>
                  <a:lnTo>
                    <a:pt x="90" y="36"/>
                  </a:lnTo>
                  <a:lnTo>
                    <a:pt x="88" y="36"/>
                  </a:lnTo>
                  <a:lnTo>
                    <a:pt x="86" y="36"/>
                  </a:lnTo>
                  <a:lnTo>
                    <a:pt x="84" y="36"/>
                  </a:lnTo>
                  <a:lnTo>
                    <a:pt x="80" y="36"/>
                  </a:lnTo>
                  <a:lnTo>
                    <a:pt x="78" y="36"/>
                  </a:lnTo>
                  <a:lnTo>
                    <a:pt x="74" y="34"/>
                  </a:lnTo>
                  <a:lnTo>
                    <a:pt x="70" y="34"/>
                  </a:lnTo>
                  <a:lnTo>
                    <a:pt x="68" y="34"/>
                  </a:lnTo>
                  <a:lnTo>
                    <a:pt x="66" y="32"/>
                  </a:lnTo>
                  <a:lnTo>
                    <a:pt x="62" y="32"/>
                  </a:lnTo>
                  <a:lnTo>
                    <a:pt x="62" y="30"/>
                  </a:lnTo>
                  <a:lnTo>
                    <a:pt x="62" y="30"/>
                  </a:lnTo>
                  <a:lnTo>
                    <a:pt x="60" y="28"/>
                  </a:lnTo>
                  <a:lnTo>
                    <a:pt x="58" y="26"/>
                  </a:lnTo>
                  <a:lnTo>
                    <a:pt x="56" y="24"/>
                  </a:lnTo>
                  <a:lnTo>
                    <a:pt x="52" y="20"/>
                  </a:lnTo>
                  <a:lnTo>
                    <a:pt x="50" y="18"/>
                  </a:lnTo>
                  <a:lnTo>
                    <a:pt x="48" y="16"/>
                  </a:lnTo>
                  <a:lnTo>
                    <a:pt x="46" y="16"/>
                  </a:lnTo>
                  <a:lnTo>
                    <a:pt x="44" y="14"/>
                  </a:lnTo>
                  <a:lnTo>
                    <a:pt x="42" y="14"/>
                  </a:lnTo>
                  <a:lnTo>
                    <a:pt x="40" y="14"/>
                  </a:lnTo>
                  <a:lnTo>
                    <a:pt x="38" y="12"/>
                  </a:lnTo>
                  <a:lnTo>
                    <a:pt x="36" y="12"/>
                  </a:lnTo>
                  <a:lnTo>
                    <a:pt x="36" y="12"/>
                  </a:lnTo>
                  <a:lnTo>
                    <a:pt x="34" y="10"/>
                  </a:lnTo>
                  <a:lnTo>
                    <a:pt x="34" y="8"/>
                  </a:lnTo>
                  <a:lnTo>
                    <a:pt x="34" y="6"/>
                  </a:lnTo>
                  <a:lnTo>
                    <a:pt x="32" y="6"/>
                  </a:lnTo>
                  <a:lnTo>
                    <a:pt x="32" y="4"/>
                  </a:lnTo>
                  <a:lnTo>
                    <a:pt x="32" y="2"/>
                  </a:lnTo>
                  <a:lnTo>
                    <a:pt x="32" y="2"/>
                  </a:lnTo>
                  <a:lnTo>
                    <a:pt x="32" y="2"/>
                  </a:lnTo>
                  <a:lnTo>
                    <a:pt x="30" y="2"/>
                  </a:lnTo>
                  <a:lnTo>
                    <a:pt x="28" y="0"/>
                  </a:lnTo>
                  <a:lnTo>
                    <a:pt x="26" y="0"/>
                  </a:lnTo>
                  <a:lnTo>
                    <a:pt x="24" y="0"/>
                  </a:lnTo>
                  <a:lnTo>
                    <a:pt x="22" y="0"/>
                  </a:lnTo>
                  <a:lnTo>
                    <a:pt x="18" y="0"/>
                  </a:lnTo>
                  <a:lnTo>
                    <a:pt x="14" y="0"/>
                  </a:lnTo>
                  <a:lnTo>
                    <a:pt x="8" y="0"/>
                  </a:lnTo>
                  <a:lnTo>
                    <a:pt x="4" y="0"/>
                  </a:lnTo>
                  <a:lnTo>
                    <a:pt x="0" y="0"/>
                  </a:lnTo>
                  <a:lnTo>
                    <a:pt x="0" y="6"/>
                  </a:lnTo>
                  <a:lnTo>
                    <a:pt x="0" y="10"/>
                  </a:lnTo>
                  <a:lnTo>
                    <a:pt x="0" y="16"/>
                  </a:lnTo>
                  <a:lnTo>
                    <a:pt x="0" y="22"/>
                  </a:lnTo>
                  <a:lnTo>
                    <a:pt x="0" y="28"/>
                  </a:lnTo>
                  <a:lnTo>
                    <a:pt x="0" y="30"/>
                  </a:lnTo>
                  <a:lnTo>
                    <a:pt x="2" y="34"/>
                  </a:lnTo>
                  <a:lnTo>
                    <a:pt x="2" y="36"/>
                  </a:lnTo>
                  <a:lnTo>
                    <a:pt x="2" y="38"/>
                  </a:lnTo>
                  <a:lnTo>
                    <a:pt x="2" y="38"/>
                  </a:lnTo>
                  <a:lnTo>
                    <a:pt x="4" y="40"/>
                  </a:lnTo>
                  <a:lnTo>
                    <a:pt x="4" y="42"/>
                  </a:lnTo>
                  <a:lnTo>
                    <a:pt x="6" y="44"/>
                  </a:lnTo>
                  <a:lnTo>
                    <a:pt x="8" y="46"/>
                  </a:lnTo>
                  <a:lnTo>
                    <a:pt x="14" y="50"/>
                  </a:lnTo>
                  <a:lnTo>
                    <a:pt x="14" y="52"/>
                  </a:lnTo>
                  <a:lnTo>
                    <a:pt x="16" y="54"/>
                  </a:lnTo>
                  <a:lnTo>
                    <a:pt x="20" y="58"/>
                  </a:lnTo>
                  <a:lnTo>
                    <a:pt x="24" y="64"/>
                  </a:lnTo>
                  <a:lnTo>
                    <a:pt x="26" y="66"/>
                  </a:lnTo>
                  <a:lnTo>
                    <a:pt x="26" y="68"/>
                  </a:lnTo>
                  <a:lnTo>
                    <a:pt x="28" y="72"/>
                  </a:lnTo>
                  <a:lnTo>
                    <a:pt x="28" y="72"/>
                  </a:lnTo>
                  <a:lnTo>
                    <a:pt x="28" y="74"/>
                  </a:lnTo>
                  <a:lnTo>
                    <a:pt x="28" y="76"/>
                  </a:lnTo>
                  <a:lnTo>
                    <a:pt x="28" y="78"/>
                  </a:lnTo>
                  <a:lnTo>
                    <a:pt x="28" y="80"/>
                  </a:lnTo>
                  <a:lnTo>
                    <a:pt x="28" y="82"/>
                  </a:lnTo>
                  <a:lnTo>
                    <a:pt x="28" y="84"/>
                  </a:lnTo>
                  <a:lnTo>
                    <a:pt x="26" y="84"/>
                  </a:lnTo>
                  <a:lnTo>
                    <a:pt x="26" y="86"/>
                  </a:lnTo>
                  <a:lnTo>
                    <a:pt x="26" y="88"/>
                  </a:lnTo>
                  <a:lnTo>
                    <a:pt x="24" y="88"/>
                  </a:lnTo>
                  <a:lnTo>
                    <a:pt x="24" y="90"/>
                  </a:lnTo>
                  <a:lnTo>
                    <a:pt x="20" y="90"/>
                  </a:lnTo>
                  <a:lnTo>
                    <a:pt x="20" y="90"/>
                  </a:lnTo>
                  <a:lnTo>
                    <a:pt x="18" y="92"/>
                  </a:lnTo>
                  <a:lnTo>
                    <a:pt x="18" y="92"/>
                  </a:lnTo>
                  <a:lnTo>
                    <a:pt x="18" y="92"/>
                  </a:lnTo>
                  <a:lnTo>
                    <a:pt x="18" y="92"/>
                  </a:lnTo>
                  <a:lnTo>
                    <a:pt x="18" y="94"/>
                  </a:lnTo>
                  <a:lnTo>
                    <a:pt x="18" y="94"/>
                  </a:lnTo>
                  <a:lnTo>
                    <a:pt x="18" y="96"/>
                  </a:lnTo>
                  <a:lnTo>
                    <a:pt x="20" y="98"/>
                  </a:lnTo>
                  <a:lnTo>
                    <a:pt x="20" y="98"/>
                  </a:lnTo>
                  <a:lnTo>
                    <a:pt x="22" y="100"/>
                  </a:lnTo>
                  <a:lnTo>
                    <a:pt x="24" y="100"/>
                  </a:lnTo>
                  <a:lnTo>
                    <a:pt x="26" y="102"/>
                  </a:lnTo>
                  <a:lnTo>
                    <a:pt x="28" y="104"/>
                  </a:lnTo>
                  <a:lnTo>
                    <a:pt x="32" y="106"/>
                  </a:lnTo>
                  <a:lnTo>
                    <a:pt x="36" y="108"/>
                  </a:lnTo>
                  <a:lnTo>
                    <a:pt x="38" y="110"/>
                  </a:lnTo>
                  <a:lnTo>
                    <a:pt x="40" y="110"/>
                  </a:lnTo>
                  <a:lnTo>
                    <a:pt x="42" y="112"/>
                  </a:lnTo>
                  <a:lnTo>
                    <a:pt x="44" y="112"/>
                  </a:lnTo>
                  <a:lnTo>
                    <a:pt x="46" y="114"/>
                  </a:lnTo>
                  <a:lnTo>
                    <a:pt x="50" y="118"/>
                  </a:lnTo>
                  <a:lnTo>
                    <a:pt x="52" y="120"/>
                  </a:lnTo>
                  <a:lnTo>
                    <a:pt x="54" y="120"/>
                  </a:lnTo>
                  <a:lnTo>
                    <a:pt x="56" y="122"/>
                  </a:lnTo>
                  <a:lnTo>
                    <a:pt x="58" y="124"/>
                  </a:lnTo>
                  <a:lnTo>
                    <a:pt x="58" y="124"/>
                  </a:lnTo>
                  <a:lnTo>
                    <a:pt x="58" y="126"/>
                  </a:lnTo>
                  <a:lnTo>
                    <a:pt x="58" y="126"/>
                  </a:lnTo>
                  <a:lnTo>
                    <a:pt x="58" y="128"/>
                  </a:lnTo>
                  <a:lnTo>
                    <a:pt x="60" y="130"/>
                  </a:lnTo>
                  <a:lnTo>
                    <a:pt x="60" y="132"/>
                  </a:lnTo>
                  <a:lnTo>
                    <a:pt x="60" y="136"/>
                  </a:lnTo>
                  <a:lnTo>
                    <a:pt x="60" y="140"/>
                  </a:lnTo>
                  <a:lnTo>
                    <a:pt x="60" y="144"/>
                  </a:lnTo>
                  <a:lnTo>
                    <a:pt x="60" y="144"/>
                  </a:lnTo>
                  <a:lnTo>
                    <a:pt x="60" y="146"/>
                  </a:lnTo>
                  <a:lnTo>
                    <a:pt x="60" y="148"/>
                  </a:lnTo>
                  <a:lnTo>
                    <a:pt x="60" y="148"/>
                  </a:lnTo>
                  <a:lnTo>
                    <a:pt x="62" y="150"/>
                  </a:lnTo>
                  <a:lnTo>
                    <a:pt x="62" y="152"/>
                  </a:lnTo>
                  <a:lnTo>
                    <a:pt x="64" y="154"/>
                  </a:lnTo>
                  <a:lnTo>
                    <a:pt x="66" y="156"/>
                  </a:lnTo>
                  <a:lnTo>
                    <a:pt x="68" y="160"/>
                  </a:lnTo>
                  <a:lnTo>
                    <a:pt x="72" y="166"/>
                  </a:lnTo>
                  <a:lnTo>
                    <a:pt x="76" y="170"/>
                  </a:lnTo>
                  <a:lnTo>
                    <a:pt x="78" y="172"/>
                  </a:lnTo>
                  <a:lnTo>
                    <a:pt x="80" y="174"/>
                  </a:lnTo>
                  <a:lnTo>
                    <a:pt x="82" y="174"/>
                  </a:lnTo>
                  <a:lnTo>
                    <a:pt x="84" y="176"/>
                  </a:lnTo>
                  <a:lnTo>
                    <a:pt x="86" y="178"/>
                  </a:lnTo>
                  <a:lnTo>
                    <a:pt x="88" y="178"/>
                  </a:lnTo>
                  <a:lnTo>
                    <a:pt x="90" y="178"/>
                  </a:lnTo>
                  <a:lnTo>
                    <a:pt x="90" y="180"/>
                  </a:lnTo>
                  <a:lnTo>
                    <a:pt x="92" y="180"/>
                  </a:lnTo>
                  <a:lnTo>
                    <a:pt x="94" y="180"/>
                  </a:lnTo>
                  <a:lnTo>
                    <a:pt x="96" y="180"/>
                  </a:lnTo>
                  <a:lnTo>
                    <a:pt x="98" y="180"/>
                  </a:lnTo>
                  <a:lnTo>
                    <a:pt x="98" y="180"/>
                  </a:lnTo>
                  <a:lnTo>
                    <a:pt x="100" y="178"/>
                  </a:lnTo>
                  <a:lnTo>
                    <a:pt x="100" y="178"/>
                  </a:lnTo>
                  <a:lnTo>
                    <a:pt x="100" y="178"/>
                  </a:lnTo>
                  <a:lnTo>
                    <a:pt x="100" y="176"/>
                  </a:lnTo>
                  <a:lnTo>
                    <a:pt x="100" y="176"/>
                  </a:lnTo>
                  <a:lnTo>
                    <a:pt x="100" y="174"/>
                  </a:lnTo>
                  <a:lnTo>
                    <a:pt x="100" y="172"/>
                  </a:lnTo>
                  <a:lnTo>
                    <a:pt x="100" y="170"/>
                  </a:lnTo>
                  <a:lnTo>
                    <a:pt x="98" y="168"/>
                  </a:lnTo>
                  <a:lnTo>
                    <a:pt x="96" y="164"/>
                  </a:lnTo>
                  <a:lnTo>
                    <a:pt x="94" y="160"/>
                  </a:lnTo>
                  <a:lnTo>
                    <a:pt x="94" y="158"/>
                  </a:lnTo>
                  <a:lnTo>
                    <a:pt x="92" y="156"/>
                  </a:lnTo>
                  <a:lnTo>
                    <a:pt x="90" y="154"/>
                  </a:lnTo>
                  <a:lnTo>
                    <a:pt x="90" y="150"/>
                  </a:lnTo>
                  <a:lnTo>
                    <a:pt x="86" y="144"/>
                  </a:lnTo>
                  <a:lnTo>
                    <a:pt x="82" y="136"/>
                  </a:lnTo>
                  <a:lnTo>
                    <a:pt x="80" y="130"/>
                  </a:lnTo>
                  <a:lnTo>
                    <a:pt x="78" y="128"/>
                  </a:lnTo>
                  <a:lnTo>
                    <a:pt x="78" y="124"/>
                  </a:lnTo>
                  <a:lnTo>
                    <a:pt x="74" y="118"/>
                  </a:lnTo>
                  <a:lnTo>
                    <a:pt x="72" y="112"/>
                  </a:lnTo>
                  <a:lnTo>
                    <a:pt x="70" y="108"/>
                  </a:lnTo>
                  <a:lnTo>
                    <a:pt x="70" y="106"/>
                  </a:lnTo>
                  <a:lnTo>
                    <a:pt x="68" y="104"/>
                  </a:lnTo>
                  <a:lnTo>
                    <a:pt x="66" y="100"/>
                  </a:lnTo>
                  <a:lnTo>
                    <a:pt x="60" y="94"/>
                  </a:lnTo>
                  <a:lnTo>
                    <a:pt x="56" y="88"/>
                  </a:lnTo>
                  <a:lnTo>
                    <a:pt x="54" y="86"/>
                  </a:lnTo>
                  <a:lnTo>
                    <a:pt x="52" y="84"/>
                  </a:lnTo>
                  <a:lnTo>
                    <a:pt x="48" y="80"/>
                  </a:lnTo>
                  <a:lnTo>
                    <a:pt x="46" y="74"/>
                  </a:lnTo>
                  <a:lnTo>
                    <a:pt x="40" y="64"/>
                  </a:lnTo>
                  <a:lnTo>
                    <a:pt x="36" y="56"/>
                  </a:lnTo>
                  <a:lnTo>
                    <a:pt x="34" y="52"/>
                  </a:lnTo>
                  <a:lnTo>
                    <a:pt x="32" y="50"/>
                  </a:lnTo>
                  <a:lnTo>
                    <a:pt x="32" y="48"/>
                  </a:lnTo>
                  <a:lnTo>
                    <a:pt x="32" y="46"/>
                  </a:lnTo>
                  <a:lnTo>
                    <a:pt x="30" y="40"/>
                  </a:lnTo>
                  <a:lnTo>
                    <a:pt x="30" y="36"/>
                  </a:lnTo>
                  <a:lnTo>
                    <a:pt x="28" y="34"/>
                  </a:lnTo>
                  <a:lnTo>
                    <a:pt x="28" y="32"/>
                  </a:lnTo>
                  <a:lnTo>
                    <a:pt x="28" y="30"/>
                  </a:lnTo>
                  <a:lnTo>
                    <a:pt x="28" y="28"/>
                  </a:lnTo>
                  <a:lnTo>
                    <a:pt x="30" y="26"/>
                  </a:lnTo>
                  <a:lnTo>
                    <a:pt x="30" y="26"/>
                  </a:lnTo>
                  <a:lnTo>
                    <a:pt x="30" y="24"/>
                  </a:lnTo>
                  <a:lnTo>
                    <a:pt x="30" y="24"/>
                  </a:lnTo>
                  <a:lnTo>
                    <a:pt x="32" y="22"/>
                  </a:lnTo>
                  <a:lnTo>
                    <a:pt x="32" y="22"/>
                  </a:lnTo>
                  <a:lnTo>
                    <a:pt x="32" y="22"/>
                  </a:lnTo>
                  <a:lnTo>
                    <a:pt x="34" y="22"/>
                  </a:lnTo>
                  <a:lnTo>
                    <a:pt x="34" y="22"/>
                  </a:lnTo>
                  <a:lnTo>
                    <a:pt x="36" y="24"/>
                  </a:lnTo>
                  <a:lnTo>
                    <a:pt x="36" y="24"/>
                  </a:lnTo>
                  <a:lnTo>
                    <a:pt x="40" y="26"/>
                  </a:lnTo>
                  <a:lnTo>
                    <a:pt x="42" y="28"/>
                  </a:lnTo>
                  <a:lnTo>
                    <a:pt x="42" y="30"/>
                  </a:lnTo>
                  <a:lnTo>
                    <a:pt x="44" y="32"/>
                  </a:lnTo>
                  <a:lnTo>
                    <a:pt x="48" y="34"/>
                  </a:lnTo>
                  <a:lnTo>
                    <a:pt x="50" y="38"/>
                  </a:lnTo>
                  <a:lnTo>
                    <a:pt x="52" y="40"/>
                  </a:lnTo>
                  <a:lnTo>
                    <a:pt x="52" y="42"/>
                  </a:lnTo>
                  <a:lnTo>
                    <a:pt x="54" y="42"/>
                  </a:lnTo>
                  <a:lnTo>
                    <a:pt x="56" y="44"/>
                  </a:lnTo>
                  <a:lnTo>
                    <a:pt x="58" y="46"/>
                  </a:lnTo>
                  <a:lnTo>
                    <a:pt x="60" y="46"/>
                  </a:lnTo>
                  <a:lnTo>
                    <a:pt x="62" y="48"/>
                  </a:lnTo>
                  <a:lnTo>
                    <a:pt x="64" y="48"/>
                  </a:lnTo>
                  <a:lnTo>
                    <a:pt x="64" y="50"/>
                  </a:lnTo>
                  <a:lnTo>
                    <a:pt x="64" y="52"/>
                  </a:lnTo>
                  <a:lnTo>
                    <a:pt x="66" y="52"/>
                  </a:lnTo>
                  <a:lnTo>
                    <a:pt x="66" y="54"/>
                  </a:lnTo>
                  <a:lnTo>
                    <a:pt x="66" y="56"/>
                  </a:lnTo>
                  <a:lnTo>
                    <a:pt x="66" y="60"/>
                  </a:lnTo>
                  <a:lnTo>
                    <a:pt x="66" y="64"/>
                  </a:lnTo>
                  <a:lnTo>
                    <a:pt x="66" y="68"/>
                  </a:lnTo>
                  <a:lnTo>
                    <a:pt x="66" y="72"/>
                  </a:lnTo>
                  <a:lnTo>
                    <a:pt x="66" y="74"/>
                  </a:lnTo>
                  <a:lnTo>
                    <a:pt x="66" y="74"/>
                  </a:lnTo>
                  <a:lnTo>
                    <a:pt x="66" y="76"/>
                  </a:lnTo>
                  <a:lnTo>
                    <a:pt x="66" y="78"/>
                  </a:lnTo>
                  <a:lnTo>
                    <a:pt x="68" y="80"/>
                  </a:lnTo>
                  <a:lnTo>
                    <a:pt x="68" y="80"/>
                  </a:lnTo>
                  <a:lnTo>
                    <a:pt x="70" y="82"/>
                  </a:lnTo>
                  <a:lnTo>
                    <a:pt x="72" y="84"/>
                  </a:lnTo>
                  <a:lnTo>
                    <a:pt x="76" y="86"/>
                  </a:lnTo>
                  <a:lnTo>
                    <a:pt x="76" y="88"/>
                  </a:lnTo>
                  <a:lnTo>
                    <a:pt x="78" y="90"/>
                  </a:lnTo>
                  <a:lnTo>
                    <a:pt x="80" y="90"/>
                  </a:lnTo>
                  <a:lnTo>
                    <a:pt x="80" y="94"/>
                  </a:lnTo>
                  <a:lnTo>
                    <a:pt x="84" y="98"/>
                  </a:lnTo>
                  <a:lnTo>
                    <a:pt x="84" y="102"/>
                  </a:lnTo>
                  <a:lnTo>
                    <a:pt x="86" y="104"/>
                  </a:lnTo>
                  <a:lnTo>
                    <a:pt x="88" y="106"/>
                  </a:lnTo>
                  <a:lnTo>
                    <a:pt x="88" y="108"/>
                  </a:lnTo>
                  <a:lnTo>
                    <a:pt x="90" y="108"/>
                  </a:lnTo>
                  <a:lnTo>
                    <a:pt x="90" y="108"/>
                  </a:lnTo>
                  <a:lnTo>
                    <a:pt x="92" y="110"/>
                  </a:lnTo>
                  <a:lnTo>
                    <a:pt x="94" y="110"/>
                  </a:lnTo>
                  <a:lnTo>
                    <a:pt x="96" y="112"/>
                  </a:lnTo>
                  <a:lnTo>
                    <a:pt x="96" y="112"/>
                  </a:lnTo>
                  <a:lnTo>
                    <a:pt x="98" y="112"/>
                  </a:lnTo>
                  <a:lnTo>
                    <a:pt x="98" y="112"/>
                  </a:lnTo>
                  <a:lnTo>
                    <a:pt x="98" y="112"/>
                  </a:lnTo>
                  <a:lnTo>
                    <a:pt x="98" y="114"/>
                  </a:lnTo>
                  <a:lnTo>
                    <a:pt x="98" y="114"/>
                  </a:lnTo>
                  <a:lnTo>
                    <a:pt x="98" y="116"/>
                  </a:lnTo>
                  <a:lnTo>
                    <a:pt x="98" y="116"/>
                  </a:lnTo>
                  <a:lnTo>
                    <a:pt x="98" y="118"/>
                  </a:lnTo>
                  <a:lnTo>
                    <a:pt x="98" y="120"/>
                  </a:lnTo>
                  <a:lnTo>
                    <a:pt x="96" y="122"/>
                  </a:lnTo>
                  <a:lnTo>
                    <a:pt x="96" y="124"/>
                  </a:lnTo>
                  <a:lnTo>
                    <a:pt x="96" y="126"/>
                  </a:lnTo>
                  <a:lnTo>
                    <a:pt x="96" y="126"/>
                  </a:lnTo>
                  <a:lnTo>
                    <a:pt x="96" y="128"/>
                  </a:lnTo>
                  <a:lnTo>
                    <a:pt x="96" y="128"/>
                  </a:lnTo>
                  <a:lnTo>
                    <a:pt x="98" y="128"/>
                  </a:lnTo>
                  <a:lnTo>
                    <a:pt x="98" y="130"/>
                  </a:lnTo>
                  <a:lnTo>
                    <a:pt x="98" y="130"/>
                  </a:lnTo>
                  <a:lnTo>
                    <a:pt x="100" y="130"/>
                  </a:lnTo>
                  <a:lnTo>
                    <a:pt x="102" y="130"/>
                  </a:lnTo>
                  <a:lnTo>
                    <a:pt x="104" y="130"/>
                  </a:lnTo>
                  <a:lnTo>
                    <a:pt x="106" y="132"/>
                  </a:lnTo>
                  <a:lnTo>
                    <a:pt x="108" y="132"/>
                  </a:lnTo>
                  <a:lnTo>
                    <a:pt x="108" y="132"/>
                  </a:lnTo>
                  <a:lnTo>
                    <a:pt x="110" y="132"/>
                  </a:lnTo>
                  <a:lnTo>
                    <a:pt x="110" y="132"/>
                  </a:lnTo>
                  <a:lnTo>
                    <a:pt x="110" y="134"/>
                  </a:lnTo>
                  <a:lnTo>
                    <a:pt x="112" y="134"/>
                  </a:lnTo>
                  <a:lnTo>
                    <a:pt x="112" y="134"/>
                  </a:lnTo>
                  <a:lnTo>
                    <a:pt x="112" y="136"/>
                  </a:lnTo>
                  <a:lnTo>
                    <a:pt x="112" y="136"/>
                  </a:lnTo>
                  <a:lnTo>
                    <a:pt x="112" y="140"/>
                  </a:lnTo>
                  <a:lnTo>
                    <a:pt x="112" y="142"/>
                  </a:lnTo>
                  <a:lnTo>
                    <a:pt x="112" y="144"/>
                  </a:lnTo>
                  <a:lnTo>
                    <a:pt x="112" y="146"/>
                  </a:lnTo>
                  <a:lnTo>
                    <a:pt x="112" y="148"/>
                  </a:lnTo>
                  <a:lnTo>
                    <a:pt x="112" y="150"/>
                  </a:lnTo>
                  <a:lnTo>
                    <a:pt x="112" y="150"/>
                  </a:lnTo>
                  <a:lnTo>
                    <a:pt x="112" y="150"/>
                  </a:lnTo>
                  <a:lnTo>
                    <a:pt x="112" y="152"/>
                  </a:lnTo>
                  <a:lnTo>
                    <a:pt x="114" y="152"/>
                  </a:lnTo>
                  <a:lnTo>
                    <a:pt x="114" y="152"/>
                  </a:lnTo>
                  <a:lnTo>
                    <a:pt x="116" y="154"/>
                  </a:lnTo>
                  <a:lnTo>
                    <a:pt x="118" y="154"/>
                  </a:lnTo>
                  <a:lnTo>
                    <a:pt x="120" y="156"/>
                  </a:lnTo>
                  <a:lnTo>
                    <a:pt x="124" y="156"/>
                  </a:lnTo>
                  <a:lnTo>
                    <a:pt x="126" y="156"/>
                  </a:lnTo>
                  <a:lnTo>
                    <a:pt x="128" y="158"/>
                  </a:lnTo>
                  <a:lnTo>
                    <a:pt x="128" y="158"/>
                  </a:lnTo>
                  <a:lnTo>
                    <a:pt x="130" y="158"/>
                  </a:lnTo>
                  <a:lnTo>
                    <a:pt x="130" y="160"/>
                  </a:lnTo>
                  <a:lnTo>
                    <a:pt x="130" y="160"/>
                  </a:lnTo>
                  <a:lnTo>
                    <a:pt x="130" y="160"/>
                  </a:lnTo>
                  <a:lnTo>
                    <a:pt x="130" y="162"/>
                  </a:lnTo>
                  <a:lnTo>
                    <a:pt x="130" y="164"/>
                  </a:lnTo>
                  <a:lnTo>
                    <a:pt x="130" y="166"/>
                  </a:lnTo>
                  <a:lnTo>
                    <a:pt x="130" y="168"/>
                  </a:lnTo>
                  <a:lnTo>
                    <a:pt x="128" y="170"/>
                  </a:lnTo>
                  <a:lnTo>
                    <a:pt x="128" y="170"/>
                  </a:lnTo>
                  <a:lnTo>
                    <a:pt x="130" y="172"/>
                  </a:lnTo>
                  <a:lnTo>
                    <a:pt x="130" y="172"/>
                  </a:lnTo>
                  <a:lnTo>
                    <a:pt x="130" y="172"/>
                  </a:lnTo>
                  <a:lnTo>
                    <a:pt x="130" y="172"/>
                  </a:lnTo>
                  <a:lnTo>
                    <a:pt x="130" y="172"/>
                  </a:lnTo>
                  <a:lnTo>
                    <a:pt x="132" y="174"/>
                  </a:lnTo>
                  <a:lnTo>
                    <a:pt x="134" y="174"/>
                  </a:lnTo>
                  <a:lnTo>
                    <a:pt x="136" y="172"/>
                  </a:lnTo>
                  <a:lnTo>
                    <a:pt x="136" y="172"/>
                  </a:lnTo>
                  <a:lnTo>
                    <a:pt x="138" y="172"/>
                  </a:lnTo>
                  <a:lnTo>
                    <a:pt x="140" y="172"/>
                  </a:lnTo>
                  <a:lnTo>
                    <a:pt x="140" y="174"/>
                  </a:lnTo>
                  <a:lnTo>
                    <a:pt x="140" y="174"/>
                  </a:lnTo>
                  <a:lnTo>
                    <a:pt x="142" y="174"/>
                  </a:lnTo>
                  <a:lnTo>
                    <a:pt x="142" y="176"/>
                  </a:lnTo>
                  <a:lnTo>
                    <a:pt x="142" y="176"/>
                  </a:lnTo>
                  <a:lnTo>
                    <a:pt x="142" y="178"/>
                  </a:lnTo>
                  <a:lnTo>
                    <a:pt x="142" y="180"/>
                  </a:lnTo>
                  <a:lnTo>
                    <a:pt x="142" y="182"/>
                  </a:lnTo>
                  <a:lnTo>
                    <a:pt x="142" y="188"/>
                  </a:lnTo>
                  <a:lnTo>
                    <a:pt x="142" y="190"/>
                  </a:lnTo>
                  <a:lnTo>
                    <a:pt x="142" y="192"/>
                  </a:lnTo>
                  <a:lnTo>
                    <a:pt x="142" y="192"/>
                  </a:lnTo>
                  <a:lnTo>
                    <a:pt x="142" y="194"/>
                  </a:lnTo>
                  <a:lnTo>
                    <a:pt x="144" y="196"/>
                  </a:lnTo>
                  <a:lnTo>
                    <a:pt x="146" y="200"/>
                  </a:lnTo>
                  <a:lnTo>
                    <a:pt x="146" y="202"/>
                  </a:lnTo>
                  <a:lnTo>
                    <a:pt x="148" y="204"/>
                  </a:lnTo>
                  <a:lnTo>
                    <a:pt x="148" y="206"/>
                  </a:lnTo>
                  <a:lnTo>
                    <a:pt x="148" y="208"/>
                  </a:lnTo>
                  <a:lnTo>
                    <a:pt x="148" y="208"/>
                  </a:lnTo>
                  <a:lnTo>
                    <a:pt x="148" y="210"/>
                  </a:lnTo>
                  <a:lnTo>
                    <a:pt x="148" y="210"/>
                  </a:lnTo>
                  <a:lnTo>
                    <a:pt x="148" y="212"/>
                  </a:lnTo>
                  <a:lnTo>
                    <a:pt x="146" y="214"/>
                  </a:lnTo>
                  <a:lnTo>
                    <a:pt x="146" y="216"/>
                  </a:lnTo>
                  <a:lnTo>
                    <a:pt x="144" y="218"/>
                  </a:lnTo>
                  <a:lnTo>
                    <a:pt x="144" y="220"/>
                  </a:lnTo>
                  <a:lnTo>
                    <a:pt x="144" y="222"/>
                  </a:lnTo>
                  <a:lnTo>
                    <a:pt x="144" y="222"/>
                  </a:lnTo>
                  <a:lnTo>
                    <a:pt x="144" y="224"/>
                  </a:lnTo>
                  <a:lnTo>
                    <a:pt x="144" y="224"/>
                  </a:lnTo>
                  <a:lnTo>
                    <a:pt x="144" y="224"/>
                  </a:lnTo>
                  <a:lnTo>
                    <a:pt x="144" y="226"/>
                  </a:lnTo>
                  <a:lnTo>
                    <a:pt x="146" y="226"/>
                  </a:lnTo>
                  <a:lnTo>
                    <a:pt x="146" y="226"/>
                  </a:lnTo>
                  <a:lnTo>
                    <a:pt x="148" y="228"/>
                  </a:lnTo>
                  <a:lnTo>
                    <a:pt x="150" y="228"/>
                  </a:lnTo>
                  <a:lnTo>
                    <a:pt x="154" y="230"/>
                  </a:lnTo>
                  <a:lnTo>
                    <a:pt x="156" y="232"/>
                  </a:lnTo>
                  <a:lnTo>
                    <a:pt x="158" y="232"/>
                  </a:lnTo>
                  <a:lnTo>
                    <a:pt x="166" y="238"/>
                  </a:lnTo>
                  <a:lnTo>
                    <a:pt x="176" y="244"/>
                  </a:lnTo>
                  <a:lnTo>
                    <a:pt x="196" y="260"/>
                  </a:lnTo>
                  <a:lnTo>
                    <a:pt x="208" y="266"/>
                  </a:lnTo>
                  <a:lnTo>
                    <a:pt x="218" y="274"/>
                  </a:lnTo>
                  <a:lnTo>
                    <a:pt x="224" y="276"/>
                  </a:lnTo>
                  <a:lnTo>
                    <a:pt x="228" y="280"/>
                  </a:lnTo>
                  <a:lnTo>
                    <a:pt x="232" y="282"/>
                  </a:lnTo>
                  <a:lnTo>
                    <a:pt x="236" y="284"/>
                  </a:lnTo>
                  <a:lnTo>
                    <a:pt x="246" y="288"/>
                  </a:lnTo>
                  <a:lnTo>
                    <a:pt x="250" y="290"/>
                  </a:lnTo>
                  <a:lnTo>
                    <a:pt x="256" y="292"/>
                  </a:lnTo>
                  <a:lnTo>
                    <a:pt x="262" y="294"/>
                  </a:lnTo>
                  <a:lnTo>
                    <a:pt x="264" y="296"/>
                  </a:lnTo>
                  <a:lnTo>
                    <a:pt x="268" y="296"/>
                  </a:lnTo>
                  <a:lnTo>
                    <a:pt x="270" y="296"/>
                  </a:lnTo>
                  <a:lnTo>
                    <a:pt x="272" y="298"/>
                  </a:lnTo>
                  <a:lnTo>
                    <a:pt x="274" y="298"/>
                  </a:lnTo>
                  <a:lnTo>
                    <a:pt x="276" y="296"/>
                  </a:lnTo>
                  <a:lnTo>
                    <a:pt x="278" y="296"/>
                  </a:lnTo>
                  <a:lnTo>
                    <a:pt x="278" y="296"/>
                  </a:lnTo>
                  <a:lnTo>
                    <a:pt x="280" y="296"/>
                  </a:lnTo>
                  <a:lnTo>
                    <a:pt x="282" y="294"/>
                  </a:lnTo>
                  <a:lnTo>
                    <a:pt x="284" y="292"/>
                  </a:lnTo>
                  <a:lnTo>
                    <a:pt x="286" y="290"/>
                  </a:lnTo>
                  <a:lnTo>
                    <a:pt x="288" y="290"/>
                  </a:lnTo>
                  <a:lnTo>
                    <a:pt x="290" y="288"/>
                  </a:lnTo>
                  <a:lnTo>
                    <a:pt x="290" y="288"/>
                  </a:lnTo>
                  <a:lnTo>
                    <a:pt x="290" y="288"/>
                  </a:lnTo>
                  <a:lnTo>
                    <a:pt x="292" y="288"/>
                  </a:lnTo>
                  <a:lnTo>
                    <a:pt x="294" y="288"/>
                  </a:lnTo>
                  <a:lnTo>
                    <a:pt x="296" y="290"/>
                  </a:lnTo>
                  <a:lnTo>
                    <a:pt x="296" y="290"/>
                  </a:lnTo>
                  <a:lnTo>
                    <a:pt x="300" y="292"/>
                  </a:lnTo>
                  <a:lnTo>
                    <a:pt x="302" y="292"/>
                  </a:lnTo>
                  <a:lnTo>
                    <a:pt x="302" y="294"/>
                  </a:lnTo>
                  <a:lnTo>
                    <a:pt x="306" y="294"/>
                  </a:lnTo>
                  <a:lnTo>
                    <a:pt x="310" y="296"/>
                  </a:lnTo>
                  <a:lnTo>
                    <a:pt x="314" y="296"/>
                  </a:lnTo>
                  <a:lnTo>
                    <a:pt x="316" y="298"/>
                  </a:lnTo>
                  <a:lnTo>
                    <a:pt x="318" y="298"/>
                  </a:lnTo>
                  <a:lnTo>
                    <a:pt x="318" y="300"/>
                  </a:lnTo>
                  <a:lnTo>
                    <a:pt x="320" y="300"/>
                  </a:lnTo>
                  <a:lnTo>
                    <a:pt x="322" y="302"/>
                  </a:lnTo>
                  <a:lnTo>
                    <a:pt x="324" y="306"/>
                  </a:lnTo>
                  <a:lnTo>
                    <a:pt x="326" y="308"/>
                  </a:lnTo>
                  <a:lnTo>
                    <a:pt x="328" y="312"/>
                  </a:lnTo>
                  <a:lnTo>
                    <a:pt x="330" y="314"/>
                  </a:lnTo>
                  <a:lnTo>
                    <a:pt x="330" y="312"/>
                  </a:lnTo>
                  <a:lnTo>
                    <a:pt x="332" y="306"/>
                  </a:lnTo>
                  <a:lnTo>
                    <a:pt x="332" y="304"/>
                  </a:lnTo>
                  <a:lnTo>
                    <a:pt x="334" y="300"/>
                  </a:lnTo>
                  <a:lnTo>
                    <a:pt x="334" y="298"/>
                  </a:lnTo>
                  <a:lnTo>
                    <a:pt x="336" y="296"/>
                  </a:lnTo>
                  <a:lnTo>
                    <a:pt x="336" y="296"/>
                  </a:lnTo>
                  <a:lnTo>
                    <a:pt x="336" y="296"/>
                  </a:lnTo>
                  <a:lnTo>
                    <a:pt x="336" y="296"/>
                  </a:lnTo>
                  <a:lnTo>
                    <a:pt x="338" y="294"/>
                  </a:lnTo>
                  <a:lnTo>
                    <a:pt x="340" y="294"/>
                  </a:lnTo>
                  <a:lnTo>
                    <a:pt x="342" y="294"/>
                  </a:lnTo>
                  <a:lnTo>
                    <a:pt x="344" y="294"/>
                  </a:lnTo>
                  <a:lnTo>
                    <a:pt x="346" y="294"/>
                  </a:lnTo>
                  <a:lnTo>
                    <a:pt x="348" y="294"/>
                  </a:lnTo>
                  <a:lnTo>
                    <a:pt x="348" y="292"/>
                  </a:lnTo>
                  <a:lnTo>
                    <a:pt x="348" y="292"/>
                  </a:lnTo>
                  <a:lnTo>
                    <a:pt x="348" y="292"/>
                  </a:lnTo>
                  <a:lnTo>
                    <a:pt x="350" y="290"/>
                  </a:lnTo>
                  <a:lnTo>
                    <a:pt x="350" y="290"/>
                  </a:lnTo>
                  <a:lnTo>
                    <a:pt x="350" y="288"/>
                  </a:lnTo>
                  <a:lnTo>
                    <a:pt x="350" y="286"/>
                  </a:lnTo>
                  <a:lnTo>
                    <a:pt x="350" y="284"/>
                  </a:lnTo>
                  <a:lnTo>
                    <a:pt x="350" y="280"/>
                  </a:lnTo>
                  <a:lnTo>
                    <a:pt x="350" y="278"/>
                  </a:lnTo>
                  <a:lnTo>
                    <a:pt x="350" y="278"/>
                  </a:lnTo>
                  <a:lnTo>
                    <a:pt x="350" y="276"/>
                  </a:lnTo>
                  <a:lnTo>
                    <a:pt x="350" y="276"/>
                  </a:lnTo>
                  <a:lnTo>
                    <a:pt x="350" y="274"/>
                  </a:lnTo>
                  <a:lnTo>
                    <a:pt x="352" y="274"/>
                  </a:lnTo>
                  <a:lnTo>
                    <a:pt x="352" y="272"/>
                  </a:lnTo>
                  <a:lnTo>
                    <a:pt x="354" y="272"/>
                  </a:lnTo>
                  <a:lnTo>
                    <a:pt x="356" y="270"/>
                  </a:lnTo>
                  <a:lnTo>
                    <a:pt x="360" y="270"/>
                  </a:lnTo>
                  <a:lnTo>
                    <a:pt x="364" y="268"/>
                  </a:lnTo>
                  <a:lnTo>
                    <a:pt x="368" y="266"/>
                  </a:lnTo>
                  <a:lnTo>
                    <a:pt x="370" y="266"/>
                  </a:lnTo>
                  <a:lnTo>
                    <a:pt x="374" y="264"/>
                  </a:lnTo>
                  <a:lnTo>
                    <a:pt x="376" y="264"/>
                  </a:lnTo>
                  <a:lnTo>
                    <a:pt x="380" y="262"/>
                  </a:lnTo>
                  <a:lnTo>
                    <a:pt x="382" y="262"/>
                  </a:lnTo>
                  <a:lnTo>
                    <a:pt x="384" y="260"/>
                  </a:lnTo>
                  <a:lnTo>
                    <a:pt x="386" y="260"/>
                  </a:lnTo>
                  <a:lnTo>
                    <a:pt x="392" y="256"/>
                  </a:lnTo>
                  <a:lnTo>
                    <a:pt x="398" y="252"/>
                  </a:lnTo>
                  <a:lnTo>
                    <a:pt x="400" y="250"/>
                  </a:lnTo>
                  <a:lnTo>
                    <a:pt x="404" y="248"/>
                  </a:lnTo>
                  <a:lnTo>
                    <a:pt x="406" y="244"/>
                  </a:lnTo>
                  <a:lnTo>
                    <a:pt x="408" y="242"/>
                  </a:lnTo>
                  <a:lnTo>
                    <a:pt x="408" y="240"/>
                  </a:lnTo>
                  <a:lnTo>
                    <a:pt x="408" y="240"/>
                  </a:lnTo>
                  <a:lnTo>
                    <a:pt x="410" y="238"/>
                  </a:lnTo>
                  <a:lnTo>
                    <a:pt x="410" y="238"/>
                  </a:lnTo>
                  <a:lnTo>
                    <a:pt x="410" y="238"/>
                  </a:lnTo>
                  <a:lnTo>
                    <a:pt x="410" y="234"/>
                  </a:lnTo>
                  <a:lnTo>
                    <a:pt x="408" y="232"/>
                  </a:lnTo>
                  <a:lnTo>
                    <a:pt x="408" y="230"/>
                  </a:lnTo>
                  <a:lnTo>
                    <a:pt x="408" y="226"/>
                  </a:lnTo>
                  <a:lnTo>
                    <a:pt x="408" y="224"/>
                  </a:lnTo>
                  <a:lnTo>
                    <a:pt x="408" y="222"/>
                  </a:lnTo>
                  <a:lnTo>
                    <a:pt x="408" y="222"/>
                  </a:lnTo>
                  <a:lnTo>
                    <a:pt x="408" y="220"/>
                  </a:lnTo>
                  <a:lnTo>
                    <a:pt x="408" y="220"/>
                  </a:lnTo>
                  <a:lnTo>
                    <a:pt x="408" y="220"/>
                  </a:lnTo>
                  <a:lnTo>
                    <a:pt x="410" y="220"/>
                  </a:lnTo>
                  <a:lnTo>
                    <a:pt x="412" y="218"/>
                  </a:lnTo>
                  <a:lnTo>
                    <a:pt x="414" y="218"/>
                  </a:lnTo>
                  <a:lnTo>
                    <a:pt x="414" y="216"/>
                  </a:lnTo>
                  <a:lnTo>
                    <a:pt x="414" y="216"/>
                  </a:lnTo>
                  <a:lnTo>
                    <a:pt x="414" y="216"/>
                  </a:lnTo>
                  <a:lnTo>
                    <a:pt x="414" y="214"/>
                  </a:lnTo>
                  <a:lnTo>
                    <a:pt x="414" y="212"/>
                  </a:lnTo>
                  <a:lnTo>
                    <a:pt x="414" y="210"/>
                  </a:lnTo>
                  <a:lnTo>
                    <a:pt x="414" y="208"/>
                  </a:lnTo>
                  <a:lnTo>
                    <a:pt x="414" y="206"/>
                  </a:lnTo>
                  <a:lnTo>
                    <a:pt x="412" y="204"/>
                  </a:lnTo>
                  <a:lnTo>
                    <a:pt x="412" y="202"/>
                  </a:lnTo>
                  <a:lnTo>
                    <a:pt x="412" y="202"/>
                  </a:lnTo>
                  <a:lnTo>
                    <a:pt x="410" y="202"/>
                  </a:lnTo>
                  <a:lnTo>
                    <a:pt x="410" y="200"/>
                  </a:lnTo>
                  <a:lnTo>
                    <a:pt x="408" y="200"/>
                  </a:lnTo>
                  <a:lnTo>
                    <a:pt x="406" y="198"/>
                  </a:lnTo>
                  <a:lnTo>
                    <a:pt x="404" y="198"/>
                  </a:lnTo>
                  <a:lnTo>
                    <a:pt x="402" y="198"/>
                  </a:lnTo>
                  <a:lnTo>
                    <a:pt x="400" y="198"/>
                  </a:lnTo>
                  <a:lnTo>
                    <a:pt x="398" y="198"/>
                  </a:lnTo>
                  <a:lnTo>
                    <a:pt x="396" y="198"/>
                  </a:lnTo>
                  <a:lnTo>
                    <a:pt x="390" y="198"/>
                  </a:lnTo>
                  <a:lnTo>
                    <a:pt x="386" y="198"/>
                  </a:lnTo>
                  <a:lnTo>
                    <a:pt x="382" y="198"/>
                  </a:lnTo>
                  <a:lnTo>
                    <a:pt x="380" y="198"/>
                  </a:lnTo>
                  <a:lnTo>
                    <a:pt x="380" y="198"/>
                  </a:lnTo>
                  <a:lnTo>
                    <a:pt x="378" y="200"/>
                  </a:lnTo>
                  <a:lnTo>
                    <a:pt x="376" y="200"/>
                  </a:lnTo>
                  <a:lnTo>
                    <a:pt x="374" y="202"/>
                  </a:lnTo>
                  <a:lnTo>
                    <a:pt x="372" y="204"/>
                  </a:lnTo>
                  <a:lnTo>
                    <a:pt x="370" y="206"/>
                  </a:lnTo>
                  <a:lnTo>
                    <a:pt x="368" y="206"/>
                  </a:lnTo>
                  <a:lnTo>
                    <a:pt x="366" y="208"/>
                  </a:lnTo>
                  <a:lnTo>
                    <a:pt x="366" y="210"/>
                  </a:lnTo>
                  <a:lnTo>
                    <a:pt x="364" y="212"/>
                  </a:lnTo>
                  <a:lnTo>
                    <a:pt x="364" y="214"/>
                  </a:lnTo>
                  <a:lnTo>
                    <a:pt x="362" y="214"/>
                  </a:lnTo>
                  <a:lnTo>
                    <a:pt x="362" y="216"/>
                  </a:lnTo>
                  <a:lnTo>
                    <a:pt x="360" y="222"/>
                  </a:lnTo>
                  <a:lnTo>
                    <a:pt x="358" y="226"/>
                  </a:lnTo>
                  <a:lnTo>
                    <a:pt x="356" y="230"/>
                  </a:lnTo>
                  <a:lnTo>
                    <a:pt x="354" y="234"/>
                  </a:lnTo>
                  <a:lnTo>
                    <a:pt x="354" y="236"/>
                  </a:lnTo>
                  <a:lnTo>
                    <a:pt x="352" y="238"/>
                  </a:lnTo>
                  <a:lnTo>
                    <a:pt x="352" y="240"/>
                  </a:lnTo>
                  <a:lnTo>
                    <a:pt x="350" y="240"/>
                  </a:lnTo>
                  <a:lnTo>
                    <a:pt x="350" y="240"/>
                  </a:lnTo>
                  <a:lnTo>
                    <a:pt x="348" y="242"/>
                  </a:lnTo>
                  <a:lnTo>
                    <a:pt x="346" y="242"/>
                  </a:lnTo>
                  <a:lnTo>
                    <a:pt x="342" y="244"/>
                  </a:lnTo>
                  <a:lnTo>
                    <a:pt x="340" y="244"/>
                  </a:lnTo>
                  <a:lnTo>
                    <a:pt x="336" y="246"/>
                  </a:lnTo>
                  <a:lnTo>
                    <a:pt x="332" y="246"/>
                  </a:lnTo>
                  <a:lnTo>
                    <a:pt x="328" y="246"/>
                  </a:lnTo>
                  <a:lnTo>
                    <a:pt x="320" y="248"/>
                  </a:lnTo>
                  <a:lnTo>
                    <a:pt x="316" y="248"/>
                  </a:lnTo>
                  <a:lnTo>
                    <a:pt x="312" y="248"/>
                  </a:lnTo>
                  <a:lnTo>
                    <a:pt x="308" y="248"/>
                  </a:lnTo>
                  <a:lnTo>
                    <a:pt x="302" y="248"/>
                  </a:lnTo>
                  <a:lnTo>
                    <a:pt x="300" y="248"/>
                  </a:lnTo>
                  <a:lnTo>
                    <a:pt x="298" y="248"/>
                  </a:lnTo>
                  <a:lnTo>
                    <a:pt x="296" y="248"/>
                  </a:lnTo>
                  <a:lnTo>
                    <a:pt x="292" y="246"/>
                  </a:lnTo>
                  <a:lnTo>
                    <a:pt x="290" y="246"/>
                  </a:lnTo>
                  <a:lnTo>
                    <a:pt x="286" y="244"/>
                  </a:lnTo>
                  <a:lnTo>
                    <a:pt x="282" y="242"/>
                  </a:lnTo>
                  <a:lnTo>
                    <a:pt x="280" y="238"/>
                  </a:lnTo>
                  <a:lnTo>
                    <a:pt x="276" y="236"/>
                  </a:lnTo>
                  <a:lnTo>
                    <a:pt x="274" y="234"/>
                  </a:lnTo>
                  <a:lnTo>
                    <a:pt x="272" y="232"/>
                  </a:lnTo>
                  <a:lnTo>
                    <a:pt x="272" y="232"/>
                  </a:lnTo>
                  <a:lnTo>
                    <a:pt x="270" y="230"/>
                  </a:lnTo>
                  <a:lnTo>
                    <a:pt x="270" y="228"/>
                  </a:lnTo>
                  <a:lnTo>
                    <a:pt x="270" y="226"/>
                  </a:lnTo>
                  <a:lnTo>
                    <a:pt x="268" y="222"/>
                  </a:lnTo>
                  <a:lnTo>
                    <a:pt x="268" y="220"/>
                  </a:lnTo>
                  <a:lnTo>
                    <a:pt x="268" y="218"/>
                  </a:lnTo>
                  <a:lnTo>
                    <a:pt x="266" y="212"/>
                  </a:lnTo>
                  <a:lnTo>
                    <a:pt x="266" y="200"/>
                  </a:lnTo>
                  <a:lnTo>
                    <a:pt x="266" y="194"/>
                  </a:lnTo>
                  <a:lnTo>
                    <a:pt x="264" y="192"/>
                  </a:lnTo>
                  <a:lnTo>
                    <a:pt x="264" y="190"/>
                  </a:lnTo>
                  <a:lnTo>
                    <a:pt x="264" y="186"/>
                  </a:lnTo>
                  <a:lnTo>
                    <a:pt x="262" y="184"/>
                  </a:lnTo>
                  <a:lnTo>
                    <a:pt x="260" y="176"/>
                  </a:lnTo>
                  <a:lnTo>
                    <a:pt x="258" y="172"/>
                  </a:lnTo>
                  <a:lnTo>
                    <a:pt x="258" y="168"/>
                  </a:lnTo>
                  <a:lnTo>
                    <a:pt x="258" y="164"/>
                  </a:lnTo>
                  <a:lnTo>
                    <a:pt x="258" y="162"/>
                  </a:lnTo>
                  <a:lnTo>
                    <a:pt x="256" y="160"/>
                  </a:lnTo>
                  <a:lnTo>
                    <a:pt x="258" y="158"/>
                  </a:lnTo>
                  <a:lnTo>
                    <a:pt x="258" y="156"/>
                  </a:lnTo>
                  <a:lnTo>
                    <a:pt x="258" y="154"/>
                  </a:lnTo>
                  <a:lnTo>
                    <a:pt x="260" y="150"/>
                  </a:lnTo>
                  <a:lnTo>
                    <a:pt x="262" y="144"/>
                  </a:lnTo>
                  <a:lnTo>
                    <a:pt x="262" y="142"/>
                  </a:lnTo>
                  <a:lnTo>
                    <a:pt x="264" y="140"/>
                  </a:lnTo>
                  <a:lnTo>
                    <a:pt x="264" y="134"/>
                  </a:lnTo>
                  <a:lnTo>
                    <a:pt x="266" y="128"/>
                  </a:lnTo>
                  <a:lnTo>
                    <a:pt x="266" y="12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8" name="Freeform 523">
              <a:extLst>
                <a:ext uri="{FF2B5EF4-FFF2-40B4-BE49-F238E27FC236}">
                  <a16:creationId xmlns:a16="http://schemas.microsoft.com/office/drawing/2014/main" id="{7F1BFF5B-DB79-45C3-A899-6351E7865192}"/>
                </a:ext>
              </a:extLst>
            </p:cNvPr>
            <p:cNvSpPr>
              <a:spLocks/>
            </p:cNvSpPr>
            <p:nvPr/>
          </p:nvSpPr>
          <p:spPr bwMode="auto">
            <a:xfrm>
              <a:off x="1414752" y="3693570"/>
              <a:ext cx="717079" cy="543872"/>
            </a:xfrm>
            <a:custGeom>
              <a:avLst/>
              <a:gdLst>
                <a:gd name="T0" fmla="*/ 246 w 414"/>
                <a:gd name="T1" fmla="*/ 120 h 314"/>
                <a:gd name="T2" fmla="*/ 242 w 414"/>
                <a:gd name="T3" fmla="*/ 100 h 314"/>
                <a:gd name="T4" fmla="*/ 230 w 414"/>
                <a:gd name="T5" fmla="*/ 90 h 314"/>
                <a:gd name="T6" fmla="*/ 220 w 414"/>
                <a:gd name="T7" fmla="*/ 64 h 314"/>
                <a:gd name="T8" fmla="*/ 202 w 414"/>
                <a:gd name="T9" fmla="*/ 50 h 314"/>
                <a:gd name="T10" fmla="*/ 198 w 414"/>
                <a:gd name="T11" fmla="*/ 70 h 314"/>
                <a:gd name="T12" fmla="*/ 180 w 414"/>
                <a:gd name="T13" fmla="*/ 68 h 314"/>
                <a:gd name="T14" fmla="*/ 174 w 414"/>
                <a:gd name="T15" fmla="*/ 46 h 314"/>
                <a:gd name="T16" fmla="*/ 166 w 414"/>
                <a:gd name="T17" fmla="*/ 38 h 314"/>
                <a:gd name="T18" fmla="*/ 160 w 414"/>
                <a:gd name="T19" fmla="*/ 28 h 314"/>
                <a:gd name="T20" fmla="*/ 152 w 414"/>
                <a:gd name="T21" fmla="*/ 16 h 314"/>
                <a:gd name="T22" fmla="*/ 140 w 414"/>
                <a:gd name="T23" fmla="*/ 18 h 314"/>
                <a:gd name="T24" fmla="*/ 126 w 414"/>
                <a:gd name="T25" fmla="*/ 22 h 314"/>
                <a:gd name="T26" fmla="*/ 120 w 414"/>
                <a:gd name="T27" fmla="*/ 32 h 314"/>
                <a:gd name="T28" fmla="*/ 90 w 414"/>
                <a:gd name="T29" fmla="*/ 36 h 314"/>
                <a:gd name="T30" fmla="*/ 62 w 414"/>
                <a:gd name="T31" fmla="*/ 30 h 314"/>
                <a:gd name="T32" fmla="*/ 36 w 414"/>
                <a:gd name="T33" fmla="*/ 12 h 314"/>
                <a:gd name="T34" fmla="*/ 26 w 414"/>
                <a:gd name="T35" fmla="*/ 0 h 314"/>
                <a:gd name="T36" fmla="*/ 0 w 414"/>
                <a:gd name="T37" fmla="*/ 28 h 314"/>
                <a:gd name="T38" fmla="*/ 16 w 414"/>
                <a:gd name="T39" fmla="*/ 54 h 314"/>
                <a:gd name="T40" fmla="*/ 28 w 414"/>
                <a:gd name="T41" fmla="*/ 84 h 314"/>
                <a:gd name="T42" fmla="*/ 18 w 414"/>
                <a:gd name="T43" fmla="*/ 94 h 314"/>
                <a:gd name="T44" fmla="*/ 40 w 414"/>
                <a:gd name="T45" fmla="*/ 110 h 314"/>
                <a:gd name="T46" fmla="*/ 58 w 414"/>
                <a:gd name="T47" fmla="*/ 128 h 314"/>
                <a:gd name="T48" fmla="*/ 64 w 414"/>
                <a:gd name="T49" fmla="*/ 154 h 314"/>
                <a:gd name="T50" fmla="*/ 90 w 414"/>
                <a:gd name="T51" fmla="*/ 180 h 314"/>
                <a:gd name="T52" fmla="*/ 100 w 414"/>
                <a:gd name="T53" fmla="*/ 172 h 314"/>
                <a:gd name="T54" fmla="*/ 78 w 414"/>
                <a:gd name="T55" fmla="*/ 128 h 314"/>
                <a:gd name="T56" fmla="*/ 48 w 414"/>
                <a:gd name="T57" fmla="*/ 80 h 314"/>
                <a:gd name="T58" fmla="*/ 28 w 414"/>
                <a:gd name="T59" fmla="*/ 30 h 314"/>
                <a:gd name="T60" fmla="*/ 36 w 414"/>
                <a:gd name="T61" fmla="*/ 24 h 314"/>
                <a:gd name="T62" fmla="*/ 60 w 414"/>
                <a:gd name="T63" fmla="*/ 46 h 314"/>
                <a:gd name="T64" fmla="*/ 66 w 414"/>
                <a:gd name="T65" fmla="*/ 74 h 314"/>
                <a:gd name="T66" fmla="*/ 80 w 414"/>
                <a:gd name="T67" fmla="*/ 94 h 314"/>
                <a:gd name="T68" fmla="*/ 98 w 414"/>
                <a:gd name="T69" fmla="*/ 112 h 314"/>
                <a:gd name="T70" fmla="*/ 96 w 414"/>
                <a:gd name="T71" fmla="*/ 126 h 314"/>
                <a:gd name="T72" fmla="*/ 110 w 414"/>
                <a:gd name="T73" fmla="*/ 132 h 314"/>
                <a:gd name="T74" fmla="*/ 112 w 414"/>
                <a:gd name="T75" fmla="*/ 150 h 314"/>
                <a:gd name="T76" fmla="*/ 128 w 414"/>
                <a:gd name="T77" fmla="*/ 158 h 314"/>
                <a:gd name="T78" fmla="*/ 130 w 414"/>
                <a:gd name="T79" fmla="*/ 172 h 314"/>
                <a:gd name="T80" fmla="*/ 142 w 414"/>
                <a:gd name="T81" fmla="*/ 174 h 314"/>
                <a:gd name="T82" fmla="*/ 146 w 414"/>
                <a:gd name="T83" fmla="*/ 200 h 314"/>
                <a:gd name="T84" fmla="*/ 144 w 414"/>
                <a:gd name="T85" fmla="*/ 220 h 314"/>
                <a:gd name="T86" fmla="*/ 156 w 414"/>
                <a:gd name="T87" fmla="*/ 232 h 314"/>
                <a:gd name="T88" fmla="*/ 250 w 414"/>
                <a:gd name="T89" fmla="*/ 290 h 314"/>
                <a:gd name="T90" fmla="*/ 282 w 414"/>
                <a:gd name="T91" fmla="*/ 294 h 314"/>
                <a:gd name="T92" fmla="*/ 302 w 414"/>
                <a:gd name="T93" fmla="*/ 292 h 314"/>
                <a:gd name="T94" fmla="*/ 328 w 414"/>
                <a:gd name="T95" fmla="*/ 312 h 314"/>
                <a:gd name="T96" fmla="*/ 340 w 414"/>
                <a:gd name="T97" fmla="*/ 294 h 314"/>
                <a:gd name="T98" fmla="*/ 350 w 414"/>
                <a:gd name="T99" fmla="*/ 284 h 314"/>
                <a:gd name="T100" fmla="*/ 364 w 414"/>
                <a:gd name="T101" fmla="*/ 268 h 314"/>
                <a:gd name="T102" fmla="*/ 404 w 414"/>
                <a:gd name="T103" fmla="*/ 248 h 314"/>
                <a:gd name="T104" fmla="*/ 408 w 414"/>
                <a:gd name="T105" fmla="*/ 224 h 314"/>
                <a:gd name="T106" fmla="*/ 414 w 414"/>
                <a:gd name="T107" fmla="*/ 214 h 314"/>
                <a:gd name="T108" fmla="*/ 404 w 414"/>
                <a:gd name="T109" fmla="*/ 198 h 314"/>
                <a:gd name="T110" fmla="*/ 374 w 414"/>
                <a:gd name="T111" fmla="*/ 202 h 314"/>
                <a:gd name="T112" fmla="*/ 356 w 414"/>
                <a:gd name="T113" fmla="*/ 230 h 314"/>
                <a:gd name="T114" fmla="*/ 332 w 414"/>
                <a:gd name="T115" fmla="*/ 246 h 314"/>
                <a:gd name="T116" fmla="*/ 286 w 414"/>
                <a:gd name="T117" fmla="*/ 244 h 314"/>
                <a:gd name="T118" fmla="*/ 268 w 414"/>
                <a:gd name="T119" fmla="*/ 218 h 314"/>
                <a:gd name="T120" fmla="*/ 258 w 414"/>
                <a:gd name="T121" fmla="*/ 16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 h="314">
                  <a:moveTo>
                    <a:pt x="266" y="120"/>
                  </a:moveTo>
                  <a:lnTo>
                    <a:pt x="266" y="120"/>
                  </a:lnTo>
                  <a:lnTo>
                    <a:pt x="264" y="122"/>
                  </a:lnTo>
                  <a:lnTo>
                    <a:pt x="262" y="122"/>
                  </a:lnTo>
                  <a:lnTo>
                    <a:pt x="258" y="122"/>
                  </a:lnTo>
                  <a:lnTo>
                    <a:pt x="254" y="122"/>
                  </a:lnTo>
                  <a:lnTo>
                    <a:pt x="252" y="122"/>
                  </a:lnTo>
                  <a:lnTo>
                    <a:pt x="250" y="122"/>
                  </a:lnTo>
                  <a:lnTo>
                    <a:pt x="248" y="122"/>
                  </a:lnTo>
                  <a:lnTo>
                    <a:pt x="248" y="122"/>
                  </a:lnTo>
                  <a:lnTo>
                    <a:pt x="246" y="120"/>
                  </a:lnTo>
                  <a:lnTo>
                    <a:pt x="246" y="120"/>
                  </a:lnTo>
                  <a:lnTo>
                    <a:pt x="246" y="118"/>
                  </a:lnTo>
                  <a:lnTo>
                    <a:pt x="246" y="118"/>
                  </a:lnTo>
                  <a:lnTo>
                    <a:pt x="246" y="116"/>
                  </a:lnTo>
                  <a:lnTo>
                    <a:pt x="244" y="114"/>
                  </a:lnTo>
                  <a:lnTo>
                    <a:pt x="244" y="110"/>
                  </a:lnTo>
                  <a:lnTo>
                    <a:pt x="244" y="108"/>
                  </a:lnTo>
                  <a:lnTo>
                    <a:pt x="244" y="104"/>
                  </a:lnTo>
                  <a:lnTo>
                    <a:pt x="244" y="104"/>
                  </a:lnTo>
                  <a:lnTo>
                    <a:pt x="244" y="102"/>
                  </a:lnTo>
                  <a:lnTo>
                    <a:pt x="244" y="102"/>
                  </a:lnTo>
                  <a:lnTo>
                    <a:pt x="242" y="100"/>
                  </a:lnTo>
                  <a:lnTo>
                    <a:pt x="242" y="100"/>
                  </a:lnTo>
                  <a:lnTo>
                    <a:pt x="242" y="100"/>
                  </a:lnTo>
                  <a:lnTo>
                    <a:pt x="240" y="98"/>
                  </a:lnTo>
                  <a:lnTo>
                    <a:pt x="238" y="98"/>
                  </a:lnTo>
                  <a:lnTo>
                    <a:pt x="236" y="98"/>
                  </a:lnTo>
                  <a:lnTo>
                    <a:pt x="234" y="96"/>
                  </a:lnTo>
                  <a:lnTo>
                    <a:pt x="232" y="96"/>
                  </a:lnTo>
                  <a:lnTo>
                    <a:pt x="232" y="94"/>
                  </a:lnTo>
                  <a:lnTo>
                    <a:pt x="230" y="94"/>
                  </a:lnTo>
                  <a:lnTo>
                    <a:pt x="230" y="94"/>
                  </a:lnTo>
                  <a:lnTo>
                    <a:pt x="230" y="94"/>
                  </a:lnTo>
                  <a:lnTo>
                    <a:pt x="230" y="92"/>
                  </a:lnTo>
                  <a:lnTo>
                    <a:pt x="230" y="90"/>
                  </a:lnTo>
                  <a:lnTo>
                    <a:pt x="228" y="90"/>
                  </a:lnTo>
                  <a:lnTo>
                    <a:pt x="228" y="86"/>
                  </a:lnTo>
                  <a:lnTo>
                    <a:pt x="228" y="84"/>
                  </a:lnTo>
                  <a:lnTo>
                    <a:pt x="228" y="80"/>
                  </a:lnTo>
                  <a:lnTo>
                    <a:pt x="228" y="78"/>
                  </a:lnTo>
                  <a:lnTo>
                    <a:pt x="228" y="74"/>
                  </a:lnTo>
                  <a:lnTo>
                    <a:pt x="226" y="74"/>
                  </a:lnTo>
                  <a:lnTo>
                    <a:pt x="226" y="72"/>
                  </a:lnTo>
                  <a:lnTo>
                    <a:pt x="226" y="72"/>
                  </a:lnTo>
                  <a:lnTo>
                    <a:pt x="224" y="70"/>
                  </a:lnTo>
                  <a:lnTo>
                    <a:pt x="222" y="66"/>
                  </a:lnTo>
                  <a:lnTo>
                    <a:pt x="220" y="64"/>
                  </a:lnTo>
                  <a:lnTo>
                    <a:pt x="218" y="62"/>
                  </a:lnTo>
                  <a:lnTo>
                    <a:pt x="214" y="58"/>
                  </a:lnTo>
                  <a:lnTo>
                    <a:pt x="212" y="56"/>
                  </a:lnTo>
                  <a:lnTo>
                    <a:pt x="210" y="54"/>
                  </a:lnTo>
                  <a:lnTo>
                    <a:pt x="208" y="52"/>
                  </a:lnTo>
                  <a:lnTo>
                    <a:pt x="208" y="52"/>
                  </a:lnTo>
                  <a:lnTo>
                    <a:pt x="206" y="50"/>
                  </a:lnTo>
                  <a:lnTo>
                    <a:pt x="206" y="50"/>
                  </a:lnTo>
                  <a:lnTo>
                    <a:pt x="204" y="50"/>
                  </a:lnTo>
                  <a:lnTo>
                    <a:pt x="204" y="50"/>
                  </a:lnTo>
                  <a:lnTo>
                    <a:pt x="202" y="50"/>
                  </a:lnTo>
                  <a:lnTo>
                    <a:pt x="202" y="50"/>
                  </a:lnTo>
                  <a:lnTo>
                    <a:pt x="202" y="52"/>
                  </a:lnTo>
                  <a:lnTo>
                    <a:pt x="200" y="52"/>
                  </a:lnTo>
                  <a:lnTo>
                    <a:pt x="200" y="54"/>
                  </a:lnTo>
                  <a:lnTo>
                    <a:pt x="200" y="54"/>
                  </a:lnTo>
                  <a:lnTo>
                    <a:pt x="200" y="56"/>
                  </a:lnTo>
                  <a:lnTo>
                    <a:pt x="200" y="60"/>
                  </a:lnTo>
                  <a:lnTo>
                    <a:pt x="200" y="62"/>
                  </a:lnTo>
                  <a:lnTo>
                    <a:pt x="200" y="66"/>
                  </a:lnTo>
                  <a:lnTo>
                    <a:pt x="200" y="68"/>
                  </a:lnTo>
                  <a:lnTo>
                    <a:pt x="198" y="68"/>
                  </a:lnTo>
                  <a:lnTo>
                    <a:pt x="198" y="70"/>
                  </a:lnTo>
                  <a:lnTo>
                    <a:pt x="198" y="70"/>
                  </a:lnTo>
                  <a:lnTo>
                    <a:pt x="196" y="70"/>
                  </a:lnTo>
                  <a:lnTo>
                    <a:pt x="196" y="72"/>
                  </a:lnTo>
                  <a:lnTo>
                    <a:pt x="194" y="72"/>
                  </a:lnTo>
                  <a:lnTo>
                    <a:pt x="192" y="72"/>
                  </a:lnTo>
                  <a:lnTo>
                    <a:pt x="190" y="72"/>
                  </a:lnTo>
                  <a:lnTo>
                    <a:pt x="188" y="72"/>
                  </a:lnTo>
                  <a:lnTo>
                    <a:pt x="186" y="72"/>
                  </a:lnTo>
                  <a:lnTo>
                    <a:pt x="184" y="72"/>
                  </a:lnTo>
                  <a:lnTo>
                    <a:pt x="184" y="70"/>
                  </a:lnTo>
                  <a:lnTo>
                    <a:pt x="182" y="70"/>
                  </a:lnTo>
                  <a:lnTo>
                    <a:pt x="182" y="70"/>
                  </a:lnTo>
                  <a:lnTo>
                    <a:pt x="180" y="68"/>
                  </a:lnTo>
                  <a:lnTo>
                    <a:pt x="180" y="66"/>
                  </a:lnTo>
                  <a:lnTo>
                    <a:pt x="180" y="66"/>
                  </a:lnTo>
                  <a:lnTo>
                    <a:pt x="180" y="64"/>
                  </a:lnTo>
                  <a:lnTo>
                    <a:pt x="180" y="62"/>
                  </a:lnTo>
                  <a:lnTo>
                    <a:pt x="178" y="58"/>
                  </a:lnTo>
                  <a:lnTo>
                    <a:pt x="178" y="54"/>
                  </a:lnTo>
                  <a:lnTo>
                    <a:pt x="178" y="52"/>
                  </a:lnTo>
                  <a:lnTo>
                    <a:pt x="176" y="50"/>
                  </a:lnTo>
                  <a:lnTo>
                    <a:pt x="176" y="48"/>
                  </a:lnTo>
                  <a:lnTo>
                    <a:pt x="176" y="48"/>
                  </a:lnTo>
                  <a:lnTo>
                    <a:pt x="174" y="46"/>
                  </a:lnTo>
                  <a:lnTo>
                    <a:pt x="174" y="46"/>
                  </a:lnTo>
                  <a:lnTo>
                    <a:pt x="174" y="46"/>
                  </a:lnTo>
                  <a:lnTo>
                    <a:pt x="170" y="46"/>
                  </a:lnTo>
                  <a:lnTo>
                    <a:pt x="170" y="44"/>
                  </a:lnTo>
                  <a:lnTo>
                    <a:pt x="168" y="44"/>
                  </a:lnTo>
                  <a:lnTo>
                    <a:pt x="166" y="44"/>
                  </a:lnTo>
                  <a:lnTo>
                    <a:pt x="166" y="44"/>
                  </a:lnTo>
                  <a:lnTo>
                    <a:pt x="166" y="44"/>
                  </a:lnTo>
                  <a:lnTo>
                    <a:pt x="166" y="44"/>
                  </a:lnTo>
                  <a:lnTo>
                    <a:pt x="166" y="42"/>
                  </a:lnTo>
                  <a:lnTo>
                    <a:pt x="166" y="42"/>
                  </a:lnTo>
                  <a:lnTo>
                    <a:pt x="166" y="40"/>
                  </a:lnTo>
                  <a:lnTo>
                    <a:pt x="166" y="38"/>
                  </a:lnTo>
                  <a:lnTo>
                    <a:pt x="166" y="36"/>
                  </a:lnTo>
                  <a:lnTo>
                    <a:pt x="166" y="34"/>
                  </a:lnTo>
                  <a:lnTo>
                    <a:pt x="166" y="32"/>
                  </a:lnTo>
                  <a:lnTo>
                    <a:pt x="166" y="32"/>
                  </a:lnTo>
                  <a:lnTo>
                    <a:pt x="166" y="32"/>
                  </a:lnTo>
                  <a:lnTo>
                    <a:pt x="166" y="30"/>
                  </a:lnTo>
                  <a:lnTo>
                    <a:pt x="164" y="30"/>
                  </a:lnTo>
                  <a:lnTo>
                    <a:pt x="164" y="30"/>
                  </a:lnTo>
                  <a:lnTo>
                    <a:pt x="164" y="30"/>
                  </a:lnTo>
                  <a:lnTo>
                    <a:pt x="162" y="28"/>
                  </a:lnTo>
                  <a:lnTo>
                    <a:pt x="162" y="28"/>
                  </a:lnTo>
                  <a:lnTo>
                    <a:pt x="160" y="28"/>
                  </a:lnTo>
                  <a:lnTo>
                    <a:pt x="158" y="28"/>
                  </a:lnTo>
                  <a:lnTo>
                    <a:pt x="156" y="28"/>
                  </a:lnTo>
                  <a:lnTo>
                    <a:pt x="154" y="28"/>
                  </a:lnTo>
                  <a:lnTo>
                    <a:pt x="154" y="28"/>
                  </a:lnTo>
                  <a:lnTo>
                    <a:pt x="154" y="28"/>
                  </a:lnTo>
                  <a:lnTo>
                    <a:pt x="152" y="26"/>
                  </a:lnTo>
                  <a:lnTo>
                    <a:pt x="152" y="26"/>
                  </a:lnTo>
                  <a:lnTo>
                    <a:pt x="152" y="26"/>
                  </a:lnTo>
                  <a:lnTo>
                    <a:pt x="152" y="24"/>
                  </a:lnTo>
                  <a:lnTo>
                    <a:pt x="152" y="22"/>
                  </a:lnTo>
                  <a:lnTo>
                    <a:pt x="152" y="20"/>
                  </a:lnTo>
                  <a:lnTo>
                    <a:pt x="152" y="16"/>
                  </a:lnTo>
                  <a:lnTo>
                    <a:pt x="150" y="14"/>
                  </a:lnTo>
                  <a:lnTo>
                    <a:pt x="150" y="14"/>
                  </a:lnTo>
                  <a:lnTo>
                    <a:pt x="150" y="14"/>
                  </a:lnTo>
                  <a:lnTo>
                    <a:pt x="150" y="12"/>
                  </a:lnTo>
                  <a:lnTo>
                    <a:pt x="148" y="12"/>
                  </a:lnTo>
                  <a:lnTo>
                    <a:pt x="148" y="12"/>
                  </a:lnTo>
                  <a:lnTo>
                    <a:pt x="148" y="12"/>
                  </a:lnTo>
                  <a:lnTo>
                    <a:pt x="146" y="12"/>
                  </a:lnTo>
                  <a:lnTo>
                    <a:pt x="146" y="12"/>
                  </a:lnTo>
                  <a:lnTo>
                    <a:pt x="144" y="14"/>
                  </a:lnTo>
                  <a:lnTo>
                    <a:pt x="144" y="16"/>
                  </a:lnTo>
                  <a:lnTo>
                    <a:pt x="140" y="18"/>
                  </a:lnTo>
                  <a:lnTo>
                    <a:pt x="140" y="20"/>
                  </a:lnTo>
                  <a:lnTo>
                    <a:pt x="140" y="20"/>
                  </a:lnTo>
                  <a:lnTo>
                    <a:pt x="138" y="20"/>
                  </a:lnTo>
                  <a:lnTo>
                    <a:pt x="138" y="20"/>
                  </a:lnTo>
                  <a:lnTo>
                    <a:pt x="136" y="20"/>
                  </a:lnTo>
                  <a:lnTo>
                    <a:pt x="132" y="20"/>
                  </a:lnTo>
                  <a:lnTo>
                    <a:pt x="130" y="20"/>
                  </a:lnTo>
                  <a:lnTo>
                    <a:pt x="128" y="20"/>
                  </a:lnTo>
                  <a:lnTo>
                    <a:pt x="128" y="20"/>
                  </a:lnTo>
                  <a:lnTo>
                    <a:pt x="126" y="20"/>
                  </a:lnTo>
                  <a:lnTo>
                    <a:pt x="126" y="22"/>
                  </a:lnTo>
                  <a:lnTo>
                    <a:pt x="126" y="22"/>
                  </a:lnTo>
                  <a:lnTo>
                    <a:pt x="126" y="22"/>
                  </a:lnTo>
                  <a:lnTo>
                    <a:pt x="124" y="22"/>
                  </a:lnTo>
                  <a:lnTo>
                    <a:pt x="124" y="24"/>
                  </a:lnTo>
                  <a:lnTo>
                    <a:pt x="124" y="26"/>
                  </a:lnTo>
                  <a:lnTo>
                    <a:pt x="124" y="26"/>
                  </a:lnTo>
                  <a:lnTo>
                    <a:pt x="124" y="28"/>
                  </a:lnTo>
                  <a:lnTo>
                    <a:pt x="124" y="30"/>
                  </a:lnTo>
                  <a:lnTo>
                    <a:pt x="124" y="30"/>
                  </a:lnTo>
                  <a:lnTo>
                    <a:pt x="124" y="30"/>
                  </a:lnTo>
                  <a:lnTo>
                    <a:pt x="122" y="30"/>
                  </a:lnTo>
                  <a:lnTo>
                    <a:pt x="122" y="30"/>
                  </a:lnTo>
                  <a:lnTo>
                    <a:pt x="120" y="32"/>
                  </a:lnTo>
                  <a:lnTo>
                    <a:pt x="118" y="32"/>
                  </a:lnTo>
                  <a:lnTo>
                    <a:pt x="116" y="32"/>
                  </a:lnTo>
                  <a:lnTo>
                    <a:pt x="112" y="30"/>
                  </a:lnTo>
                  <a:lnTo>
                    <a:pt x="106" y="30"/>
                  </a:lnTo>
                  <a:lnTo>
                    <a:pt x="104" y="30"/>
                  </a:lnTo>
                  <a:lnTo>
                    <a:pt x="102" y="30"/>
                  </a:lnTo>
                  <a:lnTo>
                    <a:pt x="102" y="30"/>
                  </a:lnTo>
                  <a:lnTo>
                    <a:pt x="100" y="30"/>
                  </a:lnTo>
                  <a:lnTo>
                    <a:pt x="98" y="32"/>
                  </a:lnTo>
                  <a:lnTo>
                    <a:pt x="94" y="34"/>
                  </a:lnTo>
                  <a:lnTo>
                    <a:pt x="92" y="34"/>
                  </a:lnTo>
                  <a:lnTo>
                    <a:pt x="90" y="36"/>
                  </a:lnTo>
                  <a:lnTo>
                    <a:pt x="88" y="36"/>
                  </a:lnTo>
                  <a:lnTo>
                    <a:pt x="86" y="36"/>
                  </a:lnTo>
                  <a:lnTo>
                    <a:pt x="84" y="36"/>
                  </a:lnTo>
                  <a:lnTo>
                    <a:pt x="80" y="36"/>
                  </a:lnTo>
                  <a:lnTo>
                    <a:pt x="78" y="36"/>
                  </a:lnTo>
                  <a:lnTo>
                    <a:pt x="74" y="34"/>
                  </a:lnTo>
                  <a:lnTo>
                    <a:pt x="70" y="34"/>
                  </a:lnTo>
                  <a:lnTo>
                    <a:pt x="68" y="34"/>
                  </a:lnTo>
                  <a:lnTo>
                    <a:pt x="66" y="32"/>
                  </a:lnTo>
                  <a:lnTo>
                    <a:pt x="62" y="32"/>
                  </a:lnTo>
                  <a:lnTo>
                    <a:pt x="62" y="30"/>
                  </a:lnTo>
                  <a:lnTo>
                    <a:pt x="62" y="30"/>
                  </a:lnTo>
                  <a:lnTo>
                    <a:pt x="60" y="28"/>
                  </a:lnTo>
                  <a:lnTo>
                    <a:pt x="58" y="26"/>
                  </a:lnTo>
                  <a:lnTo>
                    <a:pt x="56" y="24"/>
                  </a:lnTo>
                  <a:lnTo>
                    <a:pt x="52" y="20"/>
                  </a:lnTo>
                  <a:lnTo>
                    <a:pt x="50" y="18"/>
                  </a:lnTo>
                  <a:lnTo>
                    <a:pt x="48" y="16"/>
                  </a:lnTo>
                  <a:lnTo>
                    <a:pt x="46" y="16"/>
                  </a:lnTo>
                  <a:lnTo>
                    <a:pt x="44" y="14"/>
                  </a:lnTo>
                  <a:lnTo>
                    <a:pt x="42" y="14"/>
                  </a:lnTo>
                  <a:lnTo>
                    <a:pt x="40" y="14"/>
                  </a:lnTo>
                  <a:lnTo>
                    <a:pt x="38" y="12"/>
                  </a:lnTo>
                  <a:lnTo>
                    <a:pt x="36" y="12"/>
                  </a:lnTo>
                  <a:lnTo>
                    <a:pt x="36" y="12"/>
                  </a:lnTo>
                  <a:lnTo>
                    <a:pt x="34" y="10"/>
                  </a:lnTo>
                  <a:lnTo>
                    <a:pt x="34" y="8"/>
                  </a:lnTo>
                  <a:lnTo>
                    <a:pt x="34" y="6"/>
                  </a:lnTo>
                  <a:lnTo>
                    <a:pt x="32" y="6"/>
                  </a:lnTo>
                  <a:lnTo>
                    <a:pt x="32" y="4"/>
                  </a:lnTo>
                  <a:lnTo>
                    <a:pt x="32" y="2"/>
                  </a:lnTo>
                  <a:lnTo>
                    <a:pt x="32" y="2"/>
                  </a:lnTo>
                  <a:lnTo>
                    <a:pt x="32" y="2"/>
                  </a:lnTo>
                  <a:lnTo>
                    <a:pt x="30" y="2"/>
                  </a:lnTo>
                  <a:lnTo>
                    <a:pt x="28" y="0"/>
                  </a:lnTo>
                  <a:lnTo>
                    <a:pt x="26" y="0"/>
                  </a:lnTo>
                  <a:lnTo>
                    <a:pt x="24" y="0"/>
                  </a:lnTo>
                  <a:lnTo>
                    <a:pt x="22" y="0"/>
                  </a:lnTo>
                  <a:lnTo>
                    <a:pt x="18" y="0"/>
                  </a:lnTo>
                  <a:lnTo>
                    <a:pt x="14" y="0"/>
                  </a:lnTo>
                  <a:lnTo>
                    <a:pt x="8" y="0"/>
                  </a:lnTo>
                  <a:lnTo>
                    <a:pt x="4" y="0"/>
                  </a:lnTo>
                  <a:lnTo>
                    <a:pt x="0" y="0"/>
                  </a:lnTo>
                  <a:lnTo>
                    <a:pt x="0" y="6"/>
                  </a:lnTo>
                  <a:lnTo>
                    <a:pt x="0" y="10"/>
                  </a:lnTo>
                  <a:lnTo>
                    <a:pt x="0" y="16"/>
                  </a:lnTo>
                  <a:lnTo>
                    <a:pt x="0" y="22"/>
                  </a:lnTo>
                  <a:lnTo>
                    <a:pt x="0" y="28"/>
                  </a:lnTo>
                  <a:lnTo>
                    <a:pt x="0" y="30"/>
                  </a:lnTo>
                  <a:lnTo>
                    <a:pt x="2" y="34"/>
                  </a:lnTo>
                  <a:lnTo>
                    <a:pt x="2" y="36"/>
                  </a:lnTo>
                  <a:lnTo>
                    <a:pt x="2" y="38"/>
                  </a:lnTo>
                  <a:lnTo>
                    <a:pt x="2" y="38"/>
                  </a:lnTo>
                  <a:lnTo>
                    <a:pt x="4" y="40"/>
                  </a:lnTo>
                  <a:lnTo>
                    <a:pt x="4" y="42"/>
                  </a:lnTo>
                  <a:lnTo>
                    <a:pt x="6" y="44"/>
                  </a:lnTo>
                  <a:lnTo>
                    <a:pt x="8" y="46"/>
                  </a:lnTo>
                  <a:lnTo>
                    <a:pt x="14" y="50"/>
                  </a:lnTo>
                  <a:lnTo>
                    <a:pt x="14" y="52"/>
                  </a:lnTo>
                  <a:lnTo>
                    <a:pt x="16" y="54"/>
                  </a:lnTo>
                  <a:lnTo>
                    <a:pt x="20" y="58"/>
                  </a:lnTo>
                  <a:lnTo>
                    <a:pt x="24" y="64"/>
                  </a:lnTo>
                  <a:lnTo>
                    <a:pt x="26" y="66"/>
                  </a:lnTo>
                  <a:lnTo>
                    <a:pt x="26" y="68"/>
                  </a:lnTo>
                  <a:lnTo>
                    <a:pt x="28" y="72"/>
                  </a:lnTo>
                  <a:lnTo>
                    <a:pt x="28" y="72"/>
                  </a:lnTo>
                  <a:lnTo>
                    <a:pt x="28" y="74"/>
                  </a:lnTo>
                  <a:lnTo>
                    <a:pt x="28" y="76"/>
                  </a:lnTo>
                  <a:lnTo>
                    <a:pt x="28" y="78"/>
                  </a:lnTo>
                  <a:lnTo>
                    <a:pt x="28" y="80"/>
                  </a:lnTo>
                  <a:lnTo>
                    <a:pt x="28" y="82"/>
                  </a:lnTo>
                  <a:lnTo>
                    <a:pt x="28" y="84"/>
                  </a:lnTo>
                  <a:lnTo>
                    <a:pt x="26" y="84"/>
                  </a:lnTo>
                  <a:lnTo>
                    <a:pt x="26" y="86"/>
                  </a:lnTo>
                  <a:lnTo>
                    <a:pt x="26" y="88"/>
                  </a:lnTo>
                  <a:lnTo>
                    <a:pt x="24" y="88"/>
                  </a:lnTo>
                  <a:lnTo>
                    <a:pt x="24" y="90"/>
                  </a:lnTo>
                  <a:lnTo>
                    <a:pt x="20" y="90"/>
                  </a:lnTo>
                  <a:lnTo>
                    <a:pt x="20" y="90"/>
                  </a:lnTo>
                  <a:lnTo>
                    <a:pt x="18" y="92"/>
                  </a:lnTo>
                  <a:lnTo>
                    <a:pt x="18" y="92"/>
                  </a:lnTo>
                  <a:lnTo>
                    <a:pt x="18" y="92"/>
                  </a:lnTo>
                  <a:lnTo>
                    <a:pt x="18" y="92"/>
                  </a:lnTo>
                  <a:lnTo>
                    <a:pt x="18" y="94"/>
                  </a:lnTo>
                  <a:lnTo>
                    <a:pt x="18" y="94"/>
                  </a:lnTo>
                  <a:lnTo>
                    <a:pt x="18" y="96"/>
                  </a:lnTo>
                  <a:lnTo>
                    <a:pt x="20" y="98"/>
                  </a:lnTo>
                  <a:lnTo>
                    <a:pt x="20" y="98"/>
                  </a:lnTo>
                  <a:lnTo>
                    <a:pt x="22" y="100"/>
                  </a:lnTo>
                  <a:lnTo>
                    <a:pt x="24" y="100"/>
                  </a:lnTo>
                  <a:lnTo>
                    <a:pt x="26" y="102"/>
                  </a:lnTo>
                  <a:lnTo>
                    <a:pt x="28" y="104"/>
                  </a:lnTo>
                  <a:lnTo>
                    <a:pt x="32" y="106"/>
                  </a:lnTo>
                  <a:lnTo>
                    <a:pt x="36" y="108"/>
                  </a:lnTo>
                  <a:lnTo>
                    <a:pt x="38" y="110"/>
                  </a:lnTo>
                  <a:lnTo>
                    <a:pt x="40" y="110"/>
                  </a:lnTo>
                  <a:lnTo>
                    <a:pt x="42" y="112"/>
                  </a:lnTo>
                  <a:lnTo>
                    <a:pt x="44" y="112"/>
                  </a:lnTo>
                  <a:lnTo>
                    <a:pt x="46" y="114"/>
                  </a:lnTo>
                  <a:lnTo>
                    <a:pt x="50" y="118"/>
                  </a:lnTo>
                  <a:lnTo>
                    <a:pt x="52" y="120"/>
                  </a:lnTo>
                  <a:lnTo>
                    <a:pt x="54" y="120"/>
                  </a:lnTo>
                  <a:lnTo>
                    <a:pt x="56" y="122"/>
                  </a:lnTo>
                  <a:lnTo>
                    <a:pt x="58" y="124"/>
                  </a:lnTo>
                  <a:lnTo>
                    <a:pt x="58" y="124"/>
                  </a:lnTo>
                  <a:lnTo>
                    <a:pt x="58" y="126"/>
                  </a:lnTo>
                  <a:lnTo>
                    <a:pt x="58" y="126"/>
                  </a:lnTo>
                  <a:lnTo>
                    <a:pt x="58" y="128"/>
                  </a:lnTo>
                  <a:lnTo>
                    <a:pt x="60" y="130"/>
                  </a:lnTo>
                  <a:lnTo>
                    <a:pt x="60" y="132"/>
                  </a:lnTo>
                  <a:lnTo>
                    <a:pt x="60" y="136"/>
                  </a:lnTo>
                  <a:lnTo>
                    <a:pt x="60" y="140"/>
                  </a:lnTo>
                  <a:lnTo>
                    <a:pt x="60" y="144"/>
                  </a:lnTo>
                  <a:lnTo>
                    <a:pt x="60" y="144"/>
                  </a:lnTo>
                  <a:lnTo>
                    <a:pt x="60" y="146"/>
                  </a:lnTo>
                  <a:lnTo>
                    <a:pt x="60" y="148"/>
                  </a:lnTo>
                  <a:lnTo>
                    <a:pt x="60" y="148"/>
                  </a:lnTo>
                  <a:lnTo>
                    <a:pt x="62" y="150"/>
                  </a:lnTo>
                  <a:lnTo>
                    <a:pt x="62" y="152"/>
                  </a:lnTo>
                  <a:lnTo>
                    <a:pt x="64" y="154"/>
                  </a:lnTo>
                  <a:lnTo>
                    <a:pt x="66" y="156"/>
                  </a:lnTo>
                  <a:lnTo>
                    <a:pt x="68" y="160"/>
                  </a:lnTo>
                  <a:lnTo>
                    <a:pt x="72" y="166"/>
                  </a:lnTo>
                  <a:lnTo>
                    <a:pt x="76" y="170"/>
                  </a:lnTo>
                  <a:lnTo>
                    <a:pt x="78" y="172"/>
                  </a:lnTo>
                  <a:lnTo>
                    <a:pt x="80" y="174"/>
                  </a:lnTo>
                  <a:lnTo>
                    <a:pt x="82" y="174"/>
                  </a:lnTo>
                  <a:lnTo>
                    <a:pt x="84" y="176"/>
                  </a:lnTo>
                  <a:lnTo>
                    <a:pt x="86" y="178"/>
                  </a:lnTo>
                  <a:lnTo>
                    <a:pt x="88" y="178"/>
                  </a:lnTo>
                  <a:lnTo>
                    <a:pt x="90" y="178"/>
                  </a:lnTo>
                  <a:lnTo>
                    <a:pt x="90" y="180"/>
                  </a:lnTo>
                  <a:lnTo>
                    <a:pt x="92" y="180"/>
                  </a:lnTo>
                  <a:lnTo>
                    <a:pt x="94" y="180"/>
                  </a:lnTo>
                  <a:lnTo>
                    <a:pt x="96" y="180"/>
                  </a:lnTo>
                  <a:lnTo>
                    <a:pt x="98" y="180"/>
                  </a:lnTo>
                  <a:lnTo>
                    <a:pt x="98" y="180"/>
                  </a:lnTo>
                  <a:lnTo>
                    <a:pt x="100" y="178"/>
                  </a:lnTo>
                  <a:lnTo>
                    <a:pt x="100" y="178"/>
                  </a:lnTo>
                  <a:lnTo>
                    <a:pt x="100" y="178"/>
                  </a:lnTo>
                  <a:lnTo>
                    <a:pt x="100" y="176"/>
                  </a:lnTo>
                  <a:lnTo>
                    <a:pt x="100" y="176"/>
                  </a:lnTo>
                  <a:lnTo>
                    <a:pt x="100" y="174"/>
                  </a:lnTo>
                  <a:lnTo>
                    <a:pt x="100" y="172"/>
                  </a:lnTo>
                  <a:lnTo>
                    <a:pt x="100" y="170"/>
                  </a:lnTo>
                  <a:lnTo>
                    <a:pt x="98" y="168"/>
                  </a:lnTo>
                  <a:lnTo>
                    <a:pt x="96" y="164"/>
                  </a:lnTo>
                  <a:lnTo>
                    <a:pt x="94" y="160"/>
                  </a:lnTo>
                  <a:lnTo>
                    <a:pt x="94" y="158"/>
                  </a:lnTo>
                  <a:lnTo>
                    <a:pt x="92" y="156"/>
                  </a:lnTo>
                  <a:lnTo>
                    <a:pt x="90" y="154"/>
                  </a:lnTo>
                  <a:lnTo>
                    <a:pt x="90" y="150"/>
                  </a:lnTo>
                  <a:lnTo>
                    <a:pt x="86" y="144"/>
                  </a:lnTo>
                  <a:lnTo>
                    <a:pt x="82" y="136"/>
                  </a:lnTo>
                  <a:lnTo>
                    <a:pt x="80" y="130"/>
                  </a:lnTo>
                  <a:lnTo>
                    <a:pt x="78" y="128"/>
                  </a:lnTo>
                  <a:lnTo>
                    <a:pt x="78" y="124"/>
                  </a:lnTo>
                  <a:lnTo>
                    <a:pt x="74" y="118"/>
                  </a:lnTo>
                  <a:lnTo>
                    <a:pt x="72" y="112"/>
                  </a:lnTo>
                  <a:lnTo>
                    <a:pt x="70" y="108"/>
                  </a:lnTo>
                  <a:lnTo>
                    <a:pt x="70" y="106"/>
                  </a:lnTo>
                  <a:lnTo>
                    <a:pt x="68" y="104"/>
                  </a:lnTo>
                  <a:lnTo>
                    <a:pt x="66" y="100"/>
                  </a:lnTo>
                  <a:lnTo>
                    <a:pt x="60" y="94"/>
                  </a:lnTo>
                  <a:lnTo>
                    <a:pt x="56" y="88"/>
                  </a:lnTo>
                  <a:lnTo>
                    <a:pt x="54" y="86"/>
                  </a:lnTo>
                  <a:lnTo>
                    <a:pt x="52" y="84"/>
                  </a:lnTo>
                  <a:lnTo>
                    <a:pt x="48" y="80"/>
                  </a:lnTo>
                  <a:lnTo>
                    <a:pt x="46" y="74"/>
                  </a:lnTo>
                  <a:lnTo>
                    <a:pt x="40" y="64"/>
                  </a:lnTo>
                  <a:lnTo>
                    <a:pt x="36" y="56"/>
                  </a:lnTo>
                  <a:lnTo>
                    <a:pt x="34" y="52"/>
                  </a:lnTo>
                  <a:lnTo>
                    <a:pt x="32" y="50"/>
                  </a:lnTo>
                  <a:lnTo>
                    <a:pt x="32" y="48"/>
                  </a:lnTo>
                  <a:lnTo>
                    <a:pt x="32" y="46"/>
                  </a:lnTo>
                  <a:lnTo>
                    <a:pt x="30" y="40"/>
                  </a:lnTo>
                  <a:lnTo>
                    <a:pt x="30" y="36"/>
                  </a:lnTo>
                  <a:lnTo>
                    <a:pt x="28" y="34"/>
                  </a:lnTo>
                  <a:lnTo>
                    <a:pt x="28" y="32"/>
                  </a:lnTo>
                  <a:lnTo>
                    <a:pt x="28" y="30"/>
                  </a:lnTo>
                  <a:lnTo>
                    <a:pt x="28" y="28"/>
                  </a:lnTo>
                  <a:lnTo>
                    <a:pt x="30" y="26"/>
                  </a:lnTo>
                  <a:lnTo>
                    <a:pt x="30" y="26"/>
                  </a:lnTo>
                  <a:lnTo>
                    <a:pt x="30" y="24"/>
                  </a:lnTo>
                  <a:lnTo>
                    <a:pt x="30" y="24"/>
                  </a:lnTo>
                  <a:lnTo>
                    <a:pt x="32" y="22"/>
                  </a:lnTo>
                  <a:lnTo>
                    <a:pt x="32" y="22"/>
                  </a:lnTo>
                  <a:lnTo>
                    <a:pt x="32" y="22"/>
                  </a:lnTo>
                  <a:lnTo>
                    <a:pt x="34" y="22"/>
                  </a:lnTo>
                  <a:lnTo>
                    <a:pt x="34" y="22"/>
                  </a:lnTo>
                  <a:lnTo>
                    <a:pt x="36" y="24"/>
                  </a:lnTo>
                  <a:lnTo>
                    <a:pt x="36" y="24"/>
                  </a:lnTo>
                  <a:lnTo>
                    <a:pt x="40" y="26"/>
                  </a:lnTo>
                  <a:lnTo>
                    <a:pt x="42" y="28"/>
                  </a:lnTo>
                  <a:lnTo>
                    <a:pt x="42" y="30"/>
                  </a:lnTo>
                  <a:lnTo>
                    <a:pt x="44" y="32"/>
                  </a:lnTo>
                  <a:lnTo>
                    <a:pt x="48" y="34"/>
                  </a:lnTo>
                  <a:lnTo>
                    <a:pt x="50" y="38"/>
                  </a:lnTo>
                  <a:lnTo>
                    <a:pt x="52" y="40"/>
                  </a:lnTo>
                  <a:lnTo>
                    <a:pt x="52" y="42"/>
                  </a:lnTo>
                  <a:lnTo>
                    <a:pt x="54" y="42"/>
                  </a:lnTo>
                  <a:lnTo>
                    <a:pt x="56" y="44"/>
                  </a:lnTo>
                  <a:lnTo>
                    <a:pt x="58" y="46"/>
                  </a:lnTo>
                  <a:lnTo>
                    <a:pt x="60" y="46"/>
                  </a:lnTo>
                  <a:lnTo>
                    <a:pt x="62" y="48"/>
                  </a:lnTo>
                  <a:lnTo>
                    <a:pt x="64" y="48"/>
                  </a:lnTo>
                  <a:lnTo>
                    <a:pt x="64" y="50"/>
                  </a:lnTo>
                  <a:lnTo>
                    <a:pt x="64" y="52"/>
                  </a:lnTo>
                  <a:lnTo>
                    <a:pt x="66" y="52"/>
                  </a:lnTo>
                  <a:lnTo>
                    <a:pt x="66" y="54"/>
                  </a:lnTo>
                  <a:lnTo>
                    <a:pt x="66" y="56"/>
                  </a:lnTo>
                  <a:lnTo>
                    <a:pt x="66" y="60"/>
                  </a:lnTo>
                  <a:lnTo>
                    <a:pt x="66" y="64"/>
                  </a:lnTo>
                  <a:lnTo>
                    <a:pt x="66" y="68"/>
                  </a:lnTo>
                  <a:lnTo>
                    <a:pt x="66" y="72"/>
                  </a:lnTo>
                  <a:lnTo>
                    <a:pt x="66" y="74"/>
                  </a:lnTo>
                  <a:lnTo>
                    <a:pt x="66" y="74"/>
                  </a:lnTo>
                  <a:lnTo>
                    <a:pt x="66" y="76"/>
                  </a:lnTo>
                  <a:lnTo>
                    <a:pt x="66" y="78"/>
                  </a:lnTo>
                  <a:lnTo>
                    <a:pt x="68" y="80"/>
                  </a:lnTo>
                  <a:lnTo>
                    <a:pt x="68" y="80"/>
                  </a:lnTo>
                  <a:lnTo>
                    <a:pt x="70" y="82"/>
                  </a:lnTo>
                  <a:lnTo>
                    <a:pt x="72" y="84"/>
                  </a:lnTo>
                  <a:lnTo>
                    <a:pt x="76" y="86"/>
                  </a:lnTo>
                  <a:lnTo>
                    <a:pt x="76" y="88"/>
                  </a:lnTo>
                  <a:lnTo>
                    <a:pt x="78" y="90"/>
                  </a:lnTo>
                  <a:lnTo>
                    <a:pt x="80" y="90"/>
                  </a:lnTo>
                  <a:lnTo>
                    <a:pt x="80" y="94"/>
                  </a:lnTo>
                  <a:lnTo>
                    <a:pt x="84" y="98"/>
                  </a:lnTo>
                  <a:lnTo>
                    <a:pt x="84" y="102"/>
                  </a:lnTo>
                  <a:lnTo>
                    <a:pt x="86" y="104"/>
                  </a:lnTo>
                  <a:lnTo>
                    <a:pt x="88" y="106"/>
                  </a:lnTo>
                  <a:lnTo>
                    <a:pt x="88" y="108"/>
                  </a:lnTo>
                  <a:lnTo>
                    <a:pt x="90" y="108"/>
                  </a:lnTo>
                  <a:lnTo>
                    <a:pt x="90" y="108"/>
                  </a:lnTo>
                  <a:lnTo>
                    <a:pt x="92" y="110"/>
                  </a:lnTo>
                  <a:lnTo>
                    <a:pt x="94" y="110"/>
                  </a:lnTo>
                  <a:lnTo>
                    <a:pt x="96" y="112"/>
                  </a:lnTo>
                  <a:lnTo>
                    <a:pt x="96" y="112"/>
                  </a:lnTo>
                  <a:lnTo>
                    <a:pt x="98" y="112"/>
                  </a:lnTo>
                  <a:lnTo>
                    <a:pt x="98" y="112"/>
                  </a:lnTo>
                  <a:lnTo>
                    <a:pt x="98" y="112"/>
                  </a:lnTo>
                  <a:lnTo>
                    <a:pt x="98" y="114"/>
                  </a:lnTo>
                  <a:lnTo>
                    <a:pt x="98" y="114"/>
                  </a:lnTo>
                  <a:lnTo>
                    <a:pt x="98" y="116"/>
                  </a:lnTo>
                  <a:lnTo>
                    <a:pt x="98" y="116"/>
                  </a:lnTo>
                  <a:lnTo>
                    <a:pt x="98" y="118"/>
                  </a:lnTo>
                  <a:lnTo>
                    <a:pt x="98" y="120"/>
                  </a:lnTo>
                  <a:lnTo>
                    <a:pt x="96" y="122"/>
                  </a:lnTo>
                  <a:lnTo>
                    <a:pt x="96" y="124"/>
                  </a:lnTo>
                  <a:lnTo>
                    <a:pt x="96" y="126"/>
                  </a:lnTo>
                  <a:lnTo>
                    <a:pt x="96" y="126"/>
                  </a:lnTo>
                  <a:lnTo>
                    <a:pt x="96" y="128"/>
                  </a:lnTo>
                  <a:lnTo>
                    <a:pt x="96" y="128"/>
                  </a:lnTo>
                  <a:lnTo>
                    <a:pt x="98" y="128"/>
                  </a:lnTo>
                  <a:lnTo>
                    <a:pt x="98" y="130"/>
                  </a:lnTo>
                  <a:lnTo>
                    <a:pt x="98" y="130"/>
                  </a:lnTo>
                  <a:lnTo>
                    <a:pt x="100" y="130"/>
                  </a:lnTo>
                  <a:lnTo>
                    <a:pt x="102" y="130"/>
                  </a:lnTo>
                  <a:lnTo>
                    <a:pt x="104" y="130"/>
                  </a:lnTo>
                  <a:lnTo>
                    <a:pt x="106" y="132"/>
                  </a:lnTo>
                  <a:lnTo>
                    <a:pt x="108" y="132"/>
                  </a:lnTo>
                  <a:lnTo>
                    <a:pt x="108" y="132"/>
                  </a:lnTo>
                  <a:lnTo>
                    <a:pt x="110" y="132"/>
                  </a:lnTo>
                  <a:lnTo>
                    <a:pt x="110" y="132"/>
                  </a:lnTo>
                  <a:lnTo>
                    <a:pt x="110" y="134"/>
                  </a:lnTo>
                  <a:lnTo>
                    <a:pt x="112" y="134"/>
                  </a:lnTo>
                  <a:lnTo>
                    <a:pt x="112" y="134"/>
                  </a:lnTo>
                  <a:lnTo>
                    <a:pt x="112" y="136"/>
                  </a:lnTo>
                  <a:lnTo>
                    <a:pt x="112" y="136"/>
                  </a:lnTo>
                  <a:lnTo>
                    <a:pt x="112" y="140"/>
                  </a:lnTo>
                  <a:lnTo>
                    <a:pt x="112" y="142"/>
                  </a:lnTo>
                  <a:lnTo>
                    <a:pt x="112" y="144"/>
                  </a:lnTo>
                  <a:lnTo>
                    <a:pt x="112" y="146"/>
                  </a:lnTo>
                  <a:lnTo>
                    <a:pt x="112" y="148"/>
                  </a:lnTo>
                  <a:lnTo>
                    <a:pt x="112" y="150"/>
                  </a:lnTo>
                  <a:lnTo>
                    <a:pt x="112" y="150"/>
                  </a:lnTo>
                  <a:lnTo>
                    <a:pt x="112" y="150"/>
                  </a:lnTo>
                  <a:lnTo>
                    <a:pt x="112" y="152"/>
                  </a:lnTo>
                  <a:lnTo>
                    <a:pt x="114" y="152"/>
                  </a:lnTo>
                  <a:lnTo>
                    <a:pt x="114" y="152"/>
                  </a:lnTo>
                  <a:lnTo>
                    <a:pt x="116" y="154"/>
                  </a:lnTo>
                  <a:lnTo>
                    <a:pt x="118" y="154"/>
                  </a:lnTo>
                  <a:lnTo>
                    <a:pt x="120" y="156"/>
                  </a:lnTo>
                  <a:lnTo>
                    <a:pt x="124" y="156"/>
                  </a:lnTo>
                  <a:lnTo>
                    <a:pt x="126" y="156"/>
                  </a:lnTo>
                  <a:lnTo>
                    <a:pt x="128" y="158"/>
                  </a:lnTo>
                  <a:lnTo>
                    <a:pt x="128" y="158"/>
                  </a:lnTo>
                  <a:lnTo>
                    <a:pt x="130" y="158"/>
                  </a:lnTo>
                  <a:lnTo>
                    <a:pt x="130" y="160"/>
                  </a:lnTo>
                  <a:lnTo>
                    <a:pt x="130" y="160"/>
                  </a:lnTo>
                  <a:lnTo>
                    <a:pt x="130" y="160"/>
                  </a:lnTo>
                  <a:lnTo>
                    <a:pt x="130" y="162"/>
                  </a:lnTo>
                  <a:lnTo>
                    <a:pt x="130" y="164"/>
                  </a:lnTo>
                  <a:lnTo>
                    <a:pt x="130" y="166"/>
                  </a:lnTo>
                  <a:lnTo>
                    <a:pt x="130" y="168"/>
                  </a:lnTo>
                  <a:lnTo>
                    <a:pt x="128" y="170"/>
                  </a:lnTo>
                  <a:lnTo>
                    <a:pt x="128" y="170"/>
                  </a:lnTo>
                  <a:lnTo>
                    <a:pt x="130" y="172"/>
                  </a:lnTo>
                  <a:lnTo>
                    <a:pt x="130" y="172"/>
                  </a:lnTo>
                  <a:lnTo>
                    <a:pt x="130" y="172"/>
                  </a:lnTo>
                  <a:lnTo>
                    <a:pt x="130" y="172"/>
                  </a:lnTo>
                  <a:lnTo>
                    <a:pt x="130" y="172"/>
                  </a:lnTo>
                  <a:lnTo>
                    <a:pt x="132" y="174"/>
                  </a:lnTo>
                  <a:lnTo>
                    <a:pt x="134" y="174"/>
                  </a:lnTo>
                  <a:lnTo>
                    <a:pt x="136" y="172"/>
                  </a:lnTo>
                  <a:lnTo>
                    <a:pt x="136" y="172"/>
                  </a:lnTo>
                  <a:lnTo>
                    <a:pt x="138" y="172"/>
                  </a:lnTo>
                  <a:lnTo>
                    <a:pt x="140" y="172"/>
                  </a:lnTo>
                  <a:lnTo>
                    <a:pt x="140" y="174"/>
                  </a:lnTo>
                  <a:lnTo>
                    <a:pt x="140" y="174"/>
                  </a:lnTo>
                  <a:lnTo>
                    <a:pt x="142" y="174"/>
                  </a:lnTo>
                  <a:lnTo>
                    <a:pt x="142" y="176"/>
                  </a:lnTo>
                  <a:lnTo>
                    <a:pt x="142" y="176"/>
                  </a:lnTo>
                  <a:lnTo>
                    <a:pt x="142" y="178"/>
                  </a:lnTo>
                  <a:lnTo>
                    <a:pt x="142" y="180"/>
                  </a:lnTo>
                  <a:lnTo>
                    <a:pt x="142" y="182"/>
                  </a:lnTo>
                  <a:lnTo>
                    <a:pt x="142" y="188"/>
                  </a:lnTo>
                  <a:lnTo>
                    <a:pt x="142" y="190"/>
                  </a:lnTo>
                  <a:lnTo>
                    <a:pt x="142" y="192"/>
                  </a:lnTo>
                  <a:lnTo>
                    <a:pt x="142" y="192"/>
                  </a:lnTo>
                  <a:lnTo>
                    <a:pt x="142" y="194"/>
                  </a:lnTo>
                  <a:lnTo>
                    <a:pt x="144" y="196"/>
                  </a:lnTo>
                  <a:lnTo>
                    <a:pt x="146" y="200"/>
                  </a:lnTo>
                  <a:lnTo>
                    <a:pt x="146" y="202"/>
                  </a:lnTo>
                  <a:lnTo>
                    <a:pt x="148" y="204"/>
                  </a:lnTo>
                  <a:lnTo>
                    <a:pt x="148" y="206"/>
                  </a:lnTo>
                  <a:lnTo>
                    <a:pt x="148" y="208"/>
                  </a:lnTo>
                  <a:lnTo>
                    <a:pt x="148" y="208"/>
                  </a:lnTo>
                  <a:lnTo>
                    <a:pt x="148" y="210"/>
                  </a:lnTo>
                  <a:lnTo>
                    <a:pt x="148" y="210"/>
                  </a:lnTo>
                  <a:lnTo>
                    <a:pt x="148" y="212"/>
                  </a:lnTo>
                  <a:lnTo>
                    <a:pt x="146" y="214"/>
                  </a:lnTo>
                  <a:lnTo>
                    <a:pt x="146" y="216"/>
                  </a:lnTo>
                  <a:lnTo>
                    <a:pt x="144" y="218"/>
                  </a:lnTo>
                  <a:lnTo>
                    <a:pt x="144" y="220"/>
                  </a:lnTo>
                  <a:lnTo>
                    <a:pt x="144" y="222"/>
                  </a:lnTo>
                  <a:lnTo>
                    <a:pt x="144" y="222"/>
                  </a:lnTo>
                  <a:lnTo>
                    <a:pt x="144" y="224"/>
                  </a:lnTo>
                  <a:lnTo>
                    <a:pt x="144" y="224"/>
                  </a:lnTo>
                  <a:lnTo>
                    <a:pt x="144" y="224"/>
                  </a:lnTo>
                  <a:lnTo>
                    <a:pt x="144" y="226"/>
                  </a:lnTo>
                  <a:lnTo>
                    <a:pt x="146" y="226"/>
                  </a:lnTo>
                  <a:lnTo>
                    <a:pt x="146" y="226"/>
                  </a:lnTo>
                  <a:lnTo>
                    <a:pt x="148" y="228"/>
                  </a:lnTo>
                  <a:lnTo>
                    <a:pt x="150" y="228"/>
                  </a:lnTo>
                  <a:lnTo>
                    <a:pt x="154" y="230"/>
                  </a:lnTo>
                  <a:lnTo>
                    <a:pt x="156" y="232"/>
                  </a:lnTo>
                  <a:lnTo>
                    <a:pt x="158" y="232"/>
                  </a:lnTo>
                  <a:lnTo>
                    <a:pt x="166" y="238"/>
                  </a:lnTo>
                  <a:lnTo>
                    <a:pt x="176" y="244"/>
                  </a:lnTo>
                  <a:lnTo>
                    <a:pt x="196" y="260"/>
                  </a:lnTo>
                  <a:lnTo>
                    <a:pt x="208" y="266"/>
                  </a:lnTo>
                  <a:lnTo>
                    <a:pt x="218" y="274"/>
                  </a:lnTo>
                  <a:lnTo>
                    <a:pt x="224" y="276"/>
                  </a:lnTo>
                  <a:lnTo>
                    <a:pt x="228" y="280"/>
                  </a:lnTo>
                  <a:lnTo>
                    <a:pt x="232" y="282"/>
                  </a:lnTo>
                  <a:lnTo>
                    <a:pt x="236" y="284"/>
                  </a:lnTo>
                  <a:lnTo>
                    <a:pt x="246" y="288"/>
                  </a:lnTo>
                  <a:lnTo>
                    <a:pt x="250" y="290"/>
                  </a:lnTo>
                  <a:lnTo>
                    <a:pt x="256" y="292"/>
                  </a:lnTo>
                  <a:lnTo>
                    <a:pt x="262" y="294"/>
                  </a:lnTo>
                  <a:lnTo>
                    <a:pt x="264" y="296"/>
                  </a:lnTo>
                  <a:lnTo>
                    <a:pt x="268" y="296"/>
                  </a:lnTo>
                  <a:lnTo>
                    <a:pt x="270" y="296"/>
                  </a:lnTo>
                  <a:lnTo>
                    <a:pt x="272" y="298"/>
                  </a:lnTo>
                  <a:lnTo>
                    <a:pt x="274" y="298"/>
                  </a:lnTo>
                  <a:lnTo>
                    <a:pt x="276" y="296"/>
                  </a:lnTo>
                  <a:lnTo>
                    <a:pt x="278" y="296"/>
                  </a:lnTo>
                  <a:lnTo>
                    <a:pt x="278" y="296"/>
                  </a:lnTo>
                  <a:lnTo>
                    <a:pt x="280" y="296"/>
                  </a:lnTo>
                  <a:lnTo>
                    <a:pt x="282" y="294"/>
                  </a:lnTo>
                  <a:lnTo>
                    <a:pt x="284" y="292"/>
                  </a:lnTo>
                  <a:lnTo>
                    <a:pt x="286" y="290"/>
                  </a:lnTo>
                  <a:lnTo>
                    <a:pt x="288" y="290"/>
                  </a:lnTo>
                  <a:lnTo>
                    <a:pt x="290" y="288"/>
                  </a:lnTo>
                  <a:lnTo>
                    <a:pt x="290" y="288"/>
                  </a:lnTo>
                  <a:lnTo>
                    <a:pt x="290" y="288"/>
                  </a:lnTo>
                  <a:lnTo>
                    <a:pt x="292" y="288"/>
                  </a:lnTo>
                  <a:lnTo>
                    <a:pt x="294" y="288"/>
                  </a:lnTo>
                  <a:lnTo>
                    <a:pt x="296" y="290"/>
                  </a:lnTo>
                  <a:lnTo>
                    <a:pt x="296" y="290"/>
                  </a:lnTo>
                  <a:lnTo>
                    <a:pt x="300" y="292"/>
                  </a:lnTo>
                  <a:lnTo>
                    <a:pt x="302" y="292"/>
                  </a:lnTo>
                  <a:lnTo>
                    <a:pt x="302" y="294"/>
                  </a:lnTo>
                  <a:lnTo>
                    <a:pt x="306" y="294"/>
                  </a:lnTo>
                  <a:lnTo>
                    <a:pt x="310" y="296"/>
                  </a:lnTo>
                  <a:lnTo>
                    <a:pt x="314" y="296"/>
                  </a:lnTo>
                  <a:lnTo>
                    <a:pt x="316" y="298"/>
                  </a:lnTo>
                  <a:lnTo>
                    <a:pt x="318" y="298"/>
                  </a:lnTo>
                  <a:lnTo>
                    <a:pt x="318" y="300"/>
                  </a:lnTo>
                  <a:lnTo>
                    <a:pt x="320" y="300"/>
                  </a:lnTo>
                  <a:lnTo>
                    <a:pt x="322" y="302"/>
                  </a:lnTo>
                  <a:lnTo>
                    <a:pt x="324" y="306"/>
                  </a:lnTo>
                  <a:lnTo>
                    <a:pt x="326" y="308"/>
                  </a:lnTo>
                  <a:lnTo>
                    <a:pt x="328" y="312"/>
                  </a:lnTo>
                  <a:lnTo>
                    <a:pt x="330" y="314"/>
                  </a:lnTo>
                  <a:lnTo>
                    <a:pt x="330" y="312"/>
                  </a:lnTo>
                  <a:lnTo>
                    <a:pt x="332" y="306"/>
                  </a:lnTo>
                  <a:lnTo>
                    <a:pt x="332" y="304"/>
                  </a:lnTo>
                  <a:lnTo>
                    <a:pt x="334" y="300"/>
                  </a:lnTo>
                  <a:lnTo>
                    <a:pt x="334" y="298"/>
                  </a:lnTo>
                  <a:lnTo>
                    <a:pt x="336" y="296"/>
                  </a:lnTo>
                  <a:lnTo>
                    <a:pt x="336" y="296"/>
                  </a:lnTo>
                  <a:lnTo>
                    <a:pt x="336" y="296"/>
                  </a:lnTo>
                  <a:lnTo>
                    <a:pt x="336" y="296"/>
                  </a:lnTo>
                  <a:lnTo>
                    <a:pt x="338" y="294"/>
                  </a:lnTo>
                  <a:lnTo>
                    <a:pt x="340" y="294"/>
                  </a:lnTo>
                  <a:lnTo>
                    <a:pt x="342" y="294"/>
                  </a:lnTo>
                  <a:lnTo>
                    <a:pt x="344" y="294"/>
                  </a:lnTo>
                  <a:lnTo>
                    <a:pt x="346" y="294"/>
                  </a:lnTo>
                  <a:lnTo>
                    <a:pt x="348" y="294"/>
                  </a:lnTo>
                  <a:lnTo>
                    <a:pt x="348" y="292"/>
                  </a:lnTo>
                  <a:lnTo>
                    <a:pt x="348" y="292"/>
                  </a:lnTo>
                  <a:lnTo>
                    <a:pt x="348" y="292"/>
                  </a:lnTo>
                  <a:lnTo>
                    <a:pt x="350" y="290"/>
                  </a:lnTo>
                  <a:lnTo>
                    <a:pt x="350" y="290"/>
                  </a:lnTo>
                  <a:lnTo>
                    <a:pt x="350" y="288"/>
                  </a:lnTo>
                  <a:lnTo>
                    <a:pt x="350" y="286"/>
                  </a:lnTo>
                  <a:lnTo>
                    <a:pt x="350" y="284"/>
                  </a:lnTo>
                  <a:lnTo>
                    <a:pt x="350" y="280"/>
                  </a:lnTo>
                  <a:lnTo>
                    <a:pt x="350" y="278"/>
                  </a:lnTo>
                  <a:lnTo>
                    <a:pt x="350" y="278"/>
                  </a:lnTo>
                  <a:lnTo>
                    <a:pt x="350" y="276"/>
                  </a:lnTo>
                  <a:lnTo>
                    <a:pt x="350" y="276"/>
                  </a:lnTo>
                  <a:lnTo>
                    <a:pt x="350" y="274"/>
                  </a:lnTo>
                  <a:lnTo>
                    <a:pt x="352" y="274"/>
                  </a:lnTo>
                  <a:lnTo>
                    <a:pt x="352" y="272"/>
                  </a:lnTo>
                  <a:lnTo>
                    <a:pt x="354" y="272"/>
                  </a:lnTo>
                  <a:lnTo>
                    <a:pt x="356" y="270"/>
                  </a:lnTo>
                  <a:lnTo>
                    <a:pt x="360" y="270"/>
                  </a:lnTo>
                  <a:lnTo>
                    <a:pt x="364" y="268"/>
                  </a:lnTo>
                  <a:lnTo>
                    <a:pt x="368" y="266"/>
                  </a:lnTo>
                  <a:lnTo>
                    <a:pt x="370" y="266"/>
                  </a:lnTo>
                  <a:lnTo>
                    <a:pt x="374" y="264"/>
                  </a:lnTo>
                  <a:lnTo>
                    <a:pt x="376" y="264"/>
                  </a:lnTo>
                  <a:lnTo>
                    <a:pt x="380" y="262"/>
                  </a:lnTo>
                  <a:lnTo>
                    <a:pt x="382" y="262"/>
                  </a:lnTo>
                  <a:lnTo>
                    <a:pt x="384" y="260"/>
                  </a:lnTo>
                  <a:lnTo>
                    <a:pt x="386" y="260"/>
                  </a:lnTo>
                  <a:lnTo>
                    <a:pt x="392" y="256"/>
                  </a:lnTo>
                  <a:lnTo>
                    <a:pt x="398" y="252"/>
                  </a:lnTo>
                  <a:lnTo>
                    <a:pt x="400" y="250"/>
                  </a:lnTo>
                  <a:lnTo>
                    <a:pt x="404" y="248"/>
                  </a:lnTo>
                  <a:lnTo>
                    <a:pt x="406" y="244"/>
                  </a:lnTo>
                  <a:lnTo>
                    <a:pt x="408" y="242"/>
                  </a:lnTo>
                  <a:lnTo>
                    <a:pt x="408" y="240"/>
                  </a:lnTo>
                  <a:lnTo>
                    <a:pt x="408" y="240"/>
                  </a:lnTo>
                  <a:lnTo>
                    <a:pt x="410" y="238"/>
                  </a:lnTo>
                  <a:lnTo>
                    <a:pt x="410" y="238"/>
                  </a:lnTo>
                  <a:lnTo>
                    <a:pt x="410" y="238"/>
                  </a:lnTo>
                  <a:lnTo>
                    <a:pt x="410" y="234"/>
                  </a:lnTo>
                  <a:lnTo>
                    <a:pt x="408" y="232"/>
                  </a:lnTo>
                  <a:lnTo>
                    <a:pt x="408" y="230"/>
                  </a:lnTo>
                  <a:lnTo>
                    <a:pt x="408" y="226"/>
                  </a:lnTo>
                  <a:lnTo>
                    <a:pt x="408" y="224"/>
                  </a:lnTo>
                  <a:lnTo>
                    <a:pt x="408" y="222"/>
                  </a:lnTo>
                  <a:lnTo>
                    <a:pt x="408" y="222"/>
                  </a:lnTo>
                  <a:lnTo>
                    <a:pt x="408" y="220"/>
                  </a:lnTo>
                  <a:lnTo>
                    <a:pt x="408" y="220"/>
                  </a:lnTo>
                  <a:lnTo>
                    <a:pt x="408" y="220"/>
                  </a:lnTo>
                  <a:lnTo>
                    <a:pt x="410" y="220"/>
                  </a:lnTo>
                  <a:lnTo>
                    <a:pt x="412" y="218"/>
                  </a:lnTo>
                  <a:lnTo>
                    <a:pt x="414" y="218"/>
                  </a:lnTo>
                  <a:lnTo>
                    <a:pt x="414" y="216"/>
                  </a:lnTo>
                  <a:lnTo>
                    <a:pt x="414" y="216"/>
                  </a:lnTo>
                  <a:lnTo>
                    <a:pt x="414" y="216"/>
                  </a:lnTo>
                  <a:lnTo>
                    <a:pt x="414" y="214"/>
                  </a:lnTo>
                  <a:lnTo>
                    <a:pt x="414" y="212"/>
                  </a:lnTo>
                  <a:lnTo>
                    <a:pt x="414" y="210"/>
                  </a:lnTo>
                  <a:lnTo>
                    <a:pt x="414" y="208"/>
                  </a:lnTo>
                  <a:lnTo>
                    <a:pt x="414" y="206"/>
                  </a:lnTo>
                  <a:lnTo>
                    <a:pt x="412" y="204"/>
                  </a:lnTo>
                  <a:lnTo>
                    <a:pt x="412" y="202"/>
                  </a:lnTo>
                  <a:lnTo>
                    <a:pt x="412" y="202"/>
                  </a:lnTo>
                  <a:lnTo>
                    <a:pt x="410" y="202"/>
                  </a:lnTo>
                  <a:lnTo>
                    <a:pt x="410" y="200"/>
                  </a:lnTo>
                  <a:lnTo>
                    <a:pt x="408" y="200"/>
                  </a:lnTo>
                  <a:lnTo>
                    <a:pt x="406" y="198"/>
                  </a:lnTo>
                  <a:lnTo>
                    <a:pt x="404" y="198"/>
                  </a:lnTo>
                  <a:lnTo>
                    <a:pt x="402" y="198"/>
                  </a:lnTo>
                  <a:lnTo>
                    <a:pt x="400" y="198"/>
                  </a:lnTo>
                  <a:lnTo>
                    <a:pt x="398" y="198"/>
                  </a:lnTo>
                  <a:lnTo>
                    <a:pt x="396" y="198"/>
                  </a:lnTo>
                  <a:lnTo>
                    <a:pt x="390" y="198"/>
                  </a:lnTo>
                  <a:lnTo>
                    <a:pt x="386" y="198"/>
                  </a:lnTo>
                  <a:lnTo>
                    <a:pt x="382" y="198"/>
                  </a:lnTo>
                  <a:lnTo>
                    <a:pt x="380" y="198"/>
                  </a:lnTo>
                  <a:lnTo>
                    <a:pt x="380" y="198"/>
                  </a:lnTo>
                  <a:lnTo>
                    <a:pt x="378" y="200"/>
                  </a:lnTo>
                  <a:lnTo>
                    <a:pt x="376" y="200"/>
                  </a:lnTo>
                  <a:lnTo>
                    <a:pt x="374" y="202"/>
                  </a:lnTo>
                  <a:lnTo>
                    <a:pt x="372" y="204"/>
                  </a:lnTo>
                  <a:lnTo>
                    <a:pt x="370" y="206"/>
                  </a:lnTo>
                  <a:lnTo>
                    <a:pt x="368" y="206"/>
                  </a:lnTo>
                  <a:lnTo>
                    <a:pt x="366" y="208"/>
                  </a:lnTo>
                  <a:lnTo>
                    <a:pt x="366" y="210"/>
                  </a:lnTo>
                  <a:lnTo>
                    <a:pt x="364" y="212"/>
                  </a:lnTo>
                  <a:lnTo>
                    <a:pt x="364" y="214"/>
                  </a:lnTo>
                  <a:lnTo>
                    <a:pt x="362" y="214"/>
                  </a:lnTo>
                  <a:lnTo>
                    <a:pt x="362" y="216"/>
                  </a:lnTo>
                  <a:lnTo>
                    <a:pt x="360" y="222"/>
                  </a:lnTo>
                  <a:lnTo>
                    <a:pt x="358" y="226"/>
                  </a:lnTo>
                  <a:lnTo>
                    <a:pt x="356" y="230"/>
                  </a:lnTo>
                  <a:lnTo>
                    <a:pt x="354" y="234"/>
                  </a:lnTo>
                  <a:lnTo>
                    <a:pt x="354" y="236"/>
                  </a:lnTo>
                  <a:lnTo>
                    <a:pt x="352" y="238"/>
                  </a:lnTo>
                  <a:lnTo>
                    <a:pt x="352" y="240"/>
                  </a:lnTo>
                  <a:lnTo>
                    <a:pt x="350" y="240"/>
                  </a:lnTo>
                  <a:lnTo>
                    <a:pt x="350" y="240"/>
                  </a:lnTo>
                  <a:lnTo>
                    <a:pt x="348" y="242"/>
                  </a:lnTo>
                  <a:lnTo>
                    <a:pt x="346" y="242"/>
                  </a:lnTo>
                  <a:lnTo>
                    <a:pt x="342" y="244"/>
                  </a:lnTo>
                  <a:lnTo>
                    <a:pt x="340" y="244"/>
                  </a:lnTo>
                  <a:lnTo>
                    <a:pt x="336" y="246"/>
                  </a:lnTo>
                  <a:lnTo>
                    <a:pt x="332" y="246"/>
                  </a:lnTo>
                  <a:lnTo>
                    <a:pt x="328" y="246"/>
                  </a:lnTo>
                  <a:lnTo>
                    <a:pt x="320" y="248"/>
                  </a:lnTo>
                  <a:lnTo>
                    <a:pt x="316" y="248"/>
                  </a:lnTo>
                  <a:lnTo>
                    <a:pt x="312" y="248"/>
                  </a:lnTo>
                  <a:lnTo>
                    <a:pt x="308" y="248"/>
                  </a:lnTo>
                  <a:lnTo>
                    <a:pt x="302" y="248"/>
                  </a:lnTo>
                  <a:lnTo>
                    <a:pt x="300" y="248"/>
                  </a:lnTo>
                  <a:lnTo>
                    <a:pt x="298" y="248"/>
                  </a:lnTo>
                  <a:lnTo>
                    <a:pt x="296" y="248"/>
                  </a:lnTo>
                  <a:lnTo>
                    <a:pt x="292" y="246"/>
                  </a:lnTo>
                  <a:lnTo>
                    <a:pt x="290" y="246"/>
                  </a:lnTo>
                  <a:lnTo>
                    <a:pt x="286" y="244"/>
                  </a:lnTo>
                  <a:lnTo>
                    <a:pt x="282" y="242"/>
                  </a:lnTo>
                  <a:lnTo>
                    <a:pt x="280" y="238"/>
                  </a:lnTo>
                  <a:lnTo>
                    <a:pt x="276" y="236"/>
                  </a:lnTo>
                  <a:lnTo>
                    <a:pt x="274" y="234"/>
                  </a:lnTo>
                  <a:lnTo>
                    <a:pt x="272" y="232"/>
                  </a:lnTo>
                  <a:lnTo>
                    <a:pt x="272" y="232"/>
                  </a:lnTo>
                  <a:lnTo>
                    <a:pt x="270" y="230"/>
                  </a:lnTo>
                  <a:lnTo>
                    <a:pt x="270" y="228"/>
                  </a:lnTo>
                  <a:lnTo>
                    <a:pt x="270" y="226"/>
                  </a:lnTo>
                  <a:lnTo>
                    <a:pt x="268" y="222"/>
                  </a:lnTo>
                  <a:lnTo>
                    <a:pt x="268" y="220"/>
                  </a:lnTo>
                  <a:lnTo>
                    <a:pt x="268" y="218"/>
                  </a:lnTo>
                  <a:lnTo>
                    <a:pt x="266" y="212"/>
                  </a:lnTo>
                  <a:lnTo>
                    <a:pt x="266" y="200"/>
                  </a:lnTo>
                  <a:lnTo>
                    <a:pt x="266" y="194"/>
                  </a:lnTo>
                  <a:lnTo>
                    <a:pt x="264" y="192"/>
                  </a:lnTo>
                  <a:lnTo>
                    <a:pt x="264" y="190"/>
                  </a:lnTo>
                  <a:lnTo>
                    <a:pt x="264" y="186"/>
                  </a:lnTo>
                  <a:lnTo>
                    <a:pt x="262" y="184"/>
                  </a:lnTo>
                  <a:lnTo>
                    <a:pt x="260" y="176"/>
                  </a:lnTo>
                  <a:lnTo>
                    <a:pt x="258" y="172"/>
                  </a:lnTo>
                  <a:lnTo>
                    <a:pt x="258" y="168"/>
                  </a:lnTo>
                  <a:lnTo>
                    <a:pt x="258" y="164"/>
                  </a:lnTo>
                  <a:lnTo>
                    <a:pt x="258" y="162"/>
                  </a:lnTo>
                  <a:lnTo>
                    <a:pt x="256" y="160"/>
                  </a:lnTo>
                  <a:lnTo>
                    <a:pt x="258" y="158"/>
                  </a:lnTo>
                  <a:lnTo>
                    <a:pt x="258" y="156"/>
                  </a:lnTo>
                  <a:lnTo>
                    <a:pt x="258" y="154"/>
                  </a:lnTo>
                  <a:lnTo>
                    <a:pt x="260" y="150"/>
                  </a:lnTo>
                  <a:lnTo>
                    <a:pt x="262" y="144"/>
                  </a:lnTo>
                  <a:lnTo>
                    <a:pt x="262" y="142"/>
                  </a:lnTo>
                  <a:lnTo>
                    <a:pt x="264" y="140"/>
                  </a:lnTo>
                  <a:lnTo>
                    <a:pt x="264" y="134"/>
                  </a:lnTo>
                  <a:lnTo>
                    <a:pt x="266" y="128"/>
                  </a:lnTo>
                  <a:lnTo>
                    <a:pt x="266" y="12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9" name="Freeform 524">
              <a:extLst>
                <a:ext uri="{FF2B5EF4-FFF2-40B4-BE49-F238E27FC236}">
                  <a16:creationId xmlns:a16="http://schemas.microsoft.com/office/drawing/2014/main" id="{C152971D-0B05-4D31-A985-D842E4FBEEC6}"/>
                </a:ext>
              </a:extLst>
            </p:cNvPr>
            <p:cNvSpPr>
              <a:spLocks/>
            </p:cNvSpPr>
            <p:nvPr/>
          </p:nvSpPr>
          <p:spPr bwMode="auto">
            <a:xfrm>
              <a:off x="444790" y="2307910"/>
              <a:ext cx="831396" cy="685902"/>
            </a:xfrm>
            <a:custGeom>
              <a:avLst/>
              <a:gdLst>
                <a:gd name="T0" fmla="*/ 210 w 480"/>
                <a:gd name="T1" fmla="*/ 10 h 396"/>
                <a:gd name="T2" fmla="*/ 192 w 480"/>
                <a:gd name="T3" fmla="*/ 26 h 396"/>
                <a:gd name="T4" fmla="*/ 154 w 480"/>
                <a:gd name="T5" fmla="*/ 34 h 396"/>
                <a:gd name="T6" fmla="*/ 120 w 480"/>
                <a:gd name="T7" fmla="*/ 60 h 396"/>
                <a:gd name="T8" fmla="*/ 90 w 480"/>
                <a:gd name="T9" fmla="*/ 78 h 396"/>
                <a:gd name="T10" fmla="*/ 152 w 480"/>
                <a:gd name="T11" fmla="*/ 106 h 396"/>
                <a:gd name="T12" fmla="*/ 150 w 480"/>
                <a:gd name="T13" fmla="*/ 118 h 396"/>
                <a:gd name="T14" fmla="*/ 106 w 480"/>
                <a:gd name="T15" fmla="*/ 122 h 396"/>
                <a:gd name="T16" fmla="*/ 84 w 480"/>
                <a:gd name="T17" fmla="*/ 118 h 396"/>
                <a:gd name="T18" fmla="*/ 60 w 480"/>
                <a:gd name="T19" fmla="*/ 126 h 396"/>
                <a:gd name="T20" fmla="*/ 64 w 480"/>
                <a:gd name="T21" fmla="*/ 142 h 396"/>
                <a:gd name="T22" fmla="*/ 68 w 480"/>
                <a:gd name="T23" fmla="*/ 162 h 396"/>
                <a:gd name="T24" fmla="*/ 112 w 480"/>
                <a:gd name="T25" fmla="*/ 162 h 396"/>
                <a:gd name="T26" fmla="*/ 132 w 480"/>
                <a:gd name="T27" fmla="*/ 164 h 396"/>
                <a:gd name="T28" fmla="*/ 120 w 480"/>
                <a:gd name="T29" fmla="*/ 188 h 396"/>
                <a:gd name="T30" fmla="*/ 94 w 480"/>
                <a:gd name="T31" fmla="*/ 196 h 396"/>
                <a:gd name="T32" fmla="*/ 78 w 480"/>
                <a:gd name="T33" fmla="*/ 192 h 396"/>
                <a:gd name="T34" fmla="*/ 58 w 480"/>
                <a:gd name="T35" fmla="*/ 216 h 396"/>
                <a:gd name="T36" fmla="*/ 38 w 480"/>
                <a:gd name="T37" fmla="*/ 232 h 396"/>
                <a:gd name="T38" fmla="*/ 56 w 480"/>
                <a:gd name="T39" fmla="*/ 248 h 396"/>
                <a:gd name="T40" fmla="*/ 44 w 480"/>
                <a:gd name="T41" fmla="*/ 264 h 396"/>
                <a:gd name="T42" fmla="*/ 70 w 480"/>
                <a:gd name="T43" fmla="*/ 258 h 396"/>
                <a:gd name="T44" fmla="*/ 70 w 480"/>
                <a:gd name="T45" fmla="*/ 284 h 396"/>
                <a:gd name="T46" fmla="*/ 76 w 480"/>
                <a:gd name="T47" fmla="*/ 302 h 396"/>
                <a:gd name="T48" fmla="*/ 102 w 480"/>
                <a:gd name="T49" fmla="*/ 302 h 396"/>
                <a:gd name="T50" fmla="*/ 122 w 480"/>
                <a:gd name="T51" fmla="*/ 306 h 396"/>
                <a:gd name="T52" fmla="*/ 84 w 480"/>
                <a:gd name="T53" fmla="*/ 346 h 396"/>
                <a:gd name="T54" fmla="*/ 0 w 480"/>
                <a:gd name="T55" fmla="*/ 388 h 396"/>
                <a:gd name="T56" fmla="*/ 44 w 480"/>
                <a:gd name="T57" fmla="*/ 390 h 396"/>
                <a:gd name="T58" fmla="*/ 148 w 480"/>
                <a:gd name="T59" fmla="*/ 326 h 396"/>
                <a:gd name="T60" fmla="*/ 176 w 480"/>
                <a:gd name="T61" fmla="*/ 298 h 396"/>
                <a:gd name="T62" fmla="*/ 204 w 480"/>
                <a:gd name="T63" fmla="*/ 264 h 396"/>
                <a:gd name="T64" fmla="*/ 244 w 480"/>
                <a:gd name="T65" fmla="*/ 240 h 396"/>
                <a:gd name="T66" fmla="*/ 222 w 480"/>
                <a:gd name="T67" fmla="*/ 262 h 396"/>
                <a:gd name="T68" fmla="*/ 218 w 480"/>
                <a:gd name="T69" fmla="*/ 280 h 396"/>
                <a:gd name="T70" fmla="*/ 216 w 480"/>
                <a:gd name="T71" fmla="*/ 294 h 396"/>
                <a:gd name="T72" fmla="*/ 252 w 480"/>
                <a:gd name="T73" fmla="*/ 270 h 396"/>
                <a:gd name="T74" fmla="*/ 270 w 480"/>
                <a:gd name="T75" fmla="*/ 248 h 396"/>
                <a:gd name="T76" fmla="*/ 290 w 480"/>
                <a:gd name="T77" fmla="*/ 246 h 396"/>
                <a:gd name="T78" fmla="*/ 306 w 480"/>
                <a:gd name="T79" fmla="*/ 254 h 396"/>
                <a:gd name="T80" fmla="*/ 334 w 480"/>
                <a:gd name="T81" fmla="*/ 266 h 396"/>
                <a:gd name="T82" fmla="*/ 358 w 480"/>
                <a:gd name="T83" fmla="*/ 280 h 396"/>
                <a:gd name="T84" fmla="*/ 374 w 480"/>
                <a:gd name="T85" fmla="*/ 294 h 396"/>
                <a:gd name="T86" fmla="*/ 390 w 480"/>
                <a:gd name="T87" fmla="*/ 302 h 396"/>
                <a:gd name="T88" fmla="*/ 406 w 480"/>
                <a:gd name="T89" fmla="*/ 300 h 396"/>
                <a:gd name="T90" fmla="*/ 424 w 480"/>
                <a:gd name="T91" fmla="*/ 314 h 396"/>
                <a:gd name="T92" fmla="*/ 432 w 480"/>
                <a:gd name="T93" fmla="*/ 324 h 396"/>
                <a:gd name="T94" fmla="*/ 448 w 480"/>
                <a:gd name="T95" fmla="*/ 340 h 396"/>
                <a:gd name="T96" fmla="*/ 466 w 480"/>
                <a:gd name="T97" fmla="*/ 358 h 396"/>
                <a:gd name="T98" fmla="*/ 464 w 480"/>
                <a:gd name="T99" fmla="*/ 344 h 396"/>
                <a:gd name="T100" fmla="*/ 452 w 480"/>
                <a:gd name="T101" fmla="*/ 316 h 396"/>
                <a:gd name="T102" fmla="*/ 426 w 480"/>
                <a:gd name="T103" fmla="*/ 274 h 396"/>
                <a:gd name="T104" fmla="*/ 410 w 480"/>
                <a:gd name="T105" fmla="*/ 282 h 396"/>
                <a:gd name="T106" fmla="*/ 398 w 480"/>
                <a:gd name="T107" fmla="*/ 290 h 396"/>
                <a:gd name="T108" fmla="*/ 382 w 480"/>
                <a:gd name="T109" fmla="*/ 264 h 396"/>
                <a:gd name="T110" fmla="*/ 416 w 480"/>
                <a:gd name="T111" fmla="*/ 30 h 396"/>
                <a:gd name="T112" fmla="*/ 362 w 480"/>
                <a:gd name="T113" fmla="*/ 32 h 396"/>
                <a:gd name="T114" fmla="*/ 328 w 480"/>
                <a:gd name="T115" fmla="*/ 24 h 396"/>
                <a:gd name="T116" fmla="*/ 294 w 480"/>
                <a:gd name="T117" fmla="*/ 6 h 396"/>
                <a:gd name="T118" fmla="*/ 262 w 480"/>
                <a:gd name="T119" fmla="*/ 20 h 396"/>
                <a:gd name="T120" fmla="*/ 252 w 480"/>
                <a:gd name="T121" fmla="*/ 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0" h="396">
                  <a:moveTo>
                    <a:pt x="244" y="0"/>
                  </a:moveTo>
                  <a:lnTo>
                    <a:pt x="244" y="0"/>
                  </a:lnTo>
                  <a:lnTo>
                    <a:pt x="242" y="2"/>
                  </a:lnTo>
                  <a:lnTo>
                    <a:pt x="242" y="2"/>
                  </a:lnTo>
                  <a:lnTo>
                    <a:pt x="240" y="2"/>
                  </a:lnTo>
                  <a:lnTo>
                    <a:pt x="238" y="4"/>
                  </a:lnTo>
                  <a:lnTo>
                    <a:pt x="236" y="6"/>
                  </a:lnTo>
                  <a:lnTo>
                    <a:pt x="236" y="8"/>
                  </a:lnTo>
                  <a:lnTo>
                    <a:pt x="234" y="10"/>
                  </a:lnTo>
                  <a:lnTo>
                    <a:pt x="232" y="10"/>
                  </a:lnTo>
                  <a:lnTo>
                    <a:pt x="232" y="10"/>
                  </a:lnTo>
                  <a:lnTo>
                    <a:pt x="230" y="10"/>
                  </a:lnTo>
                  <a:lnTo>
                    <a:pt x="230" y="12"/>
                  </a:lnTo>
                  <a:lnTo>
                    <a:pt x="228" y="12"/>
                  </a:lnTo>
                  <a:lnTo>
                    <a:pt x="226" y="12"/>
                  </a:lnTo>
                  <a:lnTo>
                    <a:pt x="224" y="12"/>
                  </a:lnTo>
                  <a:lnTo>
                    <a:pt x="220" y="12"/>
                  </a:lnTo>
                  <a:lnTo>
                    <a:pt x="216" y="10"/>
                  </a:lnTo>
                  <a:lnTo>
                    <a:pt x="210" y="10"/>
                  </a:lnTo>
                  <a:lnTo>
                    <a:pt x="208" y="10"/>
                  </a:lnTo>
                  <a:lnTo>
                    <a:pt x="206" y="10"/>
                  </a:lnTo>
                  <a:lnTo>
                    <a:pt x="204" y="10"/>
                  </a:lnTo>
                  <a:lnTo>
                    <a:pt x="204" y="10"/>
                  </a:lnTo>
                  <a:lnTo>
                    <a:pt x="202" y="10"/>
                  </a:lnTo>
                  <a:lnTo>
                    <a:pt x="200" y="10"/>
                  </a:lnTo>
                  <a:lnTo>
                    <a:pt x="200" y="12"/>
                  </a:lnTo>
                  <a:lnTo>
                    <a:pt x="200" y="12"/>
                  </a:lnTo>
                  <a:lnTo>
                    <a:pt x="198" y="14"/>
                  </a:lnTo>
                  <a:lnTo>
                    <a:pt x="198" y="14"/>
                  </a:lnTo>
                  <a:lnTo>
                    <a:pt x="198" y="16"/>
                  </a:lnTo>
                  <a:lnTo>
                    <a:pt x="196" y="18"/>
                  </a:lnTo>
                  <a:lnTo>
                    <a:pt x="196" y="20"/>
                  </a:lnTo>
                  <a:lnTo>
                    <a:pt x="194" y="24"/>
                  </a:lnTo>
                  <a:lnTo>
                    <a:pt x="194" y="24"/>
                  </a:lnTo>
                  <a:lnTo>
                    <a:pt x="194" y="24"/>
                  </a:lnTo>
                  <a:lnTo>
                    <a:pt x="194" y="26"/>
                  </a:lnTo>
                  <a:lnTo>
                    <a:pt x="192" y="26"/>
                  </a:lnTo>
                  <a:lnTo>
                    <a:pt x="192" y="26"/>
                  </a:lnTo>
                  <a:lnTo>
                    <a:pt x="192" y="26"/>
                  </a:lnTo>
                  <a:lnTo>
                    <a:pt x="190" y="28"/>
                  </a:lnTo>
                  <a:lnTo>
                    <a:pt x="188" y="28"/>
                  </a:lnTo>
                  <a:lnTo>
                    <a:pt x="186" y="28"/>
                  </a:lnTo>
                  <a:lnTo>
                    <a:pt x="182" y="28"/>
                  </a:lnTo>
                  <a:lnTo>
                    <a:pt x="180" y="28"/>
                  </a:lnTo>
                  <a:lnTo>
                    <a:pt x="176" y="28"/>
                  </a:lnTo>
                  <a:lnTo>
                    <a:pt x="170" y="26"/>
                  </a:lnTo>
                  <a:lnTo>
                    <a:pt x="168" y="26"/>
                  </a:lnTo>
                  <a:lnTo>
                    <a:pt x="164" y="26"/>
                  </a:lnTo>
                  <a:lnTo>
                    <a:pt x="162" y="28"/>
                  </a:lnTo>
                  <a:lnTo>
                    <a:pt x="160" y="28"/>
                  </a:lnTo>
                  <a:lnTo>
                    <a:pt x="158" y="28"/>
                  </a:lnTo>
                  <a:lnTo>
                    <a:pt x="158" y="28"/>
                  </a:lnTo>
                  <a:lnTo>
                    <a:pt x="158" y="28"/>
                  </a:lnTo>
                  <a:lnTo>
                    <a:pt x="156" y="30"/>
                  </a:lnTo>
                  <a:lnTo>
                    <a:pt x="156" y="30"/>
                  </a:lnTo>
                  <a:lnTo>
                    <a:pt x="154" y="32"/>
                  </a:lnTo>
                  <a:lnTo>
                    <a:pt x="154" y="34"/>
                  </a:lnTo>
                  <a:lnTo>
                    <a:pt x="152" y="36"/>
                  </a:lnTo>
                  <a:lnTo>
                    <a:pt x="152" y="38"/>
                  </a:lnTo>
                  <a:lnTo>
                    <a:pt x="152" y="42"/>
                  </a:lnTo>
                  <a:lnTo>
                    <a:pt x="150" y="46"/>
                  </a:lnTo>
                  <a:lnTo>
                    <a:pt x="150" y="48"/>
                  </a:lnTo>
                  <a:lnTo>
                    <a:pt x="148" y="50"/>
                  </a:lnTo>
                  <a:lnTo>
                    <a:pt x="148" y="52"/>
                  </a:lnTo>
                  <a:lnTo>
                    <a:pt x="146" y="54"/>
                  </a:lnTo>
                  <a:lnTo>
                    <a:pt x="146" y="56"/>
                  </a:lnTo>
                  <a:lnTo>
                    <a:pt x="144" y="56"/>
                  </a:lnTo>
                  <a:lnTo>
                    <a:pt x="144" y="58"/>
                  </a:lnTo>
                  <a:lnTo>
                    <a:pt x="142" y="58"/>
                  </a:lnTo>
                  <a:lnTo>
                    <a:pt x="142" y="58"/>
                  </a:lnTo>
                  <a:lnTo>
                    <a:pt x="140" y="58"/>
                  </a:lnTo>
                  <a:lnTo>
                    <a:pt x="138" y="60"/>
                  </a:lnTo>
                  <a:lnTo>
                    <a:pt x="134" y="60"/>
                  </a:lnTo>
                  <a:lnTo>
                    <a:pt x="130" y="60"/>
                  </a:lnTo>
                  <a:lnTo>
                    <a:pt x="128" y="60"/>
                  </a:lnTo>
                  <a:lnTo>
                    <a:pt x="120" y="60"/>
                  </a:lnTo>
                  <a:lnTo>
                    <a:pt x="112" y="60"/>
                  </a:lnTo>
                  <a:lnTo>
                    <a:pt x="108" y="60"/>
                  </a:lnTo>
                  <a:lnTo>
                    <a:pt x="106" y="60"/>
                  </a:lnTo>
                  <a:lnTo>
                    <a:pt x="102" y="60"/>
                  </a:lnTo>
                  <a:lnTo>
                    <a:pt x="100" y="62"/>
                  </a:lnTo>
                  <a:lnTo>
                    <a:pt x="98" y="62"/>
                  </a:lnTo>
                  <a:lnTo>
                    <a:pt x="96" y="62"/>
                  </a:lnTo>
                  <a:lnTo>
                    <a:pt x="96" y="64"/>
                  </a:lnTo>
                  <a:lnTo>
                    <a:pt x="94" y="64"/>
                  </a:lnTo>
                  <a:lnTo>
                    <a:pt x="94" y="64"/>
                  </a:lnTo>
                  <a:lnTo>
                    <a:pt x="92" y="66"/>
                  </a:lnTo>
                  <a:lnTo>
                    <a:pt x="92" y="68"/>
                  </a:lnTo>
                  <a:lnTo>
                    <a:pt x="90" y="70"/>
                  </a:lnTo>
                  <a:lnTo>
                    <a:pt x="90" y="72"/>
                  </a:lnTo>
                  <a:lnTo>
                    <a:pt x="90" y="74"/>
                  </a:lnTo>
                  <a:lnTo>
                    <a:pt x="90" y="76"/>
                  </a:lnTo>
                  <a:lnTo>
                    <a:pt x="90" y="76"/>
                  </a:lnTo>
                  <a:lnTo>
                    <a:pt x="90" y="76"/>
                  </a:lnTo>
                  <a:lnTo>
                    <a:pt x="90" y="78"/>
                  </a:lnTo>
                  <a:lnTo>
                    <a:pt x="90" y="80"/>
                  </a:lnTo>
                  <a:lnTo>
                    <a:pt x="92" y="82"/>
                  </a:lnTo>
                  <a:lnTo>
                    <a:pt x="94" y="82"/>
                  </a:lnTo>
                  <a:lnTo>
                    <a:pt x="96" y="84"/>
                  </a:lnTo>
                  <a:lnTo>
                    <a:pt x="98" y="86"/>
                  </a:lnTo>
                  <a:lnTo>
                    <a:pt x="100" y="86"/>
                  </a:lnTo>
                  <a:lnTo>
                    <a:pt x="102" y="88"/>
                  </a:lnTo>
                  <a:lnTo>
                    <a:pt x="106" y="90"/>
                  </a:lnTo>
                  <a:lnTo>
                    <a:pt x="110" y="92"/>
                  </a:lnTo>
                  <a:lnTo>
                    <a:pt x="118" y="96"/>
                  </a:lnTo>
                  <a:lnTo>
                    <a:pt x="120" y="98"/>
                  </a:lnTo>
                  <a:lnTo>
                    <a:pt x="122" y="98"/>
                  </a:lnTo>
                  <a:lnTo>
                    <a:pt x="124" y="100"/>
                  </a:lnTo>
                  <a:lnTo>
                    <a:pt x="128" y="100"/>
                  </a:lnTo>
                  <a:lnTo>
                    <a:pt x="136" y="102"/>
                  </a:lnTo>
                  <a:lnTo>
                    <a:pt x="142" y="104"/>
                  </a:lnTo>
                  <a:lnTo>
                    <a:pt x="146" y="104"/>
                  </a:lnTo>
                  <a:lnTo>
                    <a:pt x="150" y="106"/>
                  </a:lnTo>
                  <a:lnTo>
                    <a:pt x="152" y="106"/>
                  </a:lnTo>
                  <a:lnTo>
                    <a:pt x="156" y="108"/>
                  </a:lnTo>
                  <a:lnTo>
                    <a:pt x="156" y="108"/>
                  </a:lnTo>
                  <a:lnTo>
                    <a:pt x="158" y="108"/>
                  </a:lnTo>
                  <a:lnTo>
                    <a:pt x="158" y="110"/>
                  </a:lnTo>
                  <a:lnTo>
                    <a:pt x="158" y="110"/>
                  </a:lnTo>
                  <a:lnTo>
                    <a:pt x="160" y="112"/>
                  </a:lnTo>
                  <a:lnTo>
                    <a:pt x="160" y="112"/>
                  </a:lnTo>
                  <a:lnTo>
                    <a:pt x="160" y="114"/>
                  </a:lnTo>
                  <a:lnTo>
                    <a:pt x="160" y="114"/>
                  </a:lnTo>
                  <a:lnTo>
                    <a:pt x="160" y="114"/>
                  </a:lnTo>
                  <a:lnTo>
                    <a:pt x="160" y="116"/>
                  </a:lnTo>
                  <a:lnTo>
                    <a:pt x="160" y="116"/>
                  </a:lnTo>
                  <a:lnTo>
                    <a:pt x="158" y="116"/>
                  </a:lnTo>
                  <a:lnTo>
                    <a:pt x="158" y="118"/>
                  </a:lnTo>
                  <a:lnTo>
                    <a:pt x="158" y="118"/>
                  </a:lnTo>
                  <a:lnTo>
                    <a:pt x="156" y="118"/>
                  </a:lnTo>
                  <a:lnTo>
                    <a:pt x="154" y="118"/>
                  </a:lnTo>
                  <a:lnTo>
                    <a:pt x="152" y="118"/>
                  </a:lnTo>
                  <a:lnTo>
                    <a:pt x="150" y="118"/>
                  </a:lnTo>
                  <a:lnTo>
                    <a:pt x="148" y="118"/>
                  </a:lnTo>
                  <a:lnTo>
                    <a:pt x="142" y="118"/>
                  </a:lnTo>
                  <a:lnTo>
                    <a:pt x="138" y="118"/>
                  </a:lnTo>
                  <a:lnTo>
                    <a:pt x="134" y="118"/>
                  </a:lnTo>
                  <a:lnTo>
                    <a:pt x="132" y="118"/>
                  </a:lnTo>
                  <a:lnTo>
                    <a:pt x="130" y="120"/>
                  </a:lnTo>
                  <a:lnTo>
                    <a:pt x="128" y="120"/>
                  </a:lnTo>
                  <a:lnTo>
                    <a:pt x="124" y="120"/>
                  </a:lnTo>
                  <a:lnTo>
                    <a:pt x="120" y="122"/>
                  </a:lnTo>
                  <a:lnTo>
                    <a:pt x="116" y="124"/>
                  </a:lnTo>
                  <a:lnTo>
                    <a:pt x="114" y="124"/>
                  </a:lnTo>
                  <a:lnTo>
                    <a:pt x="112" y="124"/>
                  </a:lnTo>
                  <a:lnTo>
                    <a:pt x="112" y="124"/>
                  </a:lnTo>
                  <a:lnTo>
                    <a:pt x="110" y="124"/>
                  </a:lnTo>
                  <a:lnTo>
                    <a:pt x="110" y="124"/>
                  </a:lnTo>
                  <a:lnTo>
                    <a:pt x="108" y="124"/>
                  </a:lnTo>
                  <a:lnTo>
                    <a:pt x="108" y="124"/>
                  </a:lnTo>
                  <a:lnTo>
                    <a:pt x="108" y="122"/>
                  </a:lnTo>
                  <a:lnTo>
                    <a:pt x="106" y="122"/>
                  </a:lnTo>
                  <a:lnTo>
                    <a:pt x="106" y="120"/>
                  </a:lnTo>
                  <a:lnTo>
                    <a:pt x="104" y="118"/>
                  </a:lnTo>
                  <a:lnTo>
                    <a:pt x="104" y="116"/>
                  </a:lnTo>
                  <a:lnTo>
                    <a:pt x="102" y="114"/>
                  </a:lnTo>
                  <a:lnTo>
                    <a:pt x="102" y="114"/>
                  </a:lnTo>
                  <a:lnTo>
                    <a:pt x="100" y="112"/>
                  </a:lnTo>
                  <a:lnTo>
                    <a:pt x="100" y="112"/>
                  </a:lnTo>
                  <a:lnTo>
                    <a:pt x="100" y="112"/>
                  </a:lnTo>
                  <a:lnTo>
                    <a:pt x="98" y="112"/>
                  </a:lnTo>
                  <a:lnTo>
                    <a:pt x="98" y="112"/>
                  </a:lnTo>
                  <a:lnTo>
                    <a:pt x="96" y="112"/>
                  </a:lnTo>
                  <a:lnTo>
                    <a:pt x="94" y="112"/>
                  </a:lnTo>
                  <a:lnTo>
                    <a:pt x="92" y="112"/>
                  </a:lnTo>
                  <a:lnTo>
                    <a:pt x="90" y="114"/>
                  </a:lnTo>
                  <a:lnTo>
                    <a:pt x="88" y="114"/>
                  </a:lnTo>
                  <a:lnTo>
                    <a:pt x="86" y="116"/>
                  </a:lnTo>
                  <a:lnTo>
                    <a:pt x="84" y="116"/>
                  </a:lnTo>
                  <a:lnTo>
                    <a:pt x="84" y="116"/>
                  </a:lnTo>
                  <a:lnTo>
                    <a:pt x="84" y="118"/>
                  </a:lnTo>
                  <a:lnTo>
                    <a:pt x="84" y="118"/>
                  </a:lnTo>
                  <a:lnTo>
                    <a:pt x="84" y="120"/>
                  </a:lnTo>
                  <a:lnTo>
                    <a:pt x="84" y="122"/>
                  </a:lnTo>
                  <a:lnTo>
                    <a:pt x="84" y="122"/>
                  </a:lnTo>
                  <a:lnTo>
                    <a:pt x="84" y="124"/>
                  </a:lnTo>
                  <a:lnTo>
                    <a:pt x="84" y="124"/>
                  </a:lnTo>
                  <a:lnTo>
                    <a:pt x="84" y="124"/>
                  </a:lnTo>
                  <a:lnTo>
                    <a:pt x="84" y="126"/>
                  </a:lnTo>
                  <a:lnTo>
                    <a:pt x="82" y="126"/>
                  </a:lnTo>
                  <a:lnTo>
                    <a:pt x="80" y="126"/>
                  </a:lnTo>
                  <a:lnTo>
                    <a:pt x="80" y="126"/>
                  </a:lnTo>
                  <a:lnTo>
                    <a:pt x="78" y="126"/>
                  </a:lnTo>
                  <a:lnTo>
                    <a:pt x="76" y="126"/>
                  </a:lnTo>
                  <a:lnTo>
                    <a:pt x="72" y="126"/>
                  </a:lnTo>
                  <a:lnTo>
                    <a:pt x="68" y="126"/>
                  </a:lnTo>
                  <a:lnTo>
                    <a:pt x="64" y="126"/>
                  </a:lnTo>
                  <a:lnTo>
                    <a:pt x="64" y="126"/>
                  </a:lnTo>
                  <a:lnTo>
                    <a:pt x="62" y="126"/>
                  </a:lnTo>
                  <a:lnTo>
                    <a:pt x="60" y="126"/>
                  </a:lnTo>
                  <a:lnTo>
                    <a:pt x="58" y="126"/>
                  </a:lnTo>
                  <a:lnTo>
                    <a:pt x="58" y="128"/>
                  </a:lnTo>
                  <a:lnTo>
                    <a:pt x="56" y="128"/>
                  </a:lnTo>
                  <a:lnTo>
                    <a:pt x="56" y="130"/>
                  </a:lnTo>
                  <a:lnTo>
                    <a:pt x="54" y="132"/>
                  </a:lnTo>
                  <a:lnTo>
                    <a:pt x="52" y="132"/>
                  </a:lnTo>
                  <a:lnTo>
                    <a:pt x="52" y="134"/>
                  </a:lnTo>
                  <a:lnTo>
                    <a:pt x="52" y="134"/>
                  </a:lnTo>
                  <a:lnTo>
                    <a:pt x="52" y="136"/>
                  </a:lnTo>
                  <a:lnTo>
                    <a:pt x="52" y="136"/>
                  </a:lnTo>
                  <a:lnTo>
                    <a:pt x="52" y="136"/>
                  </a:lnTo>
                  <a:lnTo>
                    <a:pt x="52" y="138"/>
                  </a:lnTo>
                  <a:lnTo>
                    <a:pt x="52" y="138"/>
                  </a:lnTo>
                  <a:lnTo>
                    <a:pt x="54" y="138"/>
                  </a:lnTo>
                  <a:lnTo>
                    <a:pt x="54" y="140"/>
                  </a:lnTo>
                  <a:lnTo>
                    <a:pt x="56" y="140"/>
                  </a:lnTo>
                  <a:lnTo>
                    <a:pt x="58" y="140"/>
                  </a:lnTo>
                  <a:lnTo>
                    <a:pt x="62" y="142"/>
                  </a:lnTo>
                  <a:lnTo>
                    <a:pt x="64" y="142"/>
                  </a:lnTo>
                  <a:lnTo>
                    <a:pt x="64" y="142"/>
                  </a:lnTo>
                  <a:lnTo>
                    <a:pt x="66" y="144"/>
                  </a:lnTo>
                  <a:lnTo>
                    <a:pt x="66" y="144"/>
                  </a:lnTo>
                  <a:lnTo>
                    <a:pt x="66" y="144"/>
                  </a:lnTo>
                  <a:lnTo>
                    <a:pt x="66" y="146"/>
                  </a:lnTo>
                  <a:lnTo>
                    <a:pt x="66" y="146"/>
                  </a:lnTo>
                  <a:lnTo>
                    <a:pt x="66" y="146"/>
                  </a:lnTo>
                  <a:lnTo>
                    <a:pt x="66" y="148"/>
                  </a:lnTo>
                  <a:lnTo>
                    <a:pt x="66" y="150"/>
                  </a:lnTo>
                  <a:lnTo>
                    <a:pt x="66" y="152"/>
                  </a:lnTo>
                  <a:lnTo>
                    <a:pt x="64" y="154"/>
                  </a:lnTo>
                  <a:lnTo>
                    <a:pt x="64" y="156"/>
                  </a:lnTo>
                  <a:lnTo>
                    <a:pt x="64" y="158"/>
                  </a:lnTo>
                  <a:lnTo>
                    <a:pt x="64" y="158"/>
                  </a:lnTo>
                  <a:lnTo>
                    <a:pt x="64" y="158"/>
                  </a:lnTo>
                  <a:lnTo>
                    <a:pt x="64" y="160"/>
                  </a:lnTo>
                  <a:lnTo>
                    <a:pt x="64" y="160"/>
                  </a:lnTo>
                  <a:lnTo>
                    <a:pt x="66" y="162"/>
                  </a:lnTo>
                  <a:lnTo>
                    <a:pt x="68" y="162"/>
                  </a:lnTo>
                  <a:lnTo>
                    <a:pt x="68" y="164"/>
                  </a:lnTo>
                  <a:lnTo>
                    <a:pt x="70" y="164"/>
                  </a:lnTo>
                  <a:lnTo>
                    <a:pt x="72" y="166"/>
                  </a:lnTo>
                  <a:lnTo>
                    <a:pt x="72" y="166"/>
                  </a:lnTo>
                  <a:lnTo>
                    <a:pt x="74" y="168"/>
                  </a:lnTo>
                  <a:lnTo>
                    <a:pt x="76" y="168"/>
                  </a:lnTo>
                  <a:lnTo>
                    <a:pt x="78" y="168"/>
                  </a:lnTo>
                  <a:lnTo>
                    <a:pt x="80" y="168"/>
                  </a:lnTo>
                  <a:lnTo>
                    <a:pt x="86" y="168"/>
                  </a:lnTo>
                  <a:lnTo>
                    <a:pt x="90" y="168"/>
                  </a:lnTo>
                  <a:lnTo>
                    <a:pt x="94" y="168"/>
                  </a:lnTo>
                  <a:lnTo>
                    <a:pt x="98" y="168"/>
                  </a:lnTo>
                  <a:lnTo>
                    <a:pt x="102" y="168"/>
                  </a:lnTo>
                  <a:lnTo>
                    <a:pt x="104" y="168"/>
                  </a:lnTo>
                  <a:lnTo>
                    <a:pt x="106" y="166"/>
                  </a:lnTo>
                  <a:lnTo>
                    <a:pt x="106" y="166"/>
                  </a:lnTo>
                  <a:lnTo>
                    <a:pt x="108" y="166"/>
                  </a:lnTo>
                  <a:lnTo>
                    <a:pt x="110" y="164"/>
                  </a:lnTo>
                  <a:lnTo>
                    <a:pt x="112" y="162"/>
                  </a:lnTo>
                  <a:lnTo>
                    <a:pt x="114" y="160"/>
                  </a:lnTo>
                  <a:lnTo>
                    <a:pt x="118" y="158"/>
                  </a:lnTo>
                  <a:lnTo>
                    <a:pt x="118" y="156"/>
                  </a:lnTo>
                  <a:lnTo>
                    <a:pt x="120" y="156"/>
                  </a:lnTo>
                  <a:lnTo>
                    <a:pt x="122" y="156"/>
                  </a:lnTo>
                  <a:lnTo>
                    <a:pt x="122" y="154"/>
                  </a:lnTo>
                  <a:lnTo>
                    <a:pt x="124" y="154"/>
                  </a:lnTo>
                  <a:lnTo>
                    <a:pt x="124" y="154"/>
                  </a:lnTo>
                  <a:lnTo>
                    <a:pt x="126" y="154"/>
                  </a:lnTo>
                  <a:lnTo>
                    <a:pt x="126" y="156"/>
                  </a:lnTo>
                  <a:lnTo>
                    <a:pt x="128" y="156"/>
                  </a:lnTo>
                  <a:lnTo>
                    <a:pt x="130" y="158"/>
                  </a:lnTo>
                  <a:lnTo>
                    <a:pt x="130" y="158"/>
                  </a:lnTo>
                  <a:lnTo>
                    <a:pt x="132" y="160"/>
                  </a:lnTo>
                  <a:lnTo>
                    <a:pt x="132" y="160"/>
                  </a:lnTo>
                  <a:lnTo>
                    <a:pt x="132" y="162"/>
                  </a:lnTo>
                  <a:lnTo>
                    <a:pt x="132" y="162"/>
                  </a:lnTo>
                  <a:lnTo>
                    <a:pt x="132" y="162"/>
                  </a:lnTo>
                  <a:lnTo>
                    <a:pt x="132" y="164"/>
                  </a:lnTo>
                  <a:lnTo>
                    <a:pt x="132" y="164"/>
                  </a:lnTo>
                  <a:lnTo>
                    <a:pt x="130" y="164"/>
                  </a:lnTo>
                  <a:lnTo>
                    <a:pt x="130" y="166"/>
                  </a:lnTo>
                  <a:lnTo>
                    <a:pt x="128" y="166"/>
                  </a:lnTo>
                  <a:lnTo>
                    <a:pt x="124" y="168"/>
                  </a:lnTo>
                  <a:lnTo>
                    <a:pt x="124" y="168"/>
                  </a:lnTo>
                  <a:lnTo>
                    <a:pt x="122" y="170"/>
                  </a:lnTo>
                  <a:lnTo>
                    <a:pt x="122" y="170"/>
                  </a:lnTo>
                  <a:lnTo>
                    <a:pt x="122" y="170"/>
                  </a:lnTo>
                  <a:lnTo>
                    <a:pt x="122" y="172"/>
                  </a:lnTo>
                  <a:lnTo>
                    <a:pt x="122" y="174"/>
                  </a:lnTo>
                  <a:lnTo>
                    <a:pt x="122" y="176"/>
                  </a:lnTo>
                  <a:lnTo>
                    <a:pt x="122" y="178"/>
                  </a:lnTo>
                  <a:lnTo>
                    <a:pt x="122" y="182"/>
                  </a:lnTo>
                  <a:lnTo>
                    <a:pt x="122" y="184"/>
                  </a:lnTo>
                  <a:lnTo>
                    <a:pt x="120" y="184"/>
                  </a:lnTo>
                  <a:lnTo>
                    <a:pt x="120" y="186"/>
                  </a:lnTo>
                  <a:lnTo>
                    <a:pt x="120" y="186"/>
                  </a:lnTo>
                  <a:lnTo>
                    <a:pt x="120" y="188"/>
                  </a:lnTo>
                  <a:lnTo>
                    <a:pt x="118" y="188"/>
                  </a:lnTo>
                  <a:lnTo>
                    <a:pt x="118" y="188"/>
                  </a:lnTo>
                  <a:lnTo>
                    <a:pt x="116" y="188"/>
                  </a:lnTo>
                  <a:lnTo>
                    <a:pt x="114" y="188"/>
                  </a:lnTo>
                  <a:lnTo>
                    <a:pt x="114" y="188"/>
                  </a:lnTo>
                  <a:lnTo>
                    <a:pt x="112" y="188"/>
                  </a:lnTo>
                  <a:lnTo>
                    <a:pt x="108" y="188"/>
                  </a:lnTo>
                  <a:lnTo>
                    <a:pt x="106" y="186"/>
                  </a:lnTo>
                  <a:lnTo>
                    <a:pt x="102" y="186"/>
                  </a:lnTo>
                  <a:lnTo>
                    <a:pt x="100" y="186"/>
                  </a:lnTo>
                  <a:lnTo>
                    <a:pt x="100" y="186"/>
                  </a:lnTo>
                  <a:lnTo>
                    <a:pt x="98" y="186"/>
                  </a:lnTo>
                  <a:lnTo>
                    <a:pt x="96" y="188"/>
                  </a:lnTo>
                  <a:lnTo>
                    <a:pt x="96" y="188"/>
                  </a:lnTo>
                  <a:lnTo>
                    <a:pt x="96" y="188"/>
                  </a:lnTo>
                  <a:lnTo>
                    <a:pt x="96" y="190"/>
                  </a:lnTo>
                  <a:lnTo>
                    <a:pt x="96" y="190"/>
                  </a:lnTo>
                  <a:lnTo>
                    <a:pt x="94" y="192"/>
                  </a:lnTo>
                  <a:lnTo>
                    <a:pt x="94" y="196"/>
                  </a:lnTo>
                  <a:lnTo>
                    <a:pt x="94" y="198"/>
                  </a:lnTo>
                  <a:lnTo>
                    <a:pt x="94" y="200"/>
                  </a:lnTo>
                  <a:lnTo>
                    <a:pt x="94" y="200"/>
                  </a:lnTo>
                  <a:lnTo>
                    <a:pt x="94" y="202"/>
                  </a:lnTo>
                  <a:lnTo>
                    <a:pt x="92" y="202"/>
                  </a:lnTo>
                  <a:lnTo>
                    <a:pt x="92" y="202"/>
                  </a:lnTo>
                  <a:lnTo>
                    <a:pt x="92" y="202"/>
                  </a:lnTo>
                  <a:lnTo>
                    <a:pt x="90" y="202"/>
                  </a:lnTo>
                  <a:lnTo>
                    <a:pt x="90" y="202"/>
                  </a:lnTo>
                  <a:lnTo>
                    <a:pt x="88" y="202"/>
                  </a:lnTo>
                  <a:lnTo>
                    <a:pt x="88" y="200"/>
                  </a:lnTo>
                  <a:lnTo>
                    <a:pt x="86" y="198"/>
                  </a:lnTo>
                  <a:lnTo>
                    <a:pt x="84" y="196"/>
                  </a:lnTo>
                  <a:lnTo>
                    <a:pt x="82" y="194"/>
                  </a:lnTo>
                  <a:lnTo>
                    <a:pt x="82" y="194"/>
                  </a:lnTo>
                  <a:lnTo>
                    <a:pt x="80" y="192"/>
                  </a:lnTo>
                  <a:lnTo>
                    <a:pt x="80" y="192"/>
                  </a:lnTo>
                  <a:lnTo>
                    <a:pt x="80" y="192"/>
                  </a:lnTo>
                  <a:lnTo>
                    <a:pt x="78" y="192"/>
                  </a:lnTo>
                  <a:lnTo>
                    <a:pt x="76" y="192"/>
                  </a:lnTo>
                  <a:lnTo>
                    <a:pt x="76" y="192"/>
                  </a:lnTo>
                  <a:lnTo>
                    <a:pt x="74" y="192"/>
                  </a:lnTo>
                  <a:lnTo>
                    <a:pt x="72" y="194"/>
                  </a:lnTo>
                  <a:lnTo>
                    <a:pt x="68" y="196"/>
                  </a:lnTo>
                  <a:lnTo>
                    <a:pt x="66" y="198"/>
                  </a:lnTo>
                  <a:lnTo>
                    <a:pt x="62" y="198"/>
                  </a:lnTo>
                  <a:lnTo>
                    <a:pt x="60" y="200"/>
                  </a:lnTo>
                  <a:lnTo>
                    <a:pt x="60" y="202"/>
                  </a:lnTo>
                  <a:lnTo>
                    <a:pt x="58" y="202"/>
                  </a:lnTo>
                  <a:lnTo>
                    <a:pt x="58" y="204"/>
                  </a:lnTo>
                  <a:lnTo>
                    <a:pt x="58" y="204"/>
                  </a:lnTo>
                  <a:lnTo>
                    <a:pt x="58" y="206"/>
                  </a:lnTo>
                  <a:lnTo>
                    <a:pt x="58" y="208"/>
                  </a:lnTo>
                  <a:lnTo>
                    <a:pt x="58" y="210"/>
                  </a:lnTo>
                  <a:lnTo>
                    <a:pt x="58" y="212"/>
                  </a:lnTo>
                  <a:lnTo>
                    <a:pt x="58" y="214"/>
                  </a:lnTo>
                  <a:lnTo>
                    <a:pt x="58" y="216"/>
                  </a:lnTo>
                  <a:lnTo>
                    <a:pt x="58" y="216"/>
                  </a:lnTo>
                  <a:lnTo>
                    <a:pt x="56" y="218"/>
                  </a:lnTo>
                  <a:lnTo>
                    <a:pt x="56" y="218"/>
                  </a:lnTo>
                  <a:lnTo>
                    <a:pt x="54" y="218"/>
                  </a:lnTo>
                  <a:lnTo>
                    <a:pt x="54" y="220"/>
                  </a:lnTo>
                  <a:lnTo>
                    <a:pt x="52" y="220"/>
                  </a:lnTo>
                  <a:lnTo>
                    <a:pt x="50" y="222"/>
                  </a:lnTo>
                  <a:lnTo>
                    <a:pt x="46" y="222"/>
                  </a:lnTo>
                  <a:lnTo>
                    <a:pt x="42" y="224"/>
                  </a:lnTo>
                  <a:lnTo>
                    <a:pt x="42" y="224"/>
                  </a:lnTo>
                  <a:lnTo>
                    <a:pt x="40" y="224"/>
                  </a:lnTo>
                  <a:lnTo>
                    <a:pt x="38" y="224"/>
                  </a:lnTo>
                  <a:lnTo>
                    <a:pt x="38" y="226"/>
                  </a:lnTo>
                  <a:lnTo>
                    <a:pt x="36" y="226"/>
                  </a:lnTo>
                  <a:lnTo>
                    <a:pt x="36" y="228"/>
                  </a:lnTo>
                  <a:lnTo>
                    <a:pt x="36" y="228"/>
                  </a:lnTo>
                  <a:lnTo>
                    <a:pt x="36" y="228"/>
                  </a:lnTo>
                  <a:lnTo>
                    <a:pt x="36" y="230"/>
                  </a:lnTo>
                  <a:lnTo>
                    <a:pt x="36" y="230"/>
                  </a:lnTo>
                  <a:lnTo>
                    <a:pt x="38" y="232"/>
                  </a:lnTo>
                  <a:lnTo>
                    <a:pt x="38" y="234"/>
                  </a:lnTo>
                  <a:lnTo>
                    <a:pt x="40" y="236"/>
                  </a:lnTo>
                  <a:lnTo>
                    <a:pt x="42" y="238"/>
                  </a:lnTo>
                  <a:lnTo>
                    <a:pt x="42" y="240"/>
                  </a:lnTo>
                  <a:lnTo>
                    <a:pt x="44" y="240"/>
                  </a:lnTo>
                  <a:lnTo>
                    <a:pt x="44" y="240"/>
                  </a:lnTo>
                  <a:lnTo>
                    <a:pt x="46" y="240"/>
                  </a:lnTo>
                  <a:lnTo>
                    <a:pt x="46" y="242"/>
                  </a:lnTo>
                  <a:lnTo>
                    <a:pt x="52" y="242"/>
                  </a:lnTo>
                  <a:lnTo>
                    <a:pt x="54" y="242"/>
                  </a:lnTo>
                  <a:lnTo>
                    <a:pt x="54" y="244"/>
                  </a:lnTo>
                  <a:lnTo>
                    <a:pt x="56" y="244"/>
                  </a:lnTo>
                  <a:lnTo>
                    <a:pt x="56" y="244"/>
                  </a:lnTo>
                  <a:lnTo>
                    <a:pt x="56" y="244"/>
                  </a:lnTo>
                  <a:lnTo>
                    <a:pt x="56" y="246"/>
                  </a:lnTo>
                  <a:lnTo>
                    <a:pt x="56" y="246"/>
                  </a:lnTo>
                  <a:lnTo>
                    <a:pt x="56" y="246"/>
                  </a:lnTo>
                  <a:lnTo>
                    <a:pt x="56" y="246"/>
                  </a:lnTo>
                  <a:lnTo>
                    <a:pt x="56" y="248"/>
                  </a:lnTo>
                  <a:lnTo>
                    <a:pt x="54" y="248"/>
                  </a:lnTo>
                  <a:lnTo>
                    <a:pt x="52" y="248"/>
                  </a:lnTo>
                  <a:lnTo>
                    <a:pt x="52" y="250"/>
                  </a:lnTo>
                  <a:lnTo>
                    <a:pt x="48" y="250"/>
                  </a:lnTo>
                  <a:lnTo>
                    <a:pt x="46" y="252"/>
                  </a:lnTo>
                  <a:lnTo>
                    <a:pt x="44" y="252"/>
                  </a:lnTo>
                  <a:lnTo>
                    <a:pt x="42" y="252"/>
                  </a:lnTo>
                  <a:lnTo>
                    <a:pt x="40" y="252"/>
                  </a:lnTo>
                  <a:lnTo>
                    <a:pt x="40" y="254"/>
                  </a:lnTo>
                  <a:lnTo>
                    <a:pt x="40" y="254"/>
                  </a:lnTo>
                  <a:lnTo>
                    <a:pt x="40" y="254"/>
                  </a:lnTo>
                  <a:lnTo>
                    <a:pt x="38" y="256"/>
                  </a:lnTo>
                  <a:lnTo>
                    <a:pt x="38" y="256"/>
                  </a:lnTo>
                  <a:lnTo>
                    <a:pt x="40" y="258"/>
                  </a:lnTo>
                  <a:lnTo>
                    <a:pt x="40" y="258"/>
                  </a:lnTo>
                  <a:lnTo>
                    <a:pt x="40" y="260"/>
                  </a:lnTo>
                  <a:lnTo>
                    <a:pt x="40" y="260"/>
                  </a:lnTo>
                  <a:lnTo>
                    <a:pt x="42" y="262"/>
                  </a:lnTo>
                  <a:lnTo>
                    <a:pt x="44" y="264"/>
                  </a:lnTo>
                  <a:lnTo>
                    <a:pt x="46" y="266"/>
                  </a:lnTo>
                  <a:lnTo>
                    <a:pt x="48" y="268"/>
                  </a:lnTo>
                  <a:lnTo>
                    <a:pt x="50" y="270"/>
                  </a:lnTo>
                  <a:lnTo>
                    <a:pt x="50" y="270"/>
                  </a:lnTo>
                  <a:lnTo>
                    <a:pt x="52" y="270"/>
                  </a:lnTo>
                  <a:lnTo>
                    <a:pt x="54" y="270"/>
                  </a:lnTo>
                  <a:lnTo>
                    <a:pt x="54" y="270"/>
                  </a:lnTo>
                  <a:lnTo>
                    <a:pt x="58" y="270"/>
                  </a:lnTo>
                  <a:lnTo>
                    <a:pt x="60" y="270"/>
                  </a:lnTo>
                  <a:lnTo>
                    <a:pt x="62" y="270"/>
                  </a:lnTo>
                  <a:lnTo>
                    <a:pt x="64" y="270"/>
                  </a:lnTo>
                  <a:lnTo>
                    <a:pt x="66" y="268"/>
                  </a:lnTo>
                  <a:lnTo>
                    <a:pt x="66" y="268"/>
                  </a:lnTo>
                  <a:lnTo>
                    <a:pt x="68" y="268"/>
                  </a:lnTo>
                  <a:lnTo>
                    <a:pt x="68" y="266"/>
                  </a:lnTo>
                  <a:lnTo>
                    <a:pt x="68" y="264"/>
                  </a:lnTo>
                  <a:lnTo>
                    <a:pt x="70" y="262"/>
                  </a:lnTo>
                  <a:lnTo>
                    <a:pt x="70" y="260"/>
                  </a:lnTo>
                  <a:lnTo>
                    <a:pt x="70" y="258"/>
                  </a:lnTo>
                  <a:lnTo>
                    <a:pt x="72" y="256"/>
                  </a:lnTo>
                  <a:lnTo>
                    <a:pt x="72" y="256"/>
                  </a:lnTo>
                  <a:lnTo>
                    <a:pt x="74" y="256"/>
                  </a:lnTo>
                  <a:lnTo>
                    <a:pt x="74" y="256"/>
                  </a:lnTo>
                  <a:lnTo>
                    <a:pt x="74" y="256"/>
                  </a:lnTo>
                  <a:lnTo>
                    <a:pt x="74" y="256"/>
                  </a:lnTo>
                  <a:lnTo>
                    <a:pt x="76" y="256"/>
                  </a:lnTo>
                  <a:lnTo>
                    <a:pt x="76" y="258"/>
                  </a:lnTo>
                  <a:lnTo>
                    <a:pt x="76" y="258"/>
                  </a:lnTo>
                  <a:lnTo>
                    <a:pt x="76" y="260"/>
                  </a:lnTo>
                  <a:lnTo>
                    <a:pt x="76" y="260"/>
                  </a:lnTo>
                  <a:lnTo>
                    <a:pt x="76" y="264"/>
                  </a:lnTo>
                  <a:lnTo>
                    <a:pt x="76" y="268"/>
                  </a:lnTo>
                  <a:lnTo>
                    <a:pt x="76" y="270"/>
                  </a:lnTo>
                  <a:lnTo>
                    <a:pt x="74" y="276"/>
                  </a:lnTo>
                  <a:lnTo>
                    <a:pt x="74" y="276"/>
                  </a:lnTo>
                  <a:lnTo>
                    <a:pt x="72" y="278"/>
                  </a:lnTo>
                  <a:lnTo>
                    <a:pt x="70" y="282"/>
                  </a:lnTo>
                  <a:lnTo>
                    <a:pt x="70" y="284"/>
                  </a:lnTo>
                  <a:lnTo>
                    <a:pt x="68" y="284"/>
                  </a:lnTo>
                  <a:lnTo>
                    <a:pt x="68" y="286"/>
                  </a:lnTo>
                  <a:lnTo>
                    <a:pt x="66" y="288"/>
                  </a:lnTo>
                  <a:lnTo>
                    <a:pt x="66" y="290"/>
                  </a:lnTo>
                  <a:lnTo>
                    <a:pt x="66" y="292"/>
                  </a:lnTo>
                  <a:lnTo>
                    <a:pt x="66" y="294"/>
                  </a:lnTo>
                  <a:lnTo>
                    <a:pt x="66" y="296"/>
                  </a:lnTo>
                  <a:lnTo>
                    <a:pt x="66" y="298"/>
                  </a:lnTo>
                  <a:lnTo>
                    <a:pt x="68" y="300"/>
                  </a:lnTo>
                  <a:lnTo>
                    <a:pt x="68" y="302"/>
                  </a:lnTo>
                  <a:lnTo>
                    <a:pt x="68" y="302"/>
                  </a:lnTo>
                  <a:lnTo>
                    <a:pt x="68" y="302"/>
                  </a:lnTo>
                  <a:lnTo>
                    <a:pt x="70" y="302"/>
                  </a:lnTo>
                  <a:lnTo>
                    <a:pt x="70" y="304"/>
                  </a:lnTo>
                  <a:lnTo>
                    <a:pt x="72" y="304"/>
                  </a:lnTo>
                  <a:lnTo>
                    <a:pt x="72" y="304"/>
                  </a:lnTo>
                  <a:lnTo>
                    <a:pt x="74" y="302"/>
                  </a:lnTo>
                  <a:lnTo>
                    <a:pt x="76" y="302"/>
                  </a:lnTo>
                  <a:lnTo>
                    <a:pt x="76" y="302"/>
                  </a:lnTo>
                  <a:lnTo>
                    <a:pt x="80" y="300"/>
                  </a:lnTo>
                  <a:lnTo>
                    <a:pt x="84" y="298"/>
                  </a:lnTo>
                  <a:lnTo>
                    <a:pt x="86" y="296"/>
                  </a:lnTo>
                  <a:lnTo>
                    <a:pt x="88" y="296"/>
                  </a:lnTo>
                  <a:lnTo>
                    <a:pt x="90" y="296"/>
                  </a:lnTo>
                  <a:lnTo>
                    <a:pt x="90" y="296"/>
                  </a:lnTo>
                  <a:lnTo>
                    <a:pt x="92" y="296"/>
                  </a:lnTo>
                  <a:lnTo>
                    <a:pt x="92" y="296"/>
                  </a:lnTo>
                  <a:lnTo>
                    <a:pt x="92" y="296"/>
                  </a:lnTo>
                  <a:lnTo>
                    <a:pt x="94" y="296"/>
                  </a:lnTo>
                  <a:lnTo>
                    <a:pt x="94" y="298"/>
                  </a:lnTo>
                  <a:lnTo>
                    <a:pt x="96" y="298"/>
                  </a:lnTo>
                  <a:lnTo>
                    <a:pt x="96" y="300"/>
                  </a:lnTo>
                  <a:lnTo>
                    <a:pt x="98" y="300"/>
                  </a:lnTo>
                  <a:lnTo>
                    <a:pt x="98" y="302"/>
                  </a:lnTo>
                  <a:lnTo>
                    <a:pt x="98" y="302"/>
                  </a:lnTo>
                  <a:lnTo>
                    <a:pt x="100" y="302"/>
                  </a:lnTo>
                  <a:lnTo>
                    <a:pt x="100" y="302"/>
                  </a:lnTo>
                  <a:lnTo>
                    <a:pt x="102" y="302"/>
                  </a:lnTo>
                  <a:lnTo>
                    <a:pt x="102" y="302"/>
                  </a:lnTo>
                  <a:lnTo>
                    <a:pt x="104" y="300"/>
                  </a:lnTo>
                  <a:lnTo>
                    <a:pt x="106" y="300"/>
                  </a:lnTo>
                  <a:lnTo>
                    <a:pt x="108" y="298"/>
                  </a:lnTo>
                  <a:lnTo>
                    <a:pt x="112" y="296"/>
                  </a:lnTo>
                  <a:lnTo>
                    <a:pt x="112" y="296"/>
                  </a:lnTo>
                  <a:lnTo>
                    <a:pt x="114" y="296"/>
                  </a:lnTo>
                  <a:lnTo>
                    <a:pt x="114" y="296"/>
                  </a:lnTo>
                  <a:lnTo>
                    <a:pt x="116" y="294"/>
                  </a:lnTo>
                  <a:lnTo>
                    <a:pt x="116" y="296"/>
                  </a:lnTo>
                  <a:lnTo>
                    <a:pt x="118" y="296"/>
                  </a:lnTo>
                  <a:lnTo>
                    <a:pt x="118" y="296"/>
                  </a:lnTo>
                  <a:lnTo>
                    <a:pt x="118" y="298"/>
                  </a:lnTo>
                  <a:lnTo>
                    <a:pt x="120" y="298"/>
                  </a:lnTo>
                  <a:lnTo>
                    <a:pt x="120" y="300"/>
                  </a:lnTo>
                  <a:lnTo>
                    <a:pt x="120" y="302"/>
                  </a:lnTo>
                  <a:lnTo>
                    <a:pt x="120" y="302"/>
                  </a:lnTo>
                  <a:lnTo>
                    <a:pt x="122" y="304"/>
                  </a:lnTo>
                  <a:lnTo>
                    <a:pt x="122" y="306"/>
                  </a:lnTo>
                  <a:lnTo>
                    <a:pt x="122" y="310"/>
                  </a:lnTo>
                  <a:lnTo>
                    <a:pt x="120" y="314"/>
                  </a:lnTo>
                  <a:lnTo>
                    <a:pt x="120" y="316"/>
                  </a:lnTo>
                  <a:lnTo>
                    <a:pt x="120" y="316"/>
                  </a:lnTo>
                  <a:lnTo>
                    <a:pt x="120" y="318"/>
                  </a:lnTo>
                  <a:lnTo>
                    <a:pt x="120" y="320"/>
                  </a:lnTo>
                  <a:lnTo>
                    <a:pt x="118" y="320"/>
                  </a:lnTo>
                  <a:lnTo>
                    <a:pt x="118" y="322"/>
                  </a:lnTo>
                  <a:lnTo>
                    <a:pt x="116" y="324"/>
                  </a:lnTo>
                  <a:lnTo>
                    <a:pt x="116" y="326"/>
                  </a:lnTo>
                  <a:lnTo>
                    <a:pt x="114" y="326"/>
                  </a:lnTo>
                  <a:lnTo>
                    <a:pt x="112" y="328"/>
                  </a:lnTo>
                  <a:lnTo>
                    <a:pt x="110" y="330"/>
                  </a:lnTo>
                  <a:lnTo>
                    <a:pt x="106" y="334"/>
                  </a:lnTo>
                  <a:lnTo>
                    <a:pt x="102" y="336"/>
                  </a:lnTo>
                  <a:lnTo>
                    <a:pt x="98" y="338"/>
                  </a:lnTo>
                  <a:lnTo>
                    <a:pt x="94" y="340"/>
                  </a:lnTo>
                  <a:lnTo>
                    <a:pt x="90" y="344"/>
                  </a:lnTo>
                  <a:lnTo>
                    <a:pt x="84" y="346"/>
                  </a:lnTo>
                  <a:lnTo>
                    <a:pt x="76" y="350"/>
                  </a:lnTo>
                  <a:lnTo>
                    <a:pt x="68" y="354"/>
                  </a:lnTo>
                  <a:lnTo>
                    <a:pt x="62" y="358"/>
                  </a:lnTo>
                  <a:lnTo>
                    <a:pt x="58" y="360"/>
                  </a:lnTo>
                  <a:lnTo>
                    <a:pt x="52" y="362"/>
                  </a:lnTo>
                  <a:lnTo>
                    <a:pt x="40" y="366"/>
                  </a:lnTo>
                  <a:lnTo>
                    <a:pt x="20" y="376"/>
                  </a:lnTo>
                  <a:lnTo>
                    <a:pt x="18" y="376"/>
                  </a:lnTo>
                  <a:lnTo>
                    <a:pt x="16" y="378"/>
                  </a:lnTo>
                  <a:lnTo>
                    <a:pt x="8" y="380"/>
                  </a:lnTo>
                  <a:lnTo>
                    <a:pt x="6" y="380"/>
                  </a:lnTo>
                  <a:lnTo>
                    <a:pt x="4" y="382"/>
                  </a:lnTo>
                  <a:lnTo>
                    <a:pt x="2" y="382"/>
                  </a:lnTo>
                  <a:lnTo>
                    <a:pt x="2" y="384"/>
                  </a:lnTo>
                  <a:lnTo>
                    <a:pt x="0" y="384"/>
                  </a:lnTo>
                  <a:lnTo>
                    <a:pt x="0" y="384"/>
                  </a:lnTo>
                  <a:lnTo>
                    <a:pt x="0" y="386"/>
                  </a:lnTo>
                  <a:lnTo>
                    <a:pt x="0" y="386"/>
                  </a:lnTo>
                  <a:lnTo>
                    <a:pt x="0" y="388"/>
                  </a:lnTo>
                  <a:lnTo>
                    <a:pt x="0" y="390"/>
                  </a:lnTo>
                  <a:lnTo>
                    <a:pt x="0" y="390"/>
                  </a:lnTo>
                  <a:lnTo>
                    <a:pt x="0" y="392"/>
                  </a:lnTo>
                  <a:lnTo>
                    <a:pt x="0" y="392"/>
                  </a:lnTo>
                  <a:lnTo>
                    <a:pt x="2" y="394"/>
                  </a:lnTo>
                  <a:lnTo>
                    <a:pt x="2" y="394"/>
                  </a:lnTo>
                  <a:lnTo>
                    <a:pt x="4" y="396"/>
                  </a:lnTo>
                  <a:lnTo>
                    <a:pt x="6" y="396"/>
                  </a:lnTo>
                  <a:lnTo>
                    <a:pt x="8" y="396"/>
                  </a:lnTo>
                  <a:lnTo>
                    <a:pt x="10" y="396"/>
                  </a:lnTo>
                  <a:lnTo>
                    <a:pt x="12" y="396"/>
                  </a:lnTo>
                  <a:lnTo>
                    <a:pt x="12" y="396"/>
                  </a:lnTo>
                  <a:lnTo>
                    <a:pt x="16" y="396"/>
                  </a:lnTo>
                  <a:lnTo>
                    <a:pt x="20" y="396"/>
                  </a:lnTo>
                  <a:lnTo>
                    <a:pt x="24" y="396"/>
                  </a:lnTo>
                  <a:lnTo>
                    <a:pt x="30" y="394"/>
                  </a:lnTo>
                  <a:lnTo>
                    <a:pt x="34" y="394"/>
                  </a:lnTo>
                  <a:lnTo>
                    <a:pt x="38" y="392"/>
                  </a:lnTo>
                  <a:lnTo>
                    <a:pt x="44" y="390"/>
                  </a:lnTo>
                  <a:lnTo>
                    <a:pt x="48" y="388"/>
                  </a:lnTo>
                  <a:lnTo>
                    <a:pt x="52" y="388"/>
                  </a:lnTo>
                  <a:lnTo>
                    <a:pt x="62" y="384"/>
                  </a:lnTo>
                  <a:lnTo>
                    <a:pt x="68" y="382"/>
                  </a:lnTo>
                  <a:lnTo>
                    <a:pt x="72" y="380"/>
                  </a:lnTo>
                  <a:lnTo>
                    <a:pt x="76" y="378"/>
                  </a:lnTo>
                  <a:lnTo>
                    <a:pt x="80" y="374"/>
                  </a:lnTo>
                  <a:lnTo>
                    <a:pt x="86" y="372"/>
                  </a:lnTo>
                  <a:lnTo>
                    <a:pt x="90" y="370"/>
                  </a:lnTo>
                  <a:lnTo>
                    <a:pt x="94" y="366"/>
                  </a:lnTo>
                  <a:lnTo>
                    <a:pt x="106" y="360"/>
                  </a:lnTo>
                  <a:lnTo>
                    <a:pt x="114" y="352"/>
                  </a:lnTo>
                  <a:lnTo>
                    <a:pt x="124" y="346"/>
                  </a:lnTo>
                  <a:lnTo>
                    <a:pt x="132" y="338"/>
                  </a:lnTo>
                  <a:lnTo>
                    <a:pt x="140" y="334"/>
                  </a:lnTo>
                  <a:lnTo>
                    <a:pt x="142" y="332"/>
                  </a:lnTo>
                  <a:lnTo>
                    <a:pt x="144" y="330"/>
                  </a:lnTo>
                  <a:lnTo>
                    <a:pt x="146" y="328"/>
                  </a:lnTo>
                  <a:lnTo>
                    <a:pt x="148" y="326"/>
                  </a:lnTo>
                  <a:lnTo>
                    <a:pt x="150" y="324"/>
                  </a:lnTo>
                  <a:lnTo>
                    <a:pt x="152" y="322"/>
                  </a:lnTo>
                  <a:lnTo>
                    <a:pt x="158" y="318"/>
                  </a:lnTo>
                  <a:lnTo>
                    <a:pt x="160" y="316"/>
                  </a:lnTo>
                  <a:lnTo>
                    <a:pt x="164" y="316"/>
                  </a:lnTo>
                  <a:lnTo>
                    <a:pt x="170" y="312"/>
                  </a:lnTo>
                  <a:lnTo>
                    <a:pt x="172" y="312"/>
                  </a:lnTo>
                  <a:lnTo>
                    <a:pt x="174" y="310"/>
                  </a:lnTo>
                  <a:lnTo>
                    <a:pt x="176" y="310"/>
                  </a:lnTo>
                  <a:lnTo>
                    <a:pt x="176" y="308"/>
                  </a:lnTo>
                  <a:lnTo>
                    <a:pt x="178" y="308"/>
                  </a:lnTo>
                  <a:lnTo>
                    <a:pt x="178" y="306"/>
                  </a:lnTo>
                  <a:lnTo>
                    <a:pt x="178" y="306"/>
                  </a:lnTo>
                  <a:lnTo>
                    <a:pt x="180" y="304"/>
                  </a:lnTo>
                  <a:lnTo>
                    <a:pt x="180" y="304"/>
                  </a:lnTo>
                  <a:lnTo>
                    <a:pt x="178" y="304"/>
                  </a:lnTo>
                  <a:lnTo>
                    <a:pt x="178" y="302"/>
                  </a:lnTo>
                  <a:lnTo>
                    <a:pt x="178" y="300"/>
                  </a:lnTo>
                  <a:lnTo>
                    <a:pt x="176" y="298"/>
                  </a:lnTo>
                  <a:lnTo>
                    <a:pt x="176" y="296"/>
                  </a:lnTo>
                  <a:lnTo>
                    <a:pt x="176" y="294"/>
                  </a:lnTo>
                  <a:lnTo>
                    <a:pt x="174" y="294"/>
                  </a:lnTo>
                  <a:lnTo>
                    <a:pt x="174" y="292"/>
                  </a:lnTo>
                  <a:lnTo>
                    <a:pt x="176" y="292"/>
                  </a:lnTo>
                  <a:lnTo>
                    <a:pt x="176" y="290"/>
                  </a:lnTo>
                  <a:lnTo>
                    <a:pt x="176" y="288"/>
                  </a:lnTo>
                  <a:lnTo>
                    <a:pt x="178" y="288"/>
                  </a:lnTo>
                  <a:lnTo>
                    <a:pt x="178" y="286"/>
                  </a:lnTo>
                  <a:lnTo>
                    <a:pt x="180" y="284"/>
                  </a:lnTo>
                  <a:lnTo>
                    <a:pt x="182" y="284"/>
                  </a:lnTo>
                  <a:lnTo>
                    <a:pt x="186" y="280"/>
                  </a:lnTo>
                  <a:lnTo>
                    <a:pt x="192" y="276"/>
                  </a:lnTo>
                  <a:lnTo>
                    <a:pt x="196" y="274"/>
                  </a:lnTo>
                  <a:lnTo>
                    <a:pt x="196" y="272"/>
                  </a:lnTo>
                  <a:lnTo>
                    <a:pt x="198" y="272"/>
                  </a:lnTo>
                  <a:lnTo>
                    <a:pt x="200" y="270"/>
                  </a:lnTo>
                  <a:lnTo>
                    <a:pt x="200" y="268"/>
                  </a:lnTo>
                  <a:lnTo>
                    <a:pt x="204" y="264"/>
                  </a:lnTo>
                  <a:lnTo>
                    <a:pt x="210" y="252"/>
                  </a:lnTo>
                  <a:lnTo>
                    <a:pt x="214" y="248"/>
                  </a:lnTo>
                  <a:lnTo>
                    <a:pt x="216" y="246"/>
                  </a:lnTo>
                  <a:lnTo>
                    <a:pt x="218" y="244"/>
                  </a:lnTo>
                  <a:lnTo>
                    <a:pt x="220" y="242"/>
                  </a:lnTo>
                  <a:lnTo>
                    <a:pt x="222" y="240"/>
                  </a:lnTo>
                  <a:lnTo>
                    <a:pt x="224" y="238"/>
                  </a:lnTo>
                  <a:lnTo>
                    <a:pt x="224" y="238"/>
                  </a:lnTo>
                  <a:lnTo>
                    <a:pt x="226" y="238"/>
                  </a:lnTo>
                  <a:lnTo>
                    <a:pt x="226" y="238"/>
                  </a:lnTo>
                  <a:lnTo>
                    <a:pt x="228" y="236"/>
                  </a:lnTo>
                  <a:lnTo>
                    <a:pt x="230" y="236"/>
                  </a:lnTo>
                  <a:lnTo>
                    <a:pt x="232" y="236"/>
                  </a:lnTo>
                  <a:lnTo>
                    <a:pt x="236" y="238"/>
                  </a:lnTo>
                  <a:lnTo>
                    <a:pt x="238" y="238"/>
                  </a:lnTo>
                  <a:lnTo>
                    <a:pt x="240" y="238"/>
                  </a:lnTo>
                  <a:lnTo>
                    <a:pt x="242" y="238"/>
                  </a:lnTo>
                  <a:lnTo>
                    <a:pt x="242" y="238"/>
                  </a:lnTo>
                  <a:lnTo>
                    <a:pt x="244" y="240"/>
                  </a:lnTo>
                  <a:lnTo>
                    <a:pt x="246" y="240"/>
                  </a:lnTo>
                  <a:lnTo>
                    <a:pt x="248" y="240"/>
                  </a:lnTo>
                  <a:lnTo>
                    <a:pt x="248" y="242"/>
                  </a:lnTo>
                  <a:lnTo>
                    <a:pt x="250" y="242"/>
                  </a:lnTo>
                  <a:lnTo>
                    <a:pt x="250" y="244"/>
                  </a:lnTo>
                  <a:lnTo>
                    <a:pt x="250" y="244"/>
                  </a:lnTo>
                  <a:lnTo>
                    <a:pt x="250" y="246"/>
                  </a:lnTo>
                  <a:lnTo>
                    <a:pt x="250" y="246"/>
                  </a:lnTo>
                  <a:lnTo>
                    <a:pt x="248" y="248"/>
                  </a:lnTo>
                  <a:lnTo>
                    <a:pt x="248" y="248"/>
                  </a:lnTo>
                  <a:lnTo>
                    <a:pt x="246" y="250"/>
                  </a:lnTo>
                  <a:lnTo>
                    <a:pt x="246" y="250"/>
                  </a:lnTo>
                  <a:lnTo>
                    <a:pt x="244" y="252"/>
                  </a:lnTo>
                  <a:lnTo>
                    <a:pt x="242" y="252"/>
                  </a:lnTo>
                  <a:lnTo>
                    <a:pt x="238" y="254"/>
                  </a:lnTo>
                  <a:lnTo>
                    <a:pt x="236" y="256"/>
                  </a:lnTo>
                  <a:lnTo>
                    <a:pt x="232" y="258"/>
                  </a:lnTo>
                  <a:lnTo>
                    <a:pt x="224" y="260"/>
                  </a:lnTo>
                  <a:lnTo>
                    <a:pt x="222" y="262"/>
                  </a:lnTo>
                  <a:lnTo>
                    <a:pt x="218" y="264"/>
                  </a:lnTo>
                  <a:lnTo>
                    <a:pt x="216" y="266"/>
                  </a:lnTo>
                  <a:lnTo>
                    <a:pt x="214" y="266"/>
                  </a:lnTo>
                  <a:lnTo>
                    <a:pt x="214" y="268"/>
                  </a:lnTo>
                  <a:lnTo>
                    <a:pt x="214" y="268"/>
                  </a:lnTo>
                  <a:lnTo>
                    <a:pt x="212" y="270"/>
                  </a:lnTo>
                  <a:lnTo>
                    <a:pt x="212" y="270"/>
                  </a:lnTo>
                  <a:lnTo>
                    <a:pt x="212" y="272"/>
                  </a:lnTo>
                  <a:lnTo>
                    <a:pt x="212" y="272"/>
                  </a:lnTo>
                  <a:lnTo>
                    <a:pt x="212" y="272"/>
                  </a:lnTo>
                  <a:lnTo>
                    <a:pt x="212" y="274"/>
                  </a:lnTo>
                  <a:lnTo>
                    <a:pt x="214" y="274"/>
                  </a:lnTo>
                  <a:lnTo>
                    <a:pt x="214" y="276"/>
                  </a:lnTo>
                  <a:lnTo>
                    <a:pt x="216" y="278"/>
                  </a:lnTo>
                  <a:lnTo>
                    <a:pt x="218" y="278"/>
                  </a:lnTo>
                  <a:lnTo>
                    <a:pt x="218" y="280"/>
                  </a:lnTo>
                  <a:lnTo>
                    <a:pt x="218" y="280"/>
                  </a:lnTo>
                  <a:lnTo>
                    <a:pt x="218" y="280"/>
                  </a:lnTo>
                  <a:lnTo>
                    <a:pt x="218" y="280"/>
                  </a:lnTo>
                  <a:lnTo>
                    <a:pt x="218" y="282"/>
                  </a:lnTo>
                  <a:lnTo>
                    <a:pt x="216" y="282"/>
                  </a:lnTo>
                  <a:lnTo>
                    <a:pt x="216" y="282"/>
                  </a:lnTo>
                  <a:lnTo>
                    <a:pt x="214" y="284"/>
                  </a:lnTo>
                  <a:lnTo>
                    <a:pt x="212" y="284"/>
                  </a:lnTo>
                  <a:lnTo>
                    <a:pt x="210" y="284"/>
                  </a:lnTo>
                  <a:lnTo>
                    <a:pt x="210" y="286"/>
                  </a:lnTo>
                  <a:lnTo>
                    <a:pt x="208" y="286"/>
                  </a:lnTo>
                  <a:lnTo>
                    <a:pt x="208" y="286"/>
                  </a:lnTo>
                  <a:lnTo>
                    <a:pt x="208" y="288"/>
                  </a:lnTo>
                  <a:lnTo>
                    <a:pt x="208" y="288"/>
                  </a:lnTo>
                  <a:lnTo>
                    <a:pt x="208" y="288"/>
                  </a:lnTo>
                  <a:lnTo>
                    <a:pt x="208" y="290"/>
                  </a:lnTo>
                  <a:lnTo>
                    <a:pt x="208" y="290"/>
                  </a:lnTo>
                  <a:lnTo>
                    <a:pt x="210" y="290"/>
                  </a:lnTo>
                  <a:lnTo>
                    <a:pt x="210" y="292"/>
                  </a:lnTo>
                  <a:lnTo>
                    <a:pt x="212" y="292"/>
                  </a:lnTo>
                  <a:lnTo>
                    <a:pt x="214" y="294"/>
                  </a:lnTo>
                  <a:lnTo>
                    <a:pt x="216" y="294"/>
                  </a:lnTo>
                  <a:lnTo>
                    <a:pt x="220" y="296"/>
                  </a:lnTo>
                  <a:lnTo>
                    <a:pt x="220" y="296"/>
                  </a:lnTo>
                  <a:lnTo>
                    <a:pt x="222" y="296"/>
                  </a:lnTo>
                  <a:lnTo>
                    <a:pt x="224" y="296"/>
                  </a:lnTo>
                  <a:lnTo>
                    <a:pt x="224" y="296"/>
                  </a:lnTo>
                  <a:lnTo>
                    <a:pt x="226" y="296"/>
                  </a:lnTo>
                  <a:lnTo>
                    <a:pt x="228" y="296"/>
                  </a:lnTo>
                  <a:lnTo>
                    <a:pt x="228" y="296"/>
                  </a:lnTo>
                  <a:lnTo>
                    <a:pt x="230" y="294"/>
                  </a:lnTo>
                  <a:lnTo>
                    <a:pt x="230" y="294"/>
                  </a:lnTo>
                  <a:lnTo>
                    <a:pt x="232" y="294"/>
                  </a:lnTo>
                  <a:lnTo>
                    <a:pt x="234" y="292"/>
                  </a:lnTo>
                  <a:lnTo>
                    <a:pt x="236" y="290"/>
                  </a:lnTo>
                  <a:lnTo>
                    <a:pt x="240" y="288"/>
                  </a:lnTo>
                  <a:lnTo>
                    <a:pt x="242" y="284"/>
                  </a:lnTo>
                  <a:lnTo>
                    <a:pt x="244" y="282"/>
                  </a:lnTo>
                  <a:lnTo>
                    <a:pt x="248" y="278"/>
                  </a:lnTo>
                  <a:lnTo>
                    <a:pt x="252" y="272"/>
                  </a:lnTo>
                  <a:lnTo>
                    <a:pt x="252" y="270"/>
                  </a:lnTo>
                  <a:lnTo>
                    <a:pt x="254" y="270"/>
                  </a:lnTo>
                  <a:lnTo>
                    <a:pt x="256" y="268"/>
                  </a:lnTo>
                  <a:lnTo>
                    <a:pt x="258" y="268"/>
                  </a:lnTo>
                  <a:lnTo>
                    <a:pt x="262" y="266"/>
                  </a:lnTo>
                  <a:lnTo>
                    <a:pt x="264" y="266"/>
                  </a:lnTo>
                  <a:lnTo>
                    <a:pt x="264" y="264"/>
                  </a:lnTo>
                  <a:lnTo>
                    <a:pt x="266" y="264"/>
                  </a:lnTo>
                  <a:lnTo>
                    <a:pt x="266" y="264"/>
                  </a:lnTo>
                  <a:lnTo>
                    <a:pt x="268" y="262"/>
                  </a:lnTo>
                  <a:lnTo>
                    <a:pt x="268" y="262"/>
                  </a:lnTo>
                  <a:lnTo>
                    <a:pt x="268" y="262"/>
                  </a:lnTo>
                  <a:lnTo>
                    <a:pt x="268" y="260"/>
                  </a:lnTo>
                  <a:lnTo>
                    <a:pt x="268" y="256"/>
                  </a:lnTo>
                  <a:lnTo>
                    <a:pt x="268" y="254"/>
                  </a:lnTo>
                  <a:lnTo>
                    <a:pt x="268" y="252"/>
                  </a:lnTo>
                  <a:lnTo>
                    <a:pt x="268" y="250"/>
                  </a:lnTo>
                  <a:lnTo>
                    <a:pt x="268" y="248"/>
                  </a:lnTo>
                  <a:lnTo>
                    <a:pt x="268" y="248"/>
                  </a:lnTo>
                  <a:lnTo>
                    <a:pt x="270" y="248"/>
                  </a:lnTo>
                  <a:lnTo>
                    <a:pt x="270" y="246"/>
                  </a:lnTo>
                  <a:lnTo>
                    <a:pt x="270" y="246"/>
                  </a:lnTo>
                  <a:lnTo>
                    <a:pt x="272" y="244"/>
                  </a:lnTo>
                  <a:lnTo>
                    <a:pt x="274" y="244"/>
                  </a:lnTo>
                  <a:lnTo>
                    <a:pt x="276" y="242"/>
                  </a:lnTo>
                  <a:lnTo>
                    <a:pt x="278" y="242"/>
                  </a:lnTo>
                  <a:lnTo>
                    <a:pt x="282" y="240"/>
                  </a:lnTo>
                  <a:lnTo>
                    <a:pt x="282" y="240"/>
                  </a:lnTo>
                  <a:lnTo>
                    <a:pt x="284" y="240"/>
                  </a:lnTo>
                  <a:lnTo>
                    <a:pt x="286" y="240"/>
                  </a:lnTo>
                  <a:lnTo>
                    <a:pt x="286" y="240"/>
                  </a:lnTo>
                  <a:lnTo>
                    <a:pt x="288" y="240"/>
                  </a:lnTo>
                  <a:lnTo>
                    <a:pt x="288" y="240"/>
                  </a:lnTo>
                  <a:lnTo>
                    <a:pt x="288" y="240"/>
                  </a:lnTo>
                  <a:lnTo>
                    <a:pt x="290" y="240"/>
                  </a:lnTo>
                  <a:lnTo>
                    <a:pt x="290" y="242"/>
                  </a:lnTo>
                  <a:lnTo>
                    <a:pt x="290" y="244"/>
                  </a:lnTo>
                  <a:lnTo>
                    <a:pt x="290" y="244"/>
                  </a:lnTo>
                  <a:lnTo>
                    <a:pt x="290" y="246"/>
                  </a:lnTo>
                  <a:lnTo>
                    <a:pt x="292" y="248"/>
                  </a:lnTo>
                  <a:lnTo>
                    <a:pt x="292" y="250"/>
                  </a:lnTo>
                  <a:lnTo>
                    <a:pt x="292" y="250"/>
                  </a:lnTo>
                  <a:lnTo>
                    <a:pt x="292" y="250"/>
                  </a:lnTo>
                  <a:lnTo>
                    <a:pt x="292" y="250"/>
                  </a:lnTo>
                  <a:lnTo>
                    <a:pt x="294" y="250"/>
                  </a:lnTo>
                  <a:lnTo>
                    <a:pt x="296" y="250"/>
                  </a:lnTo>
                  <a:lnTo>
                    <a:pt x="298" y="250"/>
                  </a:lnTo>
                  <a:lnTo>
                    <a:pt x="300" y="250"/>
                  </a:lnTo>
                  <a:lnTo>
                    <a:pt x="302" y="250"/>
                  </a:lnTo>
                  <a:lnTo>
                    <a:pt x="304" y="250"/>
                  </a:lnTo>
                  <a:lnTo>
                    <a:pt x="304" y="250"/>
                  </a:lnTo>
                  <a:lnTo>
                    <a:pt x="304" y="250"/>
                  </a:lnTo>
                  <a:lnTo>
                    <a:pt x="306" y="250"/>
                  </a:lnTo>
                  <a:lnTo>
                    <a:pt x="306" y="252"/>
                  </a:lnTo>
                  <a:lnTo>
                    <a:pt x="306" y="252"/>
                  </a:lnTo>
                  <a:lnTo>
                    <a:pt x="306" y="252"/>
                  </a:lnTo>
                  <a:lnTo>
                    <a:pt x="306" y="254"/>
                  </a:lnTo>
                  <a:lnTo>
                    <a:pt x="306" y="254"/>
                  </a:lnTo>
                  <a:lnTo>
                    <a:pt x="306" y="256"/>
                  </a:lnTo>
                  <a:lnTo>
                    <a:pt x="306" y="258"/>
                  </a:lnTo>
                  <a:lnTo>
                    <a:pt x="306" y="260"/>
                  </a:lnTo>
                  <a:lnTo>
                    <a:pt x="306" y="262"/>
                  </a:lnTo>
                  <a:lnTo>
                    <a:pt x="306" y="262"/>
                  </a:lnTo>
                  <a:lnTo>
                    <a:pt x="306" y="262"/>
                  </a:lnTo>
                  <a:lnTo>
                    <a:pt x="306" y="264"/>
                  </a:lnTo>
                  <a:lnTo>
                    <a:pt x="306" y="264"/>
                  </a:lnTo>
                  <a:lnTo>
                    <a:pt x="306" y="264"/>
                  </a:lnTo>
                  <a:lnTo>
                    <a:pt x="308" y="266"/>
                  </a:lnTo>
                  <a:lnTo>
                    <a:pt x="308" y="266"/>
                  </a:lnTo>
                  <a:lnTo>
                    <a:pt x="310" y="266"/>
                  </a:lnTo>
                  <a:lnTo>
                    <a:pt x="312" y="266"/>
                  </a:lnTo>
                  <a:lnTo>
                    <a:pt x="314" y="268"/>
                  </a:lnTo>
                  <a:lnTo>
                    <a:pt x="318" y="268"/>
                  </a:lnTo>
                  <a:lnTo>
                    <a:pt x="320" y="268"/>
                  </a:lnTo>
                  <a:lnTo>
                    <a:pt x="324" y="268"/>
                  </a:lnTo>
                  <a:lnTo>
                    <a:pt x="328" y="266"/>
                  </a:lnTo>
                  <a:lnTo>
                    <a:pt x="334" y="266"/>
                  </a:lnTo>
                  <a:lnTo>
                    <a:pt x="340" y="266"/>
                  </a:lnTo>
                  <a:lnTo>
                    <a:pt x="344" y="266"/>
                  </a:lnTo>
                  <a:lnTo>
                    <a:pt x="346" y="266"/>
                  </a:lnTo>
                  <a:lnTo>
                    <a:pt x="348" y="266"/>
                  </a:lnTo>
                  <a:lnTo>
                    <a:pt x="350" y="266"/>
                  </a:lnTo>
                  <a:lnTo>
                    <a:pt x="352" y="268"/>
                  </a:lnTo>
                  <a:lnTo>
                    <a:pt x="354" y="268"/>
                  </a:lnTo>
                  <a:lnTo>
                    <a:pt x="354" y="270"/>
                  </a:lnTo>
                  <a:lnTo>
                    <a:pt x="354" y="270"/>
                  </a:lnTo>
                  <a:lnTo>
                    <a:pt x="356" y="270"/>
                  </a:lnTo>
                  <a:lnTo>
                    <a:pt x="356" y="272"/>
                  </a:lnTo>
                  <a:lnTo>
                    <a:pt x="356" y="272"/>
                  </a:lnTo>
                  <a:lnTo>
                    <a:pt x="356" y="274"/>
                  </a:lnTo>
                  <a:lnTo>
                    <a:pt x="356" y="276"/>
                  </a:lnTo>
                  <a:lnTo>
                    <a:pt x="356" y="278"/>
                  </a:lnTo>
                  <a:lnTo>
                    <a:pt x="356" y="278"/>
                  </a:lnTo>
                  <a:lnTo>
                    <a:pt x="356" y="280"/>
                  </a:lnTo>
                  <a:lnTo>
                    <a:pt x="358" y="280"/>
                  </a:lnTo>
                  <a:lnTo>
                    <a:pt x="358" y="280"/>
                  </a:lnTo>
                  <a:lnTo>
                    <a:pt x="358" y="280"/>
                  </a:lnTo>
                  <a:lnTo>
                    <a:pt x="360" y="280"/>
                  </a:lnTo>
                  <a:lnTo>
                    <a:pt x="362" y="280"/>
                  </a:lnTo>
                  <a:lnTo>
                    <a:pt x="364" y="280"/>
                  </a:lnTo>
                  <a:lnTo>
                    <a:pt x="366" y="282"/>
                  </a:lnTo>
                  <a:lnTo>
                    <a:pt x="368" y="282"/>
                  </a:lnTo>
                  <a:lnTo>
                    <a:pt x="370" y="282"/>
                  </a:lnTo>
                  <a:lnTo>
                    <a:pt x="370" y="282"/>
                  </a:lnTo>
                  <a:lnTo>
                    <a:pt x="372" y="282"/>
                  </a:lnTo>
                  <a:lnTo>
                    <a:pt x="372" y="282"/>
                  </a:lnTo>
                  <a:lnTo>
                    <a:pt x="372" y="284"/>
                  </a:lnTo>
                  <a:lnTo>
                    <a:pt x="372" y="284"/>
                  </a:lnTo>
                  <a:lnTo>
                    <a:pt x="372" y="286"/>
                  </a:lnTo>
                  <a:lnTo>
                    <a:pt x="372" y="286"/>
                  </a:lnTo>
                  <a:lnTo>
                    <a:pt x="372" y="288"/>
                  </a:lnTo>
                  <a:lnTo>
                    <a:pt x="374" y="290"/>
                  </a:lnTo>
                  <a:lnTo>
                    <a:pt x="374" y="292"/>
                  </a:lnTo>
                  <a:lnTo>
                    <a:pt x="374" y="294"/>
                  </a:lnTo>
                  <a:lnTo>
                    <a:pt x="374" y="294"/>
                  </a:lnTo>
                  <a:lnTo>
                    <a:pt x="374" y="294"/>
                  </a:lnTo>
                  <a:lnTo>
                    <a:pt x="374" y="294"/>
                  </a:lnTo>
                  <a:lnTo>
                    <a:pt x="376" y="294"/>
                  </a:lnTo>
                  <a:lnTo>
                    <a:pt x="376" y="294"/>
                  </a:lnTo>
                  <a:lnTo>
                    <a:pt x="378" y="294"/>
                  </a:lnTo>
                  <a:lnTo>
                    <a:pt x="380" y="294"/>
                  </a:lnTo>
                  <a:lnTo>
                    <a:pt x="382" y="294"/>
                  </a:lnTo>
                  <a:lnTo>
                    <a:pt x="384" y="292"/>
                  </a:lnTo>
                  <a:lnTo>
                    <a:pt x="384" y="292"/>
                  </a:lnTo>
                  <a:lnTo>
                    <a:pt x="386" y="292"/>
                  </a:lnTo>
                  <a:lnTo>
                    <a:pt x="386" y="292"/>
                  </a:lnTo>
                  <a:lnTo>
                    <a:pt x="386" y="294"/>
                  </a:lnTo>
                  <a:lnTo>
                    <a:pt x="386" y="294"/>
                  </a:lnTo>
                  <a:lnTo>
                    <a:pt x="386" y="294"/>
                  </a:lnTo>
                  <a:lnTo>
                    <a:pt x="388" y="296"/>
                  </a:lnTo>
                  <a:lnTo>
                    <a:pt x="388" y="298"/>
                  </a:lnTo>
                  <a:lnTo>
                    <a:pt x="388" y="300"/>
                  </a:lnTo>
                  <a:lnTo>
                    <a:pt x="388" y="302"/>
                  </a:lnTo>
                  <a:lnTo>
                    <a:pt x="390" y="302"/>
                  </a:lnTo>
                  <a:lnTo>
                    <a:pt x="390" y="304"/>
                  </a:lnTo>
                  <a:lnTo>
                    <a:pt x="392" y="306"/>
                  </a:lnTo>
                  <a:lnTo>
                    <a:pt x="392" y="306"/>
                  </a:lnTo>
                  <a:lnTo>
                    <a:pt x="394" y="308"/>
                  </a:lnTo>
                  <a:lnTo>
                    <a:pt x="396" y="308"/>
                  </a:lnTo>
                  <a:lnTo>
                    <a:pt x="398" y="308"/>
                  </a:lnTo>
                  <a:lnTo>
                    <a:pt x="400" y="310"/>
                  </a:lnTo>
                  <a:lnTo>
                    <a:pt x="400" y="310"/>
                  </a:lnTo>
                  <a:lnTo>
                    <a:pt x="400" y="310"/>
                  </a:lnTo>
                  <a:lnTo>
                    <a:pt x="402" y="310"/>
                  </a:lnTo>
                  <a:lnTo>
                    <a:pt x="402" y="308"/>
                  </a:lnTo>
                  <a:lnTo>
                    <a:pt x="402" y="308"/>
                  </a:lnTo>
                  <a:lnTo>
                    <a:pt x="402" y="308"/>
                  </a:lnTo>
                  <a:lnTo>
                    <a:pt x="404" y="306"/>
                  </a:lnTo>
                  <a:lnTo>
                    <a:pt x="404" y="304"/>
                  </a:lnTo>
                  <a:lnTo>
                    <a:pt x="404" y="302"/>
                  </a:lnTo>
                  <a:lnTo>
                    <a:pt x="406" y="300"/>
                  </a:lnTo>
                  <a:lnTo>
                    <a:pt x="406" y="300"/>
                  </a:lnTo>
                  <a:lnTo>
                    <a:pt x="406" y="300"/>
                  </a:lnTo>
                  <a:lnTo>
                    <a:pt x="406" y="300"/>
                  </a:lnTo>
                  <a:lnTo>
                    <a:pt x="408" y="300"/>
                  </a:lnTo>
                  <a:lnTo>
                    <a:pt x="408" y="300"/>
                  </a:lnTo>
                  <a:lnTo>
                    <a:pt x="408" y="300"/>
                  </a:lnTo>
                  <a:lnTo>
                    <a:pt x="408" y="300"/>
                  </a:lnTo>
                  <a:lnTo>
                    <a:pt x="408" y="300"/>
                  </a:lnTo>
                  <a:lnTo>
                    <a:pt x="410" y="302"/>
                  </a:lnTo>
                  <a:lnTo>
                    <a:pt x="410" y="304"/>
                  </a:lnTo>
                  <a:lnTo>
                    <a:pt x="412" y="306"/>
                  </a:lnTo>
                  <a:lnTo>
                    <a:pt x="412" y="308"/>
                  </a:lnTo>
                  <a:lnTo>
                    <a:pt x="414" y="310"/>
                  </a:lnTo>
                  <a:lnTo>
                    <a:pt x="416" y="310"/>
                  </a:lnTo>
                  <a:lnTo>
                    <a:pt x="418" y="312"/>
                  </a:lnTo>
                  <a:lnTo>
                    <a:pt x="418" y="314"/>
                  </a:lnTo>
                  <a:lnTo>
                    <a:pt x="420" y="314"/>
                  </a:lnTo>
                  <a:lnTo>
                    <a:pt x="422" y="314"/>
                  </a:lnTo>
                  <a:lnTo>
                    <a:pt x="422" y="314"/>
                  </a:lnTo>
                  <a:lnTo>
                    <a:pt x="422" y="314"/>
                  </a:lnTo>
                  <a:lnTo>
                    <a:pt x="424" y="314"/>
                  </a:lnTo>
                  <a:lnTo>
                    <a:pt x="424" y="312"/>
                  </a:lnTo>
                  <a:lnTo>
                    <a:pt x="426" y="310"/>
                  </a:lnTo>
                  <a:lnTo>
                    <a:pt x="426" y="310"/>
                  </a:lnTo>
                  <a:lnTo>
                    <a:pt x="428" y="310"/>
                  </a:lnTo>
                  <a:lnTo>
                    <a:pt x="428" y="310"/>
                  </a:lnTo>
                  <a:lnTo>
                    <a:pt x="428" y="310"/>
                  </a:lnTo>
                  <a:lnTo>
                    <a:pt x="430" y="310"/>
                  </a:lnTo>
                  <a:lnTo>
                    <a:pt x="430" y="310"/>
                  </a:lnTo>
                  <a:lnTo>
                    <a:pt x="432" y="310"/>
                  </a:lnTo>
                  <a:lnTo>
                    <a:pt x="432" y="310"/>
                  </a:lnTo>
                  <a:lnTo>
                    <a:pt x="434" y="312"/>
                  </a:lnTo>
                  <a:lnTo>
                    <a:pt x="434" y="312"/>
                  </a:lnTo>
                  <a:lnTo>
                    <a:pt x="434" y="312"/>
                  </a:lnTo>
                  <a:lnTo>
                    <a:pt x="434" y="314"/>
                  </a:lnTo>
                  <a:lnTo>
                    <a:pt x="434" y="314"/>
                  </a:lnTo>
                  <a:lnTo>
                    <a:pt x="432" y="316"/>
                  </a:lnTo>
                  <a:lnTo>
                    <a:pt x="432" y="318"/>
                  </a:lnTo>
                  <a:lnTo>
                    <a:pt x="432" y="322"/>
                  </a:lnTo>
                  <a:lnTo>
                    <a:pt x="432" y="324"/>
                  </a:lnTo>
                  <a:lnTo>
                    <a:pt x="432" y="326"/>
                  </a:lnTo>
                  <a:lnTo>
                    <a:pt x="432" y="328"/>
                  </a:lnTo>
                  <a:lnTo>
                    <a:pt x="432" y="330"/>
                  </a:lnTo>
                  <a:lnTo>
                    <a:pt x="432" y="330"/>
                  </a:lnTo>
                  <a:lnTo>
                    <a:pt x="432" y="332"/>
                  </a:lnTo>
                  <a:lnTo>
                    <a:pt x="434" y="332"/>
                  </a:lnTo>
                  <a:lnTo>
                    <a:pt x="434" y="334"/>
                  </a:lnTo>
                  <a:lnTo>
                    <a:pt x="436" y="336"/>
                  </a:lnTo>
                  <a:lnTo>
                    <a:pt x="438" y="338"/>
                  </a:lnTo>
                  <a:lnTo>
                    <a:pt x="438" y="338"/>
                  </a:lnTo>
                  <a:lnTo>
                    <a:pt x="440" y="338"/>
                  </a:lnTo>
                  <a:lnTo>
                    <a:pt x="440" y="338"/>
                  </a:lnTo>
                  <a:lnTo>
                    <a:pt x="444" y="338"/>
                  </a:lnTo>
                  <a:lnTo>
                    <a:pt x="444" y="338"/>
                  </a:lnTo>
                  <a:lnTo>
                    <a:pt x="446" y="338"/>
                  </a:lnTo>
                  <a:lnTo>
                    <a:pt x="446" y="338"/>
                  </a:lnTo>
                  <a:lnTo>
                    <a:pt x="448" y="340"/>
                  </a:lnTo>
                  <a:lnTo>
                    <a:pt x="448" y="340"/>
                  </a:lnTo>
                  <a:lnTo>
                    <a:pt x="448" y="340"/>
                  </a:lnTo>
                  <a:lnTo>
                    <a:pt x="448" y="340"/>
                  </a:lnTo>
                  <a:lnTo>
                    <a:pt x="448" y="342"/>
                  </a:lnTo>
                  <a:lnTo>
                    <a:pt x="448" y="344"/>
                  </a:lnTo>
                  <a:lnTo>
                    <a:pt x="448" y="346"/>
                  </a:lnTo>
                  <a:lnTo>
                    <a:pt x="448" y="346"/>
                  </a:lnTo>
                  <a:lnTo>
                    <a:pt x="448" y="348"/>
                  </a:lnTo>
                  <a:lnTo>
                    <a:pt x="448" y="350"/>
                  </a:lnTo>
                  <a:lnTo>
                    <a:pt x="448" y="350"/>
                  </a:lnTo>
                  <a:lnTo>
                    <a:pt x="448" y="350"/>
                  </a:lnTo>
                  <a:lnTo>
                    <a:pt x="448" y="352"/>
                  </a:lnTo>
                  <a:lnTo>
                    <a:pt x="450" y="352"/>
                  </a:lnTo>
                  <a:lnTo>
                    <a:pt x="450" y="354"/>
                  </a:lnTo>
                  <a:lnTo>
                    <a:pt x="452" y="354"/>
                  </a:lnTo>
                  <a:lnTo>
                    <a:pt x="454" y="356"/>
                  </a:lnTo>
                  <a:lnTo>
                    <a:pt x="456" y="356"/>
                  </a:lnTo>
                  <a:lnTo>
                    <a:pt x="458" y="358"/>
                  </a:lnTo>
                  <a:lnTo>
                    <a:pt x="460" y="358"/>
                  </a:lnTo>
                  <a:lnTo>
                    <a:pt x="462" y="358"/>
                  </a:lnTo>
                  <a:lnTo>
                    <a:pt x="466" y="358"/>
                  </a:lnTo>
                  <a:lnTo>
                    <a:pt x="470" y="358"/>
                  </a:lnTo>
                  <a:lnTo>
                    <a:pt x="472" y="356"/>
                  </a:lnTo>
                  <a:lnTo>
                    <a:pt x="474" y="354"/>
                  </a:lnTo>
                  <a:lnTo>
                    <a:pt x="476" y="354"/>
                  </a:lnTo>
                  <a:lnTo>
                    <a:pt x="478" y="352"/>
                  </a:lnTo>
                  <a:lnTo>
                    <a:pt x="480" y="350"/>
                  </a:lnTo>
                  <a:lnTo>
                    <a:pt x="480" y="350"/>
                  </a:lnTo>
                  <a:lnTo>
                    <a:pt x="480" y="348"/>
                  </a:lnTo>
                  <a:lnTo>
                    <a:pt x="480" y="348"/>
                  </a:lnTo>
                  <a:lnTo>
                    <a:pt x="480" y="346"/>
                  </a:lnTo>
                  <a:lnTo>
                    <a:pt x="480" y="346"/>
                  </a:lnTo>
                  <a:lnTo>
                    <a:pt x="480" y="346"/>
                  </a:lnTo>
                  <a:lnTo>
                    <a:pt x="478" y="346"/>
                  </a:lnTo>
                  <a:lnTo>
                    <a:pt x="476" y="344"/>
                  </a:lnTo>
                  <a:lnTo>
                    <a:pt x="476" y="344"/>
                  </a:lnTo>
                  <a:lnTo>
                    <a:pt x="474" y="344"/>
                  </a:lnTo>
                  <a:lnTo>
                    <a:pt x="470" y="344"/>
                  </a:lnTo>
                  <a:lnTo>
                    <a:pt x="468" y="344"/>
                  </a:lnTo>
                  <a:lnTo>
                    <a:pt x="464" y="344"/>
                  </a:lnTo>
                  <a:lnTo>
                    <a:pt x="464" y="344"/>
                  </a:lnTo>
                  <a:lnTo>
                    <a:pt x="462" y="344"/>
                  </a:lnTo>
                  <a:lnTo>
                    <a:pt x="460" y="342"/>
                  </a:lnTo>
                  <a:lnTo>
                    <a:pt x="460" y="342"/>
                  </a:lnTo>
                  <a:lnTo>
                    <a:pt x="460" y="340"/>
                  </a:lnTo>
                  <a:lnTo>
                    <a:pt x="458" y="340"/>
                  </a:lnTo>
                  <a:lnTo>
                    <a:pt x="458" y="338"/>
                  </a:lnTo>
                  <a:lnTo>
                    <a:pt x="458" y="338"/>
                  </a:lnTo>
                  <a:lnTo>
                    <a:pt x="458" y="334"/>
                  </a:lnTo>
                  <a:lnTo>
                    <a:pt x="458" y="330"/>
                  </a:lnTo>
                  <a:lnTo>
                    <a:pt x="458" y="326"/>
                  </a:lnTo>
                  <a:lnTo>
                    <a:pt x="456" y="324"/>
                  </a:lnTo>
                  <a:lnTo>
                    <a:pt x="456" y="322"/>
                  </a:lnTo>
                  <a:lnTo>
                    <a:pt x="456" y="320"/>
                  </a:lnTo>
                  <a:lnTo>
                    <a:pt x="456" y="320"/>
                  </a:lnTo>
                  <a:lnTo>
                    <a:pt x="454" y="318"/>
                  </a:lnTo>
                  <a:lnTo>
                    <a:pt x="454" y="318"/>
                  </a:lnTo>
                  <a:lnTo>
                    <a:pt x="454" y="316"/>
                  </a:lnTo>
                  <a:lnTo>
                    <a:pt x="452" y="316"/>
                  </a:lnTo>
                  <a:lnTo>
                    <a:pt x="448" y="316"/>
                  </a:lnTo>
                  <a:lnTo>
                    <a:pt x="448" y="314"/>
                  </a:lnTo>
                  <a:lnTo>
                    <a:pt x="448" y="314"/>
                  </a:lnTo>
                  <a:lnTo>
                    <a:pt x="446" y="314"/>
                  </a:lnTo>
                  <a:lnTo>
                    <a:pt x="446" y="312"/>
                  </a:lnTo>
                  <a:lnTo>
                    <a:pt x="446" y="310"/>
                  </a:lnTo>
                  <a:lnTo>
                    <a:pt x="446" y="308"/>
                  </a:lnTo>
                  <a:lnTo>
                    <a:pt x="446" y="306"/>
                  </a:lnTo>
                  <a:lnTo>
                    <a:pt x="444" y="300"/>
                  </a:lnTo>
                  <a:lnTo>
                    <a:pt x="444" y="298"/>
                  </a:lnTo>
                  <a:lnTo>
                    <a:pt x="444" y="298"/>
                  </a:lnTo>
                  <a:lnTo>
                    <a:pt x="444" y="296"/>
                  </a:lnTo>
                  <a:lnTo>
                    <a:pt x="442" y="294"/>
                  </a:lnTo>
                  <a:lnTo>
                    <a:pt x="440" y="290"/>
                  </a:lnTo>
                  <a:lnTo>
                    <a:pt x="438" y="286"/>
                  </a:lnTo>
                  <a:lnTo>
                    <a:pt x="434" y="284"/>
                  </a:lnTo>
                  <a:lnTo>
                    <a:pt x="432" y="280"/>
                  </a:lnTo>
                  <a:lnTo>
                    <a:pt x="428" y="278"/>
                  </a:lnTo>
                  <a:lnTo>
                    <a:pt x="426" y="274"/>
                  </a:lnTo>
                  <a:lnTo>
                    <a:pt x="424" y="274"/>
                  </a:lnTo>
                  <a:lnTo>
                    <a:pt x="422" y="272"/>
                  </a:lnTo>
                  <a:lnTo>
                    <a:pt x="420" y="272"/>
                  </a:lnTo>
                  <a:lnTo>
                    <a:pt x="418" y="272"/>
                  </a:lnTo>
                  <a:lnTo>
                    <a:pt x="416" y="272"/>
                  </a:lnTo>
                  <a:lnTo>
                    <a:pt x="416" y="272"/>
                  </a:lnTo>
                  <a:lnTo>
                    <a:pt x="414" y="272"/>
                  </a:lnTo>
                  <a:lnTo>
                    <a:pt x="414" y="272"/>
                  </a:lnTo>
                  <a:lnTo>
                    <a:pt x="414" y="272"/>
                  </a:lnTo>
                  <a:lnTo>
                    <a:pt x="412" y="272"/>
                  </a:lnTo>
                  <a:lnTo>
                    <a:pt x="412" y="274"/>
                  </a:lnTo>
                  <a:lnTo>
                    <a:pt x="412" y="274"/>
                  </a:lnTo>
                  <a:lnTo>
                    <a:pt x="412" y="276"/>
                  </a:lnTo>
                  <a:lnTo>
                    <a:pt x="412" y="278"/>
                  </a:lnTo>
                  <a:lnTo>
                    <a:pt x="412" y="280"/>
                  </a:lnTo>
                  <a:lnTo>
                    <a:pt x="412" y="280"/>
                  </a:lnTo>
                  <a:lnTo>
                    <a:pt x="412" y="282"/>
                  </a:lnTo>
                  <a:lnTo>
                    <a:pt x="410" y="282"/>
                  </a:lnTo>
                  <a:lnTo>
                    <a:pt x="410" y="282"/>
                  </a:lnTo>
                  <a:lnTo>
                    <a:pt x="410" y="282"/>
                  </a:lnTo>
                  <a:lnTo>
                    <a:pt x="408" y="282"/>
                  </a:lnTo>
                  <a:lnTo>
                    <a:pt x="408" y="282"/>
                  </a:lnTo>
                  <a:lnTo>
                    <a:pt x="406" y="282"/>
                  </a:lnTo>
                  <a:lnTo>
                    <a:pt x="406" y="282"/>
                  </a:lnTo>
                  <a:lnTo>
                    <a:pt x="404" y="282"/>
                  </a:lnTo>
                  <a:lnTo>
                    <a:pt x="402" y="282"/>
                  </a:lnTo>
                  <a:lnTo>
                    <a:pt x="402" y="282"/>
                  </a:lnTo>
                  <a:lnTo>
                    <a:pt x="402" y="282"/>
                  </a:lnTo>
                  <a:lnTo>
                    <a:pt x="402" y="282"/>
                  </a:lnTo>
                  <a:lnTo>
                    <a:pt x="402" y="282"/>
                  </a:lnTo>
                  <a:lnTo>
                    <a:pt x="400" y="284"/>
                  </a:lnTo>
                  <a:lnTo>
                    <a:pt x="400" y="284"/>
                  </a:lnTo>
                  <a:lnTo>
                    <a:pt x="400" y="286"/>
                  </a:lnTo>
                  <a:lnTo>
                    <a:pt x="400" y="288"/>
                  </a:lnTo>
                  <a:lnTo>
                    <a:pt x="400" y="288"/>
                  </a:lnTo>
                  <a:lnTo>
                    <a:pt x="398" y="290"/>
                  </a:lnTo>
                  <a:lnTo>
                    <a:pt x="398" y="290"/>
                  </a:lnTo>
                  <a:lnTo>
                    <a:pt x="398" y="290"/>
                  </a:lnTo>
                  <a:lnTo>
                    <a:pt x="398" y="290"/>
                  </a:lnTo>
                  <a:lnTo>
                    <a:pt x="396" y="290"/>
                  </a:lnTo>
                  <a:lnTo>
                    <a:pt x="396" y="290"/>
                  </a:lnTo>
                  <a:lnTo>
                    <a:pt x="394" y="290"/>
                  </a:lnTo>
                  <a:lnTo>
                    <a:pt x="394" y="288"/>
                  </a:lnTo>
                  <a:lnTo>
                    <a:pt x="392" y="288"/>
                  </a:lnTo>
                  <a:lnTo>
                    <a:pt x="390" y="286"/>
                  </a:lnTo>
                  <a:lnTo>
                    <a:pt x="388" y="284"/>
                  </a:lnTo>
                  <a:lnTo>
                    <a:pt x="386" y="284"/>
                  </a:lnTo>
                  <a:lnTo>
                    <a:pt x="386" y="282"/>
                  </a:lnTo>
                  <a:lnTo>
                    <a:pt x="386" y="280"/>
                  </a:lnTo>
                  <a:lnTo>
                    <a:pt x="384" y="280"/>
                  </a:lnTo>
                  <a:lnTo>
                    <a:pt x="384" y="278"/>
                  </a:lnTo>
                  <a:lnTo>
                    <a:pt x="384" y="274"/>
                  </a:lnTo>
                  <a:lnTo>
                    <a:pt x="384" y="272"/>
                  </a:lnTo>
                  <a:lnTo>
                    <a:pt x="384" y="270"/>
                  </a:lnTo>
                  <a:lnTo>
                    <a:pt x="384" y="266"/>
                  </a:lnTo>
                  <a:lnTo>
                    <a:pt x="382" y="264"/>
                  </a:lnTo>
                  <a:lnTo>
                    <a:pt x="382" y="264"/>
                  </a:lnTo>
                  <a:lnTo>
                    <a:pt x="382" y="262"/>
                  </a:lnTo>
                  <a:lnTo>
                    <a:pt x="380" y="262"/>
                  </a:lnTo>
                  <a:lnTo>
                    <a:pt x="380" y="260"/>
                  </a:lnTo>
                  <a:lnTo>
                    <a:pt x="378" y="258"/>
                  </a:lnTo>
                  <a:lnTo>
                    <a:pt x="378" y="258"/>
                  </a:lnTo>
                  <a:lnTo>
                    <a:pt x="376" y="258"/>
                  </a:lnTo>
                  <a:lnTo>
                    <a:pt x="376" y="258"/>
                  </a:lnTo>
                  <a:lnTo>
                    <a:pt x="374" y="258"/>
                  </a:lnTo>
                  <a:lnTo>
                    <a:pt x="374" y="258"/>
                  </a:lnTo>
                  <a:lnTo>
                    <a:pt x="372" y="258"/>
                  </a:lnTo>
                  <a:lnTo>
                    <a:pt x="370" y="260"/>
                  </a:lnTo>
                  <a:lnTo>
                    <a:pt x="368" y="260"/>
                  </a:lnTo>
                  <a:lnTo>
                    <a:pt x="364" y="262"/>
                  </a:lnTo>
                  <a:lnTo>
                    <a:pt x="364" y="262"/>
                  </a:lnTo>
                  <a:lnTo>
                    <a:pt x="428" y="42"/>
                  </a:lnTo>
                  <a:lnTo>
                    <a:pt x="426" y="40"/>
                  </a:lnTo>
                  <a:lnTo>
                    <a:pt x="422" y="34"/>
                  </a:lnTo>
                  <a:lnTo>
                    <a:pt x="420" y="32"/>
                  </a:lnTo>
                  <a:lnTo>
                    <a:pt x="416" y="30"/>
                  </a:lnTo>
                  <a:lnTo>
                    <a:pt x="414" y="28"/>
                  </a:lnTo>
                  <a:lnTo>
                    <a:pt x="414" y="28"/>
                  </a:lnTo>
                  <a:lnTo>
                    <a:pt x="412" y="28"/>
                  </a:lnTo>
                  <a:lnTo>
                    <a:pt x="410" y="28"/>
                  </a:lnTo>
                  <a:lnTo>
                    <a:pt x="408" y="26"/>
                  </a:lnTo>
                  <a:lnTo>
                    <a:pt x="406" y="26"/>
                  </a:lnTo>
                  <a:lnTo>
                    <a:pt x="404" y="26"/>
                  </a:lnTo>
                  <a:lnTo>
                    <a:pt x="402" y="26"/>
                  </a:lnTo>
                  <a:lnTo>
                    <a:pt x="400" y="28"/>
                  </a:lnTo>
                  <a:lnTo>
                    <a:pt x="394" y="28"/>
                  </a:lnTo>
                  <a:lnTo>
                    <a:pt x="384" y="30"/>
                  </a:lnTo>
                  <a:lnTo>
                    <a:pt x="380" y="30"/>
                  </a:lnTo>
                  <a:lnTo>
                    <a:pt x="376" y="32"/>
                  </a:lnTo>
                  <a:lnTo>
                    <a:pt x="374" y="32"/>
                  </a:lnTo>
                  <a:lnTo>
                    <a:pt x="370" y="32"/>
                  </a:lnTo>
                  <a:lnTo>
                    <a:pt x="368" y="32"/>
                  </a:lnTo>
                  <a:lnTo>
                    <a:pt x="364" y="32"/>
                  </a:lnTo>
                  <a:lnTo>
                    <a:pt x="364" y="32"/>
                  </a:lnTo>
                  <a:lnTo>
                    <a:pt x="362" y="32"/>
                  </a:lnTo>
                  <a:lnTo>
                    <a:pt x="362" y="32"/>
                  </a:lnTo>
                  <a:lnTo>
                    <a:pt x="362" y="32"/>
                  </a:lnTo>
                  <a:lnTo>
                    <a:pt x="360" y="32"/>
                  </a:lnTo>
                  <a:lnTo>
                    <a:pt x="360" y="30"/>
                  </a:lnTo>
                  <a:lnTo>
                    <a:pt x="358" y="30"/>
                  </a:lnTo>
                  <a:lnTo>
                    <a:pt x="356" y="28"/>
                  </a:lnTo>
                  <a:lnTo>
                    <a:pt x="356" y="26"/>
                  </a:lnTo>
                  <a:lnTo>
                    <a:pt x="354" y="24"/>
                  </a:lnTo>
                  <a:lnTo>
                    <a:pt x="352" y="24"/>
                  </a:lnTo>
                  <a:lnTo>
                    <a:pt x="352" y="22"/>
                  </a:lnTo>
                  <a:lnTo>
                    <a:pt x="352" y="22"/>
                  </a:lnTo>
                  <a:lnTo>
                    <a:pt x="350" y="22"/>
                  </a:lnTo>
                  <a:lnTo>
                    <a:pt x="350" y="22"/>
                  </a:lnTo>
                  <a:lnTo>
                    <a:pt x="348" y="22"/>
                  </a:lnTo>
                  <a:lnTo>
                    <a:pt x="344" y="22"/>
                  </a:lnTo>
                  <a:lnTo>
                    <a:pt x="342" y="22"/>
                  </a:lnTo>
                  <a:lnTo>
                    <a:pt x="338" y="22"/>
                  </a:lnTo>
                  <a:lnTo>
                    <a:pt x="336" y="24"/>
                  </a:lnTo>
                  <a:lnTo>
                    <a:pt x="328" y="24"/>
                  </a:lnTo>
                  <a:lnTo>
                    <a:pt x="322" y="26"/>
                  </a:lnTo>
                  <a:lnTo>
                    <a:pt x="320" y="26"/>
                  </a:lnTo>
                  <a:lnTo>
                    <a:pt x="316" y="28"/>
                  </a:lnTo>
                  <a:lnTo>
                    <a:pt x="314" y="28"/>
                  </a:lnTo>
                  <a:lnTo>
                    <a:pt x="310" y="28"/>
                  </a:lnTo>
                  <a:lnTo>
                    <a:pt x="308" y="26"/>
                  </a:lnTo>
                  <a:lnTo>
                    <a:pt x="308" y="26"/>
                  </a:lnTo>
                  <a:lnTo>
                    <a:pt x="306" y="26"/>
                  </a:lnTo>
                  <a:lnTo>
                    <a:pt x="306" y="26"/>
                  </a:lnTo>
                  <a:lnTo>
                    <a:pt x="304" y="24"/>
                  </a:lnTo>
                  <a:lnTo>
                    <a:pt x="304" y="24"/>
                  </a:lnTo>
                  <a:lnTo>
                    <a:pt x="302" y="22"/>
                  </a:lnTo>
                  <a:lnTo>
                    <a:pt x="300" y="18"/>
                  </a:lnTo>
                  <a:lnTo>
                    <a:pt x="298" y="16"/>
                  </a:lnTo>
                  <a:lnTo>
                    <a:pt x="298" y="12"/>
                  </a:lnTo>
                  <a:lnTo>
                    <a:pt x="296" y="10"/>
                  </a:lnTo>
                  <a:lnTo>
                    <a:pt x="296" y="10"/>
                  </a:lnTo>
                  <a:lnTo>
                    <a:pt x="294" y="8"/>
                  </a:lnTo>
                  <a:lnTo>
                    <a:pt x="294" y="6"/>
                  </a:lnTo>
                  <a:lnTo>
                    <a:pt x="292" y="6"/>
                  </a:lnTo>
                  <a:lnTo>
                    <a:pt x="292" y="6"/>
                  </a:lnTo>
                  <a:lnTo>
                    <a:pt x="290" y="6"/>
                  </a:lnTo>
                  <a:lnTo>
                    <a:pt x="290" y="6"/>
                  </a:lnTo>
                  <a:lnTo>
                    <a:pt x="288" y="6"/>
                  </a:lnTo>
                  <a:lnTo>
                    <a:pt x="288" y="8"/>
                  </a:lnTo>
                  <a:lnTo>
                    <a:pt x="286" y="10"/>
                  </a:lnTo>
                  <a:lnTo>
                    <a:pt x="284" y="12"/>
                  </a:lnTo>
                  <a:lnTo>
                    <a:pt x="282" y="14"/>
                  </a:lnTo>
                  <a:lnTo>
                    <a:pt x="280" y="16"/>
                  </a:lnTo>
                  <a:lnTo>
                    <a:pt x="278" y="16"/>
                  </a:lnTo>
                  <a:lnTo>
                    <a:pt x="278" y="18"/>
                  </a:lnTo>
                  <a:lnTo>
                    <a:pt x="276" y="18"/>
                  </a:lnTo>
                  <a:lnTo>
                    <a:pt x="276" y="18"/>
                  </a:lnTo>
                  <a:lnTo>
                    <a:pt x="274" y="20"/>
                  </a:lnTo>
                  <a:lnTo>
                    <a:pt x="270" y="20"/>
                  </a:lnTo>
                  <a:lnTo>
                    <a:pt x="268" y="20"/>
                  </a:lnTo>
                  <a:lnTo>
                    <a:pt x="264" y="20"/>
                  </a:lnTo>
                  <a:lnTo>
                    <a:pt x="262" y="20"/>
                  </a:lnTo>
                  <a:lnTo>
                    <a:pt x="258" y="18"/>
                  </a:lnTo>
                  <a:lnTo>
                    <a:pt x="258" y="18"/>
                  </a:lnTo>
                  <a:lnTo>
                    <a:pt x="256" y="18"/>
                  </a:lnTo>
                  <a:lnTo>
                    <a:pt x="256" y="16"/>
                  </a:lnTo>
                  <a:lnTo>
                    <a:pt x="254" y="16"/>
                  </a:lnTo>
                  <a:lnTo>
                    <a:pt x="254" y="16"/>
                  </a:lnTo>
                  <a:lnTo>
                    <a:pt x="254" y="14"/>
                  </a:lnTo>
                  <a:lnTo>
                    <a:pt x="254" y="14"/>
                  </a:lnTo>
                  <a:lnTo>
                    <a:pt x="254" y="14"/>
                  </a:lnTo>
                  <a:lnTo>
                    <a:pt x="254" y="12"/>
                  </a:lnTo>
                  <a:lnTo>
                    <a:pt x="254" y="10"/>
                  </a:lnTo>
                  <a:lnTo>
                    <a:pt x="254" y="8"/>
                  </a:lnTo>
                  <a:lnTo>
                    <a:pt x="254" y="6"/>
                  </a:lnTo>
                  <a:lnTo>
                    <a:pt x="254" y="4"/>
                  </a:lnTo>
                  <a:lnTo>
                    <a:pt x="254" y="4"/>
                  </a:lnTo>
                  <a:lnTo>
                    <a:pt x="254" y="2"/>
                  </a:lnTo>
                  <a:lnTo>
                    <a:pt x="254" y="2"/>
                  </a:lnTo>
                  <a:lnTo>
                    <a:pt x="252" y="2"/>
                  </a:lnTo>
                  <a:lnTo>
                    <a:pt x="252" y="2"/>
                  </a:lnTo>
                  <a:lnTo>
                    <a:pt x="250" y="0"/>
                  </a:lnTo>
                  <a:lnTo>
                    <a:pt x="248" y="0"/>
                  </a:lnTo>
                  <a:lnTo>
                    <a:pt x="246" y="0"/>
                  </a:lnTo>
                  <a:lnTo>
                    <a:pt x="246" y="0"/>
                  </a:lnTo>
                  <a:lnTo>
                    <a:pt x="244" y="0"/>
                  </a:lnTo>
                  <a:lnTo>
                    <a:pt x="244"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0" name="Freeform 525">
              <a:extLst>
                <a:ext uri="{FF2B5EF4-FFF2-40B4-BE49-F238E27FC236}">
                  <a16:creationId xmlns:a16="http://schemas.microsoft.com/office/drawing/2014/main" id="{99649C53-D79E-4417-B591-4D16E50EDFAE}"/>
                </a:ext>
              </a:extLst>
            </p:cNvPr>
            <p:cNvSpPr>
              <a:spLocks/>
            </p:cNvSpPr>
            <p:nvPr/>
          </p:nvSpPr>
          <p:spPr bwMode="auto">
            <a:xfrm>
              <a:off x="444790" y="2307910"/>
              <a:ext cx="831396" cy="685902"/>
            </a:xfrm>
            <a:custGeom>
              <a:avLst/>
              <a:gdLst>
                <a:gd name="T0" fmla="*/ 210 w 480"/>
                <a:gd name="T1" fmla="*/ 10 h 396"/>
                <a:gd name="T2" fmla="*/ 192 w 480"/>
                <a:gd name="T3" fmla="*/ 26 h 396"/>
                <a:gd name="T4" fmla="*/ 154 w 480"/>
                <a:gd name="T5" fmla="*/ 34 h 396"/>
                <a:gd name="T6" fmla="*/ 120 w 480"/>
                <a:gd name="T7" fmla="*/ 60 h 396"/>
                <a:gd name="T8" fmla="*/ 90 w 480"/>
                <a:gd name="T9" fmla="*/ 78 h 396"/>
                <a:gd name="T10" fmla="*/ 152 w 480"/>
                <a:gd name="T11" fmla="*/ 106 h 396"/>
                <a:gd name="T12" fmla="*/ 150 w 480"/>
                <a:gd name="T13" fmla="*/ 118 h 396"/>
                <a:gd name="T14" fmla="*/ 106 w 480"/>
                <a:gd name="T15" fmla="*/ 122 h 396"/>
                <a:gd name="T16" fmla="*/ 84 w 480"/>
                <a:gd name="T17" fmla="*/ 118 h 396"/>
                <a:gd name="T18" fmla="*/ 60 w 480"/>
                <a:gd name="T19" fmla="*/ 126 h 396"/>
                <a:gd name="T20" fmla="*/ 64 w 480"/>
                <a:gd name="T21" fmla="*/ 142 h 396"/>
                <a:gd name="T22" fmla="*/ 68 w 480"/>
                <a:gd name="T23" fmla="*/ 162 h 396"/>
                <a:gd name="T24" fmla="*/ 112 w 480"/>
                <a:gd name="T25" fmla="*/ 162 h 396"/>
                <a:gd name="T26" fmla="*/ 132 w 480"/>
                <a:gd name="T27" fmla="*/ 164 h 396"/>
                <a:gd name="T28" fmla="*/ 120 w 480"/>
                <a:gd name="T29" fmla="*/ 188 h 396"/>
                <a:gd name="T30" fmla="*/ 94 w 480"/>
                <a:gd name="T31" fmla="*/ 196 h 396"/>
                <a:gd name="T32" fmla="*/ 78 w 480"/>
                <a:gd name="T33" fmla="*/ 192 h 396"/>
                <a:gd name="T34" fmla="*/ 58 w 480"/>
                <a:gd name="T35" fmla="*/ 216 h 396"/>
                <a:gd name="T36" fmla="*/ 38 w 480"/>
                <a:gd name="T37" fmla="*/ 232 h 396"/>
                <a:gd name="T38" fmla="*/ 56 w 480"/>
                <a:gd name="T39" fmla="*/ 248 h 396"/>
                <a:gd name="T40" fmla="*/ 44 w 480"/>
                <a:gd name="T41" fmla="*/ 264 h 396"/>
                <a:gd name="T42" fmla="*/ 70 w 480"/>
                <a:gd name="T43" fmla="*/ 258 h 396"/>
                <a:gd name="T44" fmla="*/ 70 w 480"/>
                <a:gd name="T45" fmla="*/ 284 h 396"/>
                <a:gd name="T46" fmla="*/ 76 w 480"/>
                <a:gd name="T47" fmla="*/ 302 h 396"/>
                <a:gd name="T48" fmla="*/ 102 w 480"/>
                <a:gd name="T49" fmla="*/ 302 h 396"/>
                <a:gd name="T50" fmla="*/ 122 w 480"/>
                <a:gd name="T51" fmla="*/ 306 h 396"/>
                <a:gd name="T52" fmla="*/ 84 w 480"/>
                <a:gd name="T53" fmla="*/ 346 h 396"/>
                <a:gd name="T54" fmla="*/ 0 w 480"/>
                <a:gd name="T55" fmla="*/ 388 h 396"/>
                <a:gd name="T56" fmla="*/ 44 w 480"/>
                <a:gd name="T57" fmla="*/ 390 h 396"/>
                <a:gd name="T58" fmla="*/ 148 w 480"/>
                <a:gd name="T59" fmla="*/ 326 h 396"/>
                <a:gd name="T60" fmla="*/ 176 w 480"/>
                <a:gd name="T61" fmla="*/ 298 h 396"/>
                <a:gd name="T62" fmla="*/ 204 w 480"/>
                <a:gd name="T63" fmla="*/ 264 h 396"/>
                <a:gd name="T64" fmla="*/ 244 w 480"/>
                <a:gd name="T65" fmla="*/ 240 h 396"/>
                <a:gd name="T66" fmla="*/ 222 w 480"/>
                <a:gd name="T67" fmla="*/ 262 h 396"/>
                <a:gd name="T68" fmla="*/ 218 w 480"/>
                <a:gd name="T69" fmla="*/ 280 h 396"/>
                <a:gd name="T70" fmla="*/ 216 w 480"/>
                <a:gd name="T71" fmla="*/ 294 h 396"/>
                <a:gd name="T72" fmla="*/ 252 w 480"/>
                <a:gd name="T73" fmla="*/ 270 h 396"/>
                <a:gd name="T74" fmla="*/ 270 w 480"/>
                <a:gd name="T75" fmla="*/ 248 h 396"/>
                <a:gd name="T76" fmla="*/ 290 w 480"/>
                <a:gd name="T77" fmla="*/ 246 h 396"/>
                <a:gd name="T78" fmla="*/ 306 w 480"/>
                <a:gd name="T79" fmla="*/ 254 h 396"/>
                <a:gd name="T80" fmla="*/ 334 w 480"/>
                <a:gd name="T81" fmla="*/ 266 h 396"/>
                <a:gd name="T82" fmla="*/ 358 w 480"/>
                <a:gd name="T83" fmla="*/ 280 h 396"/>
                <a:gd name="T84" fmla="*/ 374 w 480"/>
                <a:gd name="T85" fmla="*/ 294 h 396"/>
                <a:gd name="T86" fmla="*/ 390 w 480"/>
                <a:gd name="T87" fmla="*/ 302 h 396"/>
                <a:gd name="T88" fmla="*/ 406 w 480"/>
                <a:gd name="T89" fmla="*/ 300 h 396"/>
                <a:gd name="T90" fmla="*/ 424 w 480"/>
                <a:gd name="T91" fmla="*/ 314 h 396"/>
                <a:gd name="T92" fmla="*/ 432 w 480"/>
                <a:gd name="T93" fmla="*/ 324 h 396"/>
                <a:gd name="T94" fmla="*/ 448 w 480"/>
                <a:gd name="T95" fmla="*/ 340 h 396"/>
                <a:gd name="T96" fmla="*/ 466 w 480"/>
                <a:gd name="T97" fmla="*/ 358 h 396"/>
                <a:gd name="T98" fmla="*/ 464 w 480"/>
                <a:gd name="T99" fmla="*/ 344 h 396"/>
                <a:gd name="T100" fmla="*/ 452 w 480"/>
                <a:gd name="T101" fmla="*/ 316 h 396"/>
                <a:gd name="T102" fmla="*/ 426 w 480"/>
                <a:gd name="T103" fmla="*/ 274 h 396"/>
                <a:gd name="T104" fmla="*/ 410 w 480"/>
                <a:gd name="T105" fmla="*/ 282 h 396"/>
                <a:gd name="T106" fmla="*/ 398 w 480"/>
                <a:gd name="T107" fmla="*/ 290 h 396"/>
                <a:gd name="T108" fmla="*/ 382 w 480"/>
                <a:gd name="T109" fmla="*/ 264 h 396"/>
                <a:gd name="T110" fmla="*/ 416 w 480"/>
                <a:gd name="T111" fmla="*/ 30 h 396"/>
                <a:gd name="T112" fmla="*/ 362 w 480"/>
                <a:gd name="T113" fmla="*/ 32 h 396"/>
                <a:gd name="T114" fmla="*/ 328 w 480"/>
                <a:gd name="T115" fmla="*/ 24 h 396"/>
                <a:gd name="T116" fmla="*/ 294 w 480"/>
                <a:gd name="T117" fmla="*/ 6 h 396"/>
                <a:gd name="T118" fmla="*/ 262 w 480"/>
                <a:gd name="T119" fmla="*/ 20 h 396"/>
                <a:gd name="T120" fmla="*/ 252 w 480"/>
                <a:gd name="T121" fmla="*/ 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0" h="396">
                  <a:moveTo>
                    <a:pt x="244" y="0"/>
                  </a:moveTo>
                  <a:lnTo>
                    <a:pt x="244" y="0"/>
                  </a:lnTo>
                  <a:lnTo>
                    <a:pt x="242" y="2"/>
                  </a:lnTo>
                  <a:lnTo>
                    <a:pt x="242" y="2"/>
                  </a:lnTo>
                  <a:lnTo>
                    <a:pt x="240" y="2"/>
                  </a:lnTo>
                  <a:lnTo>
                    <a:pt x="238" y="4"/>
                  </a:lnTo>
                  <a:lnTo>
                    <a:pt x="236" y="6"/>
                  </a:lnTo>
                  <a:lnTo>
                    <a:pt x="236" y="8"/>
                  </a:lnTo>
                  <a:lnTo>
                    <a:pt x="234" y="10"/>
                  </a:lnTo>
                  <a:lnTo>
                    <a:pt x="232" y="10"/>
                  </a:lnTo>
                  <a:lnTo>
                    <a:pt x="232" y="10"/>
                  </a:lnTo>
                  <a:lnTo>
                    <a:pt x="230" y="10"/>
                  </a:lnTo>
                  <a:lnTo>
                    <a:pt x="230" y="12"/>
                  </a:lnTo>
                  <a:lnTo>
                    <a:pt x="228" y="12"/>
                  </a:lnTo>
                  <a:lnTo>
                    <a:pt x="226" y="12"/>
                  </a:lnTo>
                  <a:lnTo>
                    <a:pt x="224" y="12"/>
                  </a:lnTo>
                  <a:lnTo>
                    <a:pt x="220" y="12"/>
                  </a:lnTo>
                  <a:lnTo>
                    <a:pt x="216" y="10"/>
                  </a:lnTo>
                  <a:lnTo>
                    <a:pt x="210" y="10"/>
                  </a:lnTo>
                  <a:lnTo>
                    <a:pt x="208" y="10"/>
                  </a:lnTo>
                  <a:lnTo>
                    <a:pt x="206" y="10"/>
                  </a:lnTo>
                  <a:lnTo>
                    <a:pt x="204" y="10"/>
                  </a:lnTo>
                  <a:lnTo>
                    <a:pt x="204" y="10"/>
                  </a:lnTo>
                  <a:lnTo>
                    <a:pt x="202" y="10"/>
                  </a:lnTo>
                  <a:lnTo>
                    <a:pt x="200" y="10"/>
                  </a:lnTo>
                  <a:lnTo>
                    <a:pt x="200" y="12"/>
                  </a:lnTo>
                  <a:lnTo>
                    <a:pt x="200" y="12"/>
                  </a:lnTo>
                  <a:lnTo>
                    <a:pt x="198" y="14"/>
                  </a:lnTo>
                  <a:lnTo>
                    <a:pt x="198" y="14"/>
                  </a:lnTo>
                  <a:lnTo>
                    <a:pt x="198" y="16"/>
                  </a:lnTo>
                  <a:lnTo>
                    <a:pt x="196" y="18"/>
                  </a:lnTo>
                  <a:lnTo>
                    <a:pt x="196" y="20"/>
                  </a:lnTo>
                  <a:lnTo>
                    <a:pt x="194" y="24"/>
                  </a:lnTo>
                  <a:lnTo>
                    <a:pt x="194" y="24"/>
                  </a:lnTo>
                  <a:lnTo>
                    <a:pt x="194" y="24"/>
                  </a:lnTo>
                  <a:lnTo>
                    <a:pt x="194" y="26"/>
                  </a:lnTo>
                  <a:lnTo>
                    <a:pt x="192" y="26"/>
                  </a:lnTo>
                  <a:lnTo>
                    <a:pt x="192" y="26"/>
                  </a:lnTo>
                  <a:lnTo>
                    <a:pt x="192" y="26"/>
                  </a:lnTo>
                  <a:lnTo>
                    <a:pt x="190" y="28"/>
                  </a:lnTo>
                  <a:lnTo>
                    <a:pt x="188" y="28"/>
                  </a:lnTo>
                  <a:lnTo>
                    <a:pt x="186" y="28"/>
                  </a:lnTo>
                  <a:lnTo>
                    <a:pt x="182" y="28"/>
                  </a:lnTo>
                  <a:lnTo>
                    <a:pt x="180" y="28"/>
                  </a:lnTo>
                  <a:lnTo>
                    <a:pt x="176" y="28"/>
                  </a:lnTo>
                  <a:lnTo>
                    <a:pt x="170" y="26"/>
                  </a:lnTo>
                  <a:lnTo>
                    <a:pt x="168" y="26"/>
                  </a:lnTo>
                  <a:lnTo>
                    <a:pt x="164" y="26"/>
                  </a:lnTo>
                  <a:lnTo>
                    <a:pt x="162" y="28"/>
                  </a:lnTo>
                  <a:lnTo>
                    <a:pt x="160" y="28"/>
                  </a:lnTo>
                  <a:lnTo>
                    <a:pt x="158" y="28"/>
                  </a:lnTo>
                  <a:lnTo>
                    <a:pt x="158" y="28"/>
                  </a:lnTo>
                  <a:lnTo>
                    <a:pt x="158" y="28"/>
                  </a:lnTo>
                  <a:lnTo>
                    <a:pt x="156" y="30"/>
                  </a:lnTo>
                  <a:lnTo>
                    <a:pt x="156" y="30"/>
                  </a:lnTo>
                  <a:lnTo>
                    <a:pt x="154" y="32"/>
                  </a:lnTo>
                  <a:lnTo>
                    <a:pt x="154" y="34"/>
                  </a:lnTo>
                  <a:lnTo>
                    <a:pt x="152" y="36"/>
                  </a:lnTo>
                  <a:lnTo>
                    <a:pt x="152" y="38"/>
                  </a:lnTo>
                  <a:lnTo>
                    <a:pt x="152" y="42"/>
                  </a:lnTo>
                  <a:lnTo>
                    <a:pt x="150" y="46"/>
                  </a:lnTo>
                  <a:lnTo>
                    <a:pt x="150" y="48"/>
                  </a:lnTo>
                  <a:lnTo>
                    <a:pt x="148" y="50"/>
                  </a:lnTo>
                  <a:lnTo>
                    <a:pt x="148" y="52"/>
                  </a:lnTo>
                  <a:lnTo>
                    <a:pt x="146" y="54"/>
                  </a:lnTo>
                  <a:lnTo>
                    <a:pt x="146" y="56"/>
                  </a:lnTo>
                  <a:lnTo>
                    <a:pt x="144" y="56"/>
                  </a:lnTo>
                  <a:lnTo>
                    <a:pt x="144" y="58"/>
                  </a:lnTo>
                  <a:lnTo>
                    <a:pt x="142" y="58"/>
                  </a:lnTo>
                  <a:lnTo>
                    <a:pt x="142" y="58"/>
                  </a:lnTo>
                  <a:lnTo>
                    <a:pt x="140" y="58"/>
                  </a:lnTo>
                  <a:lnTo>
                    <a:pt x="138" y="60"/>
                  </a:lnTo>
                  <a:lnTo>
                    <a:pt x="134" y="60"/>
                  </a:lnTo>
                  <a:lnTo>
                    <a:pt x="130" y="60"/>
                  </a:lnTo>
                  <a:lnTo>
                    <a:pt x="128" y="60"/>
                  </a:lnTo>
                  <a:lnTo>
                    <a:pt x="120" y="60"/>
                  </a:lnTo>
                  <a:lnTo>
                    <a:pt x="112" y="60"/>
                  </a:lnTo>
                  <a:lnTo>
                    <a:pt x="108" y="60"/>
                  </a:lnTo>
                  <a:lnTo>
                    <a:pt x="106" y="60"/>
                  </a:lnTo>
                  <a:lnTo>
                    <a:pt x="102" y="60"/>
                  </a:lnTo>
                  <a:lnTo>
                    <a:pt x="100" y="62"/>
                  </a:lnTo>
                  <a:lnTo>
                    <a:pt x="98" y="62"/>
                  </a:lnTo>
                  <a:lnTo>
                    <a:pt x="96" y="62"/>
                  </a:lnTo>
                  <a:lnTo>
                    <a:pt x="96" y="64"/>
                  </a:lnTo>
                  <a:lnTo>
                    <a:pt x="94" y="64"/>
                  </a:lnTo>
                  <a:lnTo>
                    <a:pt x="94" y="64"/>
                  </a:lnTo>
                  <a:lnTo>
                    <a:pt x="92" y="66"/>
                  </a:lnTo>
                  <a:lnTo>
                    <a:pt x="92" y="68"/>
                  </a:lnTo>
                  <a:lnTo>
                    <a:pt x="90" y="70"/>
                  </a:lnTo>
                  <a:lnTo>
                    <a:pt x="90" y="72"/>
                  </a:lnTo>
                  <a:lnTo>
                    <a:pt x="90" y="74"/>
                  </a:lnTo>
                  <a:lnTo>
                    <a:pt x="90" y="76"/>
                  </a:lnTo>
                  <a:lnTo>
                    <a:pt x="90" y="76"/>
                  </a:lnTo>
                  <a:lnTo>
                    <a:pt x="90" y="76"/>
                  </a:lnTo>
                  <a:lnTo>
                    <a:pt x="90" y="78"/>
                  </a:lnTo>
                  <a:lnTo>
                    <a:pt x="90" y="80"/>
                  </a:lnTo>
                  <a:lnTo>
                    <a:pt x="92" y="82"/>
                  </a:lnTo>
                  <a:lnTo>
                    <a:pt x="94" y="82"/>
                  </a:lnTo>
                  <a:lnTo>
                    <a:pt x="96" y="84"/>
                  </a:lnTo>
                  <a:lnTo>
                    <a:pt x="98" y="86"/>
                  </a:lnTo>
                  <a:lnTo>
                    <a:pt x="100" y="86"/>
                  </a:lnTo>
                  <a:lnTo>
                    <a:pt x="102" y="88"/>
                  </a:lnTo>
                  <a:lnTo>
                    <a:pt x="106" y="90"/>
                  </a:lnTo>
                  <a:lnTo>
                    <a:pt x="110" y="92"/>
                  </a:lnTo>
                  <a:lnTo>
                    <a:pt x="118" y="96"/>
                  </a:lnTo>
                  <a:lnTo>
                    <a:pt x="120" y="98"/>
                  </a:lnTo>
                  <a:lnTo>
                    <a:pt x="122" y="98"/>
                  </a:lnTo>
                  <a:lnTo>
                    <a:pt x="124" y="100"/>
                  </a:lnTo>
                  <a:lnTo>
                    <a:pt x="128" y="100"/>
                  </a:lnTo>
                  <a:lnTo>
                    <a:pt x="136" y="102"/>
                  </a:lnTo>
                  <a:lnTo>
                    <a:pt x="142" y="104"/>
                  </a:lnTo>
                  <a:lnTo>
                    <a:pt x="146" y="104"/>
                  </a:lnTo>
                  <a:lnTo>
                    <a:pt x="150" y="106"/>
                  </a:lnTo>
                  <a:lnTo>
                    <a:pt x="152" y="106"/>
                  </a:lnTo>
                  <a:lnTo>
                    <a:pt x="156" y="108"/>
                  </a:lnTo>
                  <a:lnTo>
                    <a:pt x="156" y="108"/>
                  </a:lnTo>
                  <a:lnTo>
                    <a:pt x="158" y="108"/>
                  </a:lnTo>
                  <a:lnTo>
                    <a:pt x="158" y="110"/>
                  </a:lnTo>
                  <a:lnTo>
                    <a:pt x="158" y="110"/>
                  </a:lnTo>
                  <a:lnTo>
                    <a:pt x="160" y="112"/>
                  </a:lnTo>
                  <a:lnTo>
                    <a:pt x="160" y="112"/>
                  </a:lnTo>
                  <a:lnTo>
                    <a:pt x="160" y="114"/>
                  </a:lnTo>
                  <a:lnTo>
                    <a:pt x="160" y="114"/>
                  </a:lnTo>
                  <a:lnTo>
                    <a:pt x="160" y="114"/>
                  </a:lnTo>
                  <a:lnTo>
                    <a:pt x="160" y="116"/>
                  </a:lnTo>
                  <a:lnTo>
                    <a:pt x="160" y="116"/>
                  </a:lnTo>
                  <a:lnTo>
                    <a:pt x="158" y="116"/>
                  </a:lnTo>
                  <a:lnTo>
                    <a:pt x="158" y="118"/>
                  </a:lnTo>
                  <a:lnTo>
                    <a:pt x="158" y="118"/>
                  </a:lnTo>
                  <a:lnTo>
                    <a:pt x="156" y="118"/>
                  </a:lnTo>
                  <a:lnTo>
                    <a:pt x="154" y="118"/>
                  </a:lnTo>
                  <a:lnTo>
                    <a:pt x="152" y="118"/>
                  </a:lnTo>
                  <a:lnTo>
                    <a:pt x="150" y="118"/>
                  </a:lnTo>
                  <a:lnTo>
                    <a:pt x="148" y="118"/>
                  </a:lnTo>
                  <a:lnTo>
                    <a:pt x="142" y="118"/>
                  </a:lnTo>
                  <a:lnTo>
                    <a:pt x="138" y="118"/>
                  </a:lnTo>
                  <a:lnTo>
                    <a:pt x="134" y="118"/>
                  </a:lnTo>
                  <a:lnTo>
                    <a:pt x="132" y="118"/>
                  </a:lnTo>
                  <a:lnTo>
                    <a:pt x="130" y="120"/>
                  </a:lnTo>
                  <a:lnTo>
                    <a:pt x="128" y="120"/>
                  </a:lnTo>
                  <a:lnTo>
                    <a:pt x="124" y="120"/>
                  </a:lnTo>
                  <a:lnTo>
                    <a:pt x="120" y="122"/>
                  </a:lnTo>
                  <a:lnTo>
                    <a:pt x="116" y="124"/>
                  </a:lnTo>
                  <a:lnTo>
                    <a:pt x="114" y="124"/>
                  </a:lnTo>
                  <a:lnTo>
                    <a:pt x="112" y="124"/>
                  </a:lnTo>
                  <a:lnTo>
                    <a:pt x="112" y="124"/>
                  </a:lnTo>
                  <a:lnTo>
                    <a:pt x="110" y="124"/>
                  </a:lnTo>
                  <a:lnTo>
                    <a:pt x="110" y="124"/>
                  </a:lnTo>
                  <a:lnTo>
                    <a:pt x="108" y="124"/>
                  </a:lnTo>
                  <a:lnTo>
                    <a:pt x="108" y="124"/>
                  </a:lnTo>
                  <a:lnTo>
                    <a:pt x="108" y="122"/>
                  </a:lnTo>
                  <a:lnTo>
                    <a:pt x="106" y="122"/>
                  </a:lnTo>
                  <a:lnTo>
                    <a:pt x="106" y="120"/>
                  </a:lnTo>
                  <a:lnTo>
                    <a:pt x="104" y="118"/>
                  </a:lnTo>
                  <a:lnTo>
                    <a:pt x="104" y="116"/>
                  </a:lnTo>
                  <a:lnTo>
                    <a:pt x="102" y="114"/>
                  </a:lnTo>
                  <a:lnTo>
                    <a:pt x="102" y="114"/>
                  </a:lnTo>
                  <a:lnTo>
                    <a:pt x="100" y="112"/>
                  </a:lnTo>
                  <a:lnTo>
                    <a:pt x="100" y="112"/>
                  </a:lnTo>
                  <a:lnTo>
                    <a:pt x="100" y="112"/>
                  </a:lnTo>
                  <a:lnTo>
                    <a:pt x="98" y="112"/>
                  </a:lnTo>
                  <a:lnTo>
                    <a:pt x="98" y="112"/>
                  </a:lnTo>
                  <a:lnTo>
                    <a:pt x="96" y="112"/>
                  </a:lnTo>
                  <a:lnTo>
                    <a:pt x="94" y="112"/>
                  </a:lnTo>
                  <a:lnTo>
                    <a:pt x="92" y="112"/>
                  </a:lnTo>
                  <a:lnTo>
                    <a:pt x="90" y="114"/>
                  </a:lnTo>
                  <a:lnTo>
                    <a:pt x="88" y="114"/>
                  </a:lnTo>
                  <a:lnTo>
                    <a:pt x="86" y="116"/>
                  </a:lnTo>
                  <a:lnTo>
                    <a:pt x="84" y="116"/>
                  </a:lnTo>
                  <a:lnTo>
                    <a:pt x="84" y="116"/>
                  </a:lnTo>
                  <a:lnTo>
                    <a:pt x="84" y="118"/>
                  </a:lnTo>
                  <a:lnTo>
                    <a:pt x="84" y="118"/>
                  </a:lnTo>
                  <a:lnTo>
                    <a:pt x="84" y="120"/>
                  </a:lnTo>
                  <a:lnTo>
                    <a:pt x="84" y="122"/>
                  </a:lnTo>
                  <a:lnTo>
                    <a:pt x="84" y="122"/>
                  </a:lnTo>
                  <a:lnTo>
                    <a:pt x="84" y="124"/>
                  </a:lnTo>
                  <a:lnTo>
                    <a:pt x="84" y="124"/>
                  </a:lnTo>
                  <a:lnTo>
                    <a:pt x="84" y="124"/>
                  </a:lnTo>
                  <a:lnTo>
                    <a:pt x="84" y="126"/>
                  </a:lnTo>
                  <a:lnTo>
                    <a:pt x="82" y="126"/>
                  </a:lnTo>
                  <a:lnTo>
                    <a:pt x="80" y="126"/>
                  </a:lnTo>
                  <a:lnTo>
                    <a:pt x="80" y="126"/>
                  </a:lnTo>
                  <a:lnTo>
                    <a:pt x="78" y="126"/>
                  </a:lnTo>
                  <a:lnTo>
                    <a:pt x="76" y="126"/>
                  </a:lnTo>
                  <a:lnTo>
                    <a:pt x="72" y="126"/>
                  </a:lnTo>
                  <a:lnTo>
                    <a:pt x="68" y="126"/>
                  </a:lnTo>
                  <a:lnTo>
                    <a:pt x="64" y="126"/>
                  </a:lnTo>
                  <a:lnTo>
                    <a:pt x="64" y="126"/>
                  </a:lnTo>
                  <a:lnTo>
                    <a:pt x="62" y="126"/>
                  </a:lnTo>
                  <a:lnTo>
                    <a:pt x="60" y="126"/>
                  </a:lnTo>
                  <a:lnTo>
                    <a:pt x="58" y="126"/>
                  </a:lnTo>
                  <a:lnTo>
                    <a:pt x="58" y="128"/>
                  </a:lnTo>
                  <a:lnTo>
                    <a:pt x="56" y="128"/>
                  </a:lnTo>
                  <a:lnTo>
                    <a:pt x="56" y="130"/>
                  </a:lnTo>
                  <a:lnTo>
                    <a:pt x="54" y="132"/>
                  </a:lnTo>
                  <a:lnTo>
                    <a:pt x="52" y="132"/>
                  </a:lnTo>
                  <a:lnTo>
                    <a:pt x="52" y="134"/>
                  </a:lnTo>
                  <a:lnTo>
                    <a:pt x="52" y="134"/>
                  </a:lnTo>
                  <a:lnTo>
                    <a:pt x="52" y="136"/>
                  </a:lnTo>
                  <a:lnTo>
                    <a:pt x="52" y="136"/>
                  </a:lnTo>
                  <a:lnTo>
                    <a:pt x="52" y="136"/>
                  </a:lnTo>
                  <a:lnTo>
                    <a:pt x="52" y="138"/>
                  </a:lnTo>
                  <a:lnTo>
                    <a:pt x="52" y="138"/>
                  </a:lnTo>
                  <a:lnTo>
                    <a:pt x="54" y="138"/>
                  </a:lnTo>
                  <a:lnTo>
                    <a:pt x="54" y="140"/>
                  </a:lnTo>
                  <a:lnTo>
                    <a:pt x="56" y="140"/>
                  </a:lnTo>
                  <a:lnTo>
                    <a:pt x="58" y="140"/>
                  </a:lnTo>
                  <a:lnTo>
                    <a:pt x="62" y="142"/>
                  </a:lnTo>
                  <a:lnTo>
                    <a:pt x="64" y="142"/>
                  </a:lnTo>
                  <a:lnTo>
                    <a:pt x="64" y="142"/>
                  </a:lnTo>
                  <a:lnTo>
                    <a:pt x="66" y="144"/>
                  </a:lnTo>
                  <a:lnTo>
                    <a:pt x="66" y="144"/>
                  </a:lnTo>
                  <a:lnTo>
                    <a:pt x="66" y="144"/>
                  </a:lnTo>
                  <a:lnTo>
                    <a:pt x="66" y="146"/>
                  </a:lnTo>
                  <a:lnTo>
                    <a:pt x="66" y="146"/>
                  </a:lnTo>
                  <a:lnTo>
                    <a:pt x="66" y="146"/>
                  </a:lnTo>
                  <a:lnTo>
                    <a:pt x="66" y="148"/>
                  </a:lnTo>
                  <a:lnTo>
                    <a:pt x="66" y="150"/>
                  </a:lnTo>
                  <a:lnTo>
                    <a:pt x="66" y="152"/>
                  </a:lnTo>
                  <a:lnTo>
                    <a:pt x="64" y="154"/>
                  </a:lnTo>
                  <a:lnTo>
                    <a:pt x="64" y="156"/>
                  </a:lnTo>
                  <a:lnTo>
                    <a:pt x="64" y="158"/>
                  </a:lnTo>
                  <a:lnTo>
                    <a:pt x="64" y="158"/>
                  </a:lnTo>
                  <a:lnTo>
                    <a:pt x="64" y="158"/>
                  </a:lnTo>
                  <a:lnTo>
                    <a:pt x="64" y="160"/>
                  </a:lnTo>
                  <a:lnTo>
                    <a:pt x="64" y="160"/>
                  </a:lnTo>
                  <a:lnTo>
                    <a:pt x="66" y="162"/>
                  </a:lnTo>
                  <a:lnTo>
                    <a:pt x="68" y="162"/>
                  </a:lnTo>
                  <a:lnTo>
                    <a:pt x="68" y="164"/>
                  </a:lnTo>
                  <a:lnTo>
                    <a:pt x="70" y="164"/>
                  </a:lnTo>
                  <a:lnTo>
                    <a:pt x="72" y="166"/>
                  </a:lnTo>
                  <a:lnTo>
                    <a:pt x="72" y="166"/>
                  </a:lnTo>
                  <a:lnTo>
                    <a:pt x="74" y="168"/>
                  </a:lnTo>
                  <a:lnTo>
                    <a:pt x="76" y="168"/>
                  </a:lnTo>
                  <a:lnTo>
                    <a:pt x="78" y="168"/>
                  </a:lnTo>
                  <a:lnTo>
                    <a:pt x="80" y="168"/>
                  </a:lnTo>
                  <a:lnTo>
                    <a:pt x="86" y="168"/>
                  </a:lnTo>
                  <a:lnTo>
                    <a:pt x="90" y="168"/>
                  </a:lnTo>
                  <a:lnTo>
                    <a:pt x="94" y="168"/>
                  </a:lnTo>
                  <a:lnTo>
                    <a:pt x="98" y="168"/>
                  </a:lnTo>
                  <a:lnTo>
                    <a:pt x="102" y="168"/>
                  </a:lnTo>
                  <a:lnTo>
                    <a:pt x="104" y="168"/>
                  </a:lnTo>
                  <a:lnTo>
                    <a:pt x="106" y="166"/>
                  </a:lnTo>
                  <a:lnTo>
                    <a:pt x="106" y="166"/>
                  </a:lnTo>
                  <a:lnTo>
                    <a:pt x="108" y="166"/>
                  </a:lnTo>
                  <a:lnTo>
                    <a:pt x="110" y="164"/>
                  </a:lnTo>
                  <a:lnTo>
                    <a:pt x="112" y="162"/>
                  </a:lnTo>
                  <a:lnTo>
                    <a:pt x="114" y="160"/>
                  </a:lnTo>
                  <a:lnTo>
                    <a:pt x="118" y="158"/>
                  </a:lnTo>
                  <a:lnTo>
                    <a:pt x="118" y="156"/>
                  </a:lnTo>
                  <a:lnTo>
                    <a:pt x="120" y="156"/>
                  </a:lnTo>
                  <a:lnTo>
                    <a:pt x="122" y="156"/>
                  </a:lnTo>
                  <a:lnTo>
                    <a:pt x="122" y="154"/>
                  </a:lnTo>
                  <a:lnTo>
                    <a:pt x="124" y="154"/>
                  </a:lnTo>
                  <a:lnTo>
                    <a:pt x="124" y="154"/>
                  </a:lnTo>
                  <a:lnTo>
                    <a:pt x="126" y="154"/>
                  </a:lnTo>
                  <a:lnTo>
                    <a:pt x="126" y="156"/>
                  </a:lnTo>
                  <a:lnTo>
                    <a:pt x="128" y="156"/>
                  </a:lnTo>
                  <a:lnTo>
                    <a:pt x="130" y="158"/>
                  </a:lnTo>
                  <a:lnTo>
                    <a:pt x="130" y="158"/>
                  </a:lnTo>
                  <a:lnTo>
                    <a:pt x="132" y="160"/>
                  </a:lnTo>
                  <a:lnTo>
                    <a:pt x="132" y="160"/>
                  </a:lnTo>
                  <a:lnTo>
                    <a:pt x="132" y="162"/>
                  </a:lnTo>
                  <a:lnTo>
                    <a:pt x="132" y="162"/>
                  </a:lnTo>
                  <a:lnTo>
                    <a:pt x="132" y="162"/>
                  </a:lnTo>
                  <a:lnTo>
                    <a:pt x="132" y="164"/>
                  </a:lnTo>
                  <a:lnTo>
                    <a:pt x="132" y="164"/>
                  </a:lnTo>
                  <a:lnTo>
                    <a:pt x="130" y="164"/>
                  </a:lnTo>
                  <a:lnTo>
                    <a:pt x="130" y="166"/>
                  </a:lnTo>
                  <a:lnTo>
                    <a:pt x="128" y="166"/>
                  </a:lnTo>
                  <a:lnTo>
                    <a:pt x="124" y="168"/>
                  </a:lnTo>
                  <a:lnTo>
                    <a:pt x="124" y="168"/>
                  </a:lnTo>
                  <a:lnTo>
                    <a:pt x="122" y="170"/>
                  </a:lnTo>
                  <a:lnTo>
                    <a:pt x="122" y="170"/>
                  </a:lnTo>
                  <a:lnTo>
                    <a:pt x="122" y="170"/>
                  </a:lnTo>
                  <a:lnTo>
                    <a:pt x="122" y="172"/>
                  </a:lnTo>
                  <a:lnTo>
                    <a:pt x="122" y="174"/>
                  </a:lnTo>
                  <a:lnTo>
                    <a:pt x="122" y="176"/>
                  </a:lnTo>
                  <a:lnTo>
                    <a:pt x="122" y="178"/>
                  </a:lnTo>
                  <a:lnTo>
                    <a:pt x="122" y="182"/>
                  </a:lnTo>
                  <a:lnTo>
                    <a:pt x="122" y="184"/>
                  </a:lnTo>
                  <a:lnTo>
                    <a:pt x="120" y="184"/>
                  </a:lnTo>
                  <a:lnTo>
                    <a:pt x="120" y="186"/>
                  </a:lnTo>
                  <a:lnTo>
                    <a:pt x="120" y="186"/>
                  </a:lnTo>
                  <a:lnTo>
                    <a:pt x="120" y="188"/>
                  </a:lnTo>
                  <a:lnTo>
                    <a:pt x="118" y="188"/>
                  </a:lnTo>
                  <a:lnTo>
                    <a:pt x="118" y="188"/>
                  </a:lnTo>
                  <a:lnTo>
                    <a:pt x="116" y="188"/>
                  </a:lnTo>
                  <a:lnTo>
                    <a:pt x="114" y="188"/>
                  </a:lnTo>
                  <a:lnTo>
                    <a:pt x="114" y="188"/>
                  </a:lnTo>
                  <a:lnTo>
                    <a:pt x="112" y="188"/>
                  </a:lnTo>
                  <a:lnTo>
                    <a:pt x="108" y="188"/>
                  </a:lnTo>
                  <a:lnTo>
                    <a:pt x="106" y="186"/>
                  </a:lnTo>
                  <a:lnTo>
                    <a:pt x="102" y="186"/>
                  </a:lnTo>
                  <a:lnTo>
                    <a:pt x="100" y="186"/>
                  </a:lnTo>
                  <a:lnTo>
                    <a:pt x="100" y="186"/>
                  </a:lnTo>
                  <a:lnTo>
                    <a:pt x="98" y="186"/>
                  </a:lnTo>
                  <a:lnTo>
                    <a:pt x="96" y="188"/>
                  </a:lnTo>
                  <a:lnTo>
                    <a:pt x="96" y="188"/>
                  </a:lnTo>
                  <a:lnTo>
                    <a:pt x="96" y="188"/>
                  </a:lnTo>
                  <a:lnTo>
                    <a:pt x="96" y="190"/>
                  </a:lnTo>
                  <a:lnTo>
                    <a:pt x="96" y="190"/>
                  </a:lnTo>
                  <a:lnTo>
                    <a:pt x="94" y="192"/>
                  </a:lnTo>
                  <a:lnTo>
                    <a:pt x="94" y="196"/>
                  </a:lnTo>
                  <a:lnTo>
                    <a:pt x="94" y="198"/>
                  </a:lnTo>
                  <a:lnTo>
                    <a:pt x="94" y="200"/>
                  </a:lnTo>
                  <a:lnTo>
                    <a:pt x="94" y="200"/>
                  </a:lnTo>
                  <a:lnTo>
                    <a:pt x="94" y="202"/>
                  </a:lnTo>
                  <a:lnTo>
                    <a:pt x="92" y="202"/>
                  </a:lnTo>
                  <a:lnTo>
                    <a:pt x="92" y="202"/>
                  </a:lnTo>
                  <a:lnTo>
                    <a:pt x="92" y="202"/>
                  </a:lnTo>
                  <a:lnTo>
                    <a:pt x="90" y="202"/>
                  </a:lnTo>
                  <a:lnTo>
                    <a:pt x="90" y="202"/>
                  </a:lnTo>
                  <a:lnTo>
                    <a:pt x="88" y="202"/>
                  </a:lnTo>
                  <a:lnTo>
                    <a:pt x="88" y="200"/>
                  </a:lnTo>
                  <a:lnTo>
                    <a:pt x="86" y="198"/>
                  </a:lnTo>
                  <a:lnTo>
                    <a:pt x="84" y="196"/>
                  </a:lnTo>
                  <a:lnTo>
                    <a:pt x="82" y="194"/>
                  </a:lnTo>
                  <a:lnTo>
                    <a:pt x="82" y="194"/>
                  </a:lnTo>
                  <a:lnTo>
                    <a:pt x="80" y="192"/>
                  </a:lnTo>
                  <a:lnTo>
                    <a:pt x="80" y="192"/>
                  </a:lnTo>
                  <a:lnTo>
                    <a:pt x="80" y="192"/>
                  </a:lnTo>
                  <a:lnTo>
                    <a:pt x="78" y="192"/>
                  </a:lnTo>
                  <a:lnTo>
                    <a:pt x="76" y="192"/>
                  </a:lnTo>
                  <a:lnTo>
                    <a:pt x="76" y="192"/>
                  </a:lnTo>
                  <a:lnTo>
                    <a:pt x="74" y="192"/>
                  </a:lnTo>
                  <a:lnTo>
                    <a:pt x="72" y="194"/>
                  </a:lnTo>
                  <a:lnTo>
                    <a:pt x="68" y="196"/>
                  </a:lnTo>
                  <a:lnTo>
                    <a:pt x="66" y="198"/>
                  </a:lnTo>
                  <a:lnTo>
                    <a:pt x="62" y="198"/>
                  </a:lnTo>
                  <a:lnTo>
                    <a:pt x="60" y="200"/>
                  </a:lnTo>
                  <a:lnTo>
                    <a:pt x="60" y="202"/>
                  </a:lnTo>
                  <a:lnTo>
                    <a:pt x="58" y="202"/>
                  </a:lnTo>
                  <a:lnTo>
                    <a:pt x="58" y="204"/>
                  </a:lnTo>
                  <a:lnTo>
                    <a:pt x="58" y="204"/>
                  </a:lnTo>
                  <a:lnTo>
                    <a:pt x="58" y="206"/>
                  </a:lnTo>
                  <a:lnTo>
                    <a:pt x="58" y="208"/>
                  </a:lnTo>
                  <a:lnTo>
                    <a:pt x="58" y="210"/>
                  </a:lnTo>
                  <a:lnTo>
                    <a:pt x="58" y="212"/>
                  </a:lnTo>
                  <a:lnTo>
                    <a:pt x="58" y="214"/>
                  </a:lnTo>
                  <a:lnTo>
                    <a:pt x="58" y="216"/>
                  </a:lnTo>
                  <a:lnTo>
                    <a:pt x="58" y="216"/>
                  </a:lnTo>
                  <a:lnTo>
                    <a:pt x="56" y="218"/>
                  </a:lnTo>
                  <a:lnTo>
                    <a:pt x="56" y="218"/>
                  </a:lnTo>
                  <a:lnTo>
                    <a:pt x="54" y="218"/>
                  </a:lnTo>
                  <a:lnTo>
                    <a:pt x="54" y="220"/>
                  </a:lnTo>
                  <a:lnTo>
                    <a:pt x="52" y="220"/>
                  </a:lnTo>
                  <a:lnTo>
                    <a:pt x="50" y="222"/>
                  </a:lnTo>
                  <a:lnTo>
                    <a:pt x="46" y="222"/>
                  </a:lnTo>
                  <a:lnTo>
                    <a:pt x="42" y="224"/>
                  </a:lnTo>
                  <a:lnTo>
                    <a:pt x="42" y="224"/>
                  </a:lnTo>
                  <a:lnTo>
                    <a:pt x="40" y="224"/>
                  </a:lnTo>
                  <a:lnTo>
                    <a:pt x="38" y="224"/>
                  </a:lnTo>
                  <a:lnTo>
                    <a:pt x="38" y="226"/>
                  </a:lnTo>
                  <a:lnTo>
                    <a:pt x="36" y="226"/>
                  </a:lnTo>
                  <a:lnTo>
                    <a:pt x="36" y="228"/>
                  </a:lnTo>
                  <a:lnTo>
                    <a:pt x="36" y="228"/>
                  </a:lnTo>
                  <a:lnTo>
                    <a:pt x="36" y="228"/>
                  </a:lnTo>
                  <a:lnTo>
                    <a:pt x="36" y="230"/>
                  </a:lnTo>
                  <a:lnTo>
                    <a:pt x="36" y="230"/>
                  </a:lnTo>
                  <a:lnTo>
                    <a:pt x="38" y="232"/>
                  </a:lnTo>
                  <a:lnTo>
                    <a:pt x="38" y="234"/>
                  </a:lnTo>
                  <a:lnTo>
                    <a:pt x="40" y="236"/>
                  </a:lnTo>
                  <a:lnTo>
                    <a:pt x="42" y="238"/>
                  </a:lnTo>
                  <a:lnTo>
                    <a:pt x="42" y="240"/>
                  </a:lnTo>
                  <a:lnTo>
                    <a:pt x="44" y="240"/>
                  </a:lnTo>
                  <a:lnTo>
                    <a:pt x="44" y="240"/>
                  </a:lnTo>
                  <a:lnTo>
                    <a:pt x="46" y="240"/>
                  </a:lnTo>
                  <a:lnTo>
                    <a:pt x="46" y="242"/>
                  </a:lnTo>
                  <a:lnTo>
                    <a:pt x="52" y="242"/>
                  </a:lnTo>
                  <a:lnTo>
                    <a:pt x="54" y="242"/>
                  </a:lnTo>
                  <a:lnTo>
                    <a:pt x="54" y="244"/>
                  </a:lnTo>
                  <a:lnTo>
                    <a:pt x="56" y="244"/>
                  </a:lnTo>
                  <a:lnTo>
                    <a:pt x="56" y="244"/>
                  </a:lnTo>
                  <a:lnTo>
                    <a:pt x="56" y="244"/>
                  </a:lnTo>
                  <a:lnTo>
                    <a:pt x="56" y="246"/>
                  </a:lnTo>
                  <a:lnTo>
                    <a:pt x="56" y="246"/>
                  </a:lnTo>
                  <a:lnTo>
                    <a:pt x="56" y="246"/>
                  </a:lnTo>
                  <a:lnTo>
                    <a:pt x="56" y="246"/>
                  </a:lnTo>
                  <a:lnTo>
                    <a:pt x="56" y="248"/>
                  </a:lnTo>
                  <a:lnTo>
                    <a:pt x="54" y="248"/>
                  </a:lnTo>
                  <a:lnTo>
                    <a:pt x="52" y="248"/>
                  </a:lnTo>
                  <a:lnTo>
                    <a:pt x="52" y="250"/>
                  </a:lnTo>
                  <a:lnTo>
                    <a:pt x="48" y="250"/>
                  </a:lnTo>
                  <a:lnTo>
                    <a:pt x="46" y="252"/>
                  </a:lnTo>
                  <a:lnTo>
                    <a:pt x="44" y="252"/>
                  </a:lnTo>
                  <a:lnTo>
                    <a:pt x="42" y="252"/>
                  </a:lnTo>
                  <a:lnTo>
                    <a:pt x="40" y="252"/>
                  </a:lnTo>
                  <a:lnTo>
                    <a:pt x="40" y="254"/>
                  </a:lnTo>
                  <a:lnTo>
                    <a:pt x="40" y="254"/>
                  </a:lnTo>
                  <a:lnTo>
                    <a:pt x="40" y="254"/>
                  </a:lnTo>
                  <a:lnTo>
                    <a:pt x="38" y="256"/>
                  </a:lnTo>
                  <a:lnTo>
                    <a:pt x="38" y="256"/>
                  </a:lnTo>
                  <a:lnTo>
                    <a:pt x="40" y="258"/>
                  </a:lnTo>
                  <a:lnTo>
                    <a:pt x="40" y="258"/>
                  </a:lnTo>
                  <a:lnTo>
                    <a:pt x="40" y="260"/>
                  </a:lnTo>
                  <a:lnTo>
                    <a:pt x="40" y="260"/>
                  </a:lnTo>
                  <a:lnTo>
                    <a:pt x="42" y="262"/>
                  </a:lnTo>
                  <a:lnTo>
                    <a:pt x="44" y="264"/>
                  </a:lnTo>
                  <a:lnTo>
                    <a:pt x="46" y="266"/>
                  </a:lnTo>
                  <a:lnTo>
                    <a:pt x="48" y="268"/>
                  </a:lnTo>
                  <a:lnTo>
                    <a:pt x="50" y="270"/>
                  </a:lnTo>
                  <a:lnTo>
                    <a:pt x="50" y="270"/>
                  </a:lnTo>
                  <a:lnTo>
                    <a:pt x="52" y="270"/>
                  </a:lnTo>
                  <a:lnTo>
                    <a:pt x="54" y="270"/>
                  </a:lnTo>
                  <a:lnTo>
                    <a:pt x="54" y="270"/>
                  </a:lnTo>
                  <a:lnTo>
                    <a:pt x="58" y="270"/>
                  </a:lnTo>
                  <a:lnTo>
                    <a:pt x="60" y="270"/>
                  </a:lnTo>
                  <a:lnTo>
                    <a:pt x="62" y="270"/>
                  </a:lnTo>
                  <a:lnTo>
                    <a:pt x="64" y="270"/>
                  </a:lnTo>
                  <a:lnTo>
                    <a:pt x="66" y="268"/>
                  </a:lnTo>
                  <a:lnTo>
                    <a:pt x="66" y="268"/>
                  </a:lnTo>
                  <a:lnTo>
                    <a:pt x="68" y="268"/>
                  </a:lnTo>
                  <a:lnTo>
                    <a:pt x="68" y="266"/>
                  </a:lnTo>
                  <a:lnTo>
                    <a:pt x="68" y="264"/>
                  </a:lnTo>
                  <a:lnTo>
                    <a:pt x="70" y="262"/>
                  </a:lnTo>
                  <a:lnTo>
                    <a:pt x="70" y="260"/>
                  </a:lnTo>
                  <a:lnTo>
                    <a:pt x="70" y="258"/>
                  </a:lnTo>
                  <a:lnTo>
                    <a:pt x="72" y="256"/>
                  </a:lnTo>
                  <a:lnTo>
                    <a:pt x="72" y="256"/>
                  </a:lnTo>
                  <a:lnTo>
                    <a:pt x="74" y="256"/>
                  </a:lnTo>
                  <a:lnTo>
                    <a:pt x="74" y="256"/>
                  </a:lnTo>
                  <a:lnTo>
                    <a:pt x="74" y="256"/>
                  </a:lnTo>
                  <a:lnTo>
                    <a:pt x="74" y="256"/>
                  </a:lnTo>
                  <a:lnTo>
                    <a:pt x="76" y="256"/>
                  </a:lnTo>
                  <a:lnTo>
                    <a:pt x="76" y="258"/>
                  </a:lnTo>
                  <a:lnTo>
                    <a:pt x="76" y="258"/>
                  </a:lnTo>
                  <a:lnTo>
                    <a:pt x="76" y="260"/>
                  </a:lnTo>
                  <a:lnTo>
                    <a:pt x="76" y="260"/>
                  </a:lnTo>
                  <a:lnTo>
                    <a:pt x="76" y="264"/>
                  </a:lnTo>
                  <a:lnTo>
                    <a:pt x="76" y="268"/>
                  </a:lnTo>
                  <a:lnTo>
                    <a:pt x="76" y="270"/>
                  </a:lnTo>
                  <a:lnTo>
                    <a:pt x="74" y="276"/>
                  </a:lnTo>
                  <a:lnTo>
                    <a:pt x="74" y="276"/>
                  </a:lnTo>
                  <a:lnTo>
                    <a:pt x="72" y="278"/>
                  </a:lnTo>
                  <a:lnTo>
                    <a:pt x="70" y="282"/>
                  </a:lnTo>
                  <a:lnTo>
                    <a:pt x="70" y="284"/>
                  </a:lnTo>
                  <a:lnTo>
                    <a:pt x="68" y="284"/>
                  </a:lnTo>
                  <a:lnTo>
                    <a:pt x="68" y="286"/>
                  </a:lnTo>
                  <a:lnTo>
                    <a:pt x="66" y="288"/>
                  </a:lnTo>
                  <a:lnTo>
                    <a:pt x="66" y="290"/>
                  </a:lnTo>
                  <a:lnTo>
                    <a:pt x="66" y="292"/>
                  </a:lnTo>
                  <a:lnTo>
                    <a:pt x="66" y="294"/>
                  </a:lnTo>
                  <a:lnTo>
                    <a:pt x="66" y="296"/>
                  </a:lnTo>
                  <a:lnTo>
                    <a:pt x="66" y="298"/>
                  </a:lnTo>
                  <a:lnTo>
                    <a:pt x="68" y="300"/>
                  </a:lnTo>
                  <a:lnTo>
                    <a:pt x="68" y="302"/>
                  </a:lnTo>
                  <a:lnTo>
                    <a:pt x="68" y="302"/>
                  </a:lnTo>
                  <a:lnTo>
                    <a:pt x="68" y="302"/>
                  </a:lnTo>
                  <a:lnTo>
                    <a:pt x="70" y="302"/>
                  </a:lnTo>
                  <a:lnTo>
                    <a:pt x="70" y="304"/>
                  </a:lnTo>
                  <a:lnTo>
                    <a:pt x="72" y="304"/>
                  </a:lnTo>
                  <a:lnTo>
                    <a:pt x="72" y="304"/>
                  </a:lnTo>
                  <a:lnTo>
                    <a:pt x="74" y="302"/>
                  </a:lnTo>
                  <a:lnTo>
                    <a:pt x="76" y="302"/>
                  </a:lnTo>
                  <a:lnTo>
                    <a:pt x="76" y="302"/>
                  </a:lnTo>
                  <a:lnTo>
                    <a:pt x="80" y="300"/>
                  </a:lnTo>
                  <a:lnTo>
                    <a:pt x="84" y="298"/>
                  </a:lnTo>
                  <a:lnTo>
                    <a:pt x="86" y="296"/>
                  </a:lnTo>
                  <a:lnTo>
                    <a:pt x="88" y="296"/>
                  </a:lnTo>
                  <a:lnTo>
                    <a:pt x="90" y="296"/>
                  </a:lnTo>
                  <a:lnTo>
                    <a:pt x="90" y="296"/>
                  </a:lnTo>
                  <a:lnTo>
                    <a:pt x="92" y="296"/>
                  </a:lnTo>
                  <a:lnTo>
                    <a:pt x="92" y="296"/>
                  </a:lnTo>
                  <a:lnTo>
                    <a:pt x="92" y="296"/>
                  </a:lnTo>
                  <a:lnTo>
                    <a:pt x="94" y="296"/>
                  </a:lnTo>
                  <a:lnTo>
                    <a:pt x="94" y="298"/>
                  </a:lnTo>
                  <a:lnTo>
                    <a:pt x="96" y="298"/>
                  </a:lnTo>
                  <a:lnTo>
                    <a:pt x="96" y="300"/>
                  </a:lnTo>
                  <a:lnTo>
                    <a:pt x="98" y="300"/>
                  </a:lnTo>
                  <a:lnTo>
                    <a:pt x="98" y="302"/>
                  </a:lnTo>
                  <a:lnTo>
                    <a:pt x="98" y="302"/>
                  </a:lnTo>
                  <a:lnTo>
                    <a:pt x="100" y="302"/>
                  </a:lnTo>
                  <a:lnTo>
                    <a:pt x="100" y="302"/>
                  </a:lnTo>
                  <a:lnTo>
                    <a:pt x="102" y="302"/>
                  </a:lnTo>
                  <a:lnTo>
                    <a:pt x="102" y="302"/>
                  </a:lnTo>
                  <a:lnTo>
                    <a:pt x="104" y="300"/>
                  </a:lnTo>
                  <a:lnTo>
                    <a:pt x="106" y="300"/>
                  </a:lnTo>
                  <a:lnTo>
                    <a:pt x="108" y="298"/>
                  </a:lnTo>
                  <a:lnTo>
                    <a:pt x="112" y="296"/>
                  </a:lnTo>
                  <a:lnTo>
                    <a:pt x="112" y="296"/>
                  </a:lnTo>
                  <a:lnTo>
                    <a:pt x="114" y="296"/>
                  </a:lnTo>
                  <a:lnTo>
                    <a:pt x="114" y="296"/>
                  </a:lnTo>
                  <a:lnTo>
                    <a:pt x="116" y="294"/>
                  </a:lnTo>
                  <a:lnTo>
                    <a:pt x="116" y="296"/>
                  </a:lnTo>
                  <a:lnTo>
                    <a:pt x="118" y="296"/>
                  </a:lnTo>
                  <a:lnTo>
                    <a:pt x="118" y="296"/>
                  </a:lnTo>
                  <a:lnTo>
                    <a:pt x="118" y="298"/>
                  </a:lnTo>
                  <a:lnTo>
                    <a:pt x="120" y="298"/>
                  </a:lnTo>
                  <a:lnTo>
                    <a:pt x="120" y="300"/>
                  </a:lnTo>
                  <a:lnTo>
                    <a:pt x="120" y="302"/>
                  </a:lnTo>
                  <a:lnTo>
                    <a:pt x="120" y="302"/>
                  </a:lnTo>
                  <a:lnTo>
                    <a:pt x="122" y="304"/>
                  </a:lnTo>
                  <a:lnTo>
                    <a:pt x="122" y="306"/>
                  </a:lnTo>
                  <a:lnTo>
                    <a:pt x="122" y="310"/>
                  </a:lnTo>
                  <a:lnTo>
                    <a:pt x="120" y="314"/>
                  </a:lnTo>
                  <a:lnTo>
                    <a:pt x="120" y="316"/>
                  </a:lnTo>
                  <a:lnTo>
                    <a:pt x="120" y="316"/>
                  </a:lnTo>
                  <a:lnTo>
                    <a:pt x="120" y="318"/>
                  </a:lnTo>
                  <a:lnTo>
                    <a:pt x="120" y="320"/>
                  </a:lnTo>
                  <a:lnTo>
                    <a:pt x="118" y="320"/>
                  </a:lnTo>
                  <a:lnTo>
                    <a:pt x="118" y="322"/>
                  </a:lnTo>
                  <a:lnTo>
                    <a:pt x="116" y="324"/>
                  </a:lnTo>
                  <a:lnTo>
                    <a:pt x="116" y="326"/>
                  </a:lnTo>
                  <a:lnTo>
                    <a:pt x="114" y="326"/>
                  </a:lnTo>
                  <a:lnTo>
                    <a:pt x="112" y="328"/>
                  </a:lnTo>
                  <a:lnTo>
                    <a:pt x="110" y="330"/>
                  </a:lnTo>
                  <a:lnTo>
                    <a:pt x="106" y="334"/>
                  </a:lnTo>
                  <a:lnTo>
                    <a:pt x="102" y="336"/>
                  </a:lnTo>
                  <a:lnTo>
                    <a:pt x="98" y="338"/>
                  </a:lnTo>
                  <a:lnTo>
                    <a:pt x="94" y="340"/>
                  </a:lnTo>
                  <a:lnTo>
                    <a:pt x="90" y="344"/>
                  </a:lnTo>
                  <a:lnTo>
                    <a:pt x="84" y="346"/>
                  </a:lnTo>
                  <a:lnTo>
                    <a:pt x="76" y="350"/>
                  </a:lnTo>
                  <a:lnTo>
                    <a:pt x="68" y="354"/>
                  </a:lnTo>
                  <a:lnTo>
                    <a:pt x="62" y="358"/>
                  </a:lnTo>
                  <a:lnTo>
                    <a:pt x="58" y="360"/>
                  </a:lnTo>
                  <a:lnTo>
                    <a:pt x="52" y="362"/>
                  </a:lnTo>
                  <a:lnTo>
                    <a:pt x="40" y="366"/>
                  </a:lnTo>
                  <a:lnTo>
                    <a:pt x="20" y="376"/>
                  </a:lnTo>
                  <a:lnTo>
                    <a:pt x="18" y="376"/>
                  </a:lnTo>
                  <a:lnTo>
                    <a:pt x="16" y="378"/>
                  </a:lnTo>
                  <a:lnTo>
                    <a:pt x="8" y="380"/>
                  </a:lnTo>
                  <a:lnTo>
                    <a:pt x="6" y="380"/>
                  </a:lnTo>
                  <a:lnTo>
                    <a:pt x="4" y="382"/>
                  </a:lnTo>
                  <a:lnTo>
                    <a:pt x="2" y="382"/>
                  </a:lnTo>
                  <a:lnTo>
                    <a:pt x="2" y="384"/>
                  </a:lnTo>
                  <a:lnTo>
                    <a:pt x="0" y="384"/>
                  </a:lnTo>
                  <a:lnTo>
                    <a:pt x="0" y="384"/>
                  </a:lnTo>
                  <a:lnTo>
                    <a:pt x="0" y="386"/>
                  </a:lnTo>
                  <a:lnTo>
                    <a:pt x="0" y="386"/>
                  </a:lnTo>
                  <a:lnTo>
                    <a:pt x="0" y="388"/>
                  </a:lnTo>
                  <a:lnTo>
                    <a:pt x="0" y="390"/>
                  </a:lnTo>
                  <a:lnTo>
                    <a:pt x="0" y="390"/>
                  </a:lnTo>
                  <a:lnTo>
                    <a:pt x="0" y="392"/>
                  </a:lnTo>
                  <a:lnTo>
                    <a:pt x="0" y="392"/>
                  </a:lnTo>
                  <a:lnTo>
                    <a:pt x="2" y="394"/>
                  </a:lnTo>
                  <a:lnTo>
                    <a:pt x="2" y="394"/>
                  </a:lnTo>
                  <a:lnTo>
                    <a:pt x="4" y="396"/>
                  </a:lnTo>
                  <a:lnTo>
                    <a:pt x="6" y="396"/>
                  </a:lnTo>
                  <a:lnTo>
                    <a:pt x="8" y="396"/>
                  </a:lnTo>
                  <a:lnTo>
                    <a:pt x="10" y="396"/>
                  </a:lnTo>
                  <a:lnTo>
                    <a:pt x="12" y="396"/>
                  </a:lnTo>
                  <a:lnTo>
                    <a:pt x="12" y="396"/>
                  </a:lnTo>
                  <a:lnTo>
                    <a:pt x="16" y="396"/>
                  </a:lnTo>
                  <a:lnTo>
                    <a:pt x="20" y="396"/>
                  </a:lnTo>
                  <a:lnTo>
                    <a:pt x="24" y="396"/>
                  </a:lnTo>
                  <a:lnTo>
                    <a:pt x="30" y="394"/>
                  </a:lnTo>
                  <a:lnTo>
                    <a:pt x="34" y="394"/>
                  </a:lnTo>
                  <a:lnTo>
                    <a:pt x="38" y="392"/>
                  </a:lnTo>
                  <a:lnTo>
                    <a:pt x="44" y="390"/>
                  </a:lnTo>
                  <a:lnTo>
                    <a:pt x="48" y="388"/>
                  </a:lnTo>
                  <a:lnTo>
                    <a:pt x="52" y="388"/>
                  </a:lnTo>
                  <a:lnTo>
                    <a:pt x="62" y="384"/>
                  </a:lnTo>
                  <a:lnTo>
                    <a:pt x="68" y="382"/>
                  </a:lnTo>
                  <a:lnTo>
                    <a:pt x="72" y="380"/>
                  </a:lnTo>
                  <a:lnTo>
                    <a:pt x="76" y="378"/>
                  </a:lnTo>
                  <a:lnTo>
                    <a:pt x="80" y="374"/>
                  </a:lnTo>
                  <a:lnTo>
                    <a:pt x="86" y="372"/>
                  </a:lnTo>
                  <a:lnTo>
                    <a:pt x="90" y="370"/>
                  </a:lnTo>
                  <a:lnTo>
                    <a:pt x="94" y="366"/>
                  </a:lnTo>
                  <a:lnTo>
                    <a:pt x="106" y="360"/>
                  </a:lnTo>
                  <a:lnTo>
                    <a:pt x="114" y="352"/>
                  </a:lnTo>
                  <a:lnTo>
                    <a:pt x="124" y="346"/>
                  </a:lnTo>
                  <a:lnTo>
                    <a:pt x="132" y="338"/>
                  </a:lnTo>
                  <a:lnTo>
                    <a:pt x="140" y="334"/>
                  </a:lnTo>
                  <a:lnTo>
                    <a:pt x="142" y="332"/>
                  </a:lnTo>
                  <a:lnTo>
                    <a:pt x="144" y="330"/>
                  </a:lnTo>
                  <a:lnTo>
                    <a:pt x="146" y="328"/>
                  </a:lnTo>
                  <a:lnTo>
                    <a:pt x="148" y="326"/>
                  </a:lnTo>
                  <a:lnTo>
                    <a:pt x="150" y="324"/>
                  </a:lnTo>
                  <a:lnTo>
                    <a:pt x="152" y="322"/>
                  </a:lnTo>
                  <a:lnTo>
                    <a:pt x="158" y="318"/>
                  </a:lnTo>
                  <a:lnTo>
                    <a:pt x="160" y="316"/>
                  </a:lnTo>
                  <a:lnTo>
                    <a:pt x="164" y="316"/>
                  </a:lnTo>
                  <a:lnTo>
                    <a:pt x="170" y="312"/>
                  </a:lnTo>
                  <a:lnTo>
                    <a:pt x="172" y="312"/>
                  </a:lnTo>
                  <a:lnTo>
                    <a:pt x="174" y="310"/>
                  </a:lnTo>
                  <a:lnTo>
                    <a:pt x="176" y="310"/>
                  </a:lnTo>
                  <a:lnTo>
                    <a:pt x="176" y="308"/>
                  </a:lnTo>
                  <a:lnTo>
                    <a:pt x="178" y="308"/>
                  </a:lnTo>
                  <a:lnTo>
                    <a:pt x="178" y="306"/>
                  </a:lnTo>
                  <a:lnTo>
                    <a:pt x="178" y="306"/>
                  </a:lnTo>
                  <a:lnTo>
                    <a:pt x="180" y="304"/>
                  </a:lnTo>
                  <a:lnTo>
                    <a:pt x="180" y="304"/>
                  </a:lnTo>
                  <a:lnTo>
                    <a:pt x="178" y="304"/>
                  </a:lnTo>
                  <a:lnTo>
                    <a:pt x="178" y="302"/>
                  </a:lnTo>
                  <a:lnTo>
                    <a:pt x="178" y="300"/>
                  </a:lnTo>
                  <a:lnTo>
                    <a:pt x="176" y="298"/>
                  </a:lnTo>
                  <a:lnTo>
                    <a:pt x="176" y="296"/>
                  </a:lnTo>
                  <a:lnTo>
                    <a:pt x="176" y="294"/>
                  </a:lnTo>
                  <a:lnTo>
                    <a:pt x="174" y="294"/>
                  </a:lnTo>
                  <a:lnTo>
                    <a:pt x="174" y="292"/>
                  </a:lnTo>
                  <a:lnTo>
                    <a:pt x="176" y="292"/>
                  </a:lnTo>
                  <a:lnTo>
                    <a:pt x="176" y="290"/>
                  </a:lnTo>
                  <a:lnTo>
                    <a:pt x="176" y="288"/>
                  </a:lnTo>
                  <a:lnTo>
                    <a:pt x="178" y="288"/>
                  </a:lnTo>
                  <a:lnTo>
                    <a:pt x="178" y="286"/>
                  </a:lnTo>
                  <a:lnTo>
                    <a:pt x="180" y="284"/>
                  </a:lnTo>
                  <a:lnTo>
                    <a:pt x="182" y="284"/>
                  </a:lnTo>
                  <a:lnTo>
                    <a:pt x="186" y="280"/>
                  </a:lnTo>
                  <a:lnTo>
                    <a:pt x="192" y="276"/>
                  </a:lnTo>
                  <a:lnTo>
                    <a:pt x="196" y="274"/>
                  </a:lnTo>
                  <a:lnTo>
                    <a:pt x="196" y="272"/>
                  </a:lnTo>
                  <a:lnTo>
                    <a:pt x="198" y="272"/>
                  </a:lnTo>
                  <a:lnTo>
                    <a:pt x="200" y="270"/>
                  </a:lnTo>
                  <a:lnTo>
                    <a:pt x="200" y="268"/>
                  </a:lnTo>
                  <a:lnTo>
                    <a:pt x="204" y="264"/>
                  </a:lnTo>
                  <a:lnTo>
                    <a:pt x="210" y="252"/>
                  </a:lnTo>
                  <a:lnTo>
                    <a:pt x="214" y="248"/>
                  </a:lnTo>
                  <a:lnTo>
                    <a:pt x="216" y="246"/>
                  </a:lnTo>
                  <a:lnTo>
                    <a:pt x="218" y="244"/>
                  </a:lnTo>
                  <a:lnTo>
                    <a:pt x="220" y="242"/>
                  </a:lnTo>
                  <a:lnTo>
                    <a:pt x="222" y="240"/>
                  </a:lnTo>
                  <a:lnTo>
                    <a:pt x="224" y="238"/>
                  </a:lnTo>
                  <a:lnTo>
                    <a:pt x="224" y="238"/>
                  </a:lnTo>
                  <a:lnTo>
                    <a:pt x="226" y="238"/>
                  </a:lnTo>
                  <a:lnTo>
                    <a:pt x="226" y="238"/>
                  </a:lnTo>
                  <a:lnTo>
                    <a:pt x="228" y="236"/>
                  </a:lnTo>
                  <a:lnTo>
                    <a:pt x="230" y="236"/>
                  </a:lnTo>
                  <a:lnTo>
                    <a:pt x="232" y="236"/>
                  </a:lnTo>
                  <a:lnTo>
                    <a:pt x="236" y="238"/>
                  </a:lnTo>
                  <a:lnTo>
                    <a:pt x="238" y="238"/>
                  </a:lnTo>
                  <a:lnTo>
                    <a:pt x="240" y="238"/>
                  </a:lnTo>
                  <a:lnTo>
                    <a:pt x="242" y="238"/>
                  </a:lnTo>
                  <a:lnTo>
                    <a:pt x="242" y="238"/>
                  </a:lnTo>
                  <a:lnTo>
                    <a:pt x="244" y="240"/>
                  </a:lnTo>
                  <a:lnTo>
                    <a:pt x="246" y="240"/>
                  </a:lnTo>
                  <a:lnTo>
                    <a:pt x="248" y="240"/>
                  </a:lnTo>
                  <a:lnTo>
                    <a:pt x="248" y="242"/>
                  </a:lnTo>
                  <a:lnTo>
                    <a:pt x="250" y="242"/>
                  </a:lnTo>
                  <a:lnTo>
                    <a:pt x="250" y="244"/>
                  </a:lnTo>
                  <a:lnTo>
                    <a:pt x="250" y="244"/>
                  </a:lnTo>
                  <a:lnTo>
                    <a:pt x="250" y="246"/>
                  </a:lnTo>
                  <a:lnTo>
                    <a:pt x="250" y="246"/>
                  </a:lnTo>
                  <a:lnTo>
                    <a:pt x="248" y="248"/>
                  </a:lnTo>
                  <a:lnTo>
                    <a:pt x="248" y="248"/>
                  </a:lnTo>
                  <a:lnTo>
                    <a:pt x="246" y="250"/>
                  </a:lnTo>
                  <a:lnTo>
                    <a:pt x="246" y="250"/>
                  </a:lnTo>
                  <a:lnTo>
                    <a:pt x="244" y="252"/>
                  </a:lnTo>
                  <a:lnTo>
                    <a:pt x="242" y="252"/>
                  </a:lnTo>
                  <a:lnTo>
                    <a:pt x="238" y="254"/>
                  </a:lnTo>
                  <a:lnTo>
                    <a:pt x="236" y="256"/>
                  </a:lnTo>
                  <a:lnTo>
                    <a:pt x="232" y="258"/>
                  </a:lnTo>
                  <a:lnTo>
                    <a:pt x="224" y="260"/>
                  </a:lnTo>
                  <a:lnTo>
                    <a:pt x="222" y="262"/>
                  </a:lnTo>
                  <a:lnTo>
                    <a:pt x="218" y="264"/>
                  </a:lnTo>
                  <a:lnTo>
                    <a:pt x="216" y="266"/>
                  </a:lnTo>
                  <a:lnTo>
                    <a:pt x="214" y="266"/>
                  </a:lnTo>
                  <a:lnTo>
                    <a:pt x="214" y="268"/>
                  </a:lnTo>
                  <a:lnTo>
                    <a:pt x="214" y="268"/>
                  </a:lnTo>
                  <a:lnTo>
                    <a:pt x="212" y="270"/>
                  </a:lnTo>
                  <a:lnTo>
                    <a:pt x="212" y="270"/>
                  </a:lnTo>
                  <a:lnTo>
                    <a:pt x="212" y="272"/>
                  </a:lnTo>
                  <a:lnTo>
                    <a:pt x="212" y="272"/>
                  </a:lnTo>
                  <a:lnTo>
                    <a:pt x="212" y="272"/>
                  </a:lnTo>
                  <a:lnTo>
                    <a:pt x="212" y="274"/>
                  </a:lnTo>
                  <a:lnTo>
                    <a:pt x="214" y="274"/>
                  </a:lnTo>
                  <a:lnTo>
                    <a:pt x="214" y="276"/>
                  </a:lnTo>
                  <a:lnTo>
                    <a:pt x="216" y="278"/>
                  </a:lnTo>
                  <a:lnTo>
                    <a:pt x="218" y="278"/>
                  </a:lnTo>
                  <a:lnTo>
                    <a:pt x="218" y="280"/>
                  </a:lnTo>
                  <a:lnTo>
                    <a:pt x="218" y="280"/>
                  </a:lnTo>
                  <a:lnTo>
                    <a:pt x="218" y="280"/>
                  </a:lnTo>
                  <a:lnTo>
                    <a:pt x="218" y="280"/>
                  </a:lnTo>
                  <a:lnTo>
                    <a:pt x="218" y="282"/>
                  </a:lnTo>
                  <a:lnTo>
                    <a:pt x="216" y="282"/>
                  </a:lnTo>
                  <a:lnTo>
                    <a:pt x="216" y="282"/>
                  </a:lnTo>
                  <a:lnTo>
                    <a:pt x="214" y="284"/>
                  </a:lnTo>
                  <a:lnTo>
                    <a:pt x="212" y="284"/>
                  </a:lnTo>
                  <a:lnTo>
                    <a:pt x="210" y="284"/>
                  </a:lnTo>
                  <a:lnTo>
                    <a:pt x="210" y="286"/>
                  </a:lnTo>
                  <a:lnTo>
                    <a:pt x="208" y="286"/>
                  </a:lnTo>
                  <a:lnTo>
                    <a:pt x="208" y="286"/>
                  </a:lnTo>
                  <a:lnTo>
                    <a:pt x="208" y="288"/>
                  </a:lnTo>
                  <a:lnTo>
                    <a:pt x="208" y="288"/>
                  </a:lnTo>
                  <a:lnTo>
                    <a:pt x="208" y="288"/>
                  </a:lnTo>
                  <a:lnTo>
                    <a:pt x="208" y="290"/>
                  </a:lnTo>
                  <a:lnTo>
                    <a:pt x="208" y="290"/>
                  </a:lnTo>
                  <a:lnTo>
                    <a:pt x="210" y="290"/>
                  </a:lnTo>
                  <a:lnTo>
                    <a:pt x="210" y="292"/>
                  </a:lnTo>
                  <a:lnTo>
                    <a:pt x="212" y="292"/>
                  </a:lnTo>
                  <a:lnTo>
                    <a:pt x="214" y="294"/>
                  </a:lnTo>
                  <a:lnTo>
                    <a:pt x="216" y="294"/>
                  </a:lnTo>
                  <a:lnTo>
                    <a:pt x="220" y="296"/>
                  </a:lnTo>
                  <a:lnTo>
                    <a:pt x="220" y="296"/>
                  </a:lnTo>
                  <a:lnTo>
                    <a:pt x="222" y="296"/>
                  </a:lnTo>
                  <a:lnTo>
                    <a:pt x="224" y="296"/>
                  </a:lnTo>
                  <a:lnTo>
                    <a:pt x="224" y="296"/>
                  </a:lnTo>
                  <a:lnTo>
                    <a:pt x="226" y="296"/>
                  </a:lnTo>
                  <a:lnTo>
                    <a:pt x="228" y="296"/>
                  </a:lnTo>
                  <a:lnTo>
                    <a:pt x="228" y="296"/>
                  </a:lnTo>
                  <a:lnTo>
                    <a:pt x="230" y="294"/>
                  </a:lnTo>
                  <a:lnTo>
                    <a:pt x="230" y="294"/>
                  </a:lnTo>
                  <a:lnTo>
                    <a:pt x="232" y="294"/>
                  </a:lnTo>
                  <a:lnTo>
                    <a:pt x="234" y="292"/>
                  </a:lnTo>
                  <a:lnTo>
                    <a:pt x="236" y="290"/>
                  </a:lnTo>
                  <a:lnTo>
                    <a:pt x="240" y="288"/>
                  </a:lnTo>
                  <a:lnTo>
                    <a:pt x="242" y="284"/>
                  </a:lnTo>
                  <a:lnTo>
                    <a:pt x="244" y="282"/>
                  </a:lnTo>
                  <a:lnTo>
                    <a:pt x="248" y="278"/>
                  </a:lnTo>
                  <a:lnTo>
                    <a:pt x="252" y="272"/>
                  </a:lnTo>
                  <a:lnTo>
                    <a:pt x="252" y="270"/>
                  </a:lnTo>
                  <a:lnTo>
                    <a:pt x="254" y="270"/>
                  </a:lnTo>
                  <a:lnTo>
                    <a:pt x="256" y="268"/>
                  </a:lnTo>
                  <a:lnTo>
                    <a:pt x="258" y="268"/>
                  </a:lnTo>
                  <a:lnTo>
                    <a:pt x="262" y="266"/>
                  </a:lnTo>
                  <a:lnTo>
                    <a:pt x="264" y="266"/>
                  </a:lnTo>
                  <a:lnTo>
                    <a:pt x="264" y="264"/>
                  </a:lnTo>
                  <a:lnTo>
                    <a:pt x="266" y="264"/>
                  </a:lnTo>
                  <a:lnTo>
                    <a:pt x="266" y="264"/>
                  </a:lnTo>
                  <a:lnTo>
                    <a:pt x="268" y="262"/>
                  </a:lnTo>
                  <a:lnTo>
                    <a:pt x="268" y="262"/>
                  </a:lnTo>
                  <a:lnTo>
                    <a:pt x="268" y="262"/>
                  </a:lnTo>
                  <a:lnTo>
                    <a:pt x="268" y="260"/>
                  </a:lnTo>
                  <a:lnTo>
                    <a:pt x="268" y="256"/>
                  </a:lnTo>
                  <a:lnTo>
                    <a:pt x="268" y="254"/>
                  </a:lnTo>
                  <a:lnTo>
                    <a:pt x="268" y="252"/>
                  </a:lnTo>
                  <a:lnTo>
                    <a:pt x="268" y="250"/>
                  </a:lnTo>
                  <a:lnTo>
                    <a:pt x="268" y="248"/>
                  </a:lnTo>
                  <a:lnTo>
                    <a:pt x="268" y="248"/>
                  </a:lnTo>
                  <a:lnTo>
                    <a:pt x="270" y="248"/>
                  </a:lnTo>
                  <a:lnTo>
                    <a:pt x="270" y="246"/>
                  </a:lnTo>
                  <a:lnTo>
                    <a:pt x="270" y="246"/>
                  </a:lnTo>
                  <a:lnTo>
                    <a:pt x="272" y="244"/>
                  </a:lnTo>
                  <a:lnTo>
                    <a:pt x="274" y="244"/>
                  </a:lnTo>
                  <a:lnTo>
                    <a:pt x="276" y="242"/>
                  </a:lnTo>
                  <a:lnTo>
                    <a:pt x="278" y="242"/>
                  </a:lnTo>
                  <a:lnTo>
                    <a:pt x="282" y="240"/>
                  </a:lnTo>
                  <a:lnTo>
                    <a:pt x="282" y="240"/>
                  </a:lnTo>
                  <a:lnTo>
                    <a:pt x="284" y="240"/>
                  </a:lnTo>
                  <a:lnTo>
                    <a:pt x="286" y="240"/>
                  </a:lnTo>
                  <a:lnTo>
                    <a:pt x="286" y="240"/>
                  </a:lnTo>
                  <a:lnTo>
                    <a:pt x="288" y="240"/>
                  </a:lnTo>
                  <a:lnTo>
                    <a:pt x="288" y="240"/>
                  </a:lnTo>
                  <a:lnTo>
                    <a:pt x="288" y="240"/>
                  </a:lnTo>
                  <a:lnTo>
                    <a:pt x="290" y="240"/>
                  </a:lnTo>
                  <a:lnTo>
                    <a:pt x="290" y="242"/>
                  </a:lnTo>
                  <a:lnTo>
                    <a:pt x="290" y="244"/>
                  </a:lnTo>
                  <a:lnTo>
                    <a:pt x="290" y="244"/>
                  </a:lnTo>
                  <a:lnTo>
                    <a:pt x="290" y="246"/>
                  </a:lnTo>
                  <a:lnTo>
                    <a:pt x="292" y="248"/>
                  </a:lnTo>
                  <a:lnTo>
                    <a:pt x="292" y="250"/>
                  </a:lnTo>
                  <a:lnTo>
                    <a:pt x="292" y="250"/>
                  </a:lnTo>
                  <a:lnTo>
                    <a:pt x="292" y="250"/>
                  </a:lnTo>
                  <a:lnTo>
                    <a:pt x="292" y="250"/>
                  </a:lnTo>
                  <a:lnTo>
                    <a:pt x="294" y="250"/>
                  </a:lnTo>
                  <a:lnTo>
                    <a:pt x="296" y="250"/>
                  </a:lnTo>
                  <a:lnTo>
                    <a:pt x="298" y="250"/>
                  </a:lnTo>
                  <a:lnTo>
                    <a:pt x="300" y="250"/>
                  </a:lnTo>
                  <a:lnTo>
                    <a:pt x="302" y="250"/>
                  </a:lnTo>
                  <a:lnTo>
                    <a:pt x="304" y="250"/>
                  </a:lnTo>
                  <a:lnTo>
                    <a:pt x="304" y="250"/>
                  </a:lnTo>
                  <a:lnTo>
                    <a:pt x="304" y="250"/>
                  </a:lnTo>
                  <a:lnTo>
                    <a:pt x="306" y="250"/>
                  </a:lnTo>
                  <a:lnTo>
                    <a:pt x="306" y="252"/>
                  </a:lnTo>
                  <a:lnTo>
                    <a:pt x="306" y="252"/>
                  </a:lnTo>
                  <a:lnTo>
                    <a:pt x="306" y="252"/>
                  </a:lnTo>
                  <a:lnTo>
                    <a:pt x="306" y="254"/>
                  </a:lnTo>
                  <a:lnTo>
                    <a:pt x="306" y="254"/>
                  </a:lnTo>
                  <a:lnTo>
                    <a:pt x="306" y="256"/>
                  </a:lnTo>
                  <a:lnTo>
                    <a:pt x="306" y="258"/>
                  </a:lnTo>
                  <a:lnTo>
                    <a:pt x="306" y="260"/>
                  </a:lnTo>
                  <a:lnTo>
                    <a:pt x="306" y="262"/>
                  </a:lnTo>
                  <a:lnTo>
                    <a:pt x="306" y="262"/>
                  </a:lnTo>
                  <a:lnTo>
                    <a:pt x="306" y="262"/>
                  </a:lnTo>
                  <a:lnTo>
                    <a:pt x="306" y="264"/>
                  </a:lnTo>
                  <a:lnTo>
                    <a:pt x="306" y="264"/>
                  </a:lnTo>
                  <a:lnTo>
                    <a:pt x="306" y="264"/>
                  </a:lnTo>
                  <a:lnTo>
                    <a:pt x="308" y="266"/>
                  </a:lnTo>
                  <a:lnTo>
                    <a:pt x="308" y="266"/>
                  </a:lnTo>
                  <a:lnTo>
                    <a:pt x="310" y="266"/>
                  </a:lnTo>
                  <a:lnTo>
                    <a:pt x="312" y="266"/>
                  </a:lnTo>
                  <a:lnTo>
                    <a:pt x="314" y="268"/>
                  </a:lnTo>
                  <a:lnTo>
                    <a:pt x="318" y="268"/>
                  </a:lnTo>
                  <a:lnTo>
                    <a:pt x="320" y="268"/>
                  </a:lnTo>
                  <a:lnTo>
                    <a:pt x="324" y="268"/>
                  </a:lnTo>
                  <a:lnTo>
                    <a:pt x="328" y="266"/>
                  </a:lnTo>
                  <a:lnTo>
                    <a:pt x="334" y="266"/>
                  </a:lnTo>
                  <a:lnTo>
                    <a:pt x="340" y="266"/>
                  </a:lnTo>
                  <a:lnTo>
                    <a:pt x="344" y="266"/>
                  </a:lnTo>
                  <a:lnTo>
                    <a:pt x="346" y="266"/>
                  </a:lnTo>
                  <a:lnTo>
                    <a:pt x="348" y="266"/>
                  </a:lnTo>
                  <a:lnTo>
                    <a:pt x="350" y="266"/>
                  </a:lnTo>
                  <a:lnTo>
                    <a:pt x="352" y="268"/>
                  </a:lnTo>
                  <a:lnTo>
                    <a:pt x="354" y="268"/>
                  </a:lnTo>
                  <a:lnTo>
                    <a:pt x="354" y="270"/>
                  </a:lnTo>
                  <a:lnTo>
                    <a:pt x="354" y="270"/>
                  </a:lnTo>
                  <a:lnTo>
                    <a:pt x="356" y="270"/>
                  </a:lnTo>
                  <a:lnTo>
                    <a:pt x="356" y="272"/>
                  </a:lnTo>
                  <a:lnTo>
                    <a:pt x="356" y="272"/>
                  </a:lnTo>
                  <a:lnTo>
                    <a:pt x="356" y="274"/>
                  </a:lnTo>
                  <a:lnTo>
                    <a:pt x="356" y="276"/>
                  </a:lnTo>
                  <a:lnTo>
                    <a:pt x="356" y="278"/>
                  </a:lnTo>
                  <a:lnTo>
                    <a:pt x="356" y="278"/>
                  </a:lnTo>
                  <a:lnTo>
                    <a:pt x="356" y="280"/>
                  </a:lnTo>
                  <a:lnTo>
                    <a:pt x="358" y="280"/>
                  </a:lnTo>
                  <a:lnTo>
                    <a:pt x="358" y="280"/>
                  </a:lnTo>
                  <a:lnTo>
                    <a:pt x="358" y="280"/>
                  </a:lnTo>
                  <a:lnTo>
                    <a:pt x="360" y="280"/>
                  </a:lnTo>
                  <a:lnTo>
                    <a:pt x="362" y="280"/>
                  </a:lnTo>
                  <a:lnTo>
                    <a:pt x="364" y="280"/>
                  </a:lnTo>
                  <a:lnTo>
                    <a:pt x="366" y="282"/>
                  </a:lnTo>
                  <a:lnTo>
                    <a:pt x="368" y="282"/>
                  </a:lnTo>
                  <a:lnTo>
                    <a:pt x="370" y="282"/>
                  </a:lnTo>
                  <a:lnTo>
                    <a:pt x="370" y="282"/>
                  </a:lnTo>
                  <a:lnTo>
                    <a:pt x="372" y="282"/>
                  </a:lnTo>
                  <a:lnTo>
                    <a:pt x="372" y="282"/>
                  </a:lnTo>
                  <a:lnTo>
                    <a:pt x="372" y="284"/>
                  </a:lnTo>
                  <a:lnTo>
                    <a:pt x="372" y="284"/>
                  </a:lnTo>
                  <a:lnTo>
                    <a:pt x="372" y="286"/>
                  </a:lnTo>
                  <a:lnTo>
                    <a:pt x="372" y="286"/>
                  </a:lnTo>
                  <a:lnTo>
                    <a:pt x="372" y="288"/>
                  </a:lnTo>
                  <a:lnTo>
                    <a:pt x="374" y="290"/>
                  </a:lnTo>
                  <a:lnTo>
                    <a:pt x="374" y="292"/>
                  </a:lnTo>
                  <a:lnTo>
                    <a:pt x="374" y="294"/>
                  </a:lnTo>
                  <a:lnTo>
                    <a:pt x="374" y="294"/>
                  </a:lnTo>
                  <a:lnTo>
                    <a:pt x="374" y="294"/>
                  </a:lnTo>
                  <a:lnTo>
                    <a:pt x="374" y="294"/>
                  </a:lnTo>
                  <a:lnTo>
                    <a:pt x="376" y="294"/>
                  </a:lnTo>
                  <a:lnTo>
                    <a:pt x="376" y="294"/>
                  </a:lnTo>
                  <a:lnTo>
                    <a:pt x="378" y="294"/>
                  </a:lnTo>
                  <a:lnTo>
                    <a:pt x="380" y="294"/>
                  </a:lnTo>
                  <a:lnTo>
                    <a:pt x="382" y="294"/>
                  </a:lnTo>
                  <a:lnTo>
                    <a:pt x="384" y="292"/>
                  </a:lnTo>
                  <a:lnTo>
                    <a:pt x="384" y="292"/>
                  </a:lnTo>
                  <a:lnTo>
                    <a:pt x="386" y="292"/>
                  </a:lnTo>
                  <a:lnTo>
                    <a:pt x="386" y="292"/>
                  </a:lnTo>
                  <a:lnTo>
                    <a:pt x="386" y="294"/>
                  </a:lnTo>
                  <a:lnTo>
                    <a:pt x="386" y="294"/>
                  </a:lnTo>
                  <a:lnTo>
                    <a:pt x="386" y="294"/>
                  </a:lnTo>
                  <a:lnTo>
                    <a:pt x="388" y="296"/>
                  </a:lnTo>
                  <a:lnTo>
                    <a:pt x="388" y="298"/>
                  </a:lnTo>
                  <a:lnTo>
                    <a:pt x="388" y="300"/>
                  </a:lnTo>
                  <a:lnTo>
                    <a:pt x="388" y="302"/>
                  </a:lnTo>
                  <a:lnTo>
                    <a:pt x="390" y="302"/>
                  </a:lnTo>
                  <a:lnTo>
                    <a:pt x="390" y="304"/>
                  </a:lnTo>
                  <a:lnTo>
                    <a:pt x="392" y="306"/>
                  </a:lnTo>
                  <a:lnTo>
                    <a:pt x="392" y="306"/>
                  </a:lnTo>
                  <a:lnTo>
                    <a:pt x="394" y="308"/>
                  </a:lnTo>
                  <a:lnTo>
                    <a:pt x="396" y="308"/>
                  </a:lnTo>
                  <a:lnTo>
                    <a:pt x="398" y="308"/>
                  </a:lnTo>
                  <a:lnTo>
                    <a:pt x="400" y="310"/>
                  </a:lnTo>
                  <a:lnTo>
                    <a:pt x="400" y="310"/>
                  </a:lnTo>
                  <a:lnTo>
                    <a:pt x="400" y="310"/>
                  </a:lnTo>
                  <a:lnTo>
                    <a:pt x="402" y="310"/>
                  </a:lnTo>
                  <a:lnTo>
                    <a:pt x="402" y="308"/>
                  </a:lnTo>
                  <a:lnTo>
                    <a:pt x="402" y="308"/>
                  </a:lnTo>
                  <a:lnTo>
                    <a:pt x="402" y="308"/>
                  </a:lnTo>
                  <a:lnTo>
                    <a:pt x="404" y="306"/>
                  </a:lnTo>
                  <a:lnTo>
                    <a:pt x="404" y="304"/>
                  </a:lnTo>
                  <a:lnTo>
                    <a:pt x="404" y="302"/>
                  </a:lnTo>
                  <a:lnTo>
                    <a:pt x="406" y="300"/>
                  </a:lnTo>
                  <a:lnTo>
                    <a:pt x="406" y="300"/>
                  </a:lnTo>
                  <a:lnTo>
                    <a:pt x="406" y="300"/>
                  </a:lnTo>
                  <a:lnTo>
                    <a:pt x="406" y="300"/>
                  </a:lnTo>
                  <a:lnTo>
                    <a:pt x="408" y="300"/>
                  </a:lnTo>
                  <a:lnTo>
                    <a:pt x="408" y="300"/>
                  </a:lnTo>
                  <a:lnTo>
                    <a:pt x="408" y="300"/>
                  </a:lnTo>
                  <a:lnTo>
                    <a:pt x="408" y="300"/>
                  </a:lnTo>
                  <a:lnTo>
                    <a:pt x="408" y="300"/>
                  </a:lnTo>
                  <a:lnTo>
                    <a:pt x="410" y="302"/>
                  </a:lnTo>
                  <a:lnTo>
                    <a:pt x="410" y="304"/>
                  </a:lnTo>
                  <a:lnTo>
                    <a:pt x="412" y="306"/>
                  </a:lnTo>
                  <a:lnTo>
                    <a:pt x="412" y="308"/>
                  </a:lnTo>
                  <a:lnTo>
                    <a:pt x="414" y="310"/>
                  </a:lnTo>
                  <a:lnTo>
                    <a:pt x="416" y="310"/>
                  </a:lnTo>
                  <a:lnTo>
                    <a:pt x="418" y="312"/>
                  </a:lnTo>
                  <a:lnTo>
                    <a:pt x="418" y="314"/>
                  </a:lnTo>
                  <a:lnTo>
                    <a:pt x="420" y="314"/>
                  </a:lnTo>
                  <a:lnTo>
                    <a:pt x="422" y="314"/>
                  </a:lnTo>
                  <a:lnTo>
                    <a:pt x="422" y="314"/>
                  </a:lnTo>
                  <a:lnTo>
                    <a:pt x="422" y="314"/>
                  </a:lnTo>
                  <a:lnTo>
                    <a:pt x="424" y="314"/>
                  </a:lnTo>
                  <a:lnTo>
                    <a:pt x="424" y="312"/>
                  </a:lnTo>
                  <a:lnTo>
                    <a:pt x="426" y="310"/>
                  </a:lnTo>
                  <a:lnTo>
                    <a:pt x="426" y="310"/>
                  </a:lnTo>
                  <a:lnTo>
                    <a:pt x="428" y="310"/>
                  </a:lnTo>
                  <a:lnTo>
                    <a:pt x="428" y="310"/>
                  </a:lnTo>
                  <a:lnTo>
                    <a:pt x="428" y="310"/>
                  </a:lnTo>
                  <a:lnTo>
                    <a:pt x="430" y="310"/>
                  </a:lnTo>
                  <a:lnTo>
                    <a:pt x="430" y="310"/>
                  </a:lnTo>
                  <a:lnTo>
                    <a:pt x="432" y="310"/>
                  </a:lnTo>
                  <a:lnTo>
                    <a:pt x="432" y="310"/>
                  </a:lnTo>
                  <a:lnTo>
                    <a:pt x="434" y="312"/>
                  </a:lnTo>
                  <a:lnTo>
                    <a:pt x="434" y="312"/>
                  </a:lnTo>
                  <a:lnTo>
                    <a:pt x="434" y="312"/>
                  </a:lnTo>
                  <a:lnTo>
                    <a:pt x="434" y="314"/>
                  </a:lnTo>
                  <a:lnTo>
                    <a:pt x="434" y="314"/>
                  </a:lnTo>
                  <a:lnTo>
                    <a:pt x="432" y="316"/>
                  </a:lnTo>
                  <a:lnTo>
                    <a:pt x="432" y="318"/>
                  </a:lnTo>
                  <a:lnTo>
                    <a:pt x="432" y="322"/>
                  </a:lnTo>
                  <a:lnTo>
                    <a:pt x="432" y="324"/>
                  </a:lnTo>
                  <a:lnTo>
                    <a:pt x="432" y="326"/>
                  </a:lnTo>
                  <a:lnTo>
                    <a:pt x="432" y="328"/>
                  </a:lnTo>
                  <a:lnTo>
                    <a:pt x="432" y="330"/>
                  </a:lnTo>
                  <a:lnTo>
                    <a:pt x="432" y="330"/>
                  </a:lnTo>
                  <a:lnTo>
                    <a:pt x="432" y="332"/>
                  </a:lnTo>
                  <a:lnTo>
                    <a:pt x="434" y="332"/>
                  </a:lnTo>
                  <a:lnTo>
                    <a:pt x="434" y="334"/>
                  </a:lnTo>
                  <a:lnTo>
                    <a:pt x="436" y="336"/>
                  </a:lnTo>
                  <a:lnTo>
                    <a:pt x="438" y="338"/>
                  </a:lnTo>
                  <a:lnTo>
                    <a:pt x="438" y="338"/>
                  </a:lnTo>
                  <a:lnTo>
                    <a:pt x="440" y="338"/>
                  </a:lnTo>
                  <a:lnTo>
                    <a:pt x="440" y="338"/>
                  </a:lnTo>
                  <a:lnTo>
                    <a:pt x="444" y="338"/>
                  </a:lnTo>
                  <a:lnTo>
                    <a:pt x="444" y="338"/>
                  </a:lnTo>
                  <a:lnTo>
                    <a:pt x="446" y="338"/>
                  </a:lnTo>
                  <a:lnTo>
                    <a:pt x="446" y="338"/>
                  </a:lnTo>
                  <a:lnTo>
                    <a:pt x="448" y="340"/>
                  </a:lnTo>
                  <a:lnTo>
                    <a:pt x="448" y="340"/>
                  </a:lnTo>
                  <a:lnTo>
                    <a:pt x="448" y="340"/>
                  </a:lnTo>
                  <a:lnTo>
                    <a:pt x="448" y="340"/>
                  </a:lnTo>
                  <a:lnTo>
                    <a:pt x="448" y="342"/>
                  </a:lnTo>
                  <a:lnTo>
                    <a:pt x="448" y="344"/>
                  </a:lnTo>
                  <a:lnTo>
                    <a:pt x="448" y="346"/>
                  </a:lnTo>
                  <a:lnTo>
                    <a:pt x="448" y="346"/>
                  </a:lnTo>
                  <a:lnTo>
                    <a:pt x="448" y="348"/>
                  </a:lnTo>
                  <a:lnTo>
                    <a:pt x="448" y="350"/>
                  </a:lnTo>
                  <a:lnTo>
                    <a:pt x="448" y="350"/>
                  </a:lnTo>
                  <a:lnTo>
                    <a:pt x="448" y="350"/>
                  </a:lnTo>
                  <a:lnTo>
                    <a:pt x="448" y="352"/>
                  </a:lnTo>
                  <a:lnTo>
                    <a:pt x="450" y="352"/>
                  </a:lnTo>
                  <a:lnTo>
                    <a:pt x="450" y="354"/>
                  </a:lnTo>
                  <a:lnTo>
                    <a:pt x="452" y="354"/>
                  </a:lnTo>
                  <a:lnTo>
                    <a:pt x="454" y="356"/>
                  </a:lnTo>
                  <a:lnTo>
                    <a:pt x="456" y="356"/>
                  </a:lnTo>
                  <a:lnTo>
                    <a:pt x="458" y="358"/>
                  </a:lnTo>
                  <a:lnTo>
                    <a:pt x="460" y="358"/>
                  </a:lnTo>
                  <a:lnTo>
                    <a:pt x="462" y="358"/>
                  </a:lnTo>
                  <a:lnTo>
                    <a:pt x="466" y="358"/>
                  </a:lnTo>
                  <a:lnTo>
                    <a:pt x="470" y="358"/>
                  </a:lnTo>
                  <a:lnTo>
                    <a:pt x="472" y="356"/>
                  </a:lnTo>
                  <a:lnTo>
                    <a:pt x="474" y="354"/>
                  </a:lnTo>
                  <a:lnTo>
                    <a:pt x="476" y="354"/>
                  </a:lnTo>
                  <a:lnTo>
                    <a:pt x="478" y="352"/>
                  </a:lnTo>
                  <a:lnTo>
                    <a:pt x="480" y="350"/>
                  </a:lnTo>
                  <a:lnTo>
                    <a:pt x="480" y="350"/>
                  </a:lnTo>
                  <a:lnTo>
                    <a:pt x="480" y="348"/>
                  </a:lnTo>
                  <a:lnTo>
                    <a:pt x="480" y="348"/>
                  </a:lnTo>
                  <a:lnTo>
                    <a:pt x="480" y="346"/>
                  </a:lnTo>
                  <a:lnTo>
                    <a:pt x="480" y="346"/>
                  </a:lnTo>
                  <a:lnTo>
                    <a:pt x="480" y="346"/>
                  </a:lnTo>
                  <a:lnTo>
                    <a:pt x="478" y="346"/>
                  </a:lnTo>
                  <a:lnTo>
                    <a:pt x="476" y="344"/>
                  </a:lnTo>
                  <a:lnTo>
                    <a:pt x="476" y="344"/>
                  </a:lnTo>
                  <a:lnTo>
                    <a:pt x="474" y="344"/>
                  </a:lnTo>
                  <a:lnTo>
                    <a:pt x="470" y="344"/>
                  </a:lnTo>
                  <a:lnTo>
                    <a:pt x="468" y="344"/>
                  </a:lnTo>
                  <a:lnTo>
                    <a:pt x="464" y="344"/>
                  </a:lnTo>
                  <a:lnTo>
                    <a:pt x="464" y="344"/>
                  </a:lnTo>
                  <a:lnTo>
                    <a:pt x="462" y="344"/>
                  </a:lnTo>
                  <a:lnTo>
                    <a:pt x="460" y="342"/>
                  </a:lnTo>
                  <a:lnTo>
                    <a:pt x="460" y="342"/>
                  </a:lnTo>
                  <a:lnTo>
                    <a:pt x="460" y="340"/>
                  </a:lnTo>
                  <a:lnTo>
                    <a:pt x="458" y="340"/>
                  </a:lnTo>
                  <a:lnTo>
                    <a:pt x="458" y="338"/>
                  </a:lnTo>
                  <a:lnTo>
                    <a:pt x="458" y="338"/>
                  </a:lnTo>
                  <a:lnTo>
                    <a:pt x="458" y="334"/>
                  </a:lnTo>
                  <a:lnTo>
                    <a:pt x="458" y="330"/>
                  </a:lnTo>
                  <a:lnTo>
                    <a:pt x="458" y="326"/>
                  </a:lnTo>
                  <a:lnTo>
                    <a:pt x="456" y="324"/>
                  </a:lnTo>
                  <a:lnTo>
                    <a:pt x="456" y="322"/>
                  </a:lnTo>
                  <a:lnTo>
                    <a:pt x="456" y="320"/>
                  </a:lnTo>
                  <a:lnTo>
                    <a:pt x="456" y="320"/>
                  </a:lnTo>
                  <a:lnTo>
                    <a:pt x="454" y="318"/>
                  </a:lnTo>
                  <a:lnTo>
                    <a:pt x="454" y="318"/>
                  </a:lnTo>
                  <a:lnTo>
                    <a:pt x="454" y="316"/>
                  </a:lnTo>
                  <a:lnTo>
                    <a:pt x="452" y="316"/>
                  </a:lnTo>
                  <a:lnTo>
                    <a:pt x="448" y="316"/>
                  </a:lnTo>
                  <a:lnTo>
                    <a:pt x="448" y="314"/>
                  </a:lnTo>
                  <a:lnTo>
                    <a:pt x="448" y="314"/>
                  </a:lnTo>
                  <a:lnTo>
                    <a:pt x="446" y="314"/>
                  </a:lnTo>
                  <a:lnTo>
                    <a:pt x="446" y="312"/>
                  </a:lnTo>
                  <a:lnTo>
                    <a:pt x="446" y="310"/>
                  </a:lnTo>
                  <a:lnTo>
                    <a:pt x="446" y="308"/>
                  </a:lnTo>
                  <a:lnTo>
                    <a:pt x="446" y="306"/>
                  </a:lnTo>
                  <a:lnTo>
                    <a:pt x="444" y="300"/>
                  </a:lnTo>
                  <a:lnTo>
                    <a:pt x="444" y="298"/>
                  </a:lnTo>
                  <a:lnTo>
                    <a:pt x="444" y="298"/>
                  </a:lnTo>
                  <a:lnTo>
                    <a:pt x="444" y="296"/>
                  </a:lnTo>
                  <a:lnTo>
                    <a:pt x="442" y="294"/>
                  </a:lnTo>
                  <a:lnTo>
                    <a:pt x="440" y="290"/>
                  </a:lnTo>
                  <a:lnTo>
                    <a:pt x="438" y="286"/>
                  </a:lnTo>
                  <a:lnTo>
                    <a:pt x="434" y="284"/>
                  </a:lnTo>
                  <a:lnTo>
                    <a:pt x="432" y="280"/>
                  </a:lnTo>
                  <a:lnTo>
                    <a:pt x="428" y="278"/>
                  </a:lnTo>
                  <a:lnTo>
                    <a:pt x="426" y="274"/>
                  </a:lnTo>
                  <a:lnTo>
                    <a:pt x="424" y="274"/>
                  </a:lnTo>
                  <a:lnTo>
                    <a:pt x="422" y="272"/>
                  </a:lnTo>
                  <a:lnTo>
                    <a:pt x="420" y="272"/>
                  </a:lnTo>
                  <a:lnTo>
                    <a:pt x="418" y="272"/>
                  </a:lnTo>
                  <a:lnTo>
                    <a:pt x="416" y="272"/>
                  </a:lnTo>
                  <a:lnTo>
                    <a:pt x="416" y="272"/>
                  </a:lnTo>
                  <a:lnTo>
                    <a:pt x="414" y="272"/>
                  </a:lnTo>
                  <a:lnTo>
                    <a:pt x="414" y="272"/>
                  </a:lnTo>
                  <a:lnTo>
                    <a:pt x="414" y="272"/>
                  </a:lnTo>
                  <a:lnTo>
                    <a:pt x="412" y="272"/>
                  </a:lnTo>
                  <a:lnTo>
                    <a:pt x="412" y="274"/>
                  </a:lnTo>
                  <a:lnTo>
                    <a:pt x="412" y="274"/>
                  </a:lnTo>
                  <a:lnTo>
                    <a:pt x="412" y="276"/>
                  </a:lnTo>
                  <a:lnTo>
                    <a:pt x="412" y="278"/>
                  </a:lnTo>
                  <a:lnTo>
                    <a:pt x="412" y="280"/>
                  </a:lnTo>
                  <a:lnTo>
                    <a:pt x="412" y="280"/>
                  </a:lnTo>
                  <a:lnTo>
                    <a:pt x="412" y="282"/>
                  </a:lnTo>
                  <a:lnTo>
                    <a:pt x="410" y="282"/>
                  </a:lnTo>
                  <a:lnTo>
                    <a:pt x="410" y="282"/>
                  </a:lnTo>
                  <a:lnTo>
                    <a:pt x="410" y="282"/>
                  </a:lnTo>
                  <a:lnTo>
                    <a:pt x="408" y="282"/>
                  </a:lnTo>
                  <a:lnTo>
                    <a:pt x="408" y="282"/>
                  </a:lnTo>
                  <a:lnTo>
                    <a:pt x="406" y="282"/>
                  </a:lnTo>
                  <a:lnTo>
                    <a:pt x="406" y="282"/>
                  </a:lnTo>
                  <a:lnTo>
                    <a:pt x="404" y="282"/>
                  </a:lnTo>
                  <a:lnTo>
                    <a:pt x="402" y="282"/>
                  </a:lnTo>
                  <a:lnTo>
                    <a:pt x="402" y="282"/>
                  </a:lnTo>
                  <a:lnTo>
                    <a:pt x="402" y="282"/>
                  </a:lnTo>
                  <a:lnTo>
                    <a:pt x="402" y="282"/>
                  </a:lnTo>
                  <a:lnTo>
                    <a:pt x="402" y="282"/>
                  </a:lnTo>
                  <a:lnTo>
                    <a:pt x="400" y="284"/>
                  </a:lnTo>
                  <a:lnTo>
                    <a:pt x="400" y="284"/>
                  </a:lnTo>
                  <a:lnTo>
                    <a:pt x="400" y="286"/>
                  </a:lnTo>
                  <a:lnTo>
                    <a:pt x="400" y="288"/>
                  </a:lnTo>
                  <a:lnTo>
                    <a:pt x="400" y="288"/>
                  </a:lnTo>
                  <a:lnTo>
                    <a:pt x="398" y="290"/>
                  </a:lnTo>
                  <a:lnTo>
                    <a:pt x="398" y="290"/>
                  </a:lnTo>
                  <a:lnTo>
                    <a:pt x="398" y="290"/>
                  </a:lnTo>
                  <a:lnTo>
                    <a:pt x="398" y="290"/>
                  </a:lnTo>
                  <a:lnTo>
                    <a:pt x="396" y="290"/>
                  </a:lnTo>
                  <a:lnTo>
                    <a:pt x="396" y="290"/>
                  </a:lnTo>
                  <a:lnTo>
                    <a:pt x="394" y="290"/>
                  </a:lnTo>
                  <a:lnTo>
                    <a:pt x="394" y="288"/>
                  </a:lnTo>
                  <a:lnTo>
                    <a:pt x="392" y="288"/>
                  </a:lnTo>
                  <a:lnTo>
                    <a:pt x="390" y="286"/>
                  </a:lnTo>
                  <a:lnTo>
                    <a:pt x="388" y="284"/>
                  </a:lnTo>
                  <a:lnTo>
                    <a:pt x="386" y="284"/>
                  </a:lnTo>
                  <a:lnTo>
                    <a:pt x="386" y="282"/>
                  </a:lnTo>
                  <a:lnTo>
                    <a:pt x="386" y="280"/>
                  </a:lnTo>
                  <a:lnTo>
                    <a:pt x="384" y="280"/>
                  </a:lnTo>
                  <a:lnTo>
                    <a:pt x="384" y="278"/>
                  </a:lnTo>
                  <a:lnTo>
                    <a:pt x="384" y="274"/>
                  </a:lnTo>
                  <a:lnTo>
                    <a:pt x="384" y="272"/>
                  </a:lnTo>
                  <a:lnTo>
                    <a:pt x="384" y="270"/>
                  </a:lnTo>
                  <a:lnTo>
                    <a:pt x="384" y="266"/>
                  </a:lnTo>
                  <a:lnTo>
                    <a:pt x="382" y="264"/>
                  </a:lnTo>
                  <a:lnTo>
                    <a:pt x="382" y="264"/>
                  </a:lnTo>
                  <a:lnTo>
                    <a:pt x="382" y="262"/>
                  </a:lnTo>
                  <a:lnTo>
                    <a:pt x="380" y="262"/>
                  </a:lnTo>
                  <a:lnTo>
                    <a:pt x="380" y="260"/>
                  </a:lnTo>
                  <a:lnTo>
                    <a:pt x="378" y="258"/>
                  </a:lnTo>
                  <a:lnTo>
                    <a:pt x="378" y="258"/>
                  </a:lnTo>
                  <a:lnTo>
                    <a:pt x="376" y="258"/>
                  </a:lnTo>
                  <a:lnTo>
                    <a:pt x="376" y="258"/>
                  </a:lnTo>
                  <a:lnTo>
                    <a:pt x="374" y="258"/>
                  </a:lnTo>
                  <a:lnTo>
                    <a:pt x="374" y="258"/>
                  </a:lnTo>
                  <a:lnTo>
                    <a:pt x="372" y="258"/>
                  </a:lnTo>
                  <a:lnTo>
                    <a:pt x="370" y="260"/>
                  </a:lnTo>
                  <a:lnTo>
                    <a:pt x="368" y="260"/>
                  </a:lnTo>
                  <a:lnTo>
                    <a:pt x="364" y="262"/>
                  </a:lnTo>
                  <a:lnTo>
                    <a:pt x="364" y="262"/>
                  </a:lnTo>
                  <a:lnTo>
                    <a:pt x="428" y="42"/>
                  </a:lnTo>
                  <a:lnTo>
                    <a:pt x="426" y="40"/>
                  </a:lnTo>
                  <a:lnTo>
                    <a:pt x="422" y="34"/>
                  </a:lnTo>
                  <a:lnTo>
                    <a:pt x="420" y="32"/>
                  </a:lnTo>
                  <a:lnTo>
                    <a:pt x="416" y="30"/>
                  </a:lnTo>
                  <a:lnTo>
                    <a:pt x="414" y="28"/>
                  </a:lnTo>
                  <a:lnTo>
                    <a:pt x="414" y="28"/>
                  </a:lnTo>
                  <a:lnTo>
                    <a:pt x="412" y="28"/>
                  </a:lnTo>
                  <a:lnTo>
                    <a:pt x="410" y="28"/>
                  </a:lnTo>
                  <a:lnTo>
                    <a:pt x="408" y="26"/>
                  </a:lnTo>
                  <a:lnTo>
                    <a:pt x="406" y="26"/>
                  </a:lnTo>
                  <a:lnTo>
                    <a:pt x="404" y="26"/>
                  </a:lnTo>
                  <a:lnTo>
                    <a:pt x="402" y="26"/>
                  </a:lnTo>
                  <a:lnTo>
                    <a:pt x="400" y="28"/>
                  </a:lnTo>
                  <a:lnTo>
                    <a:pt x="394" y="28"/>
                  </a:lnTo>
                  <a:lnTo>
                    <a:pt x="384" y="30"/>
                  </a:lnTo>
                  <a:lnTo>
                    <a:pt x="380" y="30"/>
                  </a:lnTo>
                  <a:lnTo>
                    <a:pt x="376" y="32"/>
                  </a:lnTo>
                  <a:lnTo>
                    <a:pt x="374" y="32"/>
                  </a:lnTo>
                  <a:lnTo>
                    <a:pt x="370" y="32"/>
                  </a:lnTo>
                  <a:lnTo>
                    <a:pt x="368" y="32"/>
                  </a:lnTo>
                  <a:lnTo>
                    <a:pt x="364" y="32"/>
                  </a:lnTo>
                  <a:lnTo>
                    <a:pt x="364" y="32"/>
                  </a:lnTo>
                  <a:lnTo>
                    <a:pt x="362" y="32"/>
                  </a:lnTo>
                  <a:lnTo>
                    <a:pt x="362" y="32"/>
                  </a:lnTo>
                  <a:lnTo>
                    <a:pt x="362" y="32"/>
                  </a:lnTo>
                  <a:lnTo>
                    <a:pt x="360" y="32"/>
                  </a:lnTo>
                  <a:lnTo>
                    <a:pt x="360" y="30"/>
                  </a:lnTo>
                  <a:lnTo>
                    <a:pt x="358" y="30"/>
                  </a:lnTo>
                  <a:lnTo>
                    <a:pt x="356" y="28"/>
                  </a:lnTo>
                  <a:lnTo>
                    <a:pt x="356" y="26"/>
                  </a:lnTo>
                  <a:lnTo>
                    <a:pt x="354" y="24"/>
                  </a:lnTo>
                  <a:lnTo>
                    <a:pt x="352" y="24"/>
                  </a:lnTo>
                  <a:lnTo>
                    <a:pt x="352" y="22"/>
                  </a:lnTo>
                  <a:lnTo>
                    <a:pt x="352" y="22"/>
                  </a:lnTo>
                  <a:lnTo>
                    <a:pt x="350" y="22"/>
                  </a:lnTo>
                  <a:lnTo>
                    <a:pt x="350" y="22"/>
                  </a:lnTo>
                  <a:lnTo>
                    <a:pt x="348" y="22"/>
                  </a:lnTo>
                  <a:lnTo>
                    <a:pt x="344" y="22"/>
                  </a:lnTo>
                  <a:lnTo>
                    <a:pt x="342" y="22"/>
                  </a:lnTo>
                  <a:lnTo>
                    <a:pt x="338" y="22"/>
                  </a:lnTo>
                  <a:lnTo>
                    <a:pt x="336" y="24"/>
                  </a:lnTo>
                  <a:lnTo>
                    <a:pt x="328" y="24"/>
                  </a:lnTo>
                  <a:lnTo>
                    <a:pt x="322" y="26"/>
                  </a:lnTo>
                  <a:lnTo>
                    <a:pt x="320" y="26"/>
                  </a:lnTo>
                  <a:lnTo>
                    <a:pt x="316" y="28"/>
                  </a:lnTo>
                  <a:lnTo>
                    <a:pt x="314" y="28"/>
                  </a:lnTo>
                  <a:lnTo>
                    <a:pt x="310" y="28"/>
                  </a:lnTo>
                  <a:lnTo>
                    <a:pt x="308" y="26"/>
                  </a:lnTo>
                  <a:lnTo>
                    <a:pt x="308" y="26"/>
                  </a:lnTo>
                  <a:lnTo>
                    <a:pt x="306" y="26"/>
                  </a:lnTo>
                  <a:lnTo>
                    <a:pt x="306" y="26"/>
                  </a:lnTo>
                  <a:lnTo>
                    <a:pt x="304" y="24"/>
                  </a:lnTo>
                  <a:lnTo>
                    <a:pt x="304" y="24"/>
                  </a:lnTo>
                  <a:lnTo>
                    <a:pt x="302" y="22"/>
                  </a:lnTo>
                  <a:lnTo>
                    <a:pt x="300" y="18"/>
                  </a:lnTo>
                  <a:lnTo>
                    <a:pt x="298" y="16"/>
                  </a:lnTo>
                  <a:lnTo>
                    <a:pt x="298" y="12"/>
                  </a:lnTo>
                  <a:lnTo>
                    <a:pt x="296" y="10"/>
                  </a:lnTo>
                  <a:lnTo>
                    <a:pt x="296" y="10"/>
                  </a:lnTo>
                  <a:lnTo>
                    <a:pt x="294" y="8"/>
                  </a:lnTo>
                  <a:lnTo>
                    <a:pt x="294" y="6"/>
                  </a:lnTo>
                  <a:lnTo>
                    <a:pt x="292" y="6"/>
                  </a:lnTo>
                  <a:lnTo>
                    <a:pt x="292" y="6"/>
                  </a:lnTo>
                  <a:lnTo>
                    <a:pt x="290" y="6"/>
                  </a:lnTo>
                  <a:lnTo>
                    <a:pt x="290" y="6"/>
                  </a:lnTo>
                  <a:lnTo>
                    <a:pt x="288" y="6"/>
                  </a:lnTo>
                  <a:lnTo>
                    <a:pt x="288" y="8"/>
                  </a:lnTo>
                  <a:lnTo>
                    <a:pt x="286" y="10"/>
                  </a:lnTo>
                  <a:lnTo>
                    <a:pt x="284" y="12"/>
                  </a:lnTo>
                  <a:lnTo>
                    <a:pt x="282" y="14"/>
                  </a:lnTo>
                  <a:lnTo>
                    <a:pt x="280" y="16"/>
                  </a:lnTo>
                  <a:lnTo>
                    <a:pt x="278" y="16"/>
                  </a:lnTo>
                  <a:lnTo>
                    <a:pt x="278" y="18"/>
                  </a:lnTo>
                  <a:lnTo>
                    <a:pt x="276" y="18"/>
                  </a:lnTo>
                  <a:lnTo>
                    <a:pt x="276" y="18"/>
                  </a:lnTo>
                  <a:lnTo>
                    <a:pt x="274" y="20"/>
                  </a:lnTo>
                  <a:lnTo>
                    <a:pt x="270" y="20"/>
                  </a:lnTo>
                  <a:lnTo>
                    <a:pt x="268" y="20"/>
                  </a:lnTo>
                  <a:lnTo>
                    <a:pt x="264" y="20"/>
                  </a:lnTo>
                  <a:lnTo>
                    <a:pt x="262" y="20"/>
                  </a:lnTo>
                  <a:lnTo>
                    <a:pt x="258" y="18"/>
                  </a:lnTo>
                  <a:lnTo>
                    <a:pt x="258" y="18"/>
                  </a:lnTo>
                  <a:lnTo>
                    <a:pt x="256" y="18"/>
                  </a:lnTo>
                  <a:lnTo>
                    <a:pt x="256" y="16"/>
                  </a:lnTo>
                  <a:lnTo>
                    <a:pt x="254" y="16"/>
                  </a:lnTo>
                  <a:lnTo>
                    <a:pt x="254" y="16"/>
                  </a:lnTo>
                  <a:lnTo>
                    <a:pt x="254" y="14"/>
                  </a:lnTo>
                  <a:lnTo>
                    <a:pt x="254" y="14"/>
                  </a:lnTo>
                  <a:lnTo>
                    <a:pt x="254" y="14"/>
                  </a:lnTo>
                  <a:lnTo>
                    <a:pt x="254" y="12"/>
                  </a:lnTo>
                  <a:lnTo>
                    <a:pt x="254" y="10"/>
                  </a:lnTo>
                  <a:lnTo>
                    <a:pt x="254" y="8"/>
                  </a:lnTo>
                  <a:lnTo>
                    <a:pt x="254" y="6"/>
                  </a:lnTo>
                  <a:lnTo>
                    <a:pt x="254" y="4"/>
                  </a:lnTo>
                  <a:lnTo>
                    <a:pt x="254" y="4"/>
                  </a:lnTo>
                  <a:lnTo>
                    <a:pt x="254" y="2"/>
                  </a:lnTo>
                  <a:lnTo>
                    <a:pt x="254" y="2"/>
                  </a:lnTo>
                  <a:lnTo>
                    <a:pt x="252" y="2"/>
                  </a:lnTo>
                  <a:lnTo>
                    <a:pt x="252" y="2"/>
                  </a:lnTo>
                  <a:lnTo>
                    <a:pt x="250" y="0"/>
                  </a:lnTo>
                  <a:lnTo>
                    <a:pt x="248" y="0"/>
                  </a:lnTo>
                  <a:lnTo>
                    <a:pt x="246" y="0"/>
                  </a:lnTo>
                  <a:lnTo>
                    <a:pt x="246" y="0"/>
                  </a:lnTo>
                  <a:lnTo>
                    <a:pt x="244" y="0"/>
                  </a:lnTo>
                  <a:lnTo>
                    <a:pt x="244"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1" name="Freeform 526">
              <a:extLst>
                <a:ext uri="{FF2B5EF4-FFF2-40B4-BE49-F238E27FC236}">
                  <a16:creationId xmlns:a16="http://schemas.microsoft.com/office/drawing/2014/main" id="{3E15AE5A-8CB1-4D5B-B808-B6D0DF5FA04E}"/>
                </a:ext>
              </a:extLst>
            </p:cNvPr>
            <p:cNvSpPr>
              <a:spLocks/>
            </p:cNvSpPr>
            <p:nvPr/>
          </p:nvSpPr>
          <p:spPr bwMode="auto">
            <a:xfrm>
              <a:off x="1279650" y="3170483"/>
              <a:ext cx="1409909" cy="789826"/>
            </a:xfrm>
            <a:custGeom>
              <a:avLst/>
              <a:gdLst>
                <a:gd name="T0" fmla="*/ 464 w 814"/>
                <a:gd name="T1" fmla="*/ 10 h 456"/>
                <a:gd name="T2" fmla="*/ 542 w 814"/>
                <a:gd name="T3" fmla="*/ 20 h 456"/>
                <a:gd name="T4" fmla="*/ 590 w 814"/>
                <a:gd name="T5" fmla="*/ 70 h 456"/>
                <a:gd name="T6" fmla="*/ 588 w 814"/>
                <a:gd name="T7" fmla="*/ 122 h 456"/>
                <a:gd name="T8" fmla="*/ 596 w 814"/>
                <a:gd name="T9" fmla="*/ 144 h 456"/>
                <a:gd name="T10" fmla="*/ 642 w 814"/>
                <a:gd name="T11" fmla="*/ 108 h 456"/>
                <a:gd name="T12" fmla="*/ 680 w 814"/>
                <a:gd name="T13" fmla="*/ 104 h 456"/>
                <a:gd name="T14" fmla="*/ 702 w 814"/>
                <a:gd name="T15" fmla="*/ 74 h 456"/>
                <a:gd name="T16" fmla="*/ 762 w 814"/>
                <a:gd name="T17" fmla="*/ 68 h 456"/>
                <a:gd name="T18" fmla="*/ 786 w 814"/>
                <a:gd name="T19" fmla="*/ 26 h 456"/>
                <a:gd name="T20" fmla="*/ 802 w 814"/>
                <a:gd name="T21" fmla="*/ 62 h 456"/>
                <a:gd name="T22" fmla="*/ 802 w 814"/>
                <a:gd name="T23" fmla="*/ 86 h 456"/>
                <a:gd name="T24" fmla="*/ 780 w 814"/>
                <a:gd name="T25" fmla="*/ 94 h 456"/>
                <a:gd name="T26" fmla="*/ 766 w 814"/>
                <a:gd name="T27" fmla="*/ 102 h 456"/>
                <a:gd name="T28" fmla="*/ 756 w 814"/>
                <a:gd name="T29" fmla="*/ 128 h 456"/>
                <a:gd name="T30" fmla="*/ 746 w 814"/>
                <a:gd name="T31" fmla="*/ 144 h 456"/>
                <a:gd name="T32" fmla="*/ 716 w 814"/>
                <a:gd name="T33" fmla="*/ 164 h 456"/>
                <a:gd name="T34" fmla="*/ 692 w 814"/>
                <a:gd name="T35" fmla="*/ 184 h 456"/>
                <a:gd name="T36" fmla="*/ 672 w 814"/>
                <a:gd name="T37" fmla="*/ 214 h 456"/>
                <a:gd name="T38" fmla="*/ 676 w 814"/>
                <a:gd name="T39" fmla="*/ 234 h 456"/>
                <a:gd name="T40" fmla="*/ 662 w 814"/>
                <a:gd name="T41" fmla="*/ 264 h 456"/>
                <a:gd name="T42" fmla="*/ 646 w 814"/>
                <a:gd name="T43" fmla="*/ 272 h 456"/>
                <a:gd name="T44" fmla="*/ 620 w 814"/>
                <a:gd name="T45" fmla="*/ 288 h 456"/>
                <a:gd name="T46" fmla="*/ 602 w 814"/>
                <a:gd name="T47" fmla="*/ 308 h 456"/>
                <a:gd name="T48" fmla="*/ 586 w 814"/>
                <a:gd name="T49" fmla="*/ 362 h 456"/>
                <a:gd name="T50" fmla="*/ 594 w 814"/>
                <a:gd name="T51" fmla="*/ 396 h 456"/>
                <a:gd name="T52" fmla="*/ 602 w 814"/>
                <a:gd name="T53" fmla="*/ 452 h 456"/>
                <a:gd name="T54" fmla="*/ 576 w 814"/>
                <a:gd name="T55" fmla="*/ 438 h 456"/>
                <a:gd name="T56" fmla="*/ 564 w 814"/>
                <a:gd name="T57" fmla="*/ 380 h 456"/>
                <a:gd name="T58" fmla="*/ 538 w 814"/>
                <a:gd name="T59" fmla="*/ 350 h 456"/>
                <a:gd name="T60" fmla="*/ 500 w 814"/>
                <a:gd name="T61" fmla="*/ 346 h 456"/>
                <a:gd name="T62" fmla="*/ 466 w 814"/>
                <a:gd name="T63" fmla="*/ 362 h 456"/>
                <a:gd name="T64" fmla="*/ 446 w 814"/>
                <a:gd name="T65" fmla="*/ 372 h 456"/>
                <a:gd name="T66" fmla="*/ 434 w 814"/>
                <a:gd name="T67" fmla="*/ 348 h 456"/>
                <a:gd name="T68" fmla="*/ 420 w 814"/>
                <a:gd name="T69" fmla="*/ 368 h 456"/>
                <a:gd name="T70" fmla="*/ 400 w 814"/>
                <a:gd name="T71" fmla="*/ 354 h 456"/>
                <a:gd name="T72" fmla="*/ 360 w 814"/>
                <a:gd name="T73" fmla="*/ 396 h 456"/>
                <a:gd name="T74" fmla="*/ 328 w 814"/>
                <a:gd name="T75" fmla="*/ 424 h 456"/>
                <a:gd name="T76" fmla="*/ 316 w 814"/>
                <a:gd name="T77" fmla="*/ 400 h 456"/>
                <a:gd name="T78" fmla="*/ 298 w 814"/>
                <a:gd name="T79" fmla="*/ 366 h 456"/>
                <a:gd name="T80" fmla="*/ 278 w 814"/>
                <a:gd name="T81" fmla="*/ 368 h 456"/>
                <a:gd name="T82" fmla="*/ 258 w 814"/>
                <a:gd name="T83" fmla="*/ 364 h 456"/>
                <a:gd name="T84" fmla="*/ 244 w 814"/>
                <a:gd name="T85" fmla="*/ 342 h 456"/>
                <a:gd name="T86" fmla="*/ 230 w 814"/>
                <a:gd name="T87" fmla="*/ 328 h 456"/>
                <a:gd name="T88" fmla="*/ 216 w 814"/>
                <a:gd name="T89" fmla="*/ 322 h 456"/>
                <a:gd name="T90" fmla="*/ 198 w 814"/>
                <a:gd name="T91" fmla="*/ 334 h 456"/>
                <a:gd name="T92" fmla="*/ 146 w 814"/>
                <a:gd name="T93" fmla="*/ 336 h 456"/>
                <a:gd name="T94" fmla="*/ 112 w 814"/>
                <a:gd name="T95" fmla="*/ 310 h 456"/>
                <a:gd name="T96" fmla="*/ 80 w 814"/>
                <a:gd name="T97" fmla="*/ 292 h 456"/>
                <a:gd name="T98" fmla="*/ 46 w 814"/>
                <a:gd name="T99" fmla="*/ 274 h 456"/>
                <a:gd name="T100" fmla="*/ 36 w 814"/>
                <a:gd name="T101" fmla="*/ 248 h 456"/>
                <a:gd name="T102" fmla="*/ 22 w 814"/>
                <a:gd name="T103" fmla="*/ 230 h 456"/>
                <a:gd name="T104" fmla="*/ 4 w 814"/>
                <a:gd name="T105" fmla="*/ 196 h 456"/>
                <a:gd name="T106" fmla="*/ 4 w 814"/>
                <a:gd name="T107" fmla="*/ 150 h 456"/>
                <a:gd name="T108" fmla="*/ 4 w 814"/>
                <a:gd name="T109" fmla="*/ 130 h 456"/>
                <a:gd name="T110" fmla="*/ 16 w 814"/>
                <a:gd name="T111" fmla="*/ 102 h 456"/>
                <a:gd name="T112" fmla="*/ 26 w 814"/>
                <a:gd name="T113" fmla="*/ 68 h 456"/>
                <a:gd name="T114" fmla="*/ 38 w 814"/>
                <a:gd name="T115" fmla="*/ 38 h 456"/>
                <a:gd name="T116" fmla="*/ 28 w 814"/>
                <a:gd name="T117" fmla="*/ 14 h 456"/>
                <a:gd name="T118" fmla="*/ 54 w 814"/>
                <a:gd name="T119" fmla="*/ 3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4" h="456">
                  <a:moveTo>
                    <a:pt x="58" y="2"/>
                  </a:moveTo>
                  <a:lnTo>
                    <a:pt x="442" y="0"/>
                  </a:lnTo>
                  <a:lnTo>
                    <a:pt x="440" y="2"/>
                  </a:lnTo>
                  <a:lnTo>
                    <a:pt x="440" y="4"/>
                  </a:lnTo>
                  <a:lnTo>
                    <a:pt x="440" y="6"/>
                  </a:lnTo>
                  <a:lnTo>
                    <a:pt x="440" y="8"/>
                  </a:lnTo>
                  <a:lnTo>
                    <a:pt x="440" y="10"/>
                  </a:lnTo>
                  <a:lnTo>
                    <a:pt x="440" y="10"/>
                  </a:lnTo>
                  <a:lnTo>
                    <a:pt x="440" y="10"/>
                  </a:lnTo>
                  <a:lnTo>
                    <a:pt x="440" y="10"/>
                  </a:lnTo>
                  <a:lnTo>
                    <a:pt x="442" y="12"/>
                  </a:lnTo>
                  <a:lnTo>
                    <a:pt x="444" y="12"/>
                  </a:lnTo>
                  <a:lnTo>
                    <a:pt x="444" y="12"/>
                  </a:lnTo>
                  <a:lnTo>
                    <a:pt x="446" y="12"/>
                  </a:lnTo>
                  <a:lnTo>
                    <a:pt x="448" y="12"/>
                  </a:lnTo>
                  <a:lnTo>
                    <a:pt x="452" y="12"/>
                  </a:lnTo>
                  <a:lnTo>
                    <a:pt x="456" y="12"/>
                  </a:lnTo>
                  <a:lnTo>
                    <a:pt x="460" y="10"/>
                  </a:lnTo>
                  <a:lnTo>
                    <a:pt x="464" y="10"/>
                  </a:lnTo>
                  <a:lnTo>
                    <a:pt x="464" y="10"/>
                  </a:lnTo>
                  <a:lnTo>
                    <a:pt x="466" y="10"/>
                  </a:lnTo>
                  <a:lnTo>
                    <a:pt x="470" y="10"/>
                  </a:lnTo>
                  <a:lnTo>
                    <a:pt x="476" y="10"/>
                  </a:lnTo>
                  <a:lnTo>
                    <a:pt x="486" y="12"/>
                  </a:lnTo>
                  <a:lnTo>
                    <a:pt x="498" y="14"/>
                  </a:lnTo>
                  <a:lnTo>
                    <a:pt x="502" y="14"/>
                  </a:lnTo>
                  <a:lnTo>
                    <a:pt x="506" y="14"/>
                  </a:lnTo>
                  <a:lnTo>
                    <a:pt x="508" y="14"/>
                  </a:lnTo>
                  <a:lnTo>
                    <a:pt x="512" y="14"/>
                  </a:lnTo>
                  <a:lnTo>
                    <a:pt x="520" y="14"/>
                  </a:lnTo>
                  <a:lnTo>
                    <a:pt x="522" y="12"/>
                  </a:lnTo>
                  <a:lnTo>
                    <a:pt x="526" y="12"/>
                  </a:lnTo>
                  <a:lnTo>
                    <a:pt x="530" y="14"/>
                  </a:lnTo>
                  <a:lnTo>
                    <a:pt x="530" y="14"/>
                  </a:lnTo>
                  <a:lnTo>
                    <a:pt x="532" y="14"/>
                  </a:lnTo>
                  <a:lnTo>
                    <a:pt x="532" y="14"/>
                  </a:lnTo>
                  <a:lnTo>
                    <a:pt x="534" y="14"/>
                  </a:lnTo>
                  <a:lnTo>
                    <a:pt x="536" y="16"/>
                  </a:lnTo>
                  <a:lnTo>
                    <a:pt x="540" y="18"/>
                  </a:lnTo>
                  <a:lnTo>
                    <a:pt x="542" y="20"/>
                  </a:lnTo>
                  <a:lnTo>
                    <a:pt x="548" y="26"/>
                  </a:lnTo>
                  <a:lnTo>
                    <a:pt x="550" y="28"/>
                  </a:lnTo>
                  <a:lnTo>
                    <a:pt x="552" y="28"/>
                  </a:lnTo>
                  <a:lnTo>
                    <a:pt x="554" y="30"/>
                  </a:lnTo>
                  <a:lnTo>
                    <a:pt x="558" y="32"/>
                  </a:lnTo>
                  <a:lnTo>
                    <a:pt x="564" y="34"/>
                  </a:lnTo>
                  <a:lnTo>
                    <a:pt x="568" y="36"/>
                  </a:lnTo>
                  <a:lnTo>
                    <a:pt x="570" y="38"/>
                  </a:lnTo>
                  <a:lnTo>
                    <a:pt x="574" y="40"/>
                  </a:lnTo>
                  <a:lnTo>
                    <a:pt x="574" y="40"/>
                  </a:lnTo>
                  <a:lnTo>
                    <a:pt x="576" y="42"/>
                  </a:lnTo>
                  <a:lnTo>
                    <a:pt x="576" y="42"/>
                  </a:lnTo>
                  <a:lnTo>
                    <a:pt x="578" y="44"/>
                  </a:lnTo>
                  <a:lnTo>
                    <a:pt x="578" y="46"/>
                  </a:lnTo>
                  <a:lnTo>
                    <a:pt x="580" y="48"/>
                  </a:lnTo>
                  <a:lnTo>
                    <a:pt x="582" y="52"/>
                  </a:lnTo>
                  <a:lnTo>
                    <a:pt x="584" y="56"/>
                  </a:lnTo>
                  <a:lnTo>
                    <a:pt x="588" y="64"/>
                  </a:lnTo>
                  <a:lnTo>
                    <a:pt x="590" y="68"/>
                  </a:lnTo>
                  <a:lnTo>
                    <a:pt x="590" y="70"/>
                  </a:lnTo>
                  <a:lnTo>
                    <a:pt x="592" y="74"/>
                  </a:lnTo>
                  <a:lnTo>
                    <a:pt x="594" y="78"/>
                  </a:lnTo>
                  <a:lnTo>
                    <a:pt x="596" y="80"/>
                  </a:lnTo>
                  <a:lnTo>
                    <a:pt x="600" y="84"/>
                  </a:lnTo>
                  <a:lnTo>
                    <a:pt x="602" y="88"/>
                  </a:lnTo>
                  <a:lnTo>
                    <a:pt x="602" y="90"/>
                  </a:lnTo>
                  <a:lnTo>
                    <a:pt x="604" y="92"/>
                  </a:lnTo>
                  <a:lnTo>
                    <a:pt x="604" y="94"/>
                  </a:lnTo>
                  <a:lnTo>
                    <a:pt x="604" y="96"/>
                  </a:lnTo>
                  <a:lnTo>
                    <a:pt x="604" y="98"/>
                  </a:lnTo>
                  <a:lnTo>
                    <a:pt x="604" y="100"/>
                  </a:lnTo>
                  <a:lnTo>
                    <a:pt x="604" y="100"/>
                  </a:lnTo>
                  <a:lnTo>
                    <a:pt x="604" y="102"/>
                  </a:lnTo>
                  <a:lnTo>
                    <a:pt x="604" y="104"/>
                  </a:lnTo>
                  <a:lnTo>
                    <a:pt x="602" y="106"/>
                  </a:lnTo>
                  <a:lnTo>
                    <a:pt x="602" y="108"/>
                  </a:lnTo>
                  <a:lnTo>
                    <a:pt x="600" y="110"/>
                  </a:lnTo>
                  <a:lnTo>
                    <a:pt x="598" y="112"/>
                  </a:lnTo>
                  <a:lnTo>
                    <a:pt x="592" y="120"/>
                  </a:lnTo>
                  <a:lnTo>
                    <a:pt x="588" y="122"/>
                  </a:lnTo>
                  <a:lnTo>
                    <a:pt x="588" y="124"/>
                  </a:lnTo>
                  <a:lnTo>
                    <a:pt x="586" y="126"/>
                  </a:lnTo>
                  <a:lnTo>
                    <a:pt x="584" y="128"/>
                  </a:lnTo>
                  <a:lnTo>
                    <a:pt x="582" y="130"/>
                  </a:lnTo>
                  <a:lnTo>
                    <a:pt x="580" y="132"/>
                  </a:lnTo>
                  <a:lnTo>
                    <a:pt x="580" y="134"/>
                  </a:lnTo>
                  <a:lnTo>
                    <a:pt x="580" y="134"/>
                  </a:lnTo>
                  <a:lnTo>
                    <a:pt x="580" y="134"/>
                  </a:lnTo>
                  <a:lnTo>
                    <a:pt x="580" y="136"/>
                  </a:lnTo>
                  <a:lnTo>
                    <a:pt x="580" y="136"/>
                  </a:lnTo>
                  <a:lnTo>
                    <a:pt x="580" y="138"/>
                  </a:lnTo>
                  <a:lnTo>
                    <a:pt x="580" y="138"/>
                  </a:lnTo>
                  <a:lnTo>
                    <a:pt x="582" y="138"/>
                  </a:lnTo>
                  <a:lnTo>
                    <a:pt x="582" y="140"/>
                  </a:lnTo>
                  <a:lnTo>
                    <a:pt x="584" y="140"/>
                  </a:lnTo>
                  <a:lnTo>
                    <a:pt x="586" y="142"/>
                  </a:lnTo>
                  <a:lnTo>
                    <a:pt x="588" y="142"/>
                  </a:lnTo>
                  <a:lnTo>
                    <a:pt x="588" y="142"/>
                  </a:lnTo>
                  <a:lnTo>
                    <a:pt x="592" y="144"/>
                  </a:lnTo>
                  <a:lnTo>
                    <a:pt x="596" y="144"/>
                  </a:lnTo>
                  <a:lnTo>
                    <a:pt x="598" y="144"/>
                  </a:lnTo>
                  <a:lnTo>
                    <a:pt x="600" y="144"/>
                  </a:lnTo>
                  <a:lnTo>
                    <a:pt x="600" y="144"/>
                  </a:lnTo>
                  <a:lnTo>
                    <a:pt x="602" y="144"/>
                  </a:lnTo>
                  <a:lnTo>
                    <a:pt x="604" y="144"/>
                  </a:lnTo>
                  <a:lnTo>
                    <a:pt x="606" y="142"/>
                  </a:lnTo>
                  <a:lnTo>
                    <a:pt x="610" y="140"/>
                  </a:lnTo>
                  <a:lnTo>
                    <a:pt x="612" y="140"/>
                  </a:lnTo>
                  <a:lnTo>
                    <a:pt x="614" y="138"/>
                  </a:lnTo>
                  <a:lnTo>
                    <a:pt x="618" y="132"/>
                  </a:lnTo>
                  <a:lnTo>
                    <a:pt x="622" y="128"/>
                  </a:lnTo>
                  <a:lnTo>
                    <a:pt x="626" y="124"/>
                  </a:lnTo>
                  <a:lnTo>
                    <a:pt x="630" y="120"/>
                  </a:lnTo>
                  <a:lnTo>
                    <a:pt x="630" y="118"/>
                  </a:lnTo>
                  <a:lnTo>
                    <a:pt x="632" y="118"/>
                  </a:lnTo>
                  <a:lnTo>
                    <a:pt x="634" y="116"/>
                  </a:lnTo>
                  <a:lnTo>
                    <a:pt x="634" y="114"/>
                  </a:lnTo>
                  <a:lnTo>
                    <a:pt x="638" y="110"/>
                  </a:lnTo>
                  <a:lnTo>
                    <a:pt x="640" y="110"/>
                  </a:lnTo>
                  <a:lnTo>
                    <a:pt x="642" y="108"/>
                  </a:lnTo>
                  <a:lnTo>
                    <a:pt x="644" y="106"/>
                  </a:lnTo>
                  <a:lnTo>
                    <a:pt x="644" y="106"/>
                  </a:lnTo>
                  <a:lnTo>
                    <a:pt x="644" y="106"/>
                  </a:lnTo>
                  <a:lnTo>
                    <a:pt x="646" y="106"/>
                  </a:lnTo>
                  <a:lnTo>
                    <a:pt x="648" y="106"/>
                  </a:lnTo>
                  <a:lnTo>
                    <a:pt x="650" y="106"/>
                  </a:lnTo>
                  <a:lnTo>
                    <a:pt x="652" y="106"/>
                  </a:lnTo>
                  <a:lnTo>
                    <a:pt x="656" y="106"/>
                  </a:lnTo>
                  <a:lnTo>
                    <a:pt x="662" y="108"/>
                  </a:lnTo>
                  <a:lnTo>
                    <a:pt x="666" y="108"/>
                  </a:lnTo>
                  <a:lnTo>
                    <a:pt x="668" y="108"/>
                  </a:lnTo>
                  <a:lnTo>
                    <a:pt x="670" y="108"/>
                  </a:lnTo>
                  <a:lnTo>
                    <a:pt x="672" y="108"/>
                  </a:lnTo>
                  <a:lnTo>
                    <a:pt x="674" y="108"/>
                  </a:lnTo>
                  <a:lnTo>
                    <a:pt x="676" y="108"/>
                  </a:lnTo>
                  <a:lnTo>
                    <a:pt x="676" y="108"/>
                  </a:lnTo>
                  <a:lnTo>
                    <a:pt x="678" y="106"/>
                  </a:lnTo>
                  <a:lnTo>
                    <a:pt x="678" y="106"/>
                  </a:lnTo>
                  <a:lnTo>
                    <a:pt x="678" y="106"/>
                  </a:lnTo>
                  <a:lnTo>
                    <a:pt x="680" y="104"/>
                  </a:lnTo>
                  <a:lnTo>
                    <a:pt x="680" y="102"/>
                  </a:lnTo>
                  <a:lnTo>
                    <a:pt x="680" y="100"/>
                  </a:lnTo>
                  <a:lnTo>
                    <a:pt x="682" y="96"/>
                  </a:lnTo>
                  <a:lnTo>
                    <a:pt x="682" y="94"/>
                  </a:lnTo>
                  <a:lnTo>
                    <a:pt x="682" y="90"/>
                  </a:lnTo>
                  <a:lnTo>
                    <a:pt x="682" y="88"/>
                  </a:lnTo>
                  <a:lnTo>
                    <a:pt x="684" y="86"/>
                  </a:lnTo>
                  <a:lnTo>
                    <a:pt x="684" y="86"/>
                  </a:lnTo>
                  <a:lnTo>
                    <a:pt x="684" y="84"/>
                  </a:lnTo>
                  <a:lnTo>
                    <a:pt x="686" y="82"/>
                  </a:lnTo>
                  <a:lnTo>
                    <a:pt x="688" y="80"/>
                  </a:lnTo>
                  <a:lnTo>
                    <a:pt x="688" y="80"/>
                  </a:lnTo>
                  <a:lnTo>
                    <a:pt x="690" y="78"/>
                  </a:lnTo>
                  <a:lnTo>
                    <a:pt x="692" y="76"/>
                  </a:lnTo>
                  <a:lnTo>
                    <a:pt x="694" y="76"/>
                  </a:lnTo>
                  <a:lnTo>
                    <a:pt x="696" y="74"/>
                  </a:lnTo>
                  <a:lnTo>
                    <a:pt x="696" y="74"/>
                  </a:lnTo>
                  <a:lnTo>
                    <a:pt x="698" y="74"/>
                  </a:lnTo>
                  <a:lnTo>
                    <a:pt x="700" y="74"/>
                  </a:lnTo>
                  <a:lnTo>
                    <a:pt x="702" y="74"/>
                  </a:lnTo>
                  <a:lnTo>
                    <a:pt x="704" y="74"/>
                  </a:lnTo>
                  <a:lnTo>
                    <a:pt x="708" y="74"/>
                  </a:lnTo>
                  <a:lnTo>
                    <a:pt x="712" y="74"/>
                  </a:lnTo>
                  <a:lnTo>
                    <a:pt x="716" y="74"/>
                  </a:lnTo>
                  <a:lnTo>
                    <a:pt x="724" y="76"/>
                  </a:lnTo>
                  <a:lnTo>
                    <a:pt x="734" y="78"/>
                  </a:lnTo>
                  <a:lnTo>
                    <a:pt x="738" y="78"/>
                  </a:lnTo>
                  <a:lnTo>
                    <a:pt x="742" y="80"/>
                  </a:lnTo>
                  <a:lnTo>
                    <a:pt x="746" y="80"/>
                  </a:lnTo>
                  <a:lnTo>
                    <a:pt x="748" y="80"/>
                  </a:lnTo>
                  <a:lnTo>
                    <a:pt x="750" y="80"/>
                  </a:lnTo>
                  <a:lnTo>
                    <a:pt x="752" y="78"/>
                  </a:lnTo>
                  <a:lnTo>
                    <a:pt x="754" y="78"/>
                  </a:lnTo>
                  <a:lnTo>
                    <a:pt x="754" y="78"/>
                  </a:lnTo>
                  <a:lnTo>
                    <a:pt x="754" y="78"/>
                  </a:lnTo>
                  <a:lnTo>
                    <a:pt x="756" y="78"/>
                  </a:lnTo>
                  <a:lnTo>
                    <a:pt x="758" y="76"/>
                  </a:lnTo>
                  <a:lnTo>
                    <a:pt x="758" y="74"/>
                  </a:lnTo>
                  <a:lnTo>
                    <a:pt x="760" y="72"/>
                  </a:lnTo>
                  <a:lnTo>
                    <a:pt x="762" y="68"/>
                  </a:lnTo>
                  <a:lnTo>
                    <a:pt x="764" y="64"/>
                  </a:lnTo>
                  <a:lnTo>
                    <a:pt x="766" y="62"/>
                  </a:lnTo>
                  <a:lnTo>
                    <a:pt x="768" y="58"/>
                  </a:lnTo>
                  <a:lnTo>
                    <a:pt x="770" y="54"/>
                  </a:lnTo>
                  <a:lnTo>
                    <a:pt x="772" y="50"/>
                  </a:lnTo>
                  <a:lnTo>
                    <a:pt x="772" y="50"/>
                  </a:lnTo>
                  <a:lnTo>
                    <a:pt x="772" y="48"/>
                  </a:lnTo>
                  <a:lnTo>
                    <a:pt x="774" y="44"/>
                  </a:lnTo>
                  <a:lnTo>
                    <a:pt x="776" y="38"/>
                  </a:lnTo>
                  <a:lnTo>
                    <a:pt x="776" y="34"/>
                  </a:lnTo>
                  <a:lnTo>
                    <a:pt x="776" y="32"/>
                  </a:lnTo>
                  <a:lnTo>
                    <a:pt x="778" y="30"/>
                  </a:lnTo>
                  <a:lnTo>
                    <a:pt x="778" y="30"/>
                  </a:lnTo>
                  <a:lnTo>
                    <a:pt x="778" y="28"/>
                  </a:lnTo>
                  <a:lnTo>
                    <a:pt x="780" y="28"/>
                  </a:lnTo>
                  <a:lnTo>
                    <a:pt x="780" y="26"/>
                  </a:lnTo>
                  <a:lnTo>
                    <a:pt x="782" y="26"/>
                  </a:lnTo>
                  <a:lnTo>
                    <a:pt x="782" y="26"/>
                  </a:lnTo>
                  <a:lnTo>
                    <a:pt x="784" y="26"/>
                  </a:lnTo>
                  <a:lnTo>
                    <a:pt x="786" y="26"/>
                  </a:lnTo>
                  <a:lnTo>
                    <a:pt x="788" y="26"/>
                  </a:lnTo>
                  <a:lnTo>
                    <a:pt x="792" y="26"/>
                  </a:lnTo>
                  <a:lnTo>
                    <a:pt x="794" y="26"/>
                  </a:lnTo>
                  <a:lnTo>
                    <a:pt x="796" y="28"/>
                  </a:lnTo>
                  <a:lnTo>
                    <a:pt x="798" y="28"/>
                  </a:lnTo>
                  <a:lnTo>
                    <a:pt x="800" y="28"/>
                  </a:lnTo>
                  <a:lnTo>
                    <a:pt x="800" y="30"/>
                  </a:lnTo>
                  <a:lnTo>
                    <a:pt x="800" y="30"/>
                  </a:lnTo>
                  <a:lnTo>
                    <a:pt x="802" y="30"/>
                  </a:lnTo>
                  <a:lnTo>
                    <a:pt x="802" y="32"/>
                  </a:lnTo>
                  <a:lnTo>
                    <a:pt x="802" y="32"/>
                  </a:lnTo>
                  <a:lnTo>
                    <a:pt x="802" y="34"/>
                  </a:lnTo>
                  <a:lnTo>
                    <a:pt x="804" y="36"/>
                  </a:lnTo>
                  <a:lnTo>
                    <a:pt x="804" y="38"/>
                  </a:lnTo>
                  <a:lnTo>
                    <a:pt x="804" y="42"/>
                  </a:lnTo>
                  <a:lnTo>
                    <a:pt x="804" y="44"/>
                  </a:lnTo>
                  <a:lnTo>
                    <a:pt x="802" y="50"/>
                  </a:lnTo>
                  <a:lnTo>
                    <a:pt x="802" y="56"/>
                  </a:lnTo>
                  <a:lnTo>
                    <a:pt x="802" y="58"/>
                  </a:lnTo>
                  <a:lnTo>
                    <a:pt x="802" y="62"/>
                  </a:lnTo>
                  <a:lnTo>
                    <a:pt x="802" y="64"/>
                  </a:lnTo>
                  <a:lnTo>
                    <a:pt x="802" y="66"/>
                  </a:lnTo>
                  <a:lnTo>
                    <a:pt x="802" y="68"/>
                  </a:lnTo>
                  <a:lnTo>
                    <a:pt x="802" y="70"/>
                  </a:lnTo>
                  <a:lnTo>
                    <a:pt x="804" y="70"/>
                  </a:lnTo>
                  <a:lnTo>
                    <a:pt x="804" y="72"/>
                  </a:lnTo>
                  <a:lnTo>
                    <a:pt x="804" y="72"/>
                  </a:lnTo>
                  <a:lnTo>
                    <a:pt x="806" y="72"/>
                  </a:lnTo>
                  <a:lnTo>
                    <a:pt x="808" y="74"/>
                  </a:lnTo>
                  <a:lnTo>
                    <a:pt x="808" y="74"/>
                  </a:lnTo>
                  <a:lnTo>
                    <a:pt x="812" y="76"/>
                  </a:lnTo>
                  <a:lnTo>
                    <a:pt x="814" y="76"/>
                  </a:lnTo>
                  <a:lnTo>
                    <a:pt x="812" y="78"/>
                  </a:lnTo>
                  <a:lnTo>
                    <a:pt x="810" y="80"/>
                  </a:lnTo>
                  <a:lnTo>
                    <a:pt x="808" y="82"/>
                  </a:lnTo>
                  <a:lnTo>
                    <a:pt x="808" y="84"/>
                  </a:lnTo>
                  <a:lnTo>
                    <a:pt x="806" y="84"/>
                  </a:lnTo>
                  <a:lnTo>
                    <a:pt x="804" y="86"/>
                  </a:lnTo>
                  <a:lnTo>
                    <a:pt x="804" y="86"/>
                  </a:lnTo>
                  <a:lnTo>
                    <a:pt x="802" y="86"/>
                  </a:lnTo>
                  <a:lnTo>
                    <a:pt x="800" y="86"/>
                  </a:lnTo>
                  <a:lnTo>
                    <a:pt x="798" y="86"/>
                  </a:lnTo>
                  <a:lnTo>
                    <a:pt x="796" y="86"/>
                  </a:lnTo>
                  <a:lnTo>
                    <a:pt x="794" y="86"/>
                  </a:lnTo>
                  <a:lnTo>
                    <a:pt x="794" y="86"/>
                  </a:lnTo>
                  <a:lnTo>
                    <a:pt x="792" y="86"/>
                  </a:lnTo>
                  <a:lnTo>
                    <a:pt x="792" y="86"/>
                  </a:lnTo>
                  <a:lnTo>
                    <a:pt x="792" y="88"/>
                  </a:lnTo>
                  <a:lnTo>
                    <a:pt x="790" y="88"/>
                  </a:lnTo>
                  <a:lnTo>
                    <a:pt x="788" y="92"/>
                  </a:lnTo>
                  <a:lnTo>
                    <a:pt x="788" y="92"/>
                  </a:lnTo>
                  <a:lnTo>
                    <a:pt x="788" y="94"/>
                  </a:lnTo>
                  <a:lnTo>
                    <a:pt x="786" y="96"/>
                  </a:lnTo>
                  <a:lnTo>
                    <a:pt x="786" y="96"/>
                  </a:lnTo>
                  <a:lnTo>
                    <a:pt x="786" y="96"/>
                  </a:lnTo>
                  <a:lnTo>
                    <a:pt x="786" y="96"/>
                  </a:lnTo>
                  <a:lnTo>
                    <a:pt x="784" y="96"/>
                  </a:lnTo>
                  <a:lnTo>
                    <a:pt x="784" y="96"/>
                  </a:lnTo>
                  <a:lnTo>
                    <a:pt x="782" y="96"/>
                  </a:lnTo>
                  <a:lnTo>
                    <a:pt x="780" y="94"/>
                  </a:lnTo>
                  <a:lnTo>
                    <a:pt x="780" y="94"/>
                  </a:lnTo>
                  <a:lnTo>
                    <a:pt x="778" y="94"/>
                  </a:lnTo>
                  <a:lnTo>
                    <a:pt x="776" y="94"/>
                  </a:lnTo>
                  <a:lnTo>
                    <a:pt x="776" y="94"/>
                  </a:lnTo>
                  <a:lnTo>
                    <a:pt x="776" y="94"/>
                  </a:lnTo>
                  <a:lnTo>
                    <a:pt x="776" y="94"/>
                  </a:lnTo>
                  <a:lnTo>
                    <a:pt x="776" y="96"/>
                  </a:lnTo>
                  <a:lnTo>
                    <a:pt x="774" y="96"/>
                  </a:lnTo>
                  <a:lnTo>
                    <a:pt x="774" y="96"/>
                  </a:lnTo>
                  <a:lnTo>
                    <a:pt x="774" y="98"/>
                  </a:lnTo>
                  <a:lnTo>
                    <a:pt x="774" y="100"/>
                  </a:lnTo>
                  <a:lnTo>
                    <a:pt x="774" y="102"/>
                  </a:lnTo>
                  <a:lnTo>
                    <a:pt x="774" y="102"/>
                  </a:lnTo>
                  <a:lnTo>
                    <a:pt x="774" y="102"/>
                  </a:lnTo>
                  <a:lnTo>
                    <a:pt x="772" y="102"/>
                  </a:lnTo>
                  <a:lnTo>
                    <a:pt x="772" y="102"/>
                  </a:lnTo>
                  <a:lnTo>
                    <a:pt x="770" y="102"/>
                  </a:lnTo>
                  <a:lnTo>
                    <a:pt x="770" y="102"/>
                  </a:lnTo>
                  <a:lnTo>
                    <a:pt x="768" y="102"/>
                  </a:lnTo>
                  <a:lnTo>
                    <a:pt x="766" y="102"/>
                  </a:lnTo>
                  <a:lnTo>
                    <a:pt x="764" y="102"/>
                  </a:lnTo>
                  <a:lnTo>
                    <a:pt x="762" y="102"/>
                  </a:lnTo>
                  <a:lnTo>
                    <a:pt x="762" y="102"/>
                  </a:lnTo>
                  <a:lnTo>
                    <a:pt x="762" y="102"/>
                  </a:lnTo>
                  <a:lnTo>
                    <a:pt x="762" y="102"/>
                  </a:lnTo>
                  <a:lnTo>
                    <a:pt x="760" y="102"/>
                  </a:lnTo>
                  <a:lnTo>
                    <a:pt x="760" y="104"/>
                  </a:lnTo>
                  <a:lnTo>
                    <a:pt x="760" y="106"/>
                  </a:lnTo>
                  <a:lnTo>
                    <a:pt x="758" y="108"/>
                  </a:lnTo>
                  <a:lnTo>
                    <a:pt x="758" y="112"/>
                  </a:lnTo>
                  <a:lnTo>
                    <a:pt x="756" y="114"/>
                  </a:lnTo>
                  <a:lnTo>
                    <a:pt x="756" y="118"/>
                  </a:lnTo>
                  <a:lnTo>
                    <a:pt x="754" y="120"/>
                  </a:lnTo>
                  <a:lnTo>
                    <a:pt x="754" y="122"/>
                  </a:lnTo>
                  <a:lnTo>
                    <a:pt x="754" y="124"/>
                  </a:lnTo>
                  <a:lnTo>
                    <a:pt x="754" y="124"/>
                  </a:lnTo>
                  <a:lnTo>
                    <a:pt x="754" y="126"/>
                  </a:lnTo>
                  <a:lnTo>
                    <a:pt x="754" y="126"/>
                  </a:lnTo>
                  <a:lnTo>
                    <a:pt x="754" y="128"/>
                  </a:lnTo>
                  <a:lnTo>
                    <a:pt x="756" y="128"/>
                  </a:lnTo>
                  <a:lnTo>
                    <a:pt x="758" y="130"/>
                  </a:lnTo>
                  <a:lnTo>
                    <a:pt x="760" y="130"/>
                  </a:lnTo>
                  <a:lnTo>
                    <a:pt x="762" y="132"/>
                  </a:lnTo>
                  <a:lnTo>
                    <a:pt x="764" y="134"/>
                  </a:lnTo>
                  <a:lnTo>
                    <a:pt x="764" y="134"/>
                  </a:lnTo>
                  <a:lnTo>
                    <a:pt x="764" y="134"/>
                  </a:lnTo>
                  <a:lnTo>
                    <a:pt x="764" y="136"/>
                  </a:lnTo>
                  <a:lnTo>
                    <a:pt x="764" y="136"/>
                  </a:lnTo>
                  <a:lnTo>
                    <a:pt x="764" y="136"/>
                  </a:lnTo>
                  <a:lnTo>
                    <a:pt x="764" y="138"/>
                  </a:lnTo>
                  <a:lnTo>
                    <a:pt x="764" y="138"/>
                  </a:lnTo>
                  <a:lnTo>
                    <a:pt x="762" y="138"/>
                  </a:lnTo>
                  <a:lnTo>
                    <a:pt x="762" y="140"/>
                  </a:lnTo>
                  <a:lnTo>
                    <a:pt x="760" y="140"/>
                  </a:lnTo>
                  <a:lnTo>
                    <a:pt x="758" y="142"/>
                  </a:lnTo>
                  <a:lnTo>
                    <a:pt x="756" y="142"/>
                  </a:lnTo>
                  <a:lnTo>
                    <a:pt x="752" y="144"/>
                  </a:lnTo>
                  <a:lnTo>
                    <a:pt x="750" y="144"/>
                  </a:lnTo>
                  <a:lnTo>
                    <a:pt x="750" y="144"/>
                  </a:lnTo>
                  <a:lnTo>
                    <a:pt x="746" y="144"/>
                  </a:lnTo>
                  <a:lnTo>
                    <a:pt x="742" y="144"/>
                  </a:lnTo>
                  <a:lnTo>
                    <a:pt x="738" y="144"/>
                  </a:lnTo>
                  <a:lnTo>
                    <a:pt x="734" y="144"/>
                  </a:lnTo>
                  <a:lnTo>
                    <a:pt x="730" y="144"/>
                  </a:lnTo>
                  <a:lnTo>
                    <a:pt x="730" y="144"/>
                  </a:lnTo>
                  <a:lnTo>
                    <a:pt x="728" y="144"/>
                  </a:lnTo>
                  <a:lnTo>
                    <a:pt x="726" y="146"/>
                  </a:lnTo>
                  <a:lnTo>
                    <a:pt x="726" y="146"/>
                  </a:lnTo>
                  <a:lnTo>
                    <a:pt x="724" y="146"/>
                  </a:lnTo>
                  <a:lnTo>
                    <a:pt x="724" y="146"/>
                  </a:lnTo>
                  <a:lnTo>
                    <a:pt x="724" y="148"/>
                  </a:lnTo>
                  <a:lnTo>
                    <a:pt x="724" y="150"/>
                  </a:lnTo>
                  <a:lnTo>
                    <a:pt x="722" y="152"/>
                  </a:lnTo>
                  <a:lnTo>
                    <a:pt x="722" y="154"/>
                  </a:lnTo>
                  <a:lnTo>
                    <a:pt x="720" y="156"/>
                  </a:lnTo>
                  <a:lnTo>
                    <a:pt x="720" y="158"/>
                  </a:lnTo>
                  <a:lnTo>
                    <a:pt x="720" y="160"/>
                  </a:lnTo>
                  <a:lnTo>
                    <a:pt x="718" y="162"/>
                  </a:lnTo>
                  <a:lnTo>
                    <a:pt x="716" y="164"/>
                  </a:lnTo>
                  <a:lnTo>
                    <a:pt x="716" y="164"/>
                  </a:lnTo>
                  <a:lnTo>
                    <a:pt x="716" y="164"/>
                  </a:lnTo>
                  <a:lnTo>
                    <a:pt x="714" y="166"/>
                  </a:lnTo>
                  <a:lnTo>
                    <a:pt x="714" y="166"/>
                  </a:lnTo>
                  <a:lnTo>
                    <a:pt x="712" y="166"/>
                  </a:lnTo>
                  <a:lnTo>
                    <a:pt x="710" y="166"/>
                  </a:lnTo>
                  <a:lnTo>
                    <a:pt x="708" y="166"/>
                  </a:lnTo>
                  <a:lnTo>
                    <a:pt x="706" y="166"/>
                  </a:lnTo>
                  <a:lnTo>
                    <a:pt x="704" y="166"/>
                  </a:lnTo>
                  <a:lnTo>
                    <a:pt x="702" y="166"/>
                  </a:lnTo>
                  <a:lnTo>
                    <a:pt x="700" y="168"/>
                  </a:lnTo>
                  <a:lnTo>
                    <a:pt x="700" y="168"/>
                  </a:lnTo>
                  <a:lnTo>
                    <a:pt x="700" y="168"/>
                  </a:lnTo>
                  <a:lnTo>
                    <a:pt x="698" y="170"/>
                  </a:lnTo>
                  <a:lnTo>
                    <a:pt x="696" y="170"/>
                  </a:lnTo>
                  <a:lnTo>
                    <a:pt x="696" y="172"/>
                  </a:lnTo>
                  <a:lnTo>
                    <a:pt x="694" y="176"/>
                  </a:lnTo>
                  <a:lnTo>
                    <a:pt x="692" y="178"/>
                  </a:lnTo>
                  <a:lnTo>
                    <a:pt x="692" y="178"/>
                  </a:lnTo>
                  <a:lnTo>
                    <a:pt x="692" y="180"/>
                  </a:lnTo>
                  <a:lnTo>
                    <a:pt x="692" y="184"/>
                  </a:lnTo>
                  <a:lnTo>
                    <a:pt x="692" y="186"/>
                  </a:lnTo>
                  <a:lnTo>
                    <a:pt x="692" y="190"/>
                  </a:lnTo>
                  <a:lnTo>
                    <a:pt x="692" y="194"/>
                  </a:lnTo>
                  <a:lnTo>
                    <a:pt x="690" y="198"/>
                  </a:lnTo>
                  <a:lnTo>
                    <a:pt x="690" y="198"/>
                  </a:lnTo>
                  <a:lnTo>
                    <a:pt x="690" y="200"/>
                  </a:lnTo>
                  <a:lnTo>
                    <a:pt x="690" y="202"/>
                  </a:lnTo>
                  <a:lnTo>
                    <a:pt x="688" y="202"/>
                  </a:lnTo>
                  <a:lnTo>
                    <a:pt x="688" y="204"/>
                  </a:lnTo>
                  <a:lnTo>
                    <a:pt x="688" y="204"/>
                  </a:lnTo>
                  <a:lnTo>
                    <a:pt x="688" y="204"/>
                  </a:lnTo>
                  <a:lnTo>
                    <a:pt x="686" y="204"/>
                  </a:lnTo>
                  <a:lnTo>
                    <a:pt x="684" y="204"/>
                  </a:lnTo>
                  <a:lnTo>
                    <a:pt x="682" y="206"/>
                  </a:lnTo>
                  <a:lnTo>
                    <a:pt x="680" y="206"/>
                  </a:lnTo>
                  <a:lnTo>
                    <a:pt x="678" y="206"/>
                  </a:lnTo>
                  <a:lnTo>
                    <a:pt x="678" y="208"/>
                  </a:lnTo>
                  <a:lnTo>
                    <a:pt x="678" y="208"/>
                  </a:lnTo>
                  <a:lnTo>
                    <a:pt x="676" y="210"/>
                  </a:lnTo>
                  <a:lnTo>
                    <a:pt x="672" y="214"/>
                  </a:lnTo>
                  <a:lnTo>
                    <a:pt x="670" y="216"/>
                  </a:lnTo>
                  <a:lnTo>
                    <a:pt x="668" y="218"/>
                  </a:lnTo>
                  <a:lnTo>
                    <a:pt x="668" y="220"/>
                  </a:lnTo>
                  <a:lnTo>
                    <a:pt x="666" y="220"/>
                  </a:lnTo>
                  <a:lnTo>
                    <a:pt x="666" y="222"/>
                  </a:lnTo>
                  <a:lnTo>
                    <a:pt x="666" y="222"/>
                  </a:lnTo>
                  <a:lnTo>
                    <a:pt x="666" y="222"/>
                  </a:lnTo>
                  <a:lnTo>
                    <a:pt x="666" y="224"/>
                  </a:lnTo>
                  <a:lnTo>
                    <a:pt x="666" y="224"/>
                  </a:lnTo>
                  <a:lnTo>
                    <a:pt x="668" y="224"/>
                  </a:lnTo>
                  <a:lnTo>
                    <a:pt x="668" y="226"/>
                  </a:lnTo>
                  <a:lnTo>
                    <a:pt x="670" y="226"/>
                  </a:lnTo>
                  <a:lnTo>
                    <a:pt x="672" y="226"/>
                  </a:lnTo>
                  <a:lnTo>
                    <a:pt x="674" y="228"/>
                  </a:lnTo>
                  <a:lnTo>
                    <a:pt x="674" y="228"/>
                  </a:lnTo>
                  <a:lnTo>
                    <a:pt x="674" y="228"/>
                  </a:lnTo>
                  <a:lnTo>
                    <a:pt x="674" y="230"/>
                  </a:lnTo>
                  <a:lnTo>
                    <a:pt x="674" y="230"/>
                  </a:lnTo>
                  <a:lnTo>
                    <a:pt x="676" y="232"/>
                  </a:lnTo>
                  <a:lnTo>
                    <a:pt x="676" y="234"/>
                  </a:lnTo>
                  <a:lnTo>
                    <a:pt x="676" y="236"/>
                  </a:lnTo>
                  <a:lnTo>
                    <a:pt x="676" y="238"/>
                  </a:lnTo>
                  <a:lnTo>
                    <a:pt x="676" y="244"/>
                  </a:lnTo>
                  <a:lnTo>
                    <a:pt x="676" y="248"/>
                  </a:lnTo>
                  <a:lnTo>
                    <a:pt x="676" y="250"/>
                  </a:lnTo>
                  <a:lnTo>
                    <a:pt x="674" y="252"/>
                  </a:lnTo>
                  <a:lnTo>
                    <a:pt x="674" y="254"/>
                  </a:lnTo>
                  <a:lnTo>
                    <a:pt x="674" y="256"/>
                  </a:lnTo>
                  <a:lnTo>
                    <a:pt x="674" y="256"/>
                  </a:lnTo>
                  <a:lnTo>
                    <a:pt x="672" y="258"/>
                  </a:lnTo>
                  <a:lnTo>
                    <a:pt x="672" y="258"/>
                  </a:lnTo>
                  <a:lnTo>
                    <a:pt x="672" y="258"/>
                  </a:lnTo>
                  <a:lnTo>
                    <a:pt x="670" y="260"/>
                  </a:lnTo>
                  <a:lnTo>
                    <a:pt x="670" y="260"/>
                  </a:lnTo>
                  <a:lnTo>
                    <a:pt x="668" y="260"/>
                  </a:lnTo>
                  <a:lnTo>
                    <a:pt x="666" y="262"/>
                  </a:lnTo>
                  <a:lnTo>
                    <a:pt x="664" y="262"/>
                  </a:lnTo>
                  <a:lnTo>
                    <a:pt x="664" y="262"/>
                  </a:lnTo>
                  <a:lnTo>
                    <a:pt x="662" y="262"/>
                  </a:lnTo>
                  <a:lnTo>
                    <a:pt x="662" y="264"/>
                  </a:lnTo>
                  <a:lnTo>
                    <a:pt x="662" y="264"/>
                  </a:lnTo>
                  <a:lnTo>
                    <a:pt x="662" y="264"/>
                  </a:lnTo>
                  <a:lnTo>
                    <a:pt x="662" y="266"/>
                  </a:lnTo>
                  <a:lnTo>
                    <a:pt x="662" y="268"/>
                  </a:lnTo>
                  <a:lnTo>
                    <a:pt x="662" y="270"/>
                  </a:lnTo>
                  <a:lnTo>
                    <a:pt x="662" y="270"/>
                  </a:lnTo>
                  <a:lnTo>
                    <a:pt x="660" y="272"/>
                  </a:lnTo>
                  <a:lnTo>
                    <a:pt x="660" y="274"/>
                  </a:lnTo>
                  <a:lnTo>
                    <a:pt x="660" y="274"/>
                  </a:lnTo>
                  <a:lnTo>
                    <a:pt x="660" y="274"/>
                  </a:lnTo>
                  <a:lnTo>
                    <a:pt x="660" y="274"/>
                  </a:lnTo>
                  <a:lnTo>
                    <a:pt x="658" y="276"/>
                  </a:lnTo>
                  <a:lnTo>
                    <a:pt x="658" y="276"/>
                  </a:lnTo>
                  <a:lnTo>
                    <a:pt x="656" y="276"/>
                  </a:lnTo>
                  <a:lnTo>
                    <a:pt x="654" y="274"/>
                  </a:lnTo>
                  <a:lnTo>
                    <a:pt x="652" y="274"/>
                  </a:lnTo>
                  <a:lnTo>
                    <a:pt x="650" y="274"/>
                  </a:lnTo>
                  <a:lnTo>
                    <a:pt x="648" y="274"/>
                  </a:lnTo>
                  <a:lnTo>
                    <a:pt x="646" y="272"/>
                  </a:lnTo>
                  <a:lnTo>
                    <a:pt x="646" y="272"/>
                  </a:lnTo>
                  <a:lnTo>
                    <a:pt x="644" y="274"/>
                  </a:lnTo>
                  <a:lnTo>
                    <a:pt x="644" y="274"/>
                  </a:lnTo>
                  <a:lnTo>
                    <a:pt x="644" y="274"/>
                  </a:lnTo>
                  <a:lnTo>
                    <a:pt x="642" y="274"/>
                  </a:lnTo>
                  <a:lnTo>
                    <a:pt x="642" y="276"/>
                  </a:lnTo>
                  <a:lnTo>
                    <a:pt x="640" y="276"/>
                  </a:lnTo>
                  <a:lnTo>
                    <a:pt x="640" y="278"/>
                  </a:lnTo>
                  <a:lnTo>
                    <a:pt x="638" y="282"/>
                  </a:lnTo>
                  <a:lnTo>
                    <a:pt x="638" y="282"/>
                  </a:lnTo>
                  <a:lnTo>
                    <a:pt x="636" y="284"/>
                  </a:lnTo>
                  <a:lnTo>
                    <a:pt x="636" y="284"/>
                  </a:lnTo>
                  <a:lnTo>
                    <a:pt x="634" y="284"/>
                  </a:lnTo>
                  <a:lnTo>
                    <a:pt x="632" y="284"/>
                  </a:lnTo>
                  <a:lnTo>
                    <a:pt x="630" y="286"/>
                  </a:lnTo>
                  <a:lnTo>
                    <a:pt x="628" y="286"/>
                  </a:lnTo>
                  <a:lnTo>
                    <a:pt x="626" y="286"/>
                  </a:lnTo>
                  <a:lnTo>
                    <a:pt x="624" y="286"/>
                  </a:lnTo>
                  <a:lnTo>
                    <a:pt x="622" y="288"/>
                  </a:lnTo>
                  <a:lnTo>
                    <a:pt x="622" y="288"/>
                  </a:lnTo>
                  <a:lnTo>
                    <a:pt x="620" y="288"/>
                  </a:lnTo>
                  <a:lnTo>
                    <a:pt x="620" y="290"/>
                  </a:lnTo>
                  <a:lnTo>
                    <a:pt x="620" y="290"/>
                  </a:lnTo>
                  <a:lnTo>
                    <a:pt x="620" y="292"/>
                  </a:lnTo>
                  <a:lnTo>
                    <a:pt x="618" y="294"/>
                  </a:lnTo>
                  <a:lnTo>
                    <a:pt x="618" y="296"/>
                  </a:lnTo>
                  <a:lnTo>
                    <a:pt x="618" y="298"/>
                  </a:lnTo>
                  <a:lnTo>
                    <a:pt x="618" y="300"/>
                  </a:lnTo>
                  <a:lnTo>
                    <a:pt x="616" y="302"/>
                  </a:lnTo>
                  <a:lnTo>
                    <a:pt x="616" y="302"/>
                  </a:lnTo>
                  <a:lnTo>
                    <a:pt x="616" y="302"/>
                  </a:lnTo>
                  <a:lnTo>
                    <a:pt x="616" y="302"/>
                  </a:lnTo>
                  <a:lnTo>
                    <a:pt x="614" y="302"/>
                  </a:lnTo>
                  <a:lnTo>
                    <a:pt x="614" y="304"/>
                  </a:lnTo>
                  <a:lnTo>
                    <a:pt x="612" y="304"/>
                  </a:lnTo>
                  <a:lnTo>
                    <a:pt x="610" y="304"/>
                  </a:lnTo>
                  <a:lnTo>
                    <a:pt x="608" y="304"/>
                  </a:lnTo>
                  <a:lnTo>
                    <a:pt x="606" y="304"/>
                  </a:lnTo>
                  <a:lnTo>
                    <a:pt x="604" y="304"/>
                  </a:lnTo>
                  <a:lnTo>
                    <a:pt x="604" y="306"/>
                  </a:lnTo>
                  <a:lnTo>
                    <a:pt x="602" y="308"/>
                  </a:lnTo>
                  <a:lnTo>
                    <a:pt x="600" y="308"/>
                  </a:lnTo>
                  <a:lnTo>
                    <a:pt x="598" y="310"/>
                  </a:lnTo>
                  <a:lnTo>
                    <a:pt x="596" y="312"/>
                  </a:lnTo>
                  <a:lnTo>
                    <a:pt x="594" y="314"/>
                  </a:lnTo>
                  <a:lnTo>
                    <a:pt x="592" y="314"/>
                  </a:lnTo>
                  <a:lnTo>
                    <a:pt x="592" y="316"/>
                  </a:lnTo>
                  <a:lnTo>
                    <a:pt x="592" y="318"/>
                  </a:lnTo>
                  <a:lnTo>
                    <a:pt x="590" y="318"/>
                  </a:lnTo>
                  <a:lnTo>
                    <a:pt x="590" y="320"/>
                  </a:lnTo>
                  <a:lnTo>
                    <a:pt x="590" y="322"/>
                  </a:lnTo>
                  <a:lnTo>
                    <a:pt x="588" y="326"/>
                  </a:lnTo>
                  <a:lnTo>
                    <a:pt x="588" y="330"/>
                  </a:lnTo>
                  <a:lnTo>
                    <a:pt x="588" y="332"/>
                  </a:lnTo>
                  <a:lnTo>
                    <a:pt x="588" y="336"/>
                  </a:lnTo>
                  <a:lnTo>
                    <a:pt x="588" y="342"/>
                  </a:lnTo>
                  <a:lnTo>
                    <a:pt x="588" y="348"/>
                  </a:lnTo>
                  <a:lnTo>
                    <a:pt x="588" y="352"/>
                  </a:lnTo>
                  <a:lnTo>
                    <a:pt x="588" y="354"/>
                  </a:lnTo>
                  <a:lnTo>
                    <a:pt x="588" y="358"/>
                  </a:lnTo>
                  <a:lnTo>
                    <a:pt x="586" y="362"/>
                  </a:lnTo>
                  <a:lnTo>
                    <a:pt x="586" y="366"/>
                  </a:lnTo>
                  <a:lnTo>
                    <a:pt x="586" y="368"/>
                  </a:lnTo>
                  <a:lnTo>
                    <a:pt x="586" y="368"/>
                  </a:lnTo>
                  <a:lnTo>
                    <a:pt x="586" y="370"/>
                  </a:lnTo>
                  <a:lnTo>
                    <a:pt x="586" y="370"/>
                  </a:lnTo>
                  <a:lnTo>
                    <a:pt x="588" y="372"/>
                  </a:lnTo>
                  <a:lnTo>
                    <a:pt x="588" y="372"/>
                  </a:lnTo>
                  <a:lnTo>
                    <a:pt x="588" y="372"/>
                  </a:lnTo>
                  <a:lnTo>
                    <a:pt x="590" y="372"/>
                  </a:lnTo>
                  <a:lnTo>
                    <a:pt x="592" y="374"/>
                  </a:lnTo>
                  <a:lnTo>
                    <a:pt x="592" y="374"/>
                  </a:lnTo>
                  <a:lnTo>
                    <a:pt x="594" y="374"/>
                  </a:lnTo>
                  <a:lnTo>
                    <a:pt x="594" y="376"/>
                  </a:lnTo>
                  <a:lnTo>
                    <a:pt x="594" y="376"/>
                  </a:lnTo>
                  <a:lnTo>
                    <a:pt x="594" y="378"/>
                  </a:lnTo>
                  <a:lnTo>
                    <a:pt x="594" y="380"/>
                  </a:lnTo>
                  <a:lnTo>
                    <a:pt x="594" y="382"/>
                  </a:lnTo>
                  <a:lnTo>
                    <a:pt x="594" y="386"/>
                  </a:lnTo>
                  <a:lnTo>
                    <a:pt x="594" y="394"/>
                  </a:lnTo>
                  <a:lnTo>
                    <a:pt x="594" y="396"/>
                  </a:lnTo>
                  <a:lnTo>
                    <a:pt x="594" y="398"/>
                  </a:lnTo>
                  <a:lnTo>
                    <a:pt x="594" y="400"/>
                  </a:lnTo>
                  <a:lnTo>
                    <a:pt x="596" y="400"/>
                  </a:lnTo>
                  <a:lnTo>
                    <a:pt x="596" y="402"/>
                  </a:lnTo>
                  <a:lnTo>
                    <a:pt x="596" y="404"/>
                  </a:lnTo>
                  <a:lnTo>
                    <a:pt x="598" y="406"/>
                  </a:lnTo>
                  <a:lnTo>
                    <a:pt x="600" y="414"/>
                  </a:lnTo>
                  <a:lnTo>
                    <a:pt x="602" y="418"/>
                  </a:lnTo>
                  <a:lnTo>
                    <a:pt x="602" y="424"/>
                  </a:lnTo>
                  <a:lnTo>
                    <a:pt x="604" y="428"/>
                  </a:lnTo>
                  <a:lnTo>
                    <a:pt x="604" y="434"/>
                  </a:lnTo>
                  <a:lnTo>
                    <a:pt x="604" y="436"/>
                  </a:lnTo>
                  <a:lnTo>
                    <a:pt x="604" y="438"/>
                  </a:lnTo>
                  <a:lnTo>
                    <a:pt x="604" y="440"/>
                  </a:lnTo>
                  <a:lnTo>
                    <a:pt x="604" y="442"/>
                  </a:lnTo>
                  <a:lnTo>
                    <a:pt x="604" y="444"/>
                  </a:lnTo>
                  <a:lnTo>
                    <a:pt x="604" y="446"/>
                  </a:lnTo>
                  <a:lnTo>
                    <a:pt x="604" y="448"/>
                  </a:lnTo>
                  <a:lnTo>
                    <a:pt x="602" y="450"/>
                  </a:lnTo>
                  <a:lnTo>
                    <a:pt x="602" y="452"/>
                  </a:lnTo>
                  <a:lnTo>
                    <a:pt x="600" y="454"/>
                  </a:lnTo>
                  <a:lnTo>
                    <a:pt x="600" y="454"/>
                  </a:lnTo>
                  <a:lnTo>
                    <a:pt x="600" y="454"/>
                  </a:lnTo>
                  <a:lnTo>
                    <a:pt x="598" y="456"/>
                  </a:lnTo>
                  <a:lnTo>
                    <a:pt x="598" y="456"/>
                  </a:lnTo>
                  <a:lnTo>
                    <a:pt x="598" y="456"/>
                  </a:lnTo>
                  <a:lnTo>
                    <a:pt x="598" y="456"/>
                  </a:lnTo>
                  <a:lnTo>
                    <a:pt x="596" y="454"/>
                  </a:lnTo>
                  <a:lnTo>
                    <a:pt x="596" y="454"/>
                  </a:lnTo>
                  <a:lnTo>
                    <a:pt x="596" y="452"/>
                  </a:lnTo>
                  <a:lnTo>
                    <a:pt x="594" y="452"/>
                  </a:lnTo>
                  <a:lnTo>
                    <a:pt x="592" y="448"/>
                  </a:lnTo>
                  <a:lnTo>
                    <a:pt x="592" y="446"/>
                  </a:lnTo>
                  <a:lnTo>
                    <a:pt x="590" y="446"/>
                  </a:lnTo>
                  <a:lnTo>
                    <a:pt x="590" y="444"/>
                  </a:lnTo>
                  <a:lnTo>
                    <a:pt x="588" y="444"/>
                  </a:lnTo>
                  <a:lnTo>
                    <a:pt x="582" y="442"/>
                  </a:lnTo>
                  <a:lnTo>
                    <a:pt x="580" y="440"/>
                  </a:lnTo>
                  <a:lnTo>
                    <a:pt x="578" y="440"/>
                  </a:lnTo>
                  <a:lnTo>
                    <a:pt x="576" y="438"/>
                  </a:lnTo>
                  <a:lnTo>
                    <a:pt x="576" y="438"/>
                  </a:lnTo>
                  <a:lnTo>
                    <a:pt x="576" y="438"/>
                  </a:lnTo>
                  <a:lnTo>
                    <a:pt x="574" y="436"/>
                  </a:lnTo>
                  <a:lnTo>
                    <a:pt x="574" y="436"/>
                  </a:lnTo>
                  <a:lnTo>
                    <a:pt x="574" y="432"/>
                  </a:lnTo>
                  <a:lnTo>
                    <a:pt x="572" y="430"/>
                  </a:lnTo>
                  <a:lnTo>
                    <a:pt x="572" y="428"/>
                  </a:lnTo>
                  <a:lnTo>
                    <a:pt x="570" y="422"/>
                  </a:lnTo>
                  <a:lnTo>
                    <a:pt x="568" y="416"/>
                  </a:lnTo>
                  <a:lnTo>
                    <a:pt x="566" y="412"/>
                  </a:lnTo>
                  <a:lnTo>
                    <a:pt x="564" y="406"/>
                  </a:lnTo>
                  <a:lnTo>
                    <a:pt x="564" y="404"/>
                  </a:lnTo>
                  <a:lnTo>
                    <a:pt x="562" y="400"/>
                  </a:lnTo>
                  <a:lnTo>
                    <a:pt x="562" y="398"/>
                  </a:lnTo>
                  <a:lnTo>
                    <a:pt x="562" y="396"/>
                  </a:lnTo>
                  <a:lnTo>
                    <a:pt x="562" y="394"/>
                  </a:lnTo>
                  <a:lnTo>
                    <a:pt x="562" y="394"/>
                  </a:lnTo>
                  <a:lnTo>
                    <a:pt x="562" y="390"/>
                  </a:lnTo>
                  <a:lnTo>
                    <a:pt x="564" y="384"/>
                  </a:lnTo>
                  <a:lnTo>
                    <a:pt x="564" y="380"/>
                  </a:lnTo>
                  <a:lnTo>
                    <a:pt x="564" y="378"/>
                  </a:lnTo>
                  <a:lnTo>
                    <a:pt x="564" y="376"/>
                  </a:lnTo>
                  <a:lnTo>
                    <a:pt x="564" y="376"/>
                  </a:lnTo>
                  <a:lnTo>
                    <a:pt x="564" y="374"/>
                  </a:lnTo>
                  <a:lnTo>
                    <a:pt x="564" y="372"/>
                  </a:lnTo>
                  <a:lnTo>
                    <a:pt x="564" y="372"/>
                  </a:lnTo>
                  <a:lnTo>
                    <a:pt x="564" y="372"/>
                  </a:lnTo>
                  <a:lnTo>
                    <a:pt x="562" y="370"/>
                  </a:lnTo>
                  <a:lnTo>
                    <a:pt x="560" y="368"/>
                  </a:lnTo>
                  <a:lnTo>
                    <a:pt x="560" y="366"/>
                  </a:lnTo>
                  <a:lnTo>
                    <a:pt x="556" y="364"/>
                  </a:lnTo>
                  <a:lnTo>
                    <a:pt x="552" y="362"/>
                  </a:lnTo>
                  <a:lnTo>
                    <a:pt x="550" y="358"/>
                  </a:lnTo>
                  <a:lnTo>
                    <a:pt x="546" y="356"/>
                  </a:lnTo>
                  <a:lnTo>
                    <a:pt x="544" y="354"/>
                  </a:lnTo>
                  <a:lnTo>
                    <a:pt x="542" y="352"/>
                  </a:lnTo>
                  <a:lnTo>
                    <a:pt x="540" y="350"/>
                  </a:lnTo>
                  <a:lnTo>
                    <a:pt x="540" y="350"/>
                  </a:lnTo>
                  <a:lnTo>
                    <a:pt x="540" y="350"/>
                  </a:lnTo>
                  <a:lnTo>
                    <a:pt x="538" y="350"/>
                  </a:lnTo>
                  <a:lnTo>
                    <a:pt x="538" y="350"/>
                  </a:lnTo>
                  <a:lnTo>
                    <a:pt x="536" y="350"/>
                  </a:lnTo>
                  <a:lnTo>
                    <a:pt x="532" y="352"/>
                  </a:lnTo>
                  <a:lnTo>
                    <a:pt x="530" y="352"/>
                  </a:lnTo>
                  <a:lnTo>
                    <a:pt x="528" y="352"/>
                  </a:lnTo>
                  <a:lnTo>
                    <a:pt x="526" y="354"/>
                  </a:lnTo>
                  <a:lnTo>
                    <a:pt x="524" y="354"/>
                  </a:lnTo>
                  <a:lnTo>
                    <a:pt x="522" y="354"/>
                  </a:lnTo>
                  <a:lnTo>
                    <a:pt x="522" y="354"/>
                  </a:lnTo>
                  <a:lnTo>
                    <a:pt x="520" y="354"/>
                  </a:lnTo>
                  <a:lnTo>
                    <a:pt x="520" y="354"/>
                  </a:lnTo>
                  <a:lnTo>
                    <a:pt x="518" y="352"/>
                  </a:lnTo>
                  <a:lnTo>
                    <a:pt x="516" y="352"/>
                  </a:lnTo>
                  <a:lnTo>
                    <a:pt x="514" y="350"/>
                  </a:lnTo>
                  <a:lnTo>
                    <a:pt x="510" y="348"/>
                  </a:lnTo>
                  <a:lnTo>
                    <a:pt x="510" y="346"/>
                  </a:lnTo>
                  <a:lnTo>
                    <a:pt x="508" y="346"/>
                  </a:lnTo>
                  <a:lnTo>
                    <a:pt x="506" y="346"/>
                  </a:lnTo>
                  <a:lnTo>
                    <a:pt x="504" y="346"/>
                  </a:lnTo>
                  <a:lnTo>
                    <a:pt x="500" y="346"/>
                  </a:lnTo>
                  <a:lnTo>
                    <a:pt x="496" y="346"/>
                  </a:lnTo>
                  <a:lnTo>
                    <a:pt x="492" y="346"/>
                  </a:lnTo>
                  <a:lnTo>
                    <a:pt x="486" y="346"/>
                  </a:lnTo>
                  <a:lnTo>
                    <a:pt x="482" y="348"/>
                  </a:lnTo>
                  <a:lnTo>
                    <a:pt x="478" y="348"/>
                  </a:lnTo>
                  <a:lnTo>
                    <a:pt x="476" y="348"/>
                  </a:lnTo>
                  <a:lnTo>
                    <a:pt x="476" y="348"/>
                  </a:lnTo>
                  <a:lnTo>
                    <a:pt x="472" y="350"/>
                  </a:lnTo>
                  <a:lnTo>
                    <a:pt x="470" y="352"/>
                  </a:lnTo>
                  <a:lnTo>
                    <a:pt x="470" y="352"/>
                  </a:lnTo>
                  <a:lnTo>
                    <a:pt x="468" y="352"/>
                  </a:lnTo>
                  <a:lnTo>
                    <a:pt x="466" y="354"/>
                  </a:lnTo>
                  <a:lnTo>
                    <a:pt x="466" y="356"/>
                  </a:lnTo>
                  <a:lnTo>
                    <a:pt x="466" y="356"/>
                  </a:lnTo>
                  <a:lnTo>
                    <a:pt x="464" y="356"/>
                  </a:lnTo>
                  <a:lnTo>
                    <a:pt x="464" y="358"/>
                  </a:lnTo>
                  <a:lnTo>
                    <a:pt x="464" y="358"/>
                  </a:lnTo>
                  <a:lnTo>
                    <a:pt x="466" y="358"/>
                  </a:lnTo>
                  <a:lnTo>
                    <a:pt x="466" y="360"/>
                  </a:lnTo>
                  <a:lnTo>
                    <a:pt x="466" y="362"/>
                  </a:lnTo>
                  <a:lnTo>
                    <a:pt x="468" y="364"/>
                  </a:lnTo>
                  <a:lnTo>
                    <a:pt x="470" y="366"/>
                  </a:lnTo>
                  <a:lnTo>
                    <a:pt x="470" y="368"/>
                  </a:lnTo>
                  <a:lnTo>
                    <a:pt x="472" y="370"/>
                  </a:lnTo>
                  <a:lnTo>
                    <a:pt x="472" y="370"/>
                  </a:lnTo>
                  <a:lnTo>
                    <a:pt x="472" y="370"/>
                  </a:lnTo>
                  <a:lnTo>
                    <a:pt x="472" y="372"/>
                  </a:lnTo>
                  <a:lnTo>
                    <a:pt x="470" y="372"/>
                  </a:lnTo>
                  <a:lnTo>
                    <a:pt x="470" y="372"/>
                  </a:lnTo>
                  <a:lnTo>
                    <a:pt x="470" y="372"/>
                  </a:lnTo>
                  <a:lnTo>
                    <a:pt x="468" y="374"/>
                  </a:lnTo>
                  <a:lnTo>
                    <a:pt x="466" y="374"/>
                  </a:lnTo>
                  <a:lnTo>
                    <a:pt x="464" y="374"/>
                  </a:lnTo>
                  <a:lnTo>
                    <a:pt x="462" y="374"/>
                  </a:lnTo>
                  <a:lnTo>
                    <a:pt x="460" y="374"/>
                  </a:lnTo>
                  <a:lnTo>
                    <a:pt x="456" y="372"/>
                  </a:lnTo>
                  <a:lnTo>
                    <a:pt x="452" y="372"/>
                  </a:lnTo>
                  <a:lnTo>
                    <a:pt x="450" y="372"/>
                  </a:lnTo>
                  <a:lnTo>
                    <a:pt x="448" y="372"/>
                  </a:lnTo>
                  <a:lnTo>
                    <a:pt x="446" y="372"/>
                  </a:lnTo>
                  <a:lnTo>
                    <a:pt x="442" y="370"/>
                  </a:lnTo>
                  <a:lnTo>
                    <a:pt x="442" y="370"/>
                  </a:lnTo>
                  <a:lnTo>
                    <a:pt x="440" y="370"/>
                  </a:lnTo>
                  <a:lnTo>
                    <a:pt x="440" y="370"/>
                  </a:lnTo>
                  <a:lnTo>
                    <a:pt x="440" y="368"/>
                  </a:lnTo>
                  <a:lnTo>
                    <a:pt x="438" y="368"/>
                  </a:lnTo>
                  <a:lnTo>
                    <a:pt x="438" y="366"/>
                  </a:lnTo>
                  <a:lnTo>
                    <a:pt x="438" y="364"/>
                  </a:lnTo>
                  <a:lnTo>
                    <a:pt x="438" y="362"/>
                  </a:lnTo>
                  <a:lnTo>
                    <a:pt x="438" y="358"/>
                  </a:lnTo>
                  <a:lnTo>
                    <a:pt x="438" y="356"/>
                  </a:lnTo>
                  <a:lnTo>
                    <a:pt x="438" y="354"/>
                  </a:lnTo>
                  <a:lnTo>
                    <a:pt x="438" y="352"/>
                  </a:lnTo>
                  <a:lnTo>
                    <a:pt x="438" y="352"/>
                  </a:lnTo>
                  <a:lnTo>
                    <a:pt x="438" y="350"/>
                  </a:lnTo>
                  <a:lnTo>
                    <a:pt x="438" y="350"/>
                  </a:lnTo>
                  <a:lnTo>
                    <a:pt x="438" y="348"/>
                  </a:lnTo>
                  <a:lnTo>
                    <a:pt x="436" y="348"/>
                  </a:lnTo>
                  <a:lnTo>
                    <a:pt x="436" y="348"/>
                  </a:lnTo>
                  <a:lnTo>
                    <a:pt x="434" y="348"/>
                  </a:lnTo>
                  <a:lnTo>
                    <a:pt x="432" y="348"/>
                  </a:lnTo>
                  <a:lnTo>
                    <a:pt x="432" y="350"/>
                  </a:lnTo>
                  <a:lnTo>
                    <a:pt x="430" y="350"/>
                  </a:lnTo>
                  <a:lnTo>
                    <a:pt x="428" y="352"/>
                  </a:lnTo>
                  <a:lnTo>
                    <a:pt x="426" y="352"/>
                  </a:lnTo>
                  <a:lnTo>
                    <a:pt x="426" y="352"/>
                  </a:lnTo>
                  <a:lnTo>
                    <a:pt x="426" y="354"/>
                  </a:lnTo>
                  <a:lnTo>
                    <a:pt x="426" y="354"/>
                  </a:lnTo>
                  <a:lnTo>
                    <a:pt x="424" y="354"/>
                  </a:lnTo>
                  <a:lnTo>
                    <a:pt x="424" y="356"/>
                  </a:lnTo>
                  <a:lnTo>
                    <a:pt x="424" y="358"/>
                  </a:lnTo>
                  <a:lnTo>
                    <a:pt x="424" y="360"/>
                  </a:lnTo>
                  <a:lnTo>
                    <a:pt x="424" y="362"/>
                  </a:lnTo>
                  <a:lnTo>
                    <a:pt x="424" y="364"/>
                  </a:lnTo>
                  <a:lnTo>
                    <a:pt x="424" y="366"/>
                  </a:lnTo>
                  <a:lnTo>
                    <a:pt x="424" y="366"/>
                  </a:lnTo>
                  <a:lnTo>
                    <a:pt x="422" y="368"/>
                  </a:lnTo>
                  <a:lnTo>
                    <a:pt x="422" y="368"/>
                  </a:lnTo>
                  <a:lnTo>
                    <a:pt x="422" y="368"/>
                  </a:lnTo>
                  <a:lnTo>
                    <a:pt x="420" y="368"/>
                  </a:lnTo>
                  <a:lnTo>
                    <a:pt x="420" y="368"/>
                  </a:lnTo>
                  <a:lnTo>
                    <a:pt x="418" y="368"/>
                  </a:lnTo>
                  <a:lnTo>
                    <a:pt x="416" y="368"/>
                  </a:lnTo>
                  <a:lnTo>
                    <a:pt x="416" y="366"/>
                  </a:lnTo>
                  <a:lnTo>
                    <a:pt x="414" y="366"/>
                  </a:lnTo>
                  <a:lnTo>
                    <a:pt x="412" y="364"/>
                  </a:lnTo>
                  <a:lnTo>
                    <a:pt x="412" y="364"/>
                  </a:lnTo>
                  <a:lnTo>
                    <a:pt x="412" y="362"/>
                  </a:lnTo>
                  <a:lnTo>
                    <a:pt x="410" y="360"/>
                  </a:lnTo>
                  <a:lnTo>
                    <a:pt x="410" y="358"/>
                  </a:lnTo>
                  <a:lnTo>
                    <a:pt x="408" y="356"/>
                  </a:lnTo>
                  <a:lnTo>
                    <a:pt x="408" y="354"/>
                  </a:lnTo>
                  <a:lnTo>
                    <a:pt x="406" y="354"/>
                  </a:lnTo>
                  <a:lnTo>
                    <a:pt x="406" y="354"/>
                  </a:lnTo>
                  <a:lnTo>
                    <a:pt x="406" y="352"/>
                  </a:lnTo>
                  <a:lnTo>
                    <a:pt x="404" y="352"/>
                  </a:lnTo>
                  <a:lnTo>
                    <a:pt x="404" y="352"/>
                  </a:lnTo>
                  <a:lnTo>
                    <a:pt x="404" y="352"/>
                  </a:lnTo>
                  <a:lnTo>
                    <a:pt x="402" y="354"/>
                  </a:lnTo>
                  <a:lnTo>
                    <a:pt x="400" y="354"/>
                  </a:lnTo>
                  <a:lnTo>
                    <a:pt x="400" y="354"/>
                  </a:lnTo>
                  <a:lnTo>
                    <a:pt x="396" y="358"/>
                  </a:lnTo>
                  <a:lnTo>
                    <a:pt x="394" y="358"/>
                  </a:lnTo>
                  <a:lnTo>
                    <a:pt x="392" y="360"/>
                  </a:lnTo>
                  <a:lnTo>
                    <a:pt x="390" y="364"/>
                  </a:lnTo>
                  <a:lnTo>
                    <a:pt x="388" y="366"/>
                  </a:lnTo>
                  <a:lnTo>
                    <a:pt x="386" y="368"/>
                  </a:lnTo>
                  <a:lnTo>
                    <a:pt x="384" y="370"/>
                  </a:lnTo>
                  <a:lnTo>
                    <a:pt x="384" y="370"/>
                  </a:lnTo>
                  <a:lnTo>
                    <a:pt x="382" y="374"/>
                  </a:lnTo>
                  <a:lnTo>
                    <a:pt x="378" y="378"/>
                  </a:lnTo>
                  <a:lnTo>
                    <a:pt x="376" y="382"/>
                  </a:lnTo>
                  <a:lnTo>
                    <a:pt x="374" y="384"/>
                  </a:lnTo>
                  <a:lnTo>
                    <a:pt x="372" y="388"/>
                  </a:lnTo>
                  <a:lnTo>
                    <a:pt x="370" y="390"/>
                  </a:lnTo>
                  <a:lnTo>
                    <a:pt x="368" y="390"/>
                  </a:lnTo>
                  <a:lnTo>
                    <a:pt x="368" y="392"/>
                  </a:lnTo>
                  <a:lnTo>
                    <a:pt x="366" y="392"/>
                  </a:lnTo>
                  <a:lnTo>
                    <a:pt x="364" y="394"/>
                  </a:lnTo>
                  <a:lnTo>
                    <a:pt x="360" y="396"/>
                  </a:lnTo>
                  <a:lnTo>
                    <a:pt x="358" y="396"/>
                  </a:lnTo>
                  <a:lnTo>
                    <a:pt x="354" y="398"/>
                  </a:lnTo>
                  <a:lnTo>
                    <a:pt x="352" y="398"/>
                  </a:lnTo>
                  <a:lnTo>
                    <a:pt x="352" y="398"/>
                  </a:lnTo>
                  <a:lnTo>
                    <a:pt x="352" y="400"/>
                  </a:lnTo>
                  <a:lnTo>
                    <a:pt x="352" y="400"/>
                  </a:lnTo>
                  <a:lnTo>
                    <a:pt x="350" y="402"/>
                  </a:lnTo>
                  <a:lnTo>
                    <a:pt x="350" y="404"/>
                  </a:lnTo>
                  <a:lnTo>
                    <a:pt x="348" y="406"/>
                  </a:lnTo>
                  <a:lnTo>
                    <a:pt x="348" y="408"/>
                  </a:lnTo>
                  <a:lnTo>
                    <a:pt x="346" y="412"/>
                  </a:lnTo>
                  <a:lnTo>
                    <a:pt x="346" y="416"/>
                  </a:lnTo>
                  <a:lnTo>
                    <a:pt x="346" y="420"/>
                  </a:lnTo>
                  <a:lnTo>
                    <a:pt x="346" y="424"/>
                  </a:lnTo>
                  <a:lnTo>
                    <a:pt x="342" y="424"/>
                  </a:lnTo>
                  <a:lnTo>
                    <a:pt x="340" y="424"/>
                  </a:lnTo>
                  <a:lnTo>
                    <a:pt x="336" y="424"/>
                  </a:lnTo>
                  <a:lnTo>
                    <a:pt x="334" y="424"/>
                  </a:lnTo>
                  <a:lnTo>
                    <a:pt x="330" y="424"/>
                  </a:lnTo>
                  <a:lnTo>
                    <a:pt x="328" y="424"/>
                  </a:lnTo>
                  <a:lnTo>
                    <a:pt x="328" y="424"/>
                  </a:lnTo>
                  <a:lnTo>
                    <a:pt x="326" y="424"/>
                  </a:lnTo>
                  <a:lnTo>
                    <a:pt x="326" y="424"/>
                  </a:lnTo>
                  <a:lnTo>
                    <a:pt x="324" y="422"/>
                  </a:lnTo>
                  <a:lnTo>
                    <a:pt x="324" y="422"/>
                  </a:lnTo>
                  <a:lnTo>
                    <a:pt x="324" y="420"/>
                  </a:lnTo>
                  <a:lnTo>
                    <a:pt x="324" y="420"/>
                  </a:lnTo>
                  <a:lnTo>
                    <a:pt x="324" y="416"/>
                  </a:lnTo>
                  <a:lnTo>
                    <a:pt x="324" y="414"/>
                  </a:lnTo>
                  <a:lnTo>
                    <a:pt x="324" y="410"/>
                  </a:lnTo>
                  <a:lnTo>
                    <a:pt x="322" y="408"/>
                  </a:lnTo>
                  <a:lnTo>
                    <a:pt x="322" y="406"/>
                  </a:lnTo>
                  <a:lnTo>
                    <a:pt x="322" y="404"/>
                  </a:lnTo>
                  <a:lnTo>
                    <a:pt x="322" y="404"/>
                  </a:lnTo>
                  <a:lnTo>
                    <a:pt x="322" y="404"/>
                  </a:lnTo>
                  <a:lnTo>
                    <a:pt x="320" y="402"/>
                  </a:lnTo>
                  <a:lnTo>
                    <a:pt x="320" y="402"/>
                  </a:lnTo>
                  <a:lnTo>
                    <a:pt x="318" y="402"/>
                  </a:lnTo>
                  <a:lnTo>
                    <a:pt x="318" y="400"/>
                  </a:lnTo>
                  <a:lnTo>
                    <a:pt x="316" y="400"/>
                  </a:lnTo>
                  <a:lnTo>
                    <a:pt x="314" y="400"/>
                  </a:lnTo>
                  <a:lnTo>
                    <a:pt x="312" y="398"/>
                  </a:lnTo>
                  <a:lnTo>
                    <a:pt x="310" y="398"/>
                  </a:lnTo>
                  <a:lnTo>
                    <a:pt x="310" y="398"/>
                  </a:lnTo>
                  <a:lnTo>
                    <a:pt x="308" y="396"/>
                  </a:lnTo>
                  <a:lnTo>
                    <a:pt x="308" y="396"/>
                  </a:lnTo>
                  <a:lnTo>
                    <a:pt x="308" y="394"/>
                  </a:lnTo>
                  <a:lnTo>
                    <a:pt x="308" y="394"/>
                  </a:lnTo>
                  <a:lnTo>
                    <a:pt x="308" y="392"/>
                  </a:lnTo>
                  <a:lnTo>
                    <a:pt x="306" y="390"/>
                  </a:lnTo>
                  <a:lnTo>
                    <a:pt x="306" y="386"/>
                  </a:lnTo>
                  <a:lnTo>
                    <a:pt x="306" y="384"/>
                  </a:lnTo>
                  <a:lnTo>
                    <a:pt x="306" y="380"/>
                  </a:lnTo>
                  <a:lnTo>
                    <a:pt x="306" y="378"/>
                  </a:lnTo>
                  <a:lnTo>
                    <a:pt x="306" y="376"/>
                  </a:lnTo>
                  <a:lnTo>
                    <a:pt x="306" y="376"/>
                  </a:lnTo>
                  <a:lnTo>
                    <a:pt x="304" y="374"/>
                  </a:lnTo>
                  <a:lnTo>
                    <a:pt x="304" y="372"/>
                  </a:lnTo>
                  <a:lnTo>
                    <a:pt x="302" y="370"/>
                  </a:lnTo>
                  <a:lnTo>
                    <a:pt x="298" y="366"/>
                  </a:lnTo>
                  <a:lnTo>
                    <a:pt x="296" y="364"/>
                  </a:lnTo>
                  <a:lnTo>
                    <a:pt x="294" y="360"/>
                  </a:lnTo>
                  <a:lnTo>
                    <a:pt x="292" y="358"/>
                  </a:lnTo>
                  <a:lnTo>
                    <a:pt x="290" y="356"/>
                  </a:lnTo>
                  <a:lnTo>
                    <a:pt x="286" y="354"/>
                  </a:lnTo>
                  <a:lnTo>
                    <a:pt x="286" y="354"/>
                  </a:lnTo>
                  <a:lnTo>
                    <a:pt x="284" y="354"/>
                  </a:lnTo>
                  <a:lnTo>
                    <a:pt x="284" y="352"/>
                  </a:lnTo>
                  <a:lnTo>
                    <a:pt x="282" y="352"/>
                  </a:lnTo>
                  <a:lnTo>
                    <a:pt x="282" y="352"/>
                  </a:lnTo>
                  <a:lnTo>
                    <a:pt x="282" y="352"/>
                  </a:lnTo>
                  <a:lnTo>
                    <a:pt x="280" y="354"/>
                  </a:lnTo>
                  <a:lnTo>
                    <a:pt x="280" y="354"/>
                  </a:lnTo>
                  <a:lnTo>
                    <a:pt x="280" y="354"/>
                  </a:lnTo>
                  <a:lnTo>
                    <a:pt x="278" y="356"/>
                  </a:lnTo>
                  <a:lnTo>
                    <a:pt x="278" y="358"/>
                  </a:lnTo>
                  <a:lnTo>
                    <a:pt x="278" y="358"/>
                  </a:lnTo>
                  <a:lnTo>
                    <a:pt x="278" y="362"/>
                  </a:lnTo>
                  <a:lnTo>
                    <a:pt x="278" y="366"/>
                  </a:lnTo>
                  <a:lnTo>
                    <a:pt x="278" y="368"/>
                  </a:lnTo>
                  <a:lnTo>
                    <a:pt x="278" y="370"/>
                  </a:lnTo>
                  <a:lnTo>
                    <a:pt x="278" y="372"/>
                  </a:lnTo>
                  <a:lnTo>
                    <a:pt x="276" y="372"/>
                  </a:lnTo>
                  <a:lnTo>
                    <a:pt x="276" y="372"/>
                  </a:lnTo>
                  <a:lnTo>
                    <a:pt x="276" y="374"/>
                  </a:lnTo>
                  <a:lnTo>
                    <a:pt x="274" y="374"/>
                  </a:lnTo>
                  <a:lnTo>
                    <a:pt x="274" y="374"/>
                  </a:lnTo>
                  <a:lnTo>
                    <a:pt x="270" y="374"/>
                  </a:lnTo>
                  <a:lnTo>
                    <a:pt x="268" y="374"/>
                  </a:lnTo>
                  <a:lnTo>
                    <a:pt x="266" y="374"/>
                  </a:lnTo>
                  <a:lnTo>
                    <a:pt x="264" y="374"/>
                  </a:lnTo>
                  <a:lnTo>
                    <a:pt x="262" y="374"/>
                  </a:lnTo>
                  <a:lnTo>
                    <a:pt x="262" y="374"/>
                  </a:lnTo>
                  <a:lnTo>
                    <a:pt x="262" y="372"/>
                  </a:lnTo>
                  <a:lnTo>
                    <a:pt x="260" y="372"/>
                  </a:lnTo>
                  <a:lnTo>
                    <a:pt x="260" y="370"/>
                  </a:lnTo>
                  <a:lnTo>
                    <a:pt x="258" y="370"/>
                  </a:lnTo>
                  <a:lnTo>
                    <a:pt x="258" y="368"/>
                  </a:lnTo>
                  <a:lnTo>
                    <a:pt x="258" y="366"/>
                  </a:lnTo>
                  <a:lnTo>
                    <a:pt x="258" y="364"/>
                  </a:lnTo>
                  <a:lnTo>
                    <a:pt x="256" y="362"/>
                  </a:lnTo>
                  <a:lnTo>
                    <a:pt x="256" y="358"/>
                  </a:lnTo>
                  <a:lnTo>
                    <a:pt x="256" y="354"/>
                  </a:lnTo>
                  <a:lnTo>
                    <a:pt x="256" y="352"/>
                  </a:lnTo>
                  <a:lnTo>
                    <a:pt x="254" y="352"/>
                  </a:lnTo>
                  <a:lnTo>
                    <a:pt x="254" y="350"/>
                  </a:lnTo>
                  <a:lnTo>
                    <a:pt x="254" y="348"/>
                  </a:lnTo>
                  <a:lnTo>
                    <a:pt x="252" y="348"/>
                  </a:lnTo>
                  <a:lnTo>
                    <a:pt x="252" y="348"/>
                  </a:lnTo>
                  <a:lnTo>
                    <a:pt x="248" y="348"/>
                  </a:lnTo>
                  <a:lnTo>
                    <a:pt x="248" y="348"/>
                  </a:lnTo>
                  <a:lnTo>
                    <a:pt x="246" y="348"/>
                  </a:lnTo>
                  <a:lnTo>
                    <a:pt x="246" y="346"/>
                  </a:lnTo>
                  <a:lnTo>
                    <a:pt x="246" y="346"/>
                  </a:lnTo>
                  <a:lnTo>
                    <a:pt x="244" y="346"/>
                  </a:lnTo>
                  <a:lnTo>
                    <a:pt x="244" y="346"/>
                  </a:lnTo>
                  <a:lnTo>
                    <a:pt x="244" y="346"/>
                  </a:lnTo>
                  <a:lnTo>
                    <a:pt x="244" y="344"/>
                  </a:lnTo>
                  <a:lnTo>
                    <a:pt x="244" y="344"/>
                  </a:lnTo>
                  <a:lnTo>
                    <a:pt x="244" y="342"/>
                  </a:lnTo>
                  <a:lnTo>
                    <a:pt x="244" y="340"/>
                  </a:lnTo>
                  <a:lnTo>
                    <a:pt x="244" y="338"/>
                  </a:lnTo>
                  <a:lnTo>
                    <a:pt x="244" y="336"/>
                  </a:lnTo>
                  <a:lnTo>
                    <a:pt x="244" y="334"/>
                  </a:lnTo>
                  <a:lnTo>
                    <a:pt x="244" y="334"/>
                  </a:lnTo>
                  <a:lnTo>
                    <a:pt x="244" y="334"/>
                  </a:lnTo>
                  <a:lnTo>
                    <a:pt x="244" y="332"/>
                  </a:lnTo>
                  <a:lnTo>
                    <a:pt x="242" y="332"/>
                  </a:lnTo>
                  <a:lnTo>
                    <a:pt x="242" y="332"/>
                  </a:lnTo>
                  <a:lnTo>
                    <a:pt x="242" y="332"/>
                  </a:lnTo>
                  <a:lnTo>
                    <a:pt x="240" y="332"/>
                  </a:lnTo>
                  <a:lnTo>
                    <a:pt x="238" y="332"/>
                  </a:lnTo>
                  <a:lnTo>
                    <a:pt x="236" y="330"/>
                  </a:lnTo>
                  <a:lnTo>
                    <a:pt x="234" y="330"/>
                  </a:lnTo>
                  <a:lnTo>
                    <a:pt x="234" y="330"/>
                  </a:lnTo>
                  <a:lnTo>
                    <a:pt x="232" y="330"/>
                  </a:lnTo>
                  <a:lnTo>
                    <a:pt x="232" y="330"/>
                  </a:lnTo>
                  <a:lnTo>
                    <a:pt x="232" y="330"/>
                  </a:lnTo>
                  <a:lnTo>
                    <a:pt x="232" y="328"/>
                  </a:lnTo>
                  <a:lnTo>
                    <a:pt x="230" y="328"/>
                  </a:lnTo>
                  <a:lnTo>
                    <a:pt x="230" y="326"/>
                  </a:lnTo>
                  <a:lnTo>
                    <a:pt x="230" y="324"/>
                  </a:lnTo>
                  <a:lnTo>
                    <a:pt x="230" y="322"/>
                  </a:lnTo>
                  <a:lnTo>
                    <a:pt x="230" y="320"/>
                  </a:lnTo>
                  <a:lnTo>
                    <a:pt x="228" y="318"/>
                  </a:lnTo>
                  <a:lnTo>
                    <a:pt x="228" y="316"/>
                  </a:lnTo>
                  <a:lnTo>
                    <a:pt x="228" y="316"/>
                  </a:lnTo>
                  <a:lnTo>
                    <a:pt x="228" y="316"/>
                  </a:lnTo>
                  <a:lnTo>
                    <a:pt x="228" y="314"/>
                  </a:lnTo>
                  <a:lnTo>
                    <a:pt x="226" y="314"/>
                  </a:lnTo>
                  <a:lnTo>
                    <a:pt x="226" y="314"/>
                  </a:lnTo>
                  <a:lnTo>
                    <a:pt x="226" y="316"/>
                  </a:lnTo>
                  <a:lnTo>
                    <a:pt x="224" y="316"/>
                  </a:lnTo>
                  <a:lnTo>
                    <a:pt x="224" y="316"/>
                  </a:lnTo>
                  <a:lnTo>
                    <a:pt x="222" y="318"/>
                  </a:lnTo>
                  <a:lnTo>
                    <a:pt x="220" y="320"/>
                  </a:lnTo>
                  <a:lnTo>
                    <a:pt x="218" y="322"/>
                  </a:lnTo>
                  <a:lnTo>
                    <a:pt x="218" y="322"/>
                  </a:lnTo>
                  <a:lnTo>
                    <a:pt x="218" y="322"/>
                  </a:lnTo>
                  <a:lnTo>
                    <a:pt x="216" y="322"/>
                  </a:lnTo>
                  <a:lnTo>
                    <a:pt x="214" y="322"/>
                  </a:lnTo>
                  <a:lnTo>
                    <a:pt x="210" y="322"/>
                  </a:lnTo>
                  <a:lnTo>
                    <a:pt x="208" y="322"/>
                  </a:lnTo>
                  <a:lnTo>
                    <a:pt x="206" y="322"/>
                  </a:lnTo>
                  <a:lnTo>
                    <a:pt x="206" y="324"/>
                  </a:lnTo>
                  <a:lnTo>
                    <a:pt x="204" y="324"/>
                  </a:lnTo>
                  <a:lnTo>
                    <a:pt x="204" y="324"/>
                  </a:lnTo>
                  <a:lnTo>
                    <a:pt x="204" y="324"/>
                  </a:lnTo>
                  <a:lnTo>
                    <a:pt x="204" y="324"/>
                  </a:lnTo>
                  <a:lnTo>
                    <a:pt x="204" y="326"/>
                  </a:lnTo>
                  <a:lnTo>
                    <a:pt x="204" y="326"/>
                  </a:lnTo>
                  <a:lnTo>
                    <a:pt x="204" y="328"/>
                  </a:lnTo>
                  <a:lnTo>
                    <a:pt x="204" y="330"/>
                  </a:lnTo>
                  <a:lnTo>
                    <a:pt x="202" y="330"/>
                  </a:lnTo>
                  <a:lnTo>
                    <a:pt x="202" y="332"/>
                  </a:lnTo>
                  <a:lnTo>
                    <a:pt x="202" y="332"/>
                  </a:lnTo>
                  <a:lnTo>
                    <a:pt x="202" y="332"/>
                  </a:lnTo>
                  <a:lnTo>
                    <a:pt x="202" y="334"/>
                  </a:lnTo>
                  <a:lnTo>
                    <a:pt x="200" y="334"/>
                  </a:lnTo>
                  <a:lnTo>
                    <a:pt x="198" y="334"/>
                  </a:lnTo>
                  <a:lnTo>
                    <a:pt x="198" y="334"/>
                  </a:lnTo>
                  <a:lnTo>
                    <a:pt x="194" y="334"/>
                  </a:lnTo>
                  <a:lnTo>
                    <a:pt x="192" y="334"/>
                  </a:lnTo>
                  <a:lnTo>
                    <a:pt x="186" y="332"/>
                  </a:lnTo>
                  <a:lnTo>
                    <a:pt x="182" y="332"/>
                  </a:lnTo>
                  <a:lnTo>
                    <a:pt x="182" y="332"/>
                  </a:lnTo>
                  <a:lnTo>
                    <a:pt x="180" y="332"/>
                  </a:lnTo>
                  <a:lnTo>
                    <a:pt x="178" y="334"/>
                  </a:lnTo>
                  <a:lnTo>
                    <a:pt x="176" y="334"/>
                  </a:lnTo>
                  <a:lnTo>
                    <a:pt x="172" y="336"/>
                  </a:lnTo>
                  <a:lnTo>
                    <a:pt x="170" y="336"/>
                  </a:lnTo>
                  <a:lnTo>
                    <a:pt x="168" y="338"/>
                  </a:lnTo>
                  <a:lnTo>
                    <a:pt x="166" y="338"/>
                  </a:lnTo>
                  <a:lnTo>
                    <a:pt x="164" y="338"/>
                  </a:lnTo>
                  <a:lnTo>
                    <a:pt x="162" y="338"/>
                  </a:lnTo>
                  <a:lnTo>
                    <a:pt x="158" y="338"/>
                  </a:lnTo>
                  <a:lnTo>
                    <a:pt x="156" y="338"/>
                  </a:lnTo>
                  <a:lnTo>
                    <a:pt x="152" y="338"/>
                  </a:lnTo>
                  <a:lnTo>
                    <a:pt x="150" y="336"/>
                  </a:lnTo>
                  <a:lnTo>
                    <a:pt x="146" y="336"/>
                  </a:lnTo>
                  <a:lnTo>
                    <a:pt x="144" y="334"/>
                  </a:lnTo>
                  <a:lnTo>
                    <a:pt x="142" y="334"/>
                  </a:lnTo>
                  <a:lnTo>
                    <a:pt x="140" y="334"/>
                  </a:lnTo>
                  <a:lnTo>
                    <a:pt x="140" y="332"/>
                  </a:lnTo>
                  <a:lnTo>
                    <a:pt x="138" y="330"/>
                  </a:lnTo>
                  <a:lnTo>
                    <a:pt x="136" y="328"/>
                  </a:lnTo>
                  <a:lnTo>
                    <a:pt x="134" y="326"/>
                  </a:lnTo>
                  <a:lnTo>
                    <a:pt x="130" y="322"/>
                  </a:lnTo>
                  <a:lnTo>
                    <a:pt x="128" y="320"/>
                  </a:lnTo>
                  <a:lnTo>
                    <a:pt x="126" y="318"/>
                  </a:lnTo>
                  <a:lnTo>
                    <a:pt x="126" y="318"/>
                  </a:lnTo>
                  <a:lnTo>
                    <a:pt x="124" y="318"/>
                  </a:lnTo>
                  <a:lnTo>
                    <a:pt x="120" y="316"/>
                  </a:lnTo>
                  <a:lnTo>
                    <a:pt x="118" y="316"/>
                  </a:lnTo>
                  <a:lnTo>
                    <a:pt x="116" y="316"/>
                  </a:lnTo>
                  <a:lnTo>
                    <a:pt x="114" y="314"/>
                  </a:lnTo>
                  <a:lnTo>
                    <a:pt x="114" y="314"/>
                  </a:lnTo>
                  <a:lnTo>
                    <a:pt x="114" y="312"/>
                  </a:lnTo>
                  <a:lnTo>
                    <a:pt x="112" y="312"/>
                  </a:lnTo>
                  <a:lnTo>
                    <a:pt x="112" y="310"/>
                  </a:lnTo>
                  <a:lnTo>
                    <a:pt x="112" y="308"/>
                  </a:lnTo>
                  <a:lnTo>
                    <a:pt x="112" y="306"/>
                  </a:lnTo>
                  <a:lnTo>
                    <a:pt x="110" y="306"/>
                  </a:lnTo>
                  <a:lnTo>
                    <a:pt x="110" y="306"/>
                  </a:lnTo>
                  <a:lnTo>
                    <a:pt x="110" y="304"/>
                  </a:lnTo>
                  <a:lnTo>
                    <a:pt x="108" y="304"/>
                  </a:lnTo>
                  <a:lnTo>
                    <a:pt x="106" y="304"/>
                  </a:lnTo>
                  <a:lnTo>
                    <a:pt x="104" y="302"/>
                  </a:lnTo>
                  <a:lnTo>
                    <a:pt x="102" y="302"/>
                  </a:lnTo>
                  <a:lnTo>
                    <a:pt x="100" y="302"/>
                  </a:lnTo>
                  <a:lnTo>
                    <a:pt x="98" y="302"/>
                  </a:lnTo>
                  <a:lnTo>
                    <a:pt x="92" y="302"/>
                  </a:lnTo>
                  <a:lnTo>
                    <a:pt x="86" y="302"/>
                  </a:lnTo>
                  <a:lnTo>
                    <a:pt x="82" y="304"/>
                  </a:lnTo>
                  <a:lnTo>
                    <a:pt x="78" y="304"/>
                  </a:lnTo>
                  <a:lnTo>
                    <a:pt x="80" y="302"/>
                  </a:lnTo>
                  <a:lnTo>
                    <a:pt x="80" y="298"/>
                  </a:lnTo>
                  <a:lnTo>
                    <a:pt x="80" y="296"/>
                  </a:lnTo>
                  <a:lnTo>
                    <a:pt x="80" y="294"/>
                  </a:lnTo>
                  <a:lnTo>
                    <a:pt x="80" y="292"/>
                  </a:lnTo>
                  <a:lnTo>
                    <a:pt x="80" y="292"/>
                  </a:lnTo>
                  <a:lnTo>
                    <a:pt x="80" y="290"/>
                  </a:lnTo>
                  <a:lnTo>
                    <a:pt x="80" y="290"/>
                  </a:lnTo>
                  <a:lnTo>
                    <a:pt x="78" y="290"/>
                  </a:lnTo>
                  <a:lnTo>
                    <a:pt x="78" y="290"/>
                  </a:lnTo>
                  <a:lnTo>
                    <a:pt x="76" y="288"/>
                  </a:lnTo>
                  <a:lnTo>
                    <a:pt x="74" y="288"/>
                  </a:lnTo>
                  <a:lnTo>
                    <a:pt x="72" y="288"/>
                  </a:lnTo>
                  <a:lnTo>
                    <a:pt x="66" y="286"/>
                  </a:lnTo>
                  <a:lnTo>
                    <a:pt x="62" y="286"/>
                  </a:lnTo>
                  <a:lnTo>
                    <a:pt x="62" y="286"/>
                  </a:lnTo>
                  <a:lnTo>
                    <a:pt x="62" y="284"/>
                  </a:lnTo>
                  <a:lnTo>
                    <a:pt x="60" y="284"/>
                  </a:lnTo>
                  <a:lnTo>
                    <a:pt x="58" y="282"/>
                  </a:lnTo>
                  <a:lnTo>
                    <a:pt x="54" y="280"/>
                  </a:lnTo>
                  <a:lnTo>
                    <a:pt x="52" y="276"/>
                  </a:lnTo>
                  <a:lnTo>
                    <a:pt x="50" y="276"/>
                  </a:lnTo>
                  <a:lnTo>
                    <a:pt x="48" y="274"/>
                  </a:lnTo>
                  <a:lnTo>
                    <a:pt x="46" y="274"/>
                  </a:lnTo>
                  <a:lnTo>
                    <a:pt x="46" y="274"/>
                  </a:lnTo>
                  <a:lnTo>
                    <a:pt x="40" y="272"/>
                  </a:lnTo>
                  <a:lnTo>
                    <a:pt x="38" y="272"/>
                  </a:lnTo>
                  <a:lnTo>
                    <a:pt x="36" y="270"/>
                  </a:lnTo>
                  <a:lnTo>
                    <a:pt x="36" y="270"/>
                  </a:lnTo>
                  <a:lnTo>
                    <a:pt x="36" y="270"/>
                  </a:lnTo>
                  <a:lnTo>
                    <a:pt x="34" y="268"/>
                  </a:lnTo>
                  <a:lnTo>
                    <a:pt x="34" y="268"/>
                  </a:lnTo>
                  <a:lnTo>
                    <a:pt x="34" y="268"/>
                  </a:lnTo>
                  <a:lnTo>
                    <a:pt x="34" y="266"/>
                  </a:lnTo>
                  <a:lnTo>
                    <a:pt x="34" y="266"/>
                  </a:lnTo>
                  <a:lnTo>
                    <a:pt x="34" y="264"/>
                  </a:lnTo>
                  <a:lnTo>
                    <a:pt x="36" y="262"/>
                  </a:lnTo>
                  <a:lnTo>
                    <a:pt x="36" y="258"/>
                  </a:lnTo>
                  <a:lnTo>
                    <a:pt x="36" y="256"/>
                  </a:lnTo>
                  <a:lnTo>
                    <a:pt x="38" y="252"/>
                  </a:lnTo>
                  <a:lnTo>
                    <a:pt x="38" y="252"/>
                  </a:lnTo>
                  <a:lnTo>
                    <a:pt x="38" y="250"/>
                  </a:lnTo>
                  <a:lnTo>
                    <a:pt x="38" y="250"/>
                  </a:lnTo>
                  <a:lnTo>
                    <a:pt x="38" y="248"/>
                  </a:lnTo>
                  <a:lnTo>
                    <a:pt x="36" y="248"/>
                  </a:lnTo>
                  <a:lnTo>
                    <a:pt x="36" y="248"/>
                  </a:lnTo>
                  <a:lnTo>
                    <a:pt x="34" y="246"/>
                  </a:lnTo>
                  <a:lnTo>
                    <a:pt x="34" y="246"/>
                  </a:lnTo>
                  <a:lnTo>
                    <a:pt x="30" y="246"/>
                  </a:lnTo>
                  <a:lnTo>
                    <a:pt x="28" y="246"/>
                  </a:lnTo>
                  <a:lnTo>
                    <a:pt x="26" y="246"/>
                  </a:lnTo>
                  <a:lnTo>
                    <a:pt x="22" y="246"/>
                  </a:lnTo>
                  <a:lnTo>
                    <a:pt x="22" y="246"/>
                  </a:lnTo>
                  <a:lnTo>
                    <a:pt x="20" y="246"/>
                  </a:lnTo>
                  <a:lnTo>
                    <a:pt x="20" y="244"/>
                  </a:lnTo>
                  <a:lnTo>
                    <a:pt x="20" y="244"/>
                  </a:lnTo>
                  <a:lnTo>
                    <a:pt x="20" y="244"/>
                  </a:lnTo>
                  <a:lnTo>
                    <a:pt x="20" y="244"/>
                  </a:lnTo>
                  <a:lnTo>
                    <a:pt x="18" y="242"/>
                  </a:lnTo>
                  <a:lnTo>
                    <a:pt x="18" y="240"/>
                  </a:lnTo>
                  <a:lnTo>
                    <a:pt x="20" y="238"/>
                  </a:lnTo>
                  <a:lnTo>
                    <a:pt x="20" y="236"/>
                  </a:lnTo>
                  <a:lnTo>
                    <a:pt x="20" y="232"/>
                  </a:lnTo>
                  <a:lnTo>
                    <a:pt x="22" y="232"/>
                  </a:lnTo>
                  <a:lnTo>
                    <a:pt x="22" y="230"/>
                  </a:lnTo>
                  <a:lnTo>
                    <a:pt x="24" y="226"/>
                  </a:lnTo>
                  <a:lnTo>
                    <a:pt x="24" y="224"/>
                  </a:lnTo>
                  <a:lnTo>
                    <a:pt x="26" y="222"/>
                  </a:lnTo>
                  <a:lnTo>
                    <a:pt x="26" y="220"/>
                  </a:lnTo>
                  <a:lnTo>
                    <a:pt x="26" y="220"/>
                  </a:lnTo>
                  <a:lnTo>
                    <a:pt x="26" y="220"/>
                  </a:lnTo>
                  <a:lnTo>
                    <a:pt x="26" y="218"/>
                  </a:lnTo>
                  <a:lnTo>
                    <a:pt x="26" y="218"/>
                  </a:lnTo>
                  <a:lnTo>
                    <a:pt x="24" y="216"/>
                  </a:lnTo>
                  <a:lnTo>
                    <a:pt x="24" y="214"/>
                  </a:lnTo>
                  <a:lnTo>
                    <a:pt x="22" y="214"/>
                  </a:lnTo>
                  <a:lnTo>
                    <a:pt x="20" y="210"/>
                  </a:lnTo>
                  <a:lnTo>
                    <a:pt x="16" y="208"/>
                  </a:lnTo>
                  <a:lnTo>
                    <a:pt x="16" y="206"/>
                  </a:lnTo>
                  <a:lnTo>
                    <a:pt x="14" y="204"/>
                  </a:lnTo>
                  <a:lnTo>
                    <a:pt x="10" y="202"/>
                  </a:lnTo>
                  <a:lnTo>
                    <a:pt x="8" y="200"/>
                  </a:lnTo>
                  <a:lnTo>
                    <a:pt x="6" y="198"/>
                  </a:lnTo>
                  <a:lnTo>
                    <a:pt x="6" y="196"/>
                  </a:lnTo>
                  <a:lnTo>
                    <a:pt x="4" y="196"/>
                  </a:lnTo>
                  <a:lnTo>
                    <a:pt x="4" y="196"/>
                  </a:lnTo>
                  <a:lnTo>
                    <a:pt x="4" y="194"/>
                  </a:lnTo>
                  <a:lnTo>
                    <a:pt x="2" y="192"/>
                  </a:lnTo>
                  <a:lnTo>
                    <a:pt x="2" y="188"/>
                  </a:lnTo>
                  <a:lnTo>
                    <a:pt x="2" y="186"/>
                  </a:lnTo>
                  <a:lnTo>
                    <a:pt x="0" y="182"/>
                  </a:lnTo>
                  <a:lnTo>
                    <a:pt x="0" y="180"/>
                  </a:lnTo>
                  <a:lnTo>
                    <a:pt x="0" y="176"/>
                  </a:lnTo>
                  <a:lnTo>
                    <a:pt x="0" y="174"/>
                  </a:lnTo>
                  <a:lnTo>
                    <a:pt x="0" y="170"/>
                  </a:lnTo>
                  <a:lnTo>
                    <a:pt x="0" y="168"/>
                  </a:lnTo>
                  <a:lnTo>
                    <a:pt x="0" y="164"/>
                  </a:lnTo>
                  <a:lnTo>
                    <a:pt x="0" y="162"/>
                  </a:lnTo>
                  <a:lnTo>
                    <a:pt x="0" y="160"/>
                  </a:lnTo>
                  <a:lnTo>
                    <a:pt x="0" y="156"/>
                  </a:lnTo>
                  <a:lnTo>
                    <a:pt x="2" y="154"/>
                  </a:lnTo>
                  <a:lnTo>
                    <a:pt x="2" y="152"/>
                  </a:lnTo>
                  <a:lnTo>
                    <a:pt x="2" y="152"/>
                  </a:lnTo>
                  <a:lnTo>
                    <a:pt x="2" y="152"/>
                  </a:lnTo>
                  <a:lnTo>
                    <a:pt x="4" y="150"/>
                  </a:lnTo>
                  <a:lnTo>
                    <a:pt x="6" y="150"/>
                  </a:lnTo>
                  <a:lnTo>
                    <a:pt x="6" y="148"/>
                  </a:lnTo>
                  <a:lnTo>
                    <a:pt x="8" y="148"/>
                  </a:lnTo>
                  <a:lnTo>
                    <a:pt x="10" y="146"/>
                  </a:lnTo>
                  <a:lnTo>
                    <a:pt x="10" y="146"/>
                  </a:lnTo>
                  <a:lnTo>
                    <a:pt x="10" y="146"/>
                  </a:lnTo>
                  <a:lnTo>
                    <a:pt x="10" y="146"/>
                  </a:lnTo>
                  <a:lnTo>
                    <a:pt x="10" y="144"/>
                  </a:lnTo>
                  <a:lnTo>
                    <a:pt x="10" y="144"/>
                  </a:lnTo>
                  <a:lnTo>
                    <a:pt x="10" y="144"/>
                  </a:lnTo>
                  <a:lnTo>
                    <a:pt x="10" y="144"/>
                  </a:lnTo>
                  <a:lnTo>
                    <a:pt x="10" y="142"/>
                  </a:lnTo>
                  <a:lnTo>
                    <a:pt x="8" y="142"/>
                  </a:lnTo>
                  <a:lnTo>
                    <a:pt x="6" y="140"/>
                  </a:lnTo>
                  <a:lnTo>
                    <a:pt x="4" y="140"/>
                  </a:lnTo>
                  <a:lnTo>
                    <a:pt x="4" y="138"/>
                  </a:lnTo>
                  <a:lnTo>
                    <a:pt x="4" y="136"/>
                  </a:lnTo>
                  <a:lnTo>
                    <a:pt x="4" y="134"/>
                  </a:lnTo>
                  <a:lnTo>
                    <a:pt x="4" y="132"/>
                  </a:lnTo>
                  <a:lnTo>
                    <a:pt x="4" y="130"/>
                  </a:lnTo>
                  <a:lnTo>
                    <a:pt x="4" y="130"/>
                  </a:lnTo>
                  <a:lnTo>
                    <a:pt x="4" y="130"/>
                  </a:lnTo>
                  <a:lnTo>
                    <a:pt x="4" y="128"/>
                  </a:lnTo>
                  <a:lnTo>
                    <a:pt x="6" y="126"/>
                  </a:lnTo>
                  <a:lnTo>
                    <a:pt x="6" y="124"/>
                  </a:lnTo>
                  <a:lnTo>
                    <a:pt x="6" y="124"/>
                  </a:lnTo>
                  <a:lnTo>
                    <a:pt x="8" y="122"/>
                  </a:lnTo>
                  <a:lnTo>
                    <a:pt x="8" y="120"/>
                  </a:lnTo>
                  <a:lnTo>
                    <a:pt x="8" y="116"/>
                  </a:lnTo>
                  <a:lnTo>
                    <a:pt x="8" y="112"/>
                  </a:lnTo>
                  <a:lnTo>
                    <a:pt x="8" y="110"/>
                  </a:lnTo>
                  <a:lnTo>
                    <a:pt x="8" y="108"/>
                  </a:lnTo>
                  <a:lnTo>
                    <a:pt x="10" y="108"/>
                  </a:lnTo>
                  <a:lnTo>
                    <a:pt x="10" y="106"/>
                  </a:lnTo>
                  <a:lnTo>
                    <a:pt x="10" y="106"/>
                  </a:lnTo>
                  <a:lnTo>
                    <a:pt x="10" y="106"/>
                  </a:lnTo>
                  <a:lnTo>
                    <a:pt x="14" y="104"/>
                  </a:lnTo>
                  <a:lnTo>
                    <a:pt x="16" y="104"/>
                  </a:lnTo>
                  <a:lnTo>
                    <a:pt x="16" y="102"/>
                  </a:lnTo>
                  <a:lnTo>
                    <a:pt x="16" y="102"/>
                  </a:lnTo>
                  <a:lnTo>
                    <a:pt x="18" y="100"/>
                  </a:lnTo>
                  <a:lnTo>
                    <a:pt x="18" y="100"/>
                  </a:lnTo>
                  <a:lnTo>
                    <a:pt x="18" y="98"/>
                  </a:lnTo>
                  <a:lnTo>
                    <a:pt x="18" y="96"/>
                  </a:lnTo>
                  <a:lnTo>
                    <a:pt x="18" y="94"/>
                  </a:lnTo>
                  <a:lnTo>
                    <a:pt x="16" y="90"/>
                  </a:lnTo>
                  <a:lnTo>
                    <a:pt x="16" y="86"/>
                  </a:lnTo>
                  <a:lnTo>
                    <a:pt x="16" y="82"/>
                  </a:lnTo>
                  <a:lnTo>
                    <a:pt x="16" y="80"/>
                  </a:lnTo>
                  <a:lnTo>
                    <a:pt x="16" y="80"/>
                  </a:lnTo>
                  <a:lnTo>
                    <a:pt x="16" y="78"/>
                  </a:lnTo>
                  <a:lnTo>
                    <a:pt x="16" y="76"/>
                  </a:lnTo>
                  <a:lnTo>
                    <a:pt x="18" y="76"/>
                  </a:lnTo>
                  <a:lnTo>
                    <a:pt x="18" y="76"/>
                  </a:lnTo>
                  <a:lnTo>
                    <a:pt x="20" y="74"/>
                  </a:lnTo>
                  <a:lnTo>
                    <a:pt x="22" y="72"/>
                  </a:lnTo>
                  <a:lnTo>
                    <a:pt x="24" y="72"/>
                  </a:lnTo>
                  <a:lnTo>
                    <a:pt x="24" y="70"/>
                  </a:lnTo>
                  <a:lnTo>
                    <a:pt x="26" y="70"/>
                  </a:lnTo>
                  <a:lnTo>
                    <a:pt x="26" y="68"/>
                  </a:lnTo>
                  <a:lnTo>
                    <a:pt x="26" y="66"/>
                  </a:lnTo>
                  <a:lnTo>
                    <a:pt x="26" y="64"/>
                  </a:lnTo>
                  <a:lnTo>
                    <a:pt x="26" y="60"/>
                  </a:lnTo>
                  <a:lnTo>
                    <a:pt x="28" y="56"/>
                  </a:lnTo>
                  <a:lnTo>
                    <a:pt x="28" y="52"/>
                  </a:lnTo>
                  <a:lnTo>
                    <a:pt x="28" y="50"/>
                  </a:lnTo>
                  <a:lnTo>
                    <a:pt x="28" y="48"/>
                  </a:lnTo>
                  <a:lnTo>
                    <a:pt x="28" y="46"/>
                  </a:lnTo>
                  <a:lnTo>
                    <a:pt x="30" y="44"/>
                  </a:lnTo>
                  <a:lnTo>
                    <a:pt x="30" y="42"/>
                  </a:lnTo>
                  <a:lnTo>
                    <a:pt x="30" y="42"/>
                  </a:lnTo>
                  <a:lnTo>
                    <a:pt x="32" y="42"/>
                  </a:lnTo>
                  <a:lnTo>
                    <a:pt x="32" y="40"/>
                  </a:lnTo>
                  <a:lnTo>
                    <a:pt x="34" y="40"/>
                  </a:lnTo>
                  <a:lnTo>
                    <a:pt x="36" y="40"/>
                  </a:lnTo>
                  <a:lnTo>
                    <a:pt x="38" y="40"/>
                  </a:lnTo>
                  <a:lnTo>
                    <a:pt x="38" y="40"/>
                  </a:lnTo>
                  <a:lnTo>
                    <a:pt x="38" y="40"/>
                  </a:lnTo>
                  <a:lnTo>
                    <a:pt x="38" y="38"/>
                  </a:lnTo>
                  <a:lnTo>
                    <a:pt x="38" y="38"/>
                  </a:lnTo>
                  <a:lnTo>
                    <a:pt x="38" y="38"/>
                  </a:lnTo>
                  <a:lnTo>
                    <a:pt x="38" y="36"/>
                  </a:lnTo>
                  <a:lnTo>
                    <a:pt x="38" y="36"/>
                  </a:lnTo>
                  <a:lnTo>
                    <a:pt x="36" y="34"/>
                  </a:lnTo>
                  <a:lnTo>
                    <a:pt x="34" y="32"/>
                  </a:lnTo>
                  <a:lnTo>
                    <a:pt x="32" y="32"/>
                  </a:lnTo>
                  <a:lnTo>
                    <a:pt x="30" y="30"/>
                  </a:lnTo>
                  <a:lnTo>
                    <a:pt x="30" y="28"/>
                  </a:lnTo>
                  <a:lnTo>
                    <a:pt x="28" y="28"/>
                  </a:lnTo>
                  <a:lnTo>
                    <a:pt x="28" y="26"/>
                  </a:lnTo>
                  <a:lnTo>
                    <a:pt x="28" y="26"/>
                  </a:lnTo>
                  <a:lnTo>
                    <a:pt x="28" y="24"/>
                  </a:lnTo>
                  <a:lnTo>
                    <a:pt x="28" y="22"/>
                  </a:lnTo>
                  <a:lnTo>
                    <a:pt x="28" y="20"/>
                  </a:lnTo>
                  <a:lnTo>
                    <a:pt x="28" y="18"/>
                  </a:lnTo>
                  <a:lnTo>
                    <a:pt x="28" y="16"/>
                  </a:lnTo>
                  <a:lnTo>
                    <a:pt x="28" y="16"/>
                  </a:lnTo>
                  <a:lnTo>
                    <a:pt x="28" y="14"/>
                  </a:lnTo>
                  <a:lnTo>
                    <a:pt x="28" y="14"/>
                  </a:lnTo>
                  <a:lnTo>
                    <a:pt x="28" y="14"/>
                  </a:lnTo>
                  <a:lnTo>
                    <a:pt x="30" y="12"/>
                  </a:lnTo>
                  <a:lnTo>
                    <a:pt x="30" y="12"/>
                  </a:lnTo>
                  <a:lnTo>
                    <a:pt x="32" y="12"/>
                  </a:lnTo>
                  <a:lnTo>
                    <a:pt x="34" y="12"/>
                  </a:lnTo>
                  <a:lnTo>
                    <a:pt x="36" y="12"/>
                  </a:lnTo>
                  <a:lnTo>
                    <a:pt x="38" y="10"/>
                  </a:lnTo>
                  <a:lnTo>
                    <a:pt x="40" y="12"/>
                  </a:lnTo>
                  <a:lnTo>
                    <a:pt x="40" y="12"/>
                  </a:lnTo>
                  <a:lnTo>
                    <a:pt x="42" y="12"/>
                  </a:lnTo>
                  <a:lnTo>
                    <a:pt x="42" y="12"/>
                  </a:lnTo>
                  <a:lnTo>
                    <a:pt x="44" y="12"/>
                  </a:lnTo>
                  <a:lnTo>
                    <a:pt x="44" y="14"/>
                  </a:lnTo>
                  <a:lnTo>
                    <a:pt x="46" y="16"/>
                  </a:lnTo>
                  <a:lnTo>
                    <a:pt x="48" y="18"/>
                  </a:lnTo>
                  <a:lnTo>
                    <a:pt x="50" y="22"/>
                  </a:lnTo>
                  <a:lnTo>
                    <a:pt x="50" y="22"/>
                  </a:lnTo>
                  <a:lnTo>
                    <a:pt x="50" y="24"/>
                  </a:lnTo>
                  <a:lnTo>
                    <a:pt x="52" y="26"/>
                  </a:lnTo>
                  <a:lnTo>
                    <a:pt x="54" y="28"/>
                  </a:lnTo>
                  <a:lnTo>
                    <a:pt x="54" y="30"/>
                  </a:lnTo>
                  <a:lnTo>
                    <a:pt x="54" y="30"/>
                  </a:lnTo>
                  <a:lnTo>
                    <a:pt x="56" y="30"/>
                  </a:lnTo>
                  <a:lnTo>
                    <a:pt x="56" y="30"/>
                  </a:lnTo>
                  <a:lnTo>
                    <a:pt x="56" y="30"/>
                  </a:lnTo>
                  <a:lnTo>
                    <a:pt x="56" y="30"/>
                  </a:lnTo>
                  <a:lnTo>
                    <a:pt x="58" y="30"/>
                  </a:lnTo>
                  <a:lnTo>
                    <a:pt x="58" y="28"/>
                  </a:lnTo>
                  <a:lnTo>
                    <a:pt x="58" y="28"/>
                  </a:lnTo>
                  <a:lnTo>
                    <a:pt x="58" y="26"/>
                  </a:lnTo>
                  <a:lnTo>
                    <a:pt x="60" y="24"/>
                  </a:lnTo>
                  <a:lnTo>
                    <a:pt x="60" y="22"/>
                  </a:lnTo>
                  <a:lnTo>
                    <a:pt x="60" y="20"/>
                  </a:lnTo>
                  <a:lnTo>
                    <a:pt x="60" y="18"/>
                  </a:lnTo>
                  <a:lnTo>
                    <a:pt x="60" y="16"/>
                  </a:lnTo>
                  <a:lnTo>
                    <a:pt x="60" y="10"/>
                  </a:lnTo>
                  <a:lnTo>
                    <a:pt x="60" y="6"/>
                  </a:lnTo>
                  <a:lnTo>
                    <a:pt x="58"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2" name="Freeform 527">
              <a:extLst>
                <a:ext uri="{FF2B5EF4-FFF2-40B4-BE49-F238E27FC236}">
                  <a16:creationId xmlns:a16="http://schemas.microsoft.com/office/drawing/2014/main" id="{D59C39D8-35EB-4411-A21A-131E36A2EF56}"/>
                </a:ext>
              </a:extLst>
            </p:cNvPr>
            <p:cNvSpPr>
              <a:spLocks/>
            </p:cNvSpPr>
            <p:nvPr/>
          </p:nvSpPr>
          <p:spPr bwMode="auto">
            <a:xfrm>
              <a:off x="1279650" y="3170483"/>
              <a:ext cx="1409909" cy="789826"/>
            </a:xfrm>
            <a:custGeom>
              <a:avLst/>
              <a:gdLst>
                <a:gd name="T0" fmla="*/ 464 w 814"/>
                <a:gd name="T1" fmla="*/ 10 h 456"/>
                <a:gd name="T2" fmla="*/ 542 w 814"/>
                <a:gd name="T3" fmla="*/ 20 h 456"/>
                <a:gd name="T4" fmla="*/ 590 w 814"/>
                <a:gd name="T5" fmla="*/ 70 h 456"/>
                <a:gd name="T6" fmla="*/ 588 w 814"/>
                <a:gd name="T7" fmla="*/ 122 h 456"/>
                <a:gd name="T8" fmla="*/ 596 w 814"/>
                <a:gd name="T9" fmla="*/ 144 h 456"/>
                <a:gd name="T10" fmla="*/ 642 w 814"/>
                <a:gd name="T11" fmla="*/ 108 h 456"/>
                <a:gd name="T12" fmla="*/ 680 w 814"/>
                <a:gd name="T13" fmla="*/ 104 h 456"/>
                <a:gd name="T14" fmla="*/ 702 w 814"/>
                <a:gd name="T15" fmla="*/ 74 h 456"/>
                <a:gd name="T16" fmla="*/ 762 w 814"/>
                <a:gd name="T17" fmla="*/ 68 h 456"/>
                <a:gd name="T18" fmla="*/ 786 w 814"/>
                <a:gd name="T19" fmla="*/ 26 h 456"/>
                <a:gd name="T20" fmla="*/ 802 w 814"/>
                <a:gd name="T21" fmla="*/ 62 h 456"/>
                <a:gd name="T22" fmla="*/ 802 w 814"/>
                <a:gd name="T23" fmla="*/ 86 h 456"/>
                <a:gd name="T24" fmla="*/ 780 w 814"/>
                <a:gd name="T25" fmla="*/ 94 h 456"/>
                <a:gd name="T26" fmla="*/ 766 w 814"/>
                <a:gd name="T27" fmla="*/ 102 h 456"/>
                <a:gd name="T28" fmla="*/ 756 w 814"/>
                <a:gd name="T29" fmla="*/ 128 h 456"/>
                <a:gd name="T30" fmla="*/ 746 w 814"/>
                <a:gd name="T31" fmla="*/ 144 h 456"/>
                <a:gd name="T32" fmla="*/ 716 w 814"/>
                <a:gd name="T33" fmla="*/ 164 h 456"/>
                <a:gd name="T34" fmla="*/ 692 w 814"/>
                <a:gd name="T35" fmla="*/ 184 h 456"/>
                <a:gd name="T36" fmla="*/ 672 w 814"/>
                <a:gd name="T37" fmla="*/ 214 h 456"/>
                <a:gd name="T38" fmla="*/ 676 w 814"/>
                <a:gd name="T39" fmla="*/ 234 h 456"/>
                <a:gd name="T40" fmla="*/ 662 w 814"/>
                <a:gd name="T41" fmla="*/ 264 h 456"/>
                <a:gd name="T42" fmla="*/ 646 w 814"/>
                <a:gd name="T43" fmla="*/ 272 h 456"/>
                <a:gd name="T44" fmla="*/ 620 w 814"/>
                <a:gd name="T45" fmla="*/ 288 h 456"/>
                <a:gd name="T46" fmla="*/ 602 w 814"/>
                <a:gd name="T47" fmla="*/ 308 h 456"/>
                <a:gd name="T48" fmla="*/ 586 w 814"/>
                <a:gd name="T49" fmla="*/ 362 h 456"/>
                <a:gd name="T50" fmla="*/ 594 w 814"/>
                <a:gd name="T51" fmla="*/ 396 h 456"/>
                <a:gd name="T52" fmla="*/ 602 w 814"/>
                <a:gd name="T53" fmla="*/ 452 h 456"/>
                <a:gd name="T54" fmla="*/ 576 w 814"/>
                <a:gd name="T55" fmla="*/ 438 h 456"/>
                <a:gd name="T56" fmla="*/ 564 w 814"/>
                <a:gd name="T57" fmla="*/ 380 h 456"/>
                <a:gd name="T58" fmla="*/ 538 w 814"/>
                <a:gd name="T59" fmla="*/ 350 h 456"/>
                <a:gd name="T60" fmla="*/ 500 w 814"/>
                <a:gd name="T61" fmla="*/ 346 h 456"/>
                <a:gd name="T62" fmla="*/ 466 w 814"/>
                <a:gd name="T63" fmla="*/ 362 h 456"/>
                <a:gd name="T64" fmla="*/ 446 w 814"/>
                <a:gd name="T65" fmla="*/ 372 h 456"/>
                <a:gd name="T66" fmla="*/ 434 w 814"/>
                <a:gd name="T67" fmla="*/ 348 h 456"/>
                <a:gd name="T68" fmla="*/ 420 w 814"/>
                <a:gd name="T69" fmla="*/ 368 h 456"/>
                <a:gd name="T70" fmla="*/ 400 w 814"/>
                <a:gd name="T71" fmla="*/ 354 h 456"/>
                <a:gd name="T72" fmla="*/ 360 w 814"/>
                <a:gd name="T73" fmla="*/ 396 h 456"/>
                <a:gd name="T74" fmla="*/ 328 w 814"/>
                <a:gd name="T75" fmla="*/ 424 h 456"/>
                <a:gd name="T76" fmla="*/ 316 w 814"/>
                <a:gd name="T77" fmla="*/ 400 h 456"/>
                <a:gd name="T78" fmla="*/ 298 w 814"/>
                <a:gd name="T79" fmla="*/ 366 h 456"/>
                <a:gd name="T80" fmla="*/ 278 w 814"/>
                <a:gd name="T81" fmla="*/ 368 h 456"/>
                <a:gd name="T82" fmla="*/ 258 w 814"/>
                <a:gd name="T83" fmla="*/ 364 h 456"/>
                <a:gd name="T84" fmla="*/ 244 w 814"/>
                <a:gd name="T85" fmla="*/ 342 h 456"/>
                <a:gd name="T86" fmla="*/ 230 w 814"/>
                <a:gd name="T87" fmla="*/ 328 h 456"/>
                <a:gd name="T88" fmla="*/ 216 w 814"/>
                <a:gd name="T89" fmla="*/ 322 h 456"/>
                <a:gd name="T90" fmla="*/ 198 w 814"/>
                <a:gd name="T91" fmla="*/ 334 h 456"/>
                <a:gd name="T92" fmla="*/ 146 w 814"/>
                <a:gd name="T93" fmla="*/ 336 h 456"/>
                <a:gd name="T94" fmla="*/ 112 w 814"/>
                <a:gd name="T95" fmla="*/ 310 h 456"/>
                <a:gd name="T96" fmla="*/ 80 w 814"/>
                <a:gd name="T97" fmla="*/ 292 h 456"/>
                <a:gd name="T98" fmla="*/ 46 w 814"/>
                <a:gd name="T99" fmla="*/ 274 h 456"/>
                <a:gd name="T100" fmla="*/ 36 w 814"/>
                <a:gd name="T101" fmla="*/ 248 h 456"/>
                <a:gd name="T102" fmla="*/ 22 w 814"/>
                <a:gd name="T103" fmla="*/ 230 h 456"/>
                <a:gd name="T104" fmla="*/ 4 w 814"/>
                <a:gd name="T105" fmla="*/ 196 h 456"/>
                <a:gd name="T106" fmla="*/ 4 w 814"/>
                <a:gd name="T107" fmla="*/ 150 h 456"/>
                <a:gd name="T108" fmla="*/ 4 w 814"/>
                <a:gd name="T109" fmla="*/ 130 h 456"/>
                <a:gd name="T110" fmla="*/ 16 w 814"/>
                <a:gd name="T111" fmla="*/ 102 h 456"/>
                <a:gd name="T112" fmla="*/ 26 w 814"/>
                <a:gd name="T113" fmla="*/ 68 h 456"/>
                <a:gd name="T114" fmla="*/ 38 w 814"/>
                <a:gd name="T115" fmla="*/ 38 h 456"/>
                <a:gd name="T116" fmla="*/ 28 w 814"/>
                <a:gd name="T117" fmla="*/ 14 h 456"/>
                <a:gd name="T118" fmla="*/ 54 w 814"/>
                <a:gd name="T119" fmla="*/ 3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4" h="456">
                  <a:moveTo>
                    <a:pt x="58" y="2"/>
                  </a:moveTo>
                  <a:lnTo>
                    <a:pt x="442" y="0"/>
                  </a:lnTo>
                  <a:lnTo>
                    <a:pt x="440" y="2"/>
                  </a:lnTo>
                  <a:lnTo>
                    <a:pt x="440" y="4"/>
                  </a:lnTo>
                  <a:lnTo>
                    <a:pt x="440" y="6"/>
                  </a:lnTo>
                  <a:lnTo>
                    <a:pt x="440" y="8"/>
                  </a:lnTo>
                  <a:lnTo>
                    <a:pt x="440" y="10"/>
                  </a:lnTo>
                  <a:lnTo>
                    <a:pt x="440" y="10"/>
                  </a:lnTo>
                  <a:lnTo>
                    <a:pt x="440" y="10"/>
                  </a:lnTo>
                  <a:lnTo>
                    <a:pt x="440" y="10"/>
                  </a:lnTo>
                  <a:lnTo>
                    <a:pt x="442" y="12"/>
                  </a:lnTo>
                  <a:lnTo>
                    <a:pt x="444" y="12"/>
                  </a:lnTo>
                  <a:lnTo>
                    <a:pt x="444" y="12"/>
                  </a:lnTo>
                  <a:lnTo>
                    <a:pt x="446" y="12"/>
                  </a:lnTo>
                  <a:lnTo>
                    <a:pt x="448" y="12"/>
                  </a:lnTo>
                  <a:lnTo>
                    <a:pt x="452" y="12"/>
                  </a:lnTo>
                  <a:lnTo>
                    <a:pt x="456" y="12"/>
                  </a:lnTo>
                  <a:lnTo>
                    <a:pt x="460" y="10"/>
                  </a:lnTo>
                  <a:lnTo>
                    <a:pt x="464" y="10"/>
                  </a:lnTo>
                  <a:lnTo>
                    <a:pt x="464" y="10"/>
                  </a:lnTo>
                  <a:lnTo>
                    <a:pt x="466" y="10"/>
                  </a:lnTo>
                  <a:lnTo>
                    <a:pt x="470" y="10"/>
                  </a:lnTo>
                  <a:lnTo>
                    <a:pt x="476" y="10"/>
                  </a:lnTo>
                  <a:lnTo>
                    <a:pt x="486" y="12"/>
                  </a:lnTo>
                  <a:lnTo>
                    <a:pt x="498" y="14"/>
                  </a:lnTo>
                  <a:lnTo>
                    <a:pt x="502" y="14"/>
                  </a:lnTo>
                  <a:lnTo>
                    <a:pt x="506" y="14"/>
                  </a:lnTo>
                  <a:lnTo>
                    <a:pt x="508" y="14"/>
                  </a:lnTo>
                  <a:lnTo>
                    <a:pt x="512" y="14"/>
                  </a:lnTo>
                  <a:lnTo>
                    <a:pt x="520" y="14"/>
                  </a:lnTo>
                  <a:lnTo>
                    <a:pt x="522" y="12"/>
                  </a:lnTo>
                  <a:lnTo>
                    <a:pt x="526" y="12"/>
                  </a:lnTo>
                  <a:lnTo>
                    <a:pt x="530" y="14"/>
                  </a:lnTo>
                  <a:lnTo>
                    <a:pt x="530" y="14"/>
                  </a:lnTo>
                  <a:lnTo>
                    <a:pt x="532" y="14"/>
                  </a:lnTo>
                  <a:lnTo>
                    <a:pt x="532" y="14"/>
                  </a:lnTo>
                  <a:lnTo>
                    <a:pt x="534" y="14"/>
                  </a:lnTo>
                  <a:lnTo>
                    <a:pt x="536" y="16"/>
                  </a:lnTo>
                  <a:lnTo>
                    <a:pt x="540" y="18"/>
                  </a:lnTo>
                  <a:lnTo>
                    <a:pt x="542" y="20"/>
                  </a:lnTo>
                  <a:lnTo>
                    <a:pt x="548" y="26"/>
                  </a:lnTo>
                  <a:lnTo>
                    <a:pt x="550" y="28"/>
                  </a:lnTo>
                  <a:lnTo>
                    <a:pt x="552" y="28"/>
                  </a:lnTo>
                  <a:lnTo>
                    <a:pt x="554" y="30"/>
                  </a:lnTo>
                  <a:lnTo>
                    <a:pt x="558" y="32"/>
                  </a:lnTo>
                  <a:lnTo>
                    <a:pt x="564" y="34"/>
                  </a:lnTo>
                  <a:lnTo>
                    <a:pt x="568" y="36"/>
                  </a:lnTo>
                  <a:lnTo>
                    <a:pt x="570" y="38"/>
                  </a:lnTo>
                  <a:lnTo>
                    <a:pt x="574" y="40"/>
                  </a:lnTo>
                  <a:lnTo>
                    <a:pt x="574" y="40"/>
                  </a:lnTo>
                  <a:lnTo>
                    <a:pt x="576" y="42"/>
                  </a:lnTo>
                  <a:lnTo>
                    <a:pt x="576" y="42"/>
                  </a:lnTo>
                  <a:lnTo>
                    <a:pt x="578" y="44"/>
                  </a:lnTo>
                  <a:lnTo>
                    <a:pt x="578" y="46"/>
                  </a:lnTo>
                  <a:lnTo>
                    <a:pt x="580" y="48"/>
                  </a:lnTo>
                  <a:lnTo>
                    <a:pt x="582" y="52"/>
                  </a:lnTo>
                  <a:lnTo>
                    <a:pt x="584" y="56"/>
                  </a:lnTo>
                  <a:lnTo>
                    <a:pt x="588" y="64"/>
                  </a:lnTo>
                  <a:lnTo>
                    <a:pt x="590" y="68"/>
                  </a:lnTo>
                  <a:lnTo>
                    <a:pt x="590" y="70"/>
                  </a:lnTo>
                  <a:lnTo>
                    <a:pt x="592" y="74"/>
                  </a:lnTo>
                  <a:lnTo>
                    <a:pt x="594" y="78"/>
                  </a:lnTo>
                  <a:lnTo>
                    <a:pt x="596" y="80"/>
                  </a:lnTo>
                  <a:lnTo>
                    <a:pt x="600" y="84"/>
                  </a:lnTo>
                  <a:lnTo>
                    <a:pt x="602" y="88"/>
                  </a:lnTo>
                  <a:lnTo>
                    <a:pt x="602" y="90"/>
                  </a:lnTo>
                  <a:lnTo>
                    <a:pt x="604" y="92"/>
                  </a:lnTo>
                  <a:lnTo>
                    <a:pt x="604" y="94"/>
                  </a:lnTo>
                  <a:lnTo>
                    <a:pt x="604" y="96"/>
                  </a:lnTo>
                  <a:lnTo>
                    <a:pt x="604" y="98"/>
                  </a:lnTo>
                  <a:lnTo>
                    <a:pt x="604" y="100"/>
                  </a:lnTo>
                  <a:lnTo>
                    <a:pt x="604" y="100"/>
                  </a:lnTo>
                  <a:lnTo>
                    <a:pt x="604" y="102"/>
                  </a:lnTo>
                  <a:lnTo>
                    <a:pt x="604" y="104"/>
                  </a:lnTo>
                  <a:lnTo>
                    <a:pt x="602" y="106"/>
                  </a:lnTo>
                  <a:lnTo>
                    <a:pt x="602" y="108"/>
                  </a:lnTo>
                  <a:lnTo>
                    <a:pt x="600" y="110"/>
                  </a:lnTo>
                  <a:lnTo>
                    <a:pt x="598" y="112"/>
                  </a:lnTo>
                  <a:lnTo>
                    <a:pt x="592" y="120"/>
                  </a:lnTo>
                  <a:lnTo>
                    <a:pt x="588" y="122"/>
                  </a:lnTo>
                  <a:lnTo>
                    <a:pt x="588" y="124"/>
                  </a:lnTo>
                  <a:lnTo>
                    <a:pt x="586" y="126"/>
                  </a:lnTo>
                  <a:lnTo>
                    <a:pt x="584" y="128"/>
                  </a:lnTo>
                  <a:lnTo>
                    <a:pt x="582" y="130"/>
                  </a:lnTo>
                  <a:lnTo>
                    <a:pt x="580" y="132"/>
                  </a:lnTo>
                  <a:lnTo>
                    <a:pt x="580" y="134"/>
                  </a:lnTo>
                  <a:lnTo>
                    <a:pt x="580" y="134"/>
                  </a:lnTo>
                  <a:lnTo>
                    <a:pt x="580" y="134"/>
                  </a:lnTo>
                  <a:lnTo>
                    <a:pt x="580" y="136"/>
                  </a:lnTo>
                  <a:lnTo>
                    <a:pt x="580" y="136"/>
                  </a:lnTo>
                  <a:lnTo>
                    <a:pt x="580" y="138"/>
                  </a:lnTo>
                  <a:lnTo>
                    <a:pt x="580" y="138"/>
                  </a:lnTo>
                  <a:lnTo>
                    <a:pt x="582" y="138"/>
                  </a:lnTo>
                  <a:lnTo>
                    <a:pt x="582" y="140"/>
                  </a:lnTo>
                  <a:lnTo>
                    <a:pt x="584" y="140"/>
                  </a:lnTo>
                  <a:lnTo>
                    <a:pt x="586" y="142"/>
                  </a:lnTo>
                  <a:lnTo>
                    <a:pt x="588" y="142"/>
                  </a:lnTo>
                  <a:lnTo>
                    <a:pt x="588" y="142"/>
                  </a:lnTo>
                  <a:lnTo>
                    <a:pt x="592" y="144"/>
                  </a:lnTo>
                  <a:lnTo>
                    <a:pt x="596" y="144"/>
                  </a:lnTo>
                  <a:lnTo>
                    <a:pt x="598" y="144"/>
                  </a:lnTo>
                  <a:lnTo>
                    <a:pt x="600" y="144"/>
                  </a:lnTo>
                  <a:lnTo>
                    <a:pt x="600" y="144"/>
                  </a:lnTo>
                  <a:lnTo>
                    <a:pt x="602" y="144"/>
                  </a:lnTo>
                  <a:lnTo>
                    <a:pt x="604" y="144"/>
                  </a:lnTo>
                  <a:lnTo>
                    <a:pt x="606" y="142"/>
                  </a:lnTo>
                  <a:lnTo>
                    <a:pt x="610" y="140"/>
                  </a:lnTo>
                  <a:lnTo>
                    <a:pt x="612" y="140"/>
                  </a:lnTo>
                  <a:lnTo>
                    <a:pt x="614" y="138"/>
                  </a:lnTo>
                  <a:lnTo>
                    <a:pt x="618" y="132"/>
                  </a:lnTo>
                  <a:lnTo>
                    <a:pt x="622" y="128"/>
                  </a:lnTo>
                  <a:lnTo>
                    <a:pt x="626" y="124"/>
                  </a:lnTo>
                  <a:lnTo>
                    <a:pt x="630" y="120"/>
                  </a:lnTo>
                  <a:lnTo>
                    <a:pt x="630" y="118"/>
                  </a:lnTo>
                  <a:lnTo>
                    <a:pt x="632" y="118"/>
                  </a:lnTo>
                  <a:lnTo>
                    <a:pt x="634" y="116"/>
                  </a:lnTo>
                  <a:lnTo>
                    <a:pt x="634" y="114"/>
                  </a:lnTo>
                  <a:lnTo>
                    <a:pt x="638" y="110"/>
                  </a:lnTo>
                  <a:lnTo>
                    <a:pt x="640" y="110"/>
                  </a:lnTo>
                  <a:lnTo>
                    <a:pt x="642" y="108"/>
                  </a:lnTo>
                  <a:lnTo>
                    <a:pt x="644" y="106"/>
                  </a:lnTo>
                  <a:lnTo>
                    <a:pt x="644" y="106"/>
                  </a:lnTo>
                  <a:lnTo>
                    <a:pt x="644" y="106"/>
                  </a:lnTo>
                  <a:lnTo>
                    <a:pt x="646" y="106"/>
                  </a:lnTo>
                  <a:lnTo>
                    <a:pt x="648" y="106"/>
                  </a:lnTo>
                  <a:lnTo>
                    <a:pt x="650" y="106"/>
                  </a:lnTo>
                  <a:lnTo>
                    <a:pt x="652" y="106"/>
                  </a:lnTo>
                  <a:lnTo>
                    <a:pt x="656" y="106"/>
                  </a:lnTo>
                  <a:lnTo>
                    <a:pt x="662" y="108"/>
                  </a:lnTo>
                  <a:lnTo>
                    <a:pt x="666" y="108"/>
                  </a:lnTo>
                  <a:lnTo>
                    <a:pt x="668" y="108"/>
                  </a:lnTo>
                  <a:lnTo>
                    <a:pt x="670" y="108"/>
                  </a:lnTo>
                  <a:lnTo>
                    <a:pt x="672" y="108"/>
                  </a:lnTo>
                  <a:lnTo>
                    <a:pt x="674" y="108"/>
                  </a:lnTo>
                  <a:lnTo>
                    <a:pt x="676" y="108"/>
                  </a:lnTo>
                  <a:lnTo>
                    <a:pt x="676" y="108"/>
                  </a:lnTo>
                  <a:lnTo>
                    <a:pt x="678" y="106"/>
                  </a:lnTo>
                  <a:lnTo>
                    <a:pt x="678" y="106"/>
                  </a:lnTo>
                  <a:lnTo>
                    <a:pt x="678" y="106"/>
                  </a:lnTo>
                  <a:lnTo>
                    <a:pt x="680" y="104"/>
                  </a:lnTo>
                  <a:lnTo>
                    <a:pt x="680" y="102"/>
                  </a:lnTo>
                  <a:lnTo>
                    <a:pt x="680" y="100"/>
                  </a:lnTo>
                  <a:lnTo>
                    <a:pt x="682" y="96"/>
                  </a:lnTo>
                  <a:lnTo>
                    <a:pt x="682" y="94"/>
                  </a:lnTo>
                  <a:lnTo>
                    <a:pt x="682" y="90"/>
                  </a:lnTo>
                  <a:lnTo>
                    <a:pt x="682" y="88"/>
                  </a:lnTo>
                  <a:lnTo>
                    <a:pt x="684" y="86"/>
                  </a:lnTo>
                  <a:lnTo>
                    <a:pt x="684" y="86"/>
                  </a:lnTo>
                  <a:lnTo>
                    <a:pt x="684" y="84"/>
                  </a:lnTo>
                  <a:lnTo>
                    <a:pt x="686" y="82"/>
                  </a:lnTo>
                  <a:lnTo>
                    <a:pt x="688" y="80"/>
                  </a:lnTo>
                  <a:lnTo>
                    <a:pt x="688" y="80"/>
                  </a:lnTo>
                  <a:lnTo>
                    <a:pt x="690" y="78"/>
                  </a:lnTo>
                  <a:lnTo>
                    <a:pt x="692" y="76"/>
                  </a:lnTo>
                  <a:lnTo>
                    <a:pt x="694" y="76"/>
                  </a:lnTo>
                  <a:lnTo>
                    <a:pt x="696" y="74"/>
                  </a:lnTo>
                  <a:lnTo>
                    <a:pt x="696" y="74"/>
                  </a:lnTo>
                  <a:lnTo>
                    <a:pt x="698" y="74"/>
                  </a:lnTo>
                  <a:lnTo>
                    <a:pt x="700" y="74"/>
                  </a:lnTo>
                  <a:lnTo>
                    <a:pt x="702" y="74"/>
                  </a:lnTo>
                  <a:lnTo>
                    <a:pt x="704" y="74"/>
                  </a:lnTo>
                  <a:lnTo>
                    <a:pt x="708" y="74"/>
                  </a:lnTo>
                  <a:lnTo>
                    <a:pt x="712" y="74"/>
                  </a:lnTo>
                  <a:lnTo>
                    <a:pt x="716" y="74"/>
                  </a:lnTo>
                  <a:lnTo>
                    <a:pt x="724" y="76"/>
                  </a:lnTo>
                  <a:lnTo>
                    <a:pt x="734" y="78"/>
                  </a:lnTo>
                  <a:lnTo>
                    <a:pt x="738" y="78"/>
                  </a:lnTo>
                  <a:lnTo>
                    <a:pt x="742" y="80"/>
                  </a:lnTo>
                  <a:lnTo>
                    <a:pt x="746" y="80"/>
                  </a:lnTo>
                  <a:lnTo>
                    <a:pt x="748" y="80"/>
                  </a:lnTo>
                  <a:lnTo>
                    <a:pt x="750" y="80"/>
                  </a:lnTo>
                  <a:lnTo>
                    <a:pt x="752" y="78"/>
                  </a:lnTo>
                  <a:lnTo>
                    <a:pt x="754" y="78"/>
                  </a:lnTo>
                  <a:lnTo>
                    <a:pt x="754" y="78"/>
                  </a:lnTo>
                  <a:lnTo>
                    <a:pt x="754" y="78"/>
                  </a:lnTo>
                  <a:lnTo>
                    <a:pt x="756" y="78"/>
                  </a:lnTo>
                  <a:lnTo>
                    <a:pt x="758" y="76"/>
                  </a:lnTo>
                  <a:lnTo>
                    <a:pt x="758" y="74"/>
                  </a:lnTo>
                  <a:lnTo>
                    <a:pt x="760" y="72"/>
                  </a:lnTo>
                  <a:lnTo>
                    <a:pt x="762" y="68"/>
                  </a:lnTo>
                  <a:lnTo>
                    <a:pt x="764" y="64"/>
                  </a:lnTo>
                  <a:lnTo>
                    <a:pt x="766" y="62"/>
                  </a:lnTo>
                  <a:lnTo>
                    <a:pt x="768" y="58"/>
                  </a:lnTo>
                  <a:lnTo>
                    <a:pt x="770" y="54"/>
                  </a:lnTo>
                  <a:lnTo>
                    <a:pt x="772" y="50"/>
                  </a:lnTo>
                  <a:lnTo>
                    <a:pt x="772" y="50"/>
                  </a:lnTo>
                  <a:lnTo>
                    <a:pt x="772" y="48"/>
                  </a:lnTo>
                  <a:lnTo>
                    <a:pt x="774" y="44"/>
                  </a:lnTo>
                  <a:lnTo>
                    <a:pt x="776" y="38"/>
                  </a:lnTo>
                  <a:lnTo>
                    <a:pt x="776" y="34"/>
                  </a:lnTo>
                  <a:lnTo>
                    <a:pt x="776" y="32"/>
                  </a:lnTo>
                  <a:lnTo>
                    <a:pt x="778" y="30"/>
                  </a:lnTo>
                  <a:lnTo>
                    <a:pt x="778" y="30"/>
                  </a:lnTo>
                  <a:lnTo>
                    <a:pt x="778" y="28"/>
                  </a:lnTo>
                  <a:lnTo>
                    <a:pt x="780" y="28"/>
                  </a:lnTo>
                  <a:lnTo>
                    <a:pt x="780" y="26"/>
                  </a:lnTo>
                  <a:lnTo>
                    <a:pt x="782" y="26"/>
                  </a:lnTo>
                  <a:lnTo>
                    <a:pt x="782" y="26"/>
                  </a:lnTo>
                  <a:lnTo>
                    <a:pt x="784" y="26"/>
                  </a:lnTo>
                  <a:lnTo>
                    <a:pt x="786" y="26"/>
                  </a:lnTo>
                  <a:lnTo>
                    <a:pt x="788" y="26"/>
                  </a:lnTo>
                  <a:lnTo>
                    <a:pt x="792" y="26"/>
                  </a:lnTo>
                  <a:lnTo>
                    <a:pt x="794" y="26"/>
                  </a:lnTo>
                  <a:lnTo>
                    <a:pt x="796" y="28"/>
                  </a:lnTo>
                  <a:lnTo>
                    <a:pt x="798" y="28"/>
                  </a:lnTo>
                  <a:lnTo>
                    <a:pt x="800" y="28"/>
                  </a:lnTo>
                  <a:lnTo>
                    <a:pt x="800" y="30"/>
                  </a:lnTo>
                  <a:lnTo>
                    <a:pt x="800" y="30"/>
                  </a:lnTo>
                  <a:lnTo>
                    <a:pt x="802" y="30"/>
                  </a:lnTo>
                  <a:lnTo>
                    <a:pt x="802" y="32"/>
                  </a:lnTo>
                  <a:lnTo>
                    <a:pt x="802" y="32"/>
                  </a:lnTo>
                  <a:lnTo>
                    <a:pt x="802" y="34"/>
                  </a:lnTo>
                  <a:lnTo>
                    <a:pt x="804" y="36"/>
                  </a:lnTo>
                  <a:lnTo>
                    <a:pt x="804" y="38"/>
                  </a:lnTo>
                  <a:lnTo>
                    <a:pt x="804" y="42"/>
                  </a:lnTo>
                  <a:lnTo>
                    <a:pt x="804" y="44"/>
                  </a:lnTo>
                  <a:lnTo>
                    <a:pt x="802" y="50"/>
                  </a:lnTo>
                  <a:lnTo>
                    <a:pt x="802" y="56"/>
                  </a:lnTo>
                  <a:lnTo>
                    <a:pt x="802" y="58"/>
                  </a:lnTo>
                  <a:lnTo>
                    <a:pt x="802" y="62"/>
                  </a:lnTo>
                  <a:lnTo>
                    <a:pt x="802" y="64"/>
                  </a:lnTo>
                  <a:lnTo>
                    <a:pt x="802" y="66"/>
                  </a:lnTo>
                  <a:lnTo>
                    <a:pt x="802" y="68"/>
                  </a:lnTo>
                  <a:lnTo>
                    <a:pt x="802" y="70"/>
                  </a:lnTo>
                  <a:lnTo>
                    <a:pt x="804" y="70"/>
                  </a:lnTo>
                  <a:lnTo>
                    <a:pt x="804" y="72"/>
                  </a:lnTo>
                  <a:lnTo>
                    <a:pt x="804" y="72"/>
                  </a:lnTo>
                  <a:lnTo>
                    <a:pt x="806" y="72"/>
                  </a:lnTo>
                  <a:lnTo>
                    <a:pt x="808" y="74"/>
                  </a:lnTo>
                  <a:lnTo>
                    <a:pt x="808" y="74"/>
                  </a:lnTo>
                  <a:lnTo>
                    <a:pt x="812" y="76"/>
                  </a:lnTo>
                  <a:lnTo>
                    <a:pt x="814" y="76"/>
                  </a:lnTo>
                  <a:lnTo>
                    <a:pt x="812" y="78"/>
                  </a:lnTo>
                  <a:lnTo>
                    <a:pt x="810" y="80"/>
                  </a:lnTo>
                  <a:lnTo>
                    <a:pt x="808" y="82"/>
                  </a:lnTo>
                  <a:lnTo>
                    <a:pt x="808" y="84"/>
                  </a:lnTo>
                  <a:lnTo>
                    <a:pt x="806" y="84"/>
                  </a:lnTo>
                  <a:lnTo>
                    <a:pt x="804" y="86"/>
                  </a:lnTo>
                  <a:lnTo>
                    <a:pt x="804" y="86"/>
                  </a:lnTo>
                  <a:lnTo>
                    <a:pt x="802" y="86"/>
                  </a:lnTo>
                  <a:lnTo>
                    <a:pt x="800" y="86"/>
                  </a:lnTo>
                  <a:lnTo>
                    <a:pt x="798" y="86"/>
                  </a:lnTo>
                  <a:lnTo>
                    <a:pt x="796" y="86"/>
                  </a:lnTo>
                  <a:lnTo>
                    <a:pt x="794" y="86"/>
                  </a:lnTo>
                  <a:lnTo>
                    <a:pt x="794" y="86"/>
                  </a:lnTo>
                  <a:lnTo>
                    <a:pt x="792" y="86"/>
                  </a:lnTo>
                  <a:lnTo>
                    <a:pt x="792" y="86"/>
                  </a:lnTo>
                  <a:lnTo>
                    <a:pt x="792" y="88"/>
                  </a:lnTo>
                  <a:lnTo>
                    <a:pt x="790" y="88"/>
                  </a:lnTo>
                  <a:lnTo>
                    <a:pt x="788" y="92"/>
                  </a:lnTo>
                  <a:lnTo>
                    <a:pt x="788" y="92"/>
                  </a:lnTo>
                  <a:lnTo>
                    <a:pt x="788" y="94"/>
                  </a:lnTo>
                  <a:lnTo>
                    <a:pt x="786" y="96"/>
                  </a:lnTo>
                  <a:lnTo>
                    <a:pt x="786" y="96"/>
                  </a:lnTo>
                  <a:lnTo>
                    <a:pt x="786" y="96"/>
                  </a:lnTo>
                  <a:lnTo>
                    <a:pt x="786" y="96"/>
                  </a:lnTo>
                  <a:lnTo>
                    <a:pt x="784" y="96"/>
                  </a:lnTo>
                  <a:lnTo>
                    <a:pt x="784" y="96"/>
                  </a:lnTo>
                  <a:lnTo>
                    <a:pt x="782" y="96"/>
                  </a:lnTo>
                  <a:lnTo>
                    <a:pt x="780" y="94"/>
                  </a:lnTo>
                  <a:lnTo>
                    <a:pt x="780" y="94"/>
                  </a:lnTo>
                  <a:lnTo>
                    <a:pt x="778" y="94"/>
                  </a:lnTo>
                  <a:lnTo>
                    <a:pt x="776" y="94"/>
                  </a:lnTo>
                  <a:lnTo>
                    <a:pt x="776" y="94"/>
                  </a:lnTo>
                  <a:lnTo>
                    <a:pt x="776" y="94"/>
                  </a:lnTo>
                  <a:lnTo>
                    <a:pt x="776" y="94"/>
                  </a:lnTo>
                  <a:lnTo>
                    <a:pt x="776" y="96"/>
                  </a:lnTo>
                  <a:lnTo>
                    <a:pt x="774" y="96"/>
                  </a:lnTo>
                  <a:lnTo>
                    <a:pt x="774" y="96"/>
                  </a:lnTo>
                  <a:lnTo>
                    <a:pt x="774" y="98"/>
                  </a:lnTo>
                  <a:lnTo>
                    <a:pt x="774" y="100"/>
                  </a:lnTo>
                  <a:lnTo>
                    <a:pt x="774" y="102"/>
                  </a:lnTo>
                  <a:lnTo>
                    <a:pt x="774" y="102"/>
                  </a:lnTo>
                  <a:lnTo>
                    <a:pt x="774" y="102"/>
                  </a:lnTo>
                  <a:lnTo>
                    <a:pt x="772" y="102"/>
                  </a:lnTo>
                  <a:lnTo>
                    <a:pt x="772" y="102"/>
                  </a:lnTo>
                  <a:lnTo>
                    <a:pt x="770" y="102"/>
                  </a:lnTo>
                  <a:lnTo>
                    <a:pt x="770" y="102"/>
                  </a:lnTo>
                  <a:lnTo>
                    <a:pt x="768" y="102"/>
                  </a:lnTo>
                  <a:lnTo>
                    <a:pt x="766" y="102"/>
                  </a:lnTo>
                  <a:lnTo>
                    <a:pt x="764" y="102"/>
                  </a:lnTo>
                  <a:lnTo>
                    <a:pt x="762" y="102"/>
                  </a:lnTo>
                  <a:lnTo>
                    <a:pt x="762" y="102"/>
                  </a:lnTo>
                  <a:lnTo>
                    <a:pt x="762" y="102"/>
                  </a:lnTo>
                  <a:lnTo>
                    <a:pt x="762" y="102"/>
                  </a:lnTo>
                  <a:lnTo>
                    <a:pt x="760" y="102"/>
                  </a:lnTo>
                  <a:lnTo>
                    <a:pt x="760" y="104"/>
                  </a:lnTo>
                  <a:lnTo>
                    <a:pt x="760" y="106"/>
                  </a:lnTo>
                  <a:lnTo>
                    <a:pt x="758" y="108"/>
                  </a:lnTo>
                  <a:lnTo>
                    <a:pt x="758" y="112"/>
                  </a:lnTo>
                  <a:lnTo>
                    <a:pt x="756" y="114"/>
                  </a:lnTo>
                  <a:lnTo>
                    <a:pt x="756" y="118"/>
                  </a:lnTo>
                  <a:lnTo>
                    <a:pt x="754" y="120"/>
                  </a:lnTo>
                  <a:lnTo>
                    <a:pt x="754" y="122"/>
                  </a:lnTo>
                  <a:lnTo>
                    <a:pt x="754" y="124"/>
                  </a:lnTo>
                  <a:lnTo>
                    <a:pt x="754" y="124"/>
                  </a:lnTo>
                  <a:lnTo>
                    <a:pt x="754" y="126"/>
                  </a:lnTo>
                  <a:lnTo>
                    <a:pt x="754" y="126"/>
                  </a:lnTo>
                  <a:lnTo>
                    <a:pt x="754" y="128"/>
                  </a:lnTo>
                  <a:lnTo>
                    <a:pt x="756" y="128"/>
                  </a:lnTo>
                  <a:lnTo>
                    <a:pt x="758" y="130"/>
                  </a:lnTo>
                  <a:lnTo>
                    <a:pt x="760" y="130"/>
                  </a:lnTo>
                  <a:lnTo>
                    <a:pt x="762" y="132"/>
                  </a:lnTo>
                  <a:lnTo>
                    <a:pt x="764" y="134"/>
                  </a:lnTo>
                  <a:lnTo>
                    <a:pt x="764" y="134"/>
                  </a:lnTo>
                  <a:lnTo>
                    <a:pt x="764" y="134"/>
                  </a:lnTo>
                  <a:lnTo>
                    <a:pt x="764" y="136"/>
                  </a:lnTo>
                  <a:lnTo>
                    <a:pt x="764" y="136"/>
                  </a:lnTo>
                  <a:lnTo>
                    <a:pt x="764" y="136"/>
                  </a:lnTo>
                  <a:lnTo>
                    <a:pt x="764" y="138"/>
                  </a:lnTo>
                  <a:lnTo>
                    <a:pt x="764" y="138"/>
                  </a:lnTo>
                  <a:lnTo>
                    <a:pt x="762" y="138"/>
                  </a:lnTo>
                  <a:lnTo>
                    <a:pt x="762" y="140"/>
                  </a:lnTo>
                  <a:lnTo>
                    <a:pt x="760" y="140"/>
                  </a:lnTo>
                  <a:lnTo>
                    <a:pt x="758" y="142"/>
                  </a:lnTo>
                  <a:lnTo>
                    <a:pt x="756" y="142"/>
                  </a:lnTo>
                  <a:lnTo>
                    <a:pt x="752" y="144"/>
                  </a:lnTo>
                  <a:lnTo>
                    <a:pt x="750" y="144"/>
                  </a:lnTo>
                  <a:lnTo>
                    <a:pt x="750" y="144"/>
                  </a:lnTo>
                  <a:lnTo>
                    <a:pt x="746" y="144"/>
                  </a:lnTo>
                  <a:lnTo>
                    <a:pt x="742" y="144"/>
                  </a:lnTo>
                  <a:lnTo>
                    <a:pt x="738" y="144"/>
                  </a:lnTo>
                  <a:lnTo>
                    <a:pt x="734" y="144"/>
                  </a:lnTo>
                  <a:lnTo>
                    <a:pt x="730" y="144"/>
                  </a:lnTo>
                  <a:lnTo>
                    <a:pt x="730" y="144"/>
                  </a:lnTo>
                  <a:lnTo>
                    <a:pt x="728" y="144"/>
                  </a:lnTo>
                  <a:lnTo>
                    <a:pt x="726" y="146"/>
                  </a:lnTo>
                  <a:lnTo>
                    <a:pt x="726" y="146"/>
                  </a:lnTo>
                  <a:lnTo>
                    <a:pt x="724" y="146"/>
                  </a:lnTo>
                  <a:lnTo>
                    <a:pt x="724" y="146"/>
                  </a:lnTo>
                  <a:lnTo>
                    <a:pt x="724" y="148"/>
                  </a:lnTo>
                  <a:lnTo>
                    <a:pt x="724" y="150"/>
                  </a:lnTo>
                  <a:lnTo>
                    <a:pt x="722" y="152"/>
                  </a:lnTo>
                  <a:lnTo>
                    <a:pt x="722" y="154"/>
                  </a:lnTo>
                  <a:lnTo>
                    <a:pt x="720" y="156"/>
                  </a:lnTo>
                  <a:lnTo>
                    <a:pt x="720" y="158"/>
                  </a:lnTo>
                  <a:lnTo>
                    <a:pt x="720" y="160"/>
                  </a:lnTo>
                  <a:lnTo>
                    <a:pt x="718" y="162"/>
                  </a:lnTo>
                  <a:lnTo>
                    <a:pt x="716" y="164"/>
                  </a:lnTo>
                  <a:lnTo>
                    <a:pt x="716" y="164"/>
                  </a:lnTo>
                  <a:lnTo>
                    <a:pt x="716" y="164"/>
                  </a:lnTo>
                  <a:lnTo>
                    <a:pt x="714" y="166"/>
                  </a:lnTo>
                  <a:lnTo>
                    <a:pt x="714" y="166"/>
                  </a:lnTo>
                  <a:lnTo>
                    <a:pt x="712" y="166"/>
                  </a:lnTo>
                  <a:lnTo>
                    <a:pt x="710" y="166"/>
                  </a:lnTo>
                  <a:lnTo>
                    <a:pt x="708" y="166"/>
                  </a:lnTo>
                  <a:lnTo>
                    <a:pt x="706" y="166"/>
                  </a:lnTo>
                  <a:lnTo>
                    <a:pt x="704" y="166"/>
                  </a:lnTo>
                  <a:lnTo>
                    <a:pt x="702" y="166"/>
                  </a:lnTo>
                  <a:lnTo>
                    <a:pt x="700" y="168"/>
                  </a:lnTo>
                  <a:lnTo>
                    <a:pt x="700" y="168"/>
                  </a:lnTo>
                  <a:lnTo>
                    <a:pt x="700" y="168"/>
                  </a:lnTo>
                  <a:lnTo>
                    <a:pt x="698" y="170"/>
                  </a:lnTo>
                  <a:lnTo>
                    <a:pt x="696" y="170"/>
                  </a:lnTo>
                  <a:lnTo>
                    <a:pt x="696" y="172"/>
                  </a:lnTo>
                  <a:lnTo>
                    <a:pt x="694" y="176"/>
                  </a:lnTo>
                  <a:lnTo>
                    <a:pt x="692" y="178"/>
                  </a:lnTo>
                  <a:lnTo>
                    <a:pt x="692" y="178"/>
                  </a:lnTo>
                  <a:lnTo>
                    <a:pt x="692" y="180"/>
                  </a:lnTo>
                  <a:lnTo>
                    <a:pt x="692" y="184"/>
                  </a:lnTo>
                  <a:lnTo>
                    <a:pt x="692" y="186"/>
                  </a:lnTo>
                  <a:lnTo>
                    <a:pt x="692" y="190"/>
                  </a:lnTo>
                  <a:lnTo>
                    <a:pt x="692" y="194"/>
                  </a:lnTo>
                  <a:lnTo>
                    <a:pt x="690" y="198"/>
                  </a:lnTo>
                  <a:lnTo>
                    <a:pt x="690" y="198"/>
                  </a:lnTo>
                  <a:lnTo>
                    <a:pt x="690" y="200"/>
                  </a:lnTo>
                  <a:lnTo>
                    <a:pt x="690" y="202"/>
                  </a:lnTo>
                  <a:lnTo>
                    <a:pt x="688" y="202"/>
                  </a:lnTo>
                  <a:lnTo>
                    <a:pt x="688" y="204"/>
                  </a:lnTo>
                  <a:lnTo>
                    <a:pt x="688" y="204"/>
                  </a:lnTo>
                  <a:lnTo>
                    <a:pt x="688" y="204"/>
                  </a:lnTo>
                  <a:lnTo>
                    <a:pt x="686" y="204"/>
                  </a:lnTo>
                  <a:lnTo>
                    <a:pt x="684" y="204"/>
                  </a:lnTo>
                  <a:lnTo>
                    <a:pt x="682" y="206"/>
                  </a:lnTo>
                  <a:lnTo>
                    <a:pt x="680" y="206"/>
                  </a:lnTo>
                  <a:lnTo>
                    <a:pt x="678" y="206"/>
                  </a:lnTo>
                  <a:lnTo>
                    <a:pt x="678" y="208"/>
                  </a:lnTo>
                  <a:lnTo>
                    <a:pt x="678" y="208"/>
                  </a:lnTo>
                  <a:lnTo>
                    <a:pt x="676" y="210"/>
                  </a:lnTo>
                  <a:lnTo>
                    <a:pt x="672" y="214"/>
                  </a:lnTo>
                  <a:lnTo>
                    <a:pt x="670" y="216"/>
                  </a:lnTo>
                  <a:lnTo>
                    <a:pt x="668" y="218"/>
                  </a:lnTo>
                  <a:lnTo>
                    <a:pt x="668" y="220"/>
                  </a:lnTo>
                  <a:lnTo>
                    <a:pt x="666" y="220"/>
                  </a:lnTo>
                  <a:lnTo>
                    <a:pt x="666" y="222"/>
                  </a:lnTo>
                  <a:lnTo>
                    <a:pt x="666" y="222"/>
                  </a:lnTo>
                  <a:lnTo>
                    <a:pt x="666" y="222"/>
                  </a:lnTo>
                  <a:lnTo>
                    <a:pt x="666" y="224"/>
                  </a:lnTo>
                  <a:lnTo>
                    <a:pt x="666" y="224"/>
                  </a:lnTo>
                  <a:lnTo>
                    <a:pt x="668" y="224"/>
                  </a:lnTo>
                  <a:lnTo>
                    <a:pt x="668" y="226"/>
                  </a:lnTo>
                  <a:lnTo>
                    <a:pt x="670" y="226"/>
                  </a:lnTo>
                  <a:lnTo>
                    <a:pt x="672" y="226"/>
                  </a:lnTo>
                  <a:lnTo>
                    <a:pt x="674" y="228"/>
                  </a:lnTo>
                  <a:lnTo>
                    <a:pt x="674" y="228"/>
                  </a:lnTo>
                  <a:lnTo>
                    <a:pt x="674" y="228"/>
                  </a:lnTo>
                  <a:lnTo>
                    <a:pt x="674" y="230"/>
                  </a:lnTo>
                  <a:lnTo>
                    <a:pt x="674" y="230"/>
                  </a:lnTo>
                  <a:lnTo>
                    <a:pt x="676" y="232"/>
                  </a:lnTo>
                  <a:lnTo>
                    <a:pt x="676" y="234"/>
                  </a:lnTo>
                  <a:lnTo>
                    <a:pt x="676" y="236"/>
                  </a:lnTo>
                  <a:lnTo>
                    <a:pt x="676" y="238"/>
                  </a:lnTo>
                  <a:lnTo>
                    <a:pt x="676" y="244"/>
                  </a:lnTo>
                  <a:lnTo>
                    <a:pt x="676" y="248"/>
                  </a:lnTo>
                  <a:lnTo>
                    <a:pt x="676" y="250"/>
                  </a:lnTo>
                  <a:lnTo>
                    <a:pt x="674" y="252"/>
                  </a:lnTo>
                  <a:lnTo>
                    <a:pt x="674" y="254"/>
                  </a:lnTo>
                  <a:lnTo>
                    <a:pt x="674" y="256"/>
                  </a:lnTo>
                  <a:lnTo>
                    <a:pt x="674" y="256"/>
                  </a:lnTo>
                  <a:lnTo>
                    <a:pt x="672" y="258"/>
                  </a:lnTo>
                  <a:lnTo>
                    <a:pt x="672" y="258"/>
                  </a:lnTo>
                  <a:lnTo>
                    <a:pt x="672" y="258"/>
                  </a:lnTo>
                  <a:lnTo>
                    <a:pt x="670" y="260"/>
                  </a:lnTo>
                  <a:lnTo>
                    <a:pt x="670" y="260"/>
                  </a:lnTo>
                  <a:lnTo>
                    <a:pt x="668" y="260"/>
                  </a:lnTo>
                  <a:lnTo>
                    <a:pt x="666" y="262"/>
                  </a:lnTo>
                  <a:lnTo>
                    <a:pt x="664" y="262"/>
                  </a:lnTo>
                  <a:lnTo>
                    <a:pt x="664" y="262"/>
                  </a:lnTo>
                  <a:lnTo>
                    <a:pt x="662" y="262"/>
                  </a:lnTo>
                  <a:lnTo>
                    <a:pt x="662" y="264"/>
                  </a:lnTo>
                  <a:lnTo>
                    <a:pt x="662" y="264"/>
                  </a:lnTo>
                  <a:lnTo>
                    <a:pt x="662" y="264"/>
                  </a:lnTo>
                  <a:lnTo>
                    <a:pt x="662" y="266"/>
                  </a:lnTo>
                  <a:lnTo>
                    <a:pt x="662" y="268"/>
                  </a:lnTo>
                  <a:lnTo>
                    <a:pt x="662" y="270"/>
                  </a:lnTo>
                  <a:lnTo>
                    <a:pt x="662" y="270"/>
                  </a:lnTo>
                  <a:lnTo>
                    <a:pt x="660" y="272"/>
                  </a:lnTo>
                  <a:lnTo>
                    <a:pt x="660" y="274"/>
                  </a:lnTo>
                  <a:lnTo>
                    <a:pt x="660" y="274"/>
                  </a:lnTo>
                  <a:lnTo>
                    <a:pt x="660" y="274"/>
                  </a:lnTo>
                  <a:lnTo>
                    <a:pt x="660" y="274"/>
                  </a:lnTo>
                  <a:lnTo>
                    <a:pt x="658" y="276"/>
                  </a:lnTo>
                  <a:lnTo>
                    <a:pt x="658" y="276"/>
                  </a:lnTo>
                  <a:lnTo>
                    <a:pt x="656" y="276"/>
                  </a:lnTo>
                  <a:lnTo>
                    <a:pt x="654" y="274"/>
                  </a:lnTo>
                  <a:lnTo>
                    <a:pt x="652" y="274"/>
                  </a:lnTo>
                  <a:lnTo>
                    <a:pt x="650" y="274"/>
                  </a:lnTo>
                  <a:lnTo>
                    <a:pt x="648" y="274"/>
                  </a:lnTo>
                  <a:lnTo>
                    <a:pt x="646" y="272"/>
                  </a:lnTo>
                  <a:lnTo>
                    <a:pt x="646" y="272"/>
                  </a:lnTo>
                  <a:lnTo>
                    <a:pt x="644" y="274"/>
                  </a:lnTo>
                  <a:lnTo>
                    <a:pt x="644" y="274"/>
                  </a:lnTo>
                  <a:lnTo>
                    <a:pt x="644" y="274"/>
                  </a:lnTo>
                  <a:lnTo>
                    <a:pt x="642" y="274"/>
                  </a:lnTo>
                  <a:lnTo>
                    <a:pt x="642" y="276"/>
                  </a:lnTo>
                  <a:lnTo>
                    <a:pt x="640" y="276"/>
                  </a:lnTo>
                  <a:lnTo>
                    <a:pt x="640" y="278"/>
                  </a:lnTo>
                  <a:lnTo>
                    <a:pt x="638" y="282"/>
                  </a:lnTo>
                  <a:lnTo>
                    <a:pt x="638" y="282"/>
                  </a:lnTo>
                  <a:lnTo>
                    <a:pt x="636" y="284"/>
                  </a:lnTo>
                  <a:lnTo>
                    <a:pt x="636" y="284"/>
                  </a:lnTo>
                  <a:lnTo>
                    <a:pt x="634" y="284"/>
                  </a:lnTo>
                  <a:lnTo>
                    <a:pt x="632" y="284"/>
                  </a:lnTo>
                  <a:lnTo>
                    <a:pt x="630" y="286"/>
                  </a:lnTo>
                  <a:lnTo>
                    <a:pt x="628" y="286"/>
                  </a:lnTo>
                  <a:lnTo>
                    <a:pt x="626" y="286"/>
                  </a:lnTo>
                  <a:lnTo>
                    <a:pt x="624" y="286"/>
                  </a:lnTo>
                  <a:lnTo>
                    <a:pt x="622" y="288"/>
                  </a:lnTo>
                  <a:lnTo>
                    <a:pt x="622" y="288"/>
                  </a:lnTo>
                  <a:lnTo>
                    <a:pt x="620" y="288"/>
                  </a:lnTo>
                  <a:lnTo>
                    <a:pt x="620" y="290"/>
                  </a:lnTo>
                  <a:lnTo>
                    <a:pt x="620" y="290"/>
                  </a:lnTo>
                  <a:lnTo>
                    <a:pt x="620" y="292"/>
                  </a:lnTo>
                  <a:lnTo>
                    <a:pt x="618" y="294"/>
                  </a:lnTo>
                  <a:lnTo>
                    <a:pt x="618" y="296"/>
                  </a:lnTo>
                  <a:lnTo>
                    <a:pt x="618" y="298"/>
                  </a:lnTo>
                  <a:lnTo>
                    <a:pt x="618" y="300"/>
                  </a:lnTo>
                  <a:lnTo>
                    <a:pt x="616" y="302"/>
                  </a:lnTo>
                  <a:lnTo>
                    <a:pt x="616" y="302"/>
                  </a:lnTo>
                  <a:lnTo>
                    <a:pt x="616" y="302"/>
                  </a:lnTo>
                  <a:lnTo>
                    <a:pt x="616" y="302"/>
                  </a:lnTo>
                  <a:lnTo>
                    <a:pt x="614" y="302"/>
                  </a:lnTo>
                  <a:lnTo>
                    <a:pt x="614" y="304"/>
                  </a:lnTo>
                  <a:lnTo>
                    <a:pt x="612" y="304"/>
                  </a:lnTo>
                  <a:lnTo>
                    <a:pt x="610" y="304"/>
                  </a:lnTo>
                  <a:lnTo>
                    <a:pt x="608" y="304"/>
                  </a:lnTo>
                  <a:lnTo>
                    <a:pt x="606" y="304"/>
                  </a:lnTo>
                  <a:lnTo>
                    <a:pt x="604" y="304"/>
                  </a:lnTo>
                  <a:lnTo>
                    <a:pt x="604" y="306"/>
                  </a:lnTo>
                  <a:lnTo>
                    <a:pt x="602" y="308"/>
                  </a:lnTo>
                  <a:lnTo>
                    <a:pt x="600" y="308"/>
                  </a:lnTo>
                  <a:lnTo>
                    <a:pt x="598" y="310"/>
                  </a:lnTo>
                  <a:lnTo>
                    <a:pt x="596" y="312"/>
                  </a:lnTo>
                  <a:lnTo>
                    <a:pt x="594" y="314"/>
                  </a:lnTo>
                  <a:lnTo>
                    <a:pt x="592" y="314"/>
                  </a:lnTo>
                  <a:lnTo>
                    <a:pt x="592" y="316"/>
                  </a:lnTo>
                  <a:lnTo>
                    <a:pt x="592" y="318"/>
                  </a:lnTo>
                  <a:lnTo>
                    <a:pt x="590" y="318"/>
                  </a:lnTo>
                  <a:lnTo>
                    <a:pt x="590" y="320"/>
                  </a:lnTo>
                  <a:lnTo>
                    <a:pt x="590" y="322"/>
                  </a:lnTo>
                  <a:lnTo>
                    <a:pt x="588" y="326"/>
                  </a:lnTo>
                  <a:lnTo>
                    <a:pt x="588" y="330"/>
                  </a:lnTo>
                  <a:lnTo>
                    <a:pt x="588" y="332"/>
                  </a:lnTo>
                  <a:lnTo>
                    <a:pt x="588" y="336"/>
                  </a:lnTo>
                  <a:lnTo>
                    <a:pt x="588" y="342"/>
                  </a:lnTo>
                  <a:lnTo>
                    <a:pt x="588" y="348"/>
                  </a:lnTo>
                  <a:lnTo>
                    <a:pt x="588" y="352"/>
                  </a:lnTo>
                  <a:lnTo>
                    <a:pt x="588" y="354"/>
                  </a:lnTo>
                  <a:lnTo>
                    <a:pt x="588" y="358"/>
                  </a:lnTo>
                  <a:lnTo>
                    <a:pt x="586" y="362"/>
                  </a:lnTo>
                  <a:lnTo>
                    <a:pt x="586" y="366"/>
                  </a:lnTo>
                  <a:lnTo>
                    <a:pt x="586" y="368"/>
                  </a:lnTo>
                  <a:lnTo>
                    <a:pt x="586" y="368"/>
                  </a:lnTo>
                  <a:lnTo>
                    <a:pt x="586" y="370"/>
                  </a:lnTo>
                  <a:lnTo>
                    <a:pt x="586" y="370"/>
                  </a:lnTo>
                  <a:lnTo>
                    <a:pt x="588" y="372"/>
                  </a:lnTo>
                  <a:lnTo>
                    <a:pt x="588" y="372"/>
                  </a:lnTo>
                  <a:lnTo>
                    <a:pt x="588" y="372"/>
                  </a:lnTo>
                  <a:lnTo>
                    <a:pt x="590" y="372"/>
                  </a:lnTo>
                  <a:lnTo>
                    <a:pt x="592" y="374"/>
                  </a:lnTo>
                  <a:lnTo>
                    <a:pt x="592" y="374"/>
                  </a:lnTo>
                  <a:lnTo>
                    <a:pt x="594" y="374"/>
                  </a:lnTo>
                  <a:lnTo>
                    <a:pt x="594" y="376"/>
                  </a:lnTo>
                  <a:lnTo>
                    <a:pt x="594" y="376"/>
                  </a:lnTo>
                  <a:lnTo>
                    <a:pt x="594" y="378"/>
                  </a:lnTo>
                  <a:lnTo>
                    <a:pt x="594" y="380"/>
                  </a:lnTo>
                  <a:lnTo>
                    <a:pt x="594" y="382"/>
                  </a:lnTo>
                  <a:lnTo>
                    <a:pt x="594" y="386"/>
                  </a:lnTo>
                  <a:lnTo>
                    <a:pt x="594" y="394"/>
                  </a:lnTo>
                  <a:lnTo>
                    <a:pt x="594" y="396"/>
                  </a:lnTo>
                  <a:lnTo>
                    <a:pt x="594" y="398"/>
                  </a:lnTo>
                  <a:lnTo>
                    <a:pt x="594" y="400"/>
                  </a:lnTo>
                  <a:lnTo>
                    <a:pt x="596" y="400"/>
                  </a:lnTo>
                  <a:lnTo>
                    <a:pt x="596" y="402"/>
                  </a:lnTo>
                  <a:lnTo>
                    <a:pt x="596" y="404"/>
                  </a:lnTo>
                  <a:lnTo>
                    <a:pt x="598" y="406"/>
                  </a:lnTo>
                  <a:lnTo>
                    <a:pt x="600" y="414"/>
                  </a:lnTo>
                  <a:lnTo>
                    <a:pt x="602" y="418"/>
                  </a:lnTo>
                  <a:lnTo>
                    <a:pt x="602" y="424"/>
                  </a:lnTo>
                  <a:lnTo>
                    <a:pt x="604" y="428"/>
                  </a:lnTo>
                  <a:lnTo>
                    <a:pt x="604" y="434"/>
                  </a:lnTo>
                  <a:lnTo>
                    <a:pt x="604" y="436"/>
                  </a:lnTo>
                  <a:lnTo>
                    <a:pt x="604" y="438"/>
                  </a:lnTo>
                  <a:lnTo>
                    <a:pt x="604" y="440"/>
                  </a:lnTo>
                  <a:lnTo>
                    <a:pt x="604" y="442"/>
                  </a:lnTo>
                  <a:lnTo>
                    <a:pt x="604" y="444"/>
                  </a:lnTo>
                  <a:lnTo>
                    <a:pt x="604" y="446"/>
                  </a:lnTo>
                  <a:lnTo>
                    <a:pt x="604" y="448"/>
                  </a:lnTo>
                  <a:lnTo>
                    <a:pt x="602" y="450"/>
                  </a:lnTo>
                  <a:lnTo>
                    <a:pt x="602" y="452"/>
                  </a:lnTo>
                  <a:lnTo>
                    <a:pt x="600" y="454"/>
                  </a:lnTo>
                  <a:lnTo>
                    <a:pt x="600" y="454"/>
                  </a:lnTo>
                  <a:lnTo>
                    <a:pt x="600" y="454"/>
                  </a:lnTo>
                  <a:lnTo>
                    <a:pt x="598" y="456"/>
                  </a:lnTo>
                  <a:lnTo>
                    <a:pt x="598" y="456"/>
                  </a:lnTo>
                  <a:lnTo>
                    <a:pt x="598" y="456"/>
                  </a:lnTo>
                  <a:lnTo>
                    <a:pt x="598" y="456"/>
                  </a:lnTo>
                  <a:lnTo>
                    <a:pt x="596" y="454"/>
                  </a:lnTo>
                  <a:lnTo>
                    <a:pt x="596" y="454"/>
                  </a:lnTo>
                  <a:lnTo>
                    <a:pt x="596" y="452"/>
                  </a:lnTo>
                  <a:lnTo>
                    <a:pt x="594" y="452"/>
                  </a:lnTo>
                  <a:lnTo>
                    <a:pt x="592" y="448"/>
                  </a:lnTo>
                  <a:lnTo>
                    <a:pt x="592" y="446"/>
                  </a:lnTo>
                  <a:lnTo>
                    <a:pt x="590" y="446"/>
                  </a:lnTo>
                  <a:lnTo>
                    <a:pt x="590" y="444"/>
                  </a:lnTo>
                  <a:lnTo>
                    <a:pt x="588" y="444"/>
                  </a:lnTo>
                  <a:lnTo>
                    <a:pt x="582" y="442"/>
                  </a:lnTo>
                  <a:lnTo>
                    <a:pt x="580" y="440"/>
                  </a:lnTo>
                  <a:lnTo>
                    <a:pt x="578" y="440"/>
                  </a:lnTo>
                  <a:lnTo>
                    <a:pt x="576" y="438"/>
                  </a:lnTo>
                  <a:lnTo>
                    <a:pt x="576" y="438"/>
                  </a:lnTo>
                  <a:lnTo>
                    <a:pt x="576" y="438"/>
                  </a:lnTo>
                  <a:lnTo>
                    <a:pt x="574" y="436"/>
                  </a:lnTo>
                  <a:lnTo>
                    <a:pt x="574" y="436"/>
                  </a:lnTo>
                  <a:lnTo>
                    <a:pt x="574" y="432"/>
                  </a:lnTo>
                  <a:lnTo>
                    <a:pt x="572" y="430"/>
                  </a:lnTo>
                  <a:lnTo>
                    <a:pt x="572" y="428"/>
                  </a:lnTo>
                  <a:lnTo>
                    <a:pt x="570" y="422"/>
                  </a:lnTo>
                  <a:lnTo>
                    <a:pt x="568" y="416"/>
                  </a:lnTo>
                  <a:lnTo>
                    <a:pt x="566" y="412"/>
                  </a:lnTo>
                  <a:lnTo>
                    <a:pt x="564" y="406"/>
                  </a:lnTo>
                  <a:lnTo>
                    <a:pt x="564" y="404"/>
                  </a:lnTo>
                  <a:lnTo>
                    <a:pt x="562" y="400"/>
                  </a:lnTo>
                  <a:lnTo>
                    <a:pt x="562" y="398"/>
                  </a:lnTo>
                  <a:lnTo>
                    <a:pt x="562" y="396"/>
                  </a:lnTo>
                  <a:lnTo>
                    <a:pt x="562" y="394"/>
                  </a:lnTo>
                  <a:lnTo>
                    <a:pt x="562" y="394"/>
                  </a:lnTo>
                  <a:lnTo>
                    <a:pt x="562" y="390"/>
                  </a:lnTo>
                  <a:lnTo>
                    <a:pt x="564" y="384"/>
                  </a:lnTo>
                  <a:lnTo>
                    <a:pt x="564" y="380"/>
                  </a:lnTo>
                  <a:lnTo>
                    <a:pt x="564" y="378"/>
                  </a:lnTo>
                  <a:lnTo>
                    <a:pt x="564" y="376"/>
                  </a:lnTo>
                  <a:lnTo>
                    <a:pt x="564" y="376"/>
                  </a:lnTo>
                  <a:lnTo>
                    <a:pt x="564" y="374"/>
                  </a:lnTo>
                  <a:lnTo>
                    <a:pt x="564" y="372"/>
                  </a:lnTo>
                  <a:lnTo>
                    <a:pt x="564" y="372"/>
                  </a:lnTo>
                  <a:lnTo>
                    <a:pt x="564" y="372"/>
                  </a:lnTo>
                  <a:lnTo>
                    <a:pt x="562" y="370"/>
                  </a:lnTo>
                  <a:lnTo>
                    <a:pt x="560" y="368"/>
                  </a:lnTo>
                  <a:lnTo>
                    <a:pt x="560" y="366"/>
                  </a:lnTo>
                  <a:lnTo>
                    <a:pt x="556" y="364"/>
                  </a:lnTo>
                  <a:lnTo>
                    <a:pt x="552" y="362"/>
                  </a:lnTo>
                  <a:lnTo>
                    <a:pt x="550" y="358"/>
                  </a:lnTo>
                  <a:lnTo>
                    <a:pt x="546" y="356"/>
                  </a:lnTo>
                  <a:lnTo>
                    <a:pt x="544" y="354"/>
                  </a:lnTo>
                  <a:lnTo>
                    <a:pt x="542" y="352"/>
                  </a:lnTo>
                  <a:lnTo>
                    <a:pt x="540" y="350"/>
                  </a:lnTo>
                  <a:lnTo>
                    <a:pt x="540" y="350"/>
                  </a:lnTo>
                  <a:lnTo>
                    <a:pt x="540" y="350"/>
                  </a:lnTo>
                  <a:lnTo>
                    <a:pt x="538" y="350"/>
                  </a:lnTo>
                  <a:lnTo>
                    <a:pt x="538" y="350"/>
                  </a:lnTo>
                  <a:lnTo>
                    <a:pt x="536" y="350"/>
                  </a:lnTo>
                  <a:lnTo>
                    <a:pt x="532" y="352"/>
                  </a:lnTo>
                  <a:lnTo>
                    <a:pt x="530" y="352"/>
                  </a:lnTo>
                  <a:lnTo>
                    <a:pt x="528" y="352"/>
                  </a:lnTo>
                  <a:lnTo>
                    <a:pt x="526" y="354"/>
                  </a:lnTo>
                  <a:lnTo>
                    <a:pt x="524" y="354"/>
                  </a:lnTo>
                  <a:lnTo>
                    <a:pt x="522" y="354"/>
                  </a:lnTo>
                  <a:lnTo>
                    <a:pt x="522" y="354"/>
                  </a:lnTo>
                  <a:lnTo>
                    <a:pt x="520" y="354"/>
                  </a:lnTo>
                  <a:lnTo>
                    <a:pt x="520" y="354"/>
                  </a:lnTo>
                  <a:lnTo>
                    <a:pt x="518" y="352"/>
                  </a:lnTo>
                  <a:lnTo>
                    <a:pt x="516" y="352"/>
                  </a:lnTo>
                  <a:lnTo>
                    <a:pt x="514" y="350"/>
                  </a:lnTo>
                  <a:lnTo>
                    <a:pt x="510" y="348"/>
                  </a:lnTo>
                  <a:lnTo>
                    <a:pt x="510" y="346"/>
                  </a:lnTo>
                  <a:lnTo>
                    <a:pt x="508" y="346"/>
                  </a:lnTo>
                  <a:lnTo>
                    <a:pt x="506" y="346"/>
                  </a:lnTo>
                  <a:lnTo>
                    <a:pt x="504" y="346"/>
                  </a:lnTo>
                  <a:lnTo>
                    <a:pt x="500" y="346"/>
                  </a:lnTo>
                  <a:lnTo>
                    <a:pt x="496" y="346"/>
                  </a:lnTo>
                  <a:lnTo>
                    <a:pt x="492" y="346"/>
                  </a:lnTo>
                  <a:lnTo>
                    <a:pt x="486" y="346"/>
                  </a:lnTo>
                  <a:lnTo>
                    <a:pt x="482" y="348"/>
                  </a:lnTo>
                  <a:lnTo>
                    <a:pt x="478" y="348"/>
                  </a:lnTo>
                  <a:lnTo>
                    <a:pt x="476" y="348"/>
                  </a:lnTo>
                  <a:lnTo>
                    <a:pt x="476" y="348"/>
                  </a:lnTo>
                  <a:lnTo>
                    <a:pt x="472" y="350"/>
                  </a:lnTo>
                  <a:lnTo>
                    <a:pt x="470" y="352"/>
                  </a:lnTo>
                  <a:lnTo>
                    <a:pt x="470" y="352"/>
                  </a:lnTo>
                  <a:lnTo>
                    <a:pt x="468" y="352"/>
                  </a:lnTo>
                  <a:lnTo>
                    <a:pt x="466" y="354"/>
                  </a:lnTo>
                  <a:lnTo>
                    <a:pt x="466" y="356"/>
                  </a:lnTo>
                  <a:lnTo>
                    <a:pt x="466" y="356"/>
                  </a:lnTo>
                  <a:lnTo>
                    <a:pt x="464" y="356"/>
                  </a:lnTo>
                  <a:lnTo>
                    <a:pt x="464" y="358"/>
                  </a:lnTo>
                  <a:lnTo>
                    <a:pt x="464" y="358"/>
                  </a:lnTo>
                  <a:lnTo>
                    <a:pt x="466" y="358"/>
                  </a:lnTo>
                  <a:lnTo>
                    <a:pt x="466" y="360"/>
                  </a:lnTo>
                  <a:lnTo>
                    <a:pt x="466" y="362"/>
                  </a:lnTo>
                  <a:lnTo>
                    <a:pt x="468" y="364"/>
                  </a:lnTo>
                  <a:lnTo>
                    <a:pt x="470" y="366"/>
                  </a:lnTo>
                  <a:lnTo>
                    <a:pt x="470" y="368"/>
                  </a:lnTo>
                  <a:lnTo>
                    <a:pt x="472" y="370"/>
                  </a:lnTo>
                  <a:lnTo>
                    <a:pt x="472" y="370"/>
                  </a:lnTo>
                  <a:lnTo>
                    <a:pt x="472" y="370"/>
                  </a:lnTo>
                  <a:lnTo>
                    <a:pt x="472" y="372"/>
                  </a:lnTo>
                  <a:lnTo>
                    <a:pt x="470" y="372"/>
                  </a:lnTo>
                  <a:lnTo>
                    <a:pt x="470" y="372"/>
                  </a:lnTo>
                  <a:lnTo>
                    <a:pt x="470" y="372"/>
                  </a:lnTo>
                  <a:lnTo>
                    <a:pt x="468" y="374"/>
                  </a:lnTo>
                  <a:lnTo>
                    <a:pt x="466" y="374"/>
                  </a:lnTo>
                  <a:lnTo>
                    <a:pt x="464" y="374"/>
                  </a:lnTo>
                  <a:lnTo>
                    <a:pt x="462" y="374"/>
                  </a:lnTo>
                  <a:lnTo>
                    <a:pt x="460" y="374"/>
                  </a:lnTo>
                  <a:lnTo>
                    <a:pt x="456" y="372"/>
                  </a:lnTo>
                  <a:lnTo>
                    <a:pt x="452" y="372"/>
                  </a:lnTo>
                  <a:lnTo>
                    <a:pt x="450" y="372"/>
                  </a:lnTo>
                  <a:lnTo>
                    <a:pt x="448" y="372"/>
                  </a:lnTo>
                  <a:lnTo>
                    <a:pt x="446" y="372"/>
                  </a:lnTo>
                  <a:lnTo>
                    <a:pt x="442" y="370"/>
                  </a:lnTo>
                  <a:lnTo>
                    <a:pt x="442" y="370"/>
                  </a:lnTo>
                  <a:lnTo>
                    <a:pt x="440" y="370"/>
                  </a:lnTo>
                  <a:lnTo>
                    <a:pt x="440" y="370"/>
                  </a:lnTo>
                  <a:lnTo>
                    <a:pt x="440" y="368"/>
                  </a:lnTo>
                  <a:lnTo>
                    <a:pt x="438" y="368"/>
                  </a:lnTo>
                  <a:lnTo>
                    <a:pt x="438" y="366"/>
                  </a:lnTo>
                  <a:lnTo>
                    <a:pt x="438" y="364"/>
                  </a:lnTo>
                  <a:lnTo>
                    <a:pt x="438" y="362"/>
                  </a:lnTo>
                  <a:lnTo>
                    <a:pt x="438" y="358"/>
                  </a:lnTo>
                  <a:lnTo>
                    <a:pt x="438" y="356"/>
                  </a:lnTo>
                  <a:lnTo>
                    <a:pt x="438" y="354"/>
                  </a:lnTo>
                  <a:lnTo>
                    <a:pt x="438" y="352"/>
                  </a:lnTo>
                  <a:lnTo>
                    <a:pt x="438" y="352"/>
                  </a:lnTo>
                  <a:lnTo>
                    <a:pt x="438" y="350"/>
                  </a:lnTo>
                  <a:lnTo>
                    <a:pt x="438" y="350"/>
                  </a:lnTo>
                  <a:lnTo>
                    <a:pt x="438" y="348"/>
                  </a:lnTo>
                  <a:lnTo>
                    <a:pt x="436" y="348"/>
                  </a:lnTo>
                  <a:lnTo>
                    <a:pt x="436" y="348"/>
                  </a:lnTo>
                  <a:lnTo>
                    <a:pt x="434" y="348"/>
                  </a:lnTo>
                  <a:lnTo>
                    <a:pt x="432" y="348"/>
                  </a:lnTo>
                  <a:lnTo>
                    <a:pt x="432" y="350"/>
                  </a:lnTo>
                  <a:lnTo>
                    <a:pt x="430" y="350"/>
                  </a:lnTo>
                  <a:lnTo>
                    <a:pt x="428" y="352"/>
                  </a:lnTo>
                  <a:lnTo>
                    <a:pt x="426" y="352"/>
                  </a:lnTo>
                  <a:lnTo>
                    <a:pt x="426" y="352"/>
                  </a:lnTo>
                  <a:lnTo>
                    <a:pt x="426" y="354"/>
                  </a:lnTo>
                  <a:lnTo>
                    <a:pt x="426" y="354"/>
                  </a:lnTo>
                  <a:lnTo>
                    <a:pt x="424" y="354"/>
                  </a:lnTo>
                  <a:lnTo>
                    <a:pt x="424" y="356"/>
                  </a:lnTo>
                  <a:lnTo>
                    <a:pt x="424" y="358"/>
                  </a:lnTo>
                  <a:lnTo>
                    <a:pt x="424" y="360"/>
                  </a:lnTo>
                  <a:lnTo>
                    <a:pt x="424" y="362"/>
                  </a:lnTo>
                  <a:lnTo>
                    <a:pt x="424" y="364"/>
                  </a:lnTo>
                  <a:lnTo>
                    <a:pt x="424" y="366"/>
                  </a:lnTo>
                  <a:lnTo>
                    <a:pt x="424" y="366"/>
                  </a:lnTo>
                  <a:lnTo>
                    <a:pt x="422" y="368"/>
                  </a:lnTo>
                  <a:lnTo>
                    <a:pt x="422" y="368"/>
                  </a:lnTo>
                  <a:lnTo>
                    <a:pt x="422" y="368"/>
                  </a:lnTo>
                  <a:lnTo>
                    <a:pt x="420" y="368"/>
                  </a:lnTo>
                  <a:lnTo>
                    <a:pt x="420" y="368"/>
                  </a:lnTo>
                  <a:lnTo>
                    <a:pt x="418" y="368"/>
                  </a:lnTo>
                  <a:lnTo>
                    <a:pt x="416" y="368"/>
                  </a:lnTo>
                  <a:lnTo>
                    <a:pt x="416" y="366"/>
                  </a:lnTo>
                  <a:lnTo>
                    <a:pt x="414" y="366"/>
                  </a:lnTo>
                  <a:lnTo>
                    <a:pt x="412" y="364"/>
                  </a:lnTo>
                  <a:lnTo>
                    <a:pt x="412" y="364"/>
                  </a:lnTo>
                  <a:lnTo>
                    <a:pt x="412" y="362"/>
                  </a:lnTo>
                  <a:lnTo>
                    <a:pt x="410" y="360"/>
                  </a:lnTo>
                  <a:lnTo>
                    <a:pt x="410" y="358"/>
                  </a:lnTo>
                  <a:lnTo>
                    <a:pt x="408" y="356"/>
                  </a:lnTo>
                  <a:lnTo>
                    <a:pt x="408" y="354"/>
                  </a:lnTo>
                  <a:lnTo>
                    <a:pt x="406" y="354"/>
                  </a:lnTo>
                  <a:lnTo>
                    <a:pt x="406" y="354"/>
                  </a:lnTo>
                  <a:lnTo>
                    <a:pt x="406" y="352"/>
                  </a:lnTo>
                  <a:lnTo>
                    <a:pt x="404" y="352"/>
                  </a:lnTo>
                  <a:lnTo>
                    <a:pt x="404" y="352"/>
                  </a:lnTo>
                  <a:lnTo>
                    <a:pt x="404" y="352"/>
                  </a:lnTo>
                  <a:lnTo>
                    <a:pt x="402" y="354"/>
                  </a:lnTo>
                  <a:lnTo>
                    <a:pt x="400" y="354"/>
                  </a:lnTo>
                  <a:lnTo>
                    <a:pt x="400" y="354"/>
                  </a:lnTo>
                  <a:lnTo>
                    <a:pt x="396" y="358"/>
                  </a:lnTo>
                  <a:lnTo>
                    <a:pt x="394" y="358"/>
                  </a:lnTo>
                  <a:lnTo>
                    <a:pt x="392" y="360"/>
                  </a:lnTo>
                  <a:lnTo>
                    <a:pt x="390" y="364"/>
                  </a:lnTo>
                  <a:lnTo>
                    <a:pt x="388" y="366"/>
                  </a:lnTo>
                  <a:lnTo>
                    <a:pt x="386" y="368"/>
                  </a:lnTo>
                  <a:lnTo>
                    <a:pt x="384" y="370"/>
                  </a:lnTo>
                  <a:lnTo>
                    <a:pt x="384" y="370"/>
                  </a:lnTo>
                  <a:lnTo>
                    <a:pt x="382" y="374"/>
                  </a:lnTo>
                  <a:lnTo>
                    <a:pt x="378" y="378"/>
                  </a:lnTo>
                  <a:lnTo>
                    <a:pt x="376" y="382"/>
                  </a:lnTo>
                  <a:lnTo>
                    <a:pt x="374" y="384"/>
                  </a:lnTo>
                  <a:lnTo>
                    <a:pt x="372" y="388"/>
                  </a:lnTo>
                  <a:lnTo>
                    <a:pt x="370" y="390"/>
                  </a:lnTo>
                  <a:lnTo>
                    <a:pt x="368" y="390"/>
                  </a:lnTo>
                  <a:lnTo>
                    <a:pt x="368" y="392"/>
                  </a:lnTo>
                  <a:lnTo>
                    <a:pt x="366" y="392"/>
                  </a:lnTo>
                  <a:lnTo>
                    <a:pt x="364" y="394"/>
                  </a:lnTo>
                  <a:lnTo>
                    <a:pt x="360" y="396"/>
                  </a:lnTo>
                  <a:lnTo>
                    <a:pt x="358" y="396"/>
                  </a:lnTo>
                  <a:lnTo>
                    <a:pt x="354" y="398"/>
                  </a:lnTo>
                  <a:lnTo>
                    <a:pt x="352" y="398"/>
                  </a:lnTo>
                  <a:lnTo>
                    <a:pt x="352" y="398"/>
                  </a:lnTo>
                  <a:lnTo>
                    <a:pt x="352" y="400"/>
                  </a:lnTo>
                  <a:lnTo>
                    <a:pt x="352" y="400"/>
                  </a:lnTo>
                  <a:lnTo>
                    <a:pt x="350" y="402"/>
                  </a:lnTo>
                  <a:lnTo>
                    <a:pt x="350" y="404"/>
                  </a:lnTo>
                  <a:lnTo>
                    <a:pt x="348" y="406"/>
                  </a:lnTo>
                  <a:lnTo>
                    <a:pt x="348" y="408"/>
                  </a:lnTo>
                  <a:lnTo>
                    <a:pt x="346" y="412"/>
                  </a:lnTo>
                  <a:lnTo>
                    <a:pt x="346" y="416"/>
                  </a:lnTo>
                  <a:lnTo>
                    <a:pt x="346" y="420"/>
                  </a:lnTo>
                  <a:lnTo>
                    <a:pt x="346" y="424"/>
                  </a:lnTo>
                  <a:lnTo>
                    <a:pt x="342" y="424"/>
                  </a:lnTo>
                  <a:lnTo>
                    <a:pt x="340" y="424"/>
                  </a:lnTo>
                  <a:lnTo>
                    <a:pt x="336" y="424"/>
                  </a:lnTo>
                  <a:lnTo>
                    <a:pt x="334" y="424"/>
                  </a:lnTo>
                  <a:lnTo>
                    <a:pt x="330" y="424"/>
                  </a:lnTo>
                  <a:lnTo>
                    <a:pt x="328" y="424"/>
                  </a:lnTo>
                  <a:lnTo>
                    <a:pt x="328" y="424"/>
                  </a:lnTo>
                  <a:lnTo>
                    <a:pt x="326" y="424"/>
                  </a:lnTo>
                  <a:lnTo>
                    <a:pt x="326" y="424"/>
                  </a:lnTo>
                  <a:lnTo>
                    <a:pt x="324" y="422"/>
                  </a:lnTo>
                  <a:lnTo>
                    <a:pt x="324" y="422"/>
                  </a:lnTo>
                  <a:lnTo>
                    <a:pt x="324" y="420"/>
                  </a:lnTo>
                  <a:lnTo>
                    <a:pt x="324" y="420"/>
                  </a:lnTo>
                  <a:lnTo>
                    <a:pt x="324" y="416"/>
                  </a:lnTo>
                  <a:lnTo>
                    <a:pt x="324" y="414"/>
                  </a:lnTo>
                  <a:lnTo>
                    <a:pt x="324" y="410"/>
                  </a:lnTo>
                  <a:lnTo>
                    <a:pt x="322" y="408"/>
                  </a:lnTo>
                  <a:lnTo>
                    <a:pt x="322" y="406"/>
                  </a:lnTo>
                  <a:lnTo>
                    <a:pt x="322" y="404"/>
                  </a:lnTo>
                  <a:lnTo>
                    <a:pt x="322" y="404"/>
                  </a:lnTo>
                  <a:lnTo>
                    <a:pt x="322" y="404"/>
                  </a:lnTo>
                  <a:lnTo>
                    <a:pt x="320" y="402"/>
                  </a:lnTo>
                  <a:lnTo>
                    <a:pt x="320" y="402"/>
                  </a:lnTo>
                  <a:lnTo>
                    <a:pt x="318" y="402"/>
                  </a:lnTo>
                  <a:lnTo>
                    <a:pt x="318" y="400"/>
                  </a:lnTo>
                  <a:lnTo>
                    <a:pt x="316" y="400"/>
                  </a:lnTo>
                  <a:lnTo>
                    <a:pt x="314" y="400"/>
                  </a:lnTo>
                  <a:lnTo>
                    <a:pt x="312" y="398"/>
                  </a:lnTo>
                  <a:lnTo>
                    <a:pt x="310" y="398"/>
                  </a:lnTo>
                  <a:lnTo>
                    <a:pt x="310" y="398"/>
                  </a:lnTo>
                  <a:lnTo>
                    <a:pt x="308" y="396"/>
                  </a:lnTo>
                  <a:lnTo>
                    <a:pt x="308" y="396"/>
                  </a:lnTo>
                  <a:lnTo>
                    <a:pt x="308" y="394"/>
                  </a:lnTo>
                  <a:lnTo>
                    <a:pt x="308" y="394"/>
                  </a:lnTo>
                  <a:lnTo>
                    <a:pt x="308" y="392"/>
                  </a:lnTo>
                  <a:lnTo>
                    <a:pt x="306" y="390"/>
                  </a:lnTo>
                  <a:lnTo>
                    <a:pt x="306" y="386"/>
                  </a:lnTo>
                  <a:lnTo>
                    <a:pt x="306" y="384"/>
                  </a:lnTo>
                  <a:lnTo>
                    <a:pt x="306" y="380"/>
                  </a:lnTo>
                  <a:lnTo>
                    <a:pt x="306" y="378"/>
                  </a:lnTo>
                  <a:lnTo>
                    <a:pt x="306" y="376"/>
                  </a:lnTo>
                  <a:lnTo>
                    <a:pt x="306" y="376"/>
                  </a:lnTo>
                  <a:lnTo>
                    <a:pt x="304" y="374"/>
                  </a:lnTo>
                  <a:lnTo>
                    <a:pt x="304" y="372"/>
                  </a:lnTo>
                  <a:lnTo>
                    <a:pt x="302" y="370"/>
                  </a:lnTo>
                  <a:lnTo>
                    <a:pt x="298" y="366"/>
                  </a:lnTo>
                  <a:lnTo>
                    <a:pt x="296" y="364"/>
                  </a:lnTo>
                  <a:lnTo>
                    <a:pt x="294" y="360"/>
                  </a:lnTo>
                  <a:lnTo>
                    <a:pt x="292" y="358"/>
                  </a:lnTo>
                  <a:lnTo>
                    <a:pt x="290" y="356"/>
                  </a:lnTo>
                  <a:lnTo>
                    <a:pt x="286" y="354"/>
                  </a:lnTo>
                  <a:lnTo>
                    <a:pt x="286" y="354"/>
                  </a:lnTo>
                  <a:lnTo>
                    <a:pt x="284" y="354"/>
                  </a:lnTo>
                  <a:lnTo>
                    <a:pt x="284" y="352"/>
                  </a:lnTo>
                  <a:lnTo>
                    <a:pt x="282" y="352"/>
                  </a:lnTo>
                  <a:lnTo>
                    <a:pt x="282" y="352"/>
                  </a:lnTo>
                  <a:lnTo>
                    <a:pt x="282" y="352"/>
                  </a:lnTo>
                  <a:lnTo>
                    <a:pt x="280" y="354"/>
                  </a:lnTo>
                  <a:lnTo>
                    <a:pt x="280" y="354"/>
                  </a:lnTo>
                  <a:lnTo>
                    <a:pt x="280" y="354"/>
                  </a:lnTo>
                  <a:lnTo>
                    <a:pt x="278" y="356"/>
                  </a:lnTo>
                  <a:lnTo>
                    <a:pt x="278" y="358"/>
                  </a:lnTo>
                  <a:lnTo>
                    <a:pt x="278" y="358"/>
                  </a:lnTo>
                  <a:lnTo>
                    <a:pt x="278" y="362"/>
                  </a:lnTo>
                  <a:lnTo>
                    <a:pt x="278" y="366"/>
                  </a:lnTo>
                  <a:lnTo>
                    <a:pt x="278" y="368"/>
                  </a:lnTo>
                  <a:lnTo>
                    <a:pt x="278" y="370"/>
                  </a:lnTo>
                  <a:lnTo>
                    <a:pt x="278" y="372"/>
                  </a:lnTo>
                  <a:lnTo>
                    <a:pt x="276" y="372"/>
                  </a:lnTo>
                  <a:lnTo>
                    <a:pt x="276" y="372"/>
                  </a:lnTo>
                  <a:lnTo>
                    <a:pt x="276" y="374"/>
                  </a:lnTo>
                  <a:lnTo>
                    <a:pt x="274" y="374"/>
                  </a:lnTo>
                  <a:lnTo>
                    <a:pt x="274" y="374"/>
                  </a:lnTo>
                  <a:lnTo>
                    <a:pt x="270" y="374"/>
                  </a:lnTo>
                  <a:lnTo>
                    <a:pt x="268" y="374"/>
                  </a:lnTo>
                  <a:lnTo>
                    <a:pt x="266" y="374"/>
                  </a:lnTo>
                  <a:lnTo>
                    <a:pt x="264" y="374"/>
                  </a:lnTo>
                  <a:lnTo>
                    <a:pt x="262" y="374"/>
                  </a:lnTo>
                  <a:lnTo>
                    <a:pt x="262" y="374"/>
                  </a:lnTo>
                  <a:lnTo>
                    <a:pt x="262" y="372"/>
                  </a:lnTo>
                  <a:lnTo>
                    <a:pt x="260" y="372"/>
                  </a:lnTo>
                  <a:lnTo>
                    <a:pt x="260" y="370"/>
                  </a:lnTo>
                  <a:lnTo>
                    <a:pt x="258" y="370"/>
                  </a:lnTo>
                  <a:lnTo>
                    <a:pt x="258" y="368"/>
                  </a:lnTo>
                  <a:lnTo>
                    <a:pt x="258" y="366"/>
                  </a:lnTo>
                  <a:lnTo>
                    <a:pt x="258" y="364"/>
                  </a:lnTo>
                  <a:lnTo>
                    <a:pt x="256" y="362"/>
                  </a:lnTo>
                  <a:lnTo>
                    <a:pt x="256" y="358"/>
                  </a:lnTo>
                  <a:lnTo>
                    <a:pt x="256" y="354"/>
                  </a:lnTo>
                  <a:lnTo>
                    <a:pt x="256" y="352"/>
                  </a:lnTo>
                  <a:lnTo>
                    <a:pt x="254" y="352"/>
                  </a:lnTo>
                  <a:lnTo>
                    <a:pt x="254" y="350"/>
                  </a:lnTo>
                  <a:lnTo>
                    <a:pt x="254" y="348"/>
                  </a:lnTo>
                  <a:lnTo>
                    <a:pt x="252" y="348"/>
                  </a:lnTo>
                  <a:lnTo>
                    <a:pt x="252" y="348"/>
                  </a:lnTo>
                  <a:lnTo>
                    <a:pt x="248" y="348"/>
                  </a:lnTo>
                  <a:lnTo>
                    <a:pt x="248" y="348"/>
                  </a:lnTo>
                  <a:lnTo>
                    <a:pt x="246" y="348"/>
                  </a:lnTo>
                  <a:lnTo>
                    <a:pt x="246" y="346"/>
                  </a:lnTo>
                  <a:lnTo>
                    <a:pt x="246" y="346"/>
                  </a:lnTo>
                  <a:lnTo>
                    <a:pt x="244" y="346"/>
                  </a:lnTo>
                  <a:lnTo>
                    <a:pt x="244" y="346"/>
                  </a:lnTo>
                  <a:lnTo>
                    <a:pt x="244" y="346"/>
                  </a:lnTo>
                  <a:lnTo>
                    <a:pt x="244" y="344"/>
                  </a:lnTo>
                  <a:lnTo>
                    <a:pt x="244" y="344"/>
                  </a:lnTo>
                  <a:lnTo>
                    <a:pt x="244" y="342"/>
                  </a:lnTo>
                  <a:lnTo>
                    <a:pt x="244" y="340"/>
                  </a:lnTo>
                  <a:lnTo>
                    <a:pt x="244" y="338"/>
                  </a:lnTo>
                  <a:lnTo>
                    <a:pt x="244" y="336"/>
                  </a:lnTo>
                  <a:lnTo>
                    <a:pt x="244" y="334"/>
                  </a:lnTo>
                  <a:lnTo>
                    <a:pt x="244" y="334"/>
                  </a:lnTo>
                  <a:lnTo>
                    <a:pt x="244" y="334"/>
                  </a:lnTo>
                  <a:lnTo>
                    <a:pt x="244" y="332"/>
                  </a:lnTo>
                  <a:lnTo>
                    <a:pt x="242" y="332"/>
                  </a:lnTo>
                  <a:lnTo>
                    <a:pt x="242" y="332"/>
                  </a:lnTo>
                  <a:lnTo>
                    <a:pt x="242" y="332"/>
                  </a:lnTo>
                  <a:lnTo>
                    <a:pt x="240" y="332"/>
                  </a:lnTo>
                  <a:lnTo>
                    <a:pt x="238" y="332"/>
                  </a:lnTo>
                  <a:lnTo>
                    <a:pt x="236" y="330"/>
                  </a:lnTo>
                  <a:lnTo>
                    <a:pt x="234" y="330"/>
                  </a:lnTo>
                  <a:lnTo>
                    <a:pt x="234" y="330"/>
                  </a:lnTo>
                  <a:lnTo>
                    <a:pt x="232" y="330"/>
                  </a:lnTo>
                  <a:lnTo>
                    <a:pt x="232" y="330"/>
                  </a:lnTo>
                  <a:lnTo>
                    <a:pt x="232" y="330"/>
                  </a:lnTo>
                  <a:lnTo>
                    <a:pt x="232" y="328"/>
                  </a:lnTo>
                  <a:lnTo>
                    <a:pt x="230" y="328"/>
                  </a:lnTo>
                  <a:lnTo>
                    <a:pt x="230" y="326"/>
                  </a:lnTo>
                  <a:lnTo>
                    <a:pt x="230" y="324"/>
                  </a:lnTo>
                  <a:lnTo>
                    <a:pt x="230" y="322"/>
                  </a:lnTo>
                  <a:lnTo>
                    <a:pt x="230" y="320"/>
                  </a:lnTo>
                  <a:lnTo>
                    <a:pt x="228" y="318"/>
                  </a:lnTo>
                  <a:lnTo>
                    <a:pt x="228" y="316"/>
                  </a:lnTo>
                  <a:lnTo>
                    <a:pt x="228" y="316"/>
                  </a:lnTo>
                  <a:lnTo>
                    <a:pt x="228" y="316"/>
                  </a:lnTo>
                  <a:lnTo>
                    <a:pt x="228" y="314"/>
                  </a:lnTo>
                  <a:lnTo>
                    <a:pt x="226" y="314"/>
                  </a:lnTo>
                  <a:lnTo>
                    <a:pt x="226" y="314"/>
                  </a:lnTo>
                  <a:lnTo>
                    <a:pt x="226" y="316"/>
                  </a:lnTo>
                  <a:lnTo>
                    <a:pt x="224" y="316"/>
                  </a:lnTo>
                  <a:lnTo>
                    <a:pt x="224" y="316"/>
                  </a:lnTo>
                  <a:lnTo>
                    <a:pt x="222" y="318"/>
                  </a:lnTo>
                  <a:lnTo>
                    <a:pt x="220" y="320"/>
                  </a:lnTo>
                  <a:lnTo>
                    <a:pt x="218" y="322"/>
                  </a:lnTo>
                  <a:lnTo>
                    <a:pt x="218" y="322"/>
                  </a:lnTo>
                  <a:lnTo>
                    <a:pt x="218" y="322"/>
                  </a:lnTo>
                  <a:lnTo>
                    <a:pt x="216" y="322"/>
                  </a:lnTo>
                  <a:lnTo>
                    <a:pt x="214" y="322"/>
                  </a:lnTo>
                  <a:lnTo>
                    <a:pt x="210" y="322"/>
                  </a:lnTo>
                  <a:lnTo>
                    <a:pt x="208" y="322"/>
                  </a:lnTo>
                  <a:lnTo>
                    <a:pt x="206" y="322"/>
                  </a:lnTo>
                  <a:lnTo>
                    <a:pt x="206" y="324"/>
                  </a:lnTo>
                  <a:lnTo>
                    <a:pt x="204" y="324"/>
                  </a:lnTo>
                  <a:lnTo>
                    <a:pt x="204" y="324"/>
                  </a:lnTo>
                  <a:lnTo>
                    <a:pt x="204" y="324"/>
                  </a:lnTo>
                  <a:lnTo>
                    <a:pt x="204" y="324"/>
                  </a:lnTo>
                  <a:lnTo>
                    <a:pt x="204" y="326"/>
                  </a:lnTo>
                  <a:lnTo>
                    <a:pt x="204" y="326"/>
                  </a:lnTo>
                  <a:lnTo>
                    <a:pt x="204" y="328"/>
                  </a:lnTo>
                  <a:lnTo>
                    <a:pt x="204" y="330"/>
                  </a:lnTo>
                  <a:lnTo>
                    <a:pt x="202" y="330"/>
                  </a:lnTo>
                  <a:lnTo>
                    <a:pt x="202" y="332"/>
                  </a:lnTo>
                  <a:lnTo>
                    <a:pt x="202" y="332"/>
                  </a:lnTo>
                  <a:lnTo>
                    <a:pt x="202" y="332"/>
                  </a:lnTo>
                  <a:lnTo>
                    <a:pt x="202" y="334"/>
                  </a:lnTo>
                  <a:lnTo>
                    <a:pt x="200" y="334"/>
                  </a:lnTo>
                  <a:lnTo>
                    <a:pt x="198" y="334"/>
                  </a:lnTo>
                  <a:lnTo>
                    <a:pt x="198" y="334"/>
                  </a:lnTo>
                  <a:lnTo>
                    <a:pt x="194" y="334"/>
                  </a:lnTo>
                  <a:lnTo>
                    <a:pt x="192" y="334"/>
                  </a:lnTo>
                  <a:lnTo>
                    <a:pt x="186" y="332"/>
                  </a:lnTo>
                  <a:lnTo>
                    <a:pt x="182" y="332"/>
                  </a:lnTo>
                  <a:lnTo>
                    <a:pt x="182" y="332"/>
                  </a:lnTo>
                  <a:lnTo>
                    <a:pt x="180" y="332"/>
                  </a:lnTo>
                  <a:lnTo>
                    <a:pt x="178" y="334"/>
                  </a:lnTo>
                  <a:lnTo>
                    <a:pt x="176" y="334"/>
                  </a:lnTo>
                  <a:lnTo>
                    <a:pt x="172" y="336"/>
                  </a:lnTo>
                  <a:lnTo>
                    <a:pt x="170" y="336"/>
                  </a:lnTo>
                  <a:lnTo>
                    <a:pt x="168" y="338"/>
                  </a:lnTo>
                  <a:lnTo>
                    <a:pt x="166" y="338"/>
                  </a:lnTo>
                  <a:lnTo>
                    <a:pt x="164" y="338"/>
                  </a:lnTo>
                  <a:lnTo>
                    <a:pt x="162" y="338"/>
                  </a:lnTo>
                  <a:lnTo>
                    <a:pt x="158" y="338"/>
                  </a:lnTo>
                  <a:lnTo>
                    <a:pt x="156" y="338"/>
                  </a:lnTo>
                  <a:lnTo>
                    <a:pt x="152" y="338"/>
                  </a:lnTo>
                  <a:lnTo>
                    <a:pt x="150" y="336"/>
                  </a:lnTo>
                  <a:lnTo>
                    <a:pt x="146" y="336"/>
                  </a:lnTo>
                  <a:lnTo>
                    <a:pt x="144" y="334"/>
                  </a:lnTo>
                  <a:lnTo>
                    <a:pt x="142" y="334"/>
                  </a:lnTo>
                  <a:lnTo>
                    <a:pt x="140" y="334"/>
                  </a:lnTo>
                  <a:lnTo>
                    <a:pt x="140" y="332"/>
                  </a:lnTo>
                  <a:lnTo>
                    <a:pt x="138" y="330"/>
                  </a:lnTo>
                  <a:lnTo>
                    <a:pt x="136" y="328"/>
                  </a:lnTo>
                  <a:lnTo>
                    <a:pt x="134" y="326"/>
                  </a:lnTo>
                  <a:lnTo>
                    <a:pt x="130" y="322"/>
                  </a:lnTo>
                  <a:lnTo>
                    <a:pt x="128" y="320"/>
                  </a:lnTo>
                  <a:lnTo>
                    <a:pt x="126" y="318"/>
                  </a:lnTo>
                  <a:lnTo>
                    <a:pt x="126" y="318"/>
                  </a:lnTo>
                  <a:lnTo>
                    <a:pt x="124" y="318"/>
                  </a:lnTo>
                  <a:lnTo>
                    <a:pt x="120" y="316"/>
                  </a:lnTo>
                  <a:lnTo>
                    <a:pt x="118" y="316"/>
                  </a:lnTo>
                  <a:lnTo>
                    <a:pt x="116" y="316"/>
                  </a:lnTo>
                  <a:lnTo>
                    <a:pt x="114" y="314"/>
                  </a:lnTo>
                  <a:lnTo>
                    <a:pt x="114" y="314"/>
                  </a:lnTo>
                  <a:lnTo>
                    <a:pt x="114" y="312"/>
                  </a:lnTo>
                  <a:lnTo>
                    <a:pt x="112" y="312"/>
                  </a:lnTo>
                  <a:lnTo>
                    <a:pt x="112" y="310"/>
                  </a:lnTo>
                  <a:lnTo>
                    <a:pt x="112" y="308"/>
                  </a:lnTo>
                  <a:lnTo>
                    <a:pt x="112" y="306"/>
                  </a:lnTo>
                  <a:lnTo>
                    <a:pt x="110" y="306"/>
                  </a:lnTo>
                  <a:lnTo>
                    <a:pt x="110" y="306"/>
                  </a:lnTo>
                  <a:lnTo>
                    <a:pt x="110" y="304"/>
                  </a:lnTo>
                  <a:lnTo>
                    <a:pt x="108" y="304"/>
                  </a:lnTo>
                  <a:lnTo>
                    <a:pt x="106" y="304"/>
                  </a:lnTo>
                  <a:lnTo>
                    <a:pt x="104" y="302"/>
                  </a:lnTo>
                  <a:lnTo>
                    <a:pt x="102" y="302"/>
                  </a:lnTo>
                  <a:lnTo>
                    <a:pt x="100" y="302"/>
                  </a:lnTo>
                  <a:lnTo>
                    <a:pt x="98" y="302"/>
                  </a:lnTo>
                  <a:lnTo>
                    <a:pt x="92" y="302"/>
                  </a:lnTo>
                  <a:lnTo>
                    <a:pt x="86" y="302"/>
                  </a:lnTo>
                  <a:lnTo>
                    <a:pt x="82" y="304"/>
                  </a:lnTo>
                  <a:lnTo>
                    <a:pt x="78" y="304"/>
                  </a:lnTo>
                  <a:lnTo>
                    <a:pt x="80" y="302"/>
                  </a:lnTo>
                  <a:lnTo>
                    <a:pt x="80" y="298"/>
                  </a:lnTo>
                  <a:lnTo>
                    <a:pt x="80" y="296"/>
                  </a:lnTo>
                  <a:lnTo>
                    <a:pt x="80" y="294"/>
                  </a:lnTo>
                  <a:lnTo>
                    <a:pt x="80" y="292"/>
                  </a:lnTo>
                  <a:lnTo>
                    <a:pt x="80" y="292"/>
                  </a:lnTo>
                  <a:lnTo>
                    <a:pt x="80" y="290"/>
                  </a:lnTo>
                  <a:lnTo>
                    <a:pt x="80" y="290"/>
                  </a:lnTo>
                  <a:lnTo>
                    <a:pt x="78" y="290"/>
                  </a:lnTo>
                  <a:lnTo>
                    <a:pt x="78" y="290"/>
                  </a:lnTo>
                  <a:lnTo>
                    <a:pt x="76" y="288"/>
                  </a:lnTo>
                  <a:lnTo>
                    <a:pt x="74" y="288"/>
                  </a:lnTo>
                  <a:lnTo>
                    <a:pt x="72" y="288"/>
                  </a:lnTo>
                  <a:lnTo>
                    <a:pt x="66" y="286"/>
                  </a:lnTo>
                  <a:lnTo>
                    <a:pt x="62" y="286"/>
                  </a:lnTo>
                  <a:lnTo>
                    <a:pt x="62" y="286"/>
                  </a:lnTo>
                  <a:lnTo>
                    <a:pt x="62" y="284"/>
                  </a:lnTo>
                  <a:lnTo>
                    <a:pt x="60" y="284"/>
                  </a:lnTo>
                  <a:lnTo>
                    <a:pt x="58" y="282"/>
                  </a:lnTo>
                  <a:lnTo>
                    <a:pt x="54" y="280"/>
                  </a:lnTo>
                  <a:lnTo>
                    <a:pt x="52" y="276"/>
                  </a:lnTo>
                  <a:lnTo>
                    <a:pt x="50" y="276"/>
                  </a:lnTo>
                  <a:lnTo>
                    <a:pt x="48" y="274"/>
                  </a:lnTo>
                  <a:lnTo>
                    <a:pt x="46" y="274"/>
                  </a:lnTo>
                  <a:lnTo>
                    <a:pt x="46" y="274"/>
                  </a:lnTo>
                  <a:lnTo>
                    <a:pt x="40" y="272"/>
                  </a:lnTo>
                  <a:lnTo>
                    <a:pt x="38" y="272"/>
                  </a:lnTo>
                  <a:lnTo>
                    <a:pt x="36" y="270"/>
                  </a:lnTo>
                  <a:lnTo>
                    <a:pt x="36" y="270"/>
                  </a:lnTo>
                  <a:lnTo>
                    <a:pt x="36" y="270"/>
                  </a:lnTo>
                  <a:lnTo>
                    <a:pt x="34" y="268"/>
                  </a:lnTo>
                  <a:lnTo>
                    <a:pt x="34" y="268"/>
                  </a:lnTo>
                  <a:lnTo>
                    <a:pt x="34" y="268"/>
                  </a:lnTo>
                  <a:lnTo>
                    <a:pt x="34" y="266"/>
                  </a:lnTo>
                  <a:lnTo>
                    <a:pt x="34" y="266"/>
                  </a:lnTo>
                  <a:lnTo>
                    <a:pt x="34" y="264"/>
                  </a:lnTo>
                  <a:lnTo>
                    <a:pt x="36" y="262"/>
                  </a:lnTo>
                  <a:lnTo>
                    <a:pt x="36" y="258"/>
                  </a:lnTo>
                  <a:lnTo>
                    <a:pt x="36" y="256"/>
                  </a:lnTo>
                  <a:lnTo>
                    <a:pt x="38" y="252"/>
                  </a:lnTo>
                  <a:lnTo>
                    <a:pt x="38" y="252"/>
                  </a:lnTo>
                  <a:lnTo>
                    <a:pt x="38" y="250"/>
                  </a:lnTo>
                  <a:lnTo>
                    <a:pt x="38" y="250"/>
                  </a:lnTo>
                  <a:lnTo>
                    <a:pt x="38" y="248"/>
                  </a:lnTo>
                  <a:lnTo>
                    <a:pt x="36" y="248"/>
                  </a:lnTo>
                  <a:lnTo>
                    <a:pt x="36" y="248"/>
                  </a:lnTo>
                  <a:lnTo>
                    <a:pt x="34" y="246"/>
                  </a:lnTo>
                  <a:lnTo>
                    <a:pt x="34" y="246"/>
                  </a:lnTo>
                  <a:lnTo>
                    <a:pt x="30" y="246"/>
                  </a:lnTo>
                  <a:lnTo>
                    <a:pt x="28" y="246"/>
                  </a:lnTo>
                  <a:lnTo>
                    <a:pt x="26" y="246"/>
                  </a:lnTo>
                  <a:lnTo>
                    <a:pt x="22" y="246"/>
                  </a:lnTo>
                  <a:lnTo>
                    <a:pt x="22" y="246"/>
                  </a:lnTo>
                  <a:lnTo>
                    <a:pt x="20" y="246"/>
                  </a:lnTo>
                  <a:lnTo>
                    <a:pt x="20" y="244"/>
                  </a:lnTo>
                  <a:lnTo>
                    <a:pt x="20" y="244"/>
                  </a:lnTo>
                  <a:lnTo>
                    <a:pt x="20" y="244"/>
                  </a:lnTo>
                  <a:lnTo>
                    <a:pt x="20" y="244"/>
                  </a:lnTo>
                  <a:lnTo>
                    <a:pt x="18" y="242"/>
                  </a:lnTo>
                  <a:lnTo>
                    <a:pt x="18" y="240"/>
                  </a:lnTo>
                  <a:lnTo>
                    <a:pt x="20" y="238"/>
                  </a:lnTo>
                  <a:lnTo>
                    <a:pt x="20" y="236"/>
                  </a:lnTo>
                  <a:lnTo>
                    <a:pt x="20" y="232"/>
                  </a:lnTo>
                  <a:lnTo>
                    <a:pt x="22" y="232"/>
                  </a:lnTo>
                  <a:lnTo>
                    <a:pt x="22" y="230"/>
                  </a:lnTo>
                  <a:lnTo>
                    <a:pt x="24" y="226"/>
                  </a:lnTo>
                  <a:lnTo>
                    <a:pt x="24" y="224"/>
                  </a:lnTo>
                  <a:lnTo>
                    <a:pt x="26" y="222"/>
                  </a:lnTo>
                  <a:lnTo>
                    <a:pt x="26" y="220"/>
                  </a:lnTo>
                  <a:lnTo>
                    <a:pt x="26" y="220"/>
                  </a:lnTo>
                  <a:lnTo>
                    <a:pt x="26" y="220"/>
                  </a:lnTo>
                  <a:lnTo>
                    <a:pt x="26" y="218"/>
                  </a:lnTo>
                  <a:lnTo>
                    <a:pt x="26" y="218"/>
                  </a:lnTo>
                  <a:lnTo>
                    <a:pt x="24" y="216"/>
                  </a:lnTo>
                  <a:lnTo>
                    <a:pt x="24" y="214"/>
                  </a:lnTo>
                  <a:lnTo>
                    <a:pt x="22" y="214"/>
                  </a:lnTo>
                  <a:lnTo>
                    <a:pt x="20" y="210"/>
                  </a:lnTo>
                  <a:lnTo>
                    <a:pt x="16" y="208"/>
                  </a:lnTo>
                  <a:lnTo>
                    <a:pt x="16" y="206"/>
                  </a:lnTo>
                  <a:lnTo>
                    <a:pt x="14" y="204"/>
                  </a:lnTo>
                  <a:lnTo>
                    <a:pt x="10" y="202"/>
                  </a:lnTo>
                  <a:lnTo>
                    <a:pt x="8" y="200"/>
                  </a:lnTo>
                  <a:lnTo>
                    <a:pt x="6" y="198"/>
                  </a:lnTo>
                  <a:lnTo>
                    <a:pt x="6" y="196"/>
                  </a:lnTo>
                  <a:lnTo>
                    <a:pt x="4" y="196"/>
                  </a:lnTo>
                  <a:lnTo>
                    <a:pt x="4" y="196"/>
                  </a:lnTo>
                  <a:lnTo>
                    <a:pt x="4" y="194"/>
                  </a:lnTo>
                  <a:lnTo>
                    <a:pt x="2" y="192"/>
                  </a:lnTo>
                  <a:lnTo>
                    <a:pt x="2" y="188"/>
                  </a:lnTo>
                  <a:lnTo>
                    <a:pt x="2" y="186"/>
                  </a:lnTo>
                  <a:lnTo>
                    <a:pt x="0" y="182"/>
                  </a:lnTo>
                  <a:lnTo>
                    <a:pt x="0" y="180"/>
                  </a:lnTo>
                  <a:lnTo>
                    <a:pt x="0" y="176"/>
                  </a:lnTo>
                  <a:lnTo>
                    <a:pt x="0" y="174"/>
                  </a:lnTo>
                  <a:lnTo>
                    <a:pt x="0" y="170"/>
                  </a:lnTo>
                  <a:lnTo>
                    <a:pt x="0" y="168"/>
                  </a:lnTo>
                  <a:lnTo>
                    <a:pt x="0" y="164"/>
                  </a:lnTo>
                  <a:lnTo>
                    <a:pt x="0" y="162"/>
                  </a:lnTo>
                  <a:lnTo>
                    <a:pt x="0" y="160"/>
                  </a:lnTo>
                  <a:lnTo>
                    <a:pt x="0" y="156"/>
                  </a:lnTo>
                  <a:lnTo>
                    <a:pt x="2" y="154"/>
                  </a:lnTo>
                  <a:lnTo>
                    <a:pt x="2" y="152"/>
                  </a:lnTo>
                  <a:lnTo>
                    <a:pt x="2" y="152"/>
                  </a:lnTo>
                  <a:lnTo>
                    <a:pt x="2" y="152"/>
                  </a:lnTo>
                  <a:lnTo>
                    <a:pt x="4" y="150"/>
                  </a:lnTo>
                  <a:lnTo>
                    <a:pt x="6" y="150"/>
                  </a:lnTo>
                  <a:lnTo>
                    <a:pt x="6" y="148"/>
                  </a:lnTo>
                  <a:lnTo>
                    <a:pt x="8" y="148"/>
                  </a:lnTo>
                  <a:lnTo>
                    <a:pt x="10" y="146"/>
                  </a:lnTo>
                  <a:lnTo>
                    <a:pt x="10" y="146"/>
                  </a:lnTo>
                  <a:lnTo>
                    <a:pt x="10" y="146"/>
                  </a:lnTo>
                  <a:lnTo>
                    <a:pt x="10" y="146"/>
                  </a:lnTo>
                  <a:lnTo>
                    <a:pt x="10" y="144"/>
                  </a:lnTo>
                  <a:lnTo>
                    <a:pt x="10" y="144"/>
                  </a:lnTo>
                  <a:lnTo>
                    <a:pt x="10" y="144"/>
                  </a:lnTo>
                  <a:lnTo>
                    <a:pt x="10" y="144"/>
                  </a:lnTo>
                  <a:lnTo>
                    <a:pt x="10" y="142"/>
                  </a:lnTo>
                  <a:lnTo>
                    <a:pt x="8" y="142"/>
                  </a:lnTo>
                  <a:lnTo>
                    <a:pt x="6" y="140"/>
                  </a:lnTo>
                  <a:lnTo>
                    <a:pt x="4" y="140"/>
                  </a:lnTo>
                  <a:lnTo>
                    <a:pt x="4" y="138"/>
                  </a:lnTo>
                  <a:lnTo>
                    <a:pt x="4" y="136"/>
                  </a:lnTo>
                  <a:lnTo>
                    <a:pt x="4" y="134"/>
                  </a:lnTo>
                  <a:lnTo>
                    <a:pt x="4" y="132"/>
                  </a:lnTo>
                  <a:lnTo>
                    <a:pt x="4" y="130"/>
                  </a:lnTo>
                  <a:lnTo>
                    <a:pt x="4" y="130"/>
                  </a:lnTo>
                  <a:lnTo>
                    <a:pt x="4" y="130"/>
                  </a:lnTo>
                  <a:lnTo>
                    <a:pt x="4" y="128"/>
                  </a:lnTo>
                  <a:lnTo>
                    <a:pt x="6" y="126"/>
                  </a:lnTo>
                  <a:lnTo>
                    <a:pt x="6" y="124"/>
                  </a:lnTo>
                  <a:lnTo>
                    <a:pt x="6" y="124"/>
                  </a:lnTo>
                  <a:lnTo>
                    <a:pt x="8" y="122"/>
                  </a:lnTo>
                  <a:lnTo>
                    <a:pt x="8" y="120"/>
                  </a:lnTo>
                  <a:lnTo>
                    <a:pt x="8" y="116"/>
                  </a:lnTo>
                  <a:lnTo>
                    <a:pt x="8" y="112"/>
                  </a:lnTo>
                  <a:lnTo>
                    <a:pt x="8" y="110"/>
                  </a:lnTo>
                  <a:lnTo>
                    <a:pt x="8" y="108"/>
                  </a:lnTo>
                  <a:lnTo>
                    <a:pt x="10" y="108"/>
                  </a:lnTo>
                  <a:lnTo>
                    <a:pt x="10" y="106"/>
                  </a:lnTo>
                  <a:lnTo>
                    <a:pt x="10" y="106"/>
                  </a:lnTo>
                  <a:lnTo>
                    <a:pt x="10" y="106"/>
                  </a:lnTo>
                  <a:lnTo>
                    <a:pt x="14" y="104"/>
                  </a:lnTo>
                  <a:lnTo>
                    <a:pt x="16" y="104"/>
                  </a:lnTo>
                  <a:lnTo>
                    <a:pt x="16" y="102"/>
                  </a:lnTo>
                  <a:lnTo>
                    <a:pt x="16" y="102"/>
                  </a:lnTo>
                  <a:lnTo>
                    <a:pt x="18" y="100"/>
                  </a:lnTo>
                  <a:lnTo>
                    <a:pt x="18" y="100"/>
                  </a:lnTo>
                  <a:lnTo>
                    <a:pt x="18" y="98"/>
                  </a:lnTo>
                  <a:lnTo>
                    <a:pt x="18" y="96"/>
                  </a:lnTo>
                  <a:lnTo>
                    <a:pt x="18" y="94"/>
                  </a:lnTo>
                  <a:lnTo>
                    <a:pt x="16" y="90"/>
                  </a:lnTo>
                  <a:lnTo>
                    <a:pt x="16" y="86"/>
                  </a:lnTo>
                  <a:lnTo>
                    <a:pt x="16" y="82"/>
                  </a:lnTo>
                  <a:lnTo>
                    <a:pt x="16" y="80"/>
                  </a:lnTo>
                  <a:lnTo>
                    <a:pt x="16" y="80"/>
                  </a:lnTo>
                  <a:lnTo>
                    <a:pt x="16" y="78"/>
                  </a:lnTo>
                  <a:lnTo>
                    <a:pt x="16" y="76"/>
                  </a:lnTo>
                  <a:lnTo>
                    <a:pt x="18" y="76"/>
                  </a:lnTo>
                  <a:lnTo>
                    <a:pt x="18" y="76"/>
                  </a:lnTo>
                  <a:lnTo>
                    <a:pt x="20" y="74"/>
                  </a:lnTo>
                  <a:lnTo>
                    <a:pt x="22" y="72"/>
                  </a:lnTo>
                  <a:lnTo>
                    <a:pt x="24" y="72"/>
                  </a:lnTo>
                  <a:lnTo>
                    <a:pt x="24" y="70"/>
                  </a:lnTo>
                  <a:lnTo>
                    <a:pt x="26" y="70"/>
                  </a:lnTo>
                  <a:lnTo>
                    <a:pt x="26" y="68"/>
                  </a:lnTo>
                  <a:lnTo>
                    <a:pt x="26" y="66"/>
                  </a:lnTo>
                  <a:lnTo>
                    <a:pt x="26" y="64"/>
                  </a:lnTo>
                  <a:lnTo>
                    <a:pt x="26" y="60"/>
                  </a:lnTo>
                  <a:lnTo>
                    <a:pt x="28" y="56"/>
                  </a:lnTo>
                  <a:lnTo>
                    <a:pt x="28" y="52"/>
                  </a:lnTo>
                  <a:lnTo>
                    <a:pt x="28" y="50"/>
                  </a:lnTo>
                  <a:lnTo>
                    <a:pt x="28" y="48"/>
                  </a:lnTo>
                  <a:lnTo>
                    <a:pt x="28" y="46"/>
                  </a:lnTo>
                  <a:lnTo>
                    <a:pt x="30" y="44"/>
                  </a:lnTo>
                  <a:lnTo>
                    <a:pt x="30" y="42"/>
                  </a:lnTo>
                  <a:lnTo>
                    <a:pt x="30" y="42"/>
                  </a:lnTo>
                  <a:lnTo>
                    <a:pt x="32" y="42"/>
                  </a:lnTo>
                  <a:lnTo>
                    <a:pt x="32" y="40"/>
                  </a:lnTo>
                  <a:lnTo>
                    <a:pt x="34" y="40"/>
                  </a:lnTo>
                  <a:lnTo>
                    <a:pt x="36" y="40"/>
                  </a:lnTo>
                  <a:lnTo>
                    <a:pt x="38" y="40"/>
                  </a:lnTo>
                  <a:lnTo>
                    <a:pt x="38" y="40"/>
                  </a:lnTo>
                  <a:lnTo>
                    <a:pt x="38" y="40"/>
                  </a:lnTo>
                  <a:lnTo>
                    <a:pt x="38" y="38"/>
                  </a:lnTo>
                  <a:lnTo>
                    <a:pt x="38" y="38"/>
                  </a:lnTo>
                  <a:lnTo>
                    <a:pt x="38" y="38"/>
                  </a:lnTo>
                  <a:lnTo>
                    <a:pt x="38" y="36"/>
                  </a:lnTo>
                  <a:lnTo>
                    <a:pt x="38" y="36"/>
                  </a:lnTo>
                  <a:lnTo>
                    <a:pt x="36" y="34"/>
                  </a:lnTo>
                  <a:lnTo>
                    <a:pt x="34" y="32"/>
                  </a:lnTo>
                  <a:lnTo>
                    <a:pt x="32" y="32"/>
                  </a:lnTo>
                  <a:lnTo>
                    <a:pt x="30" y="30"/>
                  </a:lnTo>
                  <a:lnTo>
                    <a:pt x="30" y="28"/>
                  </a:lnTo>
                  <a:lnTo>
                    <a:pt x="28" y="28"/>
                  </a:lnTo>
                  <a:lnTo>
                    <a:pt x="28" y="26"/>
                  </a:lnTo>
                  <a:lnTo>
                    <a:pt x="28" y="26"/>
                  </a:lnTo>
                  <a:lnTo>
                    <a:pt x="28" y="24"/>
                  </a:lnTo>
                  <a:lnTo>
                    <a:pt x="28" y="22"/>
                  </a:lnTo>
                  <a:lnTo>
                    <a:pt x="28" y="20"/>
                  </a:lnTo>
                  <a:lnTo>
                    <a:pt x="28" y="18"/>
                  </a:lnTo>
                  <a:lnTo>
                    <a:pt x="28" y="16"/>
                  </a:lnTo>
                  <a:lnTo>
                    <a:pt x="28" y="16"/>
                  </a:lnTo>
                  <a:lnTo>
                    <a:pt x="28" y="14"/>
                  </a:lnTo>
                  <a:lnTo>
                    <a:pt x="28" y="14"/>
                  </a:lnTo>
                  <a:lnTo>
                    <a:pt x="28" y="14"/>
                  </a:lnTo>
                  <a:lnTo>
                    <a:pt x="30" y="12"/>
                  </a:lnTo>
                  <a:lnTo>
                    <a:pt x="30" y="12"/>
                  </a:lnTo>
                  <a:lnTo>
                    <a:pt x="32" y="12"/>
                  </a:lnTo>
                  <a:lnTo>
                    <a:pt x="34" y="12"/>
                  </a:lnTo>
                  <a:lnTo>
                    <a:pt x="36" y="12"/>
                  </a:lnTo>
                  <a:lnTo>
                    <a:pt x="38" y="10"/>
                  </a:lnTo>
                  <a:lnTo>
                    <a:pt x="40" y="12"/>
                  </a:lnTo>
                  <a:lnTo>
                    <a:pt x="40" y="12"/>
                  </a:lnTo>
                  <a:lnTo>
                    <a:pt x="42" y="12"/>
                  </a:lnTo>
                  <a:lnTo>
                    <a:pt x="42" y="12"/>
                  </a:lnTo>
                  <a:lnTo>
                    <a:pt x="44" y="12"/>
                  </a:lnTo>
                  <a:lnTo>
                    <a:pt x="44" y="14"/>
                  </a:lnTo>
                  <a:lnTo>
                    <a:pt x="46" y="16"/>
                  </a:lnTo>
                  <a:lnTo>
                    <a:pt x="48" y="18"/>
                  </a:lnTo>
                  <a:lnTo>
                    <a:pt x="50" y="22"/>
                  </a:lnTo>
                  <a:lnTo>
                    <a:pt x="50" y="22"/>
                  </a:lnTo>
                  <a:lnTo>
                    <a:pt x="50" y="24"/>
                  </a:lnTo>
                  <a:lnTo>
                    <a:pt x="52" y="26"/>
                  </a:lnTo>
                  <a:lnTo>
                    <a:pt x="54" y="28"/>
                  </a:lnTo>
                  <a:lnTo>
                    <a:pt x="54" y="30"/>
                  </a:lnTo>
                  <a:lnTo>
                    <a:pt x="54" y="30"/>
                  </a:lnTo>
                  <a:lnTo>
                    <a:pt x="56" y="30"/>
                  </a:lnTo>
                  <a:lnTo>
                    <a:pt x="56" y="30"/>
                  </a:lnTo>
                  <a:lnTo>
                    <a:pt x="56" y="30"/>
                  </a:lnTo>
                  <a:lnTo>
                    <a:pt x="56" y="30"/>
                  </a:lnTo>
                  <a:lnTo>
                    <a:pt x="58" y="30"/>
                  </a:lnTo>
                  <a:lnTo>
                    <a:pt x="58" y="28"/>
                  </a:lnTo>
                  <a:lnTo>
                    <a:pt x="58" y="28"/>
                  </a:lnTo>
                  <a:lnTo>
                    <a:pt x="58" y="26"/>
                  </a:lnTo>
                  <a:lnTo>
                    <a:pt x="60" y="24"/>
                  </a:lnTo>
                  <a:lnTo>
                    <a:pt x="60" y="22"/>
                  </a:lnTo>
                  <a:lnTo>
                    <a:pt x="60" y="20"/>
                  </a:lnTo>
                  <a:lnTo>
                    <a:pt x="60" y="18"/>
                  </a:lnTo>
                  <a:lnTo>
                    <a:pt x="60" y="16"/>
                  </a:lnTo>
                  <a:lnTo>
                    <a:pt x="60" y="10"/>
                  </a:lnTo>
                  <a:lnTo>
                    <a:pt x="60" y="6"/>
                  </a:lnTo>
                  <a:lnTo>
                    <a:pt x="58"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3" name="Freeform 528">
              <a:extLst>
                <a:ext uri="{FF2B5EF4-FFF2-40B4-BE49-F238E27FC236}">
                  <a16:creationId xmlns:a16="http://schemas.microsoft.com/office/drawing/2014/main" id="{B6B06427-CC91-4FD2-9154-BF95182EF1A1}"/>
                </a:ext>
              </a:extLst>
            </p:cNvPr>
            <p:cNvSpPr>
              <a:spLocks/>
            </p:cNvSpPr>
            <p:nvPr/>
          </p:nvSpPr>
          <p:spPr bwMode="auto">
            <a:xfrm>
              <a:off x="714994" y="2858710"/>
              <a:ext cx="51962" cy="51962"/>
            </a:xfrm>
            <a:custGeom>
              <a:avLst/>
              <a:gdLst>
                <a:gd name="T0" fmla="*/ 8 w 30"/>
                <a:gd name="T1" fmla="*/ 10 h 30"/>
                <a:gd name="T2" fmla="*/ 8 w 30"/>
                <a:gd name="T3" fmla="*/ 10 h 30"/>
                <a:gd name="T4" fmla="*/ 8 w 30"/>
                <a:gd name="T5" fmla="*/ 10 h 30"/>
                <a:gd name="T6" fmla="*/ 10 w 30"/>
                <a:gd name="T7" fmla="*/ 8 h 30"/>
                <a:gd name="T8" fmla="*/ 10 w 30"/>
                <a:gd name="T9" fmla="*/ 4 h 30"/>
                <a:gd name="T10" fmla="*/ 12 w 30"/>
                <a:gd name="T11" fmla="*/ 4 h 30"/>
                <a:gd name="T12" fmla="*/ 12 w 30"/>
                <a:gd name="T13" fmla="*/ 2 h 30"/>
                <a:gd name="T14" fmla="*/ 12 w 30"/>
                <a:gd name="T15" fmla="*/ 2 h 30"/>
                <a:gd name="T16" fmla="*/ 14 w 30"/>
                <a:gd name="T17" fmla="*/ 0 h 30"/>
                <a:gd name="T18" fmla="*/ 14 w 30"/>
                <a:gd name="T19" fmla="*/ 0 h 30"/>
                <a:gd name="T20" fmla="*/ 16 w 30"/>
                <a:gd name="T21" fmla="*/ 0 h 30"/>
                <a:gd name="T22" fmla="*/ 18 w 30"/>
                <a:gd name="T23" fmla="*/ 0 h 30"/>
                <a:gd name="T24" fmla="*/ 20 w 30"/>
                <a:gd name="T25" fmla="*/ 0 h 30"/>
                <a:gd name="T26" fmla="*/ 24 w 30"/>
                <a:gd name="T27" fmla="*/ 0 h 30"/>
                <a:gd name="T28" fmla="*/ 24 w 30"/>
                <a:gd name="T29" fmla="*/ 0 h 30"/>
                <a:gd name="T30" fmla="*/ 26 w 30"/>
                <a:gd name="T31" fmla="*/ 0 h 30"/>
                <a:gd name="T32" fmla="*/ 28 w 30"/>
                <a:gd name="T33" fmla="*/ 0 h 30"/>
                <a:gd name="T34" fmla="*/ 28 w 30"/>
                <a:gd name="T35" fmla="*/ 0 h 30"/>
                <a:gd name="T36" fmla="*/ 28 w 30"/>
                <a:gd name="T37" fmla="*/ 2 h 30"/>
                <a:gd name="T38" fmla="*/ 28 w 30"/>
                <a:gd name="T39" fmla="*/ 2 h 30"/>
                <a:gd name="T40" fmla="*/ 28 w 30"/>
                <a:gd name="T41" fmla="*/ 4 h 30"/>
                <a:gd name="T42" fmla="*/ 30 w 30"/>
                <a:gd name="T43" fmla="*/ 6 h 30"/>
                <a:gd name="T44" fmla="*/ 30 w 30"/>
                <a:gd name="T45" fmla="*/ 8 h 30"/>
                <a:gd name="T46" fmla="*/ 28 w 30"/>
                <a:gd name="T47" fmla="*/ 10 h 30"/>
                <a:gd name="T48" fmla="*/ 28 w 30"/>
                <a:gd name="T49" fmla="*/ 10 h 30"/>
                <a:gd name="T50" fmla="*/ 28 w 30"/>
                <a:gd name="T51" fmla="*/ 12 h 30"/>
                <a:gd name="T52" fmla="*/ 28 w 30"/>
                <a:gd name="T53" fmla="*/ 14 h 30"/>
                <a:gd name="T54" fmla="*/ 26 w 30"/>
                <a:gd name="T55" fmla="*/ 16 h 30"/>
                <a:gd name="T56" fmla="*/ 26 w 30"/>
                <a:gd name="T57" fmla="*/ 18 h 30"/>
                <a:gd name="T58" fmla="*/ 24 w 30"/>
                <a:gd name="T59" fmla="*/ 22 h 30"/>
                <a:gd name="T60" fmla="*/ 20 w 30"/>
                <a:gd name="T61" fmla="*/ 24 h 30"/>
                <a:gd name="T62" fmla="*/ 18 w 30"/>
                <a:gd name="T63" fmla="*/ 26 h 30"/>
                <a:gd name="T64" fmla="*/ 18 w 30"/>
                <a:gd name="T65" fmla="*/ 28 h 30"/>
                <a:gd name="T66" fmla="*/ 16 w 30"/>
                <a:gd name="T67" fmla="*/ 28 h 30"/>
                <a:gd name="T68" fmla="*/ 14 w 30"/>
                <a:gd name="T69" fmla="*/ 30 h 30"/>
                <a:gd name="T70" fmla="*/ 14 w 30"/>
                <a:gd name="T71" fmla="*/ 30 h 30"/>
                <a:gd name="T72" fmla="*/ 12 w 30"/>
                <a:gd name="T73" fmla="*/ 30 h 30"/>
                <a:gd name="T74" fmla="*/ 12 w 30"/>
                <a:gd name="T75" fmla="*/ 30 h 30"/>
                <a:gd name="T76" fmla="*/ 10 w 30"/>
                <a:gd name="T77" fmla="*/ 30 h 30"/>
                <a:gd name="T78" fmla="*/ 10 w 30"/>
                <a:gd name="T79" fmla="*/ 30 h 30"/>
                <a:gd name="T80" fmla="*/ 8 w 30"/>
                <a:gd name="T81" fmla="*/ 30 h 30"/>
                <a:gd name="T82" fmla="*/ 8 w 30"/>
                <a:gd name="T83" fmla="*/ 30 h 30"/>
                <a:gd name="T84" fmla="*/ 6 w 30"/>
                <a:gd name="T85" fmla="*/ 28 h 30"/>
                <a:gd name="T86" fmla="*/ 4 w 30"/>
                <a:gd name="T87" fmla="*/ 26 h 30"/>
                <a:gd name="T88" fmla="*/ 2 w 30"/>
                <a:gd name="T89" fmla="*/ 24 h 30"/>
                <a:gd name="T90" fmla="*/ 0 w 30"/>
                <a:gd name="T91" fmla="*/ 22 h 30"/>
                <a:gd name="T92" fmla="*/ 0 w 30"/>
                <a:gd name="T93" fmla="*/ 22 h 30"/>
                <a:gd name="T94" fmla="*/ 0 w 30"/>
                <a:gd name="T95" fmla="*/ 20 h 30"/>
                <a:gd name="T96" fmla="*/ 0 w 30"/>
                <a:gd name="T97" fmla="*/ 20 h 30"/>
                <a:gd name="T98" fmla="*/ 0 w 30"/>
                <a:gd name="T99" fmla="*/ 18 h 30"/>
                <a:gd name="T100" fmla="*/ 0 w 30"/>
                <a:gd name="T101" fmla="*/ 18 h 30"/>
                <a:gd name="T102" fmla="*/ 0 w 30"/>
                <a:gd name="T103" fmla="*/ 18 h 30"/>
                <a:gd name="T104" fmla="*/ 0 w 30"/>
                <a:gd name="T105" fmla="*/ 18 h 30"/>
                <a:gd name="T106" fmla="*/ 0 w 30"/>
                <a:gd name="T107" fmla="*/ 16 h 30"/>
                <a:gd name="T108" fmla="*/ 2 w 30"/>
                <a:gd name="T109" fmla="*/ 16 h 30"/>
                <a:gd name="T110" fmla="*/ 4 w 30"/>
                <a:gd name="T111" fmla="*/ 14 h 30"/>
                <a:gd name="T112" fmla="*/ 6 w 30"/>
                <a:gd name="T113" fmla="*/ 12 h 30"/>
                <a:gd name="T114" fmla="*/ 8 w 30"/>
                <a:gd name="T115" fmla="*/ 10 h 30"/>
                <a:gd name="T116" fmla="*/ 8 w 30"/>
                <a:gd name="T117" fmla="*/ 1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 h="30">
                  <a:moveTo>
                    <a:pt x="8" y="10"/>
                  </a:moveTo>
                  <a:lnTo>
                    <a:pt x="8" y="10"/>
                  </a:lnTo>
                  <a:lnTo>
                    <a:pt x="8" y="10"/>
                  </a:lnTo>
                  <a:lnTo>
                    <a:pt x="10" y="8"/>
                  </a:lnTo>
                  <a:lnTo>
                    <a:pt x="10" y="4"/>
                  </a:lnTo>
                  <a:lnTo>
                    <a:pt x="12" y="4"/>
                  </a:lnTo>
                  <a:lnTo>
                    <a:pt x="12" y="2"/>
                  </a:lnTo>
                  <a:lnTo>
                    <a:pt x="12" y="2"/>
                  </a:lnTo>
                  <a:lnTo>
                    <a:pt x="14" y="0"/>
                  </a:lnTo>
                  <a:lnTo>
                    <a:pt x="14" y="0"/>
                  </a:lnTo>
                  <a:lnTo>
                    <a:pt x="16" y="0"/>
                  </a:lnTo>
                  <a:lnTo>
                    <a:pt x="18" y="0"/>
                  </a:lnTo>
                  <a:lnTo>
                    <a:pt x="20" y="0"/>
                  </a:lnTo>
                  <a:lnTo>
                    <a:pt x="24" y="0"/>
                  </a:lnTo>
                  <a:lnTo>
                    <a:pt x="24" y="0"/>
                  </a:lnTo>
                  <a:lnTo>
                    <a:pt x="26" y="0"/>
                  </a:lnTo>
                  <a:lnTo>
                    <a:pt x="28" y="0"/>
                  </a:lnTo>
                  <a:lnTo>
                    <a:pt x="28" y="0"/>
                  </a:lnTo>
                  <a:lnTo>
                    <a:pt x="28" y="2"/>
                  </a:lnTo>
                  <a:lnTo>
                    <a:pt x="28" y="2"/>
                  </a:lnTo>
                  <a:lnTo>
                    <a:pt x="28" y="4"/>
                  </a:lnTo>
                  <a:lnTo>
                    <a:pt x="30" y="6"/>
                  </a:lnTo>
                  <a:lnTo>
                    <a:pt x="30" y="8"/>
                  </a:lnTo>
                  <a:lnTo>
                    <a:pt x="28" y="10"/>
                  </a:lnTo>
                  <a:lnTo>
                    <a:pt x="28" y="10"/>
                  </a:lnTo>
                  <a:lnTo>
                    <a:pt x="28" y="12"/>
                  </a:lnTo>
                  <a:lnTo>
                    <a:pt x="28" y="14"/>
                  </a:lnTo>
                  <a:lnTo>
                    <a:pt x="26" y="16"/>
                  </a:lnTo>
                  <a:lnTo>
                    <a:pt x="26" y="18"/>
                  </a:lnTo>
                  <a:lnTo>
                    <a:pt x="24" y="22"/>
                  </a:lnTo>
                  <a:lnTo>
                    <a:pt x="20" y="24"/>
                  </a:lnTo>
                  <a:lnTo>
                    <a:pt x="18" y="26"/>
                  </a:lnTo>
                  <a:lnTo>
                    <a:pt x="18" y="28"/>
                  </a:lnTo>
                  <a:lnTo>
                    <a:pt x="16" y="28"/>
                  </a:lnTo>
                  <a:lnTo>
                    <a:pt x="14" y="30"/>
                  </a:lnTo>
                  <a:lnTo>
                    <a:pt x="14" y="30"/>
                  </a:lnTo>
                  <a:lnTo>
                    <a:pt x="12" y="30"/>
                  </a:lnTo>
                  <a:lnTo>
                    <a:pt x="12" y="30"/>
                  </a:lnTo>
                  <a:lnTo>
                    <a:pt x="10" y="30"/>
                  </a:lnTo>
                  <a:lnTo>
                    <a:pt x="10" y="30"/>
                  </a:lnTo>
                  <a:lnTo>
                    <a:pt x="8" y="30"/>
                  </a:lnTo>
                  <a:lnTo>
                    <a:pt x="8" y="30"/>
                  </a:lnTo>
                  <a:lnTo>
                    <a:pt x="6" y="28"/>
                  </a:lnTo>
                  <a:lnTo>
                    <a:pt x="4" y="26"/>
                  </a:lnTo>
                  <a:lnTo>
                    <a:pt x="2" y="24"/>
                  </a:lnTo>
                  <a:lnTo>
                    <a:pt x="0" y="22"/>
                  </a:lnTo>
                  <a:lnTo>
                    <a:pt x="0" y="22"/>
                  </a:lnTo>
                  <a:lnTo>
                    <a:pt x="0" y="20"/>
                  </a:lnTo>
                  <a:lnTo>
                    <a:pt x="0" y="20"/>
                  </a:lnTo>
                  <a:lnTo>
                    <a:pt x="0" y="18"/>
                  </a:lnTo>
                  <a:lnTo>
                    <a:pt x="0" y="18"/>
                  </a:lnTo>
                  <a:lnTo>
                    <a:pt x="0" y="18"/>
                  </a:lnTo>
                  <a:lnTo>
                    <a:pt x="0" y="18"/>
                  </a:lnTo>
                  <a:lnTo>
                    <a:pt x="0" y="16"/>
                  </a:lnTo>
                  <a:lnTo>
                    <a:pt x="2" y="16"/>
                  </a:lnTo>
                  <a:lnTo>
                    <a:pt x="4" y="14"/>
                  </a:lnTo>
                  <a:lnTo>
                    <a:pt x="6" y="12"/>
                  </a:lnTo>
                  <a:lnTo>
                    <a:pt x="8" y="10"/>
                  </a:lnTo>
                  <a:lnTo>
                    <a:pt x="8" y="1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4" name="Freeform 529">
              <a:extLst>
                <a:ext uri="{FF2B5EF4-FFF2-40B4-BE49-F238E27FC236}">
                  <a16:creationId xmlns:a16="http://schemas.microsoft.com/office/drawing/2014/main" id="{332173F1-6364-4446-8648-F61007FACDC3}"/>
                </a:ext>
              </a:extLst>
            </p:cNvPr>
            <p:cNvSpPr>
              <a:spLocks/>
            </p:cNvSpPr>
            <p:nvPr/>
          </p:nvSpPr>
          <p:spPr bwMode="auto">
            <a:xfrm>
              <a:off x="714994" y="2858710"/>
              <a:ext cx="51962" cy="51962"/>
            </a:xfrm>
            <a:custGeom>
              <a:avLst/>
              <a:gdLst>
                <a:gd name="T0" fmla="*/ 8 w 30"/>
                <a:gd name="T1" fmla="*/ 10 h 30"/>
                <a:gd name="T2" fmla="*/ 8 w 30"/>
                <a:gd name="T3" fmla="*/ 10 h 30"/>
                <a:gd name="T4" fmla="*/ 8 w 30"/>
                <a:gd name="T5" fmla="*/ 10 h 30"/>
                <a:gd name="T6" fmla="*/ 10 w 30"/>
                <a:gd name="T7" fmla="*/ 8 h 30"/>
                <a:gd name="T8" fmla="*/ 10 w 30"/>
                <a:gd name="T9" fmla="*/ 4 h 30"/>
                <a:gd name="T10" fmla="*/ 12 w 30"/>
                <a:gd name="T11" fmla="*/ 4 h 30"/>
                <a:gd name="T12" fmla="*/ 12 w 30"/>
                <a:gd name="T13" fmla="*/ 2 h 30"/>
                <a:gd name="T14" fmla="*/ 12 w 30"/>
                <a:gd name="T15" fmla="*/ 2 h 30"/>
                <a:gd name="T16" fmla="*/ 14 w 30"/>
                <a:gd name="T17" fmla="*/ 0 h 30"/>
                <a:gd name="T18" fmla="*/ 14 w 30"/>
                <a:gd name="T19" fmla="*/ 0 h 30"/>
                <a:gd name="T20" fmla="*/ 16 w 30"/>
                <a:gd name="T21" fmla="*/ 0 h 30"/>
                <a:gd name="T22" fmla="*/ 18 w 30"/>
                <a:gd name="T23" fmla="*/ 0 h 30"/>
                <a:gd name="T24" fmla="*/ 20 w 30"/>
                <a:gd name="T25" fmla="*/ 0 h 30"/>
                <a:gd name="T26" fmla="*/ 24 w 30"/>
                <a:gd name="T27" fmla="*/ 0 h 30"/>
                <a:gd name="T28" fmla="*/ 24 w 30"/>
                <a:gd name="T29" fmla="*/ 0 h 30"/>
                <a:gd name="T30" fmla="*/ 26 w 30"/>
                <a:gd name="T31" fmla="*/ 0 h 30"/>
                <a:gd name="T32" fmla="*/ 28 w 30"/>
                <a:gd name="T33" fmla="*/ 0 h 30"/>
                <a:gd name="T34" fmla="*/ 28 w 30"/>
                <a:gd name="T35" fmla="*/ 0 h 30"/>
                <a:gd name="T36" fmla="*/ 28 w 30"/>
                <a:gd name="T37" fmla="*/ 2 h 30"/>
                <a:gd name="T38" fmla="*/ 28 w 30"/>
                <a:gd name="T39" fmla="*/ 2 h 30"/>
                <a:gd name="T40" fmla="*/ 28 w 30"/>
                <a:gd name="T41" fmla="*/ 4 h 30"/>
                <a:gd name="T42" fmla="*/ 30 w 30"/>
                <a:gd name="T43" fmla="*/ 6 h 30"/>
                <a:gd name="T44" fmla="*/ 30 w 30"/>
                <a:gd name="T45" fmla="*/ 8 h 30"/>
                <a:gd name="T46" fmla="*/ 28 w 30"/>
                <a:gd name="T47" fmla="*/ 10 h 30"/>
                <a:gd name="T48" fmla="*/ 28 w 30"/>
                <a:gd name="T49" fmla="*/ 10 h 30"/>
                <a:gd name="T50" fmla="*/ 28 w 30"/>
                <a:gd name="T51" fmla="*/ 12 h 30"/>
                <a:gd name="T52" fmla="*/ 28 w 30"/>
                <a:gd name="T53" fmla="*/ 14 h 30"/>
                <a:gd name="T54" fmla="*/ 26 w 30"/>
                <a:gd name="T55" fmla="*/ 16 h 30"/>
                <a:gd name="T56" fmla="*/ 26 w 30"/>
                <a:gd name="T57" fmla="*/ 18 h 30"/>
                <a:gd name="T58" fmla="*/ 24 w 30"/>
                <a:gd name="T59" fmla="*/ 22 h 30"/>
                <a:gd name="T60" fmla="*/ 20 w 30"/>
                <a:gd name="T61" fmla="*/ 24 h 30"/>
                <a:gd name="T62" fmla="*/ 18 w 30"/>
                <a:gd name="T63" fmla="*/ 26 h 30"/>
                <a:gd name="T64" fmla="*/ 18 w 30"/>
                <a:gd name="T65" fmla="*/ 28 h 30"/>
                <a:gd name="T66" fmla="*/ 16 w 30"/>
                <a:gd name="T67" fmla="*/ 28 h 30"/>
                <a:gd name="T68" fmla="*/ 14 w 30"/>
                <a:gd name="T69" fmla="*/ 30 h 30"/>
                <a:gd name="T70" fmla="*/ 14 w 30"/>
                <a:gd name="T71" fmla="*/ 30 h 30"/>
                <a:gd name="T72" fmla="*/ 12 w 30"/>
                <a:gd name="T73" fmla="*/ 30 h 30"/>
                <a:gd name="T74" fmla="*/ 12 w 30"/>
                <a:gd name="T75" fmla="*/ 30 h 30"/>
                <a:gd name="T76" fmla="*/ 10 w 30"/>
                <a:gd name="T77" fmla="*/ 30 h 30"/>
                <a:gd name="T78" fmla="*/ 10 w 30"/>
                <a:gd name="T79" fmla="*/ 30 h 30"/>
                <a:gd name="T80" fmla="*/ 8 w 30"/>
                <a:gd name="T81" fmla="*/ 30 h 30"/>
                <a:gd name="T82" fmla="*/ 8 w 30"/>
                <a:gd name="T83" fmla="*/ 30 h 30"/>
                <a:gd name="T84" fmla="*/ 6 w 30"/>
                <a:gd name="T85" fmla="*/ 28 h 30"/>
                <a:gd name="T86" fmla="*/ 4 w 30"/>
                <a:gd name="T87" fmla="*/ 26 h 30"/>
                <a:gd name="T88" fmla="*/ 2 w 30"/>
                <a:gd name="T89" fmla="*/ 24 h 30"/>
                <a:gd name="T90" fmla="*/ 0 w 30"/>
                <a:gd name="T91" fmla="*/ 22 h 30"/>
                <a:gd name="T92" fmla="*/ 0 w 30"/>
                <a:gd name="T93" fmla="*/ 22 h 30"/>
                <a:gd name="T94" fmla="*/ 0 w 30"/>
                <a:gd name="T95" fmla="*/ 20 h 30"/>
                <a:gd name="T96" fmla="*/ 0 w 30"/>
                <a:gd name="T97" fmla="*/ 20 h 30"/>
                <a:gd name="T98" fmla="*/ 0 w 30"/>
                <a:gd name="T99" fmla="*/ 18 h 30"/>
                <a:gd name="T100" fmla="*/ 0 w 30"/>
                <a:gd name="T101" fmla="*/ 18 h 30"/>
                <a:gd name="T102" fmla="*/ 0 w 30"/>
                <a:gd name="T103" fmla="*/ 18 h 30"/>
                <a:gd name="T104" fmla="*/ 0 w 30"/>
                <a:gd name="T105" fmla="*/ 18 h 30"/>
                <a:gd name="T106" fmla="*/ 0 w 30"/>
                <a:gd name="T107" fmla="*/ 16 h 30"/>
                <a:gd name="T108" fmla="*/ 2 w 30"/>
                <a:gd name="T109" fmla="*/ 16 h 30"/>
                <a:gd name="T110" fmla="*/ 4 w 30"/>
                <a:gd name="T111" fmla="*/ 14 h 30"/>
                <a:gd name="T112" fmla="*/ 6 w 30"/>
                <a:gd name="T113" fmla="*/ 12 h 30"/>
                <a:gd name="T114" fmla="*/ 8 w 30"/>
                <a:gd name="T115" fmla="*/ 10 h 30"/>
                <a:gd name="T116" fmla="*/ 8 w 30"/>
                <a:gd name="T117" fmla="*/ 1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 h="30">
                  <a:moveTo>
                    <a:pt x="8" y="10"/>
                  </a:moveTo>
                  <a:lnTo>
                    <a:pt x="8" y="10"/>
                  </a:lnTo>
                  <a:lnTo>
                    <a:pt x="8" y="10"/>
                  </a:lnTo>
                  <a:lnTo>
                    <a:pt x="10" y="8"/>
                  </a:lnTo>
                  <a:lnTo>
                    <a:pt x="10" y="4"/>
                  </a:lnTo>
                  <a:lnTo>
                    <a:pt x="12" y="4"/>
                  </a:lnTo>
                  <a:lnTo>
                    <a:pt x="12" y="2"/>
                  </a:lnTo>
                  <a:lnTo>
                    <a:pt x="12" y="2"/>
                  </a:lnTo>
                  <a:lnTo>
                    <a:pt x="14" y="0"/>
                  </a:lnTo>
                  <a:lnTo>
                    <a:pt x="14" y="0"/>
                  </a:lnTo>
                  <a:lnTo>
                    <a:pt x="16" y="0"/>
                  </a:lnTo>
                  <a:lnTo>
                    <a:pt x="18" y="0"/>
                  </a:lnTo>
                  <a:lnTo>
                    <a:pt x="20" y="0"/>
                  </a:lnTo>
                  <a:lnTo>
                    <a:pt x="24" y="0"/>
                  </a:lnTo>
                  <a:lnTo>
                    <a:pt x="24" y="0"/>
                  </a:lnTo>
                  <a:lnTo>
                    <a:pt x="26" y="0"/>
                  </a:lnTo>
                  <a:lnTo>
                    <a:pt x="28" y="0"/>
                  </a:lnTo>
                  <a:lnTo>
                    <a:pt x="28" y="0"/>
                  </a:lnTo>
                  <a:lnTo>
                    <a:pt x="28" y="2"/>
                  </a:lnTo>
                  <a:lnTo>
                    <a:pt x="28" y="2"/>
                  </a:lnTo>
                  <a:lnTo>
                    <a:pt x="28" y="4"/>
                  </a:lnTo>
                  <a:lnTo>
                    <a:pt x="30" y="6"/>
                  </a:lnTo>
                  <a:lnTo>
                    <a:pt x="30" y="8"/>
                  </a:lnTo>
                  <a:lnTo>
                    <a:pt x="28" y="10"/>
                  </a:lnTo>
                  <a:lnTo>
                    <a:pt x="28" y="10"/>
                  </a:lnTo>
                  <a:lnTo>
                    <a:pt x="28" y="12"/>
                  </a:lnTo>
                  <a:lnTo>
                    <a:pt x="28" y="14"/>
                  </a:lnTo>
                  <a:lnTo>
                    <a:pt x="26" y="16"/>
                  </a:lnTo>
                  <a:lnTo>
                    <a:pt x="26" y="18"/>
                  </a:lnTo>
                  <a:lnTo>
                    <a:pt x="24" y="22"/>
                  </a:lnTo>
                  <a:lnTo>
                    <a:pt x="20" y="24"/>
                  </a:lnTo>
                  <a:lnTo>
                    <a:pt x="18" y="26"/>
                  </a:lnTo>
                  <a:lnTo>
                    <a:pt x="18" y="28"/>
                  </a:lnTo>
                  <a:lnTo>
                    <a:pt x="16" y="28"/>
                  </a:lnTo>
                  <a:lnTo>
                    <a:pt x="14" y="30"/>
                  </a:lnTo>
                  <a:lnTo>
                    <a:pt x="14" y="30"/>
                  </a:lnTo>
                  <a:lnTo>
                    <a:pt x="12" y="30"/>
                  </a:lnTo>
                  <a:lnTo>
                    <a:pt x="12" y="30"/>
                  </a:lnTo>
                  <a:lnTo>
                    <a:pt x="10" y="30"/>
                  </a:lnTo>
                  <a:lnTo>
                    <a:pt x="10" y="30"/>
                  </a:lnTo>
                  <a:lnTo>
                    <a:pt x="8" y="30"/>
                  </a:lnTo>
                  <a:lnTo>
                    <a:pt x="8" y="30"/>
                  </a:lnTo>
                  <a:lnTo>
                    <a:pt x="6" y="28"/>
                  </a:lnTo>
                  <a:lnTo>
                    <a:pt x="4" y="26"/>
                  </a:lnTo>
                  <a:lnTo>
                    <a:pt x="2" y="24"/>
                  </a:lnTo>
                  <a:lnTo>
                    <a:pt x="0" y="22"/>
                  </a:lnTo>
                  <a:lnTo>
                    <a:pt x="0" y="22"/>
                  </a:lnTo>
                  <a:lnTo>
                    <a:pt x="0" y="20"/>
                  </a:lnTo>
                  <a:lnTo>
                    <a:pt x="0" y="20"/>
                  </a:lnTo>
                  <a:lnTo>
                    <a:pt x="0" y="18"/>
                  </a:lnTo>
                  <a:lnTo>
                    <a:pt x="0" y="18"/>
                  </a:lnTo>
                  <a:lnTo>
                    <a:pt x="0" y="18"/>
                  </a:lnTo>
                  <a:lnTo>
                    <a:pt x="0" y="18"/>
                  </a:lnTo>
                  <a:lnTo>
                    <a:pt x="0" y="16"/>
                  </a:lnTo>
                  <a:lnTo>
                    <a:pt x="2" y="16"/>
                  </a:lnTo>
                  <a:lnTo>
                    <a:pt x="4" y="14"/>
                  </a:lnTo>
                  <a:lnTo>
                    <a:pt x="6" y="12"/>
                  </a:lnTo>
                  <a:lnTo>
                    <a:pt x="8" y="10"/>
                  </a:lnTo>
                  <a:lnTo>
                    <a:pt x="8" y="1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5" name="Freeform 587">
              <a:extLst>
                <a:ext uri="{FF2B5EF4-FFF2-40B4-BE49-F238E27FC236}">
                  <a16:creationId xmlns:a16="http://schemas.microsoft.com/office/drawing/2014/main" id="{E2102454-CB7A-41C8-9F2F-5825CE260331}"/>
                </a:ext>
              </a:extLst>
            </p:cNvPr>
            <p:cNvSpPr>
              <a:spLocks/>
            </p:cNvSpPr>
            <p:nvPr/>
          </p:nvSpPr>
          <p:spPr bwMode="auto">
            <a:xfrm>
              <a:off x="1975944" y="2986883"/>
              <a:ext cx="76211" cy="135102"/>
            </a:xfrm>
            <a:custGeom>
              <a:avLst/>
              <a:gdLst>
                <a:gd name="T0" fmla="*/ 6 w 44"/>
                <a:gd name="T1" fmla="*/ 2 h 78"/>
                <a:gd name="T2" fmla="*/ 8 w 44"/>
                <a:gd name="T3" fmla="*/ 0 h 78"/>
                <a:gd name="T4" fmla="*/ 10 w 44"/>
                <a:gd name="T5" fmla="*/ 0 h 78"/>
                <a:gd name="T6" fmla="*/ 14 w 44"/>
                <a:gd name="T7" fmla="*/ 2 h 78"/>
                <a:gd name="T8" fmla="*/ 18 w 44"/>
                <a:gd name="T9" fmla="*/ 4 h 78"/>
                <a:gd name="T10" fmla="*/ 18 w 44"/>
                <a:gd name="T11" fmla="*/ 4 h 78"/>
                <a:gd name="T12" fmla="*/ 20 w 44"/>
                <a:gd name="T13" fmla="*/ 6 h 78"/>
                <a:gd name="T14" fmla="*/ 20 w 44"/>
                <a:gd name="T15" fmla="*/ 8 h 78"/>
                <a:gd name="T16" fmla="*/ 20 w 44"/>
                <a:gd name="T17" fmla="*/ 14 h 78"/>
                <a:gd name="T18" fmla="*/ 18 w 44"/>
                <a:gd name="T19" fmla="*/ 20 h 78"/>
                <a:gd name="T20" fmla="*/ 18 w 44"/>
                <a:gd name="T21" fmla="*/ 26 h 78"/>
                <a:gd name="T22" fmla="*/ 20 w 44"/>
                <a:gd name="T23" fmla="*/ 32 h 78"/>
                <a:gd name="T24" fmla="*/ 24 w 44"/>
                <a:gd name="T25" fmla="*/ 42 h 78"/>
                <a:gd name="T26" fmla="*/ 26 w 44"/>
                <a:gd name="T27" fmla="*/ 50 h 78"/>
                <a:gd name="T28" fmla="*/ 26 w 44"/>
                <a:gd name="T29" fmla="*/ 52 h 78"/>
                <a:gd name="T30" fmla="*/ 28 w 44"/>
                <a:gd name="T31" fmla="*/ 54 h 78"/>
                <a:gd name="T32" fmla="*/ 30 w 44"/>
                <a:gd name="T33" fmla="*/ 58 h 78"/>
                <a:gd name="T34" fmla="*/ 34 w 44"/>
                <a:gd name="T35" fmla="*/ 62 h 78"/>
                <a:gd name="T36" fmla="*/ 38 w 44"/>
                <a:gd name="T37" fmla="*/ 66 h 78"/>
                <a:gd name="T38" fmla="*/ 42 w 44"/>
                <a:gd name="T39" fmla="*/ 70 h 78"/>
                <a:gd name="T40" fmla="*/ 42 w 44"/>
                <a:gd name="T41" fmla="*/ 72 h 78"/>
                <a:gd name="T42" fmla="*/ 44 w 44"/>
                <a:gd name="T43" fmla="*/ 74 h 78"/>
                <a:gd name="T44" fmla="*/ 44 w 44"/>
                <a:gd name="T45" fmla="*/ 76 h 78"/>
                <a:gd name="T46" fmla="*/ 44 w 44"/>
                <a:gd name="T47" fmla="*/ 76 h 78"/>
                <a:gd name="T48" fmla="*/ 42 w 44"/>
                <a:gd name="T49" fmla="*/ 76 h 78"/>
                <a:gd name="T50" fmla="*/ 38 w 44"/>
                <a:gd name="T51" fmla="*/ 78 h 78"/>
                <a:gd name="T52" fmla="*/ 34 w 44"/>
                <a:gd name="T53" fmla="*/ 78 h 78"/>
                <a:gd name="T54" fmla="*/ 28 w 44"/>
                <a:gd name="T55" fmla="*/ 76 h 78"/>
                <a:gd name="T56" fmla="*/ 24 w 44"/>
                <a:gd name="T57" fmla="*/ 76 h 78"/>
                <a:gd name="T58" fmla="*/ 20 w 44"/>
                <a:gd name="T59" fmla="*/ 74 h 78"/>
                <a:gd name="T60" fmla="*/ 18 w 44"/>
                <a:gd name="T61" fmla="*/ 74 h 78"/>
                <a:gd name="T62" fmla="*/ 16 w 44"/>
                <a:gd name="T63" fmla="*/ 72 h 78"/>
                <a:gd name="T64" fmla="*/ 16 w 44"/>
                <a:gd name="T65" fmla="*/ 68 h 78"/>
                <a:gd name="T66" fmla="*/ 16 w 44"/>
                <a:gd name="T67" fmla="*/ 64 h 78"/>
                <a:gd name="T68" fmla="*/ 18 w 44"/>
                <a:gd name="T69" fmla="*/ 56 h 78"/>
                <a:gd name="T70" fmla="*/ 18 w 44"/>
                <a:gd name="T71" fmla="*/ 54 h 78"/>
                <a:gd name="T72" fmla="*/ 18 w 44"/>
                <a:gd name="T73" fmla="*/ 50 h 78"/>
                <a:gd name="T74" fmla="*/ 18 w 44"/>
                <a:gd name="T75" fmla="*/ 48 h 78"/>
                <a:gd name="T76" fmla="*/ 16 w 44"/>
                <a:gd name="T77" fmla="*/ 48 h 78"/>
                <a:gd name="T78" fmla="*/ 14 w 44"/>
                <a:gd name="T79" fmla="*/ 48 h 78"/>
                <a:gd name="T80" fmla="*/ 10 w 44"/>
                <a:gd name="T81" fmla="*/ 48 h 78"/>
                <a:gd name="T82" fmla="*/ 6 w 44"/>
                <a:gd name="T83" fmla="*/ 48 h 78"/>
                <a:gd name="T84" fmla="*/ 4 w 44"/>
                <a:gd name="T85" fmla="*/ 46 h 78"/>
                <a:gd name="T86" fmla="*/ 4 w 44"/>
                <a:gd name="T87" fmla="*/ 46 h 78"/>
                <a:gd name="T88" fmla="*/ 2 w 44"/>
                <a:gd name="T89" fmla="*/ 44 h 78"/>
                <a:gd name="T90" fmla="*/ 0 w 44"/>
                <a:gd name="T91" fmla="*/ 40 h 78"/>
                <a:gd name="T92" fmla="*/ 0 w 44"/>
                <a:gd name="T93" fmla="*/ 34 h 78"/>
                <a:gd name="T94" fmla="*/ 0 w 44"/>
                <a:gd name="T95" fmla="*/ 26 h 78"/>
                <a:gd name="T96" fmla="*/ 0 w 44"/>
                <a:gd name="T97" fmla="*/ 20 h 78"/>
                <a:gd name="T98" fmla="*/ 0 w 44"/>
                <a:gd name="T99" fmla="*/ 14 h 78"/>
                <a:gd name="T100" fmla="*/ 2 w 44"/>
                <a:gd name="T101" fmla="*/ 8 h 78"/>
                <a:gd name="T102" fmla="*/ 4 w 44"/>
                <a:gd name="T103" fmla="*/ 4 h 78"/>
                <a:gd name="T104" fmla="*/ 6 w 44"/>
                <a:gd name="T105" fmla="*/ 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78">
                  <a:moveTo>
                    <a:pt x="6" y="2"/>
                  </a:moveTo>
                  <a:lnTo>
                    <a:pt x="6" y="2"/>
                  </a:lnTo>
                  <a:lnTo>
                    <a:pt x="6" y="2"/>
                  </a:lnTo>
                  <a:lnTo>
                    <a:pt x="8" y="0"/>
                  </a:lnTo>
                  <a:lnTo>
                    <a:pt x="8" y="0"/>
                  </a:lnTo>
                  <a:lnTo>
                    <a:pt x="10" y="0"/>
                  </a:lnTo>
                  <a:lnTo>
                    <a:pt x="12" y="2"/>
                  </a:lnTo>
                  <a:lnTo>
                    <a:pt x="14" y="2"/>
                  </a:lnTo>
                  <a:lnTo>
                    <a:pt x="16" y="2"/>
                  </a:lnTo>
                  <a:lnTo>
                    <a:pt x="18" y="4"/>
                  </a:lnTo>
                  <a:lnTo>
                    <a:pt x="18" y="4"/>
                  </a:lnTo>
                  <a:lnTo>
                    <a:pt x="18" y="4"/>
                  </a:lnTo>
                  <a:lnTo>
                    <a:pt x="20" y="4"/>
                  </a:lnTo>
                  <a:lnTo>
                    <a:pt x="20" y="6"/>
                  </a:lnTo>
                  <a:lnTo>
                    <a:pt x="20" y="6"/>
                  </a:lnTo>
                  <a:lnTo>
                    <a:pt x="20" y="8"/>
                  </a:lnTo>
                  <a:lnTo>
                    <a:pt x="20" y="10"/>
                  </a:lnTo>
                  <a:lnTo>
                    <a:pt x="20" y="14"/>
                  </a:lnTo>
                  <a:lnTo>
                    <a:pt x="18" y="18"/>
                  </a:lnTo>
                  <a:lnTo>
                    <a:pt x="18" y="20"/>
                  </a:lnTo>
                  <a:lnTo>
                    <a:pt x="18" y="24"/>
                  </a:lnTo>
                  <a:lnTo>
                    <a:pt x="18" y="26"/>
                  </a:lnTo>
                  <a:lnTo>
                    <a:pt x="20" y="28"/>
                  </a:lnTo>
                  <a:lnTo>
                    <a:pt x="20" y="32"/>
                  </a:lnTo>
                  <a:lnTo>
                    <a:pt x="22" y="38"/>
                  </a:lnTo>
                  <a:lnTo>
                    <a:pt x="24" y="42"/>
                  </a:lnTo>
                  <a:lnTo>
                    <a:pt x="24" y="48"/>
                  </a:lnTo>
                  <a:lnTo>
                    <a:pt x="26" y="50"/>
                  </a:lnTo>
                  <a:lnTo>
                    <a:pt x="26" y="52"/>
                  </a:lnTo>
                  <a:lnTo>
                    <a:pt x="26" y="52"/>
                  </a:lnTo>
                  <a:lnTo>
                    <a:pt x="26" y="54"/>
                  </a:lnTo>
                  <a:lnTo>
                    <a:pt x="28" y="54"/>
                  </a:lnTo>
                  <a:lnTo>
                    <a:pt x="28" y="56"/>
                  </a:lnTo>
                  <a:lnTo>
                    <a:pt x="30" y="58"/>
                  </a:lnTo>
                  <a:lnTo>
                    <a:pt x="32" y="60"/>
                  </a:lnTo>
                  <a:lnTo>
                    <a:pt x="34" y="62"/>
                  </a:lnTo>
                  <a:lnTo>
                    <a:pt x="36" y="64"/>
                  </a:lnTo>
                  <a:lnTo>
                    <a:pt x="38" y="66"/>
                  </a:lnTo>
                  <a:lnTo>
                    <a:pt x="40" y="68"/>
                  </a:lnTo>
                  <a:lnTo>
                    <a:pt x="42" y="70"/>
                  </a:lnTo>
                  <a:lnTo>
                    <a:pt x="42" y="70"/>
                  </a:lnTo>
                  <a:lnTo>
                    <a:pt x="42" y="72"/>
                  </a:lnTo>
                  <a:lnTo>
                    <a:pt x="44" y="72"/>
                  </a:lnTo>
                  <a:lnTo>
                    <a:pt x="44" y="74"/>
                  </a:lnTo>
                  <a:lnTo>
                    <a:pt x="44" y="74"/>
                  </a:lnTo>
                  <a:lnTo>
                    <a:pt x="44" y="76"/>
                  </a:lnTo>
                  <a:lnTo>
                    <a:pt x="44" y="76"/>
                  </a:lnTo>
                  <a:lnTo>
                    <a:pt x="44" y="76"/>
                  </a:lnTo>
                  <a:lnTo>
                    <a:pt x="42" y="76"/>
                  </a:lnTo>
                  <a:lnTo>
                    <a:pt x="42" y="76"/>
                  </a:lnTo>
                  <a:lnTo>
                    <a:pt x="40" y="76"/>
                  </a:lnTo>
                  <a:lnTo>
                    <a:pt x="38" y="78"/>
                  </a:lnTo>
                  <a:lnTo>
                    <a:pt x="36" y="78"/>
                  </a:lnTo>
                  <a:lnTo>
                    <a:pt x="34" y="78"/>
                  </a:lnTo>
                  <a:lnTo>
                    <a:pt x="32" y="78"/>
                  </a:lnTo>
                  <a:lnTo>
                    <a:pt x="28" y="76"/>
                  </a:lnTo>
                  <a:lnTo>
                    <a:pt x="26" y="76"/>
                  </a:lnTo>
                  <a:lnTo>
                    <a:pt x="24" y="76"/>
                  </a:lnTo>
                  <a:lnTo>
                    <a:pt x="22" y="74"/>
                  </a:lnTo>
                  <a:lnTo>
                    <a:pt x="20" y="74"/>
                  </a:lnTo>
                  <a:lnTo>
                    <a:pt x="18" y="74"/>
                  </a:lnTo>
                  <a:lnTo>
                    <a:pt x="18" y="74"/>
                  </a:lnTo>
                  <a:lnTo>
                    <a:pt x="18" y="72"/>
                  </a:lnTo>
                  <a:lnTo>
                    <a:pt x="16" y="72"/>
                  </a:lnTo>
                  <a:lnTo>
                    <a:pt x="16" y="70"/>
                  </a:lnTo>
                  <a:lnTo>
                    <a:pt x="16" y="68"/>
                  </a:lnTo>
                  <a:lnTo>
                    <a:pt x="16" y="68"/>
                  </a:lnTo>
                  <a:lnTo>
                    <a:pt x="16" y="64"/>
                  </a:lnTo>
                  <a:lnTo>
                    <a:pt x="18" y="60"/>
                  </a:lnTo>
                  <a:lnTo>
                    <a:pt x="18" y="56"/>
                  </a:lnTo>
                  <a:lnTo>
                    <a:pt x="18" y="56"/>
                  </a:lnTo>
                  <a:lnTo>
                    <a:pt x="18" y="54"/>
                  </a:lnTo>
                  <a:lnTo>
                    <a:pt x="18" y="52"/>
                  </a:lnTo>
                  <a:lnTo>
                    <a:pt x="18" y="50"/>
                  </a:lnTo>
                  <a:lnTo>
                    <a:pt x="18" y="50"/>
                  </a:lnTo>
                  <a:lnTo>
                    <a:pt x="18" y="48"/>
                  </a:lnTo>
                  <a:lnTo>
                    <a:pt x="16" y="48"/>
                  </a:lnTo>
                  <a:lnTo>
                    <a:pt x="16" y="48"/>
                  </a:lnTo>
                  <a:lnTo>
                    <a:pt x="16" y="48"/>
                  </a:lnTo>
                  <a:lnTo>
                    <a:pt x="14" y="48"/>
                  </a:lnTo>
                  <a:lnTo>
                    <a:pt x="12" y="48"/>
                  </a:lnTo>
                  <a:lnTo>
                    <a:pt x="10" y="48"/>
                  </a:lnTo>
                  <a:lnTo>
                    <a:pt x="8" y="48"/>
                  </a:lnTo>
                  <a:lnTo>
                    <a:pt x="6" y="48"/>
                  </a:lnTo>
                  <a:lnTo>
                    <a:pt x="6" y="46"/>
                  </a:lnTo>
                  <a:lnTo>
                    <a:pt x="4" y="46"/>
                  </a:lnTo>
                  <a:lnTo>
                    <a:pt x="4" y="46"/>
                  </a:lnTo>
                  <a:lnTo>
                    <a:pt x="4" y="46"/>
                  </a:lnTo>
                  <a:lnTo>
                    <a:pt x="4" y="44"/>
                  </a:lnTo>
                  <a:lnTo>
                    <a:pt x="2" y="44"/>
                  </a:lnTo>
                  <a:lnTo>
                    <a:pt x="2" y="42"/>
                  </a:lnTo>
                  <a:lnTo>
                    <a:pt x="0" y="40"/>
                  </a:lnTo>
                  <a:lnTo>
                    <a:pt x="0" y="36"/>
                  </a:lnTo>
                  <a:lnTo>
                    <a:pt x="0" y="34"/>
                  </a:lnTo>
                  <a:lnTo>
                    <a:pt x="0" y="30"/>
                  </a:lnTo>
                  <a:lnTo>
                    <a:pt x="0" y="26"/>
                  </a:lnTo>
                  <a:lnTo>
                    <a:pt x="0" y="22"/>
                  </a:lnTo>
                  <a:lnTo>
                    <a:pt x="0" y="20"/>
                  </a:lnTo>
                  <a:lnTo>
                    <a:pt x="0" y="16"/>
                  </a:lnTo>
                  <a:lnTo>
                    <a:pt x="0" y="14"/>
                  </a:lnTo>
                  <a:lnTo>
                    <a:pt x="2" y="10"/>
                  </a:lnTo>
                  <a:lnTo>
                    <a:pt x="2" y="8"/>
                  </a:lnTo>
                  <a:lnTo>
                    <a:pt x="4" y="4"/>
                  </a:lnTo>
                  <a:lnTo>
                    <a:pt x="4" y="4"/>
                  </a:lnTo>
                  <a:lnTo>
                    <a:pt x="4" y="2"/>
                  </a:lnTo>
                  <a:lnTo>
                    <a:pt x="6" y="2"/>
                  </a:lnTo>
                  <a:lnTo>
                    <a:pt x="6"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6" name="Freeform 588">
              <a:extLst>
                <a:ext uri="{FF2B5EF4-FFF2-40B4-BE49-F238E27FC236}">
                  <a16:creationId xmlns:a16="http://schemas.microsoft.com/office/drawing/2014/main" id="{CEA13E15-A719-4F78-8255-610A19300275}"/>
                </a:ext>
              </a:extLst>
            </p:cNvPr>
            <p:cNvSpPr>
              <a:spLocks/>
            </p:cNvSpPr>
            <p:nvPr/>
          </p:nvSpPr>
          <p:spPr bwMode="auto">
            <a:xfrm>
              <a:off x="1975944" y="2986883"/>
              <a:ext cx="76211" cy="135102"/>
            </a:xfrm>
            <a:custGeom>
              <a:avLst/>
              <a:gdLst>
                <a:gd name="T0" fmla="*/ 6 w 44"/>
                <a:gd name="T1" fmla="*/ 2 h 78"/>
                <a:gd name="T2" fmla="*/ 8 w 44"/>
                <a:gd name="T3" fmla="*/ 0 h 78"/>
                <a:gd name="T4" fmla="*/ 10 w 44"/>
                <a:gd name="T5" fmla="*/ 0 h 78"/>
                <a:gd name="T6" fmla="*/ 14 w 44"/>
                <a:gd name="T7" fmla="*/ 2 h 78"/>
                <a:gd name="T8" fmla="*/ 18 w 44"/>
                <a:gd name="T9" fmla="*/ 4 h 78"/>
                <a:gd name="T10" fmla="*/ 18 w 44"/>
                <a:gd name="T11" fmla="*/ 4 h 78"/>
                <a:gd name="T12" fmla="*/ 20 w 44"/>
                <a:gd name="T13" fmla="*/ 6 h 78"/>
                <a:gd name="T14" fmla="*/ 20 w 44"/>
                <a:gd name="T15" fmla="*/ 8 h 78"/>
                <a:gd name="T16" fmla="*/ 20 w 44"/>
                <a:gd name="T17" fmla="*/ 14 h 78"/>
                <a:gd name="T18" fmla="*/ 18 w 44"/>
                <a:gd name="T19" fmla="*/ 20 h 78"/>
                <a:gd name="T20" fmla="*/ 18 w 44"/>
                <a:gd name="T21" fmla="*/ 26 h 78"/>
                <a:gd name="T22" fmla="*/ 20 w 44"/>
                <a:gd name="T23" fmla="*/ 32 h 78"/>
                <a:gd name="T24" fmla="*/ 24 w 44"/>
                <a:gd name="T25" fmla="*/ 42 h 78"/>
                <a:gd name="T26" fmla="*/ 26 w 44"/>
                <a:gd name="T27" fmla="*/ 50 h 78"/>
                <a:gd name="T28" fmla="*/ 26 w 44"/>
                <a:gd name="T29" fmla="*/ 52 h 78"/>
                <a:gd name="T30" fmla="*/ 28 w 44"/>
                <a:gd name="T31" fmla="*/ 54 h 78"/>
                <a:gd name="T32" fmla="*/ 30 w 44"/>
                <a:gd name="T33" fmla="*/ 58 h 78"/>
                <a:gd name="T34" fmla="*/ 34 w 44"/>
                <a:gd name="T35" fmla="*/ 62 h 78"/>
                <a:gd name="T36" fmla="*/ 38 w 44"/>
                <a:gd name="T37" fmla="*/ 66 h 78"/>
                <a:gd name="T38" fmla="*/ 42 w 44"/>
                <a:gd name="T39" fmla="*/ 70 h 78"/>
                <a:gd name="T40" fmla="*/ 42 w 44"/>
                <a:gd name="T41" fmla="*/ 72 h 78"/>
                <a:gd name="T42" fmla="*/ 44 w 44"/>
                <a:gd name="T43" fmla="*/ 74 h 78"/>
                <a:gd name="T44" fmla="*/ 44 w 44"/>
                <a:gd name="T45" fmla="*/ 76 h 78"/>
                <a:gd name="T46" fmla="*/ 44 w 44"/>
                <a:gd name="T47" fmla="*/ 76 h 78"/>
                <a:gd name="T48" fmla="*/ 42 w 44"/>
                <a:gd name="T49" fmla="*/ 76 h 78"/>
                <a:gd name="T50" fmla="*/ 38 w 44"/>
                <a:gd name="T51" fmla="*/ 78 h 78"/>
                <a:gd name="T52" fmla="*/ 34 w 44"/>
                <a:gd name="T53" fmla="*/ 78 h 78"/>
                <a:gd name="T54" fmla="*/ 28 w 44"/>
                <a:gd name="T55" fmla="*/ 76 h 78"/>
                <a:gd name="T56" fmla="*/ 24 w 44"/>
                <a:gd name="T57" fmla="*/ 76 h 78"/>
                <a:gd name="T58" fmla="*/ 20 w 44"/>
                <a:gd name="T59" fmla="*/ 74 h 78"/>
                <a:gd name="T60" fmla="*/ 18 w 44"/>
                <a:gd name="T61" fmla="*/ 74 h 78"/>
                <a:gd name="T62" fmla="*/ 16 w 44"/>
                <a:gd name="T63" fmla="*/ 72 h 78"/>
                <a:gd name="T64" fmla="*/ 16 w 44"/>
                <a:gd name="T65" fmla="*/ 68 h 78"/>
                <a:gd name="T66" fmla="*/ 16 w 44"/>
                <a:gd name="T67" fmla="*/ 64 h 78"/>
                <a:gd name="T68" fmla="*/ 18 w 44"/>
                <a:gd name="T69" fmla="*/ 56 h 78"/>
                <a:gd name="T70" fmla="*/ 18 w 44"/>
                <a:gd name="T71" fmla="*/ 54 h 78"/>
                <a:gd name="T72" fmla="*/ 18 w 44"/>
                <a:gd name="T73" fmla="*/ 50 h 78"/>
                <a:gd name="T74" fmla="*/ 18 w 44"/>
                <a:gd name="T75" fmla="*/ 48 h 78"/>
                <a:gd name="T76" fmla="*/ 16 w 44"/>
                <a:gd name="T77" fmla="*/ 48 h 78"/>
                <a:gd name="T78" fmla="*/ 14 w 44"/>
                <a:gd name="T79" fmla="*/ 48 h 78"/>
                <a:gd name="T80" fmla="*/ 10 w 44"/>
                <a:gd name="T81" fmla="*/ 48 h 78"/>
                <a:gd name="T82" fmla="*/ 6 w 44"/>
                <a:gd name="T83" fmla="*/ 48 h 78"/>
                <a:gd name="T84" fmla="*/ 4 w 44"/>
                <a:gd name="T85" fmla="*/ 46 h 78"/>
                <a:gd name="T86" fmla="*/ 4 w 44"/>
                <a:gd name="T87" fmla="*/ 46 h 78"/>
                <a:gd name="T88" fmla="*/ 2 w 44"/>
                <a:gd name="T89" fmla="*/ 44 h 78"/>
                <a:gd name="T90" fmla="*/ 0 w 44"/>
                <a:gd name="T91" fmla="*/ 40 h 78"/>
                <a:gd name="T92" fmla="*/ 0 w 44"/>
                <a:gd name="T93" fmla="*/ 34 h 78"/>
                <a:gd name="T94" fmla="*/ 0 w 44"/>
                <a:gd name="T95" fmla="*/ 26 h 78"/>
                <a:gd name="T96" fmla="*/ 0 w 44"/>
                <a:gd name="T97" fmla="*/ 20 h 78"/>
                <a:gd name="T98" fmla="*/ 0 w 44"/>
                <a:gd name="T99" fmla="*/ 14 h 78"/>
                <a:gd name="T100" fmla="*/ 2 w 44"/>
                <a:gd name="T101" fmla="*/ 8 h 78"/>
                <a:gd name="T102" fmla="*/ 4 w 44"/>
                <a:gd name="T103" fmla="*/ 4 h 78"/>
                <a:gd name="T104" fmla="*/ 6 w 44"/>
                <a:gd name="T105" fmla="*/ 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78">
                  <a:moveTo>
                    <a:pt x="6" y="2"/>
                  </a:moveTo>
                  <a:lnTo>
                    <a:pt x="6" y="2"/>
                  </a:lnTo>
                  <a:lnTo>
                    <a:pt x="6" y="2"/>
                  </a:lnTo>
                  <a:lnTo>
                    <a:pt x="8" y="0"/>
                  </a:lnTo>
                  <a:lnTo>
                    <a:pt x="8" y="0"/>
                  </a:lnTo>
                  <a:lnTo>
                    <a:pt x="10" y="0"/>
                  </a:lnTo>
                  <a:lnTo>
                    <a:pt x="12" y="2"/>
                  </a:lnTo>
                  <a:lnTo>
                    <a:pt x="14" y="2"/>
                  </a:lnTo>
                  <a:lnTo>
                    <a:pt x="16" y="2"/>
                  </a:lnTo>
                  <a:lnTo>
                    <a:pt x="18" y="4"/>
                  </a:lnTo>
                  <a:lnTo>
                    <a:pt x="18" y="4"/>
                  </a:lnTo>
                  <a:lnTo>
                    <a:pt x="18" y="4"/>
                  </a:lnTo>
                  <a:lnTo>
                    <a:pt x="20" y="4"/>
                  </a:lnTo>
                  <a:lnTo>
                    <a:pt x="20" y="6"/>
                  </a:lnTo>
                  <a:lnTo>
                    <a:pt x="20" y="6"/>
                  </a:lnTo>
                  <a:lnTo>
                    <a:pt x="20" y="8"/>
                  </a:lnTo>
                  <a:lnTo>
                    <a:pt x="20" y="10"/>
                  </a:lnTo>
                  <a:lnTo>
                    <a:pt x="20" y="14"/>
                  </a:lnTo>
                  <a:lnTo>
                    <a:pt x="18" y="18"/>
                  </a:lnTo>
                  <a:lnTo>
                    <a:pt x="18" y="20"/>
                  </a:lnTo>
                  <a:lnTo>
                    <a:pt x="18" y="24"/>
                  </a:lnTo>
                  <a:lnTo>
                    <a:pt x="18" y="26"/>
                  </a:lnTo>
                  <a:lnTo>
                    <a:pt x="20" y="28"/>
                  </a:lnTo>
                  <a:lnTo>
                    <a:pt x="20" y="32"/>
                  </a:lnTo>
                  <a:lnTo>
                    <a:pt x="22" y="38"/>
                  </a:lnTo>
                  <a:lnTo>
                    <a:pt x="24" y="42"/>
                  </a:lnTo>
                  <a:lnTo>
                    <a:pt x="24" y="48"/>
                  </a:lnTo>
                  <a:lnTo>
                    <a:pt x="26" y="50"/>
                  </a:lnTo>
                  <a:lnTo>
                    <a:pt x="26" y="52"/>
                  </a:lnTo>
                  <a:lnTo>
                    <a:pt x="26" y="52"/>
                  </a:lnTo>
                  <a:lnTo>
                    <a:pt x="26" y="54"/>
                  </a:lnTo>
                  <a:lnTo>
                    <a:pt x="28" y="54"/>
                  </a:lnTo>
                  <a:lnTo>
                    <a:pt x="28" y="56"/>
                  </a:lnTo>
                  <a:lnTo>
                    <a:pt x="30" y="58"/>
                  </a:lnTo>
                  <a:lnTo>
                    <a:pt x="32" y="60"/>
                  </a:lnTo>
                  <a:lnTo>
                    <a:pt x="34" y="62"/>
                  </a:lnTo>
                  <a:lnTo>
                    <a:pt x="36" y="64"/>
                  </a:lnTo>
                  <a:lnTo>
                    <a:pt x="38" y="66"/>
                  </a:lnTo>
                  <a:lnTo>
                    <a:pt x="40" y="68"/>
                  </a:lnTo>
                  <a:lnTo>
                    <a:pt x="42" y="70"/>
                  </a:lnTo>
                  <a:lnTo>
                    <a:pt x="42" y="70"/>
                  </a:lnTo>
                  <a:lnTo>
                    <a:pt x="42" y="72"/>
                  </a:lnTo>
                  <a:lnTo>
                    <a:pt x="44" y="72"/>
                  </a:lnTo>
                  <a:lnTo>
                    <a:pt x="44" y="74"/>
                  </a:lnTo>
                  <a:lnTo>
                    <a:pt x="44" y="74"/>
                  </a:lnTo>
                  <a:lnTo>
                    <a:pt x="44" y="76"/>
                  </a:lnTo>
                  <a:lnTo>
                    <a:pt x="44" y="76"/>
                  </a:lnTo>
                  <a:lnTo>
                    <a:pt x="44" y="76"/>
                  </a:lnTo>
                  <a:lnTo>
                    <a:pt x="42" y="76"/>
                  </a:lnTo>
                  <a:lnTo>
                    <a:pt x="42" y="76"/>
                  </a:lnTo>
                  <a:lnTo>
                    <a:pt x="40" y="76"/>
                  </a:lnTo>
                  <a:lnTo>
                    <a:pt x="38" y="78"/>
                  </a:lnTo>
                  <a:lnTo>
                    <a:pt x="36" y="78"/>
                  </a:lnTo>
                  <a:lnTo>
                    <a:pt x="34" y="78"/>
                  </a:lnTo>
                  <a:lnTo>
                    <a:pt x="32" y="78"/>
                  </a:lnTo>
                  <a:lnTo>
                    <a:pt x="28" y="76"/>
                  </a:lnTo>
                  <a:lnTo>
                    <a:pt x="26" y="76"/>
                  </a:lnTo>
                  <a:lnTo>
                    <a:pt x="24" y="76"/>
                  </a:lnTo>
                  <a:lnTo>
                    <a:pt x="22" y="74"/>
                  </a:lnTo>
                  <a:lnTo>
                    <a:pt x="20" y="74"/>
                  </a:lnTo>
                  <a:lnTo>
                    <a:pt x="18" y="74"/>
                  </a:lnTo>
                  <a:lnTo>
                    <a:pt x="18" y="74"/>
                  </a:lnTo>
                  <a:lnTo>
                    <a:pt x="18" y="72"/>
                  </a:lnTo>
                  <a:lnTo>
                    <a:pt x="16" y="72"/>
                  </a:lnTo>
                  <a:lnTo>
                    <a:pt x="16" y="70"/>
                  </a:lnTo>
                  <a:lnTo>
                    <a:pt x="16" y="68"/>
                  </a:lnTo>
                  <a:lnTo>
                    <a:pt x="16" y="68"/>
                  </a:lnTo>
                  <a:lnTo>
                    <a:pt x="16" y="64"/>
                  </a:lnTo>
                  <a:lnTo>
                    <a:pt x="18" y="60"/>
                  </a:lnTo>
                  <a:lnTo>
                    <a:pt x="18" y="56"/>
                  </a:lnTo>
                  <a:lnTo>
                    <a:pt x="18" y="56"/>
                  </a:lnTo>
                  <a:lnTo>
                    <a:pt x="18" y="54"/>
                  </a:lnTo>
                  <a:lnTo>
                    <a:pt x="18" y="52"/>
                  </a:lnTo>
                  <a:lnTo>
                    <a:pt x="18" y="50"/>
                  </a:lnTo>
                  <a:lnTo>
                    <a:pt x="18" y="50"/>
                  </a:lnTo>
                  <a:lnTo>
                    <a:pt x="18" y="48"/>
                  </a:lnTo>
                  <a:lnTo>
                    <a:pt x="16" y="48"/>
                  </a:lnTo>
                  <a:lnTo>
                    <a:pt x="16" y="48"/>
                  </a:lnTo>
                  <a:lnTo>
                    <a:pt x="16" y="48"/>
                  </a:lnTo>
                  <a:lnTo>
                    <a:pt x="14" y="48"/>
                  </a:lnTo>
                  <a:lnTo>
                    <a:pt x="12" y="48"/>
                  </a:lnTo>
                  <a:lnTo>
                    <a:pt x="10" y="48"/>
                  </a:lnTo>
                  <a:lnTo>
                    <a:pt x="8" y="48"/>
                  </a:lnTo>
                  <a:lnTo>
                    <a:pt x="6" y="48"/>
                  </a:lnTo>
                  <a:lnTo>
                    <a:pt x="6" y="46"/>
                  </a:lnTo>
                  <a:lnTo>
                    <a:pt x="4" y="46"/>
                  </a:lnTo>
                  <a:lnTo>
                    <a:pt x="4" y="46"/>
                  </a:lnTo>
                  <a:lnTo>
                    <a:pt x="4" y="46"/>
                  </a:lnTo>
                  <a:lnTo>
                    <a:pt x="4" y="44"/>
                  </a:lnTo>
                  <a:lnTo>
                    <a:pt x="2" y="44"/>
                  </a:lnTo>
                  <a:lnTo>
                    <a:pt x="2" y="42"/>
                  </a:lnTo>
                  <a:lnTo>
                    <a:pt x="0" y="40"/>
                  </a:lnTo>
                  <a:lnTo>
                    <a:pt x="0" y="36"/>
                  </a:lnTo>
                  <a:lnTo>
                    <a:pt x="0" y="34"/>
                  </a:lnTo>
                  <a:lnTo>
                    <a:pt x="0" y="30"/>
                  </a:lnTo>
                  <a:lnTo>
                    <a:pt x="0" y="26"/>
                  </a:lnTo>
                  <a:lnTo>
                    <a:pt x="0" y="22"/>
                  </a:lnTo>
                  <a:lnTo>
                    <a:pt x="0" y="20"/>
                  </a:lnTo>
                  <a:lnTo>
                    <a:pt x="0" y="16"/>
                  </a:lnTo>
                  <a:lnTo>
                    <a:pt x="0" y="14"/>
                  </a:lnTo>
                  <a:lnTo>
                    <a:pt x="2" y="10"/>
                  </a:lnTo>
                  <a:lnTo>
                    <a:pt x="2" y="8"/>
                  </a:lnTo>
                  <a:lnTo>
                    <a:pt x="4" y="4"/>
                  </a:lnTo>
                  <a:lnTo>
                    <a:pt x="4" y="4"/>
                  </a:lnTo>
                  <a:lnTo>
                    <a:pt x="4" y="2"/>
                  </a:lnTo>
                  <a:lnTo>
                    <a:pt x="6" y="2"/>
                  </a:lnTo>
                  <a:lnTo>
                    <a:pt x="6"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7" name="Freeform 589">
              <a:extLst>
                <a:ext uri="{FF2B5EF4-FFF2-40B4-BE49-F238E27FC236}">
                  <a16:creationId xmlns:a16="http://schemas.microsoft.com/office/drawing/2014/main" id="{9A4A2B27-734A-4F70-B24F-ADEC28491A86}"/>
                </a:ext>
              </a:extLst>
            </p:cNvPr>
            <p:cNvSpPr>
              <a:spLocks/>
            </p:cNvSpPr>
            <p:nvPr/>
          </p:nvSpPr>
          <p:spPr bwMode="auto">
            <a:xfrm>
              <a:off x="2107582" y="3167019"/>
              <a:ext cx="252883" cy="193992"/>
            </a:xfrm>
            <a:custGeom>
              <a:avLst/>
              <a:gdLst>
                <a:gd name="T0" fmla="*/ 42 w 146"/>
                <a:gd name="T1" fmla="*/ 4 h 112"/>
                <a:gd name="T2" fmla="*/ 32 w 146"/>
                <a:gd name="T3" fmla="*/ 6 h 112"/>
                <a:gd name="T4" fmla="*/ 30 w 146"/>
                <a:gd name="T5" fmla="*/ 8 h 112"/>
                <a:gd name="T6" fmla="*/ 30 w 146"/>
                <a:gd name="T7" fmla="*/ 8 h 112"/>
                <a:gd name="T8" fmla="*/ 34 w 146"/>
                <a:gd name="T9" fmla="*/ 10 h 112"/>
                <a:gd name="T10" fmla="*/ 36 w 146"/>
                <a:gd name="T11" fmla="*/ 12 h 112"/>
                <a:gd name="T12" fmla="*/ 36 w 146"/>
                <a:gd name="T13" fmla="*/ 16 h 112"/>
                <a:gd name="T14" fmla="*/ 32 w 146"/>
                <a:gd name="T15" fmla="*/ 18 h 112"/>
                <a:gd name="T16" fmla="*/ 20 w 146"/>
                <a:gd name="T17" fmla="*/ 24 h 112"/>
                <a:gd name="T18" fmla="*/ 6 w 146"/>
                <a:gd name="T19" fmla="*/ 32 h 112"/>
                <a:gd name="T20" fmla="*/ 0 w 146"/>
                <a:gd name="T21" fmla="*/ 36 h 112"/>
                <a:gd name="T22" fmla="*/ 0 w 146"/>
                <a:gd name="T23" fmla="*/ 40 h 112"/>
                <a:gd name="T24" fmla="*/ 0 w 146"/>
                <a:gd name="T25" fmla="*/ 44 h 112"/>
                <a:gd name="T26" fmla="*/ 6 w 146"/>
                <a:gd name="T27" fmla="*/ 50 h 112"/>
                <a:gd name="T28" fmla="*/ 18 w 146"/>
                <a:gd name="T29" fmla="*/ 54 h 112"/>
                <a:gd name="T30" fmla="*/ 22 w 146"/>
                <a:gd name="T31" fmla="*/ 54 h 112"/>
                <a:gd name="T32" fmla="*/ 26 w 146"/>
                <a:gd name="T33" fmla="*/ 52 h 112"/>
                <a:gd name="T34" fmla="*/ 32 w 146"/>
                <a:gd name="T35" fmla="*/ 44 h 112"/>
                <a:gd name="T36" fmla="*/ 42 w 146"/>
                <a:gd name="T37" fmla="*/ 28 h 112"/>
                <a:gd name="T38" fmla="*/ 46 w 146"/>
                <a:gd name="T39" fmla="*/ 26 h 112"/>
                <a:gd name="T40" fmla="*/ 48 w 146"/>
                <a:gd name="T41" fmla="*/ 26 h 112"/>
                <a:gd name="T42" fmla="*/ 48 w 146"/>
                <a:gd name="T43" fmla="*/ 30 h 112"/>
                <a:gd name="T44" fmla="*/ 52 w 146"/>
                <a:gd name="T45" fmla="*/ 32 h 112"/>
                <a:gd name="T46" fmla="*/ 64 w 146"/>
                <a:gd name="T47" fmla="*/ 34 h 112"/>
                <a:gd name="T48" fmla="*/ 72 w 146"/>
                <a:gd name="T49" fmla="*/ 36 h 112"/>
                <a:gd name="T50" fmla="*/ 82 w 146"/>
                <a:gd name="T51" fmla="*/ 46 h 112"/>
                <a:gd name="T52" fmla="*/ 96 w 146"/>
                <a:gd name="T53" fmla="*/ 64 h 112"/>
                <a:gd name="T54" fmla="*/ 104 w 146"/>
                <a:gd name="T55" fmla="*/ 74 h 112"/>
                <a:gd name="T56" fmla="*/ 104 w 146"/>
                <a:gd name="T57" fmla="*/ 80 h 112"/>
                <a:gd name="T58" fmla="*/ 102 w 146"/>
                <a:gd name="T59" fmla="*/ 90 h 112"/>
                <a:gd name="T60" fmla="*/ 98 w 146"/>
                <a:gd name="T61" fmla="*/ 100 h 112"/>
                <a:gd name="T62" fmla="*/ 98 w 146"/>
                <a:gd name="T63" fmla="*/ 106 h 112"/>
                <a:gd name="T64" fmla="*/ 100 w 146"/>
                <a:gd name="T65" fmla="*/ 106 h 112"/>
                <a:gd name="T66" fmla="*/ 106 w 146"/>
                <a:gd name="T67" fmla="*/ 104 h 112"/>
                <a:gd name="T68" fmla="*/ 110 w 146"/>
                <a:gd name="T69" fmla="*/ 100 h 112"/>
                <a:gd name="T70" fmla="*/ 114 w 146"/>
                <a:gd name="T71" fmla="*/ 100 h 112"/>
                <a:gd name="T72" fmla="*/ 120 w 146"/>
                <a:gd name="T73" fmla="*/ 106 h 112"/>
                <a:gd name="T74" fmla="*/ 124 w 146"/>
                <a:gd name="T75" fmla="*/ 112 h 112"/>
                <a:gd name="T76" fmla="*/ 126 w 146"/>
                <a:gd name="T77" fmla="*/ 112 h 112"/>
                <a:gd name="T78" fmla="*/ 128 w 146"/>
                <a:gd name="T79" fmla="*/ 110 h 112"/>
                <a:gd name="T80" fmla="*/ 130 w 146"/>
                <a:gd name="T81" fmla="*/ 102 h 112"/>
                <a:gd name="T82" fmla="*/ 130 w 146"/>
                <a:gd name="T83" fmla="*/ 88 h 112"/>
                <a:gd name="T84" fmla="*/ 132 w 146"/>
                <a:gd name="T85" fmla="*/ 82 h 112"/>
                <a:gd name="T86" fmla="*/ 134 w 146"/>
                <a:gd name="T87" fmla="*/ 80 h 112"/>
                <a:gd name="T88" fmla="*/ 140 w 146"/>
                <a:gd name="T89" fmla="*/ 82 h 112"/>
                <a:gd name="T90" fmla="*/ 146 w 146"/>
                <a:gd name="T91" fmla="*/ 84 h 112"/>
                <a:gd name="T92" fmla="*/ 146 w 146"/>
                <a:gd name="T93" fmla="*/ 82 h 112"/>
                <a:gd name="T94" fmla="*/ 146 w 146"/>
                <a:gd name="T95" fmla="*/ 76 h 112"/>
                <a:gd name="T96" fmla="*/ 140 w 146"/>
                <a:gd name="T97" fmla="*/ 68 h 112"/>
                <a:gd name="T98" fmla="*/ 132 w 146"/>
                <a:gd name="T99" fmla="*/ 58 h 112"/>
                <a:gd name="T100" fmla="*/ 124 w 146"/>
                <a:gd name="T101" fmla="*/ 54 h 112"/>
                <a:gd name="T102" fmla="*/ 110 w 146"/>
                <a:gd name="T103" fmla="*/ 48 h 112"/>
                <a:gd name="T104" fmla="*/ 106 w 146"/>
                <a:gd name="T105" fmla="*/ 44 h 112"/>
                <a:gd name="T106" fmla="*/ 98 w 146"/>
                <a:gd name="T107" fmla="*/ 32 h 112"/>
                <a:gd name="T108" fmla="*/ 86 w 146"/>
                <a:gd name="T109" fmla="*/ 16 h 112"/>
                <a:gd name="T110" fmla="*/ 80 w 146"/>
                <a:gd name="T111" fmla="*/ 6 h 112"/>
                <a:gd name="T112" fmla="*/ 72 w 146"/>
                <a:gd name="T113" fmla="*/ 2 h 112"/>
                <a:gd name="T114" fmla="*/ 64 w 146"/>
                <a:gd name="T115" fmla="*/ 0 h 112"/>
                <a:gd name="T116" fmla="*/ 50 w 146"/>
                <a:gd name="T117" fmla="*/ 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6" h="112">
                  <a:moveTo>
                    <a:pt x="46" y="4"/>
                  </a:moveTo>
                  <a:lnTo>
                    <a:pt x="46" y="4"/>
                  </a:lnTo>
                  <a:lnTo>
                    <a:pt x="44" y="4"/>
                  </a:lnTo>
                  <a:lnTo>
                    <a:pt x="42" y="4"/>
                  </a:lnTo>
                  <a:lnTo>
                    <a:pt x="40" y="4"/>
                  </a:lnTo>
                  <a:lnTo>
                    <a:pt x="36" y="4"/>
                  </a:lnTo>
                  <a:lnTo>
                    <a:pt x="34" y="4"/>
                  </a:lnTo>
                  <a:lnTo>
                    <a:pt x="32" y="6"/>
                  </a:lnTo>
                  <a:lnTo>
                    <a:pt x="32" y="6"/>
                  </a:lnTo>
                  <a:lnTo>
                    <a:pt x="30" y="6"/>
                  </a:lnTo>
                  <a:lnTo>
                    <a:pt x="30" y="6"/>
                  </a:lnTo>
                  <a:lnTo>
                    <a:pt x="30" y="8"/>
                  </a:lnTo>
                  <a:lnTo>
                    <a:pt x="30" y="8"/>
                  </a:lnTo>
                  <a:lnTo>
                    <a:pt x="30" y="8"/>
                  </a:lnTo>
                  <a:lnTo>
                    <a:pt x="30" y="8"/>
                  </a:lnTo>
                  <a:lnTo>
                    <a:pt x="30" y="8"/>
                  </a:lnTo>
                  <a:lnTo>
                    <a:pt x="30" y="8"/>
                  </a:lnTo>
                  <a:lnTo>
                    <a:pt x="32" y="10"/>
                  </a:lnTo>
                  <a:lnTo>
                    <a:pt x="32" y="10"/>
                  </a:lnTo>
                  <a:lnTo>
                    <a:pt x="34" y="10"/>
                  </a:lnTo>
                  <a:lnTo>
                    <a:pt x="36" y="10"/>
                  </a:lnTo>
                  <a:lnTo>
                    <a:pt x="36" y="10"/>
                  </a:lnTo>
                  <a:lnTo>
                    <a:pt x="36" y="12"/>
                  </a:lnTo>
                  <a:lnTo>
                    <a:pt x="36" y="12"/>
                  </a:lnTo>
                  <a:lnTo>
                    <a:pt x="36" y="12"/>
                  </a:lnTo>
                  <a:lnTo>
                    <a:pt x="36" y="14"/>
                  </a:lnTo>
                  <a:lnTo>
                    <a:pt x="36" y="14"/>
                  </a:lnTo>
                  <a:lnTo>
                    <a:pt x="36" y="16"/>
                  </a:lnTo>
                  <a:lnTo>
                    <a:pt x="34" y="16"/>
                  </a:lnTo>
                  <a:lnTo>
                    <a:pt x="34" y="18"/>
                  </a:lnTo>
                  <a:lnTo>
                    <a:pt x="32" y="18"/>
                  </a:lnTo>
                  <a:lnTo>
                    <a:pt x="32" y="18"/>
                  </a:lnTo>
                  <a:lnTo>
                    <a:pt x="30" y="20"/>
                  </a:lnTo>
                  <a:lnTo>
                    <a:pt x="26" y="22"/>
                  </a:lnTo>
                  <a:lnTo>
                    <a:pt x="24" y="24"/>
                  </a:lnTo>
                  <a:lnTo>
                    <a:pt x="20" y="24"/>
                  </a:lnTo>
                  <a:lnTo>
                    <a:pt x="14" y="28"/>
                  </a:lnTo>
                  <a:lnTo>
                    <a:pt x="10" y="28"/>
                  </a:lnTo>
                  <a:lnTo>
                    <a:pt x="8" y="30"/>
                  </a:lnTo>
                  <a:lnTo>
                    <a:pt x="6" y="32"/>
                  </a:lnTo>
                  <a:lnTo>
                    <a:pt x="4" y="34"/>
                  </a:lnTo>
                  <a:lnTo>
                    <a:pt x="2" y="34"/>
                  </a:lnTo>
                  <a:lnTo>
                    <a:pt x="2" y="34"/>
                  </a:lnTo>
                  <a:lnTo>
                    <a:pt x="0" y="36"/>
                  </a:lnTo>
                  <a:lnTo>
                    <a:pt x="0" y="36"/>
                  </a:lnTo>
                  <a:lnTo>
                    <a:pt x="0" y="38"/>
                  </a:lnTo>
                  <a:lnTo>
                    <a:pt x="0" y="38"/>
                  </a:lnTo>
                  <a:lnTo>
                    <a:pt x="0" y="40"/>
                  </a:lnTo>
                  <a:lnTo>
                    <a:pt x="0" y="42"/>
                  </a:lnTo>
                  <a:lnTo>
                    <a:pt x="0" y="42"/>
                  </a:lnTo>
                  <a:lnTo>
                    <a:pt x="0" y="44"/>
                  </a:lnTo>
                  <a:lnTo>
                    <a:pt x="0" y="44"/>
                  </a:lnTo>
                  <a:lnTo>
                    <a:pt x="2" y="46"/>
                  </a:lnTo>
                  <a:lnTo>
                    <a:pt x="2" y="46"/>
                  </a:lnTo>
                  <a:lnTo>
                    <a:pt x="4" y="48"/>
                  </a:lnTo>
                  <a:lnTo>
                    <a:pt x="6" y="50"/>
                  </a:lnTo>
                  <a:lnTo>
                    <a:pt x="8" y="50"/>
                  </a:lnTo>
                  <a:lnTo>
                    <a:pt x="12" y="52"/>
                  </a:lnTo>
                  <a:lnTo>
                    <a:pt x="14" y="54"/>
                  </a:lnTo>
                  <a:lnTo>
                    <a:pt x="18" y="54"/>
                  </a:lnTo>
                  <a:lnTo>
                    <a:pt x="20" y="54"/>
                  </a:lnTo>
                  <a:lnTo>
                    <a:pt x="20" y="54"/>
                  </a:lnTo>
                  <a:lnTo>
                    <a:pt x="22" y="54"/>
                  </a:lnTo>
                  <a:lnTo>
                    <a:pt x="22" y="54"/>
                  </a:lnTo>
                  <a:lnTo>
                    <a:pt x="24" y="54"/>
                  </a:lnTo>
                  <a:lnTo>
                    <a:pt x="24" y="54"/>
                  </a:lnTo>
                  <a:lnTo>
                    <a:pt x="26" y="54"/>
                  </a:lnTo>
                  <a:lnTo>
                    <a:pt x="26" y="52"/>
                  </a:lnTo>
                  <a:lnTo>
                    <a:pt x="28" y="50"/>
                  </a:lnTo>
                  <a:lnTo>
                    <a:pt x="30" y="48"/>
                  </a:lnTo>
                  <a:lnTo>
                    <a:pt x="32" y="46"/>
                  </a:lnTo>
                  <a:lnTo>
                    <a:pt x="32" y="44"/>
                  </a:lnTo>
                  <a:lnTo>
                    <a:pt x="36" y="38"/>
                  </a:lnTo>
                  <a:lnTo>
                    <a:pt x="38" y="34"/>
                  </a:lnTo>
                  <a:lnTo>
                    <a:pt x="40" y="30"/>
                  </a:lnTo>
                  <a:lnTo>
                    <a:pt x="42" y="28"/>
                  </a:lnTo>
                  <a:lnTo>
                    <a:pt x="42" y="28"/>
                  </a:lnTo>
                  <a:lnTo>
                    <a:pt x="44" y="26"/>
                  </a:lnTo>
                  <a:lnTo>
                    <a:pt x="44" y="26"/>
                  </a:lnTo>
                  <a:lnTo>
                    <a:pt x="46" y="26"/>
                  </a:lnTo>
                  <a:lnTo>
                    <a:pt x="46" y="26"/>
                  </a:lnTo>
                  <a:lnTo>
                    <a:pt x="48" y="26"/>
                  </a:lnTo>
                  <a:lnTo>
                    <a:pt x="48" y="26"/>
                  </a:lnTo>
                  <a:lnTo>
                    <a:pt x="48" y="26"/>
                  </a:lnTo>
                  <a:lnTo>
                    <a:pt x="48" y="26"/>
                  </a:lnTo>
                  <a:lnTo>
                    <a:pt x="48" y="28"/>
                  </a:lnTo>
                  <a:lnTo>
                    <a:pt x="48" y="30"/>
                  </a:lnTo>
                  <a:lnTo>
                    <a:pt x="48" y="30"/>
                  </a:lnTo>
                  <a:lnTo>
                    <a:pt x="50" y="30"/>
                  </a:lnTo>
                  <a:lnTo>
                    <a:pt x="50" y="32"/>
                  </a:lnTo>
                  <a:lnTo>
                    <a:pt x="52" y="32"/>
                  </a:lnTo>
                  <a:lnTo>
                    <a:pt x="52" y="32"/>
                  </a:lnTo>
                  <a:lnTo>
                    <a:pt x="54" y="32"/>
                  </a:lnTo>
                  <a:lnTo>
                    <a:pt x="56" y="34"/>
                  </a:lnTo>
                  <a:lnTo>
                    <a:pt x="60" y="34"/>
                  </a:lnTo>
                  <a:lnTo>
                    <a:pt x="64" y="34"/>
                  </a:lnTo>
                  <a:lnTo>
                    <a:pt x="66" y="36"/>
                  </a:lnTo>
                  <a:lnTo>
                    <a:pt x="70" y="36"/>
                  </a:lnTo>
                  <a:lnTo>
                    <a:pt x="70" y="36"/>
                  </a:lnTo>
                  <a:lnTo>
                    <a:pt x="72" y="36"/>
                  </a:lnTo>
                  <a:lnTo>
                    <a:pt x="74" y="38"/>
                  </a:lnTo>
                  <a:lnTo>
                    <a:pt x="76" y="40"/>
                  </a:lnTo>
                  <a:lnTo>
                    <a:pt x="78" y="42"/>
                  </a:lnTo>
                  <a:lnTo>
                    <a:pt x="82" y="46"/>
                  </a:lnTo>
                  <a:lnTo>
                    <a:pt x="86" y="50"/>
                  </a:lnTo>
                  <a:lnTo>
                    <a:pt x="90" y="56"/>
                  </a:lnTo>
                  <a:lnTo>
                    <a:pt x="94" y="60"/>
                  </a:lnTo>
                  <a:lnTo>
                    <a:pt x="96" y="64"/>
                  </a:lnTo>
                  <a:lnTo>
                    <a:pt x="98" y="66"/>
                  </a:lnTo>
                  <a:lnTo>
                    <a:pt x="100" y="70"/>
                  </a:lnTo>
                  <a:lnTo>
                    <a:pt x="102" y="72"/>
                  </a:lnTo>
                  <a:lnTo>
                    <a:pt x="104" y="74"/>
                  </a:lnTo>
                  <a:lnTo>
                    <a:pt x="104" y="76"/>
                  </a:lnTo>
                  <a:lnTo>
                    <a:pt x="104" y="78"/>
                  </a:lnTo>
                  <a:lnTo>
                    <a:pt x="104" y="78"/>
                  </a:lnTo>
                  <a:lnTo>
                    <a:pt x="104" y="80"/>
                  </a:lnTo>
                  <a:lnTo>
                    <a:pt x="104" y="82"/>
                  </a:lnTo>
                  <a:lnTo>
                    <a:pt x="104" y="84"/>
                  </a:lnTo>
                  <a:lnTo>
                    <a:pt x="104" y="84"/>
                  </a:lnTo>
                  <a:lnTo>
                    <a:pt x="102" y="90"/>
                  </a:lnTo>
                  <a:lnTo>
                    <a:pt x="100" y="94"/>
                  </a:lnTo>
                  <a:lnTo>
                    <a:pt x="98" y="98"/>
                  </a:lnTo>
                  <a:lnTo>
                    <a:pt x="98" y="100"/>
                  </a:lnTo>
                  <a:lnTo>
                    <a:pt x="98" y="100"/>
                  </a:lnTo>
                  <a:lnTo>
                    <a:pt x="98" y="102"/>
                  </a:lnTo>
                  <a:lnTo>
                    <a:pt x="98" y="104"/>
                  </a:lnTo>
                  <a:lnTo>
                    <a:pt x="98" y="104"/>
                  </a:lnTo>
                  <a:lnTo>
                    <a:pt x="98" y="106"/>
                  </a:lnTo>
                  <a:lnTo>
                    <a:pt x="98" y="106"/>
                  </a:lnTo>
                  <a:lnTo>
                    <a:pt x="100" y="106"/>
                  </a:lnTo>
                  <a:lnTo>
                    <a:pt x="100" y="106"/>
                  </a:lnTo>
                  <a:lnTo>
                    <a:pt x="100" y="106"/>
                  </a:lnTo>
                  <a:lnTo>
                    <a:pt x="102" y="106"/>
                  </a:lnTo>
                  <a:lnTo>
                    <a:pt x="102" y="106"/>
                  </a:lnTo>
                  <a:lnTo>
                    <a:pt x="104" y="104"/>
                  </a:lnTo>
                  <a:lnTo>
                    <a:pt x="106" y="104"/>
                  </a:lnTo>
                  <a:lnTo>
                    <a:pt x="108" y="102"/>
                  </a:lnTo>
                  <a:lnTo>
                    <a:pt x="110" y="100"/>
                  </a:lnTo>
                  <a:lnTo>
                    <a:pt x="110" y="100"/>
                  </a:lnTo>
                  <a:lnTo>
                    <a:pt x="110" y="100"/>
                  </a:lnTo>
                  <a:lnTo>
                    <a:pt x="112" y="100"/>
                  </a:lnTo>
                  <a:lnTo>
                    <a:pt x="112" y="100"/>
                  </a:lnTo>
                  <a:lnTo>
                    <a:pt x="112" y="100"/>
                  </a:lnTo>
                  <a:lnTo>
                    <a:pt x="114" y="100"/>
                  </a:lnTo>
                  <a:lnTo>
                    <a:pt x="114" y="102"/>
                  </a:lnTo>
                  <a:lnTo>
                    <a:pt x="116" y="102"/>
                  </a:lnTo>
                  <a:lnTo>
                    <a:pt x="118" y="104"/>
                  </a:lnTo>
                  <a:lnTo>
                    <a:pt x="120" y="106"/>
                  </a:lnTo>
                  <a:lnTo>
                    <a:pt x="120" y="110"/>
                  </a:lnTo>
                  <a:lnTo>
                    <a:pt x="122" y="110"/>
                  </a:lnTo>
                  <a:lnTo>
                    <a:pt x="122" y="112"/>
                  </a:lnTo>
                  <a:lnTo>
                    <a:pt x="124" y="112"/>
                  </a:lnTo>
                  <a:lnTo>
                    <a:pt x="124" y="112"/>
                  </a:lnTo>
                  <a:lnTo>
                    <a:pt x="124" y="112"/>
                  </a:lnTo>
                  <a:lnTo>
                    <a:pt x="126" y="112"/>
                  </a:lnTo>
                  <a:lnTo>
                    <a:pt x="126" y="112"/>
                  </a:lnTo>
                  <a:lnTo>
                    <a:pt x="128" y="112"/>
                  </a:lnTo>
                  <a:lnTo>
                    <a:pt x="128" y="112"/>
                  </a:lnTo>
                  <a:lnTo>
                    <a:pt x="128" y="110"/>
                  </a:lnTo>
                  <a:lnTo>
                    <a:pt x="128" y="110"/>
                  </a:lnTo>
                  <a:lnTo>
                    <a:pt x="128" y="108"/>
                  </a:lnTo>
                  <a:lnTo>
                    <a:pt x="130" y="106"/>
                  </a:lnTo>
                  <a:lnTo>
                    <a:pt x="130" y="104"/>
                  </a:lnTo>
                  <a:lnTo>
                    <a:pt x="130" y="102"/>
                  </a:lnTo>
                  <a:lnTo>
                    <a:pt x="130" y="98"/>
                  </a:lnTo>
                  <a:lnTo>
                    <a:pt x="130" y="92"/>
                  </a:lnTo>
                  <a:lnTo>
                    <a:pt x="130" y="90"/>
                  </a:lnTo>
                  <a:lnTo>
                    <a:pt x="130" y="88"/>
                  </a:lnTo>
                  <a:lnTo>
                    <a:pt x="130" y="84"/>
                  </a:lnTo>
                  <a:lnTo>
                    <a:pt x="132" y="84"/>
                  </a:lnTo>
                  <a:lnTo>
                    <a:pt x="132" y="82"/>
                  </a:lnTo>
                  <a:lnTo>
                    <a:pt x="132" y="82"/>
                  </a:lnTo>
                  <a:lnTo>
                    <a:pt x="132" y="82"/>
                  </a:lnTo>
                  <a:lnTo>
                    <a:pt x="134" y="80"/>
                  </a:lnTo>
                  <a:lnTo>
                    <a:pt x="134" y="80"/>
                  </a:lnTo>
                  <a:lnTo>
                    <a:pt x="134" y="80"/>
                  </a:lnTo>
                  <a:lnTo>
                    <a:pt x="136" y="80"/>
                  </a:lnTo>
                  <a:lnTo>
                    <a:pt x="136" y="80"/>
                  </a:lnTo>
                  <a:lnTo>
                    <a:pt x="138" y="82"/>
                  </a:lnTo>
                  <a:lnTo>
                    <a:pt x="140" y="82"/>
                  </a:lnTo>
                  <a:lnTo>
                    <a:pt x="142" y="84"/>
                  </a:lnTo>
                  <a:lnTo>
                    <a:pt x="144" y="84"/>
                  </a:lnTo>
                  <a:lnTo>
                    <a:pt x="144" y="84"/>
                  </a:lnTo>
                  <a:lnTo>
                    <a:pt x="146" y="84"/>
                  </a:lnTo>
                  <a:lnTo>
                    <a:pt x="146" y="84"/>
                  </a:lnTo>
                  <a:lnTo>
                    <a:pt x="146" y="84"/>
                  </a:lnTo>
                  <a:lnTo>
                    <a:pt x="146" y="82"/>
                  </a:lnTo>
                  <a:lnTo>
                    <a:pt x="146" y="82"/>
                  </a:lnTo>
                  <a:lnTo>
                    <a:pt x="146" y="80"/>
                  </a:lnTo>
                  <a:lnTo>
                    <a:pt x="146" y="80"/>
                  </a:lnTo>
                  <a:lnTo>
                    <a:pt x="146" y="78"/>
                  </a:lnTo>
                  <a:lnTo>
                    <a:pt x="146" y="76"/>
                  </a:lnTo>
                  <a:lnTo>
                    <a:pt x="146" y="74"/>
                  </a:lnTo>
                  <a:lnTo>
                    <a:pt x="144" y="72"/>
                  </a:lnTo>
                  <a:lnTo>
                    <a:pt x="144" y="72"/>
                  </a:lnTo>
                  <a:lnTo>
                    <a:pt x="140" y="68"/>
                  </a:lnTo>
                  <a:lnTo>
                    <a:pt x="138" y="64"/>
                  </a:lnTo>
                  <a:lnTo>
                    <a:pt x="136" y="62"/>
                  </a:lnTo>
                  <a:lnTo>
                    <a:pt x="134" y="60"/>
                  </a:lnTo>
                  <a:lnTo>
                    <a:pt x="132" y="58"/>
                  </a:lnTo>
                  <a:lnTo>
                    <a:pt x="132" y="58"/>
                  </a:lnTo>
                  <a:lnTo>
                    <a:pt x="130" y="56"/>
                  </a:lnTo>
                  <a:lnTo>
                    <a:pt x="128" y="56"/>
                  </a:lnTo>
                  <a:lnTo>
                    <a:pt x="124" y="54"/>
                  </a:lnTo>
                  <a:lnTo>
                    <a:pt x="122" y="52"/>
                  </a:lnTo>
                  <a:lnTo>
                    <a:pt x="118" y="52"/>
                  </a:lnTo>
                  <a:lnTo>
                    <a:pt x="114" y="50"/>
                  </a:lnTo>
                  <a:lnTo>
                    <a:pt x="110" y="48"/>
                  </a:lnTo>
                  <a:lnTo>
                    <a:pt x="110" y="48"/>
                  </a:lnTo>
                  <a:lnTo>
                    <a:pt x="108" y="46"/>
                  </a:lnTo>
                  <a:lnTo>
                    <a:pt x="106" y="46"/>
                  </a:lnTo>
                  <a:lnTo>
                    <a:pt x="106" y="44"/>
                  </a:lnTo>
                  <a:lnTo>
                    <a:pt x="104" y="42"/>
                  </a:lnTo>
                  <a:lnTo>
                    <a:pt x="102" y="40"/>
                  </a:lnTo>
                  <a:lnTo>
                    <a:pt x="100" y="36"/>
                  </a:lnTo>
                  <a:lnTo>
                    <a:pt x="98" y="32"/>
                  </a:lnTo>
                  <a:lnTo>
                    <a:pt x="94" y="28"/>
                  </a:lnTo>
                  <a:lnTo>
                    <a:pt x="92" y="24"/>
                  </a:lnTo>
                  <a:lnTo>
                    <a:pt x="90" y="20"/>
                  </a:lnTo>
                  <a:lnTo>
                    <a:pt x="86" y="16"/>
                  </a:lnTo>
                  <a:lnTo>
                    <a:pt x="84" y="10"/>
                  </a:lnTo>
                  <a:lnTo>
                    <a:pt x="82" y="8"/>
                  </a:lnTo>
                  <a:lnTo>
                    <a:pt x="80" y="6"/>
                  </a:lnTo>
                  <a:lnTo>
                    <a:pt x="80" y="6"/>
                  </a:lnTo>
                  <a:lnTo>
                    <a:pt x="78" y="4"/>
                  </a:lnTo>
                  <a:lnTo>
                    <a:pt x="76" y="2"/>
                  </a:lnTo>
                  <a:lnTo>
                    <a:pt x="74" y="2"/>
                  </a:lnTo>
                  <a:lnTo>
                    <a:pt x="72" y="2"/>
                  </a:lnTo>
                  <a:lnTo>
                    <a:pt x="72" y="0"/>
                  </a:lnTo>
                  <a:lnTo>
                    <a:pt x="70" y="0"/>
                  </a:lnTo>
                  <a:lnTo>
                    <a:pt x="68" y="0"/>
                  </a:lnTo>
                  <a:lnTo>
                    <a:pt x="64" y="0"/>
                  </a:lnTo>
                  <a:lnTo>
                    <a:pt x="60" y="2"/>
                  </a:lnTo>
                  <a:lnTo>
                    <a:pt x="56" y="2"/>
                  </a:lnTo>
                  <a:lnTo>
                    <a:pt x="54" y="2"/>
                  </a:lnTo>
                  <a:lnTo>
                    <a:pt x="50" y="4"/>
                  </a:lnTo>
                  <a:lnTo>
                    <a:pt x="46" y="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8" name="Freeform 590">
              <a:extLst>
                <a:ext uri="{FF2B5EF4-FFF2-40B4-BE49-F238E27FC236}">
                  <a16:creationId xmlns:a16="http://schemas.microsoft.com/office/drawing/2014/main" id="{19B055E7-EB83-46D2-B7F3-2C2FCC76E32D}"/>
                </a:ext>
              </a:extLst>
            </p:cNvPr>
            <p:cNvSpPr>
              <a:spLocks/>
            </p:cNvSpPr>
            <p:nvPr/>
          </p:nvSpPr>
          <p:spPr bwMode="auto">
            <a:xfrm>
              <a:off x="2107582" y="3167019"/>
              <a:ext cx="252883" cy="193992"/>
            </a:xfrm>
            <a:custGeom>
              <a:avLst/>
              <a:gdLst>
                <a:gd name="T0" fmla="*/ 42 w 146"/>
                <a:gd name="T1" fmla="*/ 4 h 112"/>
                <a:gd name="T2" fmla="*/ 32 w 146"/>
                <a:gd name="T3" fmla="*/ 6 h 112"/>
                <a:gd name="T4" fmla="*/ 30 w 146"/>
                <a:gd name="T5" fmla="*/ 8 h 112"/>
                <a:gd name="T6" fmla="*/ 30 w 146"/>
                <a:gd name="T7" fmla="*/ 8 h 112"/>
                <a:gd name="T8" fmla="*/ 34 w 146"/>
                <a:gd name="T9" fmla="*/ 10 h 112"/>
                <a:gd name="T10" fmla="*/ 36 w 146"/>
                <a:gd name="T11" fmla="*/ 12 h 112"/>
                <a:gd name="T12" fmla="*/ 36 w 146"/>
                <a:gd name="T13" fmla="*/ 16 h 112"/>
                <a:gd name="T14" fmla="*/ 32 w 146"/>
                <a:gd name="T15" fmla="*/ 18 h 112"/>
                <a:gd name="T16" fmla="*/ 20 w 146"/>
                <a:gd name="T17" fmla="*/ 24 h 112"/>
                <a:gd name="T18" fmla="*/ 6 w 146"/>
                <a:gd name="T19" fmla="*/ 32 h 112"/>
                <a:gd name="T20" fmla="*/ 0 w 146"/>
                <a:gd name="T21" fmla="*/ 36 h 112"/>
                <a:gd name="T22" fmla="*/ 0 w 146"/>
                <a:gd name="T23" fmla="*/ 40 h 112"/>
                <a:gd name="T24" fmla="*/ 0 w 146"/>
                <a:gd name="T25" fmla="*/ 44 h 112"/>
                <a:gd name="T26" fmla="*/ 6 w 146"/>
                <a:gd name="T27" fmla="*/ 50 h 112"/>
                <a:gd name="T28" fmla="*/ 18 w 146"/>
                <a:gd name="T29" fmla="*/ 54 h 112"/>
                <a:gd name="T30" fmla="*/ 22 w 146"/>
                <a:gd name="T31" fmla="*/ 54 h 112"/>
                <a:gd name="T32" fmla="*/ 26 w 146"/>
                <a:gd name="T33" fmla="*/ 52 h 112"/>
                <a:gd name="T34" fmla="*/ 32 w 146"/>
                <a:gd name="T35" fmla="*/ 44 h 112"/>
                <a:gd name="T36" fmla="*/ 42 w 146"/>
                <a:gd name="T37" fmla="*/ 28 h 112"/>
                <a:gd name="T38" fmla="*/ 46 w 146"/>
                <a:gd name="T39" fmla="*/ 26 h 112"/>
                <a:gd name="T40" fmla="*/ 48 w 146"/>
                <a:gd name="T41" fmla="*/ 26 h 112"/>
                <a:gd name="T42" fmla="*/ 48 w 146"/>
                <a:gd name="T43" fmla="*/ 30 h 112"/>
                <a:gd name="T44" fmla="*/ 52 w 146"/>
                <a:gd name="T45" fmla="*/ 32 h 112"/>
                <a:gd name="T46" fmla="*/ 64 w 146"/>
                <a:gd name="T47" fmla="*/ 34 h 112"/>
                <a:gd name="T48" fmla="*/ 72 w 146"/>
                <a:gd name="T49" fmla="*/ 36 h 112"/>
                <a:gd name="T50" fmla="*/ 82 w 146"/>
                <a:gd name="T51" fmla="*/ 46 h 112"/>
                <a:gd name="T52" fmla="*/ 96 w 146"/>
                <a:gd name="T53" fmla="*/ 64 h 112"/>
                <a:gd name="T54" fmla="*/ 104 w 146"/>
                <a:gd name="T55" fmla="*/ 74 h 112"/>
                <a:gd name="T56" fmla="*/ 104 w 146"/>
                <a:gd name="T57" fmla="*/ 80 h 112"/>
                <a:gd name="T58" fmla="*/ 102 w 146"/>
                <a:gd name="T59" fmla="*/ 90 h 112"/>
                <a:gd name="T60" fmla="*/ 98 w 146"/>
                <a:gd name="T61" fmla="*/ 100 h 112"/>
                <a:gd name="T62" fmla="*/ 98 w 146"/>
                <a:gd name="T63" fmla="*/ 106 h 112"/>
                <a:gd name="T64" fmla="*/ 100 w 146"/>
                <a:gd name="T65" fmla="*/ 106 h 112"/>
                <a:gd name="T66" fmla="*/ 106 w 146"/>
                <a:gd name="T67" fmla="*/ 104 h 112"/>
                <a:gd name="T68" fmla="*/ 110 w 146"/>
                <a:gd name="T69" fmla="*/ 100 h 112"/>
                <a:gd name="T70" fmla="*/ 114 w 146"/>
                <a:gd name="T71" fmla="*/ 100 h 112"/>
                <a:gd name="T72" fmla="*/ 120 w 146"/>
                <a:gd name="T73" fmla="*/ 106 h 112"/>
                <a:gd name="T74" fmla="*/ 124 w 146"/>
                <a:gd name="T75" fmla="*/ 112 h 112"/>
                <a:gd name="T76" fmla="*/ 126 w 146"/>
                <a:gd name="T77" fmla="*/ 112 h 112"/>
                <a:gd name="T78" fmla="*/ 128 w 146"/>
                <a:gd name="T79" fmla="*/ 110 h 112"/>
                <a:gd name="T80" fmla="*/ 130 w 146"/>
                <a:gd name="T81" fmla="*/ 102 h 112"/>
                <a:gd name="T82" fmla="*/ 130 w 146"/>
                <a:gd name="T83" fmla="*/ 88 h 112"/>
                <a:gd name="T84" fmla="*/ 132 w 146"/>
                <a:gd name="T85" fmla="*/ 82 h 112"/>
                <a:gd name="T86" fmla="*/ 134 w 146"/>
                <a:gd name="T87" fmla="*/ 80 h 112"/>
                <a:gd name="T88" fmla="*/ 140 w 146"/>
                <a:gd name="T89" fmla="*/ 82 h 112"/>
                <a:gd name="T90" fmla="*/ 146 w 146"/>
                <a:gd name="T91" fmla="*/ 84 h 112"/>
                <a:gd name="T92" fmla="*/ 146 w 146"/>
                <a:gd name="T93" fmla="*/ 82 h 112"/>
                <a:gd name="T94" fmla="*/ 146 w 146"/>
                <a:gd name="T95" fmla="*/ 76 h 112"/>
                <a:gd name="T96" fmla="*/ 140 w 146"/>
                <a:gd name="T97" fmla="*/ 68 h 112"/>
                <a:gd name="T98" fmla="*/ 132 w 146"/>
                <a:gd name="T99" fmla="*/ 58 h 112"/>
                <a:gd name="T100" fmla="*/ 124 w 146"/>
                <a:gd name="T101" fmla="*/ 54 h 112"/>
                <a:gd name="T102" fmla="*/ 110 w 146"/>
                <a:gd name="T103" fmla="*/ 48 h 112"/>
                <a:gd name="T104" fmla="*/ 106 w 146"/>
                <a:gd name="T105" fmla="*/ 44 h 112"/>
                <a:gd name="T106" fmla="*/ 98 w 146"/>
                <a:gd name="T107" fmla="*/ 32 h 112"/>
                <a:gd name="T108" fmla="*/ 86 w 146"/>
                <a:gd name="T109" fmla="*/ 16 h 112"/>
                <a:gd name="T110" fmla="*/ 80 w 146"/>
                <a:gd name="T111" fmla="*/ 6 h 112"/>
                <a:gd name="T112" fmla="*/ 72 w 146"/>
                <a:gd name="T113" fmla="*/ 2 h 112"/>
                <a:gd name="T114" fmla="*/ 64 w 146"/>
                <a:gd name="T115" fmla="*/ 0 h 112"/>
                <a:gd name="T116" fmla="*/ 50 w 146"/>
                <a:gd name="T117" fmla="*/ 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6" h="112">
                  <a:moveTo>
                    <a:pt x="46" y="4"/>
                  </a:moveTo>
                  <a:lnTo>
                    <a:pt x="46" y="4"/>
                  </a:lnTo>
                  <a:lnTo>
                    <a:pt x="44" y="4"/>
                  </a:lnTo>
                  <a:lnTo>
                    <a:pt x="42" y="4"/>
                  </a:lnTo>
                  <a:lnTo>
                    <a:pt x="40" y="4"/>
                  </a:lnTo>
                  <a:lnTo>
                    <a:pt x="36" y="4"/>
                  </a:lnTo>
                  <a:lnTo>
                    <a:pt x="34" y="4"/>
                  </a:lnTo>
                  <a:lnTo>
                    <a:pt x="32" y="6"/>
                  </a:lnTo>
                  <a:lnTo>
                    <a:pt x="32" y="6"/>
                  </a:lnTo>
                  <a:lnTo>
                    <a:pt x="30" y="6"/>
                  </a:lnTo>
                  <a:lnTo>
                    <a:pt x="30" y="6"/>
                  </a:lnTo>
                  <a:lnTo>
                    <a:pt x="30" y="8"/>
                  </a:lnTo>
                  <a:lnTo>
                    <a:pt x="30" y="8"/>
                  </a:lnTo>
                  <a:lnTo>
                    <a:pt x="30" y="8"/>
                  </a:lnTo>
                  <a:lnTo>
                    <a:pt x="30" y="8"/>
                  </a:lnTo>
                  <a:lnTo>
                    <a:pt x="30" y="8"/>
                  </a:lnTo>
                  <a:lnTo>
                    <a:pt x="30" y="8"/>
                  </a:lnTo>
                  <a:lnTo>
                    <a:pt x="32" y="10"/>
                  </a:lnTo>
                  <a:lnTo>
                    <a:pt x="32" y="10"/>
                  </a:lnTo>
                  <a:lnTo>
                    <a:pt x="34" y="10"/>
                  </a:lnTo>
                  <a:lnTo>
                    <a:pt x="36" y="10"/>
                  </a:lnTo>
                  <a:lnTo>
                    <a:pt x="36" y="10"/>
                  </a:lnTo>
                  <a:lnTo>
                    <a:pt x="36" y="12"/>
                  </a:lnTo>
                  <a:lnTo>
                    <a:pt x="36" y="12"/>
                  </a:lnTo>
                  <a:lnTo>
                    <a:pt x="36" y="12"/>
                  </a:lnTo>
                  <a:lnTo>
                    <a:pt x="36" y="14"/>
                  </a:lnTo>
                  <a:lnTo>
                    <a:pt x="36" y="14"/>
                  </a:lnTo>
                  <a:lnTo>
                    <a:pt x="36" y="16"/>
                  </a:lnTo>
                  <a:lnTo>
                    <a:pt x="34" y="16"/>
                  </a:lnTo>
                  <a:lnTo>
                    <a:pt x="34" y="18"/>
                  </a:lnTo>
                  <a:lnTo>
                    <a:pt x="32" y="18"/>
                  </a:lnTo>
                  <a:lnTo>
                    <a:pt x="32" y="18"/>
                  </a:lnTo>
                  <a:lnTo>
                    <a:pt x="30" y="20"/>
                  </a:lnTo>
                  <a:lnTo>
                    <a:pt x="26" y="22"/>
                  </a:lnTo>
                  <a:lnTo>
                    <a:pt x="24" y="24"/>
                  </a:lnTo>
                  <a:lnTo>
                    <a:pt x="20" y="24"/>
                  </a:lnTo>
                  <a:lnTo>
                    <a:pt x="14" y="28"/>
                  </a:lnTo>
                  <a:lnTo>
                    <a:pt x="10" y="28"/>
                  </a:lnTo>
                  <a:lnTo>
                    <a:pt x="8" y="30"/>
                  </a:lnTo>
                  <a:lnTo>
                    <a:pt x="6" y="32"/>
                  </a:lnTo>
                  <a:lnTo>
                    <a:pt x="4" y="34"/>
                  </a:lnTo>
                  <a:lnTo>
                    <a:pt x="2" y="34"/>
                  </a:lnTo>
                  <a:lnTo>
                    <a:pt x="2" y="34"/>
                  </a:lnTo>
                  <a:lnTo>
                    <a:pt x="0" y="36"/>
                  </a:lnTo>
                  <a:lnTo>
                    <a:pt x="0" y="36"/>
                  </a:lnTo>
                  <a:lnTo>
                    <a:pt x="0" y="38"/>
                  </a:lnTo>
                  <a:lnTo>
                    <a:pt x="0" y="38"/>
                  </a:lnTo>
                  <a:lnTo>
                    <a:pt x="0" y="40"/>
                  </a:lnTo>
                  <a:lnTo>
                    <a:pt x="0" y="42"/>
                  </a:lnTo>
                  <a:lnTo>
                    <a:pt x="0" y="42"/>
                  </a:lnTo>
                  <a:lnTo>
                    <a:pt x="0" y="44"/>
                  </a:lnTo>
                  <a:lnTo>
                    <a:pt x="0" y="44"/>
                  </a:lnTo>
                  <a:lnTo>
                    <a:pt x="2" y="46"/>
                  </a:lnTo>
                  <a:lnTo>
                    <a:pt x="2" y="46"/>
                  </a:lnTo>
                  <a:lnTo>
                    <a:pt x="4" y="48"/>
                  </a:lnTo>
                  <a:lnTo>
                    <a:pt x="6" y="50"/>
                  </a:lnTo>
                  <a:lnTo>
                    <a:pt x="8" y="50"/>
                  </a:lnTo>
                  <a:lnTo>
                    <a:pt x="12" y="52"/>
                  </a:lnTo>
                  <a:lnTo>
                    <a:pt x="14" y="54"/>
                  </a:lnTo>
                  <a:lnTo>
                    <a:pt x="18" y="54"/>
                  </a:lnTo>
                  <a:lnTo>
                    <a:pt x="20" y="54"/>
                  </a:lnTo>
                  <a:lnTo>
                    <a:pt x="20" y="54"/>
                  </a:lnTo>
                  <a:lnTo>
                    <a:pt x="22" y="54"/>
                  </a:lnTo>
                  <a:lnTo>
                    <a:pt x="22" y="54"/>
                  </a:lnTo>
                  <a:lnTo>
                    <a:pt x="24" y="54"/>
                  </a:lnTo>
                  <a:lnTo>
                    <a:pt x="24" y="54"/>
                  </a:lnTo>
                  <a:lnTo>
                    <a:pt x="26" y="54"/>
                  </a:lnTo>
                  <a:lnTo>
                    <a:pt x="26" y="52"/>
                  </a:lnTo>
                  <a:lnTo>
                    <a:pt x="28" y="50"/>
                  </a:lnTo>
                  <a:lnTo>
                    <a:pt x="30" y="48"/>
                  </a:lnTo>
                  <a:lnTo>
                    <a:pt x="32" y="46"/>
                  </a:lnTo>
                  <a:lnTo>
                    <a:pt x="32" y="44"/>
                  </a:lnTo>
                  <a:lnTo>
                    <a:pt x="36" y="38"/>
                  </a:lnTo>
                  <a:lnTo>
                    <a:pt x="38" y="34"/>
                  </a:lnTo>
                  <a:lnTo>
                    <a:pt x="40" y="30"/>
                  </a:lnTo>
                  <a:lnTo>
                    <a:pt x="42" y="28"/>
                  </a:lnTo>
                  <a:lnTo>
                    <a:pt x="42" y="28"/>
                  </a:lnTo>
                  <a:lnTo>
                    <a:pt x="44" y="26"/>
                  </a:lnTo>
                  <a:lnTo>
                    <a:pt x="44" y="26"/>
                  </a:lnTo>
                  <a:lnTo>
                    <a:pt x="46" y="26"/>
                  </a:lnTo>
                  <a:lnTo>
                    <a:pt x="46" y="26"/>
                  </a:lnTo>
                  <a:lnTo>
                    <a:pt x="48" y="26"/>
                  </a:lnTo>
                  <a:lnTo>
                    <a:pt x="48" y="26"/>
                  </a:lnTo>
                  <a:lnTo>
                    <a:pt x="48" y="26"/>
                  </a:lnTo>
                  <a:lnTo>
                    <a:pt x="48" y="26"/>
                  </a:lnTo>
                  <a:lnTo>
                    <a:pt x="48" y="28"/>
                  </a:lnTo>
                  <a:lnTo>
                    <a:pt x="48" y="30"/>
                  </a:lnTo>
                  <a:lnTo>
                    <a:pt x="48" y="30"/>
                  </a:lnTo>
                  <a:lnTo>
                    <a:pt x="50" y="30"/>
                  </a:lnTo>
                  <a:lnTo>
                    <a:pt x="50" y="32"/>
                  </a:lnTo>
                  <a:lnTo>
                    <a:pt x="52" y="32"/>
                  </a:lnTo>
                  <a:lnTo>
                    <a:pt x="52" y="32"/>
                  </a:lnTo>
                  <a:lnTo>
                    <a:pt x="54" y="32"/>
                  </a:lnTo>
                  <a:lnTo>
                    <a:pt x="56" y="34"/>
                  </a:lnTo>
                  <a:lnTo>
                    <a:pt x="60" y="34"/>
                  </a:lnTo>
                  <a:lnTo>
                    <a:pt x="64" y="34"/>
                  </a:lnTo>
                  <a:lnTo>
                    <a:pt x="66" y="36"/>
                  </a:lnTo>
                  <a:lnTo>
                    <a:pt x="70" y="36"/>
                  </a:lnTo>
                  <a:lnTo>
                    <a:pt x="70" y="36"/>
                  </a:lnTo>
                  <a:lnTo>
                    <a:pt x="72" y="36"/>
                  </a:lnTo>
                  <a:lnTo>
                    <a:pt x="74" y="38"/>
                  </a:lnTo>
                  <a:lnTo>
                    <a:pt x="76" y="40"/>
                  </a:lnTo>
                  <a:lnTo>
                    <a:pt x="78" y="42"/>
                  </a:lnTo>
                  <a:lnTo>
                    <a:pt x="82" y="46"/>
                  </a:lnTo>
                  <a:lnTo>
                    <a:pt x="86" y="50"/>
                  </a:lnTo>
                  <a:lnTo>
                    <a:pt x="90" y="56"/>
                  </a:lnTo>
                  <a:lnTo>
                    <a:pt x="94" y="60"/>
                  </a:lnTo>
                  <a:lnTo>
                    <a:pt x="96" y="64"/>
                  </a:lnTo>
                  <a:lnTo>
                    <a:pt x="98" y="66"/>
                  </a:lnTo>
                  <a:lnTo>
                    <a:pt x="100" y="70"/>
                  </a:lnTo>
                  <a:lnTo>
                    <a:pt x="102" y="72"/>
                  </a:lnTo>
                  <a:lnTo>
                    <a:pt x="104" y="74"/>
                  </a:lnTo>
                  <a:lnTo>
                    <a:pt x="104" y="76"/>
                  </a:lnTo>
                  <a:lnTo>
                    <a:pt x="104" y="78"/>
                  </a:lnTo>
                  <a:lnTo>
                    <a:pt x="104" y="78"/>
                  </a:lnTo>
                  <a:lnTo>
                    <a:pt x="104" y="80"/>
                  </a:lnTo>
                  <a:lnTo>
                    <a:pt x="104" y="82"/>
                  </a:lnTo>
                  <a:lnTo>
                    <a:pt x="104" y="84"/>
                  </a:lnTo>
                  <a:lnTo>
                    <a:pt x="104" y="84"/>
                  </a:lnTo>
                  <a:lnTo>
                    <a:pt x="102" y="90"/>
                  </a:lnTo>
                  <a:lnTo>
                    <a:pt x="100" y="94"/>
                  </a:lnTo>
                  <a:lnTo>
                    <a:pt x="98" y="98"/>
                  </a:lnTo>
                  <a:lnTo>
                    <a:pt x="98" y="100"/>
                  </a:lnTo>
                  <a:lnTo>
                    <a:pt x="98" y="100"/>
                  </a:lnTo>
                  <a:lnTo>
                    <a:pt x="98" y="102"/>
                  </a:lnTo>
                  <a:lnTo>
                    <a:pt x="98" y="104"/>
                  </a:lnTo>
                  <a:lnTo>
                    <a:pt x="98" y="104"/>
                  </a:lnTo>
                  <a:lnTo>
                    <a:pt x="98" y="106"/>
                  </a:lnTo>
                  <a:lnTo>
                    <a:pt x="98" y="106"/>
                  </a:lnTo>
                  <a:lnTo>
                    <a:pt x="100" y="106"/>
                  </a:lnTo>
                  <a:lnTo>
                    <a:pt x="100" y="106"/>
                  </a:lnTo>
                  <a:lnTo>
                    <a:pt x="100" y="106"/>
                  </a:lnTo>
                  <a:lnTo>
                    <a:pt x="102" y="106"/>
                  </a:lnTo>
                  <a:lnTo>
                    <a:pt x="102" y="106"/>
                  </a:lnTo>
                  <a:lnTo>
                    <a:pt x="104" y="104"/>
                  </a:lnTo>
                  <a:lnTo>
                    <a:pt x="106" y="104"/>
                  </a:lnTo>
                  <a:lnTo>
                    <a:pt x="108" y="102"/>
                  </a:lnTo>
                  <a:lnTo>
                    <a:pt x="110" y="100"/>
                  </a:lnTo>
                  <a:lnTo>
                    <a:pt x="110" y="100"/>
                  </a:lnTo>
                  <a:lnTo>
                    <a:pt x="110" y="100"/>
                  </a:lnTo>
                  <a:lnTo>
                    <a:pt x="112" y="100"/>
                  </a:lnTo>
                  <a:lnTo>
                    <a:pt x="112" y="100"/>
                  </a:lnTo>
                  <a:lnTo>
                    <a:pt x="112" y="100"/>
                  </a:lnTo>
                  <a:lnTo>
                    <a:pt x="114" y="100"/>
                  </a:lnTo>
                  <a:lnTo>
                    <a:pt x="114" y="102"/>
                  </a:lnTo>
                  <a:lnTo>
                    <a:pt x="116" y="102"/>
                  </a:lnTo>
                  <a:lnTo>
                    <a:pt x="118" y="104"/>
                  </a:lnTo>
                  <a:lnTo>
                    <a:pt x="120" y="106"/>
                  </a:lnTo>
                  <a:lnTo>
                    <a:pt x="120" y="110"/>
                  </a:lnTo>
                  <a:lnTo>
                    <a:pt x="122" y="110"/>
                  </a:lnTo>
                  <a:lnTo>
                    <a:pt x="122" y="112"/>
                  </a:lnTo>
                  <a:lnTo>
                    <a:pt x="124" y="112"/>
                  </a:lnTo>
                  <a:lnTo>
                    <a:pt x="124" y="112"/>
                  </a:lnTo>
                  <a:lnTo>
                    <a:pt x="124" y="112"/>
                  </a:lnTo>
                  <a:lnTo>
                    <a:pt x="126" y="112"/>
                  </a:lnTo>
                  <a:lnTo>
                    <a:pt x="126" y="112"/>
                  </a:lnTo>
                  <a:lnTo>
                    <a:pt x="128" y="112"/>
                  </a:lnTo>
                  <a:lnTo>
                    <a:pt x="128" y="112"/>
                  </a:lnTo>
                  <a:lnTo>
                    <a:pt x="128" y="110"/>
                  </a:lnTo>
                  <a:lnTo>
                    <a:pt x="128" y="110"/>
                  </a:lnTo>
                  <a:lnTo>
                    <a:pt x="128" y="108"/>
                  </a:lnTo>
                  <a:lnTo>
                    <a:pt x="130" y="106"/>
                  </a:lnTo>
                  <a:lnTo>
                    <a:pt x="130" y="104"/>
                  </a:lnTo>
                  <a:lnTo>
                    <a:pt x="130" y="102"/>
                  </a:lnTo>
                  <a:lnTo>
                    <a:pt x="130" y="98"/>
                  </a:lnTo>
                  <a:lnTo>
                    <a:pt x="130" y="92"/>
                  </a:lnTo>
                  <a:lnTo>
                    <a:pt x="130" y="90"/>
                  </a:lnTo>
                  <a:lnTo>
                    <a:pt x="130" y="88"/>
                  </a:lnTo>
                  <a:lnTo>
                    <a:pt x="130" y="84"/>
                  </a:lnTo>
                  <a:lnTo>
                    <a:pt x="132" y="84"/>
                  </a:lnTo>
                  <a:lnTo>
                    <a:pt x="132" y="82"/>
                  </a:lnTo>
                  <a:lnTo>
                    <a:pt x="132" y="82"/>
                  </a:lnTo>
                  <a:lnTo>
                    <a:pt x="132" y="82"/>
                  </a:lnTo>
                  <a:lnTo>
                    <a:pt x="134" y="80"/>
                  </a:lnTo>
                  <a:lnTo>
                    <a:pt x="134" y="80"/>
                  </a:lnTo>
                  <a:lnTo>
                    <a:pt x="134" y="80"/>
                  </a:lnTo>
                  <a:lnTo>
                    <a:pt x="136" y="80"/>
                  </a:lnTo>
                  <a:lnTo>
                    <a:pt x="136" y="80"/>
                  </a:lnTo>
                  <a:lnTo>
                    <a:pt x="138" y="82"/>
                  </a:lnTo>
                  <a:lnTo>
                    <a:pt x="140" y="82"/>
                  </a:lnTo>
                  <a:lnTo>
                    <a:pt x="142" y="84"/>
                  </a:lnTo>
                  <a:lnTo>
                    <a:pt x="144" y="84"/>
                  </a:lnTo>
                  <a:lnTo>
                    <a:pt x="144" y="84"/>
                  </a:lnTo>
                  <a:lnTo>
                    <a:pt x="146" y="84"/>
                  </a:lnTo>
                  <a:lnTo>
                    <a:pt x="146" y="84"/>
                  </a:lnTo>
                  <a:lnTo>
                    <a:pt x="146" y="84"/>
                  </a:lnTo>
                  <a:lnTo>
                    <a:pt x="146" y="82"/>
                  </a:lnTo>
                  <a:lnTo>
                    <a:pt x="146" y="82"/>
                  </a:lnTo>
                  <a:lnTo>
                    <a:pt x="146" y="80"/>
                  </a:lnTo>
                  <a:lnTo>
                    <a:pt x="146" y="80"/>
                  </a:lnTo>
                  <a:lnTo>
                    <a:pt x="146" y="78"/>
                  </a:lnTo>
                  <a:lnTo>
                    <a:pt x="146" y="76"/>
                  </a:lnTo>
                  <a:lnTo>
                    <a:pt x="146" y="74"/>
                  </a:lnTo>
                  <a:lnTo>
                    <a:pt x="144" y="72"/>
                  </a:lnTo>
                  <a:lnTo>
                    <a:pt x="144" y="72"/>
                  </a:lnTo>
                  <a:lnTo>
                    <a:pt x="140" y="68"/>
                  </a:lnTo>
                  <a:lnTo>
                    <a:pt x="138" y="64"/>
                  </a:lnTo>
                  <a:lnTo>
                    <a:pt x="136" y="62"/>
                  </a:lnTo>
                  <a:lnTo>
                    <a:pt x="134" y="60"/>
                  </a:lnTo>
                  <a:lnTo>
                    <a:pt x="132" y="58"/>
                  </a:lnTo>
                  <a:lnTo>
                    <a:pt x="132" y="58"/>
                  </a:lnTo>
                  <a:lnTo>
                    <a:pt x="130" y="56"/>
                  </a:lnTo>
                  <a:lnTo>
                    <a:pt x="128" y="56"/>
                  </a:lnTo>
                  <a:lnTo>
                    <a:pt x="124" y="54"/>
                  </a:lnTo>
                  <a:lnTo>
                    <a:pt x="122" y="52"/>
                  </a:lnTo>
                  <a:lnTo>
                    <a:pt x="118" y="52"/>
                  </a:lnTo>
                  <a:lnTo>
                    <a:pt x="114" y="50"/>
                  </a:lnTo>
                  <a:lnTo>
                    <a:pt x="110" y="48"/>
                  </a:lnTo>
                  <a:lnTo>
                    <a:pt x="110" y="48"/>
                  </a:lnTo>
                  <a:lnTo>
                    <a:pt x="108" y="46"/>
                  </a:lnTo>
                  <a:lnTo>
                    <a:pt x="106" y="46"/>
                  </a:lnTo>
                  <a:lnTo>
                    <a:pt x="106" y="44"/>
                  </a:lnTo>
                  <a:lnTo>
                    <a:pt x="104" y="42"/>
                  </a:lnTo>
                  <a:lnTo>
                    <a:pt x="102" y="40"/>
                  </a:lnTo>
                  <a:lnTo>
                    <a:pt x="100" y="36"/>
                  </a:lnTo>
                  <a:lnTo>
                    <a:pt x="98" y="32"/>
                  </a:lnTo>
                  <a:lnTo>
                    <a:pt x="94" y="28"/>
                  </a:lnTo>
                  <a:lnTo>
                    <a:pt x="92" y="24"/>
                  </a:lnTo>
                  <a:lnTo>
                    <a:pt x="90" y="20"/>
                  </a:lnTo>
                  <a:lnTo>
                    <a:pt x="86" y="16"/>
                  </a:lnTo>
                  <a:lnTo>
                    <a:pt x="84" y="10"/>
                  </a:lnTo>
                  <a:lnTo>
                    <a:pt x="82" y="8"/>
                  </a:lnTo>
                  <a:lnTo>
                    <a:pt x="80" y="6"/>
                  </a:lnTo>
                  <a:lnTo>
                    <a:pt x="80" y="6"/>
                  </a:lnTo>
                  <a:lnTo>
                    <a:pt x="78" y="4"/>
                  </a:lnTo>
                  <a:lnTo>
                    <a:pt x="76" y="2"/>
                  </a:lnTo>
                  <a:lnTo>
                    <a:pt x="74" y="2"/>
                  </a:lnTo>
                  <a:lnTo>
                    <a:pt x="72" y="2"/>
                  </a:lnTo>
                  <a:lnTo>
                    <a:pt x="72" y="0"/>
                  </a:lnTo>
                  <a:lnTo>
                    <a:pt x="70" y="0"/>
                  </a:lnTo>
                  <a:lnTo>
                    <a:pt x="68" y="0"/>
                  </a:lnTo>
                  <a:lnTo>
                    <a:pt x="64" y="0"/>
                  </a:lnTo>
                  <a:lnTo>
                    <a:pt x="60" y="2"/>
                  </a:lnTo>
                  <a:lnTo>
                    <a:pt x="56" y="2"/>
                  </a:lnTo>
                  <a:lnTo>
                    <a:pt x="54" y="2"/>
                  </a:lnTo>
                  <a:lnTo>
                    <a:pt x="50" y="4"/>
                  </a:lnTo>
                  <a:lnTo>
                    <a:pt x="46" y="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9" name="Freeform 591">
              <a:extLst>
                <a:ext uri="{FF2B5EF4-FFF2-40B4-BE49-F238E27FC236}">
                  <a16:creationId xmlns:a16="http://schemas.microsoft.com/office/drawing/2014/main" id="{25C4FFDF-FEAF-4363-9F40-1F34D294B4D9}"/>
                </a:ext>
              </a:extLst>
            </p:cNvPr>
            <p:cNvSpPr>
              <a:spLocks/>
            </p:cNvSpPr>
            <p:nvPr/>
          </p:nvSpPr>
          <p:spPr bwMode="auto">
            <a:xfrm>
              <a:off x="2176865" y="3250158"/>
              <a:ext cx="76211" cy="173207"/>
            </a:xfrm>
            <a:custGeom>
              <a:avLst/>
              <a:gdLst>
                <a:gd name="T0" fmla="*/ 34 w 44"/>
                <a:gd name="T1" fmla="*/ 4 h 100"/>
                <a:gd name="T2" fmla="*/ 32 w 44"/>
                <a:gd name="T3" fmla="*/ 6 h 100"/>
                <a:gd name="T4" fmla="*/ 28 w 44"/>
                <a:gd name="T5" fmla="*/ 6 h 100"/>
                <a:gd name="T6" fmla="*/ 20 w 44"/>
                <a:gd name="T7" fmla="*/ 6 h 100"/>
                <a:gd name="T8" fmla="*/ 16 w 44"/>
                <a:gd name="T9" fmla="*/ 8 h 100"/>
                <a:gd name="T10" fmla="*/ 10 w 44"/>
                <a:gd name="T11" fmla="*/ 16 h 100"/>
                <a:gd name="T12" fmla="*/ 6 w 44"/>
                <a:gd name="T13" fmla="*/ 22 h 100"/>
                <a:gd name="T14" fmla="*/ 2 w 44"/>
                <a:gd name="T15" fmla="*/ 28 h 100"/>
                <a:gd name="T16" fmla="*/ 0 w 44"/>
                <a:gd name="T17" fmla="*/ 32 h 100"/>
                <a:gd name="T18" fmla="*/ 0 w 44"/>
                <a:gd name="T19" fmla="*/ 34 h 100"/>
                <a:gd name="T20" fmla="*/ 2 w 44"/>
                <a:gd name="T21" fmla="*/ 36 h 100"/>
                <a:gd name="T22" fmla="*/ 6 w 44"/>
                <a:gd name="T23" fmla="*/ 32 h 100"/>
                <a:gd name="T24" fmla="*/ 10 w 44"/>
                <a:gd name="T25" fmla="*/ 28 h 100"/>
                <a:gd name="T26" fmla="*/ 12 w 44"/>
                <a:gd name="T27" fmla="*/ 26 h 100"/>
                <a:gd name="T28" fmla="*/ 12 w 44"/>
                <a:gd name="T29" fmla="*/ 28 h 100"/>
                <a:gd name="T30" fmla="*/ 12 w 44"/>
                <a:gd name="T31" fmla="*/ 30 h 100"/>
                <a:gd name="T32" fmla="*/ 10 w 44"/>
                <a:gd name="T33" fmla="*/ 38 h 100"/>
                <a:gd name="T34" fmla="*/ 8 w 44"/>
                <a:gd name="T35" fmla="*/ 46 h 100"/>
                <a:gd name="T36" fmla="*/ 6 w 44"/>
                <a:gd name="T37" fmla="*/ 58 h 100"/>
                <a:gd name="T38" fmla="*/ 4 w 44"/>
                <a:gd name="T39" fmla="*/ 72 h 100"/>
                <a:gd name="T40" fmla="*/ 2 w 44"/>
                <a:gd name="T41" fmla="*/ 82 h 100"/>
                <a:gd name="T42" fmla="*/ 4 w 44"/>
                <a:gd name="T43" fmla="*/ 86 h 100"/>
                <a:gd name="T44" fmla="*/ 8 w 44"/>
                <a:gd name="T45" fmla="*/ 92 h 100"/>
                <a:gd name="T46" fmla="*/ 12 w 44"/>
                <a:gd name="T47" fmla="*/ 98 h 100"/>
                <a:gd name="T48" fmla="*/ 16 w 44"/>
                <a:gd name="T49" fmla="*/ 100 h 100"/>
                <a:gd name="T50" fmla="*/ 18 w 44"/>
                <a:gd name="T51" fmla="*/ 100 h 100"/>
                <a:gd name="T52" fmla="*/ 22 w 44"/>
                <a:gd name="T53" fmla="*/ 100 h 100"/>
                <a:gd name="T54" fmla="*/ 28 w 44"/>
                <a:gd name="T55" fmla="*/ 94 h 100"/>
                <a:gd name="T56" fmla="*/ 32 w 44"/>
                <a:gd name="T57" fmla="*/ 90 h 100"/>
                <a:gd name="T58" fmla="*/ 34 w 44"/>
                <a:gd name="T59" fmla="*/ 86 h 100"/>
                <a:gd name="T60" fmla="*/ 34 w 44"/>
                <a:gd name="T61" fmla="*/ 80 h 100"/>
                <a:gd name="T62" fmla="*/ 30 w 44"/>
                <a:gd name="T63" fmla="*/ 68 h 100"/>
                <a:gd name="T64" fmla="*/ 26 w 44"/>
                <a:gd name="T65" fmla="*/ 54 h 100"/>
                <a:gd name="T66" fmla="*/ 24 w 44"/>
                <a:gd name="T67" fmla="*/ 48 h 100"/>
                <a:gd name="T68" fmla="*/ 24 w 44"/>
                <a:gd name="T69" fmla="*/ 36 h 100"/>
                <a:gd name="T70" fmla="*/ 26 w 44"/>
                <a:gd name="T71" fmla="*/ 32 h 100"/>
                <a:gd name="T72" fmla="*/ 26 w 44"/>
                <a:gd name="T73" fmla="*/ 30 h 100"/>
                <a:gd name="T74" fmla="*/ 32 w 44"/>
                <a:gd name="T75" fmla="*/ 28 h 100"/>
                <a:gd name="T76" fmla="*/ 38 w 44"/>
                <a:gd name="T77" fmla="*/ 24 h 100"/>
                <a:gd name="T78" fmla="*/ 40 w 44"/>
                <a:gd name="T79" fmla="*/ 22 h 100"/>
                <a:gd name="T80" fmla="*/ 42 w 44"/>
                <a:gd name="T81" fmla="*/ 18 h 100"/>
                <a:gd name="T82" fmla="*/ 44 w 44"/>
                <a:gd name="T83" fmla="*/ 14 h 100"/>
                <a:gd name="T84" fmla="*/ 42 w 44"/>
                <a:gd name="T85" fmla="*/ 12 h 100"/>
                <a:gd name="T86" fmla="*/ 40 w 44"/>
                <a:gd name="T87" fmla="*/ 8 h 100"/>
                <a:gd name="T88" fmla="*/ 36 w 44"/>
                <a:gd name="T89" fmla="*/ 2 h 100"/>
                <a:gd name="T90" fmla="*/ 34 w 44"/>
                <a:gd name="T9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 h="100">
                  <a:moveTo>
                    <a:pt x="34" y="4"/>
                  </a:moveTo>
                  <a:lnTo>
                    <a:pt x="34" y="4"/>
                  </a:lnTo>
                  <a:lnTo>
                    <a:pt x="34" y="4"/>
                  </a:lnTo>
                  <a:lnTo>
                    <a:pt x="34" y="4"/>
                  </a:lnTo>
                  <a:lnTo>
                    <a:pt x="34" y="4"/>
                  </a:lnTo>
                  <a:lnTo>
                    <a:pt x="32" y="6"/>
                  </a:lnTo>
                  <a:lnTo>
                    <a:pt x="32" y="6"/>
                  </a:lnTo>
                  <a:lnTo>
                    <a:pt x="30" y="6"/>
                  </a:lnTo>
                  <a:lnTo>
                    <a:pt x="28" y="6"/>
                  </a:lnTo>
                  <a:lnTo>
                    <a:pt x="24" y="6"/>
                  </a:lnTo>
                  <a:lnTo>
                    <a:pt x="20" y="6"/>
                  </a:lnTo>
                  <a:lnTo>
                    <a:pt x="20" y="6"/>
                  </a:lnTo>
                  <a:lnTo>
                    <a:pt x="20" y="6"/>
                  </a:lnTo>
                  <a:lnTo>
                    <a:pt x="18" y="8"/>
                  </a:lnTo>
                  <a:lnTo>
                    <a:pt x="16" y="8"/>
                  </a:lnTo>
                  <a:lnTo>
                    <a:pt x="14" y="10"/>
                  </a:lnTo>
                  <a:lnTo>
                    <a:pt x="12" y="12"/>
                  </a:lnTo>
                  <a:lnTo>
                    <a:pt x="10" y="16"/>
                  </a:lnTo>
                  <a:lnTo>
                    <a:pt x="8" y="18"/>
                  </a:lnTo>
                  <a:lnTo>
                    <a:pt x="6" y="20"/>
                  </a:lnTo>
                  <a:lnTo>
                    <a:pt x="6" y="22"/>
                  </a:lnTo>
                  <a:lnTo>
                    <a:pt x="4" y="24"/>
                  </a:lnTo>
                  <a:lnTo>
                    <a:pt x="2" y="26"/>
                  </a:lnTo>
                  <a:lnTo>
                    <a:pt x="2" y="28"/>
                  </a:lnTo>
                  <a:lnTo>
                    <a:pt x="0" y="30"/>
                  </a:lnTo>
                  <a:lnTo>
                    <a:pt x="0" y="32"/>
                  </a:lnTo>
                  <a:lnTo>
                    <a:pt x="0" y="32"/>
                  </a:lnTo>
                  <a:lnTo>
                    <a:pt x="0" y="34"/>
                  </a:lnTo>
                  <a:lnTo>
                    <a:pt x="0" y="34"/>
                  </a:lnTo>
                  <a:lnTo>
                    <a:pt x="0" y="34"/>
                  </a:lnTo>
                  <a:lnTo>
                    <a:pt x="2" y="36"/>
                  </a:lnTo>
                  <a:lnTo>
                    <a:pt x="2" y="36"/>
                  </a:lnTo>
                  <a:lnTo>
                    <a:pt x="2" y="36"/>
                  </a:lnTo>
                  <a:lnTo>
                    <a:pt x="2" y="34"/>
                  </a:lnTo>
                  <a:lnTo>
                    <a:pt x="4" y="34"/>
                  </a:lnTo>
                  <a:lnTo>
                    <a:pt x="6" y="32"/>
                  </a:lnTo>
                  <a:lnTo>
                    <a:pt x="6" y="30"/>
                  </a:lnTo>
                  <a:lnTo>
                    <a:pt x="8" y="28"/>
                  </a:lnTo>
                  <a:lnTo>
                    <a:pt x="10" y="28"/>
                  </a:lnTo>
                  <a:lnTo>
                    <a:pt x="10" y="26"/>
                  </a:lnTo>
                  <a:lnTo>
                    <a:pt x="10" y="26"/>
                  </a:lnTo>
                  <a:lnTo>
                    <a:pt x="12" y="26"/>
                  </a:lnTo>
                  <a:lnTo>
                    <a:pt x="12" y="26"/>
                  </a:lnTo>
                  <a:lnTo>
                    <a:pt x="12" y="26"/>
                  </a:lnTo>
                  <a:lnTo>
                    <a:pt x="12" y="28"/>
                  </a:lnTo>
                  <a:lnTo>
                    <a:pt x="12" y="28"/>
                  </a:lnTo>
                  <a:lnTo>
                    <a:pt x="12" y="30"/>
                  </a:lnTo>
                  <a:lnTo>
                    <a:pt x="12" y="30"/>
                  </a:lnTo>
                  <a:lnTo>
                    <a:pt x="12" y="32"/>
                  </a:lnTo>
                  <a:lnTo>
                    <a:pt x="12" y="34"/>
                  </a:lnTo>
                  <a:lnTo>
                    <a:pt x="10" y="38"/>
                  </a:lnTo>
                  <a:lnTo>
                    <a:pt x="10" y="40"/>
                  </a:lnTo>
                  <a:lnTo>
                    <a:pt x="8" y="44"/>
                  </a:lnTo>
                  <a:lnTo>
                    <a:pt x="8" y="46"/>
                  </a:lnTo>
                  <a:lnTo>
                    <a:pt x="6" y="52"/>
                  </a:lnTo>
                  <a:lnTo>
                    <a:pt x="6" y="54"/>
                  </a:lnTo>
                  <a:lnTo>
                    <a:pt x="6" y="58"/>
                  </a:lnTo>
                  <a:lnTo>
                    <a:pt x="4" y="64"/>
                  </a:lnTo>
                  <a:lnTo>
                    <a:pt x="4" y="68"/>
                  </a:lnTo>
                  <a:lnTo>
                    <a:pt x="4" y="72"/>
                  </a:lnTo>
                  <a:lnTo>
                    <a:pt x="2" y="76"/>
                  </a:lnTo>
                  <a:lnTo>
                    <a:pt x="2" y="80"/>
                  </a:lnTo>
                  <a:lnTo>
                    <a:pt x="2" y="82"/>
                  </a:lnTo>
                  <a:lnTo>
                    <a:pt x="4" y="82"/>
                  </a:lnTo>
                  <a:lnTo>
                    <a:pt x="4" y="84"/>
                  </a:lnTo>
                  <a:lnTo>
                    <a:pt x="4" y="86"/>
                  </a:lnTo>
                  <a:lnTo>
                    <a:pt x="4" y="88"/>
                  </a:lnTo>
                  <a:lnTo>
                    <a:pt x="6" y="90"/>
                  </a:lnTo>
                  <a:lnTo>
                    <a:pt x="8" y="92"/>
                  </a:lnTo>
                  <a:lnTo>
                    <a:pt x="8" y="94"/>
                  </a:lnTo>
                  <a:lnTo>
                    <a:pt x="10" y="96"/>
                  </a:lnTo>
                  <a:lnTo>
                    <a:pt x="12" y="98"/>
                  </a:lnTo>
                  <a:lnTo>
                    <a:pt x="14" y="100"/>
                  </a:lnTo>
                  <a:lnTo>
                    <a:pt x="14" y="100"/>
                  </a:lnTo>
                  <a:lnTo>
                    <a:pt x="16" y="100"/>
                  </a:lnTo>
                  <a:lnTo>
                    <a:pt x="16" y="100"/>
                  </a:lnTo>
                  <a:lnTo>
                    <a:pt x="18" y="100"/>
                  </a:lnTo>
                  <a:lnTo>
                    <a:pt x="18" y="100"/>
                  </a:lnTo>
                  <a:lnTo>
                    <a:pt x="20" y="100"/>
                  </a:lnTo>
                  <a:lnTo>
                    <a:pt x="22" y="100"/>
                  </a:lnTo>
                  <a:lnTo>
                    <a:pt x="22" y="100"/>
                  </a:lnTo>
                  <a:lnTo>
                    <a:pt x="24" y="98"/>
                  </a:lnTo>
                  <a:lnTo>
                    <a:pt x="26" y="96"/>
                  </a:lnTo>
                  <a:lnTo>
                    <a:pt x="28" y="94"/>
                  </a:lnTo>
                  <a:lnTo>
                    <a:pt x="30" y="92"/>
                  </a:lnTo>
                  <a:lnTo>
                    <a:pt x="32" y="90"/>
                  </a:lnTo>
                  <a:lnTo>
                    <a:pt x="32" y="90"/>
                  </a:lnTo>
                  <a:lnTo>
                    <a:pt x="34" y="88"/>
                  </a:lnTo>
                  <a:lnTo>
                    <a:pt x="34" y="88"/>
                  </a:lnTo>
                  <a:lnTo>
                    <a:pt x="34" y="86"/>
                  </a:lnTo>
                  <a:lnTo>
                    <a:pt x="34" y="84"/>
                  </a:lnTo>
                  <a:lnTo>
                    <a:pt x="34" y="82"/>
                  </a:lnTo>
                  <a:lnTo>
                    <a:pt x="34" y="80"/>
                  </a:lnTo>
                  <a:lnTo>
                    <a:pt x="32" y="76"/>
                  </a:lnTo>
                  <a:lnTo>
                    <a:pt x="32" y="74"/>
                  </a:lnTo>
                  <a:lnTo>
                    <a:pt x="30" y="68"/>
                  </a:lnTo>
                  <a:lnTo>
                    <a:pt x="28" y="62"/>
                  </a:lnTo>
                  <a:lnTo>
                    <a:pt x="26" y="56"/>
                  </a:lnTo>
                  <a:lnTo>
                    <a:pt x="26" y="54"/>
                  </a:lnTo>
                  <a:lnTo>
                    <a:pt x="26" y="52"/>
                  </a:lnTo>
                  <a:lnTo>
                    <a:pt x="24" y="50"/>
                  </a:lnTo>
                  <a:lnTo>
                    <a:pt x="24" y="48"/>
                  </a:lnTo>
                  <a:lnTo>
                    <a:pt x="24" y="44"/>
                  </a:lnTo>
                  <a:lnTo>
                    <a:pt x="24" y="40"/>
                  </a:lnTo>
                  <a:lnTo>
                    <a:pt x="24" y="36"/>
                  </a:lnTo>
                  <a:lnTo>
                    <a:pt x="24" y="34"/>
                  </a:lnTo>
                  <a:lnTo>
                    <a:pt x="24" y="32"/>
                  </a:lnTo>
                  <a:lnTo>
                    <a:pt x="26" y="32"/>
                  </a:lnTo>
                  <a:lnTo>
                    <a:pt x="26" y="32"/>
                  </a:lnTo>
                  <a:lnTo>
                    <a:pt x="26" y="30"/>
                  </a:lnTo>
                  <a:lnTo>
                    <a:pt x="26" y="30"/>
                  </a:lnTo>
                  <a:lnTo>
                    <a:pt x="28" y="30"/>
                  </a:lnTo>
                  <a:lnTo>
                    <a:pt x="30" y="28"/>
                  </a:lnTo>
                  <a:lnTo>
                    <a:pt x="32" y="28"/>
                  </a:lnTo>
                  <a:lnTo>
                    <a:pt x="34" y="26"/>
                  </a:lnTo>
                  <a:lnTo>
                    <a:pt x="36" y="26"/>
                  </a:lnTo>
                  <a:lnTo>
                    <a:pt x="38" y="24"/>
                  </a:lnTo>
                  <a:lnTo>
                    <a:pt x="40" y="24"/>
                  </a:lnTo>
                  <a:lnTo>
                    <a:pt x="40" y="24"/>
                  </a:lnTo>
                  <a:lnTo>
                    <a:pt x="40" y="22"/>
                  </a:lnTo>
                  <a:lnTo>
                    <a:pt x="42" y="22"/>
                  </a:lnTo>
                  <a:lnTo>
                    <a:pt x="42" y="20"/>
                  </a:lnTo>
                  <a:lnTo>
                    <a:pt x="42" y="18"/>
                  </a:lnTo>
                  <a:lnTo>
                    <a:pt x="44" y="16"/>
                  </a:lnTo>
                  <a:lnTo>
                    <a:pt x="44" y="16"/>
                  </a:lnTo>
                  <a:lnTo>
                    <a:pt x="44" y="14"/>
                  </a:lnTo>
                  <a:lnTo>
                    <a:pt x="44" y="14"/>
                  </a:lnTo>
                  <a:lnTo>
                    <a:pt x="44" y="14"/>
                  </a:lnTo>
                  <a:lnTo>
                    <a:pt x="42" y="12"/>
                  </a:lnTo>
                  <a:lnTo>
                    <a:pt x="42" y="12"/>
                  </a:lnTo>
                  <a:lnTo>
                    <a:pt x="40" y="10"/>
                  </a:lnTo>
                  <a:lnTo>
                    <a:pt x="40" y="8"/>
                  </a:lnTo>
                  <a:lnTo>
                    <a:pt x="38" y="6"/>
                  </a:lnTo>
                  <a:lnTo>
                    <a:pt x="36" y="4"/>
                  </a:lnTo>
                  <a:lnTo>
                    <a:pt x="36" y="2"/>
                  </a:lnTo>
                  <a:lnTo>
                    <a:pt x="34" y="2"/>
                  </a:lnTo>
                  <a:lnTo>
                    <a:pt x="34" y="0"/>
                  </a:lnTo>
                  <a:lnTo>
                    <a:pt x="34" y="0"/>
                  </a:lnTo>
                  <a:lnTo>
                    <a:pt x="34" y="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0" name="Freeform 592">
              <a:extLst>
                <a:ext uri="{FF2B5EF4-FFF2-40B4-BE49-F238E27FC236}">
                  <a16:creationId xmlns:a16="http://schemas.microsoft.com/office/drawing/2014/main" id="{81CB130B-73F7-4C87-82B0-FF04DE1B3FB1}"/>
                </a:ext>
              </a:extLst>
            </p:cNvPr>
            <p:cNvSpPr>
              <a:spLocks/>
            </p:cNvSpPr>
            <p:nvPr/>
          </p:nvSpPr>
          <p:spPr bwMode="auto">
            <a:xfrm>
              <a:off x="2176865" y="3250158"/>
              <a:ext cx="76211" cy="173207"/>
            </a:xfrm>
            <a:custGeom>
              <a:avLst/>
              <a:gdLst>
                <a:gd name="T0" fmla="*/ 34 w 44"/>
                <a:gd name="T1" fmla="*/ 4 h 100"/>
                <a:gd name="T2" fmla="*/ 32 w 44"/>
                <a:gd name="T3" fmla="*/ 6 h 100"/>
                <a:gd name="T4" fmla="*/ 28 w 44"/>
                <a:gd name="T5" fmla="*/ 6 h 100"/>
                <a:gd name="T6" fmla="*/ 20 w 44"/>
                <a:gd name="T7" fmla="*/ 6 h 100"/>
                <a:gd name="T8" fmla="*/ 16 w 44"/>
                <a:gd name="T9" fmla="*/ 8 h 100"/>
                <a:gd name="T10" fmla="*/ 10 w 44"/>
                <a:gd name="T11" fmla="*/ 16 h 100"/>
                <a:gd name="T12" fmla="*/ 6 w 44"/>
                <a:gd name="T13" fmla="*/ 22 h 100"/>
                <a:gd name="T14" fmla="*/ 2 w 44"/>
                <a:gd name="T15" fmla="*/ 28 h 100"/>
                <a:gd name="T16" fmla="*/ 0 w 44"/>
                <a:gd name="T17" fmla="*/ 32 h 100"/>
                <a:gd name="T18" fmla="*/ 0 w 44"/>
                <a:gd name="T19" fmla="*/ 34 h 100"/>
                <a:gd name="T20" fmla="*/ 2 w 44"/>
                <a:gd name="T21" fmla="*/ 36 h 100"/>
                <a:gd name="T22" fmla="*/ 6 w 44"/>
                <a:gd name="T23" fmla="*/ 32 h 100"/>
                <a:gd name="T24" fmla="*/ 10 w 44"/>
                <a:gd name="T25" fmla="*/ 28 h 100"/>
                <a:gd name="T26" fmla="*/ 12 w 44"/>
                <a:gd name="T27" fmla="*/ 26 h 100"/>
                <a:gd name="T28" fmla="*/ 12 w 44"/>
                <a:gd name="T29" fmla="*/ 28 h 100"/>
                <a:gd name="T30" fmla="*/ 12 w 44"/>
                <a:gd name="T31" fmla="*/ 30 h 100"/>
                <a:gd name="T32" fmla="*/ 10 w 44"/>
                <a:gd name="T33" fmla="*/ 38 h 100"/>
                <a:gd name="T34" fmla="*/ 8 w 44"/>
                <a:gd name="T35" fmla="*/ 46 h 100"/>
                <a:gd name="T36" fmla="*/ 6 w 44"/>
                <a:gd name="T37" fmla="*/ 58 h 100"/>
                <a:gd name="T38" fmla="*/ 4 w 44"/>
                <a:gd name="T39" fmla="*/ 72 h 100"/>
                <a:gd name="T40" fmla="*/ 2 w 44"/>
                <a:gd name="T41" fmla="*/ 82 h 100"/>
                <a:gd name="T42" fmla="*/ 4 w 44"/>
                <a:gd name="T43" fmla="*/ 86 h 100"/>
                <a:gd name="T44" fmla="*/ 8 w 44"/>
                <a:gd name="T45" fmla="*/ 92 h 100"/>
                <a:gd name="T46" fmla="*/ 12 w 44"/>
                <a:gd name="T47" fmla="*/ 98 h 100"/>
                <a:gd name="T48" fmla="*/ 16 w 44"/>
                <a:gd name="T49" fmla="*/ 100 h 100"/>
                <a:gd name="T50" fmla="*/ 18 w 44"/>
                <a:gd name="T51" fmla="*/ 100 h 100"/>
                <a:gd name="T52" fmla="*/ 22 w 44"/>
                <a:gd name="T53" fmla="*/ 100 h 100"/>
                <a:gd name="T54" fmla="*/ 28 w 44"/>
                <a:gd name="T55" fmla="*/ 94 h 100"/>
                <a:gd name="T56" fmla="*/ 32 w 44"/>
                <a:gd name="T57" fmla="*/ 90 h 100"/>
                <a:gd name="T58" fmla="*/ 34 w 44"/>
                <a:gd name="T59" fmla="*/ 86 h 100"/>
                <a:gd name="T60" fmla="*/ 34 w 44"/>
                <a:gd name="T61" fmla="*/ 80 h 100"/>
                <a:gd name="T62" fmla="*/ 30 w 44"/>
                <a:gd name="T63" fmla="*/ 68 h 100"/>
                <a:gd name="T64" fmla="*/ 26 w 44"/>
                <a:gd name="T65" fmla="*/ 54 h 100"/>
                <a:gd name="T66" fmla="*/ 24 w 44"/>
                <a:gd name="T67" fmla="*/ 48 h 100"/>
                <a:gd name="T68" fmla="*/ 24 w 44"/>
                <a:gd name="T69" fmla="*/ 36 h 100"/>
                <a:gd name="T70" fmla="*/ 26 w 44"/>
                <a:gd name="T71" fmla="*/ 32 h 100"/>
                <a:gd name="T72" fmla="*/ 26 w 44"/>
                <a:gd name="T73" fmla="*/ 30 h 100"/>
                <a:gd name="T74" fmla="*/ 32 w 44"/>
                <a:gd name="T75" fmla="*/ 28 h 100"/>
                <a:gd name="T76" fmla="*/ 38 w 44"/>
                <a:gd name="T77" fmla="*/ 24 h 100"/>
                <a:gd name="T78" fmla="*/ 40 w 44"/>
                <a:gd name="T79" fmla="*/ 22 h 100"/>
                <a:gd name="T80" fmla="*/ 42 w 44"/>
                <a:gd name="T81" fmla="*/ 18 h 100"/>
                <a:gd name="T82" fmla="*/ 44 w 44"/>
                <a:gd name="T83" fmla="*/ 14 h 100"/>
                <a:gd name="T84" fmla="*/ 42 w 44"/>
                <a:gd name="T85" fmla="*/ 12 h 100"/>
                <a:gd name="T86" fmla="*/ 40 w 44"/>
                <a:gd name="T87" fmla="*/ 8 h 100"/>
                <a:gd name="T88" fmla="*/ 36 w 44"/>
                <a:gd name="T89" fmla="*/ 2 h 100"/>
                <a:gd name="T90" fmla="*/ 34 w 44"/>
                <a:gd name="T9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 h="100">
                  <a:moveTo>
                    <a:pt x="34" y="4"/>
                  </a:moveTo>
                  <a:lnTo>
                    <a:pt x="34" y="4"/>
                  </a:lnTo>
                  <a:lnTo>
                    <a:pt x="34" y="4"/>
                  </a:lnTo>
                  <a:lnTo>
                    <a:pt x="34" y="4"/>
                  </a:lnTo>
                  <a:lnTo>
                    <a:pt x="34" y="4"/>
                  </a:lnTo>
                  <a:lnTo>
                    <a:pt x="32" y="6"/>
                  </a:lnTo>
                  <a:lnTo>
                    <a:pt x="32" y="6"/>
                  </a:lnTo>
                  <a:lnTo>
                    <a:pt x="30" y="6"/>
                  </a:lnTo>
                  <a:lnTo>
                    <a:pt x="28" y="6"/>
                  </a:lnTo>
                  <a:lnTo>
                    <a:pt x="24" y="6"/>
                  </a:lnTo>
                  <a:lnTo>
                    <a:pt x="20" y="6"/>
                  </a:lnTo>
                  <a:lnTo>
                    <a:pt x="20" y="6"/>
                  </a:lnTo>
                  <a:lnTo>
                    <a:pt x="20" y="6"/>
                  </a:lnTo>
                  <a:lnTo>
                    <a:pt x="18" y="8"/>
                  </a:lnTo>
                  <a:lnTo>
                    <a:pt x="16" y="8"/>
                  </a:lnTo>
                  <a:lnTo>
                    <a:pt x="14" y="10"/>
                  </a:lnTo>
                  <a:lnTo>
                    <a:pt x="12" y="12"/>
                  </a:lnTo>
                  <a:lnTo>
                    <a:pt x="10" y="16"/>
                  </a:lnTo>
                  <a:lnTo>
                    <a:pt x="8" y="18"/>
                  </a:lnTo>
                  <a:lnTo>
                    <a:pt x="6" y="20"/>
                  </a:lnTo>
                  <a:lnTo>
                    <a:pt x="6" y="22"/>
                  </a:lnTo>
                  <a:lnTo>
                    <a:pt x="4" y="24"/>
                  </a:lnTo>
                  <a:lnTo>
                    <a:pt x="2" y="26"/>
                  </a:lnTo>
                  <a:lnTo>
                    <a:pt x="2" y="28"/>
                  </a:lnTo>
                  <a:lnTo>
                    <a:pt x="0" y="30"/>
                  </a:lnTo>
                  <a:lnTo>
                    <a:pt x="0" y="32"/>
                  </a:lnTo>
                  <a:lnTo>
                    <a:pt x="0" y="32"/>
                  </a:lnTo>
                  <a:lnTo>
                    <a:pt x="0" y="34"/>
                  </a:lnTo>
                  <a:lnTo>
                    <a:pt x="0" y="34"/>
                  </a:lnTo>
                  <a:lnTo>
                    <a:pt x="0" y="34"/>
                  </a:lnTo>
                  <a:lnTo>
                    <a:pt x="2" y="36"/>
                  </a:lnTo>
                  <a:lnTo>
                    <a:pt x="2" y="36"/>
                  </a:lnTo>
                  <a:lnTo>
                    <a:pt x="2" y="36"/>
                  </a:lnTo>
                  <a:lnTo>
                    <a:pt x="2" y="34"/>
                  </a:lnTo>
                  <a:lnTo>
                    <a:pt x="4" y="34"/>
                  </a:lnTo>
                  <a:lnTo>
                    <a:pt x="6" y="32"/>
                  </a:lnTo>
                  <a:lnTo>
                    <a:pt x="6" y="30"/>
                  </a:lnTo>
                  <a:lnTo>
                    <a:pt x="8" y="28"/>
                  </a:lnTo>
                  <a:lnTo>
                    <a:pt x="10" y="28"/>
                  </a:lnTo>
                  <a:lnTo>
                    <a:pt x="10" y="26"/>
                  </a:lnTo>
                  <a:lnTo>
                    <a:pt x="10" y="26"/>
                  </a:lnTo>
                  <a:lnTo>
                    <a:pt x="12" y="26"/>
                  </a:lnTo>
                  <a:lnTo>
                    <a:pt x="12" y="26"/>
                  </a:lnTo>
                  <a:lnTo>
                    <a:pt x="12" y="26"/>
                  </a:lnTo>
                  <a:lnTo>
                    <a:pt x="12" y="28"/>
                  </a:lnTo>
                  <a:lnTo>
                    <a:pt x="12" y="28"/>
                  </a:lnTo>
                  <a:lnTo>
                    <a:pt x="12" y="30"/>
                  </a:lnTo>
                  <a:lnTo>
                    <a:pt x="12" y="30"/>
                  </a:lnTo>
                  <a:lnTo>
                    <a:pt x="12" y="32"/>
                  </a:lnTo>
                  <a:lnTo>
                    <a:pt x="12" y="34"/>
                  </a:lnTo>
                  <a:lnTo>
                    <a:pt x="10" y="38"/>
                  </a:lnTo>
                  <a:lnTo>
                    <a:pt x="10" y="40"/>
                  </a:lnTo>
                  <a:lnTo>
                    <a:pt x="8" y="44"/>
                  </a:lnTo>
                  <a:lnTo>
                    <a:pt x="8" y="46"/>
                  </a:lnTo>
                  <a:lnTo>
                    <a:pt x="6" y="52"/>
                  </a:lnTo>
                  <a:lnTo>
                    <a:pt x="6" y="54"/>
                  </a:lnTo>
                  <a:lnTo>
                    <a:pt x="6" y="58"/>
                  </a:lnTo>
                  <a:lnTo>
                    <a:pt x="4" y="64"/>
                  </a:lnTo>
                  <a:lnTo>
                    <a:pt x="4" y="68"/>
                  </a:lnTo>
                  <a:lnTo>
                    <a:pt x="4" y="72"/>
                  </a:lnTo>
                  <a:lnTo>
                    <a:pt x="2" y="76"/>
                  </a:lnTo>
                  <a:lnTo>
                    <a:pt x="2" y="80"/>
                  </a:lnTo>
                  <a:lnTo>
                    <a:pt x="2" y="82"/>
                  </a:lnTo>
                  <a:lnTo>
                    <a:pt x="4" y="82"/>
                  </a:lnTo>
                  <a:lnTo>
                    <a:pt x="4" y="84"/>
                  </a:lnTo>
                  <a:lnTo>
                    <a:pt x="4" y="86"/>
                  </a:lnTo>
                  <a:lnTo>
                    <a:pt x="4" y="88"/>
                  </a:lnTo>
                  <a:lnTo>
                    <a:pt x="6" y="90"/>
                  </a:lnTo>
                  <a:lnTo>
                    <a:pt x="8" y="92"/>
                  </a:lnTo>
                  <a:lnTo>
                    <a:pt x="8" y="94"/>
                  </a:lnTo>
                  <a:lnTo>
                    <a:pt x="10" y="96"/>
                  </a:lnTo>
                  <a:lnTo>
                    <a:pt x="12" y="98"/>
                  </a:lnTo>
                  <a:lnTo>
                    <a:pt x="14" y="100"/>
                  </a:lnTo>
                  <a:lnTo>
                    <a:pt x="14" y="100"/>
                  </a:lnTo>
                  <a:lnTo>
                    <a:pt x="16" y="100"/>
                  </a:lnTo>
                  <a:lnTo>
                    <a:pt x="16" y="100"/>
                  </a:lnTo>
                  <a:lnTo>
                    <a:pt x="18" y="100"/>
                  </a:lnTo>
                  <a:lnTo>
                    <a:pt x="18" y="100"/>
                  </a:lnTo>
                  <a:lnTo>
                    <a:pt x="20" y="100"/>
                  </a:lnTo>
                  <a:lnTo>
                    <a:pt x="22" y="100"/>
                  </a:lnTo>
                  <a:lnTo>
                    <a:pt x="22" y="100"/>
                  </a:lnTo>
                  <a:lnTo>
                    <a:pt x="24" y="98"/>
                  </a:lnTo>
                  <a:lnTo>
                    <a:pt x="26" y="96"/>
                  </a:lnTo>
                  <a:lnTo>
                    <a:pt x="28" y="94"/>
                  </a:lnTo>
                  <a:lnTo>
                    <a:pt x="30" y="92"/>
                  </a:lnTo>
                  <a:lnTo>
                    <a:pt x="32" y="90"/>
                  </a:lnTo>
                  <a:lnTo>
                    <a:pt x="32" y="90"/>
                  </a:lnTo>
                  <a:lnTo>
                    <a:pt x="34" y="88"/>
                  </a:lnTo>
                  <a:lnTo>
                    <a:pt x="34" y="88"/>
                  </a:lnTo>
                  <a:lnTo>
                    <a:pt x="34" y="86"/>
                  </a:lnTo>
                  <a:lnTo>
                    <a:pt x="34" y="84"/>
                  </a:lnTo>
                  <a:lnTo>
                    <a:pt x="34" y="82"/>
                  </a:lnTo>
                  <a:lnTo>
                    <a:pt x="34" y="80"/>
                  </a:lnTo>
                  <a:lnTo>
                    <a:pt x="32" y="76"/>
                  </a:lnTo>
                  <a:lnTo>
                    <a:pt x="32" y="74"/>
                  </a:lnTo>
                  <a:lnTo>
                    <a:pt x="30" y="68"/>
                  </a:lnTo>
                  <a:lnTo>
                    <a:pt x="28" y="62"/>
                  </a:lnTo>
                  <a:lnTo>
                    <a:pt x="26" y="56"/>
                  </a:lnTo>
                  <a:lnTo>
                    <a:pt x="26" y="54"/>
                  </a:lnTo>
                  <a:lnTo>
                    <a:pt x="26" y="52"/>
                  </a:lnTo>
                  <a:lnTo>
                    <a:pt x="24" y="50"/>
                  </a:lnTo>
                  <a:lnTo>
                    <a:pt x="24" y="48"/>
                  </a:lnTo>
                  <a:lnTo>
                    <a:pt x="24" y="44"/>
                  </a:lnTo>
                  <a:lnTo>
                    <a:pt x="24" y="40"/>
                  </a:lnTo>
                  <a:lnTo>
                    <a:pt x="24" y="36"/>
                  </a:lnTo>
                  <a:lnTo>
                    <a:pt x="24" y="34"/>
                  </a:lnTo>
                  <a:lnTo>
                    <a:pt x="24" y="32"/>
                  </a:lnTo>
                  <a:lnTo>
                    <a:pt x="26" y="32"/>
                  </a:lnTo>
                  <a:lnTo>
                    <a:pt x="26" y="32"/>
                  </a:lnTo>
                  <a:lnTo>
                    <a:pt x="26" y="30"/>
                  </a:lnTo>
                  <a:lnTo>
                    <a:pt x="26" y="30"/>
                  </a:lnTo>
                  <a:lnTo>
                    <a:pt x="28" y="30"/>
                  </a:lnTo>
                  <a:lnTo>
                    <a:pt x="30" y="28"/>
                  </a:lnTo>
                  <a:lnTo>
                    <a:pt x="32" y="28"/>
                  </a:lnTo>
                  <a:lnTo>
                    <a:pt x="34" y="26"/>
                  </a:lnTo>
                  <a:lnTo>
                    <a:pt x="36" y="26"/>
                  </a:lnTo>
                  <a:lnTo>
                    <a:pt x="38" y="24"/>
                  </a:lnTo>
                  <a:lnTo>
                    <a:pt x="40" y="24"/>
                  </a:lnTo>
                  <a:lnTo>
                    <a:pt x="40" y="24"/>
                  </a:lnTo>
                  <a:lnTo>
                    <a:pt x="40" y="22"/>
                  </a:lnTo>
                  <a:lnTo>
                    <a:pt x="42" y="22"/>
                  </a:lnTo>
                  <a:lnTo>
                    <a:pt x="42" y="20"/>
                  </a:lnTo>
                  <a:lnTo>
                    <a:pt x="42" y="18"/>
                  </a:lnTo>
                  <a:lnTo>
                    <a:pt x="44" y="16"/>
                  </a:lnTo>
                  <a:lnTo>
                    <a:pt x="44" y="16"/>
                  </a:lnTo>
                  <a:lnTo>
                    <a:pt x="44" y="14"/>
                  </a:lnTo>
                  <a:lnTo>
                    <a:pt x="44" y="14"/>
                  </a:lnTo>
                  <a:lnTo>
                    <a:pt x="44" y="14"/>
                  </a:lnTo>
                  <a:lnTo>
                    <a:pt x="42" y="12"/>
                  </a:lnTo>
                  <a:lnTo>
                    <a:pt x="42" y="12"/>
                  </a:lnTo>
                  <a:lnTo>
                    <a:pt x="40" y="10"/>
                  </a:lnTo>
                  <a:lnTo>
                    <a:pt x="40" y="8"/>
                  </a:lnTo>
                  <a:lnTo>
                    <a:pt x="38" y="6"/>
                  </a:lnTo>
                  <a:lnTo>
                    <a:pt x="36" y="4"/>
                  </a:lnTo>
                  <a:lnTo>
                    <a:pt x="36" y="2"/>
                  </a:lnTo>
                  <a:lnTo>
                    <a:pt x="34" y="2"/>
                  </a:lnTo>
                  <a:lnTo>
                    <a:pt x="34" y="0"/>
                  </a:lnTo>
                  <a:lnTo>
                    <a:pt x="34" y="0"/>
                  </a:lnTo>
                  <a:lnTo>
                    <a:pt x="34" y="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1" name="Freeform 593">
              <a:extLst>
                <a:ext uri="{FF2B5EF4-FFF2-40B4-BE49-F238E27FC236}">
                  <a16:creationId xmlns:a16="http://schemas.microsoft.com/office/drawing/2014/main" id="{A663102B-3BA0-476C-82AD-0F4ECBE4BB41}"/>
                </a:ext>
              </a:extLst>
            </p:cNvPr>
            <p:cNvSpPr>
              <a:spLocks/>
            </p:cNvSpPr>
            <p:nvPr/>
          </p:nvSpPr>
          <p:spPr bwMode="auto">
            <a:xfrm>
              <a:off x="2176865" y="3250158"/>
              <a:ext cx="76211" cy="173207"/>
            </a:xfrm>
            <a:custGeom>
              <a:avLst/>
              <a:gdLst>
                <a:gd name="T0" fmla="*/ 34 w 44"/>
                <a:gd name="T1" fmla="*/ 4 h 100"/>
                <a:gd name="T2" fmla="*/ 32 w 44"/>
                <a:gd name="T3" fmla="*/ 6 h 100"/>
                <a:gd name="T4" fmla="*/ 28 w 44"/>
                <a:gd name="T5" fmla="*/ 6 h 100"/>
                <a:gd name="T6" fmla="*/ 20 w 44"/>
                <a:gd name="T7" fmla="*/ 6 h 100"/>
                <a:gd name="T8" fmla="*/ 16 w 44"/>
                <a:gd name="T9" fmla="*/ 8 h 100"/>
                <a:gd name="T10" fmla="*/ 10 w 44"/>
                <a:gd name="T11" fmla="*/ 16 h 100"/>
                <a:gd name="T12" fmla="*/ 6 w 44"/>
                <a:gd name="T13" fmla="*/ 22 h 100"/>
                <a:gd name="T14" fmla="*/ 2 w 44"/>
                <a:gd name="T15" fmla="*/ 28 h 100"/>
                <a:gd name="T16" fmla="*/ 0 w 44"/>
                <a:gd name="T17" fmla="*/ 32 h 100"/>
                <a:gd name="T18" fmla="*/ 0 w 44"/>
                <a:gd name="T19" fmla="*/ 34 h 100"/>
                <a:gd name="T20" fmla="*/ 2 w 44"/>
                <a:gd name="T21" fmla="*/ 36 h 100"/>
                <a:gd name="T22" fmla="*/ 6 w 44"/>
                <a:gd name="T23" fmla="*/ 32 h 100"/>
                <a:gd name="T24" fmla="*/ 10 w 44"/>
                <a:gd name="T25" fmla="*/ 28 h 100"/>
                <a:gd name="T26" fmla="*/ 12 w 44"/>
                <a:gd name="T27" fmla="*/ 26 h 100"/>
                <a:gd name="T28" fmla="*/ 12 w 44"/>
                <a:gd name="T29" fmla="*/ 28 h 100"/>
                <a:gd name="T30" fmla="*/ 12 w 44"/>
                <a:gd name="T31" fmla="*/ 30 h 100"/>
                <a:gd name="T32" fmla="*/ 10 w 44"/>
                <a:gd name="T33" fmla="*/ 38 h 100"/>
                <a:gd name="T34" fmla="*/ 8 w 44"/>
                <a:gd name="T35" fmla="*/ 46 h 100"/>
                <a:gd name="T36" fmla="*/ 6 w 44"/>
                <a:gd name="T37" fmla="*/ 58 h 100"/>
                <a:gd name="T38" fmla="*/ 4 w 44"/>
                <a:gd name="T39" fmla="*/ 72 h 100"/>
                <a:gd name="T40" fmla="*/ 2 w 44"/>
                <a:gd name="T41" fmla="*/ 82 h 100"/>
                <a:gd name="T42" fmla="*/ 4 w 44"/>
                <a:gd name="T43" fmla="*/ 86 h 100"/>
                <a:gd name="T44" fmla="*/ 8 w 44"/>
                <a:gd name="T45" fmla="*/ 92 h 100"/>
                <a:gd name="T46" fmla="*/ 12 w 44"/>
                <a:gd name="T47" fmla="*/ 98 h 100"/>
                <a:gd name="T48" fmla="*/ 16 w 44"/>
                <a:gd name="T49" fmla="*/ 100 h 100"/>
                <a:gd name="T50" fmla="*/ 18 w 44"/>
                <a:gd name="T51" fmla="*/ 100 h 100"/>
                <a:gd name="T52" fmla="*/ 22 w 44"/>
                <a:gd name="T53" fmla="*/ 100 h 100"/>
                <a:gd name="T54" fmla="*/ 28 w 44"/>
                <a:gd name="T55" fmla="*/ 94 h 100"/>
                <a:gd name="T56" fmla="*/ 32 w 44"/>
                <a:gd name="T57" fmla="*/ 90 h 100"/>
                <a:gd name="T58" fmla="*/ 34 w 44"/>
                <a:gd name="T59" fmla="*/ 86 h 100"/>
                <a:gd name="T60" fmla="*/ 34 w 44"/>
                <a:gd name="T61" fmla="*/ 80 h 100"/>
                <a:gd name="T62" fmla="*/ 30 w 44"/>
                <a:gd name="T63" fmla="*/ 68 h 100"/>
                <a:gd name="T64" fmla="*/ 26 w 44"/>
                <a:gd name="T65" fmla="*/ 54 h 100"/>
                <a:gd name="T66" fmla="*/ 24 w 44"/>
                <a:gd name="T67" fmla="*/ 48 h 100"/>
                <a:gd name="T68" fmla="*/ 24 w 44"/>
                <a:gd name="T69" fmla="*/ 36 h 100"/>
                <a:gd name="T70" fmla="*/ 26 w 44"/>
                <a:gd name="T71" fmla="*/ 32 h 100"/>
                <a:gd name="T72" fmla="*/ 26 w 44"/>
                <a:gd name="T73" fmla="*/ 30 h 100"/>
                <a:gd name="T74" fmla="*/ 32 w 44"/>
                <a:gd name="T75" fmla="*/ 28 h 100"/>
                <a:gd name="T76" fmla="*/ 38 w 44"/>
                <a:gd name="T77" fmla="*/ 24 h 100"/>
                <a:gd name="T78" fmla="*/ 40 w 44"/>
                <a:gd name="T79" fmla="*/ 22 h 100"/>
                <a:gd name="T80" fmla="*/ 42 w 44"/>
                <a:gd name="T81" fmla="*/ 18 h 100"/>
                <a:gd name="T82" fmla="*/ 44 w 44"/>
                <a:gd name="T83" fmla="*/ 14 h 100"/>
                <a:gd name="T84" fmla="*/ 42 w 44"/>
                <a:gd name="T85" fmla="*/ 12 h 100"/>
                <a:gd name="T86" fmla="*/ 40 w 44"/>
                <a:gd name="T87" fmla="*/ 8 h 100"/>
                <a:gd name="T88" fmla="*/ 36 w 44"/>
                <a:gd name="T89" fmla="*/ 2 h 100"/>
                <a:gd name="T90" fmla="*/ 34 w 44"/>
                <a:gd name="T9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 h="100">
                  <a:moveTo>
                    <a:pt x="34" y="4"/>
                  </a:moveTo>
                  <a:lnTo>
                    <a:pt x="34" y="4"/>
                  </a:lnTo>
                  <a:lnTo>
                    <a:pt x="34" y="4"/>
                  </a:lnTo>
                  <a:lnTo>
                    <a:pt x="34" y="4"/>
                  </a:lnTo>
                  <a:lnTo>
                    <a:pt x="34" y="4"/>
                  </a:lnTo>
                  <a:lnTo>
                    <a:pt x="32" y="6"/>
                  </a:lnTo>
                  <a:lnTo>
                    <a:pt x="32" y="6"/>
                  </a:lnTo>
                  <a:lnTo>
                    <a:pt x="30" y="6"/>
                  </a:lnTo>
                  <a:lnTo>
                    <a:pt x="28" y="6"/>
                  </a:lnTo>
                  <a:lnTo>
                    <a:pt x="24" y="6"/>
                  </a:lnTo>
                  <a:lnTo>
                    <a:pt x="20" y="6"/>
                  </a:lnTo>
                  <a:lnTo>
                    <a:pt x="20" y="6"/>
                  </a:lnTo>
                  <a:lnTo>
                    <a:pt x="20" y="6"/>
                  </a:lnTo>
                  <a:lnTo>
                    <a:pt x="18" y="8"/>
                  </a:lnTo>
                  <a:lnTo>
                    <a:pt x="16" y="8"/>
                  </a:lnTo>
                  <a:lnTo>
                    <a:pt x="14" y="10"/>
                  </a:lnTo>
                  <a:lnTo>
                    <a:pt x="12" y="12"/>
                  </a:lnTo>
                  <a:lnTo>
                    <a:pt x="10" y="16"/>
                  </a:lnTo>
                  <a:lnTo>
                    <a:pt x="8" y="18"/>
                  </a:lnTo>
                  <a:lnTo>
                    <a:pt x="6" y="20"/>
                  </a:lnTo>
                  <a:lnTo>
                    <a:pt x="6" y="22"/>
                  </a:lnTo>
                  <a:lnTo>
                    <a:pt x="4" y="24"/>
                  </a:lnTo>
                  <a:lnTo>
                    <a:pt x="2" y="26"/>
                  </a:lnTo>
                  <a:lnTo>
                    <a:pt x="2" y="28"/>
                  </a:lnTo>
                  <a:lnTo>
                    <a:pt x="0" y="30"/>
                  </a:lnTo>
                  <a:lnTo>
                    <a:pt x="0" y="32"/>
                  </a:lnTo>
                  <a:lnTo>
                    <a:pt x="0" y="32"/>
                  </a:lnTo>
                  <a:lnTo>
                    <a:pt x="0" y="34"/>
                  </a:lnTo>
                  <a:lnTo>
                    <a:pt x="0" y="34"/>
                  </a:lnTo>
                  <a:lnTo>
                    <a:pt x="0" y="34"/>
                  </a:lnTo>
                  <a:lnTo>
                    <a:pt x="2" y="36"/>
                  </a:lnTo>
                  <a:lnTo>
                    <a:pt x="2" y="36"/>
                  </a:lnTo>
                  <a:lnTo>
                    <a:pt x="2" y="36"/>
                  </a:lnTo>
                  <a:lnTo>
                    <a:pt x="2" y="34"/>
                  </a:lnTo>
                  <a:lnTo>
                    <a:pt x="4" y="34"/>
                  </a:lnTo>
                  <a:lnTo>
                    <a:pt x="6" y="32"/>
                  </a:lnTo>
                  <a:lnTo>
                    <a:pt x="6" y="30"/>
                  </a:lnTo>
                  <a:lnTo>
                    <a:pt x="8" y="28"/>
                  </a:lnTo>
                  <a:lnTo>
                    <a:pt x="10" y="28"/>
                  </a:lnTo>
                  <a:lnTo>
                    <a:pt x="10" y="26"/>
                  </a:lnTo>
                  <a:lnTo>
                    <a:pt x="10" y="26"/>
                  </a:lnTo>
                  <a:lnTo>
                    <a:pt x="12" y="26"/>
                  </a:lnTo>
                  <a:lnTo>
                    <a:pt x="12" y="26"/>
                  </a:lnTo>
                  <a:lnTo>
                    <a:pt x="12" y="26"/>
                  </a:lnTo>
                  <a:lnTo>
                    <a:pt x="12" y="28"/>
                  </a:lnTo>
                  <a:lnTo>
                    <a:pt x="12" y="28"/>
                  </a:lnTo>
                  <a:lnTo>
                    <a:pt x="12" y="30"/>
                  </a:lnTo>
                  <a:lnTo>
                    <a:pt x="12" y="30"/>
                  </a:lnTo>
                  <a:lnTo>
                    <a:pt x="12" y="32"/>
                  </a:lnTo>
                  <a:lnTo>
                    <a:pt x="12" y="34"/>
                  </a:lnTo>
                  <a:lnTo>
                    <a:pt x="10" y="38"/>
                  </a:lnTo>
                  <a:lnTo>
                    <a:pt x="10" y="40"/>
                  </a:lnTo>
                  <a:lnTo>
                    <a:pt x="8" y="44"/>
                  </a:lnTo>
                  <a:lnTo>
                    <a:pt x="8" y="46"/>
                  </a:lnTo>
                  <a:lnTo>
                    <a:pt x="6" y="52"/>
                  </a:lnTo>
                  <a:lnTo>
                    <a:pt x="6" y="54"/>
                  </a:lnTo>
                  <a:lnTo>
                    <a:pt x="6" y="58"/>
                  </a:lnTo>
                  <a:lnTo>
                    <a:pt x="4" y="64"/>
                  </a:lnTo>
                  <a:lnTo>
                    <a:pt x="4" y="68"/>
                  </a:lnTo>
                  <a:lnTo>
                    <a:pt x="4" y="72"/>
                  </a:lnTo>
                  <a:lnTo>
                    <a:pt x="2" y="76"/>
                  </a:lnTo>
                  <a:lnTo>
                    <a:pt x="2" y="80"/>
                  </a:lnTo>
                  <a:lnTo>
                    <a:pt x="2" y="82"/>
                  </a:lnTo>
                  <a:lnTo>
                    <a:pt x="4" y="82"/>
                  </a:lnTo>
                  <a:lnTo>
                    <a:pt x="4" y="84"/>
                  </a:lnTo>
                  <a:lnTo>
                    <a:pt x="4" y="86"/>
                  </a:lnTo>
                  <a:lnTo>
                    <a:pt x="4" y="88"/>
                  </a:lnTo>
                  <a:lnTo>
                    <a:pt x="6" y="90"/>
                  </a:lnTo>
                  <a:lnTo>
                    <a:pt x="8" y="92"/>
                  </a:lnTo>
                  <a:lnTo>
                    <a:pt x="8" y="94"/>
                  </a:lnTo>
                  <a:lnTo>
                    <a:pt x="10" y="96"/>
                  </a:lnTo>
                  <a:lnTo>
                    <a:pt x="12" y="98"/>
                  </a:lnTo>
                  <a:lnTo>
                    <a:pt x="14" y="100"/>
                  </a:lnTo>
                  <a:lnTo>
                    <a:pt x="14" y="100"/>
                  </a:lnTo>
                  <a:lnTo>
                    <a:pt x="16" y="100"/>
                  </a:lnTo>
                  <a:lnTo>
                    <a:pt x="16" y="100"/>
                  </a:lnTo>
                  <a:lnTo>
                    <a:pt x="18" y="100"/>
                  </a:lnTo>
                  <a:lnTo>
                    <a:pt x="18" y="100"/>
                  </a:lnTo>
                  <a:lnTo>
                    <a:pt x="20" y="100"/>
                  </a:lnTo>
                  <a:lnTo>
                    <a:pt x="22" y="100"/>
                  </a:lnTo>
                  <a:lnTo>
                    <a:pt x="22" y="100"/>
                  </a:lnTo>
                  <a:lnTo>
                    <a:pt x="24" y="98"/>
                  </a:lnTo>
                  <a:lnTo>
                    <a:pt x="26" y="96"/>
                  </a:lnTo>
                  <a:lnTo>
                    <a:pt x="28" y="94"/>
                  </a:lnTo>
                  <a:lnTo>
                    <a:pt x="30" y="92"/>
                  </a:lnTo>
                  <a:lnTo>
                    <a:pt x="32" y="90"/>
                  </a:lnTo>
                  <a:lnTo>
                    <a:pt x="32" y="90"/>
                  </a:lnTo>
                  <a:lnTo>
                    <a:pt x="34" y="88"/>
                  </a:lnTo>
                  <a:lnTo>
                    <a:pt x="34" y="88"/>
                  </a:lnTo>
                  <a:lnTo>
                    <a:pt x="34" y="86"/>
                  </a:lnTo>
                  <a:lnTo>
                    <a:pt x="34" y="84"/>
                  </a:lnTo>
                  <a:lnTo>
                    <a:pt x="34" y="82"/>
                  </a:lnTo>
                  <a:lnTo>
                    <a:pt x="34" y="80"/>
                  </a:lnTo>
                  <a:lnTo>
                    <a:pt x="32" y="76"/>
                  </a:lnTo>
                  <a:lnTo>
                    <a:pt x="32" y="74"/>
                  </a:lnTo>
                  <a:lnTo>
                    <a:pt x="30" y="68"/>
                  </a:lnTo>
                  <a:lnTo>
                    <a:pt x="28" y="62"/>
                  </a:lnTo>
                  <a:lnTo>
                    <a:pt x="26" y="56"/>
                  </a:lnTo>
                  <a:lnTo>
                    <a:pt x="26" y="54"/>
                  </a:lnTo>
                  <a:lnTo>
                    <a:pt x="26" y="52"/>
                  </a:lnTo>
                  <a:lnTo>
                    <a:pt x="24" y="50"/>
                  </a:lnTo>
                  <a:lnTo>
                    <a:pt x="24" y="48"/>
                  </a:lnTo>
                  <a:lnTo>
                    <a:pt x="24" y="44"/>
                  </a:lnTo>
                  <a:lnTo>
                    <a:pt x="24" y="40"/>
                  </a:lnTo>
                  <a:lnTo>
                    <a:pt x="24" y="36"/>
                  </a:lnTo>
                  <a:lnTo>
                    <a:pt x="24" y="34"/>
                  </a:lnTo>
                  <a:lnTo>
                    <a:pt x="24" y="32"/>
                  </a:lnTo>
                  <a:lnTo>
                    <a:pt x="26" y="32"/>
                  </a:lnTo>
                  <a:lnTo>
                    <a:pt x="26" y="32"/>
                  </a:lnTo>
                  <a:lnTo>
                    <a:pt x="26" y="30"/>
                  </a:lnTo>
                  <a:lnTo>
                    <a:pt x="26" y="30"/>
                  </a:lnTo>
                  <a:lnTo>
                    <a:pt x="28" y="30"/>
                  </a:lnTo>
                  <a:lnTo>
                    <a:pt x="30" y="28"/>
                  </a:lnTo>
                  <a:lnTo>
                    <a:pt x="32" y="28"/>
                  </a:lnTo>
                  <a:lnTo>
                    <a:pt x="34" y="26"/>
                  </a:lnTo>
                  <a:lnTo>
                    <a:pt x="36" y="26"/>
                  </a:lnTo>
                  <a:lnTo>
                    <a:pt x="38" y="24"/>
                  </a:lnTo>
                  <a:lnTo>
                    <a:pt x="40" y="24"/>
                  </a:lnTo>
                  <a:lnTo>
                    <a:pt x="40" y="24"/>
                  </a:lnTo>
                  <a:lnTo>
                    <a:pt x="40" y="22"/>
                  </a:lnTo>
                  <a:lnTo>
                    <a:pt x="42" y="22"/>
                  </a:lnTo>
                  <a:lnTo>
                    <a:pt x="42" y="20"/>
                  </a:lnTo>
                  <a:lnTo>
                    <a:pt x="42" y="18"/>
                  </a:lnTo>
                  <a:lnTo>
                    <a:pt x="44" y="16"/>
                  </a:lnTo>
                  <a:lnTo>
                    <a:pt x="44" y="16"/>
                  </a:lnTo>
                  <a:lnTo>
                    <a:pt x="44" y="14"/>
                  </a:lnTo>
                  <a:lnTo>
                    <a:pt x="44" y="14"/>
                  </a:lnTo>
                  <a:lnTo>
                    <a:pt x="44" y="14"/>
                  </a:lnTo>
                  <a:lnTo>
                    <a:pt x="42" y="12"/>
                  </a:lnTo>
                  <a:lnTo>
                    <a:pt x="42" y="12"/>
                  </a:lnTo>
                  <a:lnTo>
                    <a:pt x="40" y="10"/>
                  </a:lnTo>
                  <a:lnTo>
                    <a:pt x="40" y="8"/>
                  </a:lnTo>
                  <a:lnTo>
                    <a:pt x="38" y="6"/>
                  </a:lnTo>
                  <a:lnTo>
                    <a:pt x="36" y="4"/>
                  </a:lnTo>
                  <a:lnTo>
                    <a:pt x="36" y="2"/>
                  </a:lnTo>
                  <a:lnTo>
                    <a:pt x="34" y="2"/>
                  </a:lnTo>
                  <a:lnTo>
                    <a:pt x="34" y="0"/>
                  </a:lnTo>
                  <a:lnTo>
                    <a:pt x="34" y="0"/>
                  </a:lnTo>
                  <a:lnTo>
                    <a:pt x="34" y="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2" name="Freeform 594">
              <a:extLst>
                <a:ext uri="{FF2B5EF4-FFF2-40B4-BE49-F238E27FC236}">
                  <a16:creationId xmlns:a16="http://schemas.microsoft.com/office/drawing/2014/main" id="{4915BF1E-720D-4F05-97F1-55FFBC14BF08}"/>
                </a:ext>
              </a:extLst>
            </p:cNvPr>
            <p:cNvSpPr>
              <a:spLocks/>
            </p:cNvSpPr>
            <p:nvPr/>
          </p:nvSpPr>
          <p:spPr bwMode="auto">
            <a:xfrm>
              <a:off x="2176865" y="3250158"/>
              <a:ext cx="76211" cy="173207"/>
            </a:xfrm>
            <a:custGeom>
              <a:avLst/>
              <a:gdLst>
                <a:gd name="T0" fmla="*/ 34 w 44"/>
                <a:gd name="T1" fmla="*/ 4 h 100"/>
                <a:gd name="T2" fmla="*/ 32 w 44"/>
                <a:gd name="T3" fmla="*/ 6 h 100"/>
                <a:gd name="T4" fmla="*/ 28 w 44"/>
                <a:gd name="T5" fmla="*/ 6 h 100"/>
                <a:gd name="T6" fmla="*/ 20 w 44"/>
                <a:gd name="T7" fmla="*/ 6 h 100"/>
                <a:gd name="T8" fmla="*/ 16 w 44"/>
                <a:gd name="T9" fmla="*/ 8 h 100"/>
                <a:gd name="T10" fmla="*/ 10 w 44"/>
                <a:gd name="T11" fmla="*/ 16 h 100"/>
                <a:gd name="T12" fmla="*/ 6 w 44"/>
                <a:gd name="T13" fmla="*/ 22 h 100"/>
                <a:gd name="T14" fmla="*/ 2 w 44"/>
                <a:gd name="T15" fmla="*/ 28 h 100"/>
                <a:gd name="T16" fmla="*/ 0 w 44"/>
                <a:gd name="T17" fmla="*/ 32 h 100"/>
                <a:gd name="T18" fmla="*/ 0 w 44"/>
                <a:gd name="T19" fmla="*/ 34 h 100"/>
                <a:gd name="T20" fmla="*/ 2 w 44"/>
                <a:gd name="T21" fmla="*/ 36 h 100"/>
                <a:gd name="T22" fmla="*/ 6 w 44"/>
                <a:gd name="T23" fmla="*/ 32 h 100"/>
                <a:gd name="T24" fmla="*/ 10 w 44"/>
                <a:gd name="T25" fmla="*/ 28 h 100"/>
                <a:gd name="T26" fmla="*/ 12 w 44"/>
                <a:gd name="T27" fmla="*/ 26 h 100"/>
                <a:gd name="T28" fmla="*/ 12 w 44"/>
                <a:gd name="T29" fmla="*/ 28 h 100"/>
                <a:gd name="T30" fmla="*/ 12 w 44"/>
                <a:gd name="T31" fmla="*/ 30 h 100"/>
                <a:gd name="T32" fmla="*/ 10 w 44"/>
                <a:gd name="T33" fmla="*/ 38 h 100"/>
                <a:gd name="T34" fmla="*/ 8 w 44"/>
                <a:gd name="T35" fmla="*/ 46 h 100"/>
                <a:gd name="T36" fmla="*/ 6 w 44"/>
                <a:gd name="T37" fmla="*/ 58 h 100"/>
                <a:gd name="T38" fmla="*/ 4 w 44"/>
                <a:gd name="T39" fmla="*/ 72 h 100"/>
                <a:gd name="T40" fmla="*/ 2 w 44"/>
                <a:gd name="T41" fmla="*/ 82 h 100"/>
                <a:gd name="T42" fmla="*/ 4 w 44"/>
                <a:gd name="T43" fmla="*/ 86 h 100"/>
                <a:gd name="T44" fmla="*/ 8 w 44"/>
                <a:gd name="T45" fmla="*/ 92 h 100"/>
                <a:gd name="T46" fmla="*/ 12 w 44"/>
                <a:gd name="T47" fmla="*/ 98 h 100"/>
                <a:gd name="T48" fmla="*/ 16 w 44"/>
                <a:gd name="T49" fmla="*/ 100 h 100"/>
                <a:gd name="T50" fmla="*/ 18 w 44"/>
                <a:gd name="T51" fmla="*/ 100 h 100"/>
                <a:gd name="T52" fmla="*/ 22 w 44"/>
                <a:gd name="T53" fmla="*/ 100 h 100"/>
                <a:gd name="T54" fmla="*/ 28 w 44"/>
                <a:gd name="T55" fmla="*/ 94 h 100"/>
                <a:gd name="T56" fmla="*/ 32 w 44"/>
                <a:gd name="T57" fmla="*/ 90 h 100"/>
                <a:gd name="T58" fmla="*/ 34 w 44"/>
                <a:gd name="T59" fmla="*/ 86 h 100"/>
                <a:gd name="T60" fmla="*/ 34 w 44"/>
                <a:gd name="T61" fmla="*/ 80 h 100"/>
                <a:gd name="T62" fmla="*/ 30 w 44"/>
                <a:gd name="T63" fmla="*/ 68 h 100"/>
                <a:gd name="T64" fmla="*/ 26 w 44"/>
                <a:gd name="T65" fmla="*/ 54 h 100"/>
                <a:gd name="T66" fmla="*/ 24 w 44"/>
                <a:gd name="T67" fmla="*/ 48 h 100"/>
                <a:gd name="T68" fmla="*/ 24 w 44"/>
                <a:gd name="T69" fmla="*/ 36 h 100"/>
                <a:gd name="T70" fmla="*/ 26 w 44"/>
                <a:gd name="T71" fmla="*/ 32 h 100"/>
                <a:gd name="T72" fmla="*/ 26 w 44"/>
                <a:gd name="T73" fmla="*/ 30 h 100"/>
                <a:gd name="T74" fmla="*/ 32 w 44"/>
                <a:gd name="T75" fmla="*/ 28 h 100"/>
                <a:gd name="T76" fmla="*/ 38 w 44"/>
                <a:gd name="T77" fmla="*/ 24 h 100"/>
                <a:gd name="T78" fmla="*/ 40 w 44"/>
                <a:gd name="T79" fmla="*/ 22 h 100"/>
                <a:gd name="T80" fmla="*/ 42 w 44"/>
                <a:gd name="T81" fmla="*/ 18 h 100"/>
                <a:gd name="T82" fmla="*/ 44 w 44"/>
                <a:gd name="T83" fmla="*/ 14 h 100"/>
                <a:gd name="T84" fmla="*/ 42 w 44"/>
                <a:gd name="T85" fmla="*/ 12 h 100"/>
                <a:gd name="T86" fmla="*/ 40 w 44"/>
                <a:gd name="T87" fmla="*/ 8 h 100"/>
                <a:gd name="T88" fmla="*/ 36 w 44"/>
                <a:gd name="T89" fmla="*/ 2 h 100"/>
                <a:gd name="T90" fmla="*/ 34 w 44"/>
                <a:gd name="T9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 h="100">
                  <a:moveTo>
                    <a:pt x="34" y="4"/>
                  </a:moveTo>
                  <a:lnTo>
                    <a:pt x="34" y="4"/>
                  </a:lnTo>
                  <a:lnTo>
                    <a:pt x="34" y="4"/>
                  </a:lnTo>
                  <a:lnTo>
                    <a:pt x="34" y="4"/>
                  </a:lnTo>
                  <a:lnTo>
                    <a:pt x="34" y="4"/>
                  </a:lnTo>
                  <a:lnTo>
                    <a:pt x="32" y="6"/>
                  </a:lnTo>
                  <a:lnTo>
                    <a:pt x="32" y="6"/>
                  </a:lnTo>
                  <a:lnTo>
                    <a:pt x="30" y="6"/>
                  </a:lnTo>
                  <a:lnTo>
                    <a:pt x="28" y="6"/>
                  </a:lnTo>
                  <a:lnTo>
                    <a:pt x="24" y="6"/>
                  </a:lnTo>
                  <a:lnTo>
                    <a:pt x="20" y="6"/>
                  </a:lnTo>
                  <a:lnTo>
                    <a:pt x="20" y="6"/>
                  </a:lnTo>
                  <a:lnTo>
                    <a:pt x="20" y="6"/>
                  </a:lnTo>
                  <a:lnTo>
                    <a:pt x="18" y="8"/>
                  </a:lnTo>
                  <a:lnTo>
                    <a:pt x="16" y="8"/>
                  </a:lnTo>
                  <a:lnTo>
                    <a:pt x="14" y="10"/>
                  </a:lnTo>
                  <a:lnTo>
                    <a:pt x="12" y="12"/>
                  </a:lnTo>
                  <a:lnTo>
                    <a:pt x="10" y="16"/>
                  </a:lnTo>
                  <a:lnTo>
                    <a:pt x="8" y="18"/>
                  </a:lnTo>
                  <a:lnTo>
                    <a:pt x="6" y="20"/>
                  </a:lnTo>
                  <a:lnTo>
                    <a:pt x="6" y="22"/>
                  </a:lnTo>
                  <a:lnTo>
                    <a:pt x="4" y="24"/>
                  </a:lnTo>
                  <a:lnTo>
                    <a:pt x="2" y="26"/>
                  </a:lnTo>
                  <a:lnTo>
                    <a:pt x="2" y="28"/>
                  </a:lnTo>
                  <a:lnTo>
                    <a:pt x="0" y="30"/>
                  </a:lnTo>
                  <a:lnTo>
                    <a:pt x="0" y="32"/>
                  </a:lnTo>
                  <a:lnTo>
                    <a:pt x="0" y="32"/>
                  </a:lnTo>
                  <a:lnTo>
                    <a:pt x="0" y="34"/>
                  </a:lnTo>
                  <a:lnTo>
                    <a:pt x="0" y="34"/>
                  </a:lnTo>
                  <a:lnTo>
                    <a:pt x="0" y="34"/>
                  </a:lnTo>
                  <a:lnTo>
                    <a:pt x="2" y="36"/>
                  </a:lnTo>
                  <a:lnTo>
                    <a:pt x="2" y="36"/>
                  </a:lnTo>
                  <a:lnTo>
                    <a:pt x="2" y="36"/>
                  </a:lnTo>
                  <a:lnTo>
                    <a:pt x="2" y="34"/>
                  </a:lnTo>
                  <a:lnTo>
                    <a:pt x="4" y="34"/>
                  </a:lnTo>
                  <a:lnTo>
                    <a:pt x="6" y="32"/>
                  </a:lnTo>
                  <a:lnTo>
                    <a:pt x="6" y="30"/>
                  </a:lnTo>
                  <a:lnTo>
                    <a:pt x="8" y="28"/>
                  </a:lnTo>
                  <a:lnTo>
                    <a:pt x="10" y="28"/>
                  </a:lnTo>
                  <a:lnTo>
                    <a:pt x="10" y="26"/>
                  </a:lnTo>
                  <a:lnTo>
                    <a:pt x="10" y="26"/>
                  </a:lnTo>
                  <a:lnTo>
                    <a:pt x="12" y="26"/>
                  </a:lnTo>
                  <a:lnTo>
                    <a:pt x="12" y="26"/>
                  </a:lnTo>
                  <a:lnTo>
                    <a:pt x="12" y="26"/>
                  </a:lnTo>
                  <a:lnTo>
                    <a:pt x="12" y="28"/>
                  </a:lnTo>
                  <a:lnTo>
                    <a:pt x="12" y="28"/>
                  </a:lnTo>
                  <a:lnTo>
                    <a:pt x="12" y="30"/>
                  </a:lnTo>
                  <a:lnTo>
                    <a:pt x="12" y="30"/>
                  </a:lnTo>
                  <a:lnTo>
                    <a:pt x="12" y="32"/>
                  </a:lnTo>
                  <a:lnTo>
                    <a:pt x="12" y="34"/>
                  </a:lnTo>
                  <a:lnTo>
                    <a:pt x="10" y="38"/>
                  </a:lnTo>
                  <a:lnTo>
                    <a:pt x="10" y="40"/>
                  </a:lnTo>
                  <a:lnTo>
                    <a:pt x="8" y="44"/>
                  </a:lnTo>
                  <a:lnTo>
                    <a:pt x="8" y="46"/>
                  </a:lnTo>
                  <a:lnTo>
                    <a:pt x="6" y="52"/>
                  </a:lnTo>
                  <a:lnTo>
                    <a:pt x="6" y="54"/>
                  </a:lnTo>
                  <a:lnTo>
                    <a:pt x="6" y="58"/>
                  </a:lnTo>
                  <a:lnTo>
                    <a:pt x="4" y="64"/>
                  </a:lnTo>
                  <a:lnTo>
                    <a:pt x="4" y="68"/>
                  </a:lnTo>
                  <a:lnTo>
                    <a:pt x="4" y="72"/>
                  </a:lnTo>
                  <a:lnTo>
                    <a:pt x="2" y="76"/>
                  </a:lnTo>
                  <a:lnTo>
                    <a:pt x="2" y="80"/>
                  </a:lnTo>
                  <a:lnTo>
                    <a:pt x="2" y="82"/>
                  </a:lnTo>
                  <a:lnTo>
                    <a:pt x="4" y="82"/>
                  </a:lnTo>
                  <a:lnTo>
                    <a:pt x="4" y="84"/>
                  </a:lnTo>
                  <a:lnTo>
                    <a:pt x="4" y="86"/>
                  </a:lnTo>
                  <a:lnTo>
                    <a:pt x="4" y="88"/>
                  </a:lnTo>
                  <a:lnTo>
                    <a:pt x="6" y="90"/>
                  </a:lnTo>
                  <a:lnTo>
                    <a:pt x="8" y="92"/>
                  </a:lnTo>
                  <a:lnTo>
                    <a:pt x="8" y="94"/>
                  </a:lnTo>
                  <a:lnTo>
                    <a:pt x="10" y="96"/>
                  </a:lnTo>
                  <a:lnTo>
                    <a:pt x="12" y="98"/>
                  </a:lnTo>
                  <a:lnTo>
                    <a:pt x="14" y="100"/>
                  </a:lnTo>
                  <a:lnTo>
                    <a:pt x="14" y="100"/>
                  </a:lnTo>
                  <a:lnTo>
                    <a:pt x="16" y="100"/>
                  </a:lnTo>
                  <a:lnTo>
                    <a:pt x="16" y="100"/>
                  </a:lnTo>
                  <a:lnTo>
                    <a:pt x="18" y="100"/>
                  </a:lnTo>
                  <a:lnTo>
                    <a:pt x="18" y="100"/>
                  </a:lnTo>
                  <a:lnTo>
                    <a:pt x="20" y="100"/>
                  </a:lnTo>
                  <a:lnTo>
                    <a:pt x="22" y="100"/>
                  </a:lnTo>
                  <a:lnTo>
                    <a:pt x="22" y="100"/>
                  </a:lnTo>
                  <a:lnTo>
                    <a:pt x="24" y="98"/>
                  </a:lnTo>
                  <a:lnTo>
                    <a:pt x="26" y="96"/>
                  </a:lnTo>
                  <a:lnTo>
                    <a:pt x="28" y="94"/>
                  </a:lnTo>
                  <a:lnTo>
                    <a:pt x="30" y="92"/>
                  </a:lnTo>
                  <a:lnTo>
                    <a:pt x="32" y="90"/>
                  </a:lnTo>
                  <a:lnTo>
                    <a:pt x="32" y="90"/>
                  </a:lnTo>
                  <a:lnTo>
                    <a:pt x="34" y="88"/>
                  </a:lnTo>
                  <a:lnTo>
                    <a:pt x="34" y="88"/>
                  </a:lnTo>
                  <a:lnTo>
                    <a:pt x="34" y="86"/>
                  </a:lnTo>
                  <a:lnTo>
                    <a:pt x="34" y="84"/>
                  </a:lnTo>
                  <a:lnTo>
                    <a:pt x="34" y="82"/>
                  </a:lnTo>
                  <a:lnTo>
                    <a:pt x="34" y="80"/>
                  </a:lnTo>
                  <a:lnTo>
                    <a:pt x="32" y="76"/>
                  </a:lnTo>
                  <a:lnTo>
                    <a:pt x="32" y="74"/>
                  </a:lnTo>
                  <a:lnTo>
                    <a:pt x="30" y="68"/>
                  </a:lnTo>
                  <a:lnTo>
                    <a:pt x="28" y="62"/>
                  </a:lnTo>
                  <a:lnTo>
                    <a:pt x="26" y="56"/>
                  </a:lnTo>
                  <a:lnTo>
                    <a:pt x="26" y="54"/>
                  </a:lnTo>
                  <a:lnTo>
                    <a:pt x="26" y="52"/>
                  </a:lnTo>
                  <a:lnTo>
                    <a:pt x="24" y="50"/>
                  </a:lnTo>
                  <a:lnTo>
                    <a:pt x="24" y="48"/>
                  </a:lnTo>
                  <a:lnTo>
                    <a:pt x="24" y="44"/>
                  </a:lnTo>
                  <a:lnTo>
                    <a:pt x="24" y="40"/>
                  </a:lnTo>
                  <a:lnTo>
                    <a:pt x="24" y="36"/>
                  </a:lnTo>
                  <a:lnTo>
                    <a:pt x="24" y="34"/>
                  </a:lnTo>
                  <a:lnTo>
                    <a:pt x="24" y="32"/>
                  </a:lnTo>
                  <a:lnTo>
                    <a:pt x="26" y="32"/>
                  </a:lnTo>
                  <a:lnTo>
                    <a:pt x="26" y="32"/>
                  </a:lnTo>
                  <a:lnTo>
                    <a:pt x="26" y="30"/>
                  </a:lnTo>
                  <a:lnTo>
                    <a:pt x="26" y="30"/>
                  </a:lnTo>
                  <a:lnTo>
                    <a:pt x="28" y="30"/>
                  </a:lnTo>
                  <a:lnTo>
                    <a:pt x="30" y="28"/>
                  </a:lnTo>
                  <a:lnTo>
                    <a:pt x="32" y="28"/>
                  </a:lnTo>
                  <a:lnTo>
                    <a:pt x="34" y="26"/>
                  </a:lnTo>
                  <a:lnTo>
                    <a:pt x="36" y="26"/>
                  </a:lnTo>
                  <a:lnTo>
                    <a:pt x="38" y="24"/>
                  </a:lnTo>
                  <a:lnTo>
                    <a:pt x="40" y="24"/>
                  </a:lnTo>
                  <a:lnTo>
                    <a:pt x="40" y="24"/>
                  </a:lnTo>
                  <a:lnTo>
                    <a:pt x="40" y="22"/>
                  </a:lnTo>
                  <a:lnTo>
                    <a:pt x="42" y="22"/>
                  </a:lnTo>
                  <a:lnTo>
                    <a:pt x="42" y="20"/>
                  </a:lnTo>
                  <a:lnTo>
                    <a:pt x="42" y="18"/>
                  </a:lnTo>
                  <a:lnTo>
                    <a:pt x="44" y="16"/>
                  </a:lnTo>
                  <a:lnTo>
                    <a:pt x="44" y="16"/>
                  </a:lnTo>
                  <a:lnTo>
                    <a:pt x="44" y="14"/>
                  </a:lnTo>
                  <a:lnTo>
                    <a:pt x="44" y="14"/>
                  </a:lnTo>
                  <a:lnTo>
                    <a:pt x="44" y="14"/>
                  </a:lnTo>
                  <a:lnTo>
                    <a:pt x="42" y="12"/>
                  </a:lnTo>
                  <a:lnTo>
                    <a:pt x="42" y="12"/>
                  </a:lnTo>
                  <a:lnTo>
                    <a:pt x="40" y="10"/>
                  </a:lnTo>
                  <a:lnTo>
                    <a:pt x="40" y="8"/>
                  </a:lnTo>
                  <a:lnTo>
                    <a:pt x="38" y="6"/>
                  </a:lnTo>
                  <a:lnTo>
                    <a:pt x="36" y="4"/>
                  </a:lnTo>
                  <a:lnTo>
                    <a:pt x="36" y="2"/>
                  </a:lnTo>
                  <a:lnTo>
                    <a:pt x="34" y="2"/>
                  </a:lnTo>
                  <a:lnTo>
                    <a:pt x="34" y="0"/>
                  </a:lnTo>
                  <a:lnTo>
                    <a:pt x="34" y="0"/>
                  </a:lnTo>
                </a:path>
              </a:pathLst>
            </a:custGeom>
            <a:grp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3" name="Freeform 595">
              <a:extLst>
                <a:ext uri="{FF2B5EF4-FFF2-40B4-BE49-F238E27FC236}">
                  <a16:creationId xmlns:a16="http://schemas.microsoft.com/office/drawing/2014/main" id="{8A1CBE83-168F-429A-A23F-A4650C6B07ED}"/>
                </a:ext>
              </a:extLst>
            </p:cNvPr>
            <p:cNvSpPr>
              <a:spLocks/>
            </p:cNvSpPr>
            <p:nvPr/>
          </p:nvSpPr>
          <p:spPr bwMode="auto">
            <a:xfrm>
              <a:off x="2176865" y="3250158"/>
              <a:ext cx="76211" cy="173207"/>
            </a:xfrm>
            <a:custGeom>
              <a:avLst/>
              <a:gdLst>
                <a:gd name="T0" fmla="*/ 34 w 44"/>
                <a:gd name="T1" fmla="*/ 4 h 100"/>
                <a:gd name="T2" fmla="*/ 32 w 44"/>
                <a:gd name="T3" fmla="*/ 6 h 100"/>
                <a:gd name="T4" fmla="*/ 28 w 44"/>
                <a:gd name="T5" fmla="*/ 6 h 100"/>
                <a:gd name="T6" fmla="*/ 20 w 44"/>
                <a:gd name="T7" fmla="*/ 6 h 100"/>
                <a:gd name="T8" fmla="*/ 16 w 44"/>
                <a:gd name="T9" fmla="*/ 8 h 100"/>
                <a:gd name="T10" fmla="*/ 10 w 44"/>
                <a:gd name="T11" fmla="*/ 16 h 100"/>
                <a:gd name="T12" fmla="*/ 6 w 44"/>
                <a:gd name="T13" fmla="*/ 22 h 100"/>
                <a:gd name="T14" fmla="*/ 2 w 44"/>
                <a:gd name="T15" fmla="*/ 28 h 100"/>
                <a:gd name="T16" fmla="*/ 0 w 44"/>
                <a:gd name="T17" fmla="*/ 32 h 100"/>
                <a:gd name="T18" fmla="*/ 0 w 44"/>
                <a:gd name="T19" fmla="*/ 34 h 100"/>
                <a:gd name="T20" fmla="*/ 2 w 44"/>
                <a:gd name="T21" fmla="*/ 36 h 100"/>
                <a:gd name="T22" fmla="*/ 6 w 44"/>
                <a:gd name="T23" fmla="*/ 32 h 100"/>
                <a:gd name="T24" fmla="*/ 10 w 44"/>
                <a:gd name="T25" fmla="*/ 28 h 100"/>
                <a:gd name="T26" fmla="*/ 12 w 44"/>
                <a:gd name="T27" fmla="*/ 26 h 100"/>
                <a:gd name="T28" fmla="*/ 12 w 44"/>
                <a:gd name="T29" fmla="*/ 28 h 100"/>
                <a:gd name="T30" fmla="*/ 12 w 44"/>
                <a:gd name="T31" fmla="*/ 30 h 100"/>
                <a:gd name="T32" fmla="*/ 10 w 44"/>
                <a:gd name="T33" fmla="*/ 38 h 100"/>
                <a:gd name="T34" fmla="*/ 8 w 44"/>
                <a:gd name="T35" fmla="*/ 46 h 100"/>
                <a:gd name="T36" fmla="*/ 6 w 44"/>
                <a:gd name="T37" fmla="*/ 58 h 100"/>
                <a:gd name="T38" fmla="*/ 4 w 44"/>
                <a:gd name="T39" fmla="*/ 72 h 100"/>
                <a:gd name="T40" fmla="*/ 2 w 44"/>
                <a:gd name="T41" fmla="*/ 82 h 100"/>
                <a:gd name="T42" fmla="*/ 4 w 44"/>
                <a:gd name="T43" fmla="*/ 86 h 100"/>
                <a:gd name="T44" fmla="*/ 8 w 44"/>
                <a:gd name="T45" fmla="*/ 92 h 100"/>
                <a:gd name="T46" fmla="*/ 12 w 44"/>
                <a:gd name="T47" fmla="*/ 98 h 100"/>
                <a:gd name="T48" fmla="*/ 16 w 44"/>
                <a:gd name="T49" fmla="*/ 100 h 100"/>
                <a:gd name="T50" fmla="*/ 18 w 44"/>
                <a:gd name="T51" fmla="*/ 100 h 100"/>
                <a:gd name="T52" fmla="*/ 22 w 44"/>
                <a:gd name="T53" fmla="*/ 100 h 100"/>
                <a:gd name="T54" fmla="*/ 28 w 44"/>
                <a:gd name="T55" fmla="*/ 94 h 100"/>
                <a:gd name="T56" fmla="*/ 32 w 44"/>
                <a:gd name="T57" fmla="*/ 90 h 100"/>
                <a:gd name="T58" fmla="*/ 34 w 44"/>
                <a:gd name="T59" fmla="*/ 86 h 100"/>
                <a:gd name="T60" fmla="*/ 34 w 44"/>
                <a:gd name="T61" fmla="*/ 80 h 100"/>
                <a:gd name="T62" fmla="*/ 30 w 44"/>
                <a:gd name="T63" fmla="*/ 68 h 100"/>
                <a:gd name="T64" fmla="*/ 26 w 44"/>
                <a:gd name="T65" fmla="*/ 54 h 100"/>
                <a:gd name="T66" fmla="*/ 24 w 44"/>
                <a:gd name="T67" fmla="*/ 48 h 100"/>
                <a:gd name="T68" fmla="*/ 24 w 44"/>
                <a:gd name="T69" fmla="*/ 36 h 100"/>
                <a:gd name="T70" fmla="*/ 26 w 44"/>
                <a:gd name="T71" fmla="*/ 32 h 100"/>
                <a:gd name="T72" fmla="*/ 26 w 44"/>
                <a:gd name="T73" fmla="*/ 30 h 100"/>
                <a:gd name="T74" fmla="*/ 32 w 44"/>
                <a:gd name="T75" fmla="*/ 28 h 100"/>
                <a:gd name="T76" fmla="*/ 38 w 44"/>
                <a:gd name="T77" fmla="*/ 24 h 100"/>
                <a:gd name="T78" fmla="*/ 40 w 44"/>
                <a:gd name="T79" fmla="*/ 22 h 100"/>
                <a:gd name="T80" fmla="*/ 42 w 44"/>
                <a:gd name="T81" fmla="*/ 18 h 100"/>
                <a:gd name="T82" fmla="*/ 44 w 44"/>
                <a:gd name="T83" fmla="*/ 14 h 100"/>
                <a:gd name="T84" fmla="*/ 42 w 44"/>
                <a:gd name="T85" fmla="*/ 12 h 100"/>
                <a:gd name="T86" fmla="*/ 40 w 44"/>
                <a:gd name="T87" fmla="*/ 8 h 100"/>
                <a:gd name="T88" fmla="*/ 36 w 44"/>
                <a:gd name="T89" fmla="*/ 2 h 100"/>
                <a:gd name="T90" fmla="*/ 34 w 44"/>
                <a:gd name="T9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 h="100">
                  <a:moveTo>
                    <a:pt x="34" y="4"/>
                  </a:moveTo>
                  <a:lnTo>
                    <a:pt x="34" y="4"/>
                  </a:lnTo>
                  <a:lnTo>
                    <a:pt x="34" y="4"/>
                  </a:lnTo>
                  <a:lnTo>
                    <a:pt x="34" y="4"/>
                  </a:lnTo>
                  <a:lnTo>
                    <a:pt x="34" y="4"/>
                  </a:lnTo>
                  <a:lnTo>
                    <a:pt x="32" y="6"/>
                  </a:lnTo>
                  <a:lnTo>
                    <a:pt x="32" y="6"/>
                  </a:lnTo>
                  <a:lnTo>
                    <a:pt x="30" y="6"/>
                  </a:lnTo>
                  <a:lnTo>
                    <a:pt x="28" y="6"/>
                  </a:lnTo>
                  <a:lnTo>
                    <a:pt x="24" y="6"/>
                  </a:lnTo>
                  <a:lnTo>
                    <a:pt x="20" y="6"/>
                  </a:lnTo>
                  <a:lnTo>
                    <a:pt x="20" y="6"/>
                  </a:lnTo>
                  <a:lnTo>
                    <a:pt x="20" y="6"/>
                  </a:lnTo>
                  <a:lnTo>
                    <a:pt x="18" y="8"/>
                  </a:lnTo>
                  <a:lnTo>
                    <a:pt x="16" y="8"/>
                  </a:lnTo>
                  <a:lnTo>
                    <a:pt x="14" y="10"/>
                  </a:lnTo>
                  <a:lnTo>
                    <a:pt x="12" y="12"/>
                  </a:lnTo>
                  <a:lnTo>
                    <a:pt x="10" y="16"/>
                  </a:lnTo>
                  <a:lnTo>
                    <a:pt x="8" y="18"/>
                  </a:lnTo>
                  <a:lnTo>
                    <a:pt x="6" y="20"/>
                  </a:lnTo>
                  <a:lnTo>
                    <a:pt x="6" y="22"/>
                  </a:lnTo>
                  <a:lnTo>
                    <a:pt x="4" y="24"/>
                  </a:lnTo>
                  <a:lnTo>
                    <a:pt x="2" y="26"/>
                  </a:lnTo>
                  <a:lnTo>
                    <a:pt x="2" y="28"/>
                  </a:lnTo>
                  <a:lnTo>
                    <a:pt x="0" y="30"/>
                  </a:lnTo>
                  <a:lnTo>
                    <a:pt x="0" y="32"/>
                  </a:lnTo>
                  <a:lnTo>
                    <a:pt x="0" y="32"/>
                  </a:lnTo>
                  <a:lnTo>
                    <a:pt x="0" y="34"/>
                  </a:lnTo>
                  <a:lnTo>
                    <a:pt x="0" y="34"/>
                  </a:lnTo>
                  <a:lnTo>
                    <a:pt x="0" y="34"/>
                  </a:lnTo>
                  <a:lnTo>
                    <a:pt x="2" y="36"/>
                  </a:lnTo>
                  <a:lnTo>
                    <a:pt x="2" y="36"/>
                  </a:lnTo>
                  <a:lnTo>
                    <a:pt x="2" y="36"/>
                  </a:lnTo>
                  <a:lnTo>
                    <a:pt x="2" y="34"/>
                  </a:lnTo>
                  <a:lnTo>
                    <a:pt x="4" y="34"/>
                  </a:lnTo>
                  <a:lnTo>
                    <a:pt x="6" y="32"/>
                  </a:lnTo>
                  <a:lnTo>
                    <a:pt x="6" y="30"/>
                  </a:lnTo>
                  <a:lnTo>
                    <a:pt x="8" y="28"/>
                  </a:lnTo>
                  <a:lnTo>
                    <a:pt x="10" y="28"/>
                  </a:lnTo>
                  <a:lnTo>
                    <a:pt x="10" y="26"/>
                  </a:lnTo>
                  <a:lnTo>
                    <a:pt x="10" y="26"/>
                  </a:lnTo>
                  <a:lnTo>
                    <a:pt x="12" y="26"/>
                  </a:lnTo>
                  <a:lnTo>
                    <a:pt x="12" y="26"/>
                  </a:lnTo>
                  <a:lnTo>
                    <a:pt x="12" y="26"/>
                  </a:lnTo>
                  <a:lnTo>
                    <a:pt x="12" y="28"/>
                  </a:lnTo>
                  <a:lnTo>
                    <a:pt x="12" y="28"/>
                  </a:lnTo>
                  <a:lnTo>
                    <a:pt x="12" y="30"/>
                  </a:lnTo>
                  <a:lnTo>
                    <a:pt x="12" y="30"/>
                  </a:lnTo>
                  <a:lnTo>
                    <a:pt x="12" y="32"/>
                  </a:lnTo>
                  <a:lnTo>
                    <a:pt x="12" y="34"/>
                  </a:lnTo>
                  <a:lnTo>
                    <a:pt x="10" y="38"/>
                  </a:lnTo>
                  <a:lnTo>
                    <a:pt x="10" y="40"/>
                  </a:lnTo>
                  <a:lnTo>
                    <a:pt x="8" y="44"/>
                  </a:lnTo>
                  <a:lnTo>
                    <a:pt x="8" y="46"/>
                  </a:lnTo>
                  <a:lnTo>
                    <a:pt x="6" y="52"/>
                  </a:lnTo>
                  <a:lnTo>
                    <a:pt x="6" y="54"/>
                  </a:lnTo>
                  <a:lnTo>
                    <a:pt x="6" y="58"/>
                  </a:lnTo>
                  <a:lnTo>
                    <a:pt x="4" y="64"/>
                  </a:lnTo>
                  <a:lnTo>
                    <a:pt x="4" y="68"/>
                  </a:lnTo>
                  <a:lnTo>
                    <a:pt x="4" y="72"/>
                  </a:lnTo>
                  <a:lnTo>
                    <a:pt x="2" y="76"/>
                  </a:lnTo>
                  <a:lnTo>
                    <a:pt x="2" y="80"/>
                  </a:lnTo>
                  <a:lnTo>
                    <a:pt x="2" y="82"/>
                  </a:lnTo>
                  <a:lnTo>
                    <a:pt x="4" y="82"/>
                  </a:lnTo>
                  <a:lnTo>
                    <a:pt x="4" y="84"/>
                  </a:lnTo>
                  <a:lnTo>
                    <a:pt x="4" y="86"/>
                  </a:lnTo>
                  <a:lnTo>
                    <a:pt x="4" y="88"/>
                  </a:lnTo>
                  <a:lnTo>
                    <a:pt x="6" y="90"/>
                  </a:lnTo>
                  <a:lnTo>
                    <a:pt x="8" y="92"/>
                  </a:lnTo>
                  <a:lnTo>
                    <a:pt x="8" y="94"/>
                  </a:lnTo>
                  <a:lnTo>
                    <a:pt x="10" y="96"/>
                  </a:lnTo>
                  <a:lnTo>
                    <a:pt x="12" y="98"/>
                  </a:lnTo>
                  <a:lnTo>
                    <a:pt x="14" y="100"/>
                  </a:lnTo>
                  <a:lnTo>
                    <a:pt x="14" y="100"/>
                  </a:lnTo>
                  <a:lnTo>
                    <a:pt x="16" y="100"/>
                  </a:lnTo>
                  <a:lnTo>
                    <a:pt x="16" y="100"/>
                  </a:lnTo>
                  <a:lnTo>
                    <a:pt x="18" y="100"/>
                  </a:lnTo>
                  <a:lnTo>
                    <a:pt x="18" y="100"/>
                  </a:lnTo>
                  <a:lnTo>
                    <a:pt x="20" y="100"/>
                  </a:lnTo>
                  <a:lnTo>
                    <a:pt x="22" y="100"/>
                  </a:lnTo>
                  <a:lnTo>
                    <a:pt x="22" y="100"/>
                  </a:lnTo>
                  <a:lnTo>
                    <a:pt x="24" y="98"/>
                  </a:lnTo>
                  <a:lnTo>
                    <a:pt x="26" y="96"/>
                  </a:lnTo>
                  <a:lnTo>
                    <a:pt x="28" y="94"/>
                  </a:lnTo>
                  <a:lnTo>
                    <a:pt x="30" y="92"/>
                  </a:lnTo>
                  <a:lnTo>
                    <a:pt x="32" y="90"/>
                  </a:lnTo>
                  <a:lnTo>
                    <a:pt x="32" y="90"/>
                  </a:lnTo>
                  <a:lnTo>
                    <a:pt x="34" y="88"/>
                  </a:lnTo>
                  <a:lnTo>
                    <a:pt x="34" y="88"/>
                  </a:lnTo>
                  <a:lnTo>
                    <a:pt x="34" y="86"/>
                  </a:lnTo>
                  <a:lnTo>
                    <a:pt x="34" y="84"/>
                  </a:lnTo>
                  <a:lnTo>
                    <a:pt x="34" y="82"/>
                  </a:lnTo>
                  <a:lnTo>
                    <a:pt x="34" y="80"/>
                  </a:lnTo>
                  <a:lnTo>
                    <a:pt x="32" y="76"/>
                  </a:lnTo>
                  <a:lnTo>
                    <a:pt x="32" y="74"/>
                  </a:lnTo>
                  <a:lnTo>
                    <a:pt x="30" y="68"/>
                  </a:lnTo>
                  <a:lnTo>
                    <a:pt x="28" y="62"/>
                  </a:lnTo>
                  <a:lnTo>
                    <a:pt x="26" y="56"/>
                  </a:lnTo>
                  <a:lnTo>
                    <a:pt x="26" y="54"/>
                  </a:lnTo>
                  <a:lnTo>
                    <a:pt x="26" y="52"/>
                  </a:lnTo>
                  <a:lnTo>
                    <a:pt x="24" y="50"/>
                  </a:lnTo>
                  <a:lnTo>
                    <a:pt x="24" y="48"/>
                  </a:lnTo>
                  <a:lnTo>
                    <a:pt x="24" y="44"/>
                  </a:lnTo>
                  <a:lnTo>
                    <a:pt x="24" y="40"/>
                  </a:lnTo>
                  <a:lnTo>
                    <a:pt x="24" y="36"/>
                  </a:lnTo>
                  <a:lnTo>
                    <a:pt x="24" y="34"/>
                  </a:lnTo>
                  <a:lnTo>
                    <a:pt x="24" y="32"/>
                  </a:lnTo>
                  <a:lnTo>
                    <a:pt x="26" y="32"/>
                  </a:lnTo>
                  <a:lnTo>
                    <a:pt x="26" y="32"/>
                  </a:lnTo>
                  <a:lnTo>
                    <a:pt x="26" y="30"/>
                  </a:lnTo>
                  <a:lnTo>
                    <a:pt x="26" y="30"/>
                  </a:lnTo>
                  <a:lnTo>
                    <a:pt x="28" y="30"/>
                  </a:lnTo>
                  <a:lnTo>
                    <a:pt x="30" y="28"/>
                  </a:lnTo>
                  <a:lnTo>
                    <a:pt x="32" y="28"/>
                  </a:lnTo>
                  <a:lnTo>
                    <a:pt x="34" y="26"/>
                  </a:lnTo>
                  <a:lnTo>
                    <a:pt x="36" y="26"/>
                  </a:lnTo>
                  <a:lnTo>
                    <a:pt x="38" y="24"/>
                  </a:lnTo>
                  <a:lnTo>
                    <a:pt x="40" y="24"/>
                  </a:lnTo>
                  <a:lnTo>
                    <a:pt x="40" y="24"/>
                  </a:lnTo>
                  <a:lnTo>
                    <a:pt x="40" y="22"/>
                  </a:lnTo>
                  <a:lnTo>
                    <a:pt x="42" y="22"/>
                  </a:lnTo>
                  <a:lnTo>
                    <a:pt x="42" y="20"/>
                  </a:lnTo>
                  <a:lnTo>
                    <a:pt x="42" y="18"/>
                  </a:lnTo>
                  <a:lnTo>
                    <a:pt x="44" y="16"/>
                  </a:lnTo>
                  <a:lnTo>
                    <a:pt x="44" y="16"/>
                  </a:lnTo>
                  <a:lnTo>
                    <a:pt x="44" y="14"/>
                  </a:lnTo>
                  <a:lnTo>
                    <a:pt x="44" y="14"/>
                  </a:lnTo>
                  <a:lnTo>
                    <a:pt x="44" y="14"/>
                  </a:lnTo>
                  <a:lnTo>
                    <a:pt x="42" y="12"/>
                  </a:lnTo>
                  <a:lnTo>
                    <a:pt x="42" y="12"/>
                  </a:lnTo>
                  <a:lnTo>
                    <a:pt x="40" y="10"/>
                  </a:lnTo>
                  <a:lnTo>
                    <a:pt x="40" y="8"/>
                  </a:lnTo>
                  <a:lnTo>
                    <a:pt x="38" y="6"/>
                  </a:lnTo>
                  <a:lnTo>
                    <a:pt x="36" y="4"/>
                  </a:lnTo>
                  <a:lnTo>
                    <a:pt x="36" y="2"/>
                  </a:lnTo>
                  <a:lnTo>
                    <a:pt x="34" y="2"/>
                  </a:lnTo>
                  <a:lnTo>
                    <a:pt x="34" y="0"/>
                  </a:lnTo>
                  <a:lnTo>
                    <a:pt x="34" y="0"/>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4" name="Freeform 596">
              <a:extLst>
                <a:ext uri="{FF2B5EF4-FFF2-40B4-BE49-F238E27FC236}">
                  <a16:creationId xmlns:a16="http://schemas.microsoft.com/office/drawing/2014/main" id="{9CEEF139-4D35-4AC9-B7F8-1811ADA1EAF4}"/>
                </a:ext>
              </a:extLst>
            </p:cNvPr>
            <p:cNvSpPr>
              <a:spLocks/>
            </p:cNvSpPr>
            <p:nvPr/>
          </p:nvSpPr>
          <p:spPr bwMode="auto">
            <a:xfrm>
              <a:off x="3070616" y="2352944"/>
              <a:ext cx="62355" cy="34641"/>
            </a:xfrm>
            <a:custGeom>
              <a:avLst/>
              <a:gdLst>
                <a:gd name="T0" fmla="*/ 10 w 36"/>
                <a:gd name="T1" fmla="*/ 0 h 20"/>
                <a:gd name="T2" fmla="*/ 10 w 36"/>
                <a:gd name="T3" fmla="*/ 0 h 20"/>
                <a:gd name="T4" fmla="*/ 10 w 36"/>
                <a:gd name="T5" fmla="*/ 2 h 20"/>
                <a:gd name="T6" fmla="*/ 8 w 36"/>
                <a:gd name="T7" fmla="*/ 2 h 20"/>
                <a:gd name="T8" fmla="*/ 8 w 36"/>
                <a:gd name="T9" fmla="*/ 2 h 20"/>
                <a:gd name="T10" fmla="*/ 6 w 36"/>
                <a:gd name="T11" fmla="*/ 4 h 20"/>
                <a:gd name="T12" fmla="*/ 4 w 36"/>
                <a:gd name="T13" fmla="*/ 6 h 20"/>
                <a:gd name="T14" fmla="*/ 4 w 36"/>
                <a:gd name="T15" fmla="*/ 8 h 20"/>
                <a:gd name="T16" fmla="*/ 2 w 36"/>
                <a:gd name="T17" fmla="*/ 10 h 20"/>
                <a:gd name="T18" fmla="*/ 2 w 36"/>
                <a:gd name="T19" fmla="*/ 12 h 20"/>
                <a:gd name="T20" fmla="*/ 2 w 36"/>
                <a:gd name="T21" fmla="*/ 12 h 20"/>
                <a:gd name="T22" fmla="*/ 0 w 36"/>
                <a:gd name="T23" fmla="*/ 14 h 20"/>
                <a:gd name="T24" fmla="*/ 0 w 36"/>
                <a:gd name="T25" fmla="*/ 16 h 20"/>
                <a:gd name="T26" fmla="*/ 0 w 36"/>
                <a:gd name="T27" fmla="*/ 16 h 20"/>
                <a:gd name="T28" fmla="*/ 0 w 36"/>
                <a:gd name="T29" fmla="*/ 18 h 20"/>
                <a:gd name="T30" fmla="*/ 0 w 36"/>
                <a:gd name="T31" fmla="*/ 18 h 20"/>
                <a:gd name="T32" fmla="*/ 2 w 36"/>
                <a:gd name="T33" fmla="*/ 20 h 20"/>
                <a:gd name="T34" fmla="*/ 2 w 36"/>
                <a:gd name="T35" fmla="*/ 20 h 20"/>
                <a:gd name="T36" fmla="*/ 2 w 36"/>
                <a:gd name="T37" fmla="*/ 20 h 20"/>
                <a:gd name="T38" fmla="*/ 4 w 36"/>
                <a:gd name="T39" fmla="*/ 20 h 20"/>
                <a:gd name="T40" fmla="*/ 6 w 36"/>
                <a:gd name="T41" fmla="*/ 20 h 20"/>
                <a:gd name="T42" fmla="*/ 6 w 36"/>
                <a:gd name="T43" fmla="*/ 20 h 20"/>
                <a:gd name="T44" fmla="*/ 8 w 36"/>
                <a:gd name="T45" fmla="*/ 20 h 20"/>
                <a:gd name="T46" fmla="*/ 12 w 36"/>
                <a:gd name="T47" fmla="*/ 20 h 20"/>
                <a:gd name="T48" fmla="*/ 14 w 36"/>
                <a:gd name="T49" fmla="*/ 20 h 20"/>
                <a:gd name="T50" fmla="*/ 18 w 36"/>
                <a:gd name="T51" fmla="*/ 18 h 20"/>
                <a:gd name="T52" fmla="*/ 22 w 36"/>
                <a:gd name="T53" fmla="*/ 18 h 20"/>
                <a:gd name="T54" fmla="*/ 26 w 36"/>
                <a:gd name="T55" fmla="*/ 16 h 20"/>
                <a:gd name="T56" fmla="*/ 28 w 36"/>
                <a:gd name="T57" fmla="*/ 16 h 20"/>
                <a:gd name="T58" fmla="*/ 32 w 36"/>
                <a:gd name="T59" fmla="*/ 16 h 20"/>
                <a:gd name="T60" fmla="*/ 32 w 36"/>
                <a:gd name="T61" fmla="*/ 14 h 20"/>
                <a:gd name="T62" fmla="*/ 34 w 36"/>
                <a:gd name="T63" fmla="*/ 14 h 20"/>
                <a:gd name="T64" fmla="*/ 34 w 36"/>
                <a:gd name="T65" fmla="*/ 14 h 20"/>
                <a:gd name="T66" fmla="*/ 34 w 36"/>
                <a:gd name="T67" fmla="*/ 12 h 20"/>
                <a:gd name="T68" fmla="*/ 36 w 36"/>
                <a:gd name="T69" fmla="*/ 12 h 20"/>
                <a:gd name="T70" fmla="*/ 36 w 36"/>
                <a:gd name="T71" fmla="*/ 10 h 20"/>
                <a:gd name="T72" fmla="*/ 36 w 36"/>
                <a:gd name="T73" fmla="*/ 10 h 20"/>
                <a:gd name="T74" fmla="*/ 36 w 36"/>
                <a:gd name="T75" fmla="*/ 10 h 20"/>
                <a:gd name="T76" fmla="*/ 34 w 36"/>
                <a:gd name="T77" fmla="*/ 8 h 20"/>
                <a:gd name="T78" fmla="*/ 34 w 36"/>
                <a:gd name="T79" fmla="*/ 8 h 20"/>
                <a:gd name="T80" fmla="*/ 32 w 36"/>
                <a:gd name="T81" fmla="*/ 6 h 20"/>
                <a:gd name="T82" fmla="*/ 30 w 36"/>
                <a:gd name="T83" fmla="*/ 6 h 20"/>
                <a:gd name="T84" fmla="*/ 30 w 36"/>
                <a:gd name="T85" fmla="*/ 4 h 20"/>
                <a:gd name="T86" fmla="*/ 28 w 36"/>
                <a:gd name="T87" fmla="*/ 4 h 20"/>
                <a:gd name="T88" fmla="*/ 26 w 36"/>
                <a:gd name="T89" fmla="*/ 2 h 20"/>
                <a:gd name="T90" fmla="*/ 24 w 36"/>
                <a:gd name="T91" fmla="*/ 2 h 20"/>
                <a:gd name="T92" fmla="*/ 22 w 36"/>
                <a:gd name="T93" fmla="*/ 2 h 20"/>
                <a:gd name="T94" fmla="*/ 20 w 36"/>
                <a:gd name="T95" fmla="*/ 0 h 20"/>
                <a:gd name="T96" fmla="*/ 18 w 36"/>
                <a:gd name="T97" fmla="*/ 0 h 20"/>
                <a:gd name="T98" fmla="*/ 16 w 36"/>
                <a:gd name="T99" fmla="*/ 0 h 20"/>
                <a:gd name="T100" fmla="*/ 14 w 36"/>
                <a:gd name="T101" fmla="*/ 0 h 20"/>
                <a:gd name="T102" fmla="*/ 12 w 36"/>
                <a:gd name="T103" fmla="*/ 0 h 20"/>
                <a:gd name="T104" fmla="*/ 10 w 36"/>
                <a:gd name="T10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 h="20">
                  <a:moveTo>
                    <a:pt x="10" y="0"/>
                  </a:moveTo>
                  <a:lnTo>
                    <a:pt x="10" y="0"/>
                  </a:lnTo>
                  <a:lnTo>
                    <a:pt x="10" y="2"/>
                  </a:lnTo>
                  <a:lnTo>
                    <a:pt x="8" y="2"/>
                  </a:lnTo>
                  <a:lnTo>
                    <a:pt x="8" y="2"/>
                  </a:lnTo>
                  <a:lnTo>
                    <a:pt x="6" y="4"/>
                  </a:lnTo>
                  <a:lnTo>
                    <a:pt x="4" y="6"/>
                  </a:lnTo>
                  <a:lnTo>
                    <a:pt x="4" y="8"/>
                  </a:lnTo>
                  <a:lnTo>
                    <a:pt x="2" y="10"/>
                  </a:lnTo>
                  <a:lnTo>
                    <a:pt x="2" y="12"/>
                  </a:lnTo>
                  <a:lnTo>
                    <a:pt x="2" y="12"/>
                  </a:lnTo>
                  <a:lnTo>
                    <a:pt x="0" y="14"/>
                  </a:lnTo>
                  <a:lnTo>
                    <a:pt x="0" y="16"/>
                  </a:lnTo>
                  <a:lnTo>
                    <a:pt x="0" y="16"/>
                  </a:lnTo>
                  <a:lnTo>
                    <a:pt x="0" y="18"/>
                  </a:lnTo>
                  <a:lnTo>
                    <a:pt x="0" y="18"/>
                  </a:lnTo>
                  <a:lnTo>
                    <a:pt x="2" y="20"/>
                  </a:lnTo>
                  <a:lnTo>
                    <a:pt x="2" y="20"/>
                  </a:lnTo>
                  <a:lnTo>
                    <a:pt x="2" y="20"/>
                  </a:lnTo>
                  <a:lnTo>
                    <a:pt x="4" y="20"/>
                  </a:lnTo>
                  <a:lnTo>
                    <a:pt x="6" y="20"/>
                  </a:lnTo>
                  <a:lnTo>
                    <a:pt x="6" y="20"/>
                  </a:lnTo>
                  <a:lnTo>
                    <a:pt x="8" y="20"/>
                  </a:lnTo>
                  <a:lnTo>
                    <a:pt x="12" y="20"/>
                  </a:lnTo>
                  <a:lnTo>
                    <a:pt x="14" y="20"/>
                  </a:lnTo>
                  <a:lnTo>
                    <a:pt x="18" y="18"/>
                  </a:lnTo>
                  <a:lnTo>
                    <a:pt x="22" y="18"/>
                  </a:lnTo>
                  <a:lnTo>
                    <a:pt x="26" y="16"/>
                  </a:lnTo>
                  <a:lnTo>
                    <a:pt x="28" y="16"/>
                  </a:lnTo>
                  <a:lnTo>
                    <a:pt x="32" y="16"/>
                  </a:lnTo>
                  <a:lnTo>
                    <a:pt x="32" y="14"/>
                  </a:lnTo>
                  <a:lnTo>
                    <a:pt x="34" y="14"/>
                  </a:lnTo>
                  <a:lnTo>
                    <a:pt x="34" y="14"/>
                  </a:lnTo>
                  <a:lnTo>
                    <a:pt x="34" y="12"/>
                  </a:lnTo>
                  <a:lnTo>
                    <a:pt x="36" y="12"/>
                  </a:lnTo>
                  <a:lnTo>
                    <a:pt x="36" y="10"/>
                  </a:lnTo>
                  <a:lnTo>
                    <a:pt x="36" y="10"/>
                  </a:lnTo>
                  <a:lnTo>
                    <a:pt x="36" y="10"/>
                  </a:lnTo>
                  <a:lnTo>
                    <a:pt x="34" y="8"/>
                  </a:lnTo>
                  <a:lnTo>
                    <a:pt x="34" y="8"/>
                  </a:lnTo>
                  <a:lnTo>
                    <a:pt x="32" y="6"/>
                  </a:lnTo>
                  <a:lnTo>
                    <a:pt x="30" y="6"/>
                  </a:lnTo>
                  <a:lnTo>
                    <a:pt x="30" y="4"/>
                  </a:lnTo>
                  <a:lnTo>
                    <a:pt x="28" y="4"/>
                  </a:lnTo>
                  <a:lnTo>
                    <a:pt x="26" y="2"/>
                  </a:lnTo>
                  <a:lnTo>
                    <a:pt x="24" y="2"/>
                  </a:lnTo>
                  <a:lnTo>
                    <a:pt x="22" y="2"/>
                  </a:lnTo>
                  <a:lnTo>
                    <a:pt x="20" y="0"/>
                  </a:lnTo>
                  <a:lnTo>
                    <a:pt x="18" y="0"/>
                  </a:lnTo>
                  <a:lnTo>
                    <a:pt x="16" y="0"/>
                  </a:lnTo>
                  <a:lnTo>
                    <a:pt x="14" y="0"/>
                  </a:lnTo>
                  <a:lnTo>
                    <a:pt x="12" y="0"/>
                  </a:lnTo>
                  <a:lnTo>
                    <a:pt x="10"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5" name="Freeform 597">
              <a:extLst>
                <a:ext uri="{FF2B5EF4-FFF2-40B4-BE49-F238E27FC236}">
                  <a16:creationId xmlns:a16="http://schemas.microsoft.com/office/drawing/2014/main" id="{0904403C-9A37-46FA-BD36-19D911F62215}"/>
                </a:ext>
              </a:extLst>
            </p:cNvPr>
            <p:cNvSpPr>
              <a:spLocks/>
            </p:cNvSpPr>
            <p:nvPr/>
          </p:nvSpPr>
          <p:spPr bwMode="auto">
            <a:xfrm>
              <a:off x="3070616" y="2352944"/>
              <a:ext cx="62355" cy="34641"/>
            </a:xfrm>
            <a:custGeom>
              <a:avLst/>
              <a:gdLst>
                <a:gd name="T0" fmla="*/ 10 w 36"/>
                <a:gd name="T1" fmla="*/ 0 h 20"/>
                <a:gd name="T2" fmla="*/ 10 w 36"/>
                <a:gd name="T3" fmla="*/ 0 h 20"/>
                <a:gd name="T4" fmla="*/ 10 w 36"/>
                <a:gd name="T5" fmla="*/ 2 h 20"/>
                <a:gd name="T6" fmla="*/ 8 w 36"/>
                <a:gd name="T7" fmla="*/ 2 h 20"/>
                <a:gd name="T8" fmla="*/ 8 w 36"/>
                <a:gd name="T9" fmla="*/ 2 h 20"/>
                <a:gd name="T10" fmla="*/ 6 w 36"/>
                <a:gd name="T11" fmla="*/ 4 h 20"/>
                <a:gd name="T12" fmla="*/ 4 w 36"/>
                <a:gd name="T13" fmla="*/ 6 h 20"/>
                <a:gd name="T14" fmla="*/ 4 w 36"/>
                <a:gd name="T15" fmla="*/ 8 h 20"/>
                <a:gd name="T16" fmla="*/ 2 w 36"/>
                <a:gd name="T17" fmla="*/ 10 h 20"/>
                <a:gd name="T18" fmla="*/ 2 w 36"/>
                <a:gd name="T19" fmla="*/ 12 h 20"/>
                <a:gd name="T20" fmla="*/ 2 w 36"/>
                <a:gd name="T21" fmla="*/ 12 h 20"/>
                <a:gd name="T22" fmla="*/ 0 w 36"/>
                <a:gd name="T23" fmla="*/ 14 h 20"/>
                <a:gd name="T24" fmla="*/ 0 w 36"/>
                <a:gd name="T25" fmla="*/ 16 h 20"/>
                <a:gd name="T26" fmla="*/ 0 w 36"/>
                <a:gd name="T27" fmla="*/ 16 h 20"/>
                <a:gd name="T28" fmla="*/ 0 w 36"/>
                <a:gd name="T29" fmla="*/ 18 h 20"/>
                <a:gd name="T30" fmla="*/ 0 w 36"/>
                <a:gd name="T31" fmla="*/ 18 h 20"/>
                <a:gd name="T32" fmla="*/ 2 w 36"/>
                <a:gd name="T33" fmla="*/ 20 h 20"/>
                <a:gd name="T34" fmla="*/ 2 w 36"/>
                <a:gd name="T35" fmla="*/ 20 h 20"/>
                <a:gd name="T36" fmla="*/ 2 w 36"/>
                <a:gd name="T37" fmla="*/ 20 h 20"/>
                <a:gd name="T38" fmla="*/ 4 w 36"/>
                <a:gd name="T39" fmla="*/ 20 h 20"/>
                <a:gd name="T40" fmla="*/ 6 w 36"/>
                <a:gd name="T41" fmla="*/ 20 h 20"/>
                <a:gd name="T42" fmla="*/ 6 w 36"/>
                <a:gd name="T43" fmla="*/ 20 h 20"/>
                <a:gd name="T44" fmla="*/ 8 w 36"/>
                <a:gd name="T45" fmla="*/ 20 h 20"/>
                <a:gd name="T46" fmla="*/ 12 w 36"/>
                <a:gd name="T47" fmla="*/ 20 h 20"/>
                <a:gd name="T48" fmla="*/ 14 w 36"/>
                <a:gd name="T49" fmla="*/ 20 h 20"/>
                <a:gd name="T50" fmla="*/ 18 w 36"/>
                <a:gd name="T51" fmla="*/ 18 h 20"/>
                <a:gd name="T52" fmla="*/ 22 w 36"/>
                <a:gd name="T53" fmla="*/ 18 h 20"/>
                <a:gd name="T54" fmla="*/ 26 w 36"/>
                <a:gd name="T55" fmla="*/ 16 h 20"/>
                <a:gd name="T56" fmla="*/ 28 w 36"/>
                <a:gd name="T57" fmla="*/ 16 h 20"/>
                <a:gd name="T58" fmla="*/ 32 w 36"/>
                <a:gd name="T59" fmla="*/ 16 h 20"/>
                <a:gd name="T60" fmla="*/ 32 w 36"/>
                <a:gd name="T61" fmla="*/ 14 h 20"/>
                <a:gd name="T62" fmla="*/ 34 w 36"/>
                <a:gd name="T63" fmla="*/ 14 h 20"/>
                <a:gd name="T64" fmla="*/ 34 w 36"/>
                <a:gd name="T65" fmla="*/ 14 h 20"/>
                <a:gd name="T66" fmla="*/ 34 w 36"/>
                <a:gd name="T67" fmla="*/ 12 h 20"/>
                <a:gd name="T68" fmla="*/ 36 w 36"/>
                <a:gd name="T69" fmla="*/ 12 h 20"/>
                <a:gd name="T70" fmla="*/ 36 w 36"/>
                <a:gd name="T71" fmla="*/ 10 h 20"/>
                <a:gd name="T72" fmla="*/ 36 w 36"/>
                <a:gd name="T73" fmla="*/ 10 h 20"/>
                <a:gd name="T74" fmla="*/ 36 w 36"/>
                <a:gd name="T75" fmla="*/ 10 h 20"/>
                <a:gd name="T76" fmla="*/ 34 w 36"/>
                <a:gd name="T77" fmla="*/ 8 h 20"/>
                <a:gd name="T78" fmla="*/ 34 w 36"/>
                <a:gd name="T79" fmla="*/ 8 h 20"/>
                <a:gd name="T80" fmla="*/ 32 w 36"/>
                <a:gd name="T81" fmla="*/ 6 h 20"/>
                <a:gd name="T82" fmla="*/ 30 w 36"/>
                <a:gd name="T83" fmla="*/ 6 h 20"/>
                <a:gd name="T84" fmla="*/ 30 w 36"/>
                <a:gd name="T85" fmla="*/ 4 h 20"/>
                <a:gd name="T86" fmla="*/ 28 w 36"/>
                <a:gd name="T87" fmla="*/ 4 h 20"/>
                <a:gd name="T88" fmla="*/ 26 w 36"/>
                <a:gd name="T89" fmla="*/ 2 h 20"/>
                <a:gd name="T90" fmla="*/ 24 w 36"/>
                <a:gd name="T91" fmla="*/ 2 h 20"/>
                <a:gd name="T92" fmla="*/ 22 w 36"/>
                <a:gd name="T93" fmla="*/ 2 h 20"/>
                <a:gd name="T94" fmla="*/ 20 w 36"/>
                <a:gd name="T95" fmla="*/ 0 h 20"/>
                <a:gd name="T96" fmla="*/ 18 w 36"/>
                <a:gd name="T97" fmla="*/ 0 h 20"/>
                <a:gd name="T98" fmla="*/ 16 w 36"/>
                <a:gd name="T99" fmla="*/ 0 h 20"/>
                <a:gd name="T100" fmla="*/ 14 w 36"/>
                <a:gd name="T101" fmla="*/ 0 h 20"/>
                <a:gd name="T102" fmla="*/ 12 w 36"/>
                <a:gd name="T103" fmla="*/ 0 h 20"/>
                <a:gd name="T104" fmla="*/ 10 w 36"/>
                <a:gd name="T10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 h="20">
                  <a:moveTo>
                    <a:pt x="10" y="0"/>
                  </a:moveTo>
                  <a:lnTo>
                    <a:pt x="10" y="0"/>
                  </a:lnTo>
                  <a:lnTo>
                    <a:pt x="10" y="2"/>
                  </a:lnTo>
                  <a:lnTo>
                    <a:pt x="8" y="2"/>
                  </a:lnTo>
                  <a:lnTo>
                    <a:pt x="8" y="2"/>
                  </a:lnTo>
                  <a:lnTo>
                    <a:pt x="6" y="4"/>
                  </a:lnTo>
                  <a:lnTo>
                    <a:pt x="4" y="6"/>
                  </a:lnTo>
                  <a:lnTo>
                    <a:pt x="4" y="8"/>
                  </a:lnTo>
                  <a:lnTo>
                    <a:pt x="2" y="10"/>
                  </a:lnTo>
                  <a:lnTo>
                    <a:pt x="2" y="12"/>
                  </a:lnTo>
                  <a:lnTo>
                    <a:pt x="2" y="12"/>
                  </a:lnTo>
                  <a:lnTo>
                    <a:pt x="0" y="14"/>
                  </a:lnTo>
                  <a:lnTo>
                    <a:pt x="0" y="16"/>
                  </a:lnTo>
                  <a:lnTo>
                    <a:pt x="0" y="16"/>
                  </a:lnTo>
                  <a:lnTo>
                    <a:pt x="0" y="18"/>
                  </a:lnTo>
                  <a:lnTo>
                    <a:pt x="0" y="18"/>
                  </a:lnTo>
                  <a:lnTo>
                    <a:pt x="2" y="20"/>
                  </a:lnTo>
                  <a:lnTo>
                    <a:pt x="2" y="20"/>
                  </a:lnTo>
                  <a:lnTo>
                    <a:pt x="2" y="20"/>
                  </a:lnTo>
                  <a:lnTo>
                    <a:pt x="4" y="20"/>
                  </a:lnTo>
                  <a:lnTo>
                    <a:pt x="6" y="20"/>
                  </a:lnTo>
                  <a:lnTo>
                    <a:pt x="6" y="20"/>
                  </a:lnTo>
                  <a:lnTo>
                    <a:pt x="8" y="20"/>
                  </a:lnTo>
                  <a:lnTo>
                    <a:pt x="12" y="20"/>
                  </a:lnTo>
                  <a:lnTo>
                    <a:pt x="14" y="20"/>
                  </a:lnTo>
                  <a:lnTo>
                    <a:pt x="18" y="18"/>
                  </a:lnTo>
                  <a:lnTo>
                    <a:pt x="22" y="18"/>
                  </a:lnTo>
                  <a:lnTo>
                    <a:pt x="26" y="16"/>
                  </a:lnTo>
                  <a:lnTo>
                    <a:pt x="28" y="16"/>
                  </a:lnTo>
                  <a:lnTo>
                    <a:pt x="32" y="16"/>
                  </a:lnTo>
                  <a:lnTo>
                    <a:pt x="32" y="14"/>
                  </a:lnTo>
                  <a:lnTo>
                    <a:pt x="34" y="14"/>
                  </a:lnTo>
                  <a:lnTo>
                    <a:pt x="34" y="14"/>
                  </a:lnTo>
                  <a:lnTo>
                    <a:pt x="34" y="12"/>
                  </a:lnTo>
                  <a:lnTo>
                    <a:pt x="36" y="12"/>
                  </a:lnTo>
                  <a:lnTo>
                    <a:pt x="36" y="10"/>
                  </a:lnTo>
                  <a:lnTo>
                    <a:pt x="36" y="10"/>
                  </a:lnTo>
                  <a:lnTo>
                    <a:pt x="36" y="10"/>
                  </a:lnTo>
                  <a:lnTo>
                    <a:pt x="34" y="8"/>
                  </a:lnTo>
                  <a:lnTo>
                    <a:pt x="34" y="8"/>
                  </a:lnTo>
                  <a:lnTo>
                    <a:pt x="32" y="6"/>
                  </a:lnTo>
                  <a:lnTo>
                    <a:pt x="30" y="6"/>
                  </a:lnTo>
                  <a:lnTo>
                    <a:pt x="30" y="4"/>
                  </a:lnTo>
                  <a:lnTo>
                    <a:pt x="28" y="4"/>
                  </a:lnTo>
                  <a:lnTo>
                    <a:pt x="26" y="2"/>
                  </a:lnTo>
                  <a:lnTo>
                    <a:pt x="24" y="2"/>
                  </a:lnTo>
                  <a:lnTo>
                    <a:pt x="22" y="2"/>
                  </a:lnTo>
                  <a:lnTo>
                    <a:pt x="20" y="0"/>
                  </a:lnTo>
                  <a:lnTo>
                    <a:pt x="18" y="0"/>
                  </a:lnTo>
                  <a:lnTo>
                    <a:pt x="16" y="0"/>
                  </a:lnTo>
                  <a:lnTo>
                    <a:pt x="14" y="0"/>
                  </a:lnTo>
                  <a:lnTo>
                    <a:pt x="12" y="0"/>
                  </a:lnTo>
                  <a:lnTo>
                    <a:pt x="10"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6" name="Freeform 598">
              <a:extLst>
                <a:ext uri="{FF2B5EF4-FFF2-40B4-BE49-F238E27FC236}">
                  <a16:creationId xmlns:a16="http://schemas.microsoft.com/office/drawing/2014/main" id="{6D0B6519-B829-4642-8414-3A960F174DDE}"/>
                </a:ext>
              </a:extLst>
            </p:cNvPr>
            <p:cNvSpPr>
              <a:spLocks/>
            </p:cNvSpPr>
            <p:nvPr/>
          </p:nvSpPr>
          <p:spPr bwMode="auto">
            <a:xfrm>
              <a:off x="2769235" y="1667042"/>
              <a:ext cx="1250558" cy="1084279"/>
            </a:xfrm>
            <a:custGeom>
              <a:avLst/>
              <a:gdLst>
                <a:gd name="T0" fmla="*/ 104 w 722"/>
                <a:gd name="T1" fmla="*/ 102 h 626"/>
                <a:gd name="T2" fmla="*/ 92 w 722"/>
                <a:gd name="T3" fmla="*/ 136 h 626"/>
                <a:gd name="T4" fmla="*/ 34 w 722"/>
                <a:gd name="T5" fmla="*/ 168 h 626"/>
                <a:gd name="T6" fmla="*/ 2 w 722"/>
                <a:gd name="T7" fmla="*/ 188 h 626"/>
                <a:gd name="T8" fmla="*/ 56 w 722"/>
                <a:gd name="T9" fmla="*/ 188 h 626"/>
                <a:gd name="T10" fmla="*/ 42 w 722"/>
                <a:gd name="T11" fmla="*/ 208 h 626"/>
                <a:gd name="T12" fmla="*/ 22 w 722"/>
                <a:gd name="T13" fmla="*/ 218 h 626"/>
                <a:gd name="T14" fmla="*/ 106 w 722"/>
                <a:gd name="T15" fmla="*/ 234 h 626"/>
                <a:gd name="T16" fmla="*/ 166 w 722"/>
                <a:gd name="T17" fmla="*/ 262 h 626"/>
                <a:gd name="T18" fmla="*/ 190 w 722"/>
                <a:gd name="T19" fmla="*/ 358 h 626"/>
                <a:gd name="T20" fmla="*/ 216 w 722"/>
                <a:gd name="T21" fmla="*/ 352 h 626"/>
                <a:gd name="T22" fmla="*/ 206 w 722"/>
                <a:gd name="T23" fmla="*/ 376 h 626"/>
                <a:gd name="T24" fmla="*/ 218 w 722"/>
                <a:gd name="T25" fmla="*/ 388 h 626"/>
                <a:gd name="T26" fmla="*/ 224 w 722"/>
                <a:gd name="T27" fmla="*/ 424 h 626"/>
                <a:gd name="T28" fmla="*/ 188 w 722"/>
                <a:gd name="T29" fmla="*/ 462 h 626"/>
                <a:gd name="T30" fmla="*/ 232 w 722"/>
                <a:gd name="T31" fmla="*/ 586 h 626"/>
                <a:gd name="T32" fmla="*/ 270 w 722"/>
                <a:gd name="T33" fmla="*/ 608 h 626"/>
                <a:gd name="T34" fmla="*/ 304 w 722"/>
                <a:gd name="T35" fmla="*/ 620 h 626"/>
                <a:gd name="T36" fmla="*/ 342 w 722"/>
                <a:gd name="T37" fmla="*/ 540 h 626"/>
                <a:gd name="T38" fmla="*/ 356 w 722"/>
                <a:gd name="T39" fmla="*/ 498 h 626"/>
                <a:gd name="T40" fmla="*/ 436 w 722"/>
                <a:gd name="T41" fmla="*/ 482 h 626"/>
                <a:gd name="T42" fmla="*/ 462 w 722"/>
                <a:gd name="T43" fmla="*/ 436 h 626"/>
                <a:gd name="T44" fmla="*/ 528 w 722"/>
                <a:gd name="T45" fmla="*/ 434 h 626"/>
                <a:gd name="T46" fmla="*/ 584 w 722"/>
                <a:gd name="T47" fmla="*/ 384 h 626"/>
                <a:gd name="T48" fmla="*/ 530 w 722"/>
                <a:gd name="T49" fmla="*/ 374 h 626"/>
                <a:gd name="T50" fmla="*/ 550 w 722"/>
                <a:gd name="T51" fmla="*/ 348 h 626"/>
                <a:gd name="T52" fmla="*/ 592 w 722"/>
                <a:gd name="T53" fmla="*/ 374 h 626"/>
                <a:gd name="T54" fmla="*/ 592 w 722"/>
                <a:gd name="T55" fmla="*/ 336 h 626"/>
                <a:gd name="T56" fmla="*/ 560 w 722"/>
                <a:gd name="T57" fmla="*/ 314 h 626"/>
                <a:gd name="T58" fmla="*/ 588 w 722"/>
                <a:gd name="T59" fmla="*/ 312 h 626"/>
                <a:gd name="T60" fmla="*/ 606 w 722"/>
                <a:gd name="T61" fmla="*/ 300 h 626"/>
                <a:gd name="T62" fmla="*/ 612 w 722"/>
                <a:gd name="T63" fmla="*/ 282 h 626"/>
                <a:gd name="T64" fmla="*/ 644 w 722"/>
                <a:gd name="T65" fmla="*/ 268 h 626"/>
                <a:gd name="T66" fmla="*/ 628 w 722"/>
                <a:gd name="T67" fmla="*/ 244 h 626"/>
                <a:gd name="T68" fmla="*/ 638 w 722"/>
                <a:gd name="T69" fmla="*/ 212 h 626"/>
                <a:gd name="T70" fmla="*/ 644 w 722"/>
                <a:gd name="T71" fmla="*/ 188 h 626"/>
                <a:gd name="T72" fmla="*/ 602 w 722"/>
                <a:gd name="T73" fmla="*/ 182 h 626"/>
                <a:gd name="T74" fmla="*/ 638 w 722"/>
                <a:gd name="T75" fmla="*/ 140 h 626"/>
                <a:gd name="T76" fmla="*/ 622 w 722"/>
                <a:gd name="T77" fmla="*/ 122 h 626"/>
                <a:gd name="T78" fmla="*/ 662 w 722"/>
                <a:gd name="T79" fmla="*/ 108 h 626"/>
                <a:gd name="T80" fmla="*/ 722 w 722"/>
                <a:gd name="T81" fmla="*/ 76 h 626"/>
                <a:gd name="T82" fmla="*/ 648 w 722"/>
                <a:gd name="T83" fmla="*/ 74 h 626"/>
                <a:gd name="T84" fmla="*/ 582 w 722"/>
                <a:gd name="T85" fmla="*/ 104 h 626"/>
                <a:gd name="T86" fmla="*/ 604 w 722"/>
                <a:gd name="T87" fmla="*/ 64 h 626"/>
                <a:gd name="T88" fmla="*/ 558 w 722"/>
                <a:gd name="T89" fmla="*/ 82 h 626"/>
                <a:gd name="T90" fmla="*/ 556 w 722"/>
                <a:gd name="T91" fmla="*/ 58 h 626"/>
                <a:gd name="T92" fmla="*/ 482 w 722"/>
                <a:gd name="T93" fmla="*/ 72 h 626"/>
                <a:gd name="T94" fmla="*/ 484 w 722"/>
                <a:gd name="T95" fmla="*/ 56 h 626"/>
                <a:gd name="T96" fmla="*/ 598 w 722"/>
                <a:gd name="T97" fmla="*/ 40 h 626"/>
                <a:gd name="T98" fmla="*/ 566 w 722"/>
                <a:gd name="T99" fmla="*/ 22 h 626"/>
                <a:gd name="T100" fmla="*/ 478 w 722"/>
                <a:gd name="T101" fmla="*/ 38 h 626"/>
                <a:gd name="T102" fmla="*/ 506 w 722"/>
                <a:gd name="T103" fmla="*/ 22 h 626"/>
                <a:gd name="T104" fmla="*/ 508 w 722"/>
                <a:gd name="T105" fmla="*/ 2 h 626"/>
                <a:gd name="T106" fmla="*/ 408 w 722"/>
                <a:gd name="T107" fmla="*/ 22 h 626"/>
                <a:gd name="T108" fmla="*/ 360 w 722"/>
                <a:gd name="T109" fmla="*/ 32 h 626"/>
                <a:gd name="T110" fmla="*/ 342 w 722"/>
                <a:gd name="T111" fmla="*/ 48 h 626"/>
                <a:gd name="T112" fmla="*/ 322 w 722"/>
                <a:gd name="T113" fmla="*/ 56 h 626"/>
                <a:gd name="T114" fmla="*/ 284 w 722"/>
                <a:gd name="T115" fmla="*/ 54 h 626"/>
                <a:gd name="T116" fmla="*/ 276 w 722"/>
                <a:gd name="T117" fmla="*/ 82 h 626"/>
                <a:gd name="T118" fmla="*/ 258 w 722"/>
                <a:gd name="T119" fmla="*/ 58 h 626"/>
                <a:gd name="T120" fmla="*/ 240 w 722"/>
                <a:gd name="T121" fmla="*/ 62 h 626"/>
                <a:gd name="T122" fmla="*/ 212 w 722"/>
                <a:gd name="T123" fmla="*/ 56 h 626"/>
                <a:gd name="T124" fmla="*/ 174 w 722"/>
                <a:gd name="T125" fmla="*/ 64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2" h="626">
                  <a:moveTo>
                    <a:pt x="150" y="78"/>
                  </a:moveTo>
                  <a:lnTo>
                    <a:pt x="150" y="78"/>
                  </a:lnTo>
                  <a:lnTo>
                    <a:pt x="150" y="80"/>
                  </a:lnTo>
                  <a:lnTo>
                    <a:pt x="148" y="82"/>
                  </a:lnTo>
                  <a:lnTo>
                    <a:pt x="144" y="88"/>
                  </a:lnTo>
                  <a:lnTo>
                    <a:pt x="144" y="90"/>
                  </a:lnTo>
                  <a:lnTo>
                    <a:pt x="142" y="94"/>
                  </a:lnTo>
                  <a:lnTo>
                    <a:pt x="140" y="94"/>
                  </a:lnTo>
                  <a:lnTo>
                    <a:pt x="140" y="96"/>
                  </a:lnTo>
                  <a:lnTo>
                    <a:pt x="138" y="96"/>
                  </a:lnTo>
                  <a:lnTo>
                    <a:pt x="138" y="98"/>
                  </a:lnTo>
                  <a:lnTo>
                    <a:pt x="136" y="98"/>
                  </a:lnTo>
                  <a:lnTo>
                    <a:pt x="134" y="98"/>
                  </a:lnTo>
                  <a:lnTo>
                    <a:pt x="132" y="100"/>
                  </a:lnTo>
                  <a:lnTo>
                    <a:pt x="128" y="100"/>
                  </a:lnTo>
                  <a:lnTo>
                    <a:pt x="126" y="100"/>
                  </a:lnTo>
                  <a:lnTo>
                    <a:pt x="122" y="100"/>
                  </a:lnTo>
                  <a:lnTo>
                    <a:pt x="116" y="100"/>
                  </a:lnTo>
                  <a:lnTo>
                    <a:pt x="110" y="102"/>
                  </a:lnTo>
                  <a:lnTo>
                    <a:pt x="106" y="102"/>
                  </a:lnTo>
                  <a:lnTo>
                    <a:pt x="104" y="102"/>
                  </a:lnTo>
                  <a:lnTo>
                    <a:pt x="102" y="104"/>
                  </a:lnTo>
                  <a:lnTo>
                    <a:pt x="98" y="104"/>
                  </a:lnTo>
                  <a:lnTo>
                    <a:pt x="98" y="104"/>
                  </a:lnTo>
                  <a:lnTo>
                    <a:pt x="96" y="106"/>
                  </a:lnTo>
                  <a:lnTo>
                    <a:pt x="96" y="106"/>
                  </a:lnTo>
                  <a:lnTo>
                    <a:pt x="96" y="106"/>
                  </a:lnTo>
                  <a:lnTo>
                    <a:pt x="94" y="108"/>
                  </a:lnTo>
                  <a:lnTo>
                    <a:pt x="94" y="108"/>
                  </a:lnTo>
                  <a:lnTo>
                    <a:pt x="94" y="110"/>
                  </a:lnTo>
                  <a:lnTo>
                    <a:pt x="94" y="112"/>
                  </a:lnTo>
                  <a:lnTo>
                    <a:pt x="94" y="112"/>
                  </a:lnTo>
                  <a:lnTo>
                    <a:pt x="94" y="116"/>
                  </a:lnTo>
                  <a:lnTo>
                    <a:pt x="94" y="118"/>
                  </a:lnTo>
                  <a:lnTo>
                    <a:pt x="94" y="122"/>
                  </a:lnTo>
                  <a:lnTo>
                    <a:pt x="94" y="126"/>
                  </a:lnTo>
                  <a:lnTo>
                    <a:pt x="94" y="128"/>
                  </a:lnTo>
                  <a:lnTo>
                    <a:pt x="94" y="130"/>
                  </a:lnTo>
                  <a:lnTo>
                    <a:pt x="94" y="132"/>
                  </a:lnTo>
                  <a:lnTo>
                    <a:pt x="94" y="134"/>
                  </a:lnTo>
                  <a:lnTo>
                    <a:pt x="94" y="136"/>
                  </a:lnTo>
                  <a:lnTo>
                    <a:pt x="92" y="136"/>
                  </a:lnTo>
                  <a:lnTo>
                    <a:pt x="92" y="138"/>
                  </a:lnTo>
                  <a:lnTo>
                    <a:pt x="90" y="140"/>
                  </a:lnTo>
                  <a:lnTo>
                    <a:pt x="88" y="140"/>
                  </a:lnTo>
                  <a:lnTo>
                    <a:pt x="86" y="140"/>
                  </a:lnTo>
                  <a:lnTo>
                    <a:pt x="84" y="142"/>
                  </a:lnTo>
                  <a:lnTo>
                    <a:pt x="82" y="142"/>
                  </a:lnTo>
                  <a:lnTo>
                    <a:pt x="78" y="142"/>
                  </a:lnTo>
                  <a:lnTo>
                    <a:pt x="72" y="144"/>
                  </a:lnTo>
                  <a:lnTo>
                    <a:pt x="68" y="144"/>
                  </a:lnTo>
                  <a:lnTo>
                    <a:pt x="66" y="146"/>
                  </a:lnTo>
                  <a:lnTo>
                    <a:pt x="64" y="146"/>
                  </a:lnTo>
                  <a:lnTo>
                    <a:pt x="62" y="146"/>
                  </a:lnTo>
                  <a:lnTo>
                    <a:pt x="60" y="148"/>
                  </a:lnTo>
                  <a:lnTo>
                    <a:pt x="58" y="148"/>
                  </a:lnTo>
                  <a:lnTo>
                    <a:pt x="56" y="148"/>
                  </a:lnTo>
                  <a:lnTo>
                    <a:pt x="54" y="152"/>
                  </a:lnTo>
                  <a:lnTo>
                    <a:pt x="50" y="154"/>
                  </a:lnTo>
                  <a:lnTo>
                    <a:pt x="44" y="158"/>
                  </a:lnTo>
                  <a:lnTo>
                    <a:pt x="40" y="162"/>
                  </a:lnTo>
                  <a:lnTo>
                    <a:pt x="38" y="164"/>
                  </a:lnTo>
                  <a:lnTo>
                    <a:pt x="34" y="168"/>
                  </a:lnTo>
                  <a:lnTo>
                    <a:pt x="32" y="168"/>
                  </a:lnTo>
                  <a:lnTo>
                    <a:pt x="30" y="170"/>
                  </a:lnTo>
                  <a:lnTo>
                    <a:pt x="28" y="170"/>
                  </a:lnTo>
                  <a:lnTo>
                    <a:pt x="26" y="170"/>
                  </a:lnTo>
                  <a:lnTo>
                    <a:pt x="22" y="172"/>
                  </a:lnTo>
                  <a:lnTo>
                    <a:pt x="14" y="174"/>
                  </a:lnTo>
                  <a:lnTo>
                    <a:pt x="10" y="174"/>
                  </a:lnTo>
                  <a:lnTo>
                    <a:pt x="6" y="176"/>
                  </a:lnTo>
                  <a:lnTo>
                    <a:pt x="6" y="176"/>
                  </a:lnTo>
                  <a:lnTo>
                    <a:pt x="4" y="176"/>
                  </a:lnTo>
                  <a:lnTo>
                    <a:pt x="2" y="178"/>
                  </a:lnTo>
                  <a:lnTo>
                    <a:pt x="0" y="178"/>
                  </a:lnTo>
                  <a:lnTo>
                    <a:pt x="0" y="180"/>
                  </a:lnTo>
                  <a:lnTo>
                    <a:pt x="0" y="180"/>
                  </a:lnTo>
                  <a:lnTo>
                    <a:pt x="0" y="180"/>
                  </a:lnTo>
                  <a:lnTo>
                    <a:pt x="0" y="182"/>
                  </a:lnTo>
                  <a:lnTo>
                    <a:pt x="0" y="184"/>
                  </a:lnTo>
                  <a:lnTo>
                    <a:pt x="0" y="186"/>
                  </a:lnTo>
                  <a:lnTo>
                    <a:pt x="0" y="186"/>
                  </a:lnTo>
                  <a:lnTo>
                    <a:pt x="0" y="188"/>
                  </a:lnTo>
                  <a:lnTo>
                    <a:pt x="2" y="188"/>
                  </a:lnTo>
                  <a:lnTo>
                    <a:pt x="2" y="190"/>
                  </a:lnTo>
                  <a:lnTo>
                    <a:pt x="4" y="190"/>
                  </a:lnTo>
                  <a:lnTo>
                    <a:pt x="4" y="192"/>
                  </a:lnTo>
                  <a:lnTo>
                    <a:pt x="6" y="192"/>
                  </a:lnTo>
                  <a:lnTo>
                    <a:pt x="8" y="192"/>
                  </a:lnTo>
                  <a:lnTo>
                    <a:pt x="8" y="192"/>
                  </a:lnTo>
                  <a:lnTo>
                    <a:pt x="10" y="192"/>
                  </a:lnTo>
                  <a:lnTo>
                    <a:pt x="14" y="192"/>
                  </a:lnTo>
                  <a:lnTo>
                    <a:pt x="16" y="192"/>
                  </a:lnTo>
                  <a:lnTo>
                    <a:pt x="20" y="190"/>
                  </a:lnTo>
                  <a:lnTo>
                    <a:pt x="28" y="190"/>
                  </a:lnTo>
                  <a:lnTo>
                    <a:pt x="36" y="188"/>
                  </a:lnTo>
                  <a:lnTo>
                    <a:pt x="40" y="186"/>
                  </a:lnTo>
                  <a:lnTo>
                    <a:pt x="44" y="186"/>
                  </a:lnTo>
                  <a:lnTo>
                    <a:pt x="46" y="186"/>
                  </a:lnTo>
                  <a:lnTo>
                    <a:pt x="50" y="186"/>
                  </a:lnTo>
                  <a:lnTo>
                    <a:pt x="52" y="186"/>
                  </a:lnTo>
                  <a:lnTo>
                    <a:pt x="52" y="186"/>
                  </a:lnTo>
                  <a:lnTo>
                    <a:pt x="54" y="186"/>
                  </a:lnTo>
                  <a:lnTo>
                    <a:pt x="56" y="188"/>
                  </a:lnTo>
                  <a:lnTo>
                    <a:pt x="56" y="188"/>
                  </a:lnTo>
                  <a:lnTo>
                    <a:pt x="58" y="190"/>
                  </a:lnTo>
                  <a:lnTo>
                    <a:pt x="60" y="192"/>
                  </a:lnTo>
                  <a:lnTo>
                    <a:pt x="62" y="194"/>
                  </a:lnTo>
                  <a:lnTo>
                    <a:pt x="64" y="196"/>
                  </a:lnTo>
                  <a:lnTo>
                    <a:pt x="64" y="198"/>
                  </a:lnTo>
                  <a:lnTo>
                    <a:pt x="64" y="198"/>
                  </a:lnTo>
                  <a:lnTo>
                    <a:pt x="66" y="200"/>
                  </a:lnTo>
                  <a:lnTo>
                    <a:pt x="66" y="200"/>
                  </a:lnTo>
                  <a:lnTo>
                    <a:pt x="66" y="202"/>
                  </a:lnTo>
                  <a:lnTo>
                    <a:pt x="66" y="202"/>
                  </a:lnTo>
                  <a:lnTo>
                    <a:pt x="64" y="204"/>
                  </a:lnTo>
                  <a:lnTo>
                    <a:pt x="64" y="204"/>
                  </a:lnTo>
                  <a:lnTo>
                    <a:pt x="62" y="204"/>
                  </a:lnTo>
                  <a:lnTo>
                    <a:pt x="62" y="206"/>
                  </a:lnTo>
                  <a:lnTo>
                    <a:pt x="60" y="206"/>
                  </a:lnTo>
                  <a:lnTo>
                    <a:pt x="58" y="206"/>
                  </a:lnTo>
                  <a:lnTo>
                    <a:pt x="56" y="206"/>
                  </a:lnTo>
                  <a:lnTo>
                    <a:pt x="52" y="206"/>
                  </a:lnTo>
                  <a:lnTo>
                    <a:pt x="48" y="208"/>
                  </a:lnTo>
                  <a:lnTo>
                    <a:pt x="44" y="208"/>
                  </a:lnTo>
                  <a:lnTo>
                    <a:pt x="42" y="208"/>
                  </a:lnTo>
                  <a:lnTo>
                    <a:pt x="42" y="208"/>
                  </a:lnTo>
                  <a:lnTo>
                    <a:pt x="40" y="208"/>
                  </a:lnTo>
                  <a:lnTo>
                    <a:pt x="36" y="208"/>
                  </a:lnTo>
                  <a:lnTo>
                    <a:pt x="34" y="208"/>
                  </a:lnTo>
                  <a:lnTo>
                    <a:pt x="30" y="208"/>
                  </a:lnTo>
                  <a:lnTo>
                    <a:pt x="26" y="208"/>
                  </a:lnTo>
                  <a:lnTo>
                    <a:pt x="24" y="208"/>
                  </a:lnTo>
                  <a:lnTo>
                    <a:pt x="24" y="208"/>
                  </a:lnTo>
                  <a:lnTo>
                    <a:pt x="22" y="208"/>
                  </a:lnTo>
                  <a:lnTo>
                    <a:pt x="20" y="208"/>
                  </a:lnTo>
                  <a:lnTo>
                    <a:pt x="20" y="210"/>
                  </a:lnTo>
                  <a:lnTo>
                    <a:pt x="20" y="210"/>
                  </a:lnTo>
                  <a:lnTo>
                    <a:pt x="20" y="210"/>
                  </a:lnTo>
                  <a:lnTo>
                    <a:pt x="20" y="212"/>
                  </a:lnTo>
                  <a:lnTo>
                    <a:pt x="20" y="212"/>
                  </a:lnTo>
                  <a:lnTo>
                    <a:pt x="20" y="212"/>
                  </a:lnTo>
                  <a:lnTo>
                    <a:pt x="20" y="214"/>
                  </a:lnTo>
                  <a:lnTo>
                    <a:pt x="20" y="214"/>
                  </a:lnTo>
                  <a:lnTo>
                    <a:pt x="22" y="216"/>
                  </a:lnTo>
                  <a:lnTo>
                    <a:pt x="22" y="216"/>
                  </a:lnTo>
                  <a:lnTo>
                    <a:pt x="22" y="218"/>
                  </a:lnTo>
                  <a:lnTo>
                    <a:pt x="24" y="220"/>
                  </a:lnTo>
                  <a:lnTo>
                    <a:pt x="28" y="222"/>
                  </a:lnTo>
                  <a:lnTo>
                    <a:pt x="30" y="224"/>
                  </a:lnTo>
                  <a:lnTo>
                    <a:pt x="32" y="226"/>
                  </a:lnTo>
                  <a:lnTo>
                    <a:pt x="36" y="226"/>
                  </a:lnTo>
                  <a:lnTo>
                    <a:pt x="38" y="228"/>
                  </a:lnTo>
                  <a:lnTo>
                    <a:pt x="42" y="230"/>
                  </a:lnTo>
                  <a:lnTo>
                    <a:pt x="44" y="232"/>
                  </a:lnTo>
                  <a:lnTo>
                    <a:pt x="50" y="234"/>
                  </a:lnTo>
                  <a:lnTo>
                    <a:pt x="56" y="236"/>
                  </a:lnTo>
                  <a:lnTo>
                    <a:pt x="58" y="236"/>
                  </a:lnTo>
                  <a:lnTo>
                    <a:pt x="60" y="236"/>
                  </a:lnTo>
                  <a:lnTo>
                    <a:pt x="62" y="236"/>
                  </a:lnTo>
                  <a:lnTo>
                    <a:pt x="64" y="236"/>
                  </a:lnTo>
                  <a:lnTo>
                    <a:pt x="66" y="236"/>
                  </a:lnTo>
                  <a:lnTo>
                    <a:pt x="70" y="236"/>
                  </a:lnTo>
                  <a:lnTo>
                    <a:pt x="74" y="236"/>
                  </a:lnTo>
                  <a:lnTo>
                    <a:pt x="80" y="236"/>
                  </a:lnTo>
                  <a:lnTo>
                    <a:pt x="86" y="236"/>
                  </a:lnTo>
                  <a:lnTo>
                    <a:pt x="100" y="234"/>
                  </a:lnTo>
                  <a:lnTo>
                    <a:pt x="106" y="234"/>
                  </a:lnTo>
                  <a:lnTo>
                    <a:pt x="112" y="234"/>
                  </a:lnTo>
                  <a:lnTo>
                    <a:pt x="118" y="232"/>
                  </a:lnTo>
                  <a:lnTo>
                    <a:pt x="124" y="232"/>
                  </a:lnTo>
                  <a:lnTo>
                    <a:pt x="130" y="232"/>
                  </a:lnTo>
                  <a:lnTo>
                    <a:pt x="132" y="232"/>
                  </a:lnTo>
                  <a:lnTo>
                    <a:pt x="134" y="232"/>
                  </a:lnTo>
                  <a:lnTo>
                    <a:pt x="136" y="234"/>
                  </a:lnTo>
                  <a:lnTo>
                    <a:pt x="140" y="234"/>
                  </a:lnTo>
                  <a:lnTo>
                    <a:pt x="142" y="234"/>
                  </a:lnTo>
                  <a:lnTo>
                    <a:pt x="144" y="236"/>
                  </a:lnTo>
                  <a:lnTo>
                    <a:pt x="144" y="236"/>
                  </a:lnTo>
                  <a:lnTo>
                    <a:pt x="146" y="236"/>
                  </a:lnTo>
                  <a:lnTo>
                    <a:pt x="148" y="238"/>
                  </a:lnTo>
                  <a:lnTo>
                    <a:pt x="150" y="240"/>
                  </a:lnTo>
                  <a:lnTo>
                    <a:pt x="152" y="242"/>
                  </a:lnTo>
                  <a:lnTo>
                    <a:pt x="156" y="246"/>
                  </a:lnTo>
                  <a:lnTo>
                    <a:pt x="158" y="250"/>
                  </a:lnTo>
                  <a:lnTo>
                    <a:pt x="162" y="254"/>
                  </a:lnTo>
                  <a:lnTo>
                    <a:pt x="164" y="258"/>
                  </a:lnTo>
                  <a:lnTo>
                    <a:pt x="166" y="260"/>
                  </a:lnTo>
                  <a:lnTo>
                    <a:pt x="166" y="262"/>
                  </a:lnTo>
                  <a:lnTo>
                    <a:pt x="168" y="264"/>
                  </a:lnTo>
                  <a:lnTo>
                    <a:pt x="170" y="270"/>
                  </a:lnTo>
                  <a:lnTo>
                    <a:pt x="172" y="274"/>
                  </a:lnTo>
                  <a:lnTo>
                    <a:pt x="174" y="280"/>
                  </a:lnTo>
                  <a:lnTo>
                    <a:pt x="176" y="286"/>
                  </a:lnTo>
                  <a:lnTo>
                    <a:pt x="178" y="292"/>
                  </a:lnTo>
                  <a:lnTo>
                    <a:pt x="182" y="300"/>
                  </a:lnTo>
                  <a:lnTo>
                    <a:pt x="182" y="304"/>
                  </a:lnTo>
                  <a:lnTo>
                    <a:pt x="184" y="310"/>
                  </a:lnTo>
                  <a:lnTo>
                    <a:pt x="186" y="320"/>
                  </a:lnTo>
                  <a:lnTo>
                    <a:pt x="188" y="332"/>
                  </a:lnTo>
                  <a:lnTo>
                    <a:pt x="188" y="340"/>
                  </a:lnTo>
                  <a:lnTo>
                    <a:pt x="188" y="344"/>
                  </a:lnTo>
                  <a:lnTo>
                    <a:pt x="188" y="346"/>
                  </a:lnTo>
                  <a:lnTo>
                    <a:pt x="188" y="350"/>
                  </a:lnTo>
                  <a:lnTo>
                    <a:pt x="188" y="354"/>
                  </a:lnTo>
                  <a:lnTo>
                    <a:pt x="188" y="354"/>
                  </a:lnTo>
                  <a:lnTo>
                    <a:pt x="190" y="356"/>
                  </a:lnTo>
                  <a:lnTo>
                    <a:pt x="190" y="356"/>
                  </a:lnTo>
                  <a:lnTo>
                    <a:pt x="190" y="358"/>
                  </a:lnTo>
                  <a:lnTo>
                    <a:pt x="190" y="358"/>
                  </a:lnTo>
                  <a:lnTo>
                    <a:pt x="192" y="358"/>
                  </a:lnTo>
                  <a:lnTo>
                    <a:pt x="192" y="358"/>
                  </a:lnTo>
                  <a:lnTo>
                    <a:pt x="192" y="358"/>
                  </a:lnTo>
                  <a:lnTo>
                    <a:pt x="194" y="358"/>
                  </a:lnTo>
                  <a:lnTo>
                    <a:pt x="194" y="358"/>
                  </a:lnTo>
                  <a:lnTo>
                    <a:pt x="196" y="358"/>
                  </a:lnTo>
                  <a:lnTo>
                    <a:pt x="196" y="358"/>
                  </a:lnTo>
                  <a:lnTo>
                    <a:pt x="198" y="356"/>
                  </a:lnTo>
                  <a:lnTo>
                    <a:pt x="202" y="354"/>
                  </a:lnTo>
                  <a:lnTo>
                    <a:pt x="204" y="352"/>
                  </a:lnTo>
                  <a:lnTo>
                    <a:pt x="206" y="350"/>
                  </a:lnTo>
                  <a:lnTo>
                    <a:pt x="206" y="350"/>
                  </a:lnTo>
                  <a:lnTo>
                    <a:pt x="208" y="350"/>
                  </a:lnTo>
                  <a:lnTo>
                    <a:pt x="210" y="348"/>
                  </a:lnTo>
                  <a:lnTo>
                    <a:pt x="210" y="348"/>
                  </a:lnTo>
                  <a:lnTo>
                    <a:pt x="210" y="348"/>
                  </a:lnTo>
                  <a:lnTo>
                    <a:pt x="212" y="348"/>
                  </a:lnTo>
                  <a:lnTo>
                    <a:pt x="212" y="350"/>
                  </a:lnTo>
                  <a:lnTo>
                    <a:pt x="214" y="350"/>
                  </a:lnTo>
                  <a:lnTo>
                    <a:pt x="214" y="352"/>
                  </a:lnTo>
                  <a:lnTo>
                    <a:pt x="216" y="352"/>
                  </a:lnTo>
                  <a:lnTo>
                    <a:pt x="216" y="354"/>
                  </a:lnTo>
                  <a:lnTo>
                    <a:pt x="218" y="356"/>
                  </a:lnTo>
                  <a:lnTo>
                    <a:pt x="218" y="356"/>
                  </a:lnTo>
                  <a:lnTo>
                    <a:pt x="218" y="358"/>
                  </a:lnTo>
                  <a:lnTo>
                    <a:pt x="220" y="360"/>
                  </a:lnTo>
                  <a:lnTo>
                    <a:pt x="220" y="362"/>
                  </a:lnTo>
                  <a:lnTo>
                    <a:pt x="220" y="364"/>
                  </a:lnTo>
                  <a:lnTo>
                    <a:pt x="220" y="366"/>
                  </a:lnTo>
                  <a:lnTo>
                    <a:pt x="220" y="368"/>
                  </a:lnTo>
                  <a:lnTo>
                    <a:pt x="220" y="368"/>
                  </a:lnTo>
                  <a:lnTo>
                    <a:pt x="220" y="370"/>
                  </a:lnTo>
                  <a:lnTo>
                    <a:pt x="220" y="370"/>
                  </a:lnTo>
                  <a:lnTo>
                    <a:pt x="220" y="372"/>
                  </a:lnTo>
                  <a:lnTo>
                    <a:pt x="220" y="372"/>
                  </a:lnTo>
                  <a:lnTo>
                    <a:pt x="218" y="372"/>
                  </a:lnTo>
                  <a:lnTo>
                    <a:pt x="218" y="372"/>
                  </a:lnTo>
                  <a:lnTo>
                    <a:pt x="216" y="374"/>
                  </a:lnTo>
                  <a:lnTo>
                    <a:pt x="214" y="374"/>
                  </a:lnTo>
                  <a:lnTo>
                    <a:pt x="212" y="374"/>
                  </a:lnTo>
                  <a:lnTo>
                    <a:pt x="210" y="374"/>
                  </a:lnTo>
                  <a:lnTo>
                    <a:pt x="206" y="376"/>
                  </a:lnTo>
                  <a:lnTo>
                    <a:pt x="202" y="376"/>
                  </a:lnTo>
                  <a:lnTo>
                    <a:pt x="200" y="376"/>
                  </a:lnTo>
                  <a:lnTo>
                    <a:pt x="198" y="376"/>
                  </a:lnTo>
                  <a:lnTo>
                    <a:pt x="196" y="376"/>
                  </a:lnTo>
                  <a:lnTo>
                    <a:pt x="196" y="378"/>
                  </a:lnTo>
                  <a:lnTo>
                    <a:pt x="194" y="378"/>
                  </a:lnTo>
                  <a:lnTo>
                    <a:pt x="194" y="378"/>
                  </a:lnTo>
                  <a:lnTo>
                    <a:pt x="194" y="380"/>
                  </a:lnTo>
                  <a:lnTo>
                    <a:pt x="194" y="380"/>
                  </a:lnTo>
                  <a:lnTo>
                    <a:pt x="194" y="380"/>
                  </a:lnTo>
                  <a:lnTo>
                    <a:pt x="194" y="382"/>
                  </a:lnTo>
                  <a:lnTo>
                    <a:pt x="194" y="382"/>
                  </a:lnTo>
                  <a:lnTo>
                    <a:pt x="196" y="382"/>
                  </a:lnTo>
                  <a:lnTo>
                    <a:pt x="196" y="384"/>
                  </a:lnTo>
                  <a:lnTo>
                    <a:pt x="196" y="384"/>
                  </a:lnTo>
                  <a:lnTo>
                    <a:pt x="198" y="384"/>
                  </a:lnTo>
                  <a:lnTo>
                    <a:pt x="202" y="386"/>
                  </a:lnTo>
                  <a:lnTo>
                    <a:pt x="204" y="386"/>
                  </a:lnTo>
                  <a:lnTo>
                    <a:pt x="210" y="388"/>
                  </a:lnTo>
                  <a:lnTo>
                    <a:pt x="216" y="388"/>
                  </a:lnTo>
                  <a:lnTo>
                    <a:pt x="218" y="388"/>
                  </a:lnTo>
                  <a:lnTo>
                    <a:pt x="222" y="390"/>
                  </a:lnTo>
                  <a:lnTo>
                    <a:pt x="224" y="390"/>
                  </a:lnTo>
                  <a:lnTo>
                    <a:pt x="226" y="392"/>
                  </a:lnTo>
                  <a:lnTo>
                    <a:pt x="228" y="392"/>
                  </a:lnTo>
                  <a:lnTo>
                    <a:pt x="228" y="392"/>
                  </a:lnTo>
                  <a:lnTo>
                    <a:pt x="228" y="394"/>
                  </a:lnTo>
                  <a:lnTo>
                    <a:pt x="228" y="394"/>
                  </a:lnTo>
                  <a:lnTo>
                    <a:pt x="230" y="396"/>
                  </a:lnTo>
                  <a:lnTo>
                    <a:pt x="230" y="398"/>
                  </a:lnTo>
                  <a:lnTo>
                    <a:pt x="230" y="398"/>
                  </a:lnTo>
                  <a:lnTo>
                    <a:pt x="230" y="400"/>
                  </a:lnTo>
                  <a:lnTo>
                    <a:pt x="230" y="402"/>
                  </a:lnTo>
                  <a:lnTo>
                    <a:pt x="230" y="404"/>
                  </a:lnTo>
                  <a:lnTo>
                    <a:pt x="230" y="408"/>
                  </a:lnTo>
                  <a:lnTo>
                    <a:pt x="230" y="410"/>
                  </a:lnTo>
                  <a:lnTo>
                    <a:pt x="228" y="414"/>
                  </a:lnTo>
                  <a:lnTo>
                    <a:pt x="228" y="418"/>
                  </a:lnTo>
                  <a:lnTo>
                    <a:pt x="226" y="420"/>
                  </a:lnTo>
                  <a:lnTo>
                    <a:pt x="226" y="422"/>
                  </a:lnTo>
                  <a:lnTo>
                    <a:pt x="224" y="422"/>
                  </a:lnTo>
                  <a:lnTo>
                    <a:pt x="224" y="424"/>
                  </a:lnTo>
                  <a:lnTo>
                    <a:pt x="222" y="426"/>
                  </a:lnTo>
                  <a:lnTo>
                    <a:pt x="222" y="426"/>
                  </a:lnTo>
                  <a:lnTo>
                    <a:pt x="220" y="428"/>
                  </a:lnTo>
                  <a:lnTo>
                    <a:pt x="218" y="428"/>
                  </a:lnTo>
                  <a:lnTo>
                    <a:pt x="214" y="430"/>
                  </a:lnTo>
                  <a:lnTo>
                    <a:pt x="210" y="432"/>
                  </a:lnTo>
                  <a:lnTo>
                    <a:pt x="206" y="434"/>
                  </a:lnTo>
                  <a:lnTo>
                    <a:pt x="202" y="436"/>
                  </a:lnTo>
                  <a:lnTo>
                    <a:pt x="200" y="436"/>
                  </a:lnTo>
                  <a:lnTo>
                    <a:pt x="198" y="438"/>
                  </a:lnTo>
                  <a:lnTo>
                    <a:pt x="198" y="438"/>
                  </a:lnTo>
                  <a:lnTo>
                    <a:pt x="196" y="440"/>
                  </a:lnTo>
                  <a:lnTo>
                    <a:pt x="196" y="440"/>
                  </a:lnTo>
                  <a:lnTo>
                    <a:pt x="194" y="442"/>
                  </a:lnTo>
                  <a:lnTo>
                    <a:pt x="194" y="444"/>
                  </a:lnTo>
                  <a:lnTo>
                    <a:pt x="192" y="446"/>
                  </a:lnTo>
                  <a:lnTo>
                    <a:pt x="190" y="450"/>
                  </a:lnTo>
                  <a:lnTo>
                    <a:pt x="190" y="454"/>
                  </a:lnTo>
                  <a:lnTo>
                    <a:pt x="190" y="456"/>
                  </a:lnTo>
                  <a:lnTo>
                    <a:pt x="188" y="460"/>
                  </a:lnTo>
                  <a:lnTo>
                    <a:pt x="188" y="462"/>
                  </a:lnTo>
                  <a:lnTo>
                    <a:pt x="188" y="464"/>
                  </a:lnTo>
                  <a:lnTo>
                    <a:pt x="188" y="466"/>
                  </a:lnTo>
                  <a:lnTo>
                    <a:pt x="190" y="470"/>
                  </a:lnTo>
                  <a:lnTo>
                    <a:pt x="190" y="472"/>
                  </a:lnTo>
                  <a:lnTo>
                    <a:pt x="192" y="478"/>
                  </a:lnTo>
                  <a:lnTo>
                    <a:pt x="194" y="486"/>
                  </a:lnTo>
                  <a:lnTo>
                    <a:pt x="196" y="492"/>
                  </a:lnTo>
                  <a:lnTo>
                    <a:pt x="198" y="498"/>
                  </a:lnTo>
                  <a:lnTo>
                    <a:pt x="200" y="502"/>
                  </a:lnTo>
                  <a:lnTo>
                    <a:pt x="202" y="508"/>
                  </a:lnTo>
                  <a:lnTo>
                    <a:pt x="204" y="518"/>
                  </a:lnTo>
                  <a:lnTo>
                    <a:pt x="210" y="532"/>
                  </a:lnTo>
                  <a:lnTo>
                    <a:pt x="214" y="544"/>
                  </a:lnTo>
                  <a:lnTo>
                    <a:pt x="216" y="550"/>
                  </a:lnTo>
                  <a:lnTo>
                    <a:pt x="218" y="556"/>
                  </a:lnTo>
                  <a:lnTo>
                    <a:pt x="220" y="560"/>
                  </a:lnTo>
                  <a:lnTo>
                    <a:pt x="224" y="566"/>
                  </a:lnTo>
                  <a:lnTo>
                    <a:pt x="226" y="572"/>
                  </a:lnTo>
                  <a:lnTo>
                    <a:pt x="228" y="580"/>
                  </a:lnTo>
                  <a:lnTo>
                    <a:pt x="230" y="582"/>
                  </a:lnTo>
                  <a:lnTo>
                    <a:pt x="232" y="586"/>
                  </a:lnTo>
                  <a:lnTo>
                    <a:pt x="232" y="590"/>
                  </a:lnTo>
                  <a:lnTo>
                    <a:pt x="234" y="592"/>
                  </a:lnTo>
                  <a:lnTo>
                    <a:pt x="236" y="594"/>
                  </a:lnTo>
                  <a:lnTo>
                    <a:pt x="238" y="598"/>
                  </a:lnTo>
                  <a:lnTo>
                    <a:pt x="240" y="600"/>
                  </a:lnTo>
                  <a:lnTo>
                    <a:pt x="242" y="600"/>
                  </a:lnTo>
                  <a:lnTo>
                    <a:pt x="242" y="602"/>
                  </a:lnTo>
                  <a:lnTo>
                    <a:pt x="244" y="602"/>
                  </a:lnTo>
                  <a:lnTo>
                    <a:pt x="246" y="602"/>
                  </a:lnTo>
                  <a:lnTo>
                    <a:pt x="246" y="602"/>
                  </a:lnTo>
                  <a:lnTo>
                    <a:pt x="250" y="604"/>
                  </a:lnTo>
                  <a:lnTo>
                    <a:pt x="254" y="604"/>
                  </a:lnTo>
                  <a:lnTo>
                    <a:pt x="258" y="604"/>
                  </a:lnTo>
                  <a:lnTo>
                    <a:pt x="262" y="604"/>
                  </a:lnTo>
                  <a:lnTo>
                    <a:pt x="262" y="604"/>
                  </a:lnTo>
                  <a:lnTo>
                    <a:pt x="264" y="604"/>
                  </a:lnTo>
                  <a:lnTo>
                    <a:pt x="266" y="606"/>
                  </a:lnTo>
                  <a:lnTo>
                    <a:pt x="266" y="606"/>
                  </a:lnTo>
                  <a:lnTo>
                    <a:pt x="268" y="606"/>
                  </a:lnTo>
                  <a:lnTo>
                    <a:pt x="268" y="608"/>
                  </a:lnTo>
                  <a:lnTo>
                    <a:pt x="270" y="608"/>
                  </a:lnTo>
                  <a:lnTo>
                    <a:pt x="270" y="610"/>
                  </a:lnTo>
                  <a:lnTo>
                    <a:pt x="272" y="614"/>
                  </a:lnTo>
                  <a:lnTo>
                    <a:pt x="272" y="616"/>
                  </a:lnTo>
                  <a:lnTo>
                    <a:pt x="274" y="620"/>
                  </a:lnTo>
                  <a:lnTo>
                    <a:pt x="276" y="622"/>
                  </a:lnTo>
                  <a:lnTo>
                    <a:pt x="276" y="624"/>
                  </a:lnTo>
                  <a:lnTo>
                    <a:pt x="278" y="624"/>
                  </a:lnTo>
                  <a:lnTo>
                    <a:pt x="278" y="626"/>
                  </a:lnTo>
                  <a:lnTo>
                    <a:pt x="280" y="626"/>
                  </a:lnTo>
                  <a:lnTo>
                    <a:pt x="280" y="626"/>
                  </a:lnTo>
                  <a:lnTo>
                    <a:pt x="282" y="626"/>
                  </a:lnTo>
                  <a:lnTo>
                    <a:pt x="284" y="626"/>
                  </a:lnTo>
                  <a:lnTo>
                    <a:pt x="284" y="626"/>
                  </a:lnTo>
                  <a:lnTo>
                    <a:pt x="288" y="626"/>
                  </a:lnTo>
                  <a:lnTo>
                    <a:pt x="290" y="626"/>
                  </a:lnTo>
                  <a:lnTo>
                    <a:pt x="294" y="624"/>
                  </a:lnTo>
                  <a:lnTo>
                    <a:pt x="298" y="624"/>
                  </a:lnTo>
                  <a:lnTo>
                    <a:pt x="300" y="622"/>
                  </a:lnTo>
                  <a:lnTo>
                    <a:pt x="302" y="622"/>
                  </a:lnTo>
                  <a:lnTo>
                    <a:pt x="302" y="620"/>
                  </a:lnTo>
                  <a:lnTo>
                    <a:pt x="304" y="620"/>
                  </a:lnTo>
                  <a:lnTo>
                    <a:pt x="304" y="618"/>
                  </a:lnTo>
                  <a:lnTo>
                    <a:pt x="306" y="618"/>
                  </a:lnTo>
                  <a:lnTo>
                    <a:pt x="306" y="616"/>
                  </a:lnTo>
                  <a:lnTo>
                    <a:pt x="308" y="612"/>
                  </a:lnTo>
                  <a:lnTo>
                    <a:pt x="310" y="608"/>
                  </a:lnTo>
                  <a:lnTo>
                    <a:pt x="312" y="604"/>
                  </a:lnTo>
                  <a:lnTo>
                    <a:pt x="314" y="600"/>
                  </a:lnTo>
                  <a:lnTo>
                    <a:pt x="314" y="596"/>
                  </a:lnTo>
                  <a:lnTo>
                    <a:pt x="316" y="590"/>
                  </a:lnTo>
                  <a:lnTo>
                    <a:pt x="318" y="582"/>
                  </a:lnTo>
                  <a:lnTo>
                    <a:pt x="322" y="572"/>
                  </a:lnTo>
                  <a:lnTo>
                    <a:pt x="322" y="568"/>
                  </a:lnTo>
                  <a:lnTo>
                    <a:pt x="324" y="564"/>
                  </a:lnTo>
                  <a:lnTo>
                    <a:pt x="326" y="560"/>
                  </a:lnTo>
                  <a:lnTo>
                    <a:pt x="328" y="558"/>
                  </a:lnTo>
                  <a:lnTo>
                    <a:pt x="328" y="556"/>
                  </a:lnTo>
                  <a:lnTo>
                    <a:pt x="328" y="556"/>
                  </a:lnTo>
                  <a:lnTo>
                    <a:pt x="330" y="552"/>
                  </a:lnTo>
                  <a:lnTo>
                    <a:pt x="336" y="546"/>
                  </a:lnTo>
                  <a:lnTo>
                    <a:pt x="340" y="544"/>
                  </a:lnTo>
                  <a:lnTo>
                    <a:pt x="342" y="540"/>
                  </a:lnTo>
                  <a:lnTo>
                    <a:pt x="344" y="538"/>
                  </a:lnTo>
                  <a:lnTo>
                    <a:pt x="344" y="536"/>
                  </a:lnTo>
                  <a:lnTo>
                    <a:pt x="344" y="536"/>
                  </a:lnTo>
                  <a:lnTo>
                    <a:pt x="346" y="534"/>
                  </a:lnTo>
                  <a:lnTo>
                    <a:pt x="346" y="532"/>
                  </a:lnTo>
                  <a:lnTo>
                    <a:pt x="346" y="530"/>
                  </a:lnTo>
                  <a:lnTo>
                    <a:pt x="346" y="528"/>
                  </a:lnTo>
                  <a:lnTo>
                    <a:pt x="346" y="524"/>
                  </a:lnTo>
                  <a:lnTo>
                    <a:pt x="346" y="518"/>
                  </a:lnTo>
                  <a:lnTo>
                    <a:pt x="346" y="514"/>
                  </a:lnTo>
                  <a:lnTo>
                    <a:pt x="346" y="512"/>
                  </a:lnTo>
                  <a:lnTo>
                    <a:pt x="346" y="510"/>
                  </a:lnTo>
                  <a:lnTo>
                    <a:pt x="346" y="508"/>
                  </a:lnTo>
                  <a:lnTo>
                    <a:pt x="346" y="506"/>
                  </a:lnTo>
                  <a:lnTo>
                    <a:pt x="346" y="504"/>
                  </a:lnTo>
                  <a:lnTo>
                    <a:pt x="348" y="502"/>
                  </a:lnTo>
                  <a:lnTo>
                    <a:pt x="348" y="502"/>
                  </a:lnTo>
                  <a:lnTo>
                    <a:pt x="348" y="500"/>
                  </a:lnTo>
                  <a:lnTo>
                    <a:pt x="350" y="500"/>
                  </a:lnTo>
                  <a:lnTo>
                    <a:pt x="352" y="498"/>
                  </a:lnTo>
                  <a:lnTo>
                    <a:pt x="356" y="498"/>
                  </a:lnTo>
                  <a:lnTo>
                    <a:pt x="358" y="496"/>
                  </a:lnTo>
                  <a:lnTo>
                    <a:pt x="362" y="496"/>
                  </a:lnTo>
                  <a:lnTo>
                    <a:pt x="364" y="496"/>
                  </a:lnTo>
                  <a:lnTo>
                    <a:pt x="368" y="496"/>
                  </a:lnTo>
                  <a:lnTo>
                    <a:pt x="374" y="494"/>
                  </a:lnTo>
                  <a:lnTo>
                    <a:pt x="380" y="494"/>
                  </a:lnTo>
                  <a:lnTo>
                    <a:pt x="386" y="494"/>
                  </a:lnTo>
                  <a:lnTo>
                    <a:pt x="388" y="492"/>
                  </a:lnTo>
                  <a:lnTo>
                    <a:pt x="390" y="492"/>
                  </a:lnTo>
                  <a:lnTo>
                    <a:pt x="392" y="492"/>
                  </a:lnTo>
                  <a:lnTo>
                    <a:pt x="396" y="492"/>
                  </a:lnTo>
                  <a:lnTo>
                    <a:pt x="400" y="490"/>
                  </a:lnTo>
                  <a:lnTo>
                    <a:pt x="408" y="490"/>
                  </a:lnTo>
                  <a:lnTo>
                    <a:pt x="414" y="488"/>
                  </a:lnTo>
                  <a:lnTo>
                    <a:pt x="420" y="488"/>
                  </a:lnTo>
                  <a:lnTo>
                    <a:pt x="424" y="488"/>
                  </a:lnTo>
                  <a:lnTo>
                    <a:pt x="426" y="486"/>
                  </a:lnTo>
                  <a:lnTo>
                    <a:pt x="428" y="486"/>
                  </a:lnTo>
                  <a:lnTo>
                    <a:pt x="432" y="484"/>
                  </a:lnTo>
                  <a:lnTo>
                    <a:pt x="434" y="484"/>
                  </a:lnTo>
                  <a:lnTo>
                    <a:pt x="436" y="482"/>
                  </a:lnTo>
                  <a:lnTo>
                    <a:pt x="436" y="482"/>
                  </a:lnTo>
                  <a:lnTo>
                    <a:pt x="438" y="480"/>
                  </a:lnTo>
                  <a:lnTo>
                    <a:pt x="438" y="480"/>
                  </a:lnTo>
                  <a:lnTo>
                    <a:pt x="438" y="478"/>
                  </a:lnTo>
                  <a:lnTo>
                    <a:pt x="440" y="476"/>
                  </a:lnTo>
                  <a:lnTo>
                    <a:pt x="442" y="472"/>
                  </a:lnTo>
                  <a:lnTo>
                    <a:pt x="442" y="470"/>
                  </a:lnTo>
                  <a:lnTo>
                    <a:pt x="444" y="466"/>
                  </a:lnTo>
                  <a:lnTo>
                    <a:pt x="446" y="458"/>
                  </a:lnTo>
                  <a:lnTo>
                    <a:pt x="448" y="452"/>
                  </a:lnTo>
                  <a:lnTo>
                    <a:pt x="450" y="448"/>
                  </a:lnTo>
                  <a:lnTo>
                    <a:pt x="452" y="446"/>
                  </a:lnTo>
                  <a:lnTo>
                    <a:pt x="452" y="442"/>
                  </a:lnTo>
                  <a:lnTo>
                    <a:pt x="454" y="440"/>
                  </a:lnTo>
                  <a:lnTo>
                    <a:pt x="456" y="440"/>
                  </a:lnTo>
                  <a:lnTo>
                    <a:pt x="456" y="438"/>
                  </a:lnTo>
                  <a:lnTo>
                    <a:pt x="458" y="438"/>
                  </a:lnTo>
                  <a:lnTo>
                    <a:pt x="458" y="436"/>
                  </a:lnTo>
                  <a:lnTo>
                    <a:pt x="460" y="436"/>
                  </a:lnTo>
                  <a:lnTo>
                    <a:pt x="460" y="436"/>
                  </a:lnTo>
                  <a:lnTo>
                    <a:pt x="462" y="436"/>
                  </a:lnTo>
                  <a:lnTo>
                    <a:pt x="464" y="436"/>
                  </a:lnTo>
                  <a:lnTo>
                    <a:pt x="464" y="436"/>
                  </a:lnTo>
                  <a:lnTo>
                    <a:pt x="466" y="436"/>
                  </a:lnTo>
                  <a:lnTo>
                    <a:pt x="470" y="436"/>
                  </a:lnTo>
                  <a:lnTo>
                    <a:pt x="474" y="436"/>
                  </a:lnTo>
                  <a:lnTo>
                    <a:pt x="478" y="436"/>
                  </a:lnTo>
                  <a:lnTo>
                    <a:pt x="482" y="438"/>
                  </a:lnTo>
                  <a:lnTo>
                    <a:pt x="486" y="438"/>
                  </a:lnTo>
                  <a:lnTo>
                    <a:pt x="494" y="440"/>
                  </a:lnTo>
                  <a:lnTo>
                    <a:pt x="498" y="440"/>
                  </a:lnTo>
                  <a:lnTo>
                    <a:pt x="500" y="442"/>
                  </a:lnTo>
                  <a:lnTo>
                    <a:pt x="504" y="442"/>
                  </a:lnTo>
                  <a:lnTo>
                    <a:pt x="508" y="442"/>
                  </a:lnTo>
                  <a:lnTo>
                    <a:pt x="510" y="442"/>
                  </a:lnTo>
                  <a:lnTo>
                    <a:pt x="512" y="442"/>
                  </a:lnTo>
                  <a:lnTo>
                    <a:pt x="514" y="442"/>
                  </a:lnTo>
                  <a:lnTo>
                    <a:pt x="516" y="442"/>
                  </a:lnTo>
                  <a:lnTo>
                    <a:pt x="520" y="440"/>
                  </a:lnTo>
                  <a:lnTo>
                    <a:pt x="522" y="438"/>
                  </a:lnTo>
                  <a:lnTo>
                    <a:pt x="526" y="436"/>
                  </a:lnTo>
                  <a:lnTo>
                    <a:pt x="528" y="434"/>
                  </a:lnTo>
                  <a:lnTo>
                    <a:pt x="532" y="432"/>
                  </a:lnTo>
                  <a:lnTo>
                    <a:pt x="536" y="430"/>
                  </a:lnTo>
                  <a:lnTo>
                    <a:pt x="538" y="428"/>
                  </a:lnTo>
                  <a:lnTo>
                    <a:pt x="546" y="422"/>
                  </a:lnTo>
                  <a:lnTo>
                    <a:pt x="552" y="418"/>
                  </a:lnTo>
                  <a:lnTo>
                    <a:pt x="556" y="414"/>
                  </a:lnTo>
                  <a:lnTo>
                    <a:pt x="562" y="410"/>
                  </a:lnTo>
                  <a:lnTo>
                    <a:pt x="564" y="406"/>
                  </a:lnTo>
                  <a:lnTo>
                    <a:pt x="568" y="404"/>
                  </a:lnTo>
                  <a:lnTo>
                    <a:pt x="572" y="400"/>
                  </a:lnTo>
                  <a:lnTo>
                    <a:pt x="576" y="398"/>
                  </a:lnTo>
                  <a:lnTo>
                    <a:pt x="578" y="396"/>
                  </a:lnTo>
                  <a:lnTo>
                    <a:pt x="580" y="394"/>
                  </a:lnTo>
                  <a:lnTo>
                    <a:pt x="582" y="392"/>
                  </a:lnTo>
                  <a:lnTo>
                    <a:pt x="582" y="390"/>
                  </a:lnTo>
                  <a:lnTo>
                    <a:pt x="584" y="388"/>
                  </a:lnTo>
                  <a:lnTo>
                    <a:pt x="584" y="388"/>
                  </a:lnTo>
                  <a:lnTo>
                    <a:pt x="584" y="386"/>
                  </a:lnTo>
                  <a:lnTo>
                    <a:pt x="584" y="386"/>
                  </a:lnTo>
                  <a:lnTo>
                    <a:pt x="584" y="384"/>
                  </a:lnTo>
                  <a:lnTo>
                    <a:pt x="584" y="384"/>
                  </a:lnTo>
                  <a:lnTo>
                    <a:pt x="584" y="382"/>
                  </a:lnTo>
                  <a:lnTo>
                    <a:pt x="582" y="382"/>
                  </a:lnTo>
                  <a:lnTo>
                    <a:pt x="582" y="380"/>
                  </a:lnTo>
                  <a:lnTo>
                    <a:pt x="580" y="380"/>
                  </a:lnTo>
                  <a:lnTo>
                    <a:pt x="578" y="380"/>
                  </a:lnTo>
                  <a:lnTo>
                    <a:pt x="578" y="380"/>
                  </a:lnTo>
                  <a:lnTo>
                    <a:pt x="574" y="378"/>
                  </a:lnTo>
                  <a:lnTo>
                    <a:pt x="570" y="378"/>
                  </a:lnTo>
                  <a:lnTo>
                    <a:pt x="566" y="378"/>
                  </a:lnTo>
                  <a:lnTo>
                    <a:pt x="562" y="376"/>
                  </a:lnTo>
                  <a:lnTo>
                    <a:pt x="558" y="376"/>
                  </a:lnTo>
                  <a:lnTo>
                    <a:pt x="558" y="376"/>
                  </a:lnTo>
                  <a:lnTo>
                    <a:pt x="556" y="376"/>
                  </a:lnTo>
                  <a:lnTo>
                    <a:pt x="552" y="376"/>
                  </a:lnTo>
                  <a:lnTo>
                    <a:pt x="548" y="376"/>
                  </a:lnTo>
                  <a:lnTo>
                    <a:pt x="542" y="376"/>
                  </a:lnTo>
                  <a:lnTo>
                    <a:pt x="538" y="376"/>
                  </a:lnTo>
                  <a:lnTo>
                    <a:pt x="536" y="376"/>
                  </a:lnTo>
                  <a:lnTo>
                    <a:pt x="534" y="374"/>
                  </a:lnTo>
                  <a:lnTo>
                    <a:pt x="532" y="374"/>
                  </a:lnTo>
                  <a:lnTo>
                    <a:pt x="530" y="374"/>
                  </a:lnTo>
                  <a:lnTo>
                    <a:pt x="530" y="372"/>
                  </a:lnTo>
                  <a:lnTo>
                    <a:pt x="530" y="372"/>
                  </a:lnTo>
                  <a:lnTo>
                    <a:pt x="528" y="372"/>
                  </a:lnTo>
                  <a:lnTo>
                    <a:pt x="528" y="370"/>
                  </a:lnTo>
                  <a:lnTo>
                    <a:pt x="528" y="370"/>
                  </a:lnTo>
                  <a:lnTo>
                    <a:pt x="528" y="368"/>
                  </a:lnTo>
                  <a:lnTo>
                    <a:pt x="528" y="368"/>
                  </a:lnTo>
                  <a:lnTo>
                    <a:pt x="528" y="364"/>
                  </a:lnTo>
                  <a:lnTo>
                    <a:pt x="530" y="362"/>
                  </a:lnTo>
                  <a:lnTo>
                    <a:pt x="530" y="360"/>
                  </a:lnTo>
                  <a:lnTo>
                    <a:pt x="532" y="358"/>
                  </a:lnTo>
                  <a:lnTo>
                    <a:pt x="532" y="356"/>
                  </a:lnTo>
                  <a:lnTo>
                    <a:pt x="534" y="354"/>
                  </a:lnTo>
                  <a:lnTo>
                    <a:pt x="534" y="354"/>
                  </a:lnTo>
                  <a:lnTo>
                    <a:pt x="536" y="352"/>
                  </a:lnTo>
                  <a:lnTo>
                    <a:pt x="538" y="352"/>
                  </a:lnTo>
                  <a:lnTo>
                    <a:pt x="540" y="350"/>
                  </a:lnTo>
                  <a:lnTo>
                    <a:pt x="542" y="350"/>
                  </a:lnTo>
                  <a:lnTo>
                    <a:pt x="544" y="350"/>
                  </a:lnTo>
                  <a:lnTo>
                    <a:pt x="548" y="348"/>
                  </a:lnTo>
                  <a:lnTo>
                    <a:pt x="550" y="348"/>
                  </a:lnTo>
                  <a:lnTo>
                    <a:pt x="552" y="348"/>
                  </a:lnTo>
                  <a:lnTo>
                    <a:pt x="552" y="348"/>
                  </a:lnTo>
                  <a:lnTo>
                    <a:pt x="554" y="350"/>
                  </a:lnTo>
                  <a:lnTo>
                    <a:pt x="554" y="350"/>
                  </a:lnTo>
                  <a:lnTo>
                    <a:pt x="556" y="352"/>
                  </a:lnTo>
                  <a:lnTo>
                    <a:pt x="560" y="352"/>
                  </a:lnTo>
                  <a:lnTo>
                    <a:pt x="562" y="356"/>
                  </a:lnTo>
                  <a:lnTo>
                    <a:pt x="566" y="360"/>
                  </a:lnTo>
                  <a:lnTo>
                    <a:pt x="570" y="362"/>
                  </a:lnTo>
                  <a:lnTo>
                    <a:pt x="572" y="364"/>
                  </a:lnTo>
                  <a:lnTo>
                    <a:pt x="574" y="366"/>
                  </a:lnTo>
                  <a:lnTo>
                    <a:pt x="576" y="366"/>
                  </a:lnTo>
                  <a:lnTo>
                    <a:pt x="578" y="368"/>
                  </a:lnTo>
                  <a:lnTo>
                    <a:pt x="582" y="370"/>
                  </a:lnTo>
                  <a:lnTo>
                    <a:pt x="584" y="372"/>
                  </a:lnTo>
                  <a:lnTo>
                    <a:pt x="586" y="372"/>
                  </a:lnTo>
                  <a:lnTo>
                    <a:pt x="586" y="374"/>
                  </a:lnTo>
                  <a:lnTo>
                    <a:pt x="588" y="374"/>
                  </a:lnTo>
                  <a:lnTo>
                    <a:pt x="590" y="374"/>
                  </a:lnTo>
                  <a:lnTo>
                    <a:pt x="590" y="374"/>
                  </a:lnTo>
                  <a:lnTo>
                    <a:pt x="592" y="374"/>
                  </a:lnTo>
                  <a:lnTo>
                    <a:pt x="592" y="374"/>
                  </a:lnTo>
                  <a:lnTo>
                    <a:pt x="594" y="374"/>
                  </a:lnTo>
                  <a:lnTo>
                    <a:pt x="594" y="372"/>
                  </a:lnTo>
                  <a:lnTo>
                    <a:pt x="596" y="372"/>
                  </a:lnTo>
                  <a:lnTo>
                    <a:pt x="596" y="370"/>
                  </a:lnTo>
                  <a:lnTo>
                    <a:pt x="598" y="368"/>
                  </a:lnTo>
                  <a:lnTo>
                    <a:pt x="600" y="366"/>
                  </a:lnTo>
                  <a:lnTo>
                    <a:pt x="600" y="362"/>
                  </a:lnTo>
                  <a:lnTo>
                    <a:pt x="602" y="360"/>
                  </a:lnTo>
                  <a:lnTo>
                    <a:pt x="602" y="360"/>
                  </a:lnTo>
                  <a:lnTo>
                    <a:pt x="602" y="358"/>
                  </a:lnTo>
                  <a:lnTo>
                    <a:pt x="602" y="358"/>
                  </a:lnTo>
                  <a:lnTo>
                    <a:pt x="602" y="356"/>
                  </a:lnTo>
                  <a:lnTo>
                    <a:pt x="602" y="354"/>
                  </a:lnTo>
                  <a:lnTo>
                    <a:pt x="600" y="352"/>
                  </a:lnTo>
                  <a:lnTo>
                    <a:pt x="600" y="350"/>
                  </a:lnTo>
                  <a:lnTo>
                    <a:pt x="600" y="348"/>
                  </a:lnTo>
                  <a:lnTo>
                    <a:pt x="598" y="346"/>
                  </a:lnTo>
                  <a:lnTo>
                    <a:pt x="596" y="342"/>
                  </a:lnTo>
                  <a:lnTo>
                    <a:pt x="594" y="338"/>
                  </a:lnTo>
                  <a:lnTo>
                    <a:pt x="592" y="336"/>
                  </a:lnTo>
                  <a:lnTo>
                    <a:pt x="590" y="334"/>
                  </a:lnTo>
                  <a:lnTo>
                    <a:pt x="590" y="334"/>
                  </a:lnTo>
                  <a:lnTo>
                    <a:pt x="588" y="332"/>
                  </a:lnTo>
                  <a:lnTo>
                    <a:pt x="586" y="332"/>
                  </a:lnTo>
                  <a:lnTo>
                    <a:pt x="584" y="332"/>
                  </a:lnTo>
                  <a:lnTo>
                    <a:pt x="582" y="330"/>
                  </a:lnTo>
                  <a:lnTo>
                    <a:pt x="578" y="330"/>
                  </a:lnTo>
                  <a:lnTo>
                    <a:pt x="574" y="330"/>
                  </a:lnTo>
                  <a:lnTo>
                    <a:pt x="570" y="328"/>
                  </a:lnTo>
                  <a:lnTo>
                    <a:pt x="568" y="328"/>
                  </a:lnTo>
                  <a:lnTo>
                    <a:pt x="566" y="328"/>
                  </a:lnTo>
                  <a:lnTo>
                    <a:pt x="564" y="326"/>
                  </a:lnTo>
                  <a:lnTo>
                    <a:pt x="564" y="326"/>
                  </a:lnTo>
                  <a:lnTo>
                    <a:pt x="562" y="324"/>
                  </a:lnTo>
                  <a:lnTo>
                    <a:pt x="562" y="324"/>
                  </a:lnTo>
                  <a:lnTo>
                    <a:pt x="560" y="322"/>
                  </a:lnTo>
                  <a:lnTo>
                    <a:pt x="560" y="322"/>
                  </a:lnTo>
                  <a:lnTo>
                    <a:pt x="560" y="320"/>
                  </a:lnTo>
                  <a:lnTo>
                    <a:pt x="560" y="320"/>
                  </a:lnTo>
                  <a:lnTo>
                    <a:pt x="560" y="316"/>
                  </a:lnTo>
                  <a:lnTo>
                    <a:pt x="560" y="314"/>
                  </a:lnTo>
                  <a:lnTo>
                    <a:pt x="562" y="312"/>
                  </a:lnTo>
                  <a:lnTo>
                    <a:pt x="562" y="310"/>
                  </a:lnTo>
                  <a:lnTo>
                    <a:pt x="562" y="308"/>
                  </a:lnTo>
                  <a:lnTo>
                    <a:pt x="562" y="308"/>
                  </a:lnTo>
                  <a:lnTo>
                    <a:pt x="564" y="306"/>
                  </a:lnTo>
                  <a:lnTo>
                    <a:pt x="564" y="306"/>
                  </a:lnTo>
                  <a:lnTo>
                    <a:pt x="564" y="306"/>
                  </a:lnTo>
                  <a:lnTo>
                    <a:pt x="566" y="304"/>
                  </a:lnTo>
                  <a:lnTo>
                    <a:pt x="566" y="304"/>
                  </a:lnTo>
                  <a:lnTo>
                    <a:pt x="568" y="304"/>
                  </a:lnTo>
                  <a:lnTo>
                    <a:pt x="570" y="304"/>
                  </a:lnTo>
                  <a:lnTo>
                    <a:pt x="574" y="304"/>
                  </a:lnTo>
                  <a:lnTo>
                    <a:pt x="576" y="304"/>
                  </a:lnTo>
                  <a:lnTo>
                    <a:pt x="580" y="304"/>
                  </a:lnTo>
                  <a:lnTo>
                    <a:pt x="582" y="306"/>
                  </a:lnTo>
                  <a:lnTo>
                    <a:pt x="584" y="306"/>
                  </a:lnTo>
                  <a:lnTo>
                    <a:pt x="584" y="306"/>
                  </a:lnTo>
                  <a:lnTo>
                    <a:pt x="586" y="306"/>
                  </a:lnTo>
                  <a:lnTo>
                    <a:pt x="586" y="308"/>
                  </a:lnTo>
                  <a:lnTo>
                    <a:pt x="588" y="310"/>
                  </a:lnTo>
                  <a:lnTo>
                    <a:pt x="588" y="312"/>
                  </a:lnTo>
                  <a:lnTo>
                    <a:pt x="590" y="312"/>
                  </a:lnTo>
                  <a:lnTo>
                    <a:pt x="590" y="312"/>
                  </a:lnTo>
                  <a:lnTo>
                    <a:pt x="590" y="314"/>
                  </a:lnTo>
                  <a:lnTo>
                    <a:pt x="592" y="314"/>
                  </a:lnTo>
                  <a:lnTo>
                    <a:pt x="592" y="314"/>
                  </a:lnTo>
                  <a:lnTo>
                    <a:pt x="592" y="314"/>
                  </a:lnTo>
                  <a:lnTo>
                    <a:pt x="592" y="312"/>
                  </a:lnTo>
                  <a:lnTo>
                    <a:pt x="594" y="312"/>
                  </a:lnTo>
                  <a:lnTo>
                    <a:pt x="594" y="312"/>
                  </a:lnTo>
                  <a:lnTo>
                    <a:pt x="594" y="310"/>
                  </a:lnTo>
                  <a:lnTo>
                    <a:pt x="596" y="308"/>
                  </a:lnTo>
                  <a:lnTo>
                    <a:pt x="596" y="306"/>
                  </a:lnTo>
                  <a:lnTo>
                    <a:pt x="598" y="304"/>
                  </a:lnTo>
                  <a:lnTo>
                    <a:pt x="598" y="302"/>
                  </a:lnTo>
                  <a:lnTo>
                    <a:pt x="598" y="302"/>
                  </a:lnTo>
                  <a:lnTo>
                    <a:pt x="600" y="300"/>
                  </a:lnTo>
                  <a:lnTo>
                    <a:pt x="600" y="300"/>
                  </a:lnTo>
                  <a:lnTo>
                    <a:pt x="602" y="300"/>
                  </a:lnTo>
                  <a:lnTo>
                    <a:pt x="602" y="300"/>
                  </a:lnTo>
                  <a:lnTo>
                    <a:pt x="604" y="300"/>
                  </a:lnTo>
                  <a:lnTo>
                    <a:pt x="606" y="300"/>
                  </a:lnTo>
                  <a:lnTo>
                    <a:pt x="610" y="298"/>
                  </a:lnTo>
                  <a:lnTo>
                    <a:pt x="614" y="298"/>
                  </a:lnTo>
                  <a:lnTo>
                    <a:pt x="614" y="298"/>
                  </a:lnTo>
                  <a:lnTo>
                    <a:pt x="616" y="298"/>
                  </a:lnTo>
                  <a:lnTo>
                    <a:pt x="618" y="298"/>
                  </a:lnTo>
                  <a:lnTo>
                    <a:pt x="618" y="298"/>
                  </a:lnTo>
                  <a:lnTo>
                    <a:pt x="618" y="296"/>
                  </a:lnTo>
                  <a:lnTo>
                    <a:pt x="620" y="296"/>
                  </a:lnTo>
                  <a:lnTo>
                    <a:pt x="620" y="296"/>
                  </a:lnTo>
                  <a:lnTo>
                    <a:pt x="620" y="294"/>
                  </a:lnTo>
                  <a:lnTo>
                    <a:pt x="620" y="294"/>
                  </a:lnTo>
                  <a:lnTo>
                    <a:pt x="618" y="292"/>
                  </a:lnTo>
                  <a:lnTo>
                    <a:pt x="618" y="292"/>
                  </a:lnTo>
                  <a:lnTo>
                    <a:pt x="616" y="290"/>
                  </a:lnTo>
                  <a:lnTo>
                    <a:pt x="614" y="288"/>
                  </a:lnTo>
                  <a:lnTo>
                    <a:pt x="612" y="286"/>
                  </a:lnTo>
                  <a:lnTo>
                    <a:pt x="612" y="286"/>
                  </a:lnTo>
                  <a:lnTo>
                    <a:pt x="612" y="284"/>
                  </a:lnTo>
                  <a:lnTo>
                    <a:pt x="612" y="284"/>
                  </a:lnTo>
                  <a:lnTo>
                    <a:pt x="612" y="284"/>
                  </a:lnTo>
                  <a:lnTo>
                    <a:pt x="612" y="282"/>
                  </a:lnTo>
                  <a:lnTo>
                    <a:pt x="614" y="282"/>
                  </a:lnTo>
                  <a:lnTo>
                    <a:pt x="614" y="282"/>
                  </a:lnTo>
                  <a:lnTo>
                    <a:pt x="614" y="282"/>
                  </a:lnTo>
                  <a:lnTo>
                    <a:pt x="616" y="282"/>
                  </a:lnTo>
                  <a:lnTo>
                    <a:pt x="618" y="282"/>
                  </a:lnTo>
                  <a:lnTo>
                    <a:pt x="620" y="282"/>
                  </a:lnTo>
                  <a:lnTo>
                    <a:pt x="622" y="282"/>
                  </a:lnTo>
                  <a:lnTo>
                    <a:pt x="626" y="284"/>
                  </a:lnTo>
                  <a:lnTo>
                    <a:pt x="626" y="284"/>
                  </a:lnTo>
                  <a:lnTo>
                    <a:pt x="628" y="284"/>
                  </a:lnTo>
                  <a:lnTo>
                    <a:pt x="628" y="284"/>
                  </a:lnTo>
                  <a:lnTo>
                    <a:pt x="630" y="284"/>
                  </a:lnTo>
                  <a:lnTo>
                    <a:pt x="630" y="282"/>
                  </a:lnTo>
                  <a:lnTo>
                    <a:pt x="632" y="282"/>
                  </a:lnTo>
                  <a:lnTo>
                    <a:pt x="634" y="280"/>
                  </a:lnTo>
                  <a:lnTo>
                    <a:pt x="636" y="278"/>
                  </a:lnTo>
                  <a:lnTo>
                    <a:pt x="638" y="276"/>
                  </a:lnTo>
                  <a:lnTo>
                    <a:pt x="640" y="274"/>
                  </a:lnTo>
                  <a:lnTo>
                    <a:pt x="642" y="272"/>
                  </a:lnTo>
                  <a:lnTo>
                    <a:pt x="644" y="270"/>
                  </a:lnTo>
                  <a:lnTo>
                    <a:pt x="644" y="268"/>
                  </a:lnTo>
                  <a:lnTo>
                    <a:pt x="646" y="264"/>
                  </a:lnTo>
                  <a:lnTo>
                    <a:pt x="648" y="262"/>
                  </a:lnTo>
                  <a:lnTo>
                    <a:pt x="648" y="260"/>
                  </a:lnTo>
                  <a:lnTo>
                    <a:pt x="650" y="258"/>
                  </a:lnTo>
                  <a:lnTo>
                    <a:pt x="650" y="256"/>
                  </a:lnTo>
                  <a:lnTo>
                    <a:pt x="650" y="256"/>
                  </a:lnTo>
                  <a:lnTo>
                    <a:pt x="650" y="254"/>
                  </a:lnTo>
                  <a:lnTo>
                    <a:pt x="650" y="254"/>
                  </a:lnTo>
                  <a:lnTo>
                    <a:pt x="650" y="252"/>
                  </a:lnTo>
                  <a:lnTo>
                    <a:pt x="648" y="252"/>
                  </a:lnTo>
                  <a:lnTo>
                    <a:pt x="648" y="252"/>
                  </a:lnTo>
                  <a:lnTo>
                    <a:pt x="646" y="250"/>
                  </a:lnTo>
                  <a:lnTo>
                    <a:pt x="646" y="250"/>
                  </a:lnTo>
                  <a:lnTo>
                    <a:pt x="644" y="248"/>
                  </a:lnTo>
                  <a:lnTo>
                    <a:pt x="642" y="248"/>
                  </a:lnTo>
                  <a:lnTo>
                    <a:pt x="638" y="248"/>
                  </a:lnTo>
                  <a:lnTo>
                    <a:pt x="636" y="246"/>
                  </a:lnTo>
                  <a:lnTo>
                    <a:pt x="632" y="246"/>
                  </a:lnTo>
                  <a:lnTo>
                    <a:pt x="630" y="246"/>
                  </a:lnTo>
                  <a:lnTo>
                    <a:pt x="628" y="244"/>
                  </a:lnTo>
                  <a:lnTo>
                    <a:pt x="628" y="244"/>
                  </a:lnTo>
                  <a:lnTo>
                    <a:pt x="626" y="242"/>
                  </a:lnTo>
                  <a:lnTo>
                    <a:pt x="626" y="242"/>
                  </a:lnTo>
                  <a:lnTo>
                    <a:pt x="626" y="242"/>
                  </a:lnTo>
                  <a:lnTo>
                    <a:pt x="626" y="240"/>
                  </a:lnTo>
                  <a:lnTo>
                    <a:pt x="624" y="236"/>
                  </a:lnTo>
                  <a:lnTo>
                    <a:pt x="624" y="234"/>
                  </a:lnTo>
                  <a:lnTo>
                    <a:pt x="624" y="232"/>
                  </a:lnTo>
                  <a:lnTo>
                    <a:pt x="624" y="230"/>
                  </a:lnTo>
                  <a:lnTo>
                    <a:pt x="624" y="226"/>
                  </a:lnTo>
                  <a:lnTo>
                    <a:pt x="624" y="226"/>
                  </a:lnTo>
                  <a:lnTo>
                    <a:pt x="626" y="224"/>
                  </a:lnTo>
                  <a:lnTo>
                    <a:pt x="626" y="222"/>
                  </a:lnTo>
                  <a:lnTo>
                    <a:pt x="628" y="220"/>
                  </a:lnTo>
                  <a:lnTo>
                    <a:pt x="628" y="218"/>
                  </a:lnTo>
                  <a:lnTo>
                    <a:pt x="630" y="216"/>
                  </a:lnTo>
                  <a:lnTo>
                    <a:pt x="632" y="214"/>
                  </a:lnTo>
                  <a:lnTo>
                    <a:pt x="634" y="214"/>
                  </a:lnTo>
                  <a:lnTo>
                    <a:pt x="634" y="212"/>
                  </a:lnTo>
                  <a:lnTo>
                    <a:pt x="636" y="212"/>
                  </a:lnTo>
                  <a:lnTo>
                    <a:pt x="636" y="212"/>
                  </a:lnTo>
                  <a:lnTo>
                    <a:pt x="638" y="212"/>
                  </a:lnTo>
                  <a:lnTo>
                    <a:pt x="642" y="212"/>
                  </a:lnTo>
                  <a:lnTo>
                    <a:pt x="642" y="212"/>
                  </a:lnTo>
                  <a:lnTo>
                    <a:pt x="644" y="212"/>
                  </a:lnTo>
                  <a:lnTo>
                    <a:pt x="646" y="212"/>
                  </a:lnTo>
                  <a:lnTo>
                    <a:pt x="646" y="210"/>
                  </a:lnTo>
                  <a:lnTo>
                    <a:pt x="646" y="210"/>
                  </a:lnTo>
                  <a:lnTo>
                    <a:pt x="648" y="210"/>
                  </a:lnTo>
                  <a:lnTo>
                    <a:pt x="648" y="208"/>
                  </a:lnTo>
                  <a:lnTo>
                    <a:pt x="648" y="208"/>
                  </a:lnTo>
                  <a:lnTo>
                    <a:pt x="648" y="206"/>
                  </a:lnTo>
                  <a:lnTo>
                    <a:pt x="648" y="206"/>
                  </a:lnTo>
                  <a:lnTo>
                    <a:pt x="648" y="204"/>
                  </a:lnTo>
                  <a:lnTo>
                    <a:pt x="648" y="202"/>
                  </a:lnTo>
                  <a:lnTo>
                    <a:pt x="648" y="198"/>
                  </a:lnTo>
                  <a:lnTo>
                    <a:pt x="648" y="196"/>
                  </a:lnTo>
                  <a:lnTo>
                    <a:pt x="648" y="194"/>
                  </a:lnTo>
                  <a:lnTo>
                    <a:pt x="648" y="192"/>
                  </a:lnTo>
                  <a:lnTo>
                    <a:pt x="646" y="190"/>
                  </a:lnTo>
                  <a:lnTo>
                    <a:pt x="646" y="190"/>
                  </a:lnTo>
                  <a:lnTo>
                    <a:pt x="646" y="188"/>
                  </a:lnTo>
                  <a:lnTo>
                    <a:pt x="644" y="188"/>
                  </a:lnTo>
                  <a:lnTo>
                    <a:pt x="644" y="186"/>
                  </a:lnTo>
                  <a:lnTo>
                    <a:pt x="642" y="186"/>
                  </a:lnTo>
                  <a:lnTo>
                    <a:pt x="642" y="186"/>
                  </a:lnTo>
                  <a:lnTo>
                    <a:pt x="640" y="186"/>
                  </a:lnTo>
                  <a:lnTo>
                    <a:pt x="640" y="186"/>
                  </a:lnTo>
                  <a:lnTo>
                    <a:pt x="638" y="184"/>
                  </a:lnTo>
                  <a:lnTo>
                    <a:pt x="636" y="184"/>
                  </a:lnTo>
                  <a:lnTo>
                    <a:pt x="632" y="184"/>
                  </a:lnTo>
                  <a:lnTo>
                    <a:pt x="630" y="184"/>
                  </a:lnTo>
                  <a:lnTo>
                    <a:pt x="622" y="186"/>
                  </a:lnTo>
                  <a:lnTo>
                    <a:pt x="616" y="186"/>
                  </a:lnTo>
                  <a:lnTo>
                    <a:pt x="612" y="186"/>
                  </a:lnTo>
                  <a:lnTo>
                    <a:pt x="610" y="186"/>
                  </a:lnTo>
                  <a:lnTo>
                    <a:pt x="608" y="186"/>
                  </a:lnTo>
                  <a:lnTo>
                    <a:pt x="606" y="186"/>
                  </a:lnTo>
                  <a:lnTo>
                    <a:pt x="604" y="184"/>
                  </a:lnTo>
                  <a:lnTo>
                    <a:pt x="604" y="184"/>
                  </a:lnTo>
                  <a:lnTo>
                    <a:pt x="604" y="184"/>
                  </a:lnTo>
                  <a:lnTo>
                    <a:pt x="602" y="182"/>
                  </a:lnTo>
                  <a:lnTo>
                    <a:pt x="602" y="182"/>
                  </a:lnTo>
                  <a:lnTo>
                    <a:pt x="602" y="182"/>
                  </a:lnTo>
                  <a:lnTo>
                    <a:pt x="600" y="180"/>
                  </a:lnTo>
                  <a:lnTo>
                    <a:pt x="600" y="178"/>
                  </a:lnTo>
                  <a:lnTo>
                    <a:pt x="602" y="176"/>
                  </a:lnTo>
                  <a:lnTo>
                    <a:pt x="602" y="174"/>
                  </a:lnTo>
                  <a:lnTo>
                    <a:pt x="602" y="174"/>
                  </a:lnTo>
                  <a:lnTo>
                    <a:pt x="604" y="172"/>
                  </a:lnTo>
                  <a:lnTo>
                    <a:pt x="604" y="170"/>
                  </a:lnTo>
                  <a:lnTo>
                    <a:pt x="606" y="166"/>
                  </a:lnTo>
                  <a:lnTo>
                    <a:pt x="608" y="162"/>
                  </a:lnTo>
                  <a:lnTo>
                    <a:pt x="610" y="160"/>
                  </a:lnTo>
                  <a:lnTo>
                    <a:pt x="612" y="158"/>
                  </a:lnTo>
                  <a:lnTo>
                    <a:pt x="612" y="156"/>
                  </a:lnTo>
                  <a:lnTo>
                    <a:pt x="614" y="154"/>
                  </a:lnTo>
                  <a:lnTo>
                    <a:pt x="616" y="154"/>
                  </a:lnTo>
                  <a:lnTo>
                    <a:pt x="620" y="152"/>
                  </a:lnTo>
                  <a:lnTo>
                    <a:pt x="622" y="148"/>
                  </a:lnTo>
                  <a:lnTo>
                    <a:pt x="630" y="146"/>
                  </a:lnTo>
                  <a:lnTo>
                    <a:pt x="632" y="144"/>
                  </a:lnTo>
                  <a:lnTo>
                    <a:pt x="634" y="142"/>
                  </a:lnTo>
                  <a:lnTo>
                    <a:pt x="636" y="142"/>
                  </a:lnTo>
                  <a:lnTo>
                    <a:pt x="638" y="140"/>
                  </a:lnTo>
                  <a:lnTo>
                    <a:pt x="642" y="138"/>
                  </a:lnTo>
                  <a:lnTo>
                    <a:pt x="644" y="136"/>
                  </a:lnTo>
                  <a:lnTo>
                    <a:pt x="646" y="134"/>
                  </a:lnTo>
                  <a:lnTo>
                    <a:pt x="646" y="134"/>
                  </a:lnTo>
                  <a:lnTo>
                    <a:pt x="646" y="134"/>
                  </a:lnTo>
                  <a:lnTo>
                    <a:pt x="648" y="132"/>
                  </a:lnTo>
                  <a:lnTo>
                    <a:pt x="648" y="132"/>
                  </a:lnTo>
                  <a:lnTo>
                    <a:pt x="646" y="132"/>
                  </a:lnTo>
                  <a:lnTo>
                    <a:pt x="646" y="130"/>
                  </a:lnTo>
                  <a:lnTo>
                    <a:pt x="646" y="130"/>
                  </a:lnTo>
                  <a:lnTo>
                    <a:pt x="646" y="130"/>
                  </a:lnTo>
                  <a:lnTo>
                    <a:pt x="644" y="128"/>
                  </a:lnTo>
                  <a:lnTo>
                    <a:pt x="642" y="128"/>
                  </a:lnTo>
                  <a:lnTo>
                    <a:pt x="640" y="128"/>
                  </a:lnTo>
                  <a:lnTo>
                    <a:pt x="638" y="126"/>
                  </a:lnTo>
                  <a:lnTo>
                    <a:pt x="634" y="126"/>
                  </a:lnTo>
                  <a:lnTo>
                    <a:pt x="630" y="124"/>
                  </a:lnTo>
                  <a:lnTo>
                    <a:pt x="628" y="124"/>
                  </a:lnTo>
                  <a:lnTo>
                    <a:pt x="626" y="124"/>
                  </a:lnTo>
                  <a:lnTo>
                    <a:pt x="624" y="122"/>
                  </a:lnTo>
                  <a:lnTo>
                    <a:pt x="622" y="122"/>
                  </a:lnTo>
                  <a:lnTo>
                    <a:pt x="622" y="120"/>
                  </a:lnTo>
                  <a:lnTo>
                    <a:pt x="622" y="120"/>
                  </a:lnTo>
                  <a:lnTo>
                    <a:pt x="622" y="120"/>
                  </a:lnTo>
                  <a:lnTo>
                    <a:pt x="622" y="120"/>
                  </a:lnTo>
                  <a:lnTo>
                    <a:pt x="622" y="118"/>
                  </a:lnTo>
                  <a:lnTo>
                    <a:pt x="622" y="118"/>
                  </a:lnTo>
                  <a:lnTo>
                    <a:pt x="624" y="116"/>
                  </a:lnTo>
                  <a:lnTo>
                    <a:pt x="624" y="116"/>
                  </a:lnTo>
                  <a:lnTo>
                    <a:pt x="626" y="116"/>
                  </a:lnTo>
                  <a:lnTo>
                    <a:pt x="626" y="116"/>
                  </a:lnTo>
                  <a:lnTo>
                    <a:pt x="630" y="114"/>
                  </a:lnTo>
                  <a:lnTo>
                    <a:pt x="632" y="114"/>
                  </a:lnTo>
                  <a:lnTo>
                    <a:pt x="634" y="112"/>
                  </a:lnTo>
                  <a:lnTo>
                    <a:pt x="638" y="112"/>
                  </a:lnTo>
                  <a:lnTo>
                    <a:pt x="640" y="112"/>
                  </a:lnTo>
                  <a:lnTo>
                    <a:pt x="642" y="112"/>
                  </a:lnTo>
                  <a:lnTo>
                    <a:pt x="642" y="110"/>
                  </a:lnTo>
                  <a:lnTo>
                    <a:pt x="648" y="110"/>
                  </a:lnTo>
                  <a:lnTo>
                    <a:pt x="652" y="110"/>
                  </a:lnTo>
                  <a:lnTo>
                    <a:pt x="654" y="110"/>
                  </a:lnTo>
                  <a:lnTo>
                    <a:pt x="662" y="108"/>
                  </a:lnTo>
                  <a:lnTo>
                    <a:pt x="672" y="104"/>
                  </a:lnTo>
                  <a:lnTo>
                    <a:pt x="678" y="104"/>
                  </a:lnTo>
                  <a:lnTo>
                    <a:pt x="682" y="102"/>
                  </a:lnTo>
                  <a:lnTo>
                    <a:pt x="686" y="100"/>
                  </a:lnTo>
                  <a:lnTo>
                    <a:pt x="690" y="100"/>
                  </a:lnTo>
                  <a:lnTo>
                    <a:pt x="694" y="98"/>
                  </a:lnTo>
                  <a:lnTo>
                    <a:pt x="700" y="94"/>
                  </a:lnTo>
                  <a:lnTo>
                    <a:pt x="704" y="92"/>
                  </a:lnTo>
                  <a:lnTo>
                    <a:pt x="708" y="92"/>
                  </a:lnTo>
                  <a:lnTo>
                    <a:pt x="710" y="90"/>
                  </a:lnTo>
                  <a:lnTo>
                    <a:pt x="714" y="88"/>
                  </a:lnTo>
                  <a:lnTo>
                    <a:pt x="716" y="86"/>
                  </a:lnTo>
                  <a:lnTo>
                    <a:pt x="718" y="86"/>
                  </a:lnTo>
                  <a:lnTo>
                    <a:pt x="720" y="84"/>
                  </a:lnTo>
                  <a:lnTo>
                    <a:pt x="722" y="82"/>
                  </a:lnTo>
                  <a:lnTo>
                    <a:pt x="722" y="80"/>
                  </a:lnTo>
                  <a:lnTo>
                    <a:pt x="722" y="80"/>
                  </a:lnTo>
                  <a:lnTo>
                    <a:pt x="722" y="80"/>
                  </a:lnTo>
                  <a:lnTo>
                    <a:pt x="722" y="78"/>
                  </a:lnTo>
                  <a:lnTo>
                    <a:pt x="722" y="78"/>
                  </a:lnTo>
                  <a:lnTo>
                    <a:pt x="722" y="76"/>
                  </a:lnTo>
                  <a:lnTo>
                    <a:pt x="722" y="76"/>
                  </a:lnTo>
                  <a:lnTo>
                    <a:pt x="722" y="74"/>
                  </a:lnTo>
                  <a:lnTo>
                    <a:pt x="720" y="72"/>
                  </a:lnTo>
                  <a:lnTo>
                    <a:pt x="720" y="72"/>
                  </a:lnTo>
                  <a:lnTo>
                    <a:pt x="718" y="70"/>
                  </a:lnTo>
                  <a:lnTo>
                    <a:pt x="716" y="70"/>
                  </a:lnTo>
                  <a:lnTo>
                    <a:pt x="714" y="70"/>
                  </a:lnTo>
                  <a:lnTo>
                    <a:pt x="714" y="68"/>
                  </a:lnTo>
                  <a:lnTo>
                    <a:pt x="712" y="68"/>
                  </a:lnTo>
                  <a:lnTo>
                    <a:pt x="710" y="68"/>
                  </a:lnTo>
                  <a:lnTo>
                    <a:pt x="706" y="68"/>
                  </a:lnTo>
                  <a:lnTo>
                    <a:pt x="700" y="68"/>
                  </a:lnTo>
                  <a:lnTo>
                    <a:pt x="696" y="68"/>
                  </a:lnTo>
                  <a:lnTo>
                    <a:pt x="690" y="68"/>
                  </a:lnTo>
                  <a:lnTo>
                    <a:pt x="686" y="68"/>
                  </a:lnTo>
                  <a:lnTo>
                    <a:pt x="676" y="70"/>
                  </a:lnTo>
                  <a:lnTo>
                    <a:pt x="666" y="70"/>
                  </a:lnTo>
                  <a:lnTo>
                    <a:pt x="660" y="72"/>
                  </a:lnTo>
                  <a:lnTo>
                    <a:pt x="656" y="72"/>
                  </a:lnTo>
                  <a:lnTo>
                    <a:pt x="652" y="72"/>
                  </a:lnTo>
                  <a:lnTo>
                    <a:pt x="648" y="74"/>
                  </a:lnTo>
                  <a:lnTo>
                    <a:pt x="644" y="76"/>
                  </a:lnTo>
                  <a:lnTo>
                    <a:pt x="634" y="78"/>
                  </a:lnTo>
                  <a:lnTo>
                    <a:pt x="626" y="82"/>
                  </a:lnTo>
                  <a:lnTo>
                    <a:pt x="624" y="82"/>
                  </a:lnTo>
                  <a:lnTo>
                    <a:pt x="622" y="84"/>
                  </a:lnTo>
                  <a:lnTo>
                    <a:pt x="620" y="86"/>
                  </a:lnTo>
                  <a:lnTo>
                    <a:pt x="616" y="88"/>
                  </a:lnTo>
                  <a:lnTo>
                    <a:pt x="610" y="94"/>
                  </a:lnTo>
                  <a:lnTo>
                    <a:pt x="604" y="98"/>
                  </a:lnTo>
                  <a:lnTo>
                    <a:pt x="600" y="100"/>
                  </a:lnTo>
                  <a:lnTo>
                    <a:pt x="596" y="102"/>
                  </a:lnTo>
                  <a:lnTo>
                    <a:pt x="594" y="104"/>
                  </a:lnTo>
                  <a:lnTo>
                    <a:pt x="590" y="106"/>
                  </a:lnTo>
                  <a:lnTo>
                    <a:pt x="590" y="106"/>
                  </a:lnTo>
                  <a:lnTo>
                    <a:pt x="588" y="106"/>
                  </a:lnTo>
                  <a:lnTo>
                    <a:pt x="586" y="106"/>
                  </a:lnTo>
                  <a:lnTo>
                    <a:pt x="586" y="106"/>
                  </a:lnTo>
                  <a:lnTo>
                    <a:pt x="584" y="106"/>
                  </a:lnTo>
                  <a:lnTo>
                    <a:pt x="584" y="106"/>
                  </a:lnTo>
                  <a:lnTo>
                    <a:pt x="582" y="104"/>
                  </a:lnTo>
                  <a:lnTo>
                    <a:pt x="582" y="104"/>
                  </a:lnTo>
                  <a:lnTo>
                    <a:pt x="580" y="104"/>
                  </a:lnTo>
                  <a:lnTo>
                    <a:pt x="580" y="102"/>
                  </a:lnTo>
                  <a:lnTo>
                    <a:pt x="580" y="102"/>
                  </a:lnTo>
                  <a:lnTo>
                    <a:pt x="580" y="100"/>
                  </a:lnTo>
                  <a:lnTo>
                    <a:pt x="580" y="100"/>
                  </a:lnTo>
                  <a:lnTo>
                    <a:pt x="582" y="98"/>
                  </a:lnTo>
                  <a:lnTo>
                    <a:pt x="582" y="96"/>
                  </a:lnTo>
                  <a:lnTo>
                    <a:pt x="582" y="96"/>
                  </a:lnTo>
                  <a:lnTo>
                    <a:pt x="584" y="92"/>
                  </a:lnTo>
                  <a:lnTo>
                    <a:pt x="588" y="90"/>
                  </a:lnTo>
                  <a:lnTo>
                    <a:pt x="592" y="84"/>
                  </a:lnTo>
                  <a:lnTo>
                    <a:pt x="598" y="78"/>
                  </a:lnTo>
                  <a:lnTo>
                    <a:pt x="600" y="76"/>
                  </a:lnTo>
                  <a:lnTo>
                    <a:pt x="602" y="72"/>
                  </a:lnTo>
                  <a:lnTo>
                    <a:pt x="604" y="72"/>
                  </a:lnTo>
                  <a:lnTo>
                    <a:pt x="604" y="70"/>
                  </a:lnTo>
                  <a:lnTo>
                    <a:pt x="604" y="68"/>
                  </a:lnTo>
                  <a:lnTo>
                    <a:pt x="606" y="68"/>
                  </a:lnTo>
                  <a:lnTo>
                    <a:pt x="606" y="66"/>
                  </a:lnTo>
                  <a:lnTo>
                    <a:pt x="606" y="66"/>
                  </a:lnTo>
                  <a:lnTo>
                    <a:pt x="604" y="64"/>
                  </a:lnTo>
                  <a:lnTo>
                    <a:pt x="604" y="64"/>
                  </a:lnTo>
                  <a:lnTo>
                    <a:pt x="604" y="62"/>
                  </a:lnTo>
                  <a:lnTo>
                    <a:pt x="602" y="62"/>
                  </a:lnTo>
                  <a:lnTo>
                    <a:pt x="602" y="62"/>
                  </a:lnTo>
                  <a:lnTo>
                    <a:pt x="600" y="62"/>
                  </a:lnTo>
                  <a:lnTo>
                    <a:pt x="598" y="62"/>
                  </a:lnTo>
                  <a:lnTo>
                    <a:pt x="598" y="62"/>
                  </a:lnTo>
                  <a:lnTo>
                    <a:pt x="596" y="62"/>
                  </a:lnTo>
                  <a:lnTo>
                    <a:pt x="594" y="64"/>
                  </a:lnTo>
                  <a:lnTo>
                    <a:pt x="590" y="66"/>
                  </a:lnTo>
                  <a:lnTo>
                    <a:pt x="588" y="66"/>
                  </a:lnTo>
                  <a:lnTo>
                    <a:pt x="584" y="70"/>
                  </a:lnTo>
                  <a:lnTo>
                    <a:pt x="580" y="72"/>
                  </a:lnTo>
                  <a:lnTo>
                    <a:pt x="576" y="74"/>
                  </a:lnTo>
                  <a:lnTo>
                    <a:pt x="572" y="76"/>
                  </a:lnTo>
                  <a:lnTo>
                    <a:pt x="568" y="78"/>
                  </a:lnTo>
                  <a:lnTo>
                    <a:pt x="564" y="80"/>
                  </a:lnTo>
                  <a:lnTo>
                    <a:pt x="564" y="82"/>
                  </a:lnTo>
                  <a:lnTo>
                    <a:pt x="562" y="82"/>
                  </a:lnTo>
                  <a:lnTo>
                    <a:pt x="560" y="82"/>
                  </a:lnTo>
                  <a:lnTo>
                    <a:pt x="558" y="82"/>
                  </a:lnTo>
                  <a:lnTo>
                    <a:pt x="558" y="82"/>
                  </a:lnTo>
                  <a:lnTo>
                    <a:pt x="556" y="82"/>
                  </a:lnTo>
                  <a:lnTo>
                    <a:pt x="554" y="82"/>
                  </a:lnTo>
                  <a:lnTo>
                    <a:pt x="554" y="82"/>
                  </a:lnTo>
                  <a:lnTo>
                    <a:pt x="554" y="82"/>
                  </a:lnTo>
                  <a:lnTo>
                    <a:pt x="554" y="80"/>
                  </a:lnTo>
                  <a:lnTo>
                    <a:pt x="552" y="80"/>
                  </a:lnTo>
                  <a:lnTo>
                    <a:pt x="552" y="78"/>
                  </a:lnTo>
                  <a:lnTo>
                    <a:pt x="552" y="76"/>
                  </a:lnTo>
                  <a:lnTo>
                    <a:pt x="554" y="76"/>
                  </a:lnTo>
                  <a:lnTo>
                    <a:pt x="554" y="74"/>
                  </a:lnTo>
                  <a:lnTo>
                    <a:pt x="554" y="70"/>
                  </a:lnTo>
                  <a:lnTo>
                    <a:pt x="556" y="66"/>
                  </a:lnTo>
                  <a:lnTo>
                    <a:pt x="556" y="66"/>
                  </a:lnTo>
                  <a:lnTo>
                    <a:pt x="558" y="64"/>
                  </a:lnTo>
                  <a:lnTo>
                    <a:pt x="558" y="62"/>
                  </a:lnTo>
                  <a:lnTo>
                    <a:pt x="558" y="60"/>
                  </a:lnTo>
                  <a:lnTo>
                    <a:pt x="558" y="60"/>
                  </a:lnTo>
                  <a:lnTo>
                    <a:pt x="556" y="60"/>
                  </a:lnTo>
                  <a:lnTo>
                    <a:pt x="556" y="58"/>
                  </a:lnTo>
                  <a:lnTo>
                    <a:pt x="556" y="58"/>
                  </a:lnTo>
                  <a:lnTo>
                    <a:pt x="554" y="58"/>
                  </a:lnTo>
                  <a:lnTo>
                    <a:pt x="554" y="56"/>
                  </a:lnTo>
                  <a:lnTo>
                    <a:pt x="554" y="56"/>
                  </a:lnTo>
                  <a:lnTo>
                    <a:pt x="552" y="56"/>
                  </a:lnTo>
                  <a:lnTo>
                    <a:pt x="548" y="56"/>
                  </a:lnTo>
                  <a:lnTo>
                    <a:pt x="546" y="56"/>
                  </a:lnTo>
                  <a:lnTo>
                    <a:pt x="544" y="56"/>
                  </a:lnTo>
                  <a:lnTo>
                    <a:pt x="540" y="56"/>
                  </a:lnTo>
                  <a:lnTo>
                    <a:pt x="538" y="56"/>
                  </a:lnTo>
                  <a:lnTo>
                    <a:pt x="534" y="58"/>
                  </a:lnTo>
                  <a:lnTo>
                    <a:pt x="532" y="58"/>
                  </a:lnTo>
                  <a:lnTo>
                    <a:pt x="524" y="60"/>
                  </a:lnTo>
                  <a:lnTo>
                    <a:pt x="518" y="62"/>
                  </a:lnTo>
                  <a:lnTo>
                    <a:pt x="510" y="64"/>
                  </a:lnTo>
                  <a:lnTo>
                    <a:pt x="504" y="66"/>
                  </a:lnTo>
                  <a:lnTo>
                    <a:pt x="498" y="68"/>
                  </a:lnTo>
                  <a:lnTo>
                    <a:pt x="492" y="70"/>
                  </a:lnTo>
                  <a:lnTo>
                    <a:pt x="488" y="72"/>
                  </a:lnTo>
                  <a:lnTo>
                    <a:pt x="486" y="72"/>
                  </a:lnTo>
                  <a:lnTo>
                    <a:pt x="484" y="72"/>
                  </a:lnTo>
                  <a:lnTo>
                    <a:pt x="482" y="72"/>
                  </a:lnTo>
                  <a:lnTo>
                    <a:pt x="480" y="72"/>
                  </a:lnTo>
                  <a:lnTo>
                    <a:pt x="478" y="72"/>
                  </a:lnTo>
                  <a:lnTo>
                    <a:pt x="476" y="72"/>
                  </a:lnTo>
                  <a:lnTo>
                    <a:pt x="476" y="70"/>
                  </a:lnTo>
                  <a:lnTo>
                    <a:pt x="476" y="70"/>
                  </a:lnTo>
                  <a:lnTo>
                    <a:pt x="474" y="70"/>
                  </a:lnTo>
                  <a:lnTo>
                    <a:pt x="474" y="68"/>
                  </a:lnTo>
                  <a:lnTo>
                    <a:pt x="474" y="68"/>
                  </a:lnTo>
                  <a:lnTo>
                    <a:pt x="474" y="68"/>
                  </a:lnTo>
                  <a:lnTo>
                    <a:pt x="474" y="66"/>
                  </a:lnTo>
                  <a:lnTo>
                    <a:pt x="474" y="66"/>
                  </a:lnTo>
                  <a:lnTo>
                    <a:pt x="474" y="64"/>
                  </a:lnTo>
                  <a:lnTo>
                    <a:pt x="474" y="64"/>
                  </a:lnTo>
                  <a:lnTo>
                    <a:pt x="474" y="62"/>
                  </a:lnTo>
                  <a:lnTo>
                    <a:pt x="474" y="62"/>
                  </a:lnTo>
                  <a:lnTo>
                    <a:pt x="476" y="60"/>
                  </a:lnTo>
                  <a:lnTo>
                    <a:pt x="476" y="60"/>
                  </a:lnTo>
                  <a:lnTo>
                    <a:pt x="478" y="60"/>
                  </a:lnTo>
                  <a:lnTo>
                    <a:pt x="480" y="58"/>
                  </a:lnTo>
                  <a:lnTo>
                    <a:pt x="480" y="58"/>
                  </a:lnTo>
                  <a:lnTo>
                    <a:pt x="484" y="56"/>
                  </a:lnTo>
                  <a:lnTo>
                    <a:pt x="488" y="56"/>
                  </a:lnTo>
                  <a:lnTo>
                    <a:pt x="492" y="56"/>
                  </a:lnTo>
                  <a:lnTo>
                    <a:pt x="496" y="54"/>
                  </a:lnTo>
                  <a:lnTo>
                    <a:pt x="500" y="54"/>
                  </a:lnTo>
                  <a:lnTo>
                    <a:pt x="508" y="54"/>
                  </a:lnTo>
                  <a:lnTo>
                    <a:pt x="516" y="52"/>
                  </a:lnTo>
                  <a:lnTo>
                    <a:pt x="518" y="52"/>
                  </a:lnTo>
                  <a:lnTo>
                    <a:pt x="522" y="52"/>
                  </a:lnTo>
                  <a:lnTo>
                    <a:pt x="528" y="50"/>
                  </a:lnTo>
                  <a:lnTo>
                    <a:pt x="534" y="48"/>
                  </a:lnTo>
                  <a:lnTo>
                    <a:pt x="542" y="48"/>
                  </a:lnTo>
                  <a:lnTo>
                    <a:pt x="552" y="46"/>
                  </a:lnTo>
                  <a:lnTo>
                    <a:pt x="568" y="44"/>
                  </a:lnTo>
                  <a:lnTo>
                    <a:pt x="576" y="42"/>
                  </a:lnTo>
                  <a:lnTo>
                    <a:pt x="582" y="42"/>
                  </a:lnTo>
                  <a:lnTo>
                    <a:pt x="584" y="40"/>
                  </a:lnTo>
                  <a:lnTo>
                    <a:pt x="586" y="40"/>
                  </a:lnTo>
                  <a:lnTo>
                    <a:pt x="590" y="40"/>
                  </a:lnTo>
                  <a:lnTo>
                    <a:pt x="594" y="40"/>
                  </a:lnTo>
                  <a:lnTo>
                    <a:pt x="596" y="40"/>
                  </a:lnTo>
                  <a:lnTo>
                    <a:pt x="598" y="40"/>
                  </a:lnTo>
                  <a:lnTo>
                    <a:pt x="600" y="38"/>
                  </a:lnTo>
                  <a:lnTo>
                    <a:pt x="600" y="38"/>
                  </a:lnTo>
                  <a:lnTo>
                    <a:pt x="600" y="38"/>
                  </a:lnTo>
                  <a:lnTo>
                    <a:pt x="602" y="36"/>
                  </a:lnTo>
                  <a:lnTo>
                    <a:pt x="602" y="36"/>
                  </a:lnTo>
                  <a:lnTo>
                    <a:pt x="602" y="36"/>
                  </a:lnTo>
                  <a:lnTo>
                    <a:pt x="602" y="34"/>
                  </a:lnTo>
                  <a:lnTo>
                    <a:pt x="602" y="34"/>
                  </a:lnTo>
                  <a:lnTo>
                    <a:pt x="600" y="32"/>
                  </a:lnTo>
                  <a:lnTo>
                    <a:pt x="600" y="32"/>
                  </a:lnTo>
                  <a:lnTo>
                    <a:pt x="600" y="30"/>
                  </a:lnTo>
                  <a:lnTo>
                    <a:pt x="598" y="30"/>
                  </a:lnTo>
                  <a:lnTo>
                    <a:pt x="598" y="30"/>
                  </a:lnTo>
                  <a:lnTo>
                    <a:pt x="594" y="28"/>
                  </a:lnTo>
                  <a:lnTo>
                    <a:pt x="592" y="26"/>
                  </a:lnTo>
                  <a:lnTo>
                    <a:pt x="588" y="26"/>
                  </a:lnTo>
                  <a:lnTo>
                    <a:pt x="586" y="24"/>
                  </a:lnTo>
                  <a:lnTo>
                    <a:pt x="582" y="24"/>
                  </a:lnTo>
                  <a:lnTo>
                    <a:pt x="580" y="24"/>
                  </a:lnTo>
                  <a:lnTo>
                    <a:pt x="572" y="22"/>
                  </a:lnTo>
                  <a:lnTo>
                    <a:pt x="566" y="22"/>
                  </a:lnTo>
                  <a:lnTo>
                    <a:pt x="562" y="20"/>
                  </a:lnTo>
                  <a:lnTo>
                    <a:pt x="560" y="20"/>
                  </a:lnTo>
                  <a:lnTo>
                    <a:pt x="556" y="20"/>
                  </a:lnTo>
                  <a:lnTo>
                    <a:pt x="554" y="22"/>
                  </a:lnTo>
                  <a:lnTo>
                    <a:pt x="552" y="22"/>
                  </a:lnTo>
                  <a:lnTo>
                    <a:pt x="548" y="22"/>
                  </a:lnTo>
                  <a:lnTo>
                    <a:pt x="546" y="24"/>
                  </a:lnTo>
                  <a:lnTo>
                    <a:pt x="540" y="24"/>
                  </a:lnTo>
                  <a:lnTo>
                    <a:pt x="532" y="28"/>
                  </a:lnTo>
                  <a:lnTo>
                    <a:pt x="526" y="30"/>
                  </a:lnTo>
                  <a:lnTo>
                    <a:pt x="512" y="34"/>
                  </a:lnTo>
                  <a:lnTo>
                    <a:pt x="504" y="36"/>
                  </a:lnTo>
                  <a:lnTo>
                    <a:pt x="498" y="38"/>
                  </a:lnTo>
                  <a:lnTo>
                    <a:pt x="494" y="38"/>
                  </a:lnTo>
                  <a:lnTo>
                    <a:pt x="492" y="40"/>
                  </a:lnTo>
                  <a:lnTo>
                    <a:pt x="490" y="40"/>
                  </a:lnTo>
                  <a:lnTo>
                    <a:pt x="486" y="40"/>
                  </a:lnTo>
                  <a:lnTo>
                    <a:pt x="484" y="40"/>
                  </a:lnTo>
                  <a:lnTo>
                    <a:pt x="482" y="40"/>
                  </a:lnTo>
                  <a:lnTo>
                    <a:pt x="480" y="40"/>
                  </a:lnTo>
                  <a:lnTo>
                    <a:pt x="478" y="38"/>
                  </a:lnTo>
                  <a:lnTo>
                    <a:pt x="476" y="38"/>
                  </a:lnTo>
                  <a:lnTo>
                    <a:pt x="476" y="38"/>
                  </a:lnTo>
                  <a:lnTo>
                    <a:pt x="474" y="36"/>
                  </a:lnTo>
                  <a:lnTo>
                    <a:pt x="474" y="36"/>
                  </a:lnTo>
                  <a:lnTo>
                    <a:pt x="474" y="36"/>
                  </a:lnTo>
                  <a:lnTo>
                    <a:pt x="474" y="34"/>
                  </a:lnTo>
                  <a:lnTo>
                    <a:pt x="474" y="34"/>
                  </a:lnTo>
                  <a:lnTo>
                    <a:pt x="474" y="32"/>
                  </a:lnTo>
                  <a:lnTo>
                    <a:pt x="474" y="32"/>
                  </a:lnTo>
                  <a:lnTo>
                    <a:pt x="474" y="30"/>
                  </a:lnTo>
                  <a:lnTo>
                    <a:pt x="474" y="30"/>
                  </a:lnTo>
                  <a:lnTo>
                    <a:pt x="476" y="28"/>
                  </a:lnTo>
                  <a:lnTo>
                    <a:pt x="476" y="28"/>
                  </a:lnTo>
                  <a:lnTo>
                    <a:pt x="478" y="28"/>
                  </a:lnTo>
                  <a:lnTo>
                    <a:pt x="480" y="26"/>
                  </a:lnTo>
                  <a:lnTo>
                    <a:pt x="484" y="26"/>
                  </a:lnTo>
                  <a:lnTo>
                    <a:pt x="488" y="24"/>
                  </a:lnTo>
                  <a:lnTo>
                    <a:pt x="492" y="24"/>
                  </a:lnTo>
                  <a:lnTo>
                    <a:pt x="496" y="24"/>
                  </a:lnTo>
                  <a:lnTo>
                    <a:pt x="502" y="22"/>
                  </a:lnTo>
                  <a:lnTo>
                    <a:pt x="506" y="22"/>
                  </a:lnTo>
                  <a:lnTo>
                    <a:pt x="510" y="22"/>
                  </a:lnTo>
                  <a:lnTo>
                    <a:pt x="514" y="20"/>
                  </a:lnTo>
                  <a:lnTo>
                    <a:pt x="516" y="20"/>
                  </a:lnTo>
                  <a:lnTo>
                    <a:pt x="518" y="18"/>
                  </a:lnTo>
                  <a:lnTo>
                    <a:pt x="518" y="18"/>
                  </a:lnTo>
                  <a:lnTo>
                    <a:pt x="520" y="18"/>
                  </a:lnTo>
                  <a:lnTo>
                    <a:pt x="520" y="16"/>
                  </a:lnTo>
                  <a:lnTo>
                    <a:pt x="520" y="16"/>
                  </a:lnTo>
                  <a:lnTo>
                    <a:pt x="522" y="14"/>
                  </a:lnTo>
                  <a:lnTo>
                    <a:pt x="522" y="14"/>
                  </a:lnTo>
                  <a:lnTo>
                    <a:pt x="520" y="12"/>
                  </a:lnTo>
                  <a:lnTo>
                    <a:pt x="520" y="12"/>
                  </a:lnTo>
                  <a:lnTo>
                    <a:pt x="520" y="10"/>
                  </a:lnTo>
                  <a:lnTo>
                    <a:pt x="520" y="10"/>
                  </a:lnTo>
                  <a:lnTo>
                    <a:pt x="518" y="8"/>
                  </a:lnTo>
                  <a:lnTo>
                    <a:pt x="518" y="8"/>
                  </a:lnTo>
                  <a:lnTo>
                    <a:pt x="516" y="6"/>
                  </a:lnTo>
                  <a:lnTo>
                    <a:pt x="516" y="6"/>
                  </a:lnTo>
                  <a:lnTo>
                    <a:pt x="514" y="4"/>
                  </a:lnTo>
                  <a:lnTo>
                    <a:pt x="512" y="4"/>
                  </a:lnTo>
                  <a:lnTo>
                    <a:pt x="508" y="2"/>
                  </a:lnTo>
                  <a:lnTo>
                    <a:pt x="506" y="2"/>
                  </a:lnTo>
                  <a:lnTo>
                    <a:pt x="502" y="0"/>
                  </a:lnTo>
                  <a:lnTo>
                    <a:pt x="498" y="0"/>
                  </a:lnTo>
                  <a:lnTo>
                    <a:pt x="496" y="0"/>
                  </a:lnTo>
                  <a:lnTo>
                    <a:pt x="492" y="0"/>
                  </a:lnTo>
                  <a:lnTo>
                    <a:pt x="488" y="0"/>
                  </a:lnTo>
                  <a:lnTo>
                    <a:pt x="484" y="0"/>
                  </a:lnTo>
                  <a:lnTo>
                    <a:pt x="480" y="0"/>
                  </a:lnTo>
                  <a:lnTo>
                    <a:pt x="476" y="2"/>
                  </a:lnTo>
                  <a:lnTo>
                    <a:pt x="466" y="2"/>
                  </a:lnTo>
                  <a:lnTo>
                    <a:pt x="458" y="4"/>
                  </a:lnTo>
                  <a:lnTo>
                    <a:pt x="450" y="6"/>
                  </a:lnTo>
                  <a:lnTo>
                    <a:pt x="442" y="8"/>
                  </a:lnTo>
                  <a:lnTo>
                    <a:pt x="434" y="10"/>
                  </a:lnTo>
                  <a:lnTo>
                    <a:pt x="426" y="12"/>
                  </a:lnTo>
                  <a:lnTo>
                    <a:pt x="420" y="14"/>
                  </a:lnTo>
                  <a:lnTo>
                    <a:pt x="416" y="16"/>
                  </a:lnTo>
                  <a:lnTo>
                    <a:pt x="414" y="16"/>
                  </a:lnTo>
                  <a:lnTo>
                    <a:pt x="412" y="18"/>
                  </a:lnTo>
                  <a:lnTo>
                    <a:pt x="410" y="20"/>
                  </a:lnTo>
                  <a:lnTo>
                    <a:pt x="408" y="22"/>
                  </a:lnTo>
                  <a:lnTo>
                    <a:pt x="406" y="24"/>
                  </a:lnTo>
                  <a:lnTo>
                    <a:pt x="404" y="26"/>
                  </a:lnTo>
                  <a:lnTo>
                    <a:pt x="400" y="30"/>
                  </a:lnTo>
                  <a:lnTo>
                    <a:pt x="396" y="34"/>
                  </a:lnTo>
                  <a:lnTo>
                    <a:pt x="394" y="38"/>
                  </a:lnTo>
                  <a:lnTo>
                    <a:pt x="392" y="38"/>
                  </a:lnTo>
                  <a:lnTo>
                    <a:pt x="390" y="40"/>
                  </a:lnTo>
                  <a:lnTo>
                    <a:pt x="388" y="42"/>
                  </a:lnTo>
                  <a:lnTo>
                    <a:pt x="386" y="44"/>
                  </a:lnTo>
                  <a:lnTo>
                    <a:pt x="386" y="44"/>
                  </a:lnTo>
                  <a:lnTo>
                    <a:pt x="386" y="44"/>
                  </a:lnTo>
                  <a:lnTo>
                    <a:pt x="384" y="44"/>
                  </a:lnTo>
                  <a:lnTo>
                    <a:pt x="382" y="44"/>
                  </a:lnTo>
                  <a:lnTo>
                    <a:pt x="382" y="44"/>
                  </a:lnTo>
                  <a:lnTo>
                    <a:pt x="380" y="44"/>
                  </a:lnTo>
                  <a:lnTo>
                    <a:pt x="378" y="42"/>
                  </a:lnTo>
                  <a:lnTo>
                    <a:pt x="374" y="42"/>
                  </a:lnTo>
                  <a:lnTo>
                    <a:pt x="372" y="40"/>
                  </a:lnTo>
                  <a:lnTo>
                    <a:pt x="368" y="38"/>
                  </a:lnTo>
                  <a:lnTo>
                    <a:pt x="362" y="34"/>
                  </a:lnTo>
                  <a:lnTo>
                    <a:pt x="360" y="32"/>
                  </a:lnTo>
                  <a:lnTo>
                    <a:pt x="358" y="30"/>
                  </a:lnTo>
                  <a:lnTo>
                    <a:pt x="354" y="30"/>
                  </a:lnTo>
                  <a:lnTo>
                    <a:pt x="352" y="28"/>
                  </a:lnTo>
                  <a:lnTo>
                    <a:pt x="348" y="28"/>
                  </a:lnTo>
                  <a:lnTo>
                    <a:pt x="348" y="28"/>
                  </a:lnTo>
                  <a:lnTo>
                    <a:pt x="346" y="28"/>
                  </a:lnTo>
                  <a:lnTo>
                    <a:pt x="346" y="28"/>
                  </a:lnTo>
                  <a:lnTo>
                    <a:pt x="344" y="28"/>
                  </a:lnTo>
                  <a:lnTo>
                    <a:pt x="344" y="28"/>
                  </a:lnTo>
                  <a:lnTo>
                    <a:pt x="342" y="28"/>
                  </a:lnTo>
                  <a:lnTo>
                    <a:pt x="342" y="30"/>
                  </a:lnTo>
                  <a:lnTo>
                    <a:pt x="340" y="30"/>
                  </a:lnTo>
                  <a:lnTo>
                    <a:pt x="340" y="30"/>
                  </a:lnTo>
                  <a:lnTo>
                    <a:pt x="340" y="32"/>
                  </a:lnTo>
                  <a:lnTo>
                    <a:pt x="340" y="34"/>
                  </a:lnTo>
                  <a:lnTo>
                    <a:pt x="340" y="34"/>
                  </a:lnTo>
                  <a:lnTo>
                    <a:pt x="340" y="38"/>
                  </a:lnTo>
                  <a:lnTo>
                    <a:pt x="342" y="44"/>
                  </a:lnTo>
                  <a:lnTo>
                    <a:pt x="342" y="46"/>
                  </a:lnTo>
                  <a:lnTo>
                    <a:pt x="342" y="48"/>
                  </a:lnTo>
                  <a:lnTo>
                    <a:pt x="342" y="48"/>
                  </a:lnTo>
                  <a:lnTo>
                    <a:pt x="342" y="54"/>
                  </a:lnTo>
                  <a:lnTo>
                    <a:pt x="340" y="58"/>
                  </a:lnTo>
                  <a:lnTo>
                    <a:pt x="340" y="62"/>
                  </a:lnTo>
                  <a:lnTo>
                    <a:pt x="340" y="66"/>
                  </a:lnTo>
                  <a:lnTo>
                    <a:pt x="338" y="66"/>
                  </a:lnTo>
                  <a:lnTo>
                    <a:pt x="338" y="68"/>
                  </a:lnTo>
                  <a:lnTo>
                    <a:pt x="338" y="70"/>
                  </a:lnTo>
                  <a:lnTo>
                    <a:pt x="336" y="70"/>
                  </a:lnTo>
                  <a:lnTo>
                    <a:pt x="336" y="72"/>
                  </a:lnTo>
                  <a:lnTo>
                    <a:pt x="334" y="72"/>
                  </a:lnTo>
                  <a:lnTo>
                    <a:pt x="334" y="72"/>
                  </a:lnTo>
                  <a:lnTo>
                    <a:pt x="334" y="72"/>
                  </a:lnTo>
                  <a:lnTo>
                    <a:pt x="332" y="72"/>
                  </a:lnTo>
                  <a:lnTo>
                    <a:pt x="332" y="70"/>
                  </a:lnTo>
                  <a:lnTo>
                    <a:pt x="330" y="70"/>
                  </a:lnTo>
                  <a:lnTo>
                    <a:pt x="330" y="68"/>
                  </a:lnTo>
                  <a:lnTo>
                    <a:pt x="328" y="66"/>
                  </a:lnTo>
                  <a:lnTo>
                    <a:pt x="328" y="64"/>
                  </a:lnTo>
                  <a:lnTo>
                    <a:pt x="326" y="60"/>
                  </a:lnTo>
                  <a:lnTo>
                    <a:pt x="324" y="58"/>
                  </a:lnTo>
                  <a:lnTo>
                    <a:pt x="322" y="56"/>
                  </a:lnTo>
                  <a:lnTo>
                    <a:pt x="322" y="56"/>
                  </a:lnTo>
                  <a:lnTo>
                    <a:pt x="320" y="54"/>
                  </a:lnTo>
                  <a:lnTo>
                    <a:pt x="320" y="54"/>
                  </a:lnTo>
                  <a:lnTo>
                    <a:pt x="318" y="54"/>
                  </a:lnTo>
                  <a:lnTo>
                    <a:pt x="318" y="54"/>
                  </a:lnTo>
                  <a:lnTo>
                    <a:pt x="316" y="54"/>
                  </a:lnTo>
                  <a:lnTo>
                    <a:pt x="314" y="54"/>
                  </a:lnTo>
                  <a:lnTo>
                    <a:pt x="312" y="54"/>
                  </a:lnTo>
                  <a:lnTo>
                    <a:pt x="308" y="54"/>
                  </a:lnTo>
                  <a:lnTo>
                    <a:pt x="304" y="54"/>
                  </a:lnTo>
                  <a:lnTo>
                    <a:pt x="302" y="54"/>
                  </a:lnTo>
                  <a:lnTo>
                    <a:pt x="300" y="54"/>
                  </a:lnTo>
                  <a:lnTo>
                    <a:pt x="294" y="52"/>
                  </a:lnTo>
                  <a:lnTo>
                    <a:pt x="290" y="52"/>
                  </a:lnTo>
                  <a:lnTo>
                    <a:pt x="290" y="52"/>
                  </a:lnTo>
                  <a:lnTo>
                    <a:pt x="288" y="52"/>
                  </a:lnTo>
                  <a:lnTo>
                    <a:pt x="288" y="52"/>
                  </a:lnTo>
                  <a:lnTo>
                    <a:pt x="286" y="52"/>
                  </a:lnTo>
                  <a:lnTo>
                    <a:pt x="284" y="54"/>
                  </a:lnTo>
                  <a:lnTo>
                    <a:pt x="284" y="54"/>
                  </a:lnTo>
                  <a:lnTo>
                    <a:pt x="284" y="54"/>
                  </a:lnTo>
                  <a:lnTo>
                    <a:pt x="284" y="54"/>
                  </a:lnTo>
                  <a:lnTo>
                    <a:pt x="284" y="56"/>
                  </a:lnTo>
                  <a:lnTo>
                    <a:pt x="284" y="58"/>
                  </a:lnTo>
                  <a:lnTo>
                    <a:pt x="284" y="58"/>
                  </a:lnTo>
                  <a:lnTo>
                    <a:pt x="284" y="60"/>
                  </a:lnTo>
                  <a:lnTo>
                    <a:pt x="284" y="62"/>
                  </a:lnTo>
                  <a:lnTo>
                    <a:pt x="284" y="66"/>
                  </a:lnTo>
                  <a:lnTo>
                    <a:pt x="284" y="70"/>
                  </a:lnTo>
                  <a:lnTo>
                    <a:pt x="286" y="72"/>
                  </a:lnTo>
                  <a:lnTo>
                    <a:pt x="286" y="74"/>
                  </a:lnTo>
                  <a:lnTo>
                    <a:pt x="286" y="76"/>
                  </a:lnTo>
                  <a:lnTo>
                    <a:pt x="286" y="76"/>
                  </a:lnTo>
                  <a:lnTo>
                    <a:pt x="284" y="78"/>
                  </a:lnTo>
                  <a:lnTo>
                    <a:pt x="284" y="78"/>
                  </a:lnTo>
                  <a:lnTo>
                    <a:pt x="284" y="78"/>
                  </a:lnTo>
                  <a:lnTo>
                    <a:pt x="284" y="80"/>
                  </a:lnTo>
                  <a:lnTo>
                    <a:pt x="282" y="80"/>
                  </a:lnTo>
                  <a:lnTo>
                    <a:pt x="282" y="80"/>
                  </a:lnTo>
                  <a:lnTo>
                    <a:pt x="280" y="82"/>
                  </a:lnTo>
                  <a:lnTo>
                    <a:pt x="278" y="82"/>
                  </a:lnTo>
                  <a:lnTo>
                    <a:pt x="276" y="82"/>
                  </a:lnTo>
                  <a:lnTo>
                    <a:pt x="274" y="82"/>
                  </a:lnTo>
                  <a:lnTo>
                    <a:pt x="270" y="82"/>
                  </a:lnTo>
                  <a:lnTo>
                    <a:pt x="268" y="82"/>
                  </a:lnTo>
                  <a:lnTo>
                    <a:pt x="266" y="82"/>
                  </a:lnTo>
                  <a:lnTo>
                    <a:pt x="264" y="80"/>
                  </a:lnTo>
                  <a:lnTo>
                    <a:pt x="264" y="80"/>
                  </a:lnTo>
                  <a:lnTo>
                    <a:pt x="262" y="80"/>
                  </a:lnTo>
                  <a:lnTo>
                    <a:pt x="262" y="78"/>
                  </a:lnTo>
                  <a:lnTo>
                    <a:pt x="262" y="78"/>
                  </a:lnTo>
                  <a:lnTo>
                    <a:pt x="260" y="78"/>
                  </a:lnTo>
                  <a:lnTo>
                    <a:pt x="260" y="76"/>
                  </a:lnTo>
                  <a:lnTo>
                    <a:pt x="260" y="74"/>
                  </a:lnTo>
                  <a:lnTo>
                    <a:pt x="260" y="72"/>
                  </a:lnTo>
                  <a:lnTo>
                    <a:pt x="260" y="68"/>
                  </a:lnTo>
                  <a:lnTo>
                    <a:pt x="260" y="66"/>
                  </a:lnTo>
                  <a:lnTo>
                    <a:pt x="260" y="62"/>
                  </a:lnTo>
                  <a:lnTo>
                    <a:pt x="260" y="62"/>
                  </a:lnTo>
                  <a:lnTo>
                    <a:pt x="260" y="60"/>
                  </a:lnTo>
                  <a:lnTo>
                    <a:pt x="260" y="60"/>
                  </a:lnTo>
                  <a:lnTo>
                    <a:pt x="260" y="58"/>
                  </a:lnTo>
                  <a:lnTo>
                    <a:pt x="258" y="58"/>
                  </a:lnTo>
                  <a:lnTo>
                    <a:pt x="258" y="58"/>
                  </a:lnTo>
                  <a:lnTo>
                    <a:pt x="256" y="56"/>
                  </a:lnTo>
                  <a:lnTo>
                    <a:pt x="254" y="56"/>
                  </a:lnTo>
                  <a:lnTo>
                    <a:pt x="252" y="56"/>
                  </a:lnTo>
                  <a:lnTo>
                    <a:pt x="252" y="56"/>
                  </a:lnTo>
                  <a:lnTo>
                    <a:pt x="250" y="54"/>
                  </a:lnTo>
                  <a:lnTo>
                    <a:pt x="248" y="54"/>
                  </a:lnTo>
                  <a:lnTo>
                    <a:pt x="246" y="54"/>
                  </a:lnTo>
                  <a:lnTo>
                    <a:pt x="244" y="54"/>
                  </a:lnTo>
                  <a:lnTo>
                    <a:pt x="242" y="54"/>
                  </a:lnTo>
                  <a:lnTo>
                    <a:pt x="240" y="54"/>
                  </a:lnTo>
                  <a:lnTo>
                    <a:pt x="240" y="54"/>
                  </a:lnTo>
                  <a:lnTo>
                    <a:pt x="238" y="54"/>
                  </a:lnTo>
                  <a:lnTo>
                    <a:pt x="238" y="56"/>
                  </a:lnTo>
                  <a:lnTo>
                    <a:pt x="236" y="56"/>
                  </a:lnTo>
                  <a:lnTo>
                    <a:pt x="236" y="56"/>
                  </a:lnTo>
                  <a:lnTo>
                    <a:pt x="236" y="58"/>
                  </a:lnTo>
                  <a:lnTo>
                    <a:pt x="236" y="58"/>
                  </a:lnTo>
                  <a:lnTo>
                    <a:pt x="236" y="60"/>
                  </a:lnTo>
                  <a:lnTo>
                    <a:pt x="238" y="60"/>
                  </a:lnTo>
                  <a:lnTo>
                    <a:pt x="240" y="62"/>
                  </a:lnTo>
                  <a:lnTo>
                    <a:pt x="240" y="64"/>
                  </a:lnTo>
                  <a:lnTo>
                    <a:pt x="242" y="66"/>
                  </a:lnTo>
                  <a:lnTo>
                    <a:pt x="242" y="66"/>
                  </a:lnTo>
                  <a:lnTo>
                    <a:pt x="242" y="68"/>
                  </a:lnTo>
                  <a:lnTo>
                    <a:pt x="242" y="68"/>
                  </a:lnTo>
                  <a:lnTo>
                    <a:pt x="242" y="68"/>
                  </a:lnTo>
                  <a:lnTo>
                    <a:pt x="240" y="70"/>
                  </a:lnTo>
                  <a:lnTo>
                    <a:pt x="240" y="70"/>
                  </a:lnTo>
                  <a:lnTo>
                    <a:pt x="240" y="70"/>
                  </a:lnTo>
                  <a:lnTo>
                    <a:pt x="238" y="70"/>
                  </a:lnTo>
                  <a:lnTo>
                    <a:pt x="238" y="70"/>
                  </a:lnTo>
                  <a:lnTo>
                    <a:pt x="236" y="70"/>
                  </a:lnTo>
                  <a:lnTo>
                    <a:pt x="234" y="70"/>
                  </a:lnTo>
                  <a:lnTo>
                    <a:pt x="234" y="70"/>
                  </a:lnTo>
                  <a:lnTo>
                    <a:pt x="230" y="68"/>
                  </a:lnTo>
                  <a:lnTo>
                    <a:pt x="228" y="68"/>
                  </a:lnTo>
                  <a:lnTo>
                    <a:pt x="226" y="66"/>
                  </a:lnTo>
                  <a:lnTo>
                    <a:pt x="222" y="64"/>
                  </a:lnTo>
                  <a:lnTo>
                    <a:pt x="216" y="60"/>
                  </a:lnTo>
                  <a:lnTo>
                    <a:pt x="214" y="58"/>
                  </a:lnTo>
                  <a:lnTo>
                    <a:pt x="212" y="56"/>
                  </a:lnTo>
                  <a:lnTo>
                    <a:pt x="208" y="56"/>
                  </a:lnTo>
                  <a:lnTo>
                    <a:pt x="206" y="54"/>
                  </a:lnTo>
                  <a:lnTo>
                    <a:pt x="204" y="54"/>
                  </a:lnTo>
                  <a:lnTo>
                    <a:pt x="204" y="54"/>
                  </a:lnTo>
                  <a:lnTo>
                    <a:pt x="202" y="54"/>
                  </a:lnTo>
                  <a:lnTo>
                    <a:pt x="202" y="54"/>
                  </a:lnTo>
                  <a:lnTo>
                    <a:pt x="200" y="54"/>
                  </a:lnTo>
                  <a:lnTo>
                    <a:pt x="200" y="54"/>
                  </a:lnTo>
                  <a:lnTo>
                    <a:pt x="198" y="54"/>
                  </a:lnTo>
                  <a:lnTo>
                    <a:pt x="196" y="56"/>
                  </a:lnTo>
                  <a:lnTo>
                    <a:pt x="194" y="56"/>
                  </a:lnTo>
                  <a:lnTo>
                    <a:pt x="192" y="58"/>
                  </a:lnTo>
                  <a:lnTo>
                    <a:pt x="190" y="60"/>
                  </a:lnTo>
                  <a:lnTo>
                    <a:pt x="188" y="62"/>
                  </a:lnTo>
                  <a:lnTo>
                    <a:pt x="186" y="62"/>
                  </a:lnTo>
                  <a:lnTo>
                    <a:pt x="184" y="64"/>
                  </a:lnTo>
                  <a:lnTo>
                    <a:pt x="184" y="64"/>
                  </a:lnTo>
                  <a:lnTo>
                    <a:pt x="182" y="64"/>
                  </a:lnTo>
                  <a:lnTo>
                    <a:pt x="180" y="64"/>
                  </a:lnTo>
                  <a:lnTo>
                    <a:pt x="176" y="64"/>
                  </a:lnTo>
                  <a:lnTo>
                    <a:pt x="174" y="64"/>
                  </a:lnTo>
                  <a:lnTo>
                    <a:pt x="172" y="64"/>
                  </a:lnTo>
                  <a:lnTo>
                    <a:pt x="170" y="64"/>
                  </a:lnTo>
                  <a:lnTo>
                    <a:pt x="170" y="64"/>
                  </a:lnTo>
                  <a:lnTo>
                    <a:pt x="168" y="64"/>
                  </a:lnTo>
                  <a:lnTo>
                    <a:pt x="168" y="64"/>
                  </a:lnTo>
                  <a:lnTo>
                    <a:pt x="166" y="64"/>
                  </a:lnTo>
                  <a:lnTo>
                    <a:pt x="164" y="66"/>
                  </a:lnTo>
                  <a:lnTo>
                    <a:pt x="162" y="68"/>
                  </a:lnTo>
                  <a:lnTo>
                    <a:pt x="160" y="70"/>
                  </a:lnTo>
                  <a:lnTo>
                    <a:pt x="156" y="72"/>
                  </a:lnTo>
                  <a:lnTo>
                    <a:pt x="154" y="76"/>
                  </a:lnTo>
                  <a:lnTo>
                    <a:pt x="150" y="7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7" name="Freeform 599">
              <a:extLst>
                <a:ext uri="{FF2B5EF4-FFF2-40B4-BE49-F238E27FC236}">
                  <a16:creationId xmlns:a16="http://schemas.microsoft.com/office/drawing/2014/main" id="{FB6873BD-81C5-40AF-B39C-E4180E97F710}"/>
                </a:ext>
              </a:extLst>
            </p:cNvPr>
            <p:cNvSpPr>
              <a:spLocks/>
            </p:cNvSpPr>
            <p:nvPr/>
          </p:nvSpPr>
          <p:spPr bwMode="auto">
            <a:xfrm>
              <a:off x="2769235" y="1667042"/>
              <a:ext cx="1250558" cy="1084279"/>
            </a:xfrm>
            <a:custGeom>
              <a:avLst/>
              <a:gdLst>
                <a:gd name="T0" fmla="*/ 104 w 722"/>
                <a:gd name="T1" fmla="*/ 102 h 626"/>
                <a:gd name="T2" fmla="*/ 92 w 722"/>
                <a:gd name="T3" fmla="*/ 136 h 626"/>
                <a:gd name="T4" fmla="*/ 34 w 722"/>
                <a:gd name="T5" fmla="*/ 168 h 626"/>
                <a:gd name="T6" fmla="*/ 2 w 722"/>
                <a:gd name="T7" fmla="*/ 188 h 626"/>
                <a:gd name="T8" fmla="*/ 56 w 722"/>
                <a:gd name="T9" fmla="*/ 188 h 626"/>
                <a:gd name="T10" fmla="*/ 42 w 722"/>
                <a:gd name="T11" fmla="*/ 208 h 626"/>
                <a:gd name="T12" fmla="*/ 22 w 722"/>
                <a:gd name="T13" fmla="*/ 218 h 626"/>
                <a:gd name="T14" fmla="*/ 106 w 722"/>
                <a:gd name="T15" fmla="*/ 234 h 626"/>
                <a:gd name="T16" fmla="*/ 166 w 722"/>
                <a:gd name="T17" fmla="*/ 262 h 626"/>
                <a:gd name="T18" fmla="*/ 190 w 722"/>
                <a:gd name="T19" fmla="*/ 358 h 626"/>
                <a:gd name="T20" fmla="*/ 216 w 722"/>
                <a:gd name="T21" fmla="*/ 352 h 626"/>
                <a:gd name="T22" fmla="*/ 206 w 722"/>
                <a:gd name="T23" fmla="*/ 376 h 626"/>
                <a:gd name="T24" fmla="*/ 218 w 722"/>
                <a:gd name="T25" fmla="*/ 388 h 626"/>
                <a:gd name="T26" fmla="*/ 224 w 722"/>
                <a:gd name="T27" fmla="*/ 424 h 626"/>
                <a:gd name="T28" fmla="*/ 188 w 722"/>
                <a:gd name="T29" fmla="*/ 462 h 626"/>
                <a:gd name="T30" fmla="*/ 232 w 722"/>
                <a:gd name="T31" fmla="*/ 586 h 626"/>
                <a:gd name="T32" fmla="*/ 270 w 722"/>
                <a:gd name="T33" fmla="*/ 608 h 626"/>
                <a:gd name="T34" fmla="*/ 304 w 722"/>
                <a:gd name="T35" fmla="*/ 620 h 626"/>
                <a:gd name="T36" fmla="*/ 342 w 722"/>
                <a:gd name="T37" fmla="*/ 540 h 626"/>
                <a:gd name="T38" fmla="*/ 356 w 722"/>
                <a:gd name="T39" fmla="*/ 498 h 626"/>
                <a:gd name="T40" fmla="*/ 436 w 722"/>
                <a:gd name="T41" fmla="*/ 482 h 626"/>
                <a:gd name="T42" fmla="*/ 462 w 722"/>
                <a:gd name="T43" fmla="*/ 436 h 626"/>
                <a:gd name="T44" fmla="*/ 528 w 722"/>
                <a:gd name="T45" fmla="*/ 434 h 626"/>
                <a:gd name="T46" fmla="*/ 584 w 722"/>
                <a:gd name="T47" fmla="*/ 384 h 626"/>
                <a:gd name="T48" fmla="*/ 530 w 722"/>
                <a:gd name="T49" fmla="*/ 374 h 626"/>
                <a:gd name="T50" fmla="*/ 550 w 722"/>
                <a:gd name="T51" fmla="*/ 348 h 626"/>
                <a:gd name="T52" fmla="*/ 592 w 722"/>
                <a:gd name="T53" fmla="*/ 374 h 626"/>
                <a:gd name="T54" fmla="*/ 592 w 722"/>
                <a:gd name="T55" fmla="*/ 336 h 626"/>
                <a:gd name="T56" fmla="*/ 560 w 722"/>
                <a:gd name="T57" fmla="*/ 314 h 626"/>
                <a:gd name="T58" fmla="*/ 588 w 722"/>
                <a:gd name="T59" fmla="*/ 312 h 626"/>
                <a:gd name="T60" fmla="*/ 606 w 722"/>
                <a:gd name="T61" fmla="*/ 300 h 626"/>
                <a:gd name="T62" fmla="*/ 612 w 722"/>
                <a:gd name="T63" fmla="*/ 282 h 626"/>
                <a:gd name="T64" fmla="*/ 644 w 722"/>
                <a:gd name="T65" fmla="*/ 268 h 626"/>
                <a:gd name="T66" fmla="*/ 628 w 722"/>
                <a:gd name="T67" fmla="*/ 244 h 626"/>
                <a:gd name="T68" fmla="*/ 638 w 722"/>
                <a:gd name="T69" fmla="*/ 212 h 626"/>
                <a:gd name="T70" fmla="*/ 644 w 722"/>
                <a:gd name="T71" fmla="*/ 188 h 626"/>
                <a:gd name="T72" fmla="*/ 602 w 722"/>
                <a:gd name="T73" fmla="*/ 182 h 626"/>
                <a:gd name="T74" fmla="*/ 638 w 722"/>
                <a:gd name="T75" fmla="*/ 140 h 626"/>
                <a:gd name="T76" fmla="*/ 622 w 722"/>
                <a:gd name="T77" fmla="*/ 122 h 626"/>
                <a:gd name="T78" fmla="*/ 662 w 722"/>
                <a:gd name="T79" fmla="*/ 108 h 626"/>
                <a:gd name="T80" fmla="*/ 722 w 722"/>
                <a:gd name="T81" fmla="*/ 76 h 626"/>
                <a:gd name="T82" fmla="*/ 648 w 722"/>
                <a:gd name="T83" fmla="*/ 74 h 626"/>
                <a:gd name="T84" fmla="*/ 582 w 722"/>
                <a:gd name="T85" fmla="*/ 104 h 626"/>
                <a:gd name="T86" fmla="*/ 604 w 722"/>
                <a:gd name="T87" fmla="*/ 64 h 626"/>
                <a:gd name="T88" fmla="*/ 558 w 722"/>
                <a:gd name="T89" fmla="*/ 82 h 626"/>
                <a:gd name="T90" fmla="*/ 556 w 722"/>
                <a:gd name="T91" fmla="*/ 58 h 626"/>
                <a:gd name="T92" fmla="*/ 482 w 722"/>
                <a:gd name="T93" fmla="*/ 72 h 626"/>
                <a:gd name="T94" fmla="*/ 484 w 722"/>
                <a:gd name="T95" fmla="*/ 56 h 626"/>
                <a:gd name="T96" fmla="*/ 598 w 722"/>
                <a:gd name="T97" fmla="*/ 40 h 626"/>
                <a:gd name="T98" fmla="*/ 566 w 722"/>
                <a:gd name="T99" fmla="*/ 22 h 626"/>
                <a:gd name="T100" fmla="*/ 478 w 722"/>
                <a:gd name="T101" fmla="*/ 38 h 626"/>
                <a:gd name="T102" fmla="*/ 506 w 722"/>
                <a:gd name="T103" fmla="*/ 22 h 626"/>
                <a:gd name="T104" fmla="*/ 508 w 722"/>
                <a:gd name="T105" fmla="*/ 2 h 626"/>
                <a:gd name="T106" fmla="*/ 408 w 722"/>
                <a:gd name="T107" fmla="*/ 22 h 626"/>
                <a:gd name="T108" fmla="*/ 360 w 722"/>
                <a:gd name="T109" fmla="*/ 32 h 626"/>
                <a:gd name="T110" fmla="*/ 342 w 722"/>
                <a:gd name="T111" fmla="*/ 48 h 626"/>
                <a:gd name="T112" fmla="*/ 322 w 722"/>
                <a:gd name="T113" fmla="*/ 56 h 626"/>
                <a:gd name="T114" fmla="*/ 284 w 722"/>
                <a:gd name="T115" fmla="*/ 54 h 626"/>
                <a:gd name="T116" fmla="*/ 276 w 722"/>
                <a:gd name="T117" fmla="*/ 82 h 626"/>
                <a:gd name="T118" fmla="*/ 258 w 722"/>
                <a:gd name="T119" fmla="*/ 58 h 626"/>
                <a:gd name="T120" fmla="*/ 240 w 722"/>
                <a:gd name="T121" fmla="*/ 62 h 626"/>
                <a:gd name="T122" fmla="*/ 212 w 722"/>
                <a:gd name="T123" fmla="*/ 56 h 626"/>
                <a:gd name="T124" fmla="*/ 174 w 722"/>
                <a:gd name="T125" fmla="*/ 64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2" h="626">
                  <a:moveTo>
                    <a:pt x="150" y="78"/>
                  </a:moveTo>
                  <a:lnTo>
                    <a:pt x="150" y="78"/>
                  </a:lnTo>
                  <a:lnTo>
                    <a:pt x="150" y="80"/>
                  </a:lnTo>
                  <a:lnTo>
                    <a:pt x="148" y="82"/>
                  </a:lnTo>
                  <a:lnTo>
                    <a:pt x="144" y="88"/>
                  </a:lnTo>
                  <a:lnTo>
                    <a:pt x="144" y="90"/>
                  </a:lnTo>
                  <a:lnTo>
                    <a:pt x="142" y="94"/>
                  </a:lnTo>
                  <a:lnTo>
                    <a:pt x="140" y="94"/>
                  </a:lnTo>
                  <a:lnTo>
                    <a:pt x="140" y="96"/>
                  </a:lnTo>
                  <a:lnTo>
                    <a:pt x="138" y="96"/>
                  </a:lnTo>
                  <a:lnTo>
                    <a:pt x="138" y="98"/>
                  </a:lnTo>
                  <a:lnTo>
                    <a:pt x="136" y="98"/>
                  </a:lnTo>
                  <a:lnTo>
                    <a:pt x="134" y="98"/>
                  </a:lnTo>
                  <a:lnTo>
                    <a:pt x="132" y="100"/>
                  </a:lnTo>
                  <a:lnTo>
                    <a:pt x="128" y="100"/>
                  </a:lnTo>
                  <a:lnTo>
                    <a:pt x="126" y="100"/>
                  </a:lnTo>
                  <a:lnTo>
                    <a:pt x="122" y="100"/>
                  </a:lnTo>
                  <a:lnTo>
                    <a:pt x="116" y="100"/>
                  </a:lnTo>
                  <a:lnTo>
                    <a:pt x="110" y="102"/>
                  </a:lnTo>
                  <a:lnTo>
                    <a:pt x="106" y="102"/>
                  </a:lnTo>
                  <a:lnTo>
                    <a:pt x="104" y="102"/>
                  </a:lnTo>
                  <a:lnTo>
                    <a:pt x="102" y="104"/>
                  </a:lnTo>
                  <a:lnTo>
                    <a:pt x="98" y="104"/>
                  </a:lnTo>
                  <a:lnTo>
                    <a:pt x="98" y="104"/>
                  </a:lnTo>
                  <a:lnTo>
                    <a:pt x="96" y="106"/>
                  </a:lnTo>
                  <a:lnTo>
                    <a:pt x="96" y="106"/>
                  </a:lnTo>
                  <a:lnTo>
                    <a:pt x="96" y="106"/>
                  </a:lnTo>
                  <a:lnTo>
                    <a:pt x="94" y="108"/>
                  </a:lnTo>
                  <a:lnTo>
                    <a:pt x="94" y="108"/>
                  </a:lnTo>
                  <a:lnTo>
                    <a:pt x="94" y="110"/>
                  </a:lnTo>
                  <a:lnTo>
                    <a:pt x="94" y="112"/>
                  </a:lnTo>
                  <a:lnTo>
                    <a:pt x="94" y="112"/>
                  </a:lnTo>
                  <a:lnTo>
                    <a:pt x="94" y="116"/>
                  </a:lnTo>
                  <a:lnTo>
                    <a:pt x="94" y="118"/>
                  </a:lnTo>
                  <a:lnTo>
                    <a:pt x="94" y="122"/>
                  </a:lnTo>
                  <a:lnTo>
                    <a:pt x="94" y="126"/>
                  </a:lnTo>
                  <a:lnTo>
                    <a:pt x="94" y="128"/>
                  </a:lnTo>
                  <a:lnTo>
                    <a:pt x="94" y="130"/>
                  </a:lnTo>
                  <a:lnTo>
                    <a:pt x="94" y="132"/>
                  </a:lnTo>
                  <a:lnTo>
                    <a:pt x="94" y="134"/>
                  </a:lnTo>
                  <a:lnTo>
                    <a:pt x="94" y="136"/>
                  </a:lnTo>
                  <a:lnTo>
                    <a:pt x="92" y="136"/>
                  </a:lnTo>
                  <a:lnTo>
                    <a:pt x="92" y="138"/>
                  </a:lnTo>
                  <a:lnTo>
                    <a:pt x="90" y="140"/>
                  </a:lnTo>
                  <a:lnTo>
                    <a:pt x="88" y="140"/>
                  </a:lnTo>
                  <a:lnTo>
                    <a:pt x="86" y="140"/>
                  </a:lnTo>
                  <a:lnTo>
                    <a:pt x="84" y="142"/>
                  </a:lnTo>
                  <a:lnTo>
                    <a:pt x="82" y="142"/>
                  </a:lnTo>
                  <a:lnTo>
                    <a:pt x="78" y="142"/>
                  </a:lnTo>
                  <a:lnTo>
                    <a:pt x="72" y="144"/>
                  </a:lnTo>
                  <a:lnTo>
                    <a:pt x="68" y="144"/>
                  </a:lnTo>
                  <a:lnTo>
                    <a:pt x="66" y="146"/>
                  </a:lnTo>
                  <a:lnTo>
                    <a:pt x="64" y="146"/>
                  </a:lnTo>
                  <a:lnTo>
                    <a:pt x="62" y="146"/>
                  </a:lnTo>
                  <a:lnTo>
                    <a:pt x="60" y="148"/>
                  </a:lnTo>
                  <a:lnTo>
                    <a:pt x="58" y="148"/>
                  </a:lnTo>
                  <a:lnTo>
                    <a:pt x="56" y="148"/>
                  </a:lnTo>
                  <a:lnTo>
                    <a:pt x="54" y="152"/>
                  </a:lnTo>
                  <a:lnTo>
                    <a:pt x="50" y="154"/>
                  </a:lnTo>
                  <a:lnTo>
                    <a:pt x="44" y="158"/>
                  </a:lnTo>
                  <a:lnTo>
                    <a:pt x="40" y="162"/>
                  </a:lnTo>
                  <a:lnTo>
                    <a:pt x="38" y="164"/>
                  </a:lnTo>
                  <a:lnTo>
                    <a:pt x="34" y="168"/>
                  </a:lnTo>
                  <a:lnTo>
                    <a:pt x="32" y="168"/>
                  </a:lnTo>
                  <a:lnTo>
                    <a:pt x="30" y="170"/>
                  </a:lnTo>
                  <a:lnTo>
                    <a:pt x="28" y="170"/>
                  </a:lnTo>
                  <a:lnTo>
                    <a:pt x="26" y="170"/>
                  </a:lnTo>
                  <a:lnTo>
                    <a:pt x="22" y="172"/>
                  </a:lnTo>
                  <a:lnTo>
                    <a:pt x="14" y="174"/>
                  </a:lnTo>
                  <a:lnTo>
                    <a:pt x="10" y="174"/>
                  </a:lnTo>
                  <a:lnTo>
                    <a:pt x="6" y="176"/>
                  </a:lnTo>
                  <a:lnTo>
                    <a:pt x="6" y="176"/>
                  </a:lnTo>
                  <a:lnTo>
                    <a:pt x="4" y="176"/>
                  </a:lnTo>
                  <a:lnTo>
                    <a:pt x="2" y="178"/>
                  </a:lnTo>
                  <a:lnTo>
                    <a:pt x="0" y="178"/>
                  </a:lnTo>
                  <a:lnTo>
                    <a:pt x="0" y="180"/>
                  </a:lnTo>
                  <a:lnTo>
                    <a:pt x="0" y="180"/>
                  </a:lnTo>
                  <a:lnTo>
                    <a:pt x="0" y="180"/>
                  </a:lnTo>
                  <a:lnTo>
                    <a:pt x="0" y="182"/>
                  </a:lnTo>
                  <a:lnTo>
                    <a:pt x="0" y="184"/>
                  </a:lnTo>
                  <a:lnTo>
                    <a:pt x="0" y="186"/>
                  </a:lnTo>
                  <a:lnTo>
                    <a:pt x="0" y="186"/>
                  </a:lnTo>
                  <a:lnTo>
                    <a:pt x="0" y="188"/>
                  </a:lnTo>
                  <a:lnTo>
                    <a:pt x="2" y="188"/>
                  </a:lnTo>
                  <a:lnTo>
                    <a:pt x="2" y="190"/>
                  </a:lnTo>
                  <a:lnTo>
                    <a:pt x="4" y="190"/>
                  </a:lnTo>
                  <a:lnTo>
                    <a:pt x="4" y="192"/>
                  </a:lnTo>
                  <a:lnTo>
                    <a:pt x="6" y="192"/>
                  </a:lnTo>
                  <a:lnTo>
                    <a:pt x="8" y="192"/>
                  </a:lnTo>
                  <a:lnTo>
                    <a:pt x="8" y="192"/>
                  </a:lnTo>
                  <a:lnTo>
                    <a:pt x="10" y="192"/>
                  </a:lnTo>
                  <a:lnTo>
                    <a:pt x="14" y="192"/>
                  </a:lnTo>
                  <a:lnTo>
                    <a:pt x="16" y="192"/>
                  </a:lnTo>
                  <a:lnTo>
                    <a:pt x="20" y="190"/>
                  </a:lnTo>
                  <a:lnTo>
                    <a:pt x="28" y="190"/>
                  </a:lnTo>
                  <a:lnTo>
                    <a:pt x="36" y="188"/>
                  </a:lnTo>
                  <a:lnTo>
                    <a:pt x="40" y="186"/>
                  </a:lnTo>
                  <a:lnTo>
                    <a:pt x="44" y="186"/>
                  </a:lnTo>
                  <a:lnTo>
                    <a:pt x="46" y="186"/>
                  </a:lnTo>
                  <a:lnTo>
                    <a:pt x="50" y="186"/>
                  </a:lnTo>
                  <a:lnTo>
                    <a:pt x="52" y="186"/>
                  </a:lnTo>
                  <a:lnTo>
                    <a:pt x="52" y="186"/>
                  </a:lnTo>
                  <a:lnTo>
                    <a:pt x="54" y="186"/>
                  </a:lnTo>
                  <a:lnTo>
                    <a:pt x="56" y="188"/>
                  </a:lnTo>
                  <a:lnTo>
                    <a:pt x="56" y="188"/>
                  </a:lnTo>
                  <a:lnTo>
                    <a:pt x="58" y="190"/>
                  </a:lnTo>
                  <a:lnTo>
                    <a:pt x="60" y="192"/>
                  </a:lnTo>
                  <a:lnTo>
                    <a:pt x="62" y="194"/>
                  </a:lnTo>
                  <a:lnTo>
                    <a:pt x="64" y="196"/>
                  </a:lnTo>
                  <a:lnTo>
                    <a:pt x="64" y="198"/>
                  </a:lnTo>
                  <a:lnTo>
                    <a:pt x="64" y="198"/>
                  </a:lnTo>
                  <a:lnTo>
                    <a:pt x="66" y="200"/>
                  </a:lnTo>
                  <a:lnTo>
                    <a:pt x="66" y="200"/>
                  </a:lnTo>
                  <a:lnTo>
                    <a:pt x="66" y="202"/>
                  </a:lnTo>
                  <a:lnTo>
                    <a:pt x="66" y="202"/>
                  </a:lnTo>
                  <a:lnTo>
                    <a:pt x="64" y="204"/>
                  </a:lnTo>
                  <a:lnTo>
                    <a:pt x="64" y="204"/>
                  </a:lnTo>
                  <a:lnTo>
                    <a:pt x="62" y="204"/>
                  </a:lnTo>
                  <a:lnTo>
                    <a:pt x="62" y="206"/>
                  </a:lnTo>
                  <a:lnTo>
                    <a:pt x="60" y="206"/>
                  </a:lnTo>
                  <a:lnTo>
                    <a:pt x="58" y="206"/>
                  </a:lnTo>
                  <a:lnTo>
                    <a:pt x="56" y="206"/>
                  </a:lnTo>
                  <a:lnTo>
                    <a:pt x="52" y="206"/>
                  </a:lnTo>
                  <a:lnTo>
                    <a:pt x="48" y="208"/>
                  </a:lnTo>
                  <a:lnTo>
                    <a:pt x="44" y="208"/>
                  </a:lnTo>
                  <a:lnTo>
                    <a:pt x="42" y="208"/>
                  </a:lnTo>
                  <a:lnTo>
                    <a:pt x="42" y="208"/>
                  </a:lnTo>
                  <a:lnTo>
                    <a:pt x="40" y="208"/>
                  </a:lnTo>
                  <a:lnTo>
                    <a:pt x="36" y="208"/>
                  </a:lnTo>
                  <a:lnTo>
                    <a:pt x="34" y="208"/>
                  </a:lnTo>
                  <a:lnTo>
                    <a:pt x="30" y="208"/>
                  </a:lnTo>
                  <a:lnTo>
                    <a:pt x="26" y="208"/>
                  </a:lnTo>
                  <a:lnTo>
                    <a:pt x="24" y="208"/>
                  </a:lnTo>
                  <a:lnTo>
                    <a:pt x="24" y="208"/>
                  </a:lnTo>
                  <a:lnTo>
                    <a:pt x="22" y="208"/>
                  </a:lnTo>
                  <a:lnTo>
                    <a:pt x="20" y="208"/>
                  </a:lnTo>
                  <a:lnTo>
                    <a:pt x="20" y="210"/>
                  </a:lnTo>
                  <a:lnTo>
                    <a:pt x="20" y="210"/>
                  </a:lnTo>
                  <a:lnTo>
                    <a:pt x="20" y="210"/>
                  </a:lnTo>
                  <a:lnTo>
                    <a:pt x="20" y="212"/>
                  </a:lnTo>
                  <a:lnTo>
                    <a:pt x="20" y="212"/>
                  </a:lnTo>
                  <a:lnTo>
                    <a:pt x="20" y="212"/>
                  </a:lnTo>
                  <a:lnTo>
                    <a:pt x="20" y="214"/>
                  </a:lnTo>
                  <a:lnTo>
                    <a:pt x="20" y="214"/>
                  </a:lnTo>
                  <a:lnTo>
                    <a:pt x="22" y="216"/>
                  </a:lnTo>
                  <a:lnTo>
                    <a:pt x="22" y="216"/>
                  </a:lnTo>
                  <a:lnTo>
                    <a:pt x="22" y="218"/>
                  </a:lnTo>
                  <a:lnTo>
                    <a:pt x="24" y="220"/>
                  </a:lnTo>
                  <a:lnTo>
                    <a:pt x="28" y="222"/>
                  </a:lnTo>
                  <a:lnTo>
                    <a:pt x="30" y="224"/>
                  </a:lnTo>
                  <a:lnTo>
                    <a:pt x="32" y="226"/>
                  </a:lnTo>
                  <a:lnTo>
                    <a:pt x="36" y="226"/>
                  </a:lnTo>
                  <a:lnTo>
                    <a:pt x="38" y="228"/>
                  </a:lnTo>
                  <a:lnTo>
                    <a:pt x="42" y="230"/>
                  </a:lnTo>
                  <a:lnTo>
                    <a:pt x="44" y="232"/>
                  </a:lnTo>
                  <a:lnTo>
                    <a:pt x="50" y="234"/>
                  </a:lnTo>
                  <a:lnTo>
                    <a:pt x="56" y="236"/>
                  </a:lnTo>
                  <a:lnTo>
                    <a:pt x="58" y="236"/>
                  </a:lnTo>
                  <a:lnTo>
                    <a:pt x="60" y="236"/>
                  </a:lnTo>
                  <a:lnTo>
                    <a:pt x="62" y="236"/>
                  </a:lnTo>
                  <a:lnTo>
                    <a:pt x="64" y="236"/>
                  </a:lnTo>
                  <a:lnTo>
                    <a:pt x="66" y="236"/>
                  </a:lnTo>
                  <a:lnTo>
                    <a:pt x="70" y="236"/>
                  </a:lnTo>
                  <a:lnTo>
                    <a:pt x="74" y="236"/>
                  </a:lnTo>
                  <a:lnTo>
                    <a:pt x="80" y="236"/>
                  </a:lnTo>
                  <a:lnTo>
                    <a:pt x="86" y="236"/>
                  </a:lnTo>
                  <a:lnTo>
                    <a:pt x="100" y="234"/>
                  </a:lnTo>
                  <a:lnTo>
                    <a:pt x="106" y="234"/>
                  </a:lnTo>
                  <a:lnTo>
                    <a:pt x="112" y="234"/>
                  </a:lnTo>
                  <a:lnTo>
                    <a:pt x="118" y="232"/>
                  </a:lnTo>
                  <a:lnTo>
                    <a:pt x="124" y="232"/>
                  </a:lnTo>
                  <a:lnTo>
                    <a:pt x="130" y="232"/>
                  </a:lnTo>
                  <a:lnTo>
                    <a:pt x="132" y="232"/>
                  </a:lnTo>
                  <a:lnTo>
                    <a:pt x="134" y="232"/>
                  </a:lnTo>
                  <a:lnTo>
                    <a:pt x="136" y="234"/>
                  </a:lnTo>
                  <a:lnTo>
                    <a:pt x="140" y="234"/>
                  </a:lnTo>
                  <a:lnTo>
                    <a:pt x="142" y="234"/>
                  </a:lnTo>
                  <a:lnTo>
                    <a:pt x="144" y="236"/>
                  </a:lnTo>
                  <a:lnTo>
                    <a:pt x="144" y="236"/>
                  </a:lnTo>
                  <a:lnTo>
                    <a:pt x="146" y="236"/>
                  </a:lnTo>
                  <a:lnTo>
                    <a:pt x="148" y="238"/>
                  </a:lnTo>
                  <a:lnTo>
                    <a:pt x="150" y="240"/>
                  </a:lnTo>
                  <a:lnTo>
                    <a:pt x="152" y="242"/>
                  </a:lnTo>
                  <a:lnTo>
                    <a:pt x="156" y="246"/>
                  </a:lnTo>
                  <a:lnTo>
                    <a:pt x="158" y="250"/>
                  </a:lnTo>
                  <a:lnTo>
                    <a:pt x="162" y="254"/>
                  </a:lnTo>
                  <a:lnTo>
                    <a:pt x="164" y="258"/>
                  </a:lnTo>
                  <a:lnTo>
                    <a:pt x="166" y="260"/>
                  </a:lnTo>
                  <a:lnTo>
                    <a:pt x="166" y="262"/>
                  </a:lnTo>
                  <a:lnTo>
                    <a:pt x="168" y="264"/>
                  </a:lnTo>
                  <a:lnTo>
                    <a:pt x="170" y="270"/>
                  </a:lnTo>
                  <a:lnTo>
                    <a:pt x="172" y="274"/>
                  </a:lnTo>
                  <a:lnTo>
                    <a:pt x="174" y="280"/>
                  </a:lnTo>
                  <a:lnTo>
                    <a:pt x="176" y="286"/>
                  </a:lnTo>
                  <a:lnTo>
                    <a:pt x="178" y="292"/>
                  </a:lnTo>
                  <a:lnTo>
                    <a:pt x="182" y="300"/>
                  </a:lnTo>
                  <a:lnTo>
                    <a:pt x="182" y="304"/>
                  </a:lnTo>
                  <a:lnTo>
                    <a:pt x="184" y="310"/>
                  </a:lnTo>
                  <a:lnTo>
                    <a:pt x="186" y="320"/>
                  </a:lnTo>
                  <a:lnTo>
                    <a:pt x="188" y="332"/>
                  </a:lnTo>
                  <a:lnTo>
                    <a:pt x="188" y="340"/>
                  </a:lnTo>
                  <a:lnTo>
                    <a:pt x="188" y="344"/>
                  </a:lnTo>
                  <a:lnTo>
                    <a:pt x="188" y="346"/>
                  </a:lnTo>
                  <a:lnTo>
                    <a:pt x="188" y="350"/>
                  </a:lnTo>
                  <a:lnTo>
                    <a:pt x="188" y="354"/>
                  </a:lnTo>
                  <a:lnTo>
                    <a:pt x="188" y="354"/>
                  </a:lnTo>
                  <a:lnTo>
                    <a:pt x="190" y="356"/>
                  </a:lnTo>
                  <a:lnTo>
                    <a:pt x="190" y="356"/>
                  </a:lnTo>
                  <a:lnTo>
                    <a:pt x="190" y="358"/>
                  </a:lnTo>
                  <a:lnTo>
                    <a:pt x="190" y="358"/>
                  </a:lnTo>
                  <a:lnTo>
                    <a:pt x="192" y="358"/>
                  </a:lnTo>
                  <a:lnTo>
                    <a:pt x="192" y="358"/>
                  </a:lnTo>
                  <a:lnTo>
                    <a:pt x="192" y="358"/>
                  </a:lnTo>
                  <a:lnTo>
                    <a:pt x="194" y="358"/>
                  </a:lnTo>
                  <a:lnTo>
                    <a:pt x="194" y="358"/>
                  </a:lnTo>
                  <a:lnTo>
                    <a:pt x="196" y="358"/>
                  </a:lnTo>
                  <a:lnTo>
                    <a:pt x="196" y="358"/>
                  </a:lnTo>
                  <a:lnTo>
                    <a:pt x="198" y="356"/>
                  </a:lnTo>
                  <a:lnTo>
                    <a:pt x="202" y="354"/>
                  </a:lnTo>
                  <a:lnTo>
                    <a:pt x="204" y="352"/>
                  </a:lnTo>
                  <a:lnTo>
                    <a:pt x="206" y="350"/>
                  </a:lnTo>
                  <a:lnTo>
                    <a:pt x="206" y="350"/>
                  </a:lnTo>
                  <a:lnTo>
                    <a:pt x="208" y="350"/>
                  </a:lnTo>
                  <a:lnTo>
                    <a:pt x="210" y="348"/>
                  </a:lnTo>
                  <a:lnTo>
                    <a:pt x="210" y="348"/>
                  </a:lnTo>
                  <a:lnTo>
                    <a:pt x="210" y="348"/>
                  </a:lnTo>
                  <a:lnTo>
                    <a:pt x="212" y="348"/>
                  </a:lnTo>
                  <a:lnTo>
                    <a:pt x="212" y="350"/>
                  </a:lnTo>
                  <a:lnTo>
                    <a:pt x="214" y="350"/>
                  </a:lnTo>
                  <a:lnTo>
                    <a:pt x="214" y="352"/>
                  </a:lnTo>
                  <a:lnTo>
                    <a:pt x="216" y="352"/>
                  </a:lnTo>
                  <a:lnTo>
                    <a:pt x="216" y="354"/>
                  </a:lnTo>
                  <a:lnTo>
                    <a:pt x="218" y="356"/>
                  </a:lnTo>
                  <a:lnTo>
                    <a:pt x="218" y="356"/>
                  </a:lnTo>
                  <a:lnTo>
                    <a:pt x="218" y="358"/>
                  </a:lnTo>
                  <a:lnTo>
                    <a:pt x="220" y="360"/>
                  </a:lnTo>
                  <a:lnTo>
                    <a:pt x="220" y="362"/>
                  </a:lnTo>
                  <a:lnTo>
                    <a:pt x="220" y="364"/>
                  </a:lnTo>
                  <a:lnTo>
                    <a:pt x="220" y="366"/>
                  </a:lnTo>
                  <a:lnTo>
                    <a:pt x="220" y="368"/>
                  </a:lnTo>
                  <a:lnTo>
                    <a:pt x="220" y="368"/>
                  </a:lnTo>
                  <a:lnTo>
                    <a:pt x="220" y="370"/>
                  </a:lnTo>
                  <a:lnTo>
                    <a:pt x="220" y="370"/>
                  </a:lnTo>
                  <a:lnTo>
                    <a:pt x="220" y="372"/>
                  </a:lnTo>
                  <a:lnTo>
                    <a:pt x="220" y="372"/>
                  </a:lnTo>
                  <a:lnTo>
                    <a:pt x="218" y="372"/>
                  </a:lnTo>
                  <a:lnTo>
                    <a:pt x="218" y="372"/>
                  </a:lnTo>
                  <a:lnTo>
                    <a:pt x="216" y="374"/>
                  </a:lnTo>
                  <a:lnTo>
                    <a:pt x="214" y="374"/>
                  </a:lnTo>
                  <a:lnTo>
                    <a:pt x="212" y="374"/>
                  </a:lnTo>
                  <a:lnTo>
                    <a:pt x="210" y="374"/>
                  </a:lnTo>
                  <a:lnTo>
                    <a:pt x="206" y="376"/>
                  </a:lnTo>
                  <a:lnTo>
                    <a:pt x="202" y="376"/>
                  </a:lnTo>
                  <a:lnTo>
                    <a:pt x="200" y="376"/>
                  </a:lnTo>
                  <a:lnTo>
                    <a:pt x="198" y="376"/>
                  </a:lnTo>
                  <a:lnTo>
                    <a:pt x="196" y="376"/>
                  </a:lnTo>
                  <a:lnTo>
                    <a:pt x="196" y="378"/>
                  </a:lnTo>
                  <a:lnTo>
                    <a:pt x="194" y="378"/>
                  </a:lnTo>
                  <a:lnTo>
                    <a:pt x="194" y="378"/>
                  </a:lnTo>
                  <a:lnTo>
                    <a:pt x="194" y="380"/>
                  </a:lnTo>
                  <a:lnTo>
                    <a:pt x="194" y="380"/>
                  </a:lnTo>
                  <a:lnTo>
                    <a:pt x="194" y="380"/>
                  </a:lnTo>
                  <a:lnTo>
                    <a:pt x="194" y="382"/>
                  </a:lnTo>
                  <a:lnTo>
                    <a:pt x="194" y="382"/>
                  </a:lnTo>
                  <a:lnTo>
                    <a:pt x="196" y="382"/>
                  </a:lnTo>
                  <a:lnTo>
                    <a:pt x="196" y="384"/>
                  </a:lnTo>
                  <a:lnTo>
                    <a:pt x="196" y="384"/>
                  </a:lnTo>
                  <a:lnTo>
                    <a:pt x="198" y="384"/>
                  </a:lnTo>
                  <a:lnTo>
                    <a:pt x="202" y="386"/>
                  </a:lnTo>
                  <a:lnTo>
                    <a:pt x="204" y="386"/>
                  </a:lnTo>
                  <a:lnTo>
                    <a:pt x="210" y="388"/>
                  </a:lnTo>
                  <a:lnTo>
                    <a:pt x="216" y="388"/>
                  </a:lnTo>
                  <a:lnTo>
                    <a:pt x="218" y="388"/>
                  </a:lnTo>
                  <a:lnTo>
                    <a:pt x="222" y="390"/>
                  </a:lnTo>
                  <a:lnTo>
                    <a:pt x="224" y="390"/>
                  </a:lnTo>
                  <a:lnTo>
                    <a:pt x="226" y="392"/>
                  </a:lnTo>
                  <a:lnTo>
                    <a:pt x="228" y="392"/>
                  </a:lnTo>
                  <a:lnTo>
                    <a:pt x="228" y="392"/>
                  </a:lnTo>
                  <a:lnTo>
                    <a:pt x="228" y="394"/>
                  </a:lnTo>
                  <a:lnTo>
                    <a:pt x="228" y="394"/>
                  </a:lnTo>
                  <a:lnTo>
                    <a:pt x="230" y="396"/>
                  </a:lnTo>
                  <a:lnTo>
                    <a:pt x="230" y="398"/>
                  </a:lnTo>
                  <a:lnTo>
                    <a:pt x="230" y="398"/>
                  </a:lnTo>
                  <a:lnTo>
                    <a:pt x="230" y="400"/>
                  </a:lnTo>
                  <a:lnTo>
                    <a:pt x="230" y="402"/>
                  </a:lnTo>
                  <a:lnTo>
                    <a:pt x="230" y="404"/>
                  </a:lnTo>
                  <a:lnTo>
                    <a:pt x="230" y="408"/>
                  </a:lnTo>
                  <a:lnTo>
                    <a:pt x="230" y="410"/>
                  </a:lnTo>
                  <a:lnTo>
                    <a:pt x="228" y="414"/>
                  </a:lnTo>
                  <a:lnTo>
                    <a:pt x="228" y="418"/>
                  </a:lnTo>
                  <a:lnTo>
                    <a:pt x="226" y="420"/>
                  </a:lnTo>
                  <a:lnTo>
                    <a:pt x="226" y="422"/>
                  </a:lnTo>
                  <a:lnTo>
                    <a:pt x="224" y="422"/>
                  </a:lnTo>
                  <a:lnTo>
                    <a:pt x="224" y="424"/>
                  </a:lnTo>
                  <a:lnTo>
                    <a:pt x="222" y="426"/>
                  </a:lnTo>
                  <a:lnTo>
                    <a:pt x="222" y="426"/>
                  </a:lnTo>
                  <a:lnTo>
                    <a:pt x="220" y="428"/>
                  </a:lnTo>
                  <a:lnTo>
                    <a:pt x="218" y="428"/>
                  </a:lnTo>
                  <a:lnTo>
                    <a:pt x="214" y="430"/>
                  </a:lnTo>
                  <a:lnTo>
                    <a:pt x="210" y="432"/>
                  </a:lnTo>
                  <a:lnTo>
                    <a:pt x="206" y="434"/>
                  </a:lnTo>
                  <a:lnTo>
                    <a:pt x="202" y="436"/>
                  </a:lnTo>
                  <a:lnTo>
                    <a:pt x="200" y="436"/>
                  </a:lnTo>
                  <a:lnTo>
                    <a:pt x="198" y="438"/>
                  </a:lnTo>
                  <a:lnTo>
                    <a:pt x="198" y="438"/>
                  </a:lnTo>
                  <a:lnTo>
                    <a:pt x="196" y="440"/>
                  </a:lnTo>
                  <a:lnTo>
                    <a:pt x="196" y="440"/>
                  </a:lnTo>
                  <a:lnTo>
                    <a:pt x="194" y="442"/>
                  </a:lnTo>
                  <a:lnTo>
                    <a:pt x="194" y="444"/>
                  </a:lnTo>
                  <a:lnTo>
                    <a:pt x="192" y="446"/>
                  </a:lnTo>
                  <a:lnTo>
                    <a:pt x="190" y="450"/>
                  </a:lnTo>
                  <a:lnTo>
                    <a:pt x="190" y="454"/>
                  </a:lnTo>
                  <a:lnTo>
                    <a:pt x="190" y="456"/>
                  </a:lnTo>
                  <a:lnTo>
                    <a:pt x="188" y="460"/>
                  </a:lnTo>
                  <a:lnTo>
                    <a:pt x="188" y="462"/>
                  </a:lnTo>
                  <a:lnTo>
                    <a:pt x="188" y="464"/>
                  </a:lnTo>
                  <a:lnTo>
                    <a:pt x="188" y="466"/>
                  </a:lnTo>
                  <a:lnTo>
                    <a:pt x="190" y="470"/>
                  </a:lnTo>
                  <a:lnTo>
                    <a:pt x="190" y="472"/>
                  </a:lnTo>
                  <a:lnTo>
                    <a:pt x="192" y="478"/>
                  </a:lnTo>
                  <a:lnTo>
                    <a:pt x="194" y="486"/>
                  </a:lnTo>
                  <a:lnTo>
                    <a:pt x="196" y="492"/>
                  </a:lnTo>
                  <a:lnTo>
                    <a:pt x="198" y="498"/>
                  </a:lnTo>
                  <a:lnTo>
                    <a:pt x="200" y="502"/>
                  </a:lnTo>
                  <a:lnTo>
                    <a:pt x="202" y="508"/>
                  </a:lnTo>
                  <a:lnTo>
                    <a:pt x="204" y="518"/>
                  </a:lnTo>
                  <a:lnTo>
                    <a:pt x="210" y="532"/>
                  </a:lnTo>
                  <a:lnTo>
                    <a:pt x="214" y="544"/>
                  </a:lnTo>
                  <a:lnTo>
                    <a:pt x="216" y="550"/>
                  </a:lnTo>
                  <a:lnTo>
                    <a:pt x="218" y="556"/>
                  </a:lnTo>
                  <a:lnTo>
                    <a:pt x="220" y="560"/>
                  </a:lnTo>
                  <a:lnTo>
                    <a:pt x="224" y="566"/>
                  </a:lnTo>
                  <a:lnTo>
                    <a:pt x="226" y="572"/>
                  </a:lnTo>
                  <a:lnTo>
                    <a:pt x="228" y="580"/>
                  </a:lnTo>
                  <a:lnTo>
                    <a:pt x="230" y="582"/>
                  </a:lnTo>
                  <a:lnTo>
                    <a:pt x="232" y="586"/>
                  </a:lnTo>
                  <a:lnTo>
                    <a:pt x="232" y="590"/>
                  </a:lnTo>
                  <a:lnTo>
                    <a:pt x="234" y="592"/>
                  </a:lnTo>
                  <a:lnTo>
                    <a:pt x="236" y="594"/>
                  </a:lnTo>
                  <a:lnTo>
                    <a:pt x="238" y="598"/>
                  </a:lnTo>
                  <a:lnTo>
                    <a:pt x="240" y="600"/>
                  </a:lnTo>
                  <a:lnTo>
                    <a:pt x="242" y="600"/>
                  </a:lnTo>
                  <a:lnTo>
                    <a:pt x="242" y="602"/>
                  </a:lnTo>
                  <a:lnTo>
                    <a:pt x="244" y="602"/>
                  </a:lnTo>
                  <a:lnTo>
                    <a:pt x="246" y="602"/>
                  </a:lnTo>
                  <a:lnTo>
                    <a:pt x="246" y="602"/>
                  </a:lnTo>
                  <a:lnTo>
                    <a:pt x="250" y="604"/>
                  </a:lnTo>
                  <a:lnTo>
                    <a:pt x="254" y="604"/>
                  </a:lnTo>
                  <a:lnTo>
                    <a:pt x="258" y="604"/>
                  </a:lnTo>
                  <a:lnTo>
                    <a:pt x="262" y="604"/>
                  </a:lnTo>
                  <a:lnTo>
                    <a:pt x="262" y="604"/>
                  </a:lnTo>
                  <a:lnTo>
                    <a:pt x="264" y="604"/>
                  </a:lnTo>
                  <a:lnTo>
                    <a:pt x="266" y="606"/>
                  </a:lnTo>
                  <a:lnTo>
                    <a:pt x="266" y="606"/>
                  </a:lnTo>
                  <a:lnTo>
                    <a:pt x="268" y="606"/>
                  </a:lnTo>
                  <a:lnTo>
                    <a:pt x="268" y="608"/>
                  </a:lnTo>
                  <a:lnTo>
                    <a:pt x="270" y="608"/>
                  </a:lnTo>
                  <a:lnTo>
                    <a:pt x="270" y="610"/>
                  </a:lnTo>
                  <a:lnTo>
                    <a:pt x="272" y="614"/>
                  </a:lnTo>
                  <a:lnTo>
                    <a:pt x="272" y="616"/>
                  </a:lnTo>
                  <a:lnTo>
                    <a:pt x="274" y="620"/>
                  </a:lnTo>
                  <a:lnTo>
                    <a:pt x="276" y="622"/>
                  </a:lnTo>
                  <a:lnTo>
                    <a:pt x="276" y="624"/>
                  </a:lnTo>
                  <a:lnTo>
                    <a:pt x="278" y="624"/>
                  </a:lnTo>
                  <a:lnTo>
                    <a:pt x="278" y="626"/>
                  </a:lnTo>
                  <a:lnTo>
                    <a:pt x="280" y="626"/>
                  </a:lnTo>
                  <a:lnTo>
                    <a:pt x="280" y="626"/>
                  </a:lnTo>
                  <a:lnTo>
                    <a:pt x="282" y="626"/>
                  </a:lnTo>
                  <a:lnTo>
                    <a:pt x="284" y="626"/>
                  </a:lnTo>
                  <a:lnTo>
                    <a:pt x="284" y="626"/>
                  </a:lnTo>
                  <a:lnTo>
                    <a:pt x="288" y="626"/>
                  </a:lnTo>
                  <a:lnTo>
                    <a:pt x="290" y="626"/>
                  </a:lnTo>
                  <a:lnTo>
                    <a:pt x="294" y="624"/>
                  </a:lnTo>
                  <a:lnTo>
                    <a:pt x="298" y="624"/>
                  </a:lnTo>
                  <a:lnTo>
                    <a:pt x="300" y="622"/>
                  </a:lnTo>
                  <a:lnTo>
                    <a:pt x="302" y="622"/>
                  </a:lnTo>
                  <a:lnTo>
                    <a:pt x="302" y="620"/>
                  </a:lnTo>
                  <a:lnTo>
                    <a:pt x="304" y="620"/>
                  </a:lnTo>
                  <a:lnTo>
                    <a:pt x="304" y="618"/>
                  </a:lnTo>
                  <a:lnTo>
                    <a:pt x="306" y="618"/>
                  </a:lnTo>
                  <a:lnTo>
                    <a:pt x="306" y="616"/>
                  </a:lnTo>
                  <a:lnTo>
                    <a:pt x="308" y="612"/>
                  </a:lnTo>
                  <a:lnTo>
                    <a:pt x="310" y="608"/>
                  </a:lnTo>
                  <a:lnTo>
                    <a:pt x="312" y="604"/>
                  </a:lnTo>
                  <a:lnTo>
                    <a:pt x="314" y="600"/>
                  </a:lnTo>
                  <a:lnTo>
                    <a:pt x="314" y="596"/>
                  </a:lnTo>
                  <a:lnTo>
                    <a:pt x="316" y="590"/>
                  </a:lnTo>
                  <a:lnTo>
                    <a:pt x="318" y="582"/>
                  </a:lnTo>
                  <a:lnTo>
                    <a:pt x="322" y="572"/>
                  </a:lnTo>
                  <a:lnTo>
                    <a:pt x="322" y="568"/>
                  </a:lnTo>
                  <a:lnTo>
                    <a:pt x="324" y="564"/>
                  </a:lnTo>
                  <a:lnTo>
                    <a:pt x="326" y="560"/>
                  </a:lnTo>
                  <a:lnTo>
                    <a:pt x="328" y="558"/>
                  </a:lnTo>
                  <a:lnTo>
                    <a:pt x="328" y="556"/>
                  </a:lnTo>
                  <a:lnTo>
                    <a:pt x="328" y="556"/>
                  </a:lnTo>
                  <a:lnTo>
                    <a:pt x="330" y="552"/>
                  </a:lnTo>
                  <a:lnTo>
                    <a:pt x="336" y="546"/>
                  </a:lnTo>
                  <a:lnTo>
                    <a:pt x="340" y="544"/>
                  </a:lnTo>
                  <a:lnTo>
                    <a:pt x="342" y="540"/>
                  </a:lnTo>
                  <a:lnTo>
                    <a:pt x="344" y="538"/>
                  </a:lnTo>
                  <a:lnTo>
                    <a:pt x="344" y="536"/>
                  </a:lnTo>
                  <a:lnTo>
                    <a:pt x="344" y="536"/>
                  </a:lnTo>
                  <a:lnTo>
                    <a:pt x="346" y="534"/>
                  </a:lnTo>
                  <a:lnTo>
                    <a:pt x="346" y="532"/>
                  </a:lnTo>
                  <a:lnTo>
                    <a:pt x="346" y="530"/>
                  </a:lnTo>
                  <a:lnTo>
                    <a:pt x="346" y="528"/>
                  </a:lnTo>
                  <a:lnTo>
                    <a:pt x="346" y="524"/>
                  </a:lnTo>
                  <a:lnTo>
                    <a:pt x="346" y="518"/>
                  </a:lnTo>
                  <a:lnTo>
                    <a:pt x="346" y="514"/>
                  </a:lnTo>
                  <a:lnTo>
                    <a:pt x="346" y="512"/>
                  </a:lnTo>
                  <a:lnTo>
                    <a:pt x="346" y="510"/>
                  </a:lnTo>
                  <a:lnTo>
                    <a:pt x="346" y="508"/>
                  </a:lnTo>
                  <a:lnTo>
                    <a:pt x="346" y="506"/>
                  </a:lnTo>
                  <a:lnTo>
                    <a:pt x="346" y="504"/>
                  </a:lnTo>
                  <a:lnTo>
                    <a:pt x="348" y="502"/>
                  </a:lnTo>
                  <a:lnTo>
                    <a:pt x="348" y="502"/>
                  </a:lnTo>
                  <a:lnTo>
                    <a:pt x="348" y="500"/>
                  </a:lnTo>
                  <a:lnTo>
                    <a:pt x="350" y="500"/>
                  </a:lnTo>
                  <a:lnTo>
                    <a:pt x="352" y="498"/>
                  </a:lnTo>
                  <a:lnTo>
                    <a:pt x="356" y="498"/>
                  </a:lnTo>
                  <a:lnTo>
                    <a:pt x="358" y="496"/>
                  </a:lnTo>
                  <a:lnTo>
                    <a:pt x="362" y="496"/>
                  </a:lnTo>
                  <a:lnTo>
                    <a:pt x="364" y="496"/>
                  </a:lnTo>
                  <a:lnTo>
                    <a:pt x="368" y="496"/>
                  </a:lnTo>
                  <a:lnTo>
                    <a:pt x="374" y="494"/>
                  </a:lnTo>
                  <a:lnTo>
                    <a:pt x="380" y="494"/>
                  </a:lnTo>
                  <a:lnTo>
                    <a:pt x="386" y="494"/>
                  </a:lnTo>
                  <a:lnTo>
                    <a:pt x="388" y="492"/>
                  </a:lnTo>
                  <a:lnTo>
                    <a:pt x="390" y="492"/>
                  </a:lnTo>
                  <a:lnTo>
                    <a:pt x="392" y="492"/>
                  </a:lnTo>
                  <a:lnTo>
                    <a:pt x="396" y="492"/>
                  </a:lnTo>
                  <a:lnTo>
                    <a:pt x="400" y="490"/>
                  </a:lnTo>
                  <a:lnTo>
                    <a:pt x="408" y="490"/>
                  </a:lnTo>
                  <a:lnTo>
                    <a:pt x="414" y="488"/>
                  </a:lnTo>
                  <a:lnTo>
                    <a:pt x="420" y="488"/>
                  </a:lnTo>
                  <a:lnTo>
                    <a:pt x="424" y="488"/>
                  </a:lnTo>
                  <a:lnTo>
                    <a:pt x="426" y="486"/>
                  </a:lnTo>
                  <a:lnTo>
                    <a:pt x="428" y="486"/>
                  </a:lnTo>
                  <a:lnTo>
                    <a:pt x="432" y="484"/>
                  </a:lnTo>
                  <a:lnTo>
                    <a:pt x="434" y="484"/>
                  </a:lnTo>
                  <a:lnTo>
                    <a:pt x="436" y="482"/>
                  </a:lnTo>
                  <a:lnTo>
                    <a:pt x="436" y="482"/>
                  </a:lnTo>
                  <a:lnTo>
                    <a:pt x="438" y="480"/>
                  </a:lnTo>
                  <a:lnTo>
                    <a:pt x="438" y="480"/>
                  </a:lnTo>
                  <a:lnTo>
                    <a:pt x="438" y="478"/>
                  </a:lnTo>
                  <a:lnTo>
                    <a:pt x="440" y="476"/>
                  </a:lnTo>
                  <a:lnTo>
                    <a:pt x="442" y="472"/>
                  </a:lnTo>
                  <a:lnTo>
                    <a:pt x="442" y="470"/>
                  </a:lnTo>
                  <a:lnTo>
                    <a:pt x="444" y="466"/>
                  </a:lnTo>
                  <a:lnTo>
                    <a:pt x="446" y="458"/>
                  </a:lnTo>
                  <a:lnTo>
                    <a:pt x="448" y="452"/>
                  </a:lnTo>
                  <a:lnTo>
                    <a:pt x="450" y="448"/>
                  </a:lnTo>
                  <a:lnTo>
                    <a:pt x="452" y="446"/>
                  </a:lnTo>
                  <a:lnTo>
                    <a:pt x="452" y="442"/>
                  </a:lnTo>
                  <a:lnTo>
                    <a:pt x="454" y="440"/>
                  </a:lnTo>
                  <a:lnTo>
                    <a:pt x="456" y="440"/>
                  </a:lnTo>
                  <a:lnTo>
                    <a:pt x="456" y="438"/>
                  </a:lnTo>
                  <a:lnTo>
                    <a:pt x="458" y="438"/>
                  </a:lnTo>
                  <a:lnTo>
                    <a:pt x="458" y="436"/>
                  </a:lnTo>
                  <a:lnTo>
                    <a:pt x="460" y="436"/>
                  </a:lnTo>
                  <a:lnTo>
                    <a:pt x="460" y="436"/>
                  </a:lnTo>
                  <a:lnTo>
                    <a:pt x="462" y="436"/>
                  </a:lnTo>
                  <a:lnTo>
                    <a:pt x="464" y="436"/>
                  </a:lnTo>
                  <a:lnTo>
                    <a:pt x="464" y="436"/>
                  </a:lnTo>
                  <a:lnTo>
                    <a:pt x="466" y="436"/>
                  </a:lnTo>
                  <a:lnTo>
                    <a:pt x="470" y="436"/>
                  </a:lnTo>
                  <a:lnTo>
                    <a:pt x="474" y="436"/>
                  </a:lnTo>
                  <a:lnTo>
                    <a:pt x="478" y="436"/>
                  </a:lnTo>
                  <a:lnTo>
                    <a:pt x="482" y="438"/>
                  </a:lnTo>
                  <a:lnTo>
                    <a:pt x="486" y="438"/>
                  </a:lnTo>
                  <a:lnTo>
                    <a:pt x="494" y="440"/>
                  </a:lnTo>
                  <a:lnTo>
                    <a:pt x="498" y="440"/>
                  </a:lnTo>
                  <a:lnTo>
                    <a:pt x="500" y="442"/>
                  </a:lnTo>
                  <a:lnTo>
                    <a:pt x="504" y="442"/>
                  </a:lnTo>
                  <a:lnTo>
                    <a:pt x="508" y="442"/>
                  </a:lnTo>
                  <a:lnTo>
                    <a:pt x="510" y="442"/>
                  </a:lnTo>
                  <a:lnTo>
                    <a:pt x="512" y="442"/>
                  </a:lnTo>
                  <a:lnTo>
                    <a:pt x="514" y="442"/>
                  </a:lnTo>
                  <a:lnTo>
                    <a:pt x="516" y="442"/>
                  </a:lnTo>
                  <a:lnTo>
                    <a:pt x="520" y="440"/>
                  </a:lnTo>
                  <a:lnTo>
                    <a:pt x="522" y="438"/>
                  </a:lnTo>
                  <a:lnTo>
                    <a:pt x="526" y="436"/>
                  </a:lnTo>
                  <a:lnTo>
                    <a:pt x="528" y="434"/>
                  </a:lnTo>
                  <a:lnTo>
                    <a:pt x="532" y="432"/>
                  </a:lnTo>
                  <a:lnTo>
                    <a:pt x="536" y="430"/>
                  </a:lnTo>
                  <a:lnTo>
                    <a:pt x="538" y="428"/>
                  </a:lnTo>
                  <a:lnTo>
                    <a:pt x="546" y="422"/>
                  </a:lnTo>
                  <a:lnTo>
                    <a:pt x="552" y="418"/>
                  </a:lnTo>
                  <a:lnTo>
                    <a:pt x="556" y="414"/>
                  </a:lnTo>
                  <a:lnTo>
                    <a:pt x="562" y="410"/>
                  </a:lnTo>
                  <a:lnTo>
                    <a:pt x="564" y="406"/>
                  </a:lnTo>
                  <a:lnTo>
                    <a:pt x="568" y="404"/>
                  </a:lnTo>
                  <a:lnTo>
                    <a:pt x="572" y="400"/>
                  </a:lnTo>
                  <a:lnTo>
                    <a:pt x="576" y="398"/>
                  </a:lnTo>
                  <a:lnTo>
                    <a:pt x="578" y="396"/>
                  </a:lnTo>
                  <a:lnTo>
                    <a:pt x="580" y="394"/>
                  </a:lnTo>
                  <a:lnTo>
                    <a:pt x="582" y="392"/>
                  </a:lnTo>
                  <a:lnTo>
                    <a:pt x="582" y="390"/>
                  </a:lnTo>
                  <a:lnTo>
                    <a:pt x="584" y="388"/>
                  </a:lnTo>
                  <a:lnTo>
                    <a:pt x="584" y="388"/>
                  </a:lnTo>
                  <a:lnTo>
                    <a:pt x="584" y="386"/>
                  </a:lnTo>
                  <a:lnTo>
                    <a:pt x="584" y="386"/>
                  </a:lnTo>
                  <a:lnTo>
                    <a:pt x="584" y="384"/>
                  </a:lnTo>
                  <a:lnTo>
                    <a:pt x="584" y="384"/>
                  </a:lnTo>
                  <a:lnTo>
                    <a:pt x="584" y="382"/>
                  </a:lnTo>
                  <a:lnTo>
                    <a:pt x="582" y="382"/>
                  </a:lnTo>
                  <a:lnTo>
                    <a:pt x="582" y="380"/>
                  </a:lnTo>
                  <a:lnTo>
                    <a:pt x="580" y="380"/>
                  </a:lnTo>
                  <a:lnTo>
                    <a:pt x="578" y="380"/>
                  </a:lnTo>
                  <a:lnTo>
                    <a:pt x="578" y="380"/>
                  </a:lnTo>
                  <a:lnTo>
                    <a:pt x="574" y="378"/>
                  </a:lnTo>
                  <a:lnTo>
                    <a:pt x="570" y="378"/>
                  </a:lnTo>
                  <a:lnTo>
                    <a:pt x="566" y="378"/>
                  </a:lnTo>
                  <a:lnTo>
                    <a:pt x="562" y="376"/>
                  </a:lnTo>
                  <a:lnTo>
                    <a:pt x="558" y="376"/>
                  </a:lnTo>
                  <a:lnTo>
                    <a:pt x="558" y="376"/>
                  </a:lnTo>
                  <a:lnTo>
                    <a:pt x="556" y="376"/>
                  </a:lnTo>
                  <a:lnTo>
                    <a:pt x="552" y="376"/>
                  </a:lnTo>
                  <a:lnTo>
                    <a:pt x="548" y="376"/>
                  </a:lnTo>
                  <a:lnTo>
                    <a:pt x="542" y="376"/>
                  </a:lnTo>
                  <a:lnTo>
                    <a:pt x="538" y="376"/>
                  </a:lnTo>
                  <a:lnTo>
                    <a:pt x="536" y="376"/>
                  </a:lnTo>
                  <a:lnTo>
                    <a:pt x="534" y="374"/>
                  </a:lnTo>
                  <a:lnTo>
                    <a:pt x="532" y="374"/>
                  </a:lnTo>
                  <a:lnTo>
                    <a:pt x="530" y="374"/>
                  </a:lnTo>
                  <a:lnTo>
                    <a:pt x="530" y="372"/>
                  </a:lnTo>
                  <a:lnTo>
                    <a:pt x="530" y="372"/>
                  </a:lnTo>
                  <a:lnTo>
                    <a:pt x="528" y="372"/>
                  </a:lnTo>
                  <a:lnTo>
                    <a:pt x="528" y="370"/>
                  </a:lnTo>
                  <a:lnTo>
                    <a:pt x="528" y="370"/>
                  </a:lnTo>
                  <a:lnTo>
                    <a:pt x="528" y="368"/>
                  </a:lnTo>
                  <a:lnTo>
                    <a:pt x="528" y="368"/>
                  </a:lnTo>
                  <a:lnTo>
                    <a:pt x="528" y="364"/>
                  </a:lnTo>
                  <a:lnTo>
                    <a:pt x="530" y="362"/>
                  </a:lnTo>
                  <a:lnTo>
                    <a:pt x="530" y="360"/>
                  </a:lnTo>
                  <a:lnTo>
                    <a:pt x="532" y="358"/>
                  </a:lnTo>
                  <a:lnTo>
                    <a:pt x="532" y="356"/>
                  </a:lnTo>
                  <a:lnTo>
                    <a:pt x="534" y="354"/>
                  </a:lnTo>
                  <a:lnTo>
                    <a:pt x="534" y="354"/>
                  </a:lnTo>
                  <a:lnTo>
                    <a:pt x="536" y="352"/>
                  </a:lnTo>
                  <a:lnTo>
                    <a:pt x="538" y="352"/>
                  </a:lnTo>
                  <a:lnTo>
                    <a:pt x="540" y="350"/>
                  </a:lnTo>
                  <a:lnTo>
                    <a:pt x="542" y="350"/>
                  </a:lnTo>
                  <a:lnTo>
                    <a:pt x="544" y="350"/>
                  </a:lnTo>
                  <a:lnTo>
                    <a:pt x="548" y="348"/>
                  </a:lnTo>
                  <a:lnTo>
                    <a:pt x="550" y="348"/>
                  </a:lnTo>
                  <a:lnTo>
                    <a:pt x="552" y="348"/>
                  </a:lnTo>
                  <a:lnTo>
                    <a:pt x="552" y="348"/>
                  </a:lnTo>
                  <a:lnTo>
                    <a:pt x="554" y="350"/>
                  </a:lnTo>
                  <a:lnTo>
                    <a:pt x="554" y="350"/>
                  </a:lnTo>
                  <a:lnTo>
                    <a:pt x="556" y="352"/>
                  </a:lnTo>
                  <a:lnTo>
                    <a:pt x="560" y="352"/>
                  </a:lnTo>
                  <a:lnTo>
                    <a:pt x="562" y="356"/>
                  </a:lnTo>
                  <a:lnTo>
                    <a:pt x="566" y="360"/>
                  </a:lnTo>
                  <a:lnTo>
                    <a:pt x="570" y="362"/>
                  </a:lnTo>
                  <a:lnTo>
                    <a:pt x="572" y="364"/>
                  </a:lnTo>
                  <a:lnTo>
                    <a:pt x="574" y="366"/>
                  </a:lnTo>
                  <a:lnTo>
                    <a:pt x="576" y="366"/>
                  </a:lnTo>
                  <a:lnTo>
                    <a:pt x="578" y="368"/>
                  </a:lnTo>
                  <a:lnTo>
                    <a:pt x="582" y="370"/>
                  </a:lnTo>
                  <a:lnTo>
                    <a:pt x="584" y="372"/>
                  </a:lnTo>
                  <a:lnTo>
                    <a:pt x="586" y="372"/>
                  </a:lnTo>
                  <a:lnTo>
                    <a:pt x="586" y="374"/>
                  </a:lnTo>
                  <a:lnTo>
                    <a:pt x="588" y="374"/>
                  </a:lnTo>
                  <a:lnTo>
                    <a:pt x="590" y="374"/>
                  </a:lnTo>
                  <a:lnTo>
                    <a:pt x="590" y="374"/>
                  </a:lnTo>
                  <a:lnTo>
                    <a:pt x="592" y="374"/>
                  </a:lnTo>
                  <a:lnTo>
                    <a:pt x="592" y="374"/>
                  </a:lnTo>
                  <a:lnTo>
                    <a:pt x="594" y="374"/>
                  </a:lnTo>
                  <a:lnTo>
                    <a:pt x="594" y="372"/>
                  </a:lnTo>
                  <a:lnTo>
                    <a:pt x="596" y="372"/>
                  </a:lnTo>
                  <a:lnTo>
                    <a:pt x="596" y="370"/>
                  </a:lnTo>
                  <a:lnTo>
                    <a:pt x="598" y="368"/>
                  </a:lnTo>
                  <a:lnTo>
                    <a:pt x="600" y="366"/>
                  </a:lnTo>
                  <a:lnTo>
                    <a:pt x="600" y="362"/>
                  </a:lnTo>
                  <a:lnTo>
                    <a:pt x="602" y="360"/>
                  </a:lnTo>
                  <a:lnTo>
                    <a:pt x="602" y="360"/>
                  </a:lnTo>
                  <a:lnTo>
                    <a:pt x="602" y="358"/>
                  </a:lnTo>
                  <a:lnTo>
                    <a:pt x="602" y="358"/>
                  </a:lnTo>
                  <a:lnTo>
                    <a:pt x="602" y="356"/>
                  </a:lnTo>
                  <a:lnTo>
                    <a:pt x="602" y="354"/>
                  </a:lnTo>
                  <a:lnTo>
                    <a:pt x="600" y="352"/>
                  </a:lnTo>
                  <a:lnTo>
                    <a:pt x="600" y="350"/>
                  </a:lnTo>
                  <a:lnTo>
                    <a:pt x="600" y="348"/>
                  </a:lnTo>
                  <a:lnTo>
                    <a:pt x="598" y="346"/>
                  </a:lnTo>
                  <a:lnTo>
                    <a:pt x="596" y="342"/>
                  </a:lnTo>
                  <a:lnTo>
                    <a:pt x="594" y="338"/>
                  </a:lnTo>
                  <a:lnTo>
                    <a:pt x="592" y="336"/>
                  </a:lnTo>
                  <a:lnTo>
                    <a:pt x="590" y="334"/>
                  </a:lnTo>
                  <a:lnTo>
                    <a:pt x="590" y="334"/>
                  </a:lnTo>
                  <a:lnTo>
                    <a:pt x="588" y="332"/>
                  </a:lnTo>
                  <a:lnTo>
                    <a:pt x="586" y="332"/>
                  </a:lnTo>
                  <a:lnTo>
                    <a:pt x="584" y="332"/>
                  </a:lnTo>
                  <a:lnTo>
                    <a:pt x="582" y="330"/>
                  </a:lnTo>
                  <a:lnTo>
                    <a:pt x="578" y="330"/>
                  </a:lnTo>
                  <a:lnTo>
                    <a:pt x="574" y="330"/>
                  </a:lnTo>
                  <a:lnTo>
                    <a:pt x="570" y="328"/>
                  </a:lnTo>
                  <a:lnTo>
                    <a:pt x="568" y="328"/>
                  </a:lnTo>
                  <a:lnTo>
                    <a:pt x="566" y="328"/>
                  </a:lnTo>
                  <a:lnTo>
                    <a:pt x="564" y="326"/>
                  </a:lnTo>
                  <a:lnTo>
                    <a:pt x="564" y="326"/>
                  </a:lnTo>
                  <a:lnTo>
                    <a:pt x="562" y="324"/>
                  </a:lnTo>
                  <a:lnTo>
                    <a:pt x="562" y="324"/>
                  </a:lnTo>
                  <a:lnTo>
                    <a:pt x="560" y="322"/>
                  </a:lnTo>
                  <a:lnTo>
                    <a:pt x="560" y="322"/>
                  </a:lnTo>
                  <a:lnTo>
                    <a:pt x="560" y="320"/>
                  </a:lnTo>
                  <a:lnTo>
                    <a:pt x="560" y="320"/>
                  </a:lnTo>
                  <a:lnTo>
                    <a:pt x="560" y="316"/>
                  </a:lnTo>
                  <a:lnTo>
                    <a:pt x="560" y="314"/>
                  </a:lnTo>
                  <a:lnTo>
                    <a:pt x="562" y="312"/>
                  </a:lnTo>
                  <a:lnTo>
                    <a:pt x="562" y="310"/>
                  </a:lnTo>
                  <a:lnTo>
                    <a:pt x="562" y="308"/>
                  </a:lnTo>
                  <a:lnTo>
                    <a:pt x="562" y="308"/>
                  </a:lnTo>
                  <a:lnTo>
                    <a:pt x="564" y="306"/>
                  </a:lnTo>
                  <a:lnTo>
                    <a:pt x="564" y="306"/>
                  </a:lnTo>
                  <a:lnTo>
                    <a:pt x="564" y="306"/>
                  </a:lnTo>
                  <a:lnTo>
                    <a:pt x="566" y="304"/>
                  </a:lnTo>
                  <a:lnTo>
                    <a:pt x="566" y="304"/>
                  </a:lnTo>
                  <a:lnTo>
                    <a:pt x="568" y="304"/>
                  </a:lnTo>
                  <a:lnTo>
                    <a:pt x="570" y="304"/>
                  </a:lnTo>
                  <a:lnTo>
                    <a:pt x="574" y="304"/>
                  </a:lnTo>
                  <a:lnTo>
                    <a:pt x="576" y="304"/>
                  </a:lnTo>
                  <a:lnTo>
                    <a:pt x="580" y="304"/>
                  </a:lnTo>
                  <a:lnTo>
                    <a:pt x="582" y="306"/>
                  </a:lnTo>
                  <a:lnTo>
                    <a:pt x="584" y="306"/>
                  </a:lnTo>
                  <a:lnTo>
                    <a:pt x="584" y="306"/>
                  </a:lnTo>
                  <a:lnTo>
                    <a:pt x="586" y="306"/>
                  </a:lnTo>
                  <a:lnTo>
                    <a:pt x="586" y="308"/>
                  </a:lnTo>
                  <a:lnTo>
                    <a:pt x="588" y="310"/>
                  </a:lnTo>
                  <a:lnTo>
                    <a:pt x="588" y="312"/>
                  </a:lnTo>
                  <a:lnTo>
                    <a:pt x="590" y="312"/>
                  </a:lnTo>
                  <a:lnTo>
                    <a:pt x="590" y="312"/>
                  </a:lnTo>
                  <a:lnTo>
                    <a:pt x="590" y="314"/>
                  </a:lnTo>
                  <a:lnTo>
                    <a:pt x="592" y="314"/>
                  </a:lnTo>
                  <a:lnTo>
                    <a:pt x="592" y="314"/>
                  </a:lnTo>
                  <a:lnTo>
                    <a:pt x="592" y="314"/>
                  </a:lnTo>
                  <a:lnTo>
                    <a:pt x="592" y="312"/>
                  </a:lnTo>
                  <a:lnTo>
                    <a:pt x="594" y="312"/>
                  </a:lnTo>
                  <a:lnTo>
                    <a:pt x="594" y="312"/>
                  </a:lnTo>
                  <a:lnTo>
                    <a:pt x="594" y="310"/>
                  </a:lnTo>
                  <a:lnTo>
                    <a:pt x="596" y="308"/>
                  </a:lnTo>
                  <a:lnTo>
                    <a:pt x="596" y="306"/>
                  </a:lnTo>
                  <a:lnTo>
                    <a:pt x="598" y="304"/>
                  </a:lnTo>
                  <a:lnTo>
                    <a:pt x="598" y="302"/>
                  </a:lnTo>
                  <a:lnTo>
                    <a:pt x="598" y="302"/>
                  </a:lnTo>
                  <a:lnTo>
                    <a:pt x="600" y="300"/>
                  </a:lnTo>
                  <a:lnTo>
                    <a:pt x="600" y="300"/>
                  </a:lnTo>
                  <a:lnTo>
                    <a:pt x="602" y="300"/>
                  </a:lnTo>
                  <a:lnTo>
                    <a:pt x="602" y="300"/>
                  </a:lnTo>
                  <a:lnTo>
                    <a:pt x="604" y="300"/>
                  </a:lnTo>
                  <a:lnTo>
                    <a:pt x="606" y="300"/>
                  </a:lnTo>
                  <a:lnTo>
                    <a:pt x="610" y="298"/>
                  </a:lnTo>
                  <a:lnTo>
                    <a:pt x="614" y="298"/>
                  </a:lnTo>
                  <a:lnTo>
                    <a:pt x="614" y="298"/>
                  </a:lnTo>
                  <a:lnTo>
                    <a:pt x="616" y="298"/>
                  </a:lnTo>
                  <a:lnTo>
                    <a:pt x="618" y="298"/>
                  </a:lnTo>
                  <a:lnTo>
                    <a:pt x="618" y="298"/>
                  </a:lnTo>
                  <a:lnTo>
                    <a:pt x="618" y="296"/>
                  </a:lnTo>
                  <a:lnTo>
                    <a:pt x="620" y="296"/>
                  </a:lnTo>
                  <a:lnTo>
                    <a:pt x="620" y="296"/>
                  </a:lnTo>
                  <a:lnTo>
                    <a:pt x="620" y="294"/>
                  </a:lnTo>
                  <a:lnTo>
                    <a:pt x="620" y="294"/>
                  </a:lnTo>
                  <a:lnTo>
                    <a:pt x="618" y="292"/>
                  </a:lnTo>
                  <a:lnTo>
                    <a:pt x="618" y="292"/>
                  </a:lnTo>
                  <a:lnTo>
                    <a:pt x="616" y="290"/>
                  </a:lnTo>
                  <a:lnTo>
                    <a:pt x="614" y="288"/>
                  </a:lnTo>
                  <a:lnTo>
                    <a:pt x="612" y="286"/>
                  </a:lnTo>
                  <a:lnTo>
                    <a:pt x="612" y="286"/>
                  </a:lnTo>
                  <a:lnTo>
                    <a:pt x="612" y="284"/>
                  </a:lnTo>
                  <a:lnTo>
                    <a:pt x="612" y="284"/>
                  </a:lnTo>
                  <a:lnTo>
                    <a:pt x="612" y="284"/>
                  </a:lnTo>
                  <a:lnTo>
                    <a:pt x="612" y="282"/>
                  </a:lnTo>
                  <a:lnTo>
                    <a:pt x="614" y="282"/>
                  </a:lnTo>
                  <a:lnTo>
                    <a:pt x="614" y="282"/>
                  </a:lnTo>
                  <a:lnTo>
                    <a:pt x="614" y="282"/>
                  </a:lnTo>
                  <a:lnTo>
                    <a:pt x="616" y="282"/>
                  </a:lnTo>
                  <a:lnTo>
                    <a:pt x="618" y="282"/>
                  </a:lnTo>
                  <a:lnTo>
                    <a:pt x="620" y="282"/>
                  </a:lnTo>
                  <a:lnTo>
                    <a:pt x="622" y="282"/>
                  </a:lnTo>
                  <a:lnTo>
                    <a:pt x="626" y="284"/>
                  </a:lnTo>
                  <a:lnTo>
                    <a:pt x="626" y="284"/>
                  </a:lnTo>
                  <a:lnTo>
                    <a:pt x="628" y="284"/>
                  </a:lnTo>
                  <a:lnTo>
                    <a:pt x="628" y="284"/>
                  </a:lnTo>
                  <a:lnTo>
                    <a:pt x="630" y="284"/>
                  </a:lnTo>
                  <a:lnTo>
                    <a:pt x="630" y="282"/>
                  </a:lnTo>
                  <a:lnTo>
                    <a:pt x="632" y="282"/>
                  </a:lnTo>
                  <a:lnTo>
                    <a:pt x="634" y="280"/>
                  </a:lnTo>
                  <a:lnTo>
                    <a:pt x="636" y="278"/>
                  </a:lnTo>
                  <a:lnTo>
                    <a:pt x="638" y="276"/>
                  </a:lnTo>
                  <a:lnTo>
                    <a:pt x="640" y="274"/>
                  </a:lnTo>
                  <a:lnTo>
                    <a:pt x="642" y="272"/>
                  </a:lnTo>
                  <a:lnTo>
                    <a:pt x="644" y="270"/>
                  </a:lnTo>
                  <a:lnTo>
                    <a:pt x="644" y="268"/>
                  </a:lnTo>
                  <a:lnTo>
                    <a:pt x="646" y="264"/>
                  </a:lnTo>
                  <a:lnTo>
                    <a:pt x="648" y="262"/>
                  </a:lnTo>
                  <a:lnTo>
                    <a:pt x="648" y="260"/>
                  </a:lnTo>
                  <a:lnTo>
                    <a:pt x="650" y="258"/>
                  </a:lnTo>
                  <a:lnTo>
                    <a:pt x="650" y="256"/>
                  </a:lnTo>
                  <a:lnTo>
                    <a:pt x="650" y="256"/>
                  </a:lnTo>
                  <a:lnTo>
                    <a:pt x="650" y="254"/>
                  </a:lnTo>
                  <a:lnTo>
                    <a:pt x="650" y="254"/>
                  </a:lnTo>
                  <a:lnTo>
                    <a:pt x="650" y="252"/>
                  </a:lnTo>
                  <a:lnTo>
                    <a:pt x="648" y="252"/>
                  </a:lnTo>
                  <a:lnTo>
                    <a:pt x="648" y="252"/>
                  </a:lnTo>
                  <a:lnTo>
                    <a:pt x="646" y="250"/>
                  </a:lnTo>
                  <a:lnTo>
                    <a:pt x="646" y="250"/>
                  </a:lnTo>
                  <a:lnTo>
                    <a:pt x="644" y="248"/>
                  </a:lnTo>
                  <a:lnTo>
                    <a:pt x="642" y="248"/>
                  </a:lnTo>
                  <a:lnTo>
                    <a:pt x="638" y="248"/>
                  </a:lnTo>
                  <a:lnTo>
                    <a:pt x="636" y="246"/>
                  </a:lnTo>
                  <a:lnTo>
                    <a:pt x="632" y="246"/>
                  </a:lnTo>
                  <a:lnTo>
                    <a:pt x="630" y="246"/>
                  </a:lnTo>
                  <a:lnTo>
                    <a:pt x="628" y="244"/>
                  </a:lnTo>
                  <a:lnTo>
                    <a:pt x="628" y="244"/>
                  </a:lnTo>
                  <a:lnTo>
                    <a:pt x="626" y="242"/>
                  </a:lnTo>
                  <a:lnTo>
                    <a:pt x="626" y="242"/>
                  </a:lnTo>
                  <a:lnTo>
                    <a:pt x="626" y="242"/>
                  </a:lnTo>
                  <a:lnTo>
                    <a:pt x="626" y="240"/>
                  </a:lnTo>
                  <a:lnTo>
                    <a:pt x="624" y="236"/>
                  </a:lnTo>
                  <a:lnTo>
                    <a:pt x="624" y="234"/>
                  </a:lnTo>
                  <a:lnTo>
                    <a:pt x="624" y="232"/>
                  </a:lnTo>
                  <a:lnTo>
                    <a:pt x="624" y="230"/>
                  </a:lnTo>
                  <a:lnTo>
                    <a:pt x="624" y="226"/>
                  </a:lnTo>
                  <a:lnTo>
                    <a:pt x="624" y="226"/>
                  </a:lnTo>
                  <a:lnTo>
                    <a:pt x="626" y="224"/>
                  </a:lnTo>
                  <a:lnTo>
                    <a:pt x="626" y="222"/>
                  </a:lnTo>
                  <a:lnTo>
                    <a:pt x="628" y="220"/>
                  </a:lnTo>
                  <a:lnTo>
                    <a:pt x="628" y="218"/>
                  </a:lnTo>
                  <a:lnTo>
                    <a:pt x="630" y="216"/>
                  </a:lnTo>
                  <a:lnTo>
                    <a:pt x="632" y="214"/>
                  </a:lnTo>
                  <a:lnTo>
                    <a:pt x="634" y="214"/>
                  </a:lnTo>
                  <a:lnTo>
                    <a:pt x="634" y="212"/>
                  </a:lnTo>
                  <a:lnTo>
                    <a:pt x="636" y="212"/>
                  </a:lnTo>
                  <a:lnTo>
                    <a:pt x="636" y="212"/>
                  </a:lnTo>
                  <a:lnTo>
                    <a:pt x="638" y="212"/>
                  </a:lnTo>
                  <a:lnTo>
                    <a:pt x="642" y="212"/>
                  </a:lnTo>
                  <a:lnTo>
                    <a:pt x="642" y="212"/>
                  </a:lnTo>
                  <a:lnTo>
                    <a:pt x="644" y="212"/>
                  </a:lnTo>
                  <a:lnTo>
                    <a:pt x="646" y="212"/>
                  </a:lnTo>
                  <a:lnTo>
                    <a:pt x="646" y="210"/>
                  </a:lnTo>
                  <a:lnTo>
                    <a:pt x="646" y="210"/>
                  </a:lnTo>
                  <a:lnTo>
                    <a:pt x="648" y="210"/>
                  </a:lnTo>
                  <a:lnTo>
                    <a:pt x="648" y="208"/>
                  </a:lnTo>
                  <a:lnTo>
                    <a:pt x="648" y="208"/>
                  </a:lnTo>
                  <a:lnTo>
                    <a:pt x="648" y="206"/>
                  </a:lnTo>
                  <a:lnTo>
                    <a:pt x="648" y="206"/>
                  </a:lnTo>
                  <a:lnTo>
                    <a:pt x="648" y="204"/>
                  </a:lnTo>
                  <a:lnTo>
                    <a:pt x="648" y="202"/>
                  </a:lnTo>
                  <a:lnTo>
                    <a:pt x="648" y="198"/>
                  </a:lnTo>
                  <a:lnTo>
                    <a:pt x="648" y="196"/>
                  </a:lnTo>
                  <a:lnTo>
                    <a:pt x="648" y="194"/>
                  </a:lnTo>
                  <a:lnTo>
                    <a:pt x="648" y="192"/>
                  </a:lnTo>
                  <a:lnTo>
                    <a:pt x="646" y="190"/>
                  </a:lnTo>
                  <a:lnTo>
                    <a:pt x="646" y="190"/>
                  </a:lnTo>
                  <a:lnTo>
                    <a:pt x="646" y="188"/>
                  </a:lnTo>
                  <a:lnTo>
                    <a:pt x="644" y="188"/>
                  </a:lnTo>
                  <a:lnTo>
                    <a:pt x="644" y="186"/>
                  </a:lnTo>
                  <a:lnTo>
                    <a:pt x="642" y="186"/>
                  </a:lnTo>
                  <a:lnTo>
                    <a:pt x="642" y="186"/>
                  </a:lnTo>
                  <a:lnTo>
                    <a:pt x="640" y="186"/>
                  </a:lnTo>
                  <a:lnTo>
                    <a:pt x="640" y="186"/>
                  </a:lnTo>
                  <a:lnTo>
                    <a:pt x="638" y="184"/>
                  </a:lnTo>
                  <a:lnTo>
                    <a:pt x="636" y="184"/>
                  </a:lnTo>
                  <a:lnTo>
                    <a:pt x="632" y="184"/>
                  </a:lnTo>
                  <a:lnTo>
                    <a:pt x="630" y="184"/>
                  </a:lnTo>
                  <a:lnTo>
                    <a:pt x="622" y="186"/>
                  </a:lnTo>
                  <a:lnTo>
                    <a:pt x="616" y="186"/>
                  </a:lnTo>
                  <a:lnTo>
                    <a:pt x="612" y="186"/>
                  </a:lnTo>
                  <a:lnTo>
                    <a:pt x="610" y="186"/>
                  </a:lnTo>
                  <a:lnTo>
                    <a:pt x="608" y="186"/>
                  </a:lnTo>
                  <a:lnTo>
                    <a:pt x="606" y="186"/>
                  </a:lnTo>
                  <a:lnTo>
                    <a:pt x="604" y="184"/>
                  </a:lnTo>
                  <a:lnTo>
                    <a:pt x="604" y="184"/>
                  </a:lnTo>
                  <a:lnTo>
                    <a:pt x="604" y="184"/>
                  </a:lnTo>
                  <a:lnTo>
                    <a:pt x="602" y="182"/>
                  </a:lnTo>
                  <a:lnTo>
                    <a:pt x="602" y="182"/>
                  </a:lnTo>
                  <a:lnTo>
                    <a:pt x="602" y="182"/>
                  </a:lnTo>
                  <a:lnTo>
                    <a:pt x="600" y="180"/>
                  </a:lnTo>
                  <a:lnTo>
                    <a:pt x="600" y="178"/>
                  </a:lnTo>
                  <a:lnTo>
                    <a:pt x="602" y="176"/>
                  </a:lnTo>
                  <a:lnTo>
                    <a:pt x="602" y="174"/>
                  </a:lnTo>
                  <a:lnTo>
                    <a:pt x="602" y="174"/>
                  </a:lnTo>
                  <a:lnTo>
                    <a:pt x="604" y="172"/>
                  </a:lnTo>
                  <a:lnTo>
                    <a:pt x="604" y="170"/>
                  </a:lnTo>
                  <a:lnTo>
                    <a:pt x="606" y="166"/>
                  </a:lnTo>
                  <a:lnTo>
                    <a:pt x="608" y="162"/>
                  </a:lnTo>
                  <a:lnTo>
                    <a:pt x="610" y="160"/>
                  </a:lnTo>
                  <a:lnTo>
                    <a:pt x="612" y="158"/>
                  </a:lnTo>
                  <a:lnTo>
                    <a:pt x="612" y="156"/>
                  </a:lnTo>
                  <a:lnTo>
                    <a:pt x="614" y="154"/>
                  </a:lnTo>
                  <a:lnTo>
                    <a:pt x="616" y="154"/>
                  </a:lnTo>
                  <a:lnTo>
                    <a:pt x="620" y="152"/>
                  </a:lnTo>
                  <a:lnTo>
                    <a:pt x="622" y="148"/>
                  </a:lnTo>
                  <a:lnTo>
                    <a:pt x="630" y="146"/>
                  </a:lnTo>
                  <a:lnTo>
                    <a:pt x="632" y="144"/>
                  </a:lnTo>
                  <a:lnTo>
                    <a:pt x="634" y="142"/>
                  </a:lnTo>
                  <a:lnTo>
                    <a:pt x="636" y="142"/>
                  </a:lnTo>
                  <a:lnTo>
                    <a:pt x="638" y="140"/>
                  </a:lnTo>
                  <a:lnTo>
                    <a:pt x="642" y="138"/>
                  </a:lnTo>
                  <a:lnTo>
                    <a:pt x="644" y="136"/>
                  </a:lnTo>
                  <a:lnTo>
                    <a:pt x="646" y="134"/>
                  </a:lnTo>
                  <a:lnTo>
                    <a:pt x="646" y="134"/>
                  </a:lnTo>
                  <a:lnTo>
                    <a:pt x="646" y="134"/>
                  </a:lnTo>
                  <a:lnTo>
                    <a:pt x="648" y="132"/>
                  </a:lnTo>
                  <a:lnTo>
                    <a:pt x="648" y="132"/>
                  </a:lnTo>
                  <a:lnTo>
                    <a:pt x="646" y="132"/>
                  </a:lnTo>
                  <a:lnTo>
                    <a:pt x="646" y="130"/>
                  </a:lnTo>
                  <a:lnTo>
                    <a:pt x="646" y="130"/>
                  </a:lnTo>
                  <a:lnTo>
                    <a:pt x="646" y="130"/>
                  </a:lnTo>
                  <a:lnTo>
                    <a:pt x="644" y="128"/>
                  </a:lnTo>
                  <a:lnTo>
                    <a:pt x="642" y="128"/>
                  </a:lnTo>
                  <a:lnTo>
                    <a:pt x="640" y="128"/>
                  </a:lnTo>
                  <a:lnTo>
                    <a:pt x="638" y="126"/>
                  </a:lnTo>
                  <a:lnTo>
                    <a:pt x="634" y="126"/>
                  </a:lnTo>
                  <a:lnTo>
                    <a:pt x="630" y="124"/>
                  </a:lnTo>
                  <a:lnTo>
                    <a:pt x="628" y="124"/>
                  </a:lnTo>
                  <a:lnTo>
                    <a:pt x="626" y="124"/>
                  </a:lnTo>
                  <a:lnTo>
                    <a:pt x="624" y="122"/>
                  </a:lnTo>
                  <a:lnTo>
                    <a:pt x="622" y="122"/>
                  </a:lnTo>
                  <a:lnTo>
                    <a:pt x="622" y="120"/>
                  </a:lnTo>
                  <a:lnTo>
                    <a:pt x="622" y="120"/>
                  </a:lnTo>
                  <a:lnTo>
                    <a:pt x="622" y="120"/>
                  </a:lnTo>
                  <a:lnTo>
                    <a:pt x="622" y="120"/>
                  </a:lnTo>
                  <a:lnTo>
                    <a:pt x="622" y="118"/>
                  </a:lnTo>
                  <a:lnTo>
                    <a:pt x="622" y="118"/>
                  </a:lnTo>
                  <a:lnTo>
                    <a:pt x="624" y="116"/>
                  </a:lnTo>
                  <a:lnTo>
                    <a:pt x="624" y="116"/>
                  </a:lnTo>
                  <a:lnTo>
                    <a:pt x="626" y="116"/>
                  </a:lnTo>
                  <a:lnTo>
                    <a:pt x="626" y="116"/>
                  </a:lnTo>
                  <a:lnTo>
                    <a:pt x="630" y="114"/>
                  </a:lnTo>
                  <a:lnTo>
                    <a:pt x="632" y="114"/>
                  </a:lnTo>
                  <a:lnTo>
                    <a:pt x="634" y="112"/>
                  </a:lnTo>
                  <a:lnTo>
                    <a:pt x="638" y="112"/>
                  </a:lnTo>
                  <a:lnTo>
                    <a:pt x="640" y="112"/>
                  </a:lnTo>
                  <a:lnTo>
                    <a:pt x="642" y="112"/>
                  </a:lnTo>
                  <a:lnTo>
                    <a:pt x="642" y="110"/>
                  </a:lnTo>
                  <a:lnTo>
                    <a:pt x="648" y="110"/>
                  </a:lnTo>
                  <a:lnTo>
                    <a:pt x="652" y="110"/>
                  </a:lnTo>
                  <a:lnTo>
                    <a:pt x="654" y="110"/>
                  </a:lnTo>
                  <a:lnTo>
                    <a:pt x="662" y="108"/>
                  </a:lnTo>
                  <a:lnTo>
                    <a:pt x="672" y="104"/>
                  </a:lnTo>
                  <a:lnTo>
                    <a:pt x="678" y="104"/>
                  </a:lnTo>
                  <a:lnTo>
                    <a:pt x="682" y="102"/>
                  </a:lnTo>
                  <a:lnTo>
                    <a:pt x="686" y="100"/>
                  </a:lnTo>
                  <a:lnTo>
                    <a:pt x="690" y="100"/>
                  </a:lnTo>
                  <a:lnTo>
                    <a:pt x="694" y="98"/>
                  </a:lnTo>
                  <a:lnTo>
                    <a:pt x="700" y="94"/>
                  </a:lnTo>
                  <a:lnTo>
                    <a:pt x="704" y="92"/>
                  </a:lnTo>
                  <a:lnTo>
                    <a:pt x="708" y="92"/>
                  </a:lnTo>
                  <a:lnTo>
                    <a:pt x="710" y="90"/>
                  </a:lnTo>
                  <a:lnTo>
                    <a:pt x="714" y="88"/>
                  </a:lnTo>
                  <a:lnTo>
                    <a:pt x="716" y="86"/>
                  </a:lnTo>
                  <a:lnTo>
                    <a:pt x="718" y="86"/>
                  </a:lnTo>
                  <a:lnTo>
                    <a:pt x="720" y="84"/>
                  </a:lnTo>
                  <a:lnTo>
                    <a:pt x="722" y="82"/>
                  </a:lnTo>
                  <a:lnTo>
                    <a:pt x="722" y="80"/>
                  </a:lnTo>
                  <a:lnTo>
                    <a:pt x="722" y="80"/>
                  </a:lnTo>
                  <a:lnTo>
                    <a:pt x="722" y="80"/>
                  </a:lnTo>
                  <a:lnTo>
                    <a:pt x="722" y="78"/>
                  </a:lnTo>
                  <a:lnTo>
                    <a:pt x="722" y="78"/>
                  </a:lnTo>
                  <a:lnTo>
                    <a:pt x="722" y="76"/>
                  </a:lnTo>
                  <a:lnTo>
                    <a:pt x="722" y="76"/>
                  </a:lnTo>
                  <a:lnTo>
                    <a:pt x="722" y="74"/>
                  </a:lnTo>
                  <a:lnTo>
                    <a:pt x="720" y="72"/>
                  </a:lnTo>
                  <a:lnTo>
                    <a:pt x="720" y="72"/>
                  </a:lnTo>
                  <a:lnTo>
                    <a:pt x="718" y="70"/>
                  </a:lnTo>
                  <a:lnTo>
                    <a:pt x="716" y="70"/>
                  </a:lnTo>
                  <a:lnTo>
                    <a:pt x="714" y="70"/>
                  </a:lnTo>
                  <a:lnTo>
                    <a:pt x="714" y="68"/>
                  </a:lnTo>
                  <a:lnTo>
                    <a:pt x="712" y="68"/>
                  </a:lnTo>
                  <a:lnTo>
                    <a:pt x="710" y="68"/>
                  </a:lnTo>
                  <a:lnTo>
                    <a:pt x="706" y="68"/>
                  </a:lnTo>
                  <a:lnTo>
                    <a:pt x="700" y="68"/>
                  </a:lnTo>
                  <a:lnTo>
                    <a:pt x="696" y="68"/>
                  </a:lnTo>
                  <a:lnTo>
                    <a:pt x="690" y="68"/>
                  </a:lnTo>
                  <a:lnTo>
                    <a:pt x="686" y="68"/>
                  </a:lnTo>
                  <a:lnTo>
                    <a:pt x="676" y="70"/>
                  </a:lnTo>
                  <a:lnTo>
                    <a:pt x="666" y="70"/>
                  </a:lnTo>
                  <a:lnTo>
                    <a:pt x="660" y="72"/>
                  </a:lnTo>
                  <a:lnTo>
                    <a:pt x="656" y="72"/>
                  </a:lnTo>
                  <a:lnTo>
                    <a:pt x="652" y="72"/>
                  </a:lnTo>
                  <a:lnTo>
                    <a:pt x="648" y="74"/>
                  </a:lnTo>
                  <a:lnTo>
                    <a:pt x="644" y="76"/>
                  </a:lnTo>
                  <a:lnTo>
                    <a:pt x="634" y="78"/>
                  </a:lnTo>
                  <a:lnTo>
                    <a:pt x="626" y="82"/>
                  </a:lnTo>
                  <a:lnTo>
                    <a:pt x="624" y="82"/>
                  </a:lnTo>
                  <a:lnTo>
                    <a:pt x="622" y="84"/>
                  </a:lnTo>
                  <a:lnTo>
                    <a:pt x="620" y="86"/>
                  </a:lnTo>
                  <a:lnTo>
                    <a:pt x="616" y="88"/>
                  </a:lnTo>
                  <a:lnTo>
                    <a:pt x="610" y="94"/>
                  </a:lnTo>
                  <a:lnTo>
                    <a:pt x="604" y="98"/>
                  </a:lnTo>
                  <a:lnTo>
                    <a:pt x="600" y="100"/>
                  </a:lnTo>
                  <a:lnTo>
                    <a:pt x="596" y="102"/>
                  </a:lnTo>
                  <a:lnTo>
                    <a:pt x="594" y="104"/>
                  </a:lnTo>
                  <a:lnTo>
                    <a:pt x="590" y="106"/>
                  </a:lnTo>
                  <a:lnTo>
                    <a:pt x="590" y="106"/>
                  </a:lnTo>
                  <a:lnTo>
                    <a:pt x="588" y="106"/>
                  </a:lnTo>
                  <a:lnTo>
                    <a:pt x="586" y="106"/>
                  </a:lnTo>
                  <a:lnTo>
                    <a:pt x="586" y="106"/>
                  </a:lnTo>
                  <a:lnTo>
                    <a:pt x="584" y="106"/>
                  </a:lnTo>
                  <a:lnTo>
                    <a:pt x="584" y="106"/>
                  </a:lnTo>
                  <a:lnTo>
                    <a:pt x="582" y="104"/>
                  </a:lnTo>
                  <a:lnTo>
                    <a:pt x="582" y="104"/>
                  </a:lnTo>
                  <a:lnTo>
                    <a:pt x="580" y="104"/>
                  </a:lnTo>
                  <a:lnTo>
                    <a:pt x="580" y="102"/>
                  </a:lnTo>
                  <a:lnTo>
                    <a:pt x="580" y="102"/>
                  </a:lnTo>
                  <a:lnTo>
                    <a:pt x="580" y="100"/>
                  </a:lnTo>
                  <a:lnTo>
                    <a:pt x="580" y="100"/>
                  </a:lnTo>
                  <a:lnTo>
                    <a:pt x="582" y="98"/>
                  </a:lnTo>
                  <a:lnTo>
                    <a:pt x="582" y="96"/>
                  </a:lnTo>
                  <a:lnTo>
                    <a:pt x="582" y="96"/>
                  </a:lnTo>
                  <a:lnTo>
                    <a:pt x="584" y="92"/>
                  </a:lnTo>
                  <a:lnTo>
                    <a:pt x="588" y="90"/>
                  </a:lnTo>
                  <a:lnTo>
                    <a:pt x="592" y="84"/>
                  </a:lnTo>
                  <a:lnTo>
                    <a:pt x="598" y="78"/>
                  </a:lnTo>
                  <a:lnTo>
                    <a:pt x="600" y="76"/>
                  </a:lnTo>
                  <a:lnTo>
                    <a:pt x="602" y="72"/>
                  </a:lnTo>
                  <a:lnTo>
                    <a:pt x="604" y="72"/>
                  </a:lnTo>
                  <a:lnTo>
                    <a:pt x="604" y="70"/>
                  </a:lnTo>
                  <a:lnTo>
                    <a:pt x="604" y="68"/>
                  </a:lnTo>
                  <a:lnTo>
                    <a:pt x="606" y="68"/>
                  </a:lnTo>
                  <a:lnTo>
                    <a:pt x="606" y="66"/>
                  </a:lnTo>
                  <a:lnTo>
                    <a:pt x="606" y="66"/>
                  </a:lnTo>
                  <a:lnTo>
                    <a:pt x="604" y="64"/>
                  </a:lnTo>
                  <a:lnTo>
                    <a:pt x="604" y="64"/>
                  </a:lnTo>
                  <a:lnTo>
                    <a:pt x="604" y="62"/>
                  </a:lnTo>
                  <a:lnTo>
                    <a:pt x="602" y="62"/>
                  </a:lnTo>
                  <a:lnTo>
                    <a:pt x="602" y="62"/>
                  </a:lnTo>
                  <a:lnTo>
                    <a:pt x="600" y="62"/>
                  </a:lnTo>
                  <a:lnTo>
                    <a:pt x="598" y="62"/>
                  </a:lnTo>
                  <a:lnTo>
                    <a:pt x="598" y="62"/>
                  </a:lnTo>
                  <a:lnTo>
                    <a:pt x="596" y="62"/>
                  </a:lnTo>
                  <a:lnTo>
                    <a:pt x="594" y="64"/>
                  </a:lnTo>
                  <a:lnTo>
                    <a:pt x="590" y="66"/>
                  </a:lnTo>
                  <a:lnTo>
                    <a:pt x="588" y="66"/>
                  </a:lnTo>
                  <a:lnTo>
                    <a:pt x="584" y="70"/>
                  </a:lnTo>
                  <a:lnTo>
                    <a:pt x="580" y="72"/>
                  </a:lnTo>
                  <a:lnTo>
                    <a:pt x="576" y="74"/>
                  </a:lnTo>
                  <a:lnTo>
                    <a:pt x="572" y="76"/>
                  </a:lnTo>
                  <a:lnTo>
                    <a:pt x="568" y="78"/>
                  </a:lnTo>
                  <a:lnTo>
                    <a:pt x="564" y="80"/>
                  </a:lnTo>
                  <a:lnTo>
                    <a:pt x="564" y="82"/>
                  </a:lnTo>
                  <a:lnTo>
                    <a:pt x="562" y="82"/>
                  </a:lnTo>
                  <a:lnTo>
                    <a:pt x="560" y="82"/>
                  </a:lnTo>
                  <a:lnTo>
                    <a:pt x="558" y="82"/>
                  </a:lnTo>
                  <a:lnTo>
                    <a:pt x="558" y="82"/>
                  </a:lnTo>
                  <a:lnTo>
                    <a:pt x="556" y="82"/>
                  </a:lnTo>
                  <a:lnTo>
                    <a:pt x="554" y="82"/>
                  </a:lnTo>
                  <a:lnTo>
                    <a:pt x="554" y="82"/>
                  </a:lnTo>
                  <a:lnTo>
                    <a:pt x="554" y="82"/>
                  </a:lnTo>
                  <a:lnTo>
                    <a:pt x="554" y="80"/>
                  </a:lnTo>
                  <a:lnTo>
                    <a:pt x="552" y="80"/>
                  </a:lnTo>
                  <a:lnTo>
                    <a:pt x="552" y="78"/>
                  </a:lnTo>
                  <a:lnTo>
                    <a:pt x="552" y="76"/>
                  </a:lnTo>
                  <a:lnTo>
                    <a:pt x="554" y="76"/>
                  </a:lnTo>
                  <a:lnTo>
                    <a:pt x="554" y="74"/>
                  </a:lnTo>
                  <a:lnTo>
                    <a:pt x="554" y="70"/>
                  </a:lnTo>
                  <a:lnTo>
                    <a:pt x="556" y="66"/>
                  </a:lnTo>
                  <a:lnTo>
                    <a:pt x="556" y="66"/>
                  </a:lnTo>
                  <a:lnTo>
                    <a:pt x="558" y="64"/>
                  </a:lnTo>
                  <a:lnTo>
                    <a:pt x="558" y="62"/>
                  </a:lnTo>
                  <a:lnTo>
                    <a:pt x="558" y="60"/>
                  </a:lnTo>
                  <a:lnTo>
                    <a:pt x="558" y="60"/>
                  </a:lnTo>
                  <a:lnTo>
                    <a:pt x="556" y="60"/>
                  </a:lnTo>
                  <a:lnTo>
                    <a:pt x="556" y="58"/>
                  </a:lnTo>
                  <a:lnTo>
                    <a:pt x="556" y="58"/>
                  </a:lnTo>
                  <a:lnTo>
                    <a:pt x="554" y="58"/>
                  </a:lnTo>
                  <a:lnTo>
                    <a:pt x="554" y="56"/>
                  </a:lnTo>
                  <a:lnTo>
                    <a:pt x="554" y="56"/>
                  </a:lnTo>
                  <a:lnTo>
                    <a:pt x="552" y="56"/>
                  </a:lnTo>
                  <a:lnTo>
                    <a:pt x="548" y="56"/>
                  </a:lnTo>
                  <a:lnTo>
                    <a:pt x="546" y="56"/>
                  </a:lnTo>
                  <a:lnTo>
                    <a:pt x="544" y="56"/>
                  </a:lnTo>
                  <a:lnTo>
                    <a:pt x="540" y="56"/>
                  </a:lnTo>
                  <a:lnTo>
                    <a:pt x="538" y="56"/>
                  </a:lnTo>
                  <a:lnTo>
                    <a:pt x="534" y="58"/>
                  </a:lnTo>
                  <a:lnTo>
                    <a:pt x="532" y="58"/>
                  </a:lnTo>
                  <a:lnTo>
                    <a:pt x="524" y="60"/>
                  </a:lnTo>
                  <a:lnTo>
                    <a:pt x="518" y="62"/>
                  </a:lnTo>
                  <a:lnTo>
                    <a:pt x="510" y="64"/>
                  </a:lnTo>
                  <a:lnTo>
                    <a:pt x="504" y="66"/>
                  </a:lnTo>
                  <a:lnTo>
                    <a:pt x="498" y="68"/>
                  </a:lnTo>
                  <a:lnTo>
                    <a:pt x="492" y="70"/>
                  </a:lnTo>
                  <a:lnTo>
                    <a:pt x="488" y="72"/>
                  </a:lnTo>
                  <a:lnTo>
                    <a:pt x="486" y="72"/>
                  </a:lnTo>
                  <a:lnTo>
                    <a:pt x="484" y="72"/>
                  </a:lnTo>
                  <a:lnTo>
                    <a:pt x="482" y="72"/>
                  </a:lnTo>
                  <a:lnTo>
                    <a:pt x="480" y="72"/>
                  </a:lnTo>
                  <a:lnTo>
                    <a:pt x="478" y="72"/>
                  </a:lnTo>
                  <a:lnTo>
                    <a:pt x="476" y="72"/>
                  </a:lnTo>
                  <a:lnTo>
                    <a:pt x="476" y="70"/>
                  </a:lnTo>
                  <a:lnTo>
                    <a:pt x="476" y="70"/>
                  </a:lnTo>
                  <a:lnTo>
                    <a:pt x="474" y="70"/>
                  </a:lnTo>
                  <a:lnTo>
                    <a:pt x="474" y="68"/>
                  </a:lnTo>
                  <a:lnTo>
                    <a:pt x="474" y="68"/>
                  </a:lnTo>
                  <a:lnTo>
                    <a:pt x="474" y="68"/>
                  </a:lnTo>
                  <a:lnTo>
                    <a:pt x="474" y="66"/>
                  </a:lnTo>
                  <a:lnTo>
                    <a:pt x="474" y="66"/>
                  </a:lnTo>
                  <a:lnTo>
                    <a:pt x="474" y="64"/>
                  </a:lnTo>
                  <a:lnTo>
                    <a:pt x="474" y="64"/>
                  </a:lnTo>
                  <a:lnTo>
                    <a:pt x="474" y="62"/>
                  </a:lnTo>
                  <a:lnTo>
                    <a:pt x="474" y="62"/>
                  </a:lnTo>
                  <a:lnTo>
                    <a:pt x="476" y="60"/>
                  </a:lnTo>
                  <a:lnTo>
                    <a:pt x="476" y="60"/>
                  </a:lnTo>
                  <a:lnTo>
                    <a:pt x="478" y="60"/>
                  </a:lnTo>
                  <a:lnTo>
                    <a:pt x="480" y="58"/>
                  </a:lnTo>
                  <a:lnTo>
                    <a:pt x="480" y="58"/>
                  </a:lnTo>
                  <a:lnTo>
                    <a:pt x="484" y="56"/>
                  </a:lnTo>
                  <a:lnTo>
                    <a:pt x="488" y="56"/>
                  </a:lnTo>
                  <a:lnTo>
                    <a:pt x="492" y="56"/>
                  </a:lnTo>
                  <a:lnTo>
                    <a:pt x="496" y="54"/>
                  </a:lnTo>
                  <a:lnTo>
                    <a:pt x="500" y="54"/>
                  </a:lnTo>
                  <a:lnTo>
                    <a:pt x="508" y="54"/>
                  </a:lnTo>
                  <a:lnTo>
                    <a:pt x="516" y="52"/>
                  </a:lnTo>
                  <a:lnTo>
                    <a:pt x="518" y="52"/>
                  </a:lnTo>
                  <a:lnTo>
                    <a:pt x="522" y="52"/>
                  </a:lnTo>
                  <a:lnTo>
                    <a:pt x="528" y="50"/>
                  </a:lnTo>
                  <a:lnTo>
                    <a:pt x="534" y="48"/>
                  </a:lnTo>
                  <a:lnTo>
                    <a:pt x="542" y="48"/>
                  </a:lnTo>
                  <a:lnTo>
                    <a:pt x="552" y="46"/>
                  </a:lnTo>
                  <a:lnTo>
                    <a:pt x="568" y="44"/>
                  </a:lnTo>
                  <a:lnTo>
                    <a:pt x="576" y="42"/>
                  </a:lnTo>
                  <a:lnTo>
                    <a:pt x="582" y="42"/>
                  </a:lnTo>
                  <a:lnTo>
                    <a:pt x="584" y="40"/>
                  </a:lnTo>
                  <a:lnTo>
                    <a:pt x="586" y="40"/>
                  </a:lnTo>
                  <a:lnTo>
                    <a:pt x="590" y="40"/>
                  </a:lnTo>
                  <a:lnTo>
                    <a:pt x="594" y="40"/>
                  </a:lnTo>
                  <a:lnTo>
                    <a:pt x="596" y="40"/>
                  </a:lnTo>
                  <a:lnTo>
                    <a:pt x="598" y="40"/>
                  </a:lnTo>
                  <a:lnTo>
                    <a:pt x="600" y="38"/>
                  </a:lnTo>
                  <a:lnTo>
                    <a:pt x="600" y="38"/>
                  </a:lnTo>
                  <a:lnTo>
                    <a:pt x="600" y="38"/>
                  </a:lnTo>
                  <a:lnTo>
                    <a:pt x="602" y="36"/>
                  </a:lnTo>
                  <a:lnTo>
                    <a:pt x="602" y="36"/>
                  </a:lnTo>
                  <a:lnTo>
                    <a:pt x="602" y="36"/>
                  </a:lnTo>
                  <a:lnTo>
                    <a:pt x="602" y="34"/>
                  </a:lnTo>
                  <a:lnTo>
                    <a:pt x="602" y="34"/>
                  </a:lnTo>
                  <a:lnTo>
                    <a:pt x="600" y="32"/>
                  </a:lnTo>
                  <a:lnTo>
                    <a:pt x="600" y="32"/>
                  </a:lnTo>
                  <a:lnTo>
                    <a:pt x="600" y="30"/>
                  </a:lnTo>
                  <a:lnTo>
                    <a:pt x="598" y="30"/>
                  </a:lnTo>
                  <a:lnTo>
                    <a:pt x="598" y="30"/>
                  </a:lnTo>
                  <a:lnTo>
                    <a:pt x="594" y="28"/>
                  </a:lnTo>
                  <a:lnTo>
                    <a:pt x="592" y="26"/>
                  </a:lnTo>
                  <a:lnTo>
                    <a:pt x="588" y="26"/>
                  </a:lnTo>
                  <a:lnTo>
                    <a:pt x="586" y="24"/>
                  </a:lnTo>
                  <a:lnTo>
                    <a:pt x="582" y="24"/>
                  </a:lnTo>
                  <a:lnTo>
                    <a:pt x="580" y="24"/>
                  </a:lnTo>
                  <a:lnTo>
                    <a:pt x="572" y="22"/>
                  </a:lnTo>
                  <a:lnTo>
                    <a:pt x="566" y="22"/>
                  </a:lnTo>
                  <a:lnTo>
                    <a:pt x="562" y="20"/>
                  </a:lnTo>
                  <a:lnTo>
                    <a:pt x="560" y="20"/>
                  </a:lnTo>
                  <a:lnTo>
                    <a:pt x="556" y="20"/>
                  </a:lnTo>
                  <a:lnTo>
                    <a:pt x="554" y="22"/>
                  </a:lnTo>
                  <a:lnTo>
                    <a:pt x="552" y="22"/>
                  </a:lnTo>
                  <a:lnTo>
                    <a:pt x="548" y="22"/>
                  </a:lnTo>
                  <a:lnTo>
                    <a:pt x="546" y="24"/>
                  </a:lnTo>
                  <a:lnTo>
                    <a:pt x="540" y="24"/>
                  </a:lnTo>
                  <a:lnTo>
                    <a:pt x="532" y="28"/>
                  </a:lnTo>
                  <a:lnTo>
                    <a:pt x="526" y="30"/>
                  </a:lnTo>
                  <a:lnTo>
                    <a:pt x="512" y="34"/>
                  </a:lnTo>
                  <a:lnTo>
                    <a:pt x="504" y="36"/>
                  </a:lnTo>
                  <a:lnTo>
                    <a:pt x="498" y="38"/>
                  </a:lnTo>
                  <a:lnTo>
                    <a:pt x="494" y="38"/>
                  </a:lnTo>
                  <a:lnTo>
                    <a:pt x="492" y="40"/>
                  </a:lnTo>
                  <a:lnTo>
                    <a:pt x="490" y="40"/>
                  </a:lnTo>
                  <a:lnTo>
                    <a:pt x="486" y="40"/>
                  </a:lnTo>
                  <a:lnTo>
                    <a:pt x="484" y="40"/>
                  </a:lnTo>
                  <a:lnTo>
                    <a:pt x="482" y="40"/>
                  </a:lnTo>
                  <a:lnTo>
                    <a:pt x="480" y="40"/>
                  </a:lnTo>
                  <a:lnTo>
                    <a:pt x="478" y="38"/>
                  </a:lnTo>
                  <a:lnTo>
                    <a:pt x="476" y="38"/>
                  </a:lnTo>
                  <a:lnTo>
                    <a:pt x="476" y="38"/>
                  </a:lnTo>
                  <a:lnTo>
                    <a:pt x="474" y="36"/>
                  </a:lnTo>
                  <a:lnTo>
                    <a:pt x="474" y="36"/>
                  </a:lnTo>
                  <a:lnTo>
                    <a:pt x="474" y="36"/>
                  </a:lnTo>
                  <a:lnTo>
                    <a:pt x="474" y="34"/>
                  </a:lnTo>
                  <a:lnTo>
                    <a:pt x="474" y="34"/>
                  </a:lnTo>
                  <a:lnTo>
                    <a:pt x="474" y="32"/>
                  </a:lnTo>
                  <a:lnTo>
                    <a:pt x="474" y="32"/>
                  </a:lnTo>
                  <a:lnTo>
                    <a:pt x="474" y="30"/>
                  </a:lnTo>
                  <a:lnTo>
                    <a:pt x="474" y="30"/>
                  </a:lnTo>
                  <a:lnTo>
                    <a:pt x="476" y="28"/>
                  </a:lnTo>
                  <a:lnTo>
                    <a:pt x="476" y="28"/>
                  </a:lnTo>
                  <a:lnTo>
                    <a:pt x="478" y="28"/>
                  </a:lnTo>
                  <a:lnTo>
                    <a:pt x="480" y="26"/>
                  </a:lnTo>
                  <a:lnTo>
                    <a:pt x="484" y="26"/>
                  </a:lnTo>
                  <a:lnTo>
                    <a:pt x="488" y="24"/>
                  </a:lnTo>
                  <a:lnTo>
                    <a:pt x="492" y="24"/>
                  </a:lnTo>
                  <a:lnTo>
                    <a:pt x="496" y="24"/>
                  </a:lnTo>
                  <a:lnTo>
                    <a:pt x="502" y="22"/>
                  </a:lnTo>
                  <a:lnTo>
                    <a:pt x="506" y="22"/>
                  </a:lnTo>
                  <a:lnTo>
                    <a:pt x="510" y="22"/>
                  </a:lnTo>
                  <a:lnTo>
                    <a:pt x="514" y="20"/>
                  </a:lnTo>
                  <a:lnTo>
                    <a:pt x="516" y="20"/>
                  </a:lnTo>
                  <a:lnTo>
                    <a:pt x="518" y="18"/>
                  </a:lnTo>
                  <a:lnTo>
                    <a:pt x="518" y="18"/>
                  </a:lnTo>
                  <a:lnTo>
                    <a:pt x="520" y="18"/>
                  </a:lnTo>
                  <a:lnTo>
                    <a:pt x="520" y="16"/>
                  </a:lnTo>
                  <a:lnTo>
                    <a:pt x="520" y="16"/>
                  </a:lnTo>
                  <a:lnTo>
                    <a:pt x="522" y="14"/>
                  </a:lnTo>
                  <a:lnTo>
                    <a:pt x="522" y="14"/>
                  </a:lnTo>
                  <a:lnTo>
                    <a:pt x="520" y="12"/>
                  </a:lnTo>
                  <a:lnTo>
                    <a:pt x="520" y="12"/>
                  </a:lnTo>
                  <a:lnTo>
                    <a:pt x="520" y="10"/>
                  </a:lnTo>
                  <a:lnTo>
                    <a:pt x="520" y="10"/>
                  </a:lnTo>
                  <a:lnTo>
                    <a:pt x="518" y="8"/>
                  </a:lnTo>
                  <a:lnTo>
                    <a:pt x="518" y="8"/>
                  </a:lnTo>
                  <a:lnTo>
                    <a:pt x="516" y="6"/>
                  </a:lnTo>
                  <a:lnTo>
                    <a:pt x="516" y="6"/>
                  </a:lnTo>
                  <a:lnTo>
                    <a:pt x="514" y="4"/>
                  </a:lnTo>
                  <a:lnTo>
                    <a:pt x="512" y="4"/>
                  </a:lnTo>
                  <a:lnTo>
                    <a:pt x="508" y="2"/>
                  </a:lnTo>
                  <a:lnTo>
                    <a:pt x="506" y="2"/>
                  </a:lnTo>
                  <a:lnTo>
                    <a:pt x="502" y="0"/>
                  </a:lnTo>
                  <a:lnTo>
                    <a:pt x="498" y="0"/>
                  </a:lnTo>
                  <a:lnTo>
                    <a:pt x="496" y="0"/>
                  </a:lnTo>
                  <a:lnTo>
                    <a:pt x="492" y="0"/>
                  </a:lnTo>
                  <a:lnTo>
                    <a:pt x="488" y="0"/>
                  </a:lnTo>
                  <a:lnTo>
                    <a:pt x="484" y="0"/>
                  </a:lnTo>
                  <a:lnTo>
                    <a:pt x="480" y="0"/>
                  </a:lnTo>
                  <a:lnTo>
                    <a:pt x="476" y="2"/>
                  </a:lnTo>
                  <a:lnTo>
                    <a:pt x="466" y="2"/>
                  </a:lnTo>
                  <a:lnTo>
                    <a:pt x="458" y="4"/>
                  </a:lnTo>
                  <a:lnTo>
                    <a:pt x="450" y="6"/>
                  </a:lnTo>
                  <a:lnTo>
                    <a:pt x="442" y="8"/>
                  </a:lnTo>
                  <a:lnTo>
                    <a:pt x="434" y="10"/>
                  </a:lnTo>
                  <a:lnTo>
                    <a:pt x="426" y="12"/>
                  </a:lnTo>
                  <a:lnTo>
                    <a:pt x="420" y="14"/>
                  </a:lnTo>
                  <a:lnTo>
                    <a:pt x="416" y="16"/>
                  </a:lnTo>
                  <a:lnTo>
                    <a:pt x="414" y="16"/>
                  </a:lnTo>
                  <a:lnTo>
                    <a:pt x="412" y="18"/>
                  </a:lnTo>
                  <a:lnTo>
                    <a:pt x="410" y="20"/>
                  </a:lnTo>
                  <a:lnTo>
                    <a:pt x="408" y="22"/>
                  </a:lnTo>
                  <a:lnTo>
                    <a:pt x="406" y="24"/>
                  </a:lnTo>
                  <a:lnTo>
                    <a:pt x="404" y="26"/>
                  </a:lnTo>
                  <a:lnTo>
                    <a:pt x="400" y="30"/>
                  </a:lnTo>
                  <a:lnTo>
                    <a:pt x="396" y="34"/>
                  </a:lnTo>
                  <a:lnTo>
                    <a:pt x="394" y="38"/>
                  </a:lnTo>
                  <a:lnTo>
                    <a:pt x="392" y="38"/>
                  </a:lnTo>
                  <a:lnTo>
                    <a:pt x="390" y="40"/>
                  </a:lnTo>
                  <a:lnTo>
                    <a:pt x="388" y="42"/>
                  </a:lnTo>
                  <a:lnTo>
                    <a:pt x="386" y="44"/>
                  </a:lnTo>
                  <a:lnTo>
                    <a:pt x="386" y="44"/>
                  </a:lnTo>
                  <a:lnTo>
                    <a:pt x="386" y="44"/>
                  </a:lnTo>
                  <a:lnTo>
                    <a:pt x="384" y="44"/>
                  </a:lnTo>
                  <a:lnTo>
                    <a:pt x="382" y="44"/>
                  </a:lnTo>
                  <a:lnTo>
                    <a:pt x="382" y="44"/>
                  </a:lnTo>
                  <a:lnTo>
                    <a:pt x="380" y="44"/>
                  </a:lnTo>
                  <a:lnTo>
                    <a:pt x="378" y="42"/>
                  </a:lnTo>
                  <a:lnTo>
                    <a:pt x="374" y="42"/>
                  </a:lnTo>
                  <a:lnTo>
                    <a:pt x="372" y="40"/>
                  </a:lnTo>
                  <a:lnTo>
                    <a:pt x="368" y="38"/>
                  </a:lnTo>
                  <a:lnTo>
                    <a:pt x="362" y="34"/>
                  </a:lnTo>
                  <a:lnTo>
                    <a:pt x="360" y="32"/>
                  </a:lnTo>
                  <a:lnTo>
                    <a:pt x="358" y="30"/>
                  </a:lnTo>
                  <a:lnTo>
                    <a:pt x="354" y="30"/>
                  </a:lnTo>
                  <a:lnTo>
                    <a:pt x="352" y="28"/>
                  </a:lnTo>
                  <a:lnTo>
                    <a:pt x="348" y="28"/>
                  </a:lnTo>
                  <a:lnTo>
                    <a:pt x="348" y="28"/>
                  </a:lnTo>
                  <a:lnTo>
                    <a:pt x="346" y="28"/>
                  </a:lnTo>
                  <a:lnTo>
                    <a:pt x="346" y="28"/>
                  </a:lnTo>
                  <a:lnTo>
                    <a:pt x="344" y="28"/>
                  </a:lnTo>
                  <a:lnTo>
                    <a:pt x="344" y="28"/>
                  </a:lnTo>
                  <a:lnTo>
                    <a:pt x="342" y="28"/>
                  </a:lnTo>
                  <a:lnTo>
                    <a:pt x="342" y="30"/>
                  </a:lnTo>
                  <a:lnTo>
                    <a:pt x="340" y="30"/>
                  </a:lnTo>
                  <a:lnTo>
                    <a:pt x="340" y="30"/>
                  </a:lnTo>
                  <a:lnTo>
                    <a:pt x="340" y="32"/>
                  </a:lnTo>
                  <a:lnTo>
                    <a:pt x="340" y="34"/>
                  </a:lnTo>
                  <a:lnTo>
                    <a:pt x="340" y="34"/>
                  </a:lnTo>
                  <a:lnTo>
                    <a:pt x="340" y="38"/>
                  </a:lnTo>
                  <a:lnTo>
                    <a:pt x="342" y="44"/>
                  </a:lnTo>
                  <a:lnTo>
                    <a:pt x="342" y="46"/>
                  </a:lnTo>
                  <a:lnTo>
                    <a:pt x="342" y="48"/>
                  </a:lnTo>
                  <a:lnTo>
                    <a:pt x="342" y="48"/>
                  </a:lnTo>
                  <a:lnTo>
                    <a:pt x="342" y="54"/>
                  </a:lnTo>
                  <a:lnTo>
                    <a:pt x="340" y="58"/>
                  </a:lnTo>
                  <a:lnTo>
                    <a:pt x="340" y="62"/>
                  </a:lnTo>
                  <a:lnTo>
                    <a:pt x="340" y="66"/>
                  </a:lnTo>
                  <a:lnTo>
                    <a:pt x="338" y="66"/>
                  </a:lnTo>
                  <a:lnTo>
                    <a:pt x="338" y="68"/>
                  </a:lnTo>
                  <a:lnTo>
                    <a:pt x="338" y="70"/>
                  </a:lnTo>
                  <a:lnTo>
                    <a:pt x="336" y="70"/>
                  </a:lnTo>
                  <a:lnTo>
                    <a:pt x="336" y="72"/>
                  </a:lnTo>
                  <a:lnTo>
                    <a:pt x="334" y="72"/>
                  </a:lnTo>
                  <a:lnTo>
                    <a:pt x="334" y="72"/>
                  </a:lnTo>
                  <a:lnTo>
                    <a:pt x="334" y="72"/>
                  </a:lnTo>
                  <a:lnTo>
                    <a:pt x="332" y="72"/>
                  </a:lnTo>
                  <a:lnTo>
                    <a:pt x="332" y="70"/>
                  </a:lnTo>
                  <a:lnTo>
                    <a:pt x="330" y="70"/>
                  </a:lnTo>
                  <a:lnTo>
                    <a:pt x="330" y="68"/>
                  </a:lnTo>
                  <a:lnTo>
                    <a:pt x="328" y="66"/>
                  </a:lnTo>
                  <a:lnTo>
                    <a:pt x="328" y="64"/>
                  </a:lnTo>
                  <a:lnTo>
                    <a:pt x="326" y="60"/>
                  </a:lnTo>
                  <a:lnTo>
                    <a:pt x="324" y="58"/>
                  </a:lnTo>
                  <a:lnTo>
                    <a:pt x="322" y="56"/>
                  </a:lnTo>
                  <a:lnTo>
                    <a:pt x="322" y="56"/>
                  </a:lnTo>
                  <a:lnTo>
                    <a:pt x="320" y="54"/>
                  </a:lnTo>
                  <a:lnTo>
                    <a:pt x="320" y="54"/>
                  </a:lnTo>
                  <a:lnTo>
                    <a:pt x="318" y="54"/>
                  </a:lnTo>
                  <a:lnTo>
                    <a:pt x="318" y="54"/>
                  </a:lnTo>
                  <a:lnTo>
                    <a:pt x="316" y="54"/>
                  </a:lnTo>
                  <a:lnTo>
                    <a:pt x="314" y="54"/>
                  </a:lnTo>
                  <a:lnTo>
                    <a:pt x="312" y="54"/>
                  </a:lnTo>
                  <a:lnTo>
                    <a:pt x="308" y="54"/>
                  </a:lnTo>
                  <a:lnTo>
                    <a:pt x="304" y="54"/>
                  </a:lnTo>
                  <a:lnTo>
                    <a:pt x="302" y="54"/>
                  </a:lnTo>
                  <a:lnTo>
                    <a:pt x="300" y="54"/>
                  </a:lnTo>
                  <a:lnTo>
                    <a:pt x="294" y="52"/>
                  </a:lnTo>
                  <a:lnTo>
                    <a:pt x="290" y="52"/>
                  </a:lnTo>
                  <a:lnTo>
                    <a:pt x="290" y="52"/>
                  </a:lnTo>
                  <a:lnTo>
                    <a:pt x="288" y="52"/>
                  </a:lnTo>
                  <a:lnTo>
                    <a:pt x="288" y="52"/>
                  </a:lnTo>
                  <a:lnTo>
                    <a:pt x="286" y="52"/>
                  </a:lnTo>
                  <a:lnTo>
                    <a:pt x="284" y="54"/>
                  </a:lnTo>
                  <a:lnTo>
                    <a:pt x="284" y="54"/>
                  </a:lnTo>
                  <a:lnTo>
                    <a:pt x="284" y="54"/>
                  </a:lnTo>
                  <a:lnTo>
                    <a:pt x="284" y="54"/>
                  </a:lnTo>
                  <a:lnTo>
                    <a:pt x="284" y="56"/>
                  </a:lnTo>
                  <a:lnTo>
                    <a:pt x="284" y="58"/>
                  </a:lnTo>
                  <a:lnTo>
                    <a:pt x="284" y="58"/>
                  </a:lnTo>
                  <a:lnTo>
                    <a:pt x="284" y="60"/>
                  </a:lnTo>
                  <a:lnTo>
                    <a:pt x="284" y="62"/>
                  </a:lnTo>
                  <a:lnTo>
                    <a:pt x="284" y="66"/>
                  </a:lnTo>
                  <a:lnTo>
                    <a:pt x="284" y="70"/>
                  </a:lnTo>
                  <a:lnTo>
                    <a:pt x="286" y="72"/>
                  </a:lnTo>
                  <a:lnTo>
                    <a:pt x="286" y="74"/>
                  </a:lnTo>
                  <a:lnTo>
                    <a:pt x="286" y="76"/>
                  </a:lnTo>
                  <a:lnTo>
                    <a:pt x="286" y="76"/>
                  </a:lnTo>
                  <a:lnTo>
                    <a:pt x="284" y="78"/>
                  </a:lnTo>
                  <a:lnTo>
                    <a:pt x="284" y="78"/>
                  </a:lnTo>
                  <a:lnTo>
                    <a:pt x="284" y="78"/>
                  </a:lnTo>
                  <a:lnTo>
                    <a:pt x="284" y="80"/>
                  </a:lnTo>
                  <a:lnTo>
                    <a:pt x="282" y="80"/>
                  </a:lnTo>
                  <a:lnTo>
                    <a:pt x="282" y="80"/>
                  </a:lnTo>
                  <a:lnTo>
                    <a:pt x="280" y="82"/>
                  </a:lnTo>
                  <a:lnTo>
                    <a:pt x="278" y="82"/>
                  </a:lnTo>
                  <a:lnTo>
                    <a:pt x="276" y="82"/>
                  </a:lnTo>
                  <a:lnTo>
                    <a:pt x="274" y="82"/>
                  </a:lnTo>
                  <a:lnTo>
                    <a:pt x="270" y="82"/>
                  </a:lnTo>
                  <a:lnTo>
                    <a:pt x="268" y="82"/>
                  </a:lnTo>
                  <a:lnTo>
                    <a:pt x="266" y="82"/>
                  </a:lnTo>
                  <a:lnTo>
                    <a:pt x="264" y="80"/>
                  </a:lnTo>
                  <a:lnTo>
                    <a:pt x="264" y="80"/>
                  </a:lnTo>
                  <a:lnTo>
                    <a:pt x="262" y="80"/>
                  </a:lnTo>
                  <a:lnTo>
                    <a:pt x="262" y="78"/>
                  </a:lnTo>
                  <a:lnTo>
                    <a:pt x="262" y="78"/>
                  </a:lnTo>
                  <a:lnTo>
                    <a:pt x="260" y="78"/>
                  </a:lnTo>
                  <a:lnTo>
                    <a:pt x="260" y="76"/>
                  </a:lnTo>
                  <a:lnTo>
                    <a:pt x="260" y="74"/>
                  </a:lnTo>
                  <a:lnTo>
                    <a:pt x="260" y="72"/>
                  </a:lnTo>
                  <a:lnTo>
                    <a:pt x="260" y="68"/>
                  </a:lnTo>
                  <a:lnTo>
                    <a:pt x="260" y="66"/>
                  </a:lnTo>
                  <a:lnTo>
                    <a:pt x="260" y="62"/>
                  </a:lnTo>
                  <a:lnTo>
                    <a:pt x="260" y="62"/>
                  </a:lnTo>
                  <a:lnTo>
                    <a:pt x="260" y="60"/>
                  </a:lnTo>
                  <a:lnTo>
                    <a:pt x="260" y="60"/>
                  </a:lnTo>
                  <a:lnTo>
                    <a:pt x="260" y="58"/>
                  </a:lnTo>
                  <a:lnTo>
                    <a:pt x="258" y="58"/>
                  </a:lnTo>
                  <a:lnTo>
                    <a:pt x="258" y="58"/>
                  </a:lnTo>
                  <a:lnTo>
                    <a:pt x="256" y="56"/>
                  </a:lnTo>
                  <a:lnTo>
                    <a:pt x="254" y="56"/>
                  </a:lnTo>
                  <a:lnTo>
                    <a:pt x="252" y="56"/>
                  </a:lnTo>
                  <a:lnTo>
                    <a:pt x="252" y="56"/>
                  </a:lnTo>
                  <a:lnTo>
                    <a:pt x="250" y="54"/>
                  </a:lnTo>
                  <a:lnTo>
                    <a:pt x="248" y="54"/>
                  </a:lnTo>
                  <a:lnTo>
                    <a:pt x="246" y="54"/>
                  </a:lnTo>
                  <a:lnTo>
                    <a:pt x="244" y="54"/>
                  </a:lnTo>
                  <a:lnTo>
                    <a:pt x="242" y="54"/>
                  </a:lnTo>
                  <a:lnTo>
                    <a:pt x="240" y="54"/>
                  </a:lnTo>
                  <a:lnTo>
                    <a:pt x="240" y="54"/>
                  </a:lnTo>
                  <a:lnTo>
                    <a:pt x="238" y="54"/>
                  </a:lnTo>
                  <a:lnTo>
                    <a:pt x="238" y="56"/>
                  </a:lnTo>
                  <a:lnTo>
                    <a:pt x="236" y="56"/>
                  </a:lnTo>
                  <a:lnTo>
                    <a:pt x="236" y="56"/>
                  </a:lnTo>
                  <a:lnTo>
                    <a:pt x="236" y="58"/>
                  </a:lnTo>
                  <a:lnTo>
                    <a:pt x="236" y="58"/>
                  </a:lnTo>
                  <a:lnTo>
                    <a:pt x="236" y="60"/>
                  </a:lnTo>
                  <a:lnTo>
                    <a:pt x="238" y="60"/>
                  </a:lnTo>
                  <a:lnTo>
                    <a:pt x="240" y="62"/>
                  </a:lnTo>
                  <a:lnTo>
                    <a:pt x="240" y="64"/>
                  </a:lnTo>
                  <a:lnTo>
                    <a:pt x="242" y="66"/>
                  </a:lnTo>
                  <a:lnTo>
                    <a:pt x="242" y="66"/>
                  </a:lnTo>
                  <a:lnTo>
                    <a:pt x="242" y="68"/>
                  </a:lnTo>
                  <a:lnTo>
                    <a:pt x="242" y="68"/>
                  </a:lnTo>
                  <a:lnTo>
                    <a:pt x="242" y="68"/>
                  </a:lnTo>
                  <a:lnTo>
                    <a:pt x="240" y="70"/>
                  </a:lnTo>
                  <a:lnTo>
                    <a:pt x="240" y="70"/>
                  </a:lnTo>
                  <a:lnTo>
                    <a:pt x="240" y="70"/>
                  </a:lnTo>
                  <a:lnTo>
                    <a:pt x="238" y="70"/>
                  </a:lnTo>
                  <a:lnTo>
                    <a:pt x="238" y="70"/>
                  </a:lnTo>
                  <a:lnTo>
                    <a:pt x="236" y="70"/>
                  </a:lnTo>
                  <a:lnTo>
                    <a:pt x="234" y="70"/>
                  </a:lnTo>
                  <a:lnTo>
                    <a:pt x="234" y="70"/>
                  </a:lnTo>
                  <a:lnTo>
                    <a:pt x="230" y="68"/>
                  </a:lnTo>
                  <a:lnTo>
                    <a:pt x="228" y="68"/>
                  </a:lnTo>
                  <a:lnTo>
                    <a:pt x="226" y="66"/>
                  </a:lnTo>
                  <a:lnTo>
                    <a:pt x="222" y="64"/>
                  </a:lnTo>
                  <a:lnTo>
                    <a:pt x="216" y="60"/>
                  </a:lnTo>
                  <a:lnTo>
                    <a:pt x="214" y="58"/>
                  </a:lnTo>
                  <a:lnTo>
                    <a:pt x="212" y="56"/>
                  </a:lnTo>
                  <a:lnTo>
                    <a:pt x="208" y="56"/>
                  </a:lnTo>
                  <a:lnTo>
                    <a:pt x="206" y="54"/>
                  </a:lnTo>
                  <a:lnTo>
                    <a:pt x="204" y="54"/>
                  </a:lnTo>
                  <a:lnTo>
                    <a:pt x="204" y="54"/>
                  </a:lnTo>
                  <a:lnTo>
                    <a:pt x="202" y="54"/>
                  </a:lnTo>
                  <a:lnTo>
                    <a:pt x="202" y="54"/>
                  </a:lnTo>
                  <a:lnTo>
                    <a:pt x="200" y="54"/>
                  </a:lnTo>
                  <a:lnTo>
                    <a:pt x="200" y="54"/>
                  </a:lnTo>
                  <a:lnTo>
                    <a:pt x="198" y="54"/>
                  </a:lnTo>
                  <a:lnTo>
                    <a:pt x="196" y="56"/>
                  </a:lnTo>
                  <a:lnTo>
                    <a:pt x="194" y="56"/>
                  </a:lnTo>
                  <a:lnTo>
                    <a:pt x="192" y="58"/>
                  </a:lnTo>
                  <a:lnTo>
                    <a:pt x="190" y="60"/>
                  </a:lnTo>
                  <a:lnTo>
                    <a:pt x="188" y="62"/>
                  </a:lnTo>
                  <a:lnTo>
                    <a:pt x="186" y="62"/>
                  </a:lnTo>
                  <a:lnTo>
                    <a:pt x="184" y="64"/>
                  </a:lnTo>
                  <a:lnTo>
                    <a:pt x="184" y="64"/>
                  </a:lnTo>
                  <a:lnTo>
                    <a:pt x="182" y="64"/>
                  </a:lnTo>
                  <a:lnTo>
                    <a:pt x="180" y="64"/>
                  </a:lnTo>
                  <a:lnTo>
                    <a:pt x="176" y="64"/>
                  </a:lnTo>
                  <a:lnTo>
                    <a:pt x="174" y="64"/>
                  </a:lnTo>
                  <a:lnTo>
                    <a:pt x="172" y="64"/>
                  </a:lnTo>
                  <a:lnTo>
                    <a:pt x="170" y="64"/>
                  </a:lnTo>
                  <a:lnTo>
                    <a:pt x="170" y="64"/>
                  </a:lnTo>
                  <a:lnTo>
                    <a:pt x="168" y="64"/>
                  </a:lnTo>
                  <a:lnTo>
                    <a:pt x="168" y="64"/>
                  </a:lnTo>
                  <a:lnTo>
                    <a:pt x="166" y="64"/>
                  </a:lnTo>
                  <a:lnTo>
                    <a:pt x="164" y="66"/>
                  </a:lnTo>
                  <a:lnTo>
                    <a:pt x="162" y="68"/>
                  </a:lnTo>
                  <a:lnTo>
                    <a:pt x="160" y="70"/>
                  </a:lnTo>
                  <a:lnTo>
                    <a:pt x="156" y="72"/>
                  </a:lnTo>
                  <a:lnTo>
                    <a:pt x="154" y="76"/>
                  </a:lnTo>
                  <a:lnTo>
                    <a:pt x="150" y="7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8" name="Freeform 600">
              <a:extLst>
                <a:ext uri="{FF2B5EF4-FFF2-40B4-BE49-F238E27FC236}">
                  <a16:creationId xmlns:a16="http://schemas.microsoft.com/office/drawing/2014/main" id="{60485D39-605A-426A-90A0-4C6ED9D561B8}"/>
                </a:ext>
              </a:extLst>
            </p:cNvPr>
            <p:cNvSpPr>
              <a:spLocks/>
            </p:cNvSpPr>
            <p:nvPr/>
          </p:nvSpPr>
          <p:spPr bwMode="auto">
            <a:xfrm>
              <a:off x="2357001" y="3939524"/>
              <a:ext cx="24249" cy="48498"/>
            </a:xfrm>
            <a:custGeom>
              <a:avLst/>
              <a:gdLst>
                <a:gd name="T0" fmla="*/ 10 w 14"/>
                <a:gd name="T1" fmla="*/ 28 h 28"/>
                <a:gd name="T2" fmla="*/ 10 w 14"/>
                <a:gd name="T3" fmla="*/ 28 h 28"/>
                <a:gd name="T4" fmla="*/ 10 w 14"/>
                <a:gd name="T5" fmla="*/ 24 h 28"/>
                <a:gd name="T6" fmla="*/ 8 w 14"/>
                <a:gd name="T7" fmla="*/ 22 h 28"/>
                <a:gd name="T8" fmla="*/ 8 w 14"/>
                <a:gd name="T9" fmla="*/ 22 h 28"/>
                <a:gd name="T10" fmla="*/ 4 w 14"/>
                <a:gd name="T11" fmla="*/ 16 h 28"/>
                <a:gd name="T12" fmla="*/ 4 w 14"/>
                <a:gd name="T13" fmla="*/ 16 h 28"/>
                <a:gd name="T14" fmla="*/ 0 w 14"/>
                <a:gd name="T15" fmla="*/ 12 h 28"/>
                <a:gd name="T16" fmla="*/ 0 w 14"/>
                <a:gd name="T17" fmla="*/ 12 h 28"/>
                <a:gd name="T18" fmla="*/ 0 w 14"/>
                <a:gd name="T19" fmla="*/ 8 h 28"/>
                <a:gd name="T20" fmla="*/ 0 w 14"/>
                <a:gd name="T21" fmla="*/ 8 h 28"/>
                <a:gd name="T22" fmla="*/ 4 w 14"/>
                <a:gd name="T23" fmla="*/ 4 h 28"/>
                <a:gd name="T24" fmla="*/ 4 w 14"/>
                <a:gd name="T25" fmla="*/ 4 h 28"/>
                <a:gd name="T26" fmla="*/ 4 w 14"/>
                <a:gd name="T27" fmla="*/ 0 h 28"/>
                <a:gd name="T28" fmla="*/ 4 w 14"/>
                <a:gd name="T29" fmla="*/ 0 h 28"/>
                <a:gd name="T30" fmla="*/ 4 w 14"/>
                <a:gd name="T31" fmla="*/ 0 h 28"/>
                <a:gd name="T32" fmla="*/ 4 w 14"/>
                <a:gd name="T33" fmla="*/ 0 h 28"/>
                <a:gd name="T34" fmla="*/ 6 w 14"/>
                <a:gd name="T35" fmla="*/ 0 h 28"/>
                <a:gd name="T36" fmla="*/ 6 w 14"/>
                <a:gd name="T37" fmla="*/ 2 h 28"/>
                <a:gd name="T38" fmla="*/ 6 w 14"/>
                <a:gd name="T39" fmla="*/ 2 h 28"/>
                <a:gd name="T40" fmla="*/ 10 w 14"/>
                <a:gd name="T41" fmla="*/ 8 h 28"/>
                <a:gd name="T42" fmla="*/ 10 w 14"/>
                <a:gd name="T43" fmla="*/ 8 h 28"/>
                <a:gd name="T44" fmla="*/ 10 w 14"/>
                <a:gd name="T45" fmla="*/ 10 h 28"/>
                <a:gd name="T46" fmla="*/ 12 w 14"/>
                <a:gd name="T47" fmla="*/ 14 h 28"/>
                <a:gd name="T48" fmla="*/ 12 w 14"/>
                <a:gd name="T49" fmla="*/ 14 h 28"/>
                <a:gd name="T50" fmla="*/ 12 w 14"/>
                <a:gd name="T51" fmla="*/ 16 h 28"/>
                <a:gd name="T52" fmla="*/ 14 w 14"/>
                <a:gd name="T53" fmla="*/ 18 h 28"/>
                <a:gd name="T54" fmla="*/ 14 w 14"/>
                <a:gd name="T55" fmla="*/ 18 h 28"/>
                <a:gd name="T56" fmla="*/ 14 w 14"/>
                <a:gd name="T57" fmla="*/ 20 h 28"/>
                <a:gd name="T58" fmla="*/ 14 w 14"/>
                <a:gd name="T59" fmla="*/ 26 h 28"/>
                <a:gd name="T60" fmla="*/ 14 w 14"/>
                <a:gd name="T61" fmla="*/ 26 h 28"/>
                <a:gd name="T62" fmla="*/ 14 w 14"/>
                <a:gd name="T63" fmla="*/ 28 h 28"/>
                <a:gd name="T64" fmla="*/ 12 w 14"/>
                <a:gd name="T65" fmla="*/ 28 h 28"/>
                <a:gd name="T66" fmla="*/ 12 w 14"/>
                <a:gd name="T67" fmla="*/ 28 h 28"/>
                <a:gd name="T68" fmla="*/ 10 w 14"/>
                <a:gd name="T69" fmla="*/ 28 h 28"/>
                <a:gd name="T70" fmla="*/ 10 w 14"/>
                <a:gd name="T7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8">
                  <a:moveTo>
                    <a:pt x="10" y="28"/>
                  </a:moveTo>
                  <a:lnTo>
                    <a:pt x="10" y="28"/>
                  </a:lnTo>
                  <a:lnTo>
                    <a:pt x="10" y="24"/>
                  </a:lnTo>
                  <a:lnTo>
                    <a:pt x="8" y="22"/>
                  </a:lnTo>
                  <a:lnTo>
                    <a:pt x="8" y="22"/>
                  </a:lnTo>
                  <a:lnTo>
                    <a:pt x="4" y="16"/>
                  </a:lnTo>
                  <a:lnTo>
                    <a:pt x="4" y="16"/>
                  </a:lnTo>
                  <a:lnTo>
                    <a:pt x="0" y="12"/>
                  </a:lnTo>
                  <a:lnTo>
                    <a:pt x="0" y="12"/>
                  </a:lnTo>
                  <a:lnTo>
                    <a:pt x="0" y="8"/>
                  </a:lnTo>
                  <a:lnTo>
                    <a:pt x="0" y="8"/>
                  </a:lnTo>
                  <a:lnTo>
                    <a:pt x="4" y="4"/>
                  </a:lnTo>
                  <a:lnTo>
                    <a:pt x="4" y="4"/>
                  </a:lnTo>
                  <a:lnTo>
                    <a:pt x="4" y="0"/>
                  </a:lnTo>
                  <a:lnTo>
                    <a:pt x="4" y="0"/>
                  </a:lnTo>
                  <a:lnTo>
                    <a:pt x="4" y="0"/>
                  </a:lnTo>
                  <a:lnTo>
                    <a:pt x="4" y="0"/>
                  </a:lnTo>
                  <a:lnTo>
                    <a:pt x="6" y="0"/>
                  </a:lnTo>
                  <a:lnTo>
                    <a:pt x="6" y="2"/>
                  </a:lnTo>
                  <a:lnTo>
                    <a:pt x="6" y="2"/>
                  </a:lnTo>
                  <a:lnTo>
                    <a:pt x="10" y="8"/>
                  </a:lnTo>
                  <a:lnTo>
                    <a:pt x="10" y="8"/>
                  </a:lnTo>
                  <a:lnTo>
                    <a:pt x="10" y="10"/>
                  </a:lnTo>
                  <a:lnTo>
                    <a:pt x="12" y="14"/>
                  </a:lnTo>
                  <a:lnTo>
                    <a:pt x="12" y="14"/>
                  </a:lnTo>
                  <a:lnTo>
                    <a:pt x="12" y="16"/>
                  </a:lnTo>
                  <a:lnTo>
                    <a:pt x="14" y="18"/>
                  </a:lnTo>
                  <a:lnTo>
                    <a:pt x="14" y="18"/>
                  </a:lnTo>
                  <a:lnTo>
                    <a:pt x="14" y="20"/>
                  </a:lnTo>
                  <a:lnTo>
                    <a:pt x="14" y="26"/>
                  </a:lnTo>
                  <a:lnTo>
                    <a:pt x="14" y="26"/>
                  </a:lnTo>
                  <a:lnTo>
                    <a:pt x="14" y="28"/>
                  </a:lnTo>
                  <a:lnTo>
                    <a:pt x="12" y="28"/>
                  </a:lnTo>
                  <a:lnTo>
                    <a:pt x="12" y="28"/>
                  </a:lnTo>
                  <a:lnTo>
                    <a:pt x="10" y="28"/>
                  </a:lnTo>
                  <a:lnTo>
                    <a:pt x="10" y="2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9" name="Freeform 603">
              <a:extLst>
                <a:ext uri="{FF2B5EF4-FFF2-40B4-BE49-F238E27FC236}">
                  <a16:creationId xmlns:a16="http://schemas.microsoft.com/office/drawing/2014/main" id="{022F72E6-AC9C-4B7A-918C-79C427127EFA}"/>
                </a:ext>
              </a:extLst>
            </p:cNvPr>
            <p:cNvSpPr>
              <a:spLocks/>
            </p:cNvSpPr>
            <p:nvPr/>
          </p:nvSpPr>
          <p:spPr bwMode="auto">
            <a:xfrm>
              <a:off x="5090215" y="4220120"/>
              <a:ext cx="356807" cy="336023"/>
            </a:xfrm>
            <a:custGeom>
              <a:avLst/>
              <a:gdLst>
                <a:gd name="T0" fmla="*/ 202 w 206"/>
                <a:gd name="T1" fmla="*/ 116 h 194"/>
                <a:gd name="T2" fmla="*/ 190 w 206"/>
                <a:gd name="T3" fmla="*/ 108 h 194"/>
                <a:gd name="T4" fmla="*/ 176 w 206"/>
                <a:gd name="T5" fmla="*/ 112 h 194"/>
                <a:gd name="T6" fmla="*/ 168 w 206"/>
                <a:gd name="T7" fmla="*/ 106 h 194"/>
                <a:gd name="T8" fmla="*/ 144 w 206"/>
                <a:gd name="T9" fmla="*/ 80 h 194"/>
                <a:gd name="T10" fmla="*/ 126 w 206"/>
                <a:gd name="T11" fmla="*/ 76 h 194"/>
                <a:gd name="T12" fmla="*/ 122 w 206"/>
                <a:gd name="T13" fmla="*/ 72 h 194"/>
                <a:gd name="T14" fmla="*/ 122 w 206"/>
                <a:gd name="T15" fmla="*/ 58 h 194"/>
                <a:gd name="T16" fmla="*/ 128 w 206"/>
                <a:gd name="T17" fmla="*/ 42 h 194"/>
                <a:gd name="T18" fmla="*/ 120 w 206"/>
                <a:gd name="T19" fmla="*/ 46 h 194"/>
                <a:gd name="T20" fmla="*/ 114 w 206"/>
                <a:gd name="T21" fmla="*/ 38 h 194"/>
                <a:gd name="T22" fmla="*/ 104 w 206"/>
                <a:gd name="T23" fmla="*/ 22 h 194"/>
                <a:gd name="T24" fmla="*/ 88 w 206"/>
                <a:gd name="T25" fmla="*/ 8 h 194"/>
                <a:gd name="T26" fmla="*/ 82 w 206"/>
                <a:gd name="T27" fmla="*/ 6 h 194"/>
                <a:gd name="T28" fmla="*/ 70 w 206"/>
                <a:gd name="T29" fmla="*/ 4 h 194"/>
                <a:gd name="T30" fmla="*/ 54 w 206"/>
                <a:gd name="T31" fmla="*/ 4 h 194"/>
                <a:gd name="T32" fmla="*/ 56 w 206"/>
                <a:gd name="T33" fmla="*/ 18 h 194"/>
                <a:gd name="T34" fmla="*/ 54 w 206"/>
                <a:gd name="T35" fmla="*/ 36 h 194"/>
                <a:gd name="T36" fmla="*/ 48 w 206"/>
                <a:gd name="T37" fmla="*/ 40 h 194"/>
                <a:gd name="T38" fmla="*/ 36 w 206"/>
                <a:gd name="T39" fmla="*/ 42 h 194"/>
                <a:gd name="T40" fmla="*/ 32 w 206"/>
                <a:gd name="T41" fmla="*/ 46 h 194"/>
                <a:gd name="T42" fmla="*/ 34 w 206"/>
                <a:gd name="T43" fmla="*/ 66 h 194"/>
                <a:gd name="T44" fmla="*/ 32 w 206"/>
                <a:gd name="T45" fmla="*/ 74 h 194"/>
                <a:gd name="T46" fmla="*/ 28 w 206"/>
                <a:gd name="T47" fmla="*/ 76 h 194"/>
                <a:gd name="T48" fmla="*/ 20 w 206"/>
                <a:gd name="T49" fmla="*/ 76 h 194"/>
                <a:gd name="T50" fmla="*/ 18 w 206"/>
                <a:gd name="T51" fmla="*/ 82 h 194"/>
                <a:gd name="T52" fmla="*/ 18 w 206"/>
                <a:gd name="T53" fmla="*/ 102 h 194"/>
                <a:gd name="T54" fmla="*/ 14 w 206"/>
                <a:gd name="T55" fmla="*/ 110 h 194"/>
                <a:gd name="T56" fmla="*/ 6 w 206"/>
                <a:gd name="T57" fmla="*/ 108 h 194"/>
                <a:gd name="T58" fmla="*/ 0 w 206"/>
                <a:gd name="T59" fmla="*/ 110 h 194"/>
                <a:gd name="T60" fmla="*/ 2 w 206"/>
                <a:gd name="T61" fmla="*/ 118 h 194"/>
                <a:gd name="T62" fmla="*/ 10 w 206"/>
                <a:gd name="T63" fmla="*/ 126 h 194"/>
                <a:gd name="T64" fmla="*/ 16 w 206"/>
                <a:gd name="T65" fmla="*/ 126 h 194"/>
                <a:gd name="T66" fmla="*/ 16 w 206"/>
                <a:gd name="T67" fmla="*/ 136 h 194"/>
                <a:gd name="T68" fmla="*/ 22 w 206"/>
                <a:gd name="T69" fmla="*/ 142 h 194"/>
                <a:gd name="T70" fmla="*/ 32 w 206"/>
                <a:gd name="T71" fmla="*/ 152 h 194"/>
                <a:gd name="T72" fmla="*/ 36 w 206"/>
                <a:gd name="T73" fmla="*/ 160 h 194"/>
                <a:gd name="T74" fmla="*/ 48 w 206"/>
                <a:gd name="T75" fmla="*/ 170 h 194"/>
                <a:gd name="T76" fmla="*/ 60 w 206"/>
                <a:gd name="T77" fmla="*/ 178 h 194"/>
                <a:gd name="T78" fmla="*/ 64 w 206"/>
                <a:gd name="T79" fmla="*/ 186 h 194"/>
                <a:gd name="T80" fmla="*/ 66 w 206"/>
                <a:gd name="T81" fmla="*/ 192 h 194"/>
                <a:gd name="T82" fmla="*/ 80 w 206"/>
                <a:gd name="T83" fmla="*/ 194 h 194"/>
                <a:gd name="T84" fmla="*/ 92 w 206"/>
                <a:gd name="T85" fmla="*/ 192 h 194"/>
                <a:gd name="T86" fmla="*/ 98 w 206"/>
                <a:gd name="T87" fmla="*/ 186 h 194"/>
                <a:gd name="T88" fmla="*/ 100 w 206"/>
                <a:gd name="T89" fmla="*/ 180 h 194"/>
                <a:gd name="T90" fmla="*/ 114 w 206"/>
                <a:gd name="T91" fmla="*/ 180 h 194"/>
                <a:gd name="T92" fmla="*/ 122 w 206"/>
                <a:gd name="T93" fmla="*/ 186 h 194"/>
                <a:gd name="T94" fmla="*/ 134 w 206"/>
                <a:gd name="T95" fmla="*/ 182 h 194"/>
                <a:gd name="T96" fmla="*/ 140 w 206"/>
                <a:gd name="T97" fmla="*/ 176 h 194"/>
                <a:gd name="T98" fmla="*/ 154 w 206"/>
                <a:gd name="T99" fmla="*/ 176 h 194"/>
                <a:gd name="T100" fmla="*/ 174 w 206"/>
                <a:gd name="T101" fmla="*/ 172 h 194"/>
                <a:gd name="T102" fmla="*/ 186 w 206"/>
                <a:gd name="T103" fmla="*/ 160 h 194"/>
                <a:gd name="T104" fmla="*/ 190 w 206"/>
                <a:gd name="T105" fmla="*/ 148 h 194"/>
                <a:gd name="T106" fmla="*/ 192 w 206"/>
                <a:gd name="T107" fmla="*/ 136 h 194"/>
                <a:gd name="T108" fmla="*/ 200 w 206"/>
                <a:gd name="T109" fmla="*/ 130 h 194"/>
                <a:gd name="T110" fmla="*/ 206 w 206"/>
                <a:gd name="T111" fmla="*/ 12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6" h="194">
                  <a:moveTo>
                    <a:pt x="206" y="122"/>
                  </a:moveTo>
                  <a:lnTo>
                    <a:pt x="206" y="120"/>
                  </a:lnTo>
                  <a:lnTo>
                    <a:pt x="204" y="120"/>
                  </a:lnTo>
                  <a:lnTo>
                    <a:pt x="204" y="118"/>
                  </a:lnTo>
                  <a:lnTo>
                    <a:pt x="204" y="118"/>
                  </a:lnTo>
                  <a:lnTo>
                    <a:pt x="202" y="116"/>
                  </a:lnTo>
                  <a:lnTo>
                    <a:pt x="198" y="114"/>
                  </a:lnTo>
                  <a:lnTo>
                    <a:pt x="196" y="112"/>
                  </a:lnTo>
                  <a:lnTo>
                    <a:pt x="194" y="110"/>
                  </a:lnTo>
                  <a:lnTo>
                    <a:pt x="192" y="110"/>
                  </a:lnTo>
                  <a:lnTo>
                    <a:pt x="192" y="110"/>
                  </a:lnTo>
                  <a:lnTo>
                    <a:pt x="190" y="108"/>
                  </a:lnTo>
                  <a:lnTo>
                    <a:pt x="188" y="110"/>
                  </a:lnTo>
                  <a:lnTo>
                    <a:pt x="186" y="110"/>
                  </a:lnTo>
                  <a:lnTo>
                    <a:pt x="184" y="110"/>
                  </a:lnTo>
                  <a:lnTo>
                    <a:pt x="180" y="110"/>
                  </a:lnTo>
                  <a:lnTo>
                    <a:pt x="178" y="110"/>
                  </a:lnTo>
                  <a:lnTo>
                    <a:pt x="176" y="112"/>
                  </a:lnTo>
                  <a:lnTo>
                    <a:pt x="176" y="110"/>
                  </a:lnTo>
                  <a:lnTo>
                    <a:pt x="174" y="110"/>
                  </a:lnTo>
                  <a:lnTo>
                    <a:pt x="174" y="110"/>
                  </a:lnTo>
                  <a:lnTo>
                    <a:pt x="172" y="108"/>
                  </a:lnTo>
                  <a:lnTo>
                    <a:pt x="170" y="108"/>
                  </a:lnTo>
                  <a:lnTo>
                    <a:pt x="168" y="106"/>
                  </a:lnTo>
                  <a:lnTo>
                    <a:pt x="166" y="104"/>
                  </a:lnTo>
                  <a:lnTo>
                    <a:pt x="162" y="100"/>
                  </a:lnTo>
                  <a:lnTo>
                    <a:pt x="156" y="92"/>
                  </a:lnTo>
                  <a:lnTo>
                    <a:pt x="154" y="90"/>
                  </a:lnTo>
                  <a:lnTo>
                    <a:pt x="150" y="86"/>
                  </a:lnTo>
                  <a:lnTo>
                    <a:pt x="144" y="80"/>
                  </a:lnTo>
                  <a:lnTo>
                    <a:pt x="140" y="76"/>
                  </a:lnTo>
                  <a:lnTo>
                    <a:pt x="138" y="76"/>
                  </a:lnTo>
                  <a:lnTo>
                    <a:pt x="134" y="76"/>
                  </a:lnTo>
                  <a:lnTo>
                    <a:pt x="132" y="76"/>
                  </a:lnTo>
                  <a:lnTo>
                    <a:pt x="130" y="76"/>
                  </a:lnTo>
                  <a:lnTo>
                    <a:pt x="126" y="76"/>
                  </a:lnTo>
                  <a:lnTo>
                    <a:pt x="126" y="76"/>
                  </a:lnTo>
                  <a:lnTo>
                    <a:pt x="124" y="76"/>
                  </a:lnTo>
                  <a:lnTo>
                    <a:pt x="124" y="74"/>
                  </a:lnTo>
                  <a:lnTo>
                    <a:pt x="122" y="74"/>
                  </a:lnTo>
                  <a:lnTo>
                    <a:pt x="122" y="74"/>
                  </a:lnTo>
                  <a:lnTo>
                    <a:pt x="122" y="72"/>
                  </a:lnTo>
                  <a:lnTo>
                    <a:pt x="122" y="72"/>
                  </a:lnTo>
                  <a:lnTo>
                    <a:pt x="122" y="70"/>
                  </a:lnTo>
                  <a:lnTo>
                    <a:pt x="122" y="68"/>
                  </a:lnTo>
                  <a:lnTo>
                    <a:pt x="122" y="66"/>
                  </a:lnTo>
                  <a:lnTo>
                    <a:pt x="122" y="62"/>
                  </a:lnTo>
                  <a:lnTo>
                    <a:pt x="122" y="58"/>
                  </a:lnTo>
                  <a:lnTo>
                    <a:pt x="124" y="54"/>
                  </a:lnTo>
                  <a:lnTo>
                    <a:pt x="124" y="50"/>
                  </a:lnTo>
                  <a:lnTo>
                    <a:pt x="126" y="46"/>
                  </a:lnTo>
                  <a:lnTo>
                    <a:pt x="126" y="46"/>
                  </a:lnTo>
                  <a:lnTo>
                    <a:pt x="128" y="42"/>
                  </a:lnTo>
                  <a:lnTo>
                    <a:pt x="128" y="42"/>
                  </a:lnTo>
                  <a:lnTo>
                    <a:pt x="128" y="42"/>
                  </a:lnTo>
                  <a:lnTo>
                    <a:pt x="126" y="44"/>
                  </a:lnTo>
                  <a:lnTo>
                    <a:pt x="122" y="44"/>
                  </a:lnTo>
                  <a:lnTo>
                    <a:pt x="122" y="44"/>
                  </a:lnTo>
                  <a:lnTo>
                    <a:pt x="122" y="46"/>
                  </a:lnTo>
                  <a:lnTo>
                    <a:pt x="120" y="46"/>
                  </a:lnTo>
                  <a:lnTo>
                    <a:pt x="120" y="46"/>
                  </a:lnTo>
                  <a:lnTo>
                    <a:pt x="120" y="44"/>
                  </a:lnTo>
                  <a:lnTo>
                    <a:pt x="118" y="44"/>
                  </a:lnTo>
                  <a:lnTo>
                    <a:pt x="118" y="44"/>
                  </a:lnTo>
                  <a:lnTo>
                    <a:pt x="116" y="40"/>
                  </a:lnTo>
                  <a:lnTo>
                    <a:pt x="114" y="38"/>
                  </a:lnTo>
                  <a:lnTo>
                    <a:pt x="114" y="38"/>
                  </a:lnTo>
                  <a:lnTo>
                    <a:pt x="110" y="30"/>
                  </a:lnTo>
                  <a:lnTo>
                    <a:pt x="110" y="30"/>
                  </a:lnTo>
                  <a:lnTo>
                    <a:pt x="106" y="26"/>
                  </a:lnTo>
                  <a:lnTo>
                    <a:pt x="106" y="26"/>
                  </a:lnTo>
                  <a:lnTo>
                    <a:pt x="104" y="22"/>
                  </a:lnTo>
                  <a:lnTo>
                    <a:pt x="100" y="18"/>
                  </a:lnTo>
                  <a:lnTo>
                    <a:pt x="100" y="18"/>
                  </a:lnTo>
                  <a:lnTo>
                    <a:pt x="94" y="12"/>
                  </a:lnTo>
                  <a:lnTo>
                    <a:pt x="94" y="10"/>
                  </a:lnTo>
                  <a:lnTo>
                    <a:pt x="92" y="12"/>
                  </a:lnTo>
                  <a:lnTo>
                    <a:pt x="88" y="8"/>
                  </a:lnTo>
                  <a:lnTo>
                    <a:pt x="86" y="10"/>
                  </a:lnTo>
                  <a:lnTo>
                    <a:pt x="84" y="8"/>
                  </a:lnTo>
                  <a:lnTo>
                    <a:pt x="82" y="10"/>
                  </a:lnTo>
                  <a:lnTo>
                    <a:pt x="82" y="10"/>
                  </a:lnTo>
                  <a:lnTo>
                    <a:pt x="82" y="6"/>
                  </a:lnTo>
                  <a:lnTo>
                    <a:pt x="82" y="6"/>
                  </a:lnTo>
                  <a:lnTo>
                    <a:pt x="76" y="8"/>
                  </a:lnTo>
                  <a:lnTo>
                    <a:pt x="76" y="8"/>
                  </a:lnTo>
                  <a:lnTo>
                    <a:pt x="72" y="8"/>
                  </a:lnTo>
                  <a:lnTo>
                    <a:pt x="72" y="8"/>
                  </a:lnTo>
                  <a:lnTo>
                    <a:pt x="70" y="4"/>
                  </a:lnTo>
                  <a:lnTo>
                    <a:pt x="70" y="4"/>
                  </a:lnTo>
                  <a:lnTo>
                    <a:pt x="68" y="4"/>
                  </a:lnTo>
                  <a:lnTo>
                    <a:pt x="66" y="0"/>
                  </a:lnTo>
                  <a:lnTo>
                    <a:pt x="60" y="8"/>
                  </a:lnTo>
                  <a:lnTo>
                    <a:pt x="58" y="4"/>
                  </a:lnTo>
                  <a:lnTo>
                    <a:pt x="54" y="4"/>
                  </a:lnTo>
                  <a:lnTo>
                    <a:pt x="54" y="4"/>
                  </a:lnTo>
                  <a:lnTo>
                    <a:pt x="54" y="4"/>
                  </a:lnTo>
                  <a:lnTo>
                    <a:pt x="54" y="8"/>
                  </a:lnTo>
                  <a:lnTo>
                    <a:pt x="54" y="10"/>
                  </a:lnTo>
                  <a:lnTo>
                    <a:pt x="56" y="12"/>
                  </a:lnTo>
                  <a:lnTo>
                    <a:pt x="56" y="16"/>
                  </a:lnTo>
                  <a:lnTo>
                    <a:pt x="56" y="18"/>
                  </a:lnTo>
                  <a:lnTo>
                    <a:pt x="56" y="22"/>
                  </a:lnTo>
                  <a:lnTo>
                    <a:pt x="56" y="24"/>
                  </a:lnTo>
                  <a:lnTo>
                    <a:pt x="56" y="28"/>
                  </a:lnTo>
                  <a:lnTo>
                    <a:pt x="56" y="30"/>
                  </a:lnTo>
                  <a:lnTo>
                    <a:pt x="54" y="32"/>
                  </a:lnTo>
                  <a:lnTo>
                    <a:pt x="54" y="36"/>
                  </a:lnTo>
                  <a:lnTo>
                    <a:pt x="54" y="38"/>
                  </a:lnTo>
                  <a:lnTo>
                    <a:pt x="52" y="38"/>
                  </a:lnTo>
                  <a:lnTo>
                    <a:pt x="52" y="40"/>
                  </a:lnTo>
                  <a:lnTo>
                    <a:pt x="50" y="40"/>
                  </a:lnTo>
                  <a:lnTo>
                    <a:pt x="50" y="40"/>
                  </a:lnTo>
                  <a:lnTo>
                    <a:pt x="48" y="40"/>
                  </a:lnTo>
                  <a:lnTo>
                    <a:pt x="46" y="40"/>
                  </a:lnTo>
                  <a:lnTo>
                    <a:pt x="44" y="40"/>
                  </a:lnTo>
                  <a:lnTo>
                    <a:pt x="40" y="40"/>
                  </a:lnTo>
                  <a:lnTo>
                    <a:pt x="38" y="40"/>
                  </a:lnTo>
                  <a:lnTo>
                    <a:pt x="36" y="40"/>
                  </a:lnTo>
                  <a:lnTo>
                    <a:pt x="36" y="42"/>
                  </a:lnTo>
                  <a:lnTo>
                    <a:pt x="34" y="42"/>
                  </a:lnTo>
                  <a:lnTo>
                    <a:pt x="34" y="42"/>
                  </a:lnTo>
                  <a:lnTo>
                    <a:pt x="34" y="42"/>
                  </a:lnTo>
                  <a:lnTo>
                    <a:pt x="34" y="44"/>
                  </a:lnTo>
                  <a:lnTo>
                    <a:pt x="32" y="44"/>
                  </a:lnTo>
                  <a:lnTo>
                    <a:pt x="32" y="46"/>
                  </a:lnTo>
                  <a:lnTo>
                    <a:pt x="32" y="48"/>
                  </a:lnTo>
                  <a:lnTo>
                    <a:pt x="32" y="52"/>
                  </a:lnTo>
                  <a:lnTo>
                    <a:pt x="32" y="54"/>
                  </a:lnTo>
                  <a:lnTo>
                    <a:pt x="32" y="58"/>
                  </a:lnTo>
                  <a:lnTo>
                    <a:pt x="34" y="64"/>
                  </a:lnTo>
                  <a:lnTo>
                    <a:pt x="34" y="66"/>
                  </a:lnTo>
                  <a:lnTo>
                    <a:pt x="34" y="68"/>
                  </a:lnTo>
                  <a:lnTo>
                    <a:pt x="34" y="70"/>
                  </a:lnTo>
                  <a:lnTo>
                    <a:pt x="32" y="72"/>
                  </a:lnTo>
                  <a:lnTo>
                    <a:pt x="32" y="74"/>
                  </a:lnTo>
                  <a:lnTo>
                    <a:pt x="32" y="74"/>
                  </a:lnTo>
                  <a:lnTo>
                    <a:pt x="32" y="74"/>
                  </a:lnTo>
                  <a:lnTo>
                    <a:pt x="32" y="76"/>
                  </a:lnTo>
                  <a:lnTo>
                    <a:pt x="30" y="76"/>
                  </a:lnTo>
                  <a:lnTo>
                    <a:pt x="30" y="76"/>
                  </a:lnTo>
                  <a:lnTo>
                    <a:pt x="30" y="76"/>
                  </a:lnTo>
                  <a:lnTo>
                    <a:pt x="28" y="76"/>
                  </a:lnTo>
                  <a:lnTo>
                    <a:pt x="28" y="76"/>
                  </a:lnTo>
                  <a:lnTo>
                    <a:pt x="26" y="76"/>
                  </a:lnTo>
                  <a:lnTo>
                    <a:pt x="24" y="76"/>
                  </a:lnTo>
                  <a:lnTo>
                    <a:pt x="22" y="76"/>
                  </a:lnTo>
                  <a:lnTo>
                    <a:pt x="22" y="76"/>
                  </a:lnTo>
                  <a:lnTo>
                    <a:pt x="20" y="76"/>
                  </a:lnTo>
                  <a:lnTo>
                    <a:pt x="20" y="76"/>
                  </a:lnTo>
                  <a:lnTo>
                    <a:pt x="20" y="76"/>
                  </a:lnTo>
                  <a:lnTo>
                    <a:pt x="18" y="76"/>
                  </a:lnTo>
                  <a:lnTo>
                    <a:pt x="18" y="78"/>
                  </a:lnTo>
                  <a:lnTo>
                    <a:pt x="18" y="78"/>
                  </a:lnTo>
                  <a:lnTo>
                    <a:pt x="18" y="80"/>
                  </a:lnTo>
                  <a:lnTo>
                    <a:pt x="18" y="82"/>
                  </a:lnTo>
                  <a:lnTo>
                    <a:pt x="16" y="84"/>
                  </a:lnTo>
                  <a:lnTo>
                    <a:pt x="18" y="88"/>
                  </a:lnTo>
                  <a:lnTo>
                    <a:pt x="18" y="92"/>
                  </a:lnTo>
                  <a:lnTo>
                    <a:pt x="18" y="98"/>
                  </a:lnTo>
                  <a:lnTo>
                    <a:pt x="18" y="100"/>
                  </a:lnTo>
                  <a:lnTo>
                    <a:pt x="18" y="102"/>
                  </a:lnTo>
                  <a:lnTo>
                    <a:pt x="18" y="104"/>
                  </a:lnTo>
                  <a:lnTo>
                    <a:pt x="18" y="106"/>
                  </a:lnTo>
                  <a:lnTo>
                    <a:pt x="16" y="108"/>
                  </a:lnTo>
                  <a:lnTo>
                    <a:pt x="16" y="108"/>
                  </a:lnTo>
                  <a:lnTo>
                    <a:pt x="16" y="108"/>
                  </a:lnTo>
                  <a:lnTo>
                    <a:pt x="14" y="110"/>
                  </a:lnTo>
                  <a:lnTo>
                    <a:pt x="14" y="110"/>
                  </a:lnTo>
                  <a:lnTo>
                    <a:pt x="14" y="110"/>
                  </a:lnTo>
                  <a:lnTo>
                    <a:pt x="12" y="110"/>
                  </a:lnTo>
                  <a:lnTo>
                    <a:pt x="10" y="110"/>
                  </a:lnTo>
                  <a:lnTo>
                    <a:pt x="8" y="110"/>
                  </a:lnTo>
                  <a:lnTo>
                    <a:pt x="6" y="108"/>
                  </a:lnTo>
                  <a:lnTo>
                    <a:pt x="4" y="108"/>
                  </a:lnTo>
                  <a:lnTo>
                    <a:pt x="2" y="108"/>
                  </a:lnTo>
                  <a:lnTo>
                    <a:pt x="2" y="110"/>
                  </a:lnTo>
                  <a:lnTo>
                    <a:pt x="0" y="110"/>
                  </a:lnTo>
                  <a:lnTo>
                    <a:pt x="0" y="110"/>
                  </a:lnTo>
                  <a:lnTo>
                    <a:pt x="0" y="110"/>
                  </a:lnTo>
                  <a:lnTo>
                    <a:pt x="0" y="112"/>
                  </a:lnTo>
                  <a:lnTo>
                    <a:pt x="0" y="112"/>
                  </a:lnTo>
                  <a:lnTo>
                    <a:pt x="0" y="114"/>
                  </a:lnTo>
                  <a:lnTo>
                    <a:pt x="0" y="114"/>
                  </a:lnTo>
                  <a:lnTo>
                    <a:pt x="2" y="116"/>
                  </a:lnTo>
                  <a:lnTo>
                    <a:pt x="2" y="118"/>
                  </a:lnTo>
                  <a:lnTo>
                    <a:pt x="4" y="120"/>
                  </a:lnTo>
                  <a:lnTo>
                    <a:pt x="6" y="122"/>
                  </a:lnTo>
                  <a:lnTo>
                    <a:pt x="8" y="124"/>
                  </a:lnTo>
                  <a:lnTo>
                    <a:pt x="8" y="124"/>
                  </a:lnTo>
                  <a:lnTo>
                    <a:pt x="10" y="124"/>
                  </a:lnTo>
                  <a:lnTo>
                    <a:pt x="10" y="126"/>
                  </a:lnTo>
                  <a:lnTo>
                    <a:pt x="12" y="126"/>
                  </a:lnTo>
                  <a:lnTo>
                    <a:pt x="14" y="126"/>
                  </a:lnTo>
                  <a:lnTo>
                    <a:pt x="14" y="126"/>
                  </a:lnTo>
                  <a:lnTo>
                    <a:pt x="16" y="126"/>
                  </a:lnTo>
                  <a:lnTo>
                    <a:pt x="16" y="126"/>
                  </a:lnTo>
                  <a:lnTo>
                    <a:pt x="16" y="126"/>
                  </a:lnTo>
                  <a:lnTo>
                    <a:pt x="16" y="128"/>
                  </a:lnTo>
                  <a:lnTo>
                    <a:pt x="16" y="128"/>
                  </a:lnTo>
                  <a:lnTo>
                    <a:pt x="16" y="130"/>
                  </a:lnTo>
                  <a:lnTo>
                    <a:pt x="16" y="132"/>
                  </a:lnTo>
                  <a:lnTo>
                    <a:pt x="16" y="136"/>
                  </a:lnTo>
                  <a:lnTo>
                    <a:pt x="16" y="136"/>
                  </a:lnTo>
                  <a:lnTo>
                    <a:pt x="16" y="138"/>
                  </a:lnTo>
                  <a:lnTo>
                    <a:pt x="16" y="138"/>
                  </a:lnTo>
                  <a:lnTo>
                    <a:pt x="18" y="138"/>
                  </a:lnTo>
                  <a:lnTo>
                    <a:pt x="18" y="140"/>
                  </a:lnTo>
                  <a:lnTo>
                    <a:pt x="20" y="140"/>
                  </a:lnTo>
                  <a:lnTo>
                    <a:pt x="22" y="142"/>
                  </a:lnTo>
                  <a:lnTo>
                    <a:pt x="24" y="144"/>
                  </a:lnTo>
                  <a:lnTo>
                    <a:pt x="26" y="146"/>
                  </a:lnTo>
                  <a:lnTo>
                    <a:pt x="28" y="146"/>
                  </a:lnTo>
                  <a:lnTo>
                    <a:pt x="28" y="148"/>
                  </a:lnTo>
                  <a:lnTo>
                    <a:pt x="30" y="150"/>
                  </a:lnTo>
                  <a:lnTo>
                    <a:pt x="32" y="152"/>
                  </a:lnTo>
                  <a:lnTo>
                    <a:pt x="34" y="154"/>
                  </a:lnTo>
                  <a:lnTo>
                    <a:pt x="34" y="156"/>
                  </a:lnTo>
                  <a:lnTo>
                    <a:pt x="36" y="158"/>
                  </a:lnTo>
                  <a:lnTo>
                    <a:pt x="36" y="158"/>
                  </a:lnTo>
                  <a:lnTo>
                    <a:pt x="36" y="160"/>
                  </a:lnTo>
                  <a:lnTo>
                    <a:pt x="36" y="160"/>
                  </a:lnTo>
                  <a:lnTo>
                    <a:pt x="36" y="164"/>
                  </a:lnTo>
                  <a:lnTo>
                    <a:pt x="34" y="168"/>
                  </a:lnTo>
                  <a:lnTo>
                    <a:pt x="36" y="168"/>
                  </a:lnTo>
                  <a:lnTo>
                    <a:pt x="42" y="168"/>
                  </a:lnTo>
                  <a:lnTo>
                    <a:pt x="46" y="170"/>
                  </a:lnTo>
                  <a:lnTo>
                    <a:pt x="48" y="170"/>
                  </a:lnTo>
                  <a:lnTo>
                    <a:pt x="50" y="172"/>
                  </a:lnTo>
                  <a:lnTo>
                    <a:pt x="52" y="172"/>
                  </a:lnTo>
                  <a:lnTo>
                    <a:pt x="54" y="174"/>
                  </a:lnTo>
                  <a:lnTo>
                    <a:pt x="56" y="174"/>
                  </a:lnTo>
                  <a:lnTo>
                    <a:pt x="58" y="176"/>
                  </a:lnTo>
                  <a:lnTo>
                    <a:pt x="60" y="178"/>
                  </a:lnTo>
                  <a:lnTo>
                    <a:pt x="62" y="178"/>
                  </a:lnTo>
                  <a:lnTo>
                    <a:pt x="62" y="180"/>
                  </a:lnTo>
                  <a:lnTo>
                    <a:pt x="64" y="182"/>
                  </a:lnTo>
                  <a:lnTo>
                    <a:pt x="64" y="182"/>
                  </a:lnTo>
                  <a:lnTo>
                    <a:pt x="64" y="184"/>
                  </a:lnTo>
                  <a:lnTo>
                    <a:pt x="64" y="186"/>
                  </a:lnTo>
                  <a:lnTo>
                    <a:pt x="64" y="188"/>
                  </a:lnTo>
                  <a:lnTo>
                    <a:pt x="64" y="190"/>
                  </a:lnTo>
                  <a:lnTo>
                    <a:pt x="64" y="190"/>
                  </a:lnTo>
                  <a:lnTo>
                    <a:pt x="66" y="192"/>
                  </a:lnTo>
                  <a:lnTo>
                    <a:pt x="66" y="192"/>
                  </a:lnTo>
                  <a:lnTo>
                    <a:pt x="66" y="192"/>
                  </a:lnTo>
                  <a:lnTo>
                    <a:pt x="68" y="192"/>
                  </a:lnTo>
                  <a:lnTo>
                    <a:pt x="70" y="194"/>
                  </a:lnTo>
                  <a:lnTo>
                    <a:pt x="72" y="194"/>
                  </a:lnTo>
                  <a:lnTo>
                    <a:pt x="74" y="194"/>
                  </a:lnTo>
                  <a:lnTo>
                    <a:pt x="76" y="194"/>
                  </a:lnTo>
                  <a:lnTo>
                    <a:pt x="80" y="194"/>
                  </a:lnTo>
                  <a:lnTo>
                    <a:pt x="82" y="194"/>
                  </a:lnTo>
                  <a:lnTo>
                    <a:pt x="84" y="194"/>
                  </a:lnTo>
                  <a:lnTo>
                    <a:pt x="86" y="194"/>
                  </a:lnTo>
                  <a:lnTo>
                    <a:pt x="88" y="192"/>
                  </a:lnTo>
                  <a:lnTo>
                    <a:pt x="90" y="192"/>
                  </a:lnTo>
                  <a:lnTo>
                    <a:pt x="92" y="192"/>
                  </a:lnTo>
                  <a:lnTo>
                    <a:pt x="94" y="190"/>
                  </a:lnTo>
                  <a:lnTo>
                    <a:pt x="96" y="190"/>
                  </a:lnTo>
                  <a:lnTo>
                    <a:pt x="98" y="188"/>
                  </a:lnTo>
                  <a:lnTo>
                    <a:pt x="98" y="188"/>
                  </a:lnTo>
                  <a:lnTo>
                    <a:pt x="98" y="188"/>
                  </a:lnTo>
                  <a:lnTo>
                    <a:pt x="98" y="186"/>
                  </a:lnTo>
                  <a:lnTo>
                    <a:pt x="96" y="184"/>
                  </a:lnTo>
                  <a:lnTo>
                    <a:pt x="96" y="184"/>
                  </a:lnTo>
                  <a:lnTo>
                    <a:pt x="98" y="182"/>
                  </a:lnTo>
                  <a:lnTo>
                    <a:pt x="98" y="182"/>
                  </a:lnTo>
                  <a:lnTo>
                    <a:pt x="98" y="182"/>
                  </a:lnTo>
                  <a:lnTo>
                    <a:pt x="100" y="180"/>
                  </a:lnTo>
                  <a:lnTo>
                    <a:pt x="100" y="180"/>
                  </a:lnTo>
                  <a:lnTo>
                    <a:pt x="104" y="180"/>
                  </a:lnTo>
                  <a:lnTo>
                    <a:pt x="106" y="180"/>
                  </a:lnTo>
                  <a:lnTo>
                    <a:pt x="110" y="180"/>
                  </a:lnTo>
                  <a:lnTo>
                    <a:pt x="112" y="180"/>
                  </a:lnTo>
                  <a:lnTo>
                    <a:pt x="114" y="180"/>
                  </a:lnTo>
                  <a:lnTo>
                    <a:pt x="116" y="182"/>
                  </a:lnTo>
                  <a:lnTo>
                    <a:pt x="118" y="182"/>
                  </a:lnTo>
                  <a:lnTo>
                    <a:pt x="118" y="182"/>
                  </a:lnTo>
                  <a:lnTo>
                    <a:pt x="120" y="184"/>
                  </a:lnTo>
                  <a:lnTo>
                    <a:pt x="120" y="186"/>
                  </a:lnTo>
                  <a:lnTo>
                    <a:pt x="122" y="186"/>
                  </a:lnTo>
                  <a:lnTo>
                    <a:pt x="124" y="188"/>
                  </a:lnTo>
                  <a:lnTo>
                    <a:pt x="126" y="190"/>
                  </a:lnTo>
                  <a:lnTo>
                    <a:pt x="128" y="192"/>
                  </a:lnTo>
                  <a:lnTo>
                    <a:pt x="130" y="190"/>
                  </a:lnTo>
                  <a:lnTo>
                    <a:pt x="132" y="184"/>
                  </a:lnTo>
                  <a:lnTo>
                    <a:pt x="134" y="182"/>
                  </a:lnTo>
                  <a:lnTo>
                    <a:pt x="136" y="180"/>
                  </a:lnTo>
                  <a:lnTo>
                    <a:pt x="138" y="178"/>
                  </a:lnTo>
                  <a:lnTo>
                    <a:pt x="138" y="176"/>
                  </a:lnTo>
                  <a:lnTo>
                    <a:pt x="140" y="176"/>
                  </a:lnTo>
                  <a:lnTo>
                    <a:pt x="140" y="176"/>
                  </a:lnTo>
                  <a:lnTo>
                    <a:pt x="140" y="176"/>
                  </a:lnTo>
                  <a:lnTo>
                    <a:pt x="142" y="176"/>
                  </a:lnTo>
                  <a:lnTo>
                    <a:pt x="144" y="176"/>
                  </a:lnTo>
                  <a:lnTo>
                    <a:pt x="146" y="176"/>
                  </a:lnTo>
                  <a:lnTo>
                    <a:pt x="152" y="176"/>
                  </a:lnTo>
                  <a:lnTo>
                    <a:pt x="152" y="176"/>
                  </a:lnTo>
                  <a:lnTo>
                    <a:pt x="154" y="176"/>
                  </a:lnTo>
                  <a:lnTo>
                    <a:pt x="158" y="176"/>
                  </a:lnTo>
                  <a:lnTo>
                    <a:pt x="164" y="174"/>
                  </a:lnTo>
                  <a:lnTo>
                    <a:pt x="166" y="174"/>
                  </a:lnTo>
                  <a:lnTo>
                    <a:pt x="170" y="172"/>
                  </a:lnTo>
                  <a:lnTo>
                    <a:pt x="172" y="172"/>
                  </a:lnTo>
                  <a:lnTo>
                    <a:pt x="174" y="172"/>
                  </a:lnTo>
                  <a:lnTo>
                    <a:pt x="176" y="170"/>
                  </a:lnTo>
                  <a:lnTo>
                    <a:pt x="178" y="168"/>
                  </a:lnTo>
                  <a:lnTo>
                    <a:pt x="180" y="166"/>
                  </a:lnTo>
                  <a:lnTo>
                    <a:pt x="182" y="164"/>
                  </a:lnTo>
                  <a:lnTo>
                    <a:pt x="184" y="162"/>
                  </a:lnTo>
                  <a:lnTo>
                    <a:pt x="186" y="160"/>
                  </a:lnTo>
                  <a:lnTo>
                    <a:pt x="188" y="158"/>
                  </a:lnTo>
                  <a:lnTo>
                    <a:pt x="188" y="156"/>
                  </a:lnTo>
                  <a:lnTo>
                    <a:pt x="188" y="156"/>
                  </a:lnTo>
                  <a:lnTo>
                    <a:pt x="190" y="154"/>
                  </a:lnTo>
                  <a:lnTo>
                    <a:pt x="190" y="152"/>
                  </a:lnTo>
                  <a:lnTo>
                    <a:pt x="190" y="148"/>
                  </a:lnTo>
                  <a:lnTo>
                    <a:pt x="190" y="146"/>
                  </a:lnTo>
                  <a:lnTo>
                    <a:pt x="190" y="142"/>
                  </a:lnTo>
                  <a:lnTo>
                    <a:pt x="190" y="140"/>
                  </a:lnTo>
                  <a:lnTo>
                    <a:pt x="190" y="138"/>
                  </a:lnTo>
                  <a:lnTo>
                    <a:pt x="190" y="136"/>
                  </a:lnTo>
                  <a:lnTo>
                    <a:pt x="192" y="136"/>
                  </a:lnTo>
                  <a:lnTo>
                    <a:pt x="192" y="136"/>
                  </a:lnTo>
                  <a:lnTo>
                    <a:pt x="192" y="134"/>
                  </a:lnTo>
                  <a:lnTo>
                    <a:pt x="194" y="134"/>
                  </a:lnTo>
                  <a:lnTo>
                    <a:pt x="194" y="132"/>
                  </a:lnTo>
                  <a:lnTo>
                    <a:pt x="198" y="132"/>
                  </a:lnTo>
                  <a:lnTo>
                    <a:pt x="200" y="130"/>
                  </a:lnTo>
                  <a:lnTo>
                    <a:pt x="202" y="128"/>
                  </a:lnTo>
                  <a:lnTo>
                    <a:pt x="204" y="128"/>
                  </a:lnTo>
                  <a:lnTo>
                    <a:pt x="204" y="126"/>
                  </a:lnTo>
                  <a:lnTo>
                    <a:pt x="204" y="126"/>
                  </a:lnTo>
                  <a:lnTo>
                    <a:pt x="206" y="126"/>
                  </a:lnTo>
                  <a:lnTo>
                    <a:pt x="206" y="124"/>
                  </a:lnTo>
                  <a:lnTo>
                    <a:pt x="206" y="124"/>
                  </a:lnTo>
                  <a:lnTo>
                    <a:pt x="206" y="122"/>
                  </a:lnTo>
                  <a:lnTo>
                    <a:pt x="206" y="12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0" name="Freeform 604">
              <a:extLst>
                <a:ext uri="{FF2B5EF4-FFF2-40B4-BE49-F238E27FC236}">
                  <a16:creationId xmlns:a16="http://schemas.microsoft.com/office/drawing/2014/main" id="{0EF418C0-B432-4EC8-AB3B-B90FD504432C}"/>
                </a:ext>
              </a:extLst>
            </p:cNvPr>
            <p:cNvSpPr>
              <a:spLocks/>
            </p:cNvSpPr>
            <p:nvPr/>
          </p:nvSpPr>
          <p:spPr bwMode="auto">
            <a:xfrm>
              <a:off x="5180283" y="4223585"/>
              <a:ext cx="3464" cy="3464"/>
            </a:xfrm>
            <a:custGeom>
              <a:avLst/>
              <a:gdLst>
                <a:gd name="T0" fmla="*/ 2 w 2"/>
                <a:gd name="T1" fmla="*/ 2 h 2"/>
                <a:gd name="T2" fmla="*/ 2 w 2"/>
                <a:gd name="T3" fmla="*/ 2 h 2"/>
                <a:gd name="T4" fmla="*/ 0 w 2"/>
                <a:gd name="T5" fmla="*/ 0 h 2"/>
                <a:gd name="T6" fmla="*/ 2 w 2"/>
                <a:gd name="T7" fmla="*/ 2 h 2"/>
              </a:gdLst>
              <a:ahLst/>
              <a:cxnLst>
                <a:cxn ang="0">
                  <a:pos x="T0" y="T1"/>
                </a:cxn>
                <a:cxn ang="0">
                  <a:pos x="T2" y="T3"/>
                </a:cxn>
                <a:cxn ang="0">
                  <a:pos x="T4" y="T5"/>
                </a:cxn>
                <a:cxn ang="0">
                  <a:pos x="T6" y="T7"/>
                </a:cxn>
              </a:cxnLst>
              <a:rect l="0" t="0" r="r" b="b"/>
              <a:pathLst>
                <a:path w="2" h="2">
                  <a:moveTo>
                    <a:pt x="2" y="2"/>
                  </a:moveTo>
                  <a:lnTo>
                    <a:pt x="2" y="2"/>
                  </a:lnTo>
                  <a:lnTo>
                    <a:pt x="0" y="0"/>
                  </a:lnTo>
                  <a:lnTo>
                    <a:pt x="2"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1" name="Freeform 605">
              <a:extLst>
                <a:ext uri="{FF2B5EF4-FFF2-40B4-BE49-F238E27FC236}">
                  <a16:creationId xmlns:a16="http://schemas.microsoft.com/office/drawing/2014/main" id="{187104E8-C88D-41DA-A927-4F7610373774}"/>
                </a:ext>
              </a:extLst>
            </p:cNvPr>
            <p:cNvSpPr>
              <a:spLocks/>
            </p:cNvSpPr>
            <p:nvPr/>
          </p:nvSpPr>
          <p:spPr bwMode="auto">
            <a:xfrm>
              <a:off x="5090215" y="4220120"/>
              <a:ext cx="356807" cy="336023"/>
            </a:xfrm>
            <a:custGeom>
              <a:avLst/>
              <a:gdLst>
                <a:gd name="T0" fmla="*/ 202 w 206"/>
                <a:gd name="T1" fmla="*/ 116 h 194"/>
                <a:gd name="T2" fmla="*/ 190 w 206"/>
                <a:gd name="T3" fmla="*/ 108 h 194"/>
                <a:gd name="T4" fmla="*/ 176 w 206"/>
                <a:gd name="T5" fmla="*/ 112 h 194"/>
                <a:gd name="T6" fmla="*/ 168 w 206"/>
                <a:gd name="T7" fmla="*/ 106 h 194"/>
                <a:gd name="T8" fmla="*/ 144 w 206"/>
                <a:gd name="T9" fmla="*/ 80 h 194"/>
                <a:gd name="T10" fmla="*/ 126 w 206"/>
                <a:gd name="T11" fmla="*/ 76 h 194"/>
                <a:gd name="T12" fmla="*/ 122 w 206"/>
                <a:gd name="T13" fmla="*/ 72 h 194"/>
                <a:gd name="T14" fmla="*/ 122 w 206"/>
                <a:gd name="T15" fmla="*/ 58 h 194"/>
                <a:gd name="T16" fmla="*/ 128 w 206"/>
                <a:gd name="T17" fmla="*/ 42 h 194"/>
                <a:gd name="T18" fmla="*/ 120 w 206"/>
                <a:gd name="T19" fmla="*/ 46 h 194"/>
                <a:gd name="T20" fmla="*/ 114 w 206"/>
                <a:gd name="T21" fmla="*/ 38 h 194"/>
                <a:gd name="T22" fmla="*/ 104 w 206"/>
                <a:gd name="T23" fmla="*/ 22 h 194"/>
                <a:gd name="T24" fmla="*/ 88 w 206"/>
                <a:gd name="T25" fmla="*/ 8 h 194"/>
                <a:gd name="T26" fmla="*/ 82 w 206"/>
                <a:gd name="T27" fmla="*/ 6 h 194"/>
                <a:gd name="T28" fmla="*/ 70 w 206"/>
                <a:gd name="T29" fmla="*/ 4 h 194"/>
                <a:gd name="T30" fmla="*/ 54 w 206"/>
                <a:gd name="T31" fmla="*/ 4 h 194"/>
                <a:gd name="T32" fmla="*/ 56 w 206"/>
                <a:gd name="T33" fmla="*/ 18 h 194"/>
                <a:gd name="T34" fmla="*/ 54 w 206"/>
                <a:gd name="T35" fmla="*/ 36 h 194"/>
                <a:gd name="T36" fmla="*/ 48 w 206"/>
                <a:gd name="T37" fmla="*/ 40 h 194"/>
                <a:gd name="T38" fmla="*/ 36 w 206"/>
                <a:gd name="T39" fmla="*/ 42 h 194"/>
                <a:gd name="T40" fmla="*/ 32 w 206"/>
                <a:gd name="T41" fmla="*/ 46 h 194"/>
                <a:gd name="T42" fmla="*/ 34 w 206"/>
                <a:gd name="T43" fmla="*/ 66 h 194"/>
                <a:gd name="T44" fmla="*/ 32 w 206"/>
                <a:gd name="T45" fmla="*/ 74 h 194"/>
                <a:gd name="T46" fmla="*/ 28 w 206"/>
                <a:gd name="T47" fmla="*/ 76 h 194"/>
                <a:gd name="T48" fmla="*/ 20 w 206"/>
                <a:gd name="T49" fmla="*/ 76 h 194"/>
                <a:gd name="T50" fmla="*/ 18 w 206"/>
                <a:gd name="T51" fmla="*/ 82 h 194"/>
                <a:gd name="T52" fmla="*/ 18 w 206"/>
                <a:gd name="T53" fmla="*/ 102 h 194"/>
                <a:gd name="T54" fmla="*/ 14 w 206"/>
                <a:gd name="T55" fmla="*/ 110 h 194"/>
                <a:gd name="T56" fmla="*/ 6 w 206"/>
                <a:gd name="T57" fmla="*/ 108 h 194"/>
                <a:gd name="T58" fmla="*/ 0 w 206"/>
                <a:gd name="T59" fmla="*/ 110 h 194"/>
                <a:gd name="T60" fmla="*/ 2 w 206"/>
                <a:gd name="T61" fmla="*/ 118 h 194"/>
                <a:gd name="T62" fmla="*/ 10 w 206"/>
                <a:gd name="T63" fmla="*/ 126 h 194"/>
                <a:gd name="T64" fmla="*/ 16 w 206"/>
                <a:gd name="T65" fmla="*/ 126 h 194"/>
                <a:gd name="T66" fmla="*/ 16 w 206"/>
                <a:gd name="T67" fmla="*/ 136 h 194"/>
                <a:gd name="T68" fmla="*/ 22 w 206"/>
                <a:gd name="T69" fmla="*/ 142 h 194"/>
                <a:gd name="T70" fmla="*/ 32 w 206"/>
                <a:gd name="T71" fmla="*/ 152 h 194"/>
                <a:gd name="T72" fmla="*/ 36 w 206"/>
                <a:gd name="T73" fmla="*/ 160 h 194"/>
                <a:gd name="T74" fmla="*/ 48 w 206"/>
                <a:gd name="T75" fmla="*/ 170 h 194"/>
                <a:gd name="T76" fmla="*/ 60 w 206"/>
                <a:gd name="T77" fmla="*/ 178 h 194"/>
                <a:gd name="T78" fmla="*/ 64 w 206"/>
                <a:gd name="T79" fmla="*/ 186 h 194"/>
                <a:gd name="T80" fmla="*/ 66 w 206"/>
                <a:gd name="T81" fmla="*/ 192 h 194"/>
                <a:gd name="T82" fmla="*/ 80 w 206"/>
                <a:gd name="T83" fmla="*/ 194 h 194"/>
                <a:gd name="T84" fmla="*/ 92 w 206"/>
                <a:gd name="T85" fmla="*/ 192 h 194"/>
                <a:gd name="T86" fmla="*/ 98 w 206"/>
                <a:gd name="T87" fmla="*/ 186 h 194"/>
                <a:gd name="T88" fmla="*/ 100 w 206"/>
                <a:gd name="T89" fmla="*/ 180 h 194"/>
                <a:gd name="T90" fmla="*/ 114 w 206"/>
                <a:gd name="T91" fmla="*/ 180 h 194"/>
                <a:gd name="T92" fmla="*/ 122 w 206"/>
                <a:gd name="T93" fmla="*/ 186 h 194"/>
                <a:gd name="T94" fmla="*/ 134 w 206"/>
                <a:gd name="T95" fmla="*/ 182 h 194"/>
                <a:gd name="T96" fmla="*/ 140 w 206"/>
                <a:gd name="T97" fmla="*/ 176 h 194"/>
                <a:gd name="T98" fmla="*/ 154 w 206"/>
                <a:gd name="T99" fmla="*/ 176 h 194"/>
                <a:gd name="T100" fmla="*/ 174 w 206"/>
                <a:gd name="T101" fmla="*/ 172 h 194"/>
                <a:gd name="T102" fmla="*/ 186 w 206"/>
                <a:gd name="T103" fmla="*/ 160 h 194"/>
                <a:gd name="T104" fmla="*/ 190 w 206"/>
                <a:gd name="T105" fmla="*/ 148 h 194"/>
                <a:gd name="T106" fmla="*/ 192 w 206"/>
                <a:gd name="T107" fmla="*/ 136 h 194"/>
                <a:gd name="T108" fmla="*/ 200 w 206"/>
                <a:gd name="T109" fmla="*/ 130 h 194"/>
                <a:gd name="T110" fmla="*/ 206 w 206"/>
                <a:gd name="T111" fmla="*/ 12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6" h="194">
                  <a:moveTo>
                    <a:pt x="206" y="122"/>
                  </a:moveTo>
                  <a:lnTo>
                    <a:pt x="206" y="120"/>
                  </a:lnTo>
                  <a:lnTo>
                    <a:pt x="204" y="120"/>
                  </a:lnTo>
                  <a:lnTo>
                    <a:pt x="204" y="118"/>
                  </a:lnTo>
                  <a:lnTo>
                    <a:pt x="204" y="118"/>
                  </a:lnTo>
                  <a:lnTo>
                    <a:pt x="202" y="116"/>
                  </a:lnTo>
                  <a:lnTo>
                    <a:pt x="198" y="114"/>
                  </a:lnTo>
                  <a:lnTo>
                    <a:pt x="196" y="112"/>
                  </a:lnTo>
                  <a:lnTo>
                    <a:pt x="194" y="110"/>
                  </a:lnTo>
                  <a:lnTo>
                    <a:pt x="192" y="110"/>
                  </a:lnTo>
                  <a:lnTo>
                    <a:pt x="192" y="110"/>
                  </a:lnTo>
                  <a:lnTo>
                    <a:pt x="190" y="108"/>
                  </a:lnTo>
                  <a:lnTo>
                    <a:pt x="188" y="110"/>
                  </a:lnTo>
                  <a:lnTo>
                    <a:pt x="186" y="110"/>
                  </a:lnTo>
                  <a:lnTo>
                    <a:pt x="184" y="110"/>
                  </a:lnTo>
                  <a:lnTo>
                    <a:pt x="180" y="110"/>
                  </a:lnTo>
                  <a:lnTo>
                    <a:pt x="178" y="110"/>
                  </a:lnTo>
                  <a:lnTo>
                    <a:pt x="176" y="112"/>
                  </a:lnTo>
                  <a:lnTo>
                    <a:pt x="176" y="110"/>
                  </a:lnTo>
                  <a:lnTo>
                    <a:pt x="174" y="110"/>
                  </a:lnTo>
                  <a:lnTo>
                    <a:pt x="174" y="110"/>
                  </a:lnTo>
                  <a:lnTo>
                    <a:pt x="172" y="108"/>
                  </a:lnTo>
                  <a:lnTo>
                    <a:pt x="170" y="108"/>
                  </a:lnTo>
                  <a:lnTo>
                    <a:pt x="168" y="106"/>
                  </a:lnTo>
                  <a:lnTo>
                    <a:pt x="166" y="104"/>
                  </a:lnTo>
                  <a:lnTo>
                    <a:pt x="162" y="100"/>
                  </a:lnTo>
                  <a:lnTo>
                    <a:pt x="156" y="92"/>
                  </a:lnTo>
                  <a:lnTo>
                    <a:pt x="154" y="90"/>
                  </a:lnTo>
                  <a:lnTo>
                    <a:pt x="150" y="86"/>
                  </a:lnTo>
                  <a:lnTo>
                    <a:pt x="144" y="80"/>
                  </a:lnTo>
                  <a:lnTo>
                    <a:pt x="140" y="76"/>
                  </a:lnTo>
                  <a:lnTo>
                    <a:pt x="138" y="76"/>
                  </a:lnTo>
                  <a:lnTo>
                    <a:pt x="134" y="76"/>
                  </a:lnTo>
                  <a:lnTo>
                    <a:pt x="132" y="76"/>
                  </a:lnTo>
                  <a:lnTo>
                    <a:pt x="130" y="76"/>
                  </a:lnTo>
                  <a:lnTo>
                    <a:pt x="126" y="76"/>
                  </a:lnTo>
                  <a:lnTo>
                    <a:pt x="126" y="76"/>
                  </a:lnTo>
                  <a:lnTo>
                    <a:pt x="124" y="76"/>
                  </a:lnTo>
                  <a:lnTo>
                    <a:pt x="124" y="74"/>
                  </a:lnTo>
                  <a:lnTo>
                    <a:pt x="122" y="74"/>
                  </a:lnTo>
                  <a:lnTo>
                    <a:pt x="122" y="74"/>
                  </a:lnTo>
                  <a:lnTo>
                    <a:pt x="122" y="72"/>
                  </a:lnTo>
                  <a:lnTo>
                    <a:pt x="122" y="72"/>
                  </a:lnTo>
                  <a:lnTo>
                    <a:pt x="122" y="70"/>
                  </a:lnTo>
                  <a:lnTo>
                    <a:pt x="122" y="68"/>
                  </a:lnTo>
                  <a:lnTo>
                    <a:pt x="122" y="66"/>
                  </a:lnTo>
                  <a:lnTo>
                    <a:pt x="122" y="62"/>
                  </a:lnTo>
                  <a:lnTo>
                    <a:pt x="122" y="58"/>
                  </a:lnTo>
                  <a:lnTo>
                    <a:pt x="124" y="54"/>
                  </a:lnTo>
                  <a:lnTo>
                    <a:pt x="124" y="50"/>
                  </a:lnTo>
                  <a:lnTo>
                    <a:pt x="126" y="46"/>
                  </a:lnTo>
                  <a:lnTo>
                    <a:pt x="126" y="46"/>
                  </a:lnTo>
                  <a:lnTo>
                    <a:pt x="128" y="42"/>
                  </a:lnTo>
                  <a:lnTo>
                    <a:pt x="128" y="42"/>
                  </a:lnTo>
                  <a:lnTo>
                    <a:pt x="128" y="42"/>
                  </a:lnTo>
                  <a:lnTo>
                    <a:pt x="126" y="44"/>
                  </a:lnTo>
                  <a:lnTo>
                    <a:pt x="122" y="44"/>
                  </a:lnTo>
                  <a:lnTo>
                    <a:pt x="122" y="44"/>
                  </a:lnTo>
                  <a:lnTo>
                    <a:pt x="122" y="46"/>
                  </a:lnTo>
                  <a:lnTo>
                    <a:pt x="120" y="46"/>
                  </a:lnTo>
                  <a:lnTo>
                    <a:pt x="120" y="46"/>
                  </a:lnTo>
                  <a:lnTo>
                    <a:pt x="120" y="44"/>
                  </a:lnTo>
                  <a:lnTo>
                    <a:pt x="118" y="44"/>
                  </a:lnTo>
                  <a:lnTo>
                    <a:pt x="118" y="44"/>
                  </a:lnTo>
                  <a:lnTo>
                    <a:pt x="116" y="40"/>
                  </a:lnTo>
                  <a:lnTo>
                    <a:pt x="114" y="38"/>
                  </a:lnTo>
                  <a:lnTo>
                    <a:pt x="114" y="38"/>
                  </a:lnTo>
                  <a:lnTo>
                    <a:pt x="110" y="30"/>
                  </a:lnTo>
                  <a:lnTo>
                    <a:pt x="110" y="30"/>
                  </a:lnTo>
                  <a:lnTo>
                    <a:pt x="106" y="26"/>
                  </a:lnTo>
                  <a:lnTo>
                    <a:pt x="106" y="26"/>
                  </a:lnTo>
                  <a:lnTo>
                    <a:pt x="104" y="22"/>
                  </a:lnTo>
                  <a:lnTo>
                    <a:pt x="100" y="18"/>
                  </a:lnTo>
                  <a:lnTo>
                    <a:pt x="100" y="18"/>
                  </a:lnTo>
                  <a:lnTo>
                    <a:pt x="94" y="12"/>
                  </a:lnTo>
                  <a:lnTo>
                    <a:pt x="94" y="10"/>
                  </a:lnTo>
                  <a:lnTo>
                    <a:pt x="92" y="12"/>
                  </a:lnTo>
                  <a:lnTo>
                    <a:pt x="88" y="8"/>
                  </a:lnTo>
                  <a:lnTo>
                    <a:pt x="86" y="10"/>
                  </a:lnTo>
                  <a:lnTo>
                    <a:pt x="84" y="8"/>
                  </a:lnTo>
                  <a:lnTo>
                    <a:pt x="82" y="10"/>
                  </a:lnTo>
                  <a:lnTo>
                    <a:pt x="82" y="10"/>
                  </a:lnTo>
                  <a:lnTo>
                    <a:pt x="82" y="6"/>
                  </a:lnTo>
                  <a:lnTo>
                    <a:pt x="82" y="6"/>
                  </a:lnTo>
                  <a:lnTo>
                    <a:pt x="76" y="8"/>
                  </a:lnTo>
                  <a:lnTo>
                    <a:pt x="76" y="8"/>
                  </a:lnTo>
                  <a:lnTo>
                    <a:pt x="72" y="8"/>
                  </a:lnTo>
                  <a:lnTo>
                    <a:pt x="72" y="8"/>
                  </a:lnTo>
                  <a:lnTo>
                    <a:pt x="70" y="4"/>
                  </a:lnTo>
                  <a:lnTo>
                    <a:pt x="70" y="4"/>
                  </a:lnTo>
                  <a:lnTo>
                    <a:pt x="68" y="4"/>
                  </a:lnTo>
                  <a:lnTo>
                    <a:pt x="66" y="0"/>
                  </a:lnTo>
                  <a:lnTo>
                    <a:pt x="60" y="8"/>
                  </a:lnTo>
                  <a:lnTo>
                    <a:pt x="58" y="4"/>
                  </a:lnTo>
                  <a:lnTo>
                    <a:pt x="54" y="4"/>
                  </a:lnTo>
                  <a:lnTo>
                    <a:pt x="54" y="4"/>
                  </a:lnTo>
                  <a:lnTo>
                    <a:pt x="54" y="4"/>
                  </a:lnTo>
                  <a:lnTo>
                    <a:pt x="54" y="8"/>
                  </a:lnTo>
                  <a:lnTo>
                    <a:pt x="54" y="10"/>
                  </a:lnTo>
                  <a:lnTo>
                    <a:pt x="56" y="12"/>
                  </a:lnTo>
                  <a:lnTo>
                    <a:pt x="56" y="16"/>
                  </a:lnTo>
                  <a:lnTo>
                    <a:pt x="56" y="18"/>
                  </a:lnTo>
                  <a:lnTo>
                    <a:pt x="56" y="22"/>
                  </a:lnTo>
                  <a:lnTo>
                    <a:pt x="56" y="24"/>
                  </a:lnTo>
                  <a:lnTo>
                    <a:pt x="56" y="28"/>
                  </a:lnTo>
                  <a:lnTo>
                    <a:pt x="56" y="30"/>
                  </a:lnTo>
                  <a:lnTo>
                    <a:pt x="54" y="32"/>
                  </a:lnTo>
                  <a:lnTo>
                    <a:pt x="54" y="36"/>
                  </a:lnTo>
                  <a:lnTo>
                    <a:pt x="54" y="38"/>
                  </a:lnTo>
                  <a:lnTo>
                    <a:pt x="52" y="38"/>
                  </a:lnTo>
                  <a:lnTo>
                    <a:pt x="52" y="40"/>
                  </a:lnTo>
                  <a:lnTo>
                    <a:pt x="50" y="40"/>
                  </a:lnTo>
                  <a:lnTo>
                    <a:pt x="50" y="40"/>
                  </a:lnTo>
                  <a:lnTo>
                    <a:pt x="48" y="40"/>
                  </a:lnTo>
                  <a:lnTo>
                    <a:pt x="46" y="40"/>
                  </a:lnTo>
                  <a:lnTo>
                    <a:pt x="44" y="40"/>
                  </a:lnTo>
                  <a:lnTo>
                    <a:pt x="40" y="40"/>
                  </a:lnTo>
                  <a:lnTo>
                    <a:pt x="38" y="40"/>
                  </a:lnTo>
                  <a:lnTo>
                    <a:pt x="36" y="40"/>
                  </a:lnTo>
                  <a:lnTo>
                    <a:pt x="36" y="42"/>
                  </a:lnTo>
                  <a:lnTo>
                    <a:pt x="34" y="42"/>
                  </a:lnTo>
                  <a:lnTo>
                    <a:pt x="34" y="42"/>
                  </a:lnTo>
                  <a:lnTo>
                    <a:pt x="34" y="42"/>
                  </a:lnTo>
                  <a:lnTo>
                    <a:pt x="34" y="44"/>
                  </a:lnTo>
                  <a:lnTo>
                    <a:pt x="32" y="44"/>
                  </a:lnTo>
                  <a:lnTo>
                    <a:pt x="32" y="46"/>
                  </a:lnTo>
                  <a:lnTo>
                    <a:pt x="32" y="48"/>
                  </a:lnTo>
                  <a:lnTo>
                    <a:pt x="32" y="52"/>
                  </a:lnTo>
                  <a:lnTo>
                    <a:pt x="32" y="54"/>
                  </a:lnTo>
                  <a:lnTo>
                    <a:pt x="32" y="58"/>
                  </a:lnTo>
                  <a:lnTo>
                    <a:pt x="34" y="64"/>
                  </a:lnTo>
                  <a:lnTo>
                    <a:pt x="34" y="66"/>
                  </a:lnTo>
                  <a:lnTo>
                    <a:pt x="34" y="68"/>
                  </a:lnTo>
                  <a:lnTo>
                    <a:pt x="34" y="70"/>
                  </a:lnTo>
                  <a:lnTo>
                    <a:pt x="32" y="72"/>
                  </a:lnTo>
                  <a:lnTo>
                    <a:pt x="32" y="74"/>
                  </a:lnTo>
                  <a:lnTo>
                    <a:pt x="32" y="74"/>
                  </a:lnTo>
                  <a:lnTo>
                    <a:pt x="32" y="74"/>
                  </a:lnTo>
                  <a:lnTo>
                    <a:pt x="32" y="76"/>
                  </a:lnTo>
                  <a:lnTo>
                    <a:pt x="30" y="76"/>
                  </a:lnTo>
                  <a:lnTo>
                    <a:pt x="30" y="76"/>
                  </a:lnTo>
                  <a:lnTo>
                    <a:pt x="30" y="76"/>
                  </a:lnTo>
                  <a:lnTo>
                    <a:pt x="28" y="76"/>
                  </a:lnTo>
                  <a:lnTo>
                    <a:pt x="28" y="76"/>
                  </a:lnTo>
                  <a:lnTo>
                    <a:pt x="26" y="76"/>
                  </a:lnTo>
                  <a:lnTo>
                    <a:pt x="24" y="76"/>
                  </a:lnTo>
                  <a:lnTo>
                    <a:pt x="22" y="76"/>
                  </a:lnTo>
                  <a:lnTo>
                    <a:pt x="22" y="76"/>
                  </a:lnTo>
                  <a:lnTo>
                    <a:pt x="20" y="76"/>
                  </a:lnTo>
                  <a:lnTo>
                    <a:pt x="20" y="76"/>
                  </a:lnTo>
                  <a:lnTo>
                    <a:pt x="20" y="76"/>
                  </a:lnTo>
                  <a:lnTo>
                    <a:pt x="18" y="76"/>
                  </a:lnTo>
                  <a:lnTo>
                    <a:pt x="18" y="78"/>
                  </a:lnTo>
                  <a:lnTo>
                    <a:pt x="18" y="78"/>
                  </a:lnTo>
                  <a:lnTo>
                    <a:pt x="18" y="80"/>
                  </a:lnTo>
                  <a:lnTo>
                    <a:pt x="18" y="82"/>
                  </a:lnTo>
                  <a:lnTo>
                    <a:pt x="16" y="84"/>
                  </a:lnTo>
                  <a:lnTo>
                    <a:pt x="18" y="88"/>
                  </a:lnTo>
                  <a:lnTo>
                    <a:pt x="18" y="92"/>
                  </a:lnTo>
                  <a:lnTo>
                    <a:pt x="18" y="98"/>
                  </a:lnTo>
                  <a:lnTo>
                    <a:pt x="18" y="100"/>
                  </a:lnTo>
                  <a:lnTo>
                    <a:pt x="18" y="102"/>
                  </a:lnTo>
                  <a:lnTo>
                    <a:pt x="18" y="104"/>
                  </a:lnTo>
                  <a:lnTo>
                    <a:pt x="18" y="106"/>
                  </a:lnTo>
                  <a:lnTo>
                    <a:pt x="16" y="108"/>
                  </a:lnTo>
                  <a:lnTo>
                    <a:pt x="16" y="108"/>
                  </a:lnTo>
                  <a:lnTo>
                    <a:pt x="16" y="108"/>
                  </a:lnTo>
                  <a:lnTo>
                    <a:pt x="14" y="110"/>
                  </a:lnTo>
                  <a:lnTo>
                    <a:pt x="14" y="110"/>
                  </a:lnTo>
                  <a:lnTo>
                    <a:pt x="14" y="110"/>
                  </a:lnTo>
                  <a:lnTo>
                    <a:pt x="12" y="110"/>
                  </a:lnTo>
                  <a:lnTo>
                    <a:pt x="10" y="110"/>
                  </a:lnTo>
                  <a:lnTo>
                    <a:pt x="8" y="110"/>
                  </a:lnTo>
                  <a:lnTo>
                    <a:pt x="6" y="108"/>
                  </a:lnTo>
                  <a:lnTo>
                    <a:pt x="4" y="108"/>
                  </a:lnTo>
                  <a:lnTo>
                    <a:pt x="2" y="108"/>
                  </a:lnTo>
                  <a:lnTo>
                    <a:pt x="2" y="110"/>
                  </a:lnTo>
                  <a:lnTo>
                    <a:pt x="0" y="110"/>
                  </a:lnTo>
                  <a:lnTo>
                    <a:pt x="0" y="110"/>
                  </a:lnTo>
                  <a:lnTo>
                    <a:pt x="0" y="110"/>
                  </a:lnTo>
                  <a:lnTo>
                    <a:pt x="0" y="112"/>
                  </a:lnTo>
                  <a:lnTo>
                    <a:pt x="0" y="112"/>
                  </a:lnTo>
                  <a:lnTo>
                    <a:pt x="0" y="114"/>
                  </a:lnTo>
                  <a:lnTo>
                    <a:pt x="0" y="114"/>
                  </a:lnTo>
                  <a:lnTo>
                    <a:pt x="2" y="116"/>
                  </a:lnTo>
                  <a:lnTo>
                    <a:pt x="2" y="118"/>
                  </a:lnTo>
                  <a:lnTo>
                    <a:pt x="4" y="120"/>
                  </a:lnTo>
                  <a:lnTo>
                    <a:pt x="6" y="122"/>
                  </a:lnTo>
                  <a:lnTo>
                    <a:pt x="8" y="124"/>
                  </a:lnTo>
                  <a:lnTo>
                    <a:pt x="8" y="124"/>
                  </a:lnTo>
                  <a:lnTo>
                    <a:pt x="10" y="124"/>
                  </a:lnTo>
                  <a:lnTo>
                    <a:pt x="10" y="126"/>
                  </a:lnTo>
                  <a:lnTo>
                    <a:pt x="12" y="126"/>
                  </a:lnTo>
                  <a:lnTo>
                    <a:pt x="14" y="126"/>
                  </a:lnTo>
                  <a:lnTo>
                    <a:pt x="14" y="126"/>
                  </a:lnTo>
                  <a:lnTo>
                    <a:pt x="16" y="126"/>
                  </a:lnTo>
                  <a:lnTo>
                    <a:pt x="16" y="126"/>
                  </a:lnTo>
                  <a:lnTo>
                    <a:pt x="16" y="126"/>
                  </a:lnTo>
                  <a:lnTo>
                    <a:pt x="16" y="128"/>
                  </a:lnTo>
                  <a:lnTo>
                    <a:pt x="16" y="128"/>
                  </a:lnTo>
                  <a:lnTo>
                    <a:pt x="16" y="130"/>
                  </a:lnTo>
                  <a:lnTo>
                    <a:pt x="16" y="132"/>
                  </a:lnTo>
                  <a:lnTo>
                    <a:pt x="16" y="136"/>
                  </a:lnTo>
                  <a:lnTo>
                    <a:pt x="16" y="136"/>
                  </a:lnTo>
                  <a:lnTo>
                    <a:pt x="16" y="138"/>
                  </a:lnTo>
                  <a:lnTo>
                    <a:pt x="16" y="138"/>
                  </a:lnTo>
                  <a:lnTo>
                    <a:pt x="18" y="138"/>
                  </a:lnTo>
                  <a:lnTo>
                    <a:pt x="18" y="140"/>
                  </a:lnTo>
                  <a:lnTo>
                    <a:pt x="20" y="140"/>
                  </a:lnTo>
                  <a:lnTo>
                    <a:pt x="22" y="142"/>
                  </a:lnTo>
                  <a:lnTo>
                    <a:pt x="24" y="144"/>
                  </a:lnTo>
                  <a:lnTo>
                    <a:pt x="26" y="146"/>
                  </a:lnTo>
                  <a:lnTo>
                    <a:pt x="28" y="146"/>
                  </a:lnTo>
                  <a:lnTo>
                    <a:pt x="28" y="148"/>
                  </a:lnTo>
                  <a:lnTo>
                    <a:pt x="30" y="150"/>
                  </a:lnTo>
                  <a:lnTo>
                    <a:pt x="32" y="152"/>
                  </a:lnTo>
                  <a:lnTo>
                    <a:pt x="34" y="154"/>
                  </a:lnTo>
                  <a:lnTo>
                    <a:pt x="34" y="156"/>
                  </a:lnTo>
                  <a:lnTo>
                    <a:pt x="36" y="158"/>
                  </a:lnTo>
                  <a:lnTo>
                    <a:pt x="36" y="158"/>
                  </a:lnTo>
                  <a:lnTo>
                    <a:pt x="36" y="160"/>
                  </a:lnTo>
                  <a:lnTo>
                    <a:pt x="36" y="160"/>
                  </a:lnTo>
                  <a:lnTo>
                    <a:pt x="36" y="164"/>
                  </a:lnTo>
                  <a:lnTo>
                    <a:pt x="34" y="168"/>
                  </a:lnTo>
                  <a:lnTo>
                    <a:pt x="36" y="168"/>
                  </a:lnTo>
                  <a:lnTo>
                    <a:pt x="42" y="168"/>
                  </a:lnTo>
                  <a:lnTo>
                    <a:pt x="46" y="170"/>
                  </a:lnTo>
                  <a:lnTo>
                    <a:pt x="48" y="170"/>
                  </a:lnTo>
                  <a:lnTo>
                    <a:pt x="50" y="172"/>
                  </a:lnTo>
                  <a:lnTo>
                    <a:pt x="52" y="172"/>
                  </a:lnTo>
                  <a:lnTo>
                    <a:pt x="54" y="174"/>
                  </a:lnTo>
                  <a:lnTo>
                    <a:pt x="56" y="174"/>
                  </a:lnTo>
                  <a:lnTo>
                    <a:pt x="58" y="176"/>
                  </a:lnTo>
                  <a:lnTo>
                    <a:pt x="60" y="178"/>
                  </a:lnTo>
                  <a:lnTo>
                    <a:pt x="62" y="178"/>
                  </a:lnTo>
                  <a:lnTo>
                    <a:pt x="62" y="180"/>
                  </a:lnTo>
                  <a:lnTo>
                    <a:pt x="64" y="182"/>
                  </a:lnTo>
                  <a:lnTo>
                    <a:pt x="64" y="182"/>
                  </a:lnTo>
                  <a:lnTo>
                    <a:pt x="64" y="184"/>
                  </a:lnTo>
                  <a:lnTo>
                    <a:pt x="64" y="186"/>
                  </a:lnTo>
                  <a:lnTo>
                    <a:pt x="64" y="188"/>
                  </a:lnTo>
                  <a:lnTo>
                    <a:pt x="64" y="190"/>
                  </a:lnTo>
                  <a:lnTo>
                    <a:pt x="64" y="190"/>
                  </a:lnTo>
                  <a:lnTo>
                    <a:pt x="66" y="192"/>
                  </a:lnTo>
                  <a:lnTo>
                    <a:pt x="66" y="192"/>
                  </a:lnTo>
                  <a:lnTo>
                    <a:pt x="66" y="192"/>
                  </a:lnTo>
                  <a:lnTo>
                    <a:pt x="68" y="192"/>
                  </a:lnTo>
                  <a:lnTo>
                    <a:pt x="70" y="194"/>
                  </a:lnTo>
                  <a:lnTo>
                    <a:pt x="72" y="194"/>
                  </a:lnTo>
                  <a:lnTo>
                    <a:pt x="74" y="194"/>
                  </a:lnTo>
                  <a:lnTo>
                    <a:pt x="76" y="194"/>
                  </a:lnTo>
                  <a:lnTo>
                    <a:pt x="80" y="194"/>
                  </a:lnTo>
                  <a:lnTo>
                    <a:pt x="82" y="194"/>
                  </a:lnTo>
                  <a:lnTo>
                    <a:pt x="84" y="194"/>
                  </a:lnTo>
                  <a:lnTo>
                    <a:pt x="86" y="194"/>
                  </a:lnTo>
                  <a:lnTo>
                    <a:pt x="88" y="192"/>
                  </a:lnTo>
                  <a:lnTo>
                    <a:pt x="90" y="192"/>
                  </a:lnTo>
                  <a:lnTo>
                    <a:pt x="92" y="192"/>
                  </a:lnTo>
                  <a:lnTo>
                    <a:pt x="94" y="190"/>
                  </a:lnTo>
                  <a:lnTo>
                    <a:pt x="96" y="190"/>
                  </a:lnTo>
                  <a:lnTo>
                    <a:pt x="98" y="188"/>
                  </a:lnTo>
                  <a:lnTo>
                    <a:pt x="98" y="188"/>
                  </a:lnTo>
                  <a:lnTo>
                    <a:pt x="98" y="188"/>
                  </a:lnTo>
                  <a:lnTo>
                    <a:pt x="98" y="186"/>
                  </a:lnTo>
                  <a:lnTo>
                    <a:pt x="96" y="184"/>
                  </a:lnTo>
                  <a:lnTo>
                    <a:pt x="96" y="184"/>
                  </a:lnTo>
                  <a:lnTo>
                    <a:pt x="98" y="182"/>
                  </a:lnTo>
                  <a:lnTo>
                    <a:pt x="98" y="182"/>
                  </a:lnTo>
                  <a:lnTo>
                    <a:pt x="98" y="182"/>
                  </a:lnTo>
                  <a:lnTo>
                    <a:pt x="100" y="180"/>
                  </a:lnTo>
                  <a:lnTo>
                    <a:pt x="100" y="180"/>
                  </a:lnTo>
                  <a:lnTo>
                    <a:pt x="104" y="180"/>
                  </a:lnTo>
                  <a:lnTo>
                    <a:pt x="106" y="180"/>
                  </a:lnTo>
                  <a:lnTo>
                    <a:pt x="110" y="180"/>
                  </a:lnTo>
                  <a:lnTo>
                    <a:pt x="112" y="180"/>
                  </a:lnTo>
                  <a:lnTo>
                    <a:pt x="114" y="180"/>
                  </a:lnTo>
                  <a:lnTo>
                    <a:pt x="116" y="182"/>
                  </a:lnTo>
                  <a:lnTo>
                    <a:pt x="118" y="182"/>
                  </a:lnTo>
                  <a:lnTo>
                    <a:pt x="118" y="182"/>
                  </a:lnTo>
                  <a:lnTo>
                    <a:pt x="120" y="184"/>
                  </a:lnTo>
                  <a:lnTo>
                    <a:pt x="120" y="186"/>
                  </a:lnTo>
                  <a:lnTo>
                    <a:pt x="122" y="186"/>
                  </a:lnTo>
                  <a:lnTo>
                    <a:pt x="124" y="188"/>
                  </a:lnTo>
                  <a:lnTo>
                    <a:pt x="126" y="190"/>
                  </a:lnTo>
                  <a:lnTo>
                    <a:pt x="128" y="192"/>
                  </a:lnTo>
                  <a:lnTo>
                    <a:pt x="130" y="190"/>
                  </a:lnTo>
                  <a:lnTo>
                    <a:pt x="132" y="184"/>
                  </a:lnTo>
                  <a:lnTo>
                    <a:pt x="134" y="182"/>
                  </a:lnTo>
                  <a:lnTo>
                    <a:pt x="136" y="180"/>
                  </a:lnTo>
                  <a:lnTo>
                    <a:pt x="138" y="178"/>
                  </a:lnTo>
                  <a:lnTo>
                    <a:pt x="138" y="176"/>
                  </a:lnTo>
                  <a:lnTo>
                    <a:pt x="140" y="176"/>
                  </a:lnTo>
                  <a:lnTo>
                    <a:pt x="140" y="176"/>
                  </a:lnTo>
                  <a:lnTo>
                    <a:pt x="140" y="176"/>
                  </a:lnTo>
                  <a:lnTo>
                    <a:pt x="142" y="176"/>
                  </a:lnTo>
                  <a:lnTo>
                    <a:pt x="144" y="176"/>
                  </a:lnTo>
                  <a:lnTo>
                    <a:pt x="146" y="176"/>
                  </a:lnTo>
                  <a:lnTo>
                    <a:pt x="152" y="176"/>
                  </a:lnTo>
                  <a:lnTo>
                    <a:pt x="152" y="176"/>
                  </a:lnTo>
                  <a:lnTo>
                    <a:pt x="154" y="176"/>
                  </a:lnTo>
                  <a:lnTo>
                    <a:pt x="158" y="176"/>
                  </a:lnTo>
                  <a:lnTo>
                    <a:pt x="164" y="174"/>
                  </a:lnTo>
                  <a:lnTo>
                    <a:pt x="166" y="174"/>
                  </a:lnTo>
                  <a:lnTo>
                    <a:pt x="170" y="172"/>
                  </a:lnTo>
                  <a:lnTo>
                    <a:pt x="172" y="172"/>
                  </a:lnTo>
                  <a:lnTo>
                    <a:pt x="174" y="172"/>
                  </a:lnTo>
                  <a:lnTo>
                    <a:pt x="176" y="170"/>
                  </a:lnTo>
                  <a:lnTo>
                    <a:pt x="178" y="168"/>
                  </a:lnTo>
                  <a:lnTo>
                    <a:pt x="180" y="166"/>
                  </a:lnTo>
                  <a:lnTo>
                    <a:pt x="182" y="164"/>
                  </a:lnTo>
                  <a:lnTo>
                    <a:pt x="184" y="162"/>
                  </a:lnTo>
                  <a:lnTo>
                    <a:pt x="186" y="160"/>
                  </a:lnTo>
                  <a:lnTo>
                    <a:pt x="188" y="158"/>
                  </a:lnTo>
                  <a:lnTo>
                    <a:pt x="188" y="156"/>
                  </a:lnTo>
                  <a:lnTo>
                    <a:pt x="188" y="156"/>
                  </a:lnTo>
                  <a:lnTo>
                    <a:pt x="190" y="154"/>
                  </a:lnTo>
                  <a:lnTo>
                    <a:pt x="190" y="152"/>
                  </a:lnTo>
                  <a:lnTo>
                    <a:pt x="190" y="148"/>
                  </a:lnTo>
                  <a:lnTo>
                    <a:pt x="190" y="146"/>
                  </a:lnTo>
                  <a:lnTo>
                    <a:pt x="190" y="142"/>
                  </a:lnTo>
                  <a:lnTo>
                    <a:pt x="190" y="140"/>
                  </a:lnTo>
                  <a:lnTo>
                    <a:pt x="190" y="138"/>
                  </a:lnTo>
                  <a:lnTo>
                    <a:pt x="190" y="136"/>
                  </a:lnTo>
                  <a:lnTo>
                    <a:pt x="192" y="136"/>
                  </a:lnTo>
                  <a:lnTo>
                    <a:pt x="192" y="136"/>
                  </a:lnTo>
                  <a:lnTo>
                    <a:pt x="192" y="134"/>
                  </a:lnTo>
                  <a:lnTo>
                    <a:pt x="194" y="134"/>
                  </a:lnTo>
                  <a:lnTo>
                    <a:pt x="194" y="132"/>
                  </a:lnTo>
                  <a:lnTo>
                    <a:pt x="198" y="132"/>
                  </a:lnTo>
                  <a:lnTo>
                    <a:pt x="200" y="130"/>
                  </a:lnTo>
                  <a:lnTo>
                    <a:pt x="202" y="128"/>
                  </a:lnTo>
                  <a:lnTo>
                    <a:pt x="204" y="128"/>
                  </a:lnTo>
                  <a:lnTo>
                    <a:pt x="204" y="126"/>
                  </a:lnTo>
                  <a:lnTo>
                    <a:pt x="204" y="126"/>
                  </a:lnTo>
                  <a:lnTo>
                    <a:pt x="206" y="126"/>
                  </a:lnTo>
                  <a:lnTo>
                    <a:pt x="206" y="124"/>
                  </a:lnTo>
                  <a:lnTo>
                    <a:pt x="206" y="124"/>
                  </a:lnTo>
                  <a:lnTo>
                    <a:pt x="206" y="122"/>
                  </a:lnTo>
                  <a:lnTo>
                    <a:pt x="206" y="12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2" name="Freeform 606">
              <a:extLst>
                <a:ext uri="{FF2B5EF4-FFF2-40B4-BE49-F238E27FC236}">
                  <a16:creationId xmlns:a16="http://schemas.microsoft.com/office/drawing/2014/main" id="{274031B4-C562-4A92-A8A1-C7D97FA19790}"/>
                </a:ext>
              </a:extLst>
            </p:cNvPr>
            <p:cNvSpPr>
              <a:spLocks/>
            </p:cNvSpPr>
            <p:nvPr/>
          </p:nvSpPr>
          <p:spPr bwMode="auto">
            <a:xfrm>
              <a:off x="5180283" y="4223585"/>
              <a:ext cx="3464" cy="3464"/>
            </a:xfrm>
            <a:custGeom>
              <a:avLst/>
              <a:gdLst>
                <a:gd name="T0" fmla="*/ 2 w 2"/>
                <a:gd name="T1" fmla="*/ 2 h 2"/>
                <a:gd name="T2" fmla="*/ 2 w 2"/>
                <a:gd name="T3" fmla="*/ 2 h 2"/>
                <a:gd name="T4" fmla="*/ 0 w 2"/>
                <a:gd name="T5" fmla="*/ 0 h 2"/>
                <a:gd name="T6" fmla="*/ 2 w 2"/>
                <a:gd name="T7" fmla="*/ 2 h 2"/>
              </a:gdLst>
              <a:ahLst/>
              <a:cxnLst>
                <a:cxn ang="0">
                  <a:pos x="T0" y="T1"/>
                </a:cxn>
                <a:cxn ang="0">
                  <a:pos x="T2" y="T3"/>
                </a:cxn>
                <a:cxn ang="0">
                  <a:pos x="T4" y="T5"/>
                </a:cxn>
                <a:cxn ang="0">
                  <a:pos x="T6" y="T7"/>
                </a:cxn>
              </a:cxnLst>
              <a:rect l="0" t="0" r="r" b="b"/>
              <a:pathLst>
                <a:path w="2" h="2">
                  <a:moveTo>
                    <a:pt x="2" y="2"/>
                  </a:moveTo>
                  <a:lnTo>
                    <a:pt x="2" y="2"/>
                  </a:lnTo>
                  <a:lnTo>
                    <a:pt x="0" y="0"/>
                  </a:lnTo>
                  <a:lnTo>
                    <a:pt x="2"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3" name="Freeform 607">
              <a:extLst>
                <a:ext uri="{FF2B5EF4-FFF2-40B4-BE49-F238E27FC236}">
                  <a16:creationId xmlns:a16="http://schemas.microsoft.com/office/drawing/2014/main" id="{0E4EFC12-D86C-4913-9ABD-C99E27E29BDB}"/>
                </a:ext>
              </a:extLst>
            </p:cNvPr>
            <p:cNvSpPr>
              <a:spLocks/>
            </p:cNvSpPr>
            <p:nvPr/>
          </p:nvSpPr>
          <p:spPr bwMode="auto">
            <a:xfrm>
              <a:off x="5159498" y="4067698"/>
              <a:ext cx="155887" cy="232098"/>
            </a:xfrm>
            <a:custGeom>
              <a:avLst/>
              <a:gdLst>
                <a:gd name="T0" fmla="*/ 0 w 90"/>
                <a:gd name="T1" fmla="*/ 84 h 134"/>
                <a:gd name="T2" fmla="*/ 4 w 90"/>
                <a:gd name="T3" fmla="*/ 86 h 134"/>
                <a:gd name="T4" fmla="*/ 8 w 90"/>
                <a:gd name="T5" fmla="*/ 86 h 134"/>
                <a:gd name="T6" fmla="*/ 10 w 90"/>
                <a:gd name="T7" fmla="*/ 88 h 134"/>
                <a:gd name="T8" fmla="*/ 14 w 90"/>
                <a:gd name="T9" fmla="*/ 92 h 134"/>
                <a:gd name="T10" fmla="*/ 20 w 90"/>
                <a:gd name="T11" fmla="*/ 96 h 134"/>
                <a:gd name="T12" fmla="*/ 28 w 90"/>
                <a:gd name="T13" fmla="*/ 92 h 134"/>
                <a:gd name="T14" fmla="*/ 32 w 90"/>
                <a:gd name="T15" fmla="*/ 96 h 134"/>
                <a:gd name="T16" fmla="*/ 36 w 90"/>
                <a:gd name="T17" fmla="*/ 96 h 134"/>
                <a:gd name="T18" fmla="*/ 42 w 90"/>
                <a:gd name="T19" fmla="*/ 98 h 134"/>
                <a:gd name="T20" fmla="*/ 48 w 90"/>
                <a:gd name="T21" fmla="*/ 96 h 134"/>
                <a:gd name="T22" fmla="*/ 54 w 90"/>
                <a:gd name="T23" fmla="*/ 100 h 134"/>
                <a:gd name="T24" fmla="*/ 60 w 90"/>
                <a:gd name="T25" fmla="*/ 106 h 134"/>
                <a:gd name="T26" fmla="*/ 66 w 90"/>
                <a:gd name="T27" fmla="*/ 114 h 134"/>
                <a:gd name="T28" fmla="*/ 74 w 90"/>
                <a:gd name="T29" fmla="*/ 126 h 134"/>
                <a:gd name="T30" fmla="*/ 78 w 90"/>
                <a:gd name="T31" fmla="*/ 132 h 134"/>
                <a:gd name="T32" fmla="*/ 80 w 90"/>
                <a:gd name="T33" fmla="*/ 134 h 134"/>
                <a:gd name="T34" fmla="*/ 82 w 90"/>
                <a:gd name="T35" fmla="*/ 132 h 134"/>
                <a:gd name="T36" fmla="*/ 88 w 90"/>
                <a:gd name="T37" fmla="*/ 130 h 134"/>
                <a:gd name="T38" fmla="*/ 88 w 90"/>
                <a:gd name="T39" fmla="*/ 126 h 134"/>
                <a:gd name="T40" fmla="*/ 90 w 90"/>
                <a:gd name="T41" fmla="*/ 122 h 134"/>
                <a:gd name="T42" fmla="*/ 88 w 90"/>
                <a:gd name="T43" fmla="*/ 118 h 134"/>
                <a:gd name="T44" fmla="*/ 80 w 90"/>
                <a:gd name="T45" fmla="*/ 106 h 134"/>
                <a:gd name="T46" fmla="*/ 78 w 90"/>
                <a:gd name="T47" fmla="*/ 100 h 134"/>
                <a:gd name="T48" fmla="*/ 74 w 90"/>
                <a:gd name="T49" fmla="*/ 90 h 134"/>
                <a:gd name="T50" fmla="*/ 70 w 90"/>
                <a:gd name="T51" fmla="*/ 84 h 134"/>
                <a:gd name="T52" fmla="*/ 68 w 90"/>
                <a:gd name="T53" fmla="*/ 82 h 134"/>
                <a:gd name="T54" fmla="*/ 64 w 90"/>
                <a:gd name="T55" fmla="*/ 82 h 134"/>
                <a:gd name="T56" fmla="*/ 56 w 90"/>
                <a:gd name="T57" fmla="*/ 80 h 134"/>
                <a:gd name="T58" fmla="*/ 52 w 90"/>
                <a:gd name="T59" fmla="*/ 78 h 134"/>
                <a:gd name="T60" fmla="*/ 52 w 90"/>
                <a:gd name="T61" fmla="*/ 76 h 134"/>
                <a:gd name="T62" fmla="*/ 50 w 90"/>
                <a:gd name="T63" fmla="*/ 72 h 134"/>
                <a:gd name="T64" fmla="*/ 50 w 90"/>
                <a:gd name="T65" fmla="*/ 66 h 134"/>
                <a:gd name="T66" fmla="*/ 48 w 90"/>
                <a:gd name="T67" fmla="*/ 58 h 134"/>
                <a:gd name="T68" fmla="*/ 38 w 90"/>
                <a:gd name="T69" fmla="*/ 38 h 134"/>
                <a:gd name="T70" fmla="*/ 34 w 90"/>
                <a:gd name="T71" fmla="*/ 32 h 134"/>
                <a:gd name="T72" fmla="*/ 30 w 90"/>
                <a:gd name="T73" fmla="*/ 26 h 134"/>
                <a:gd name="T74" fmla="*/ 22 w 90"/>
                <a:gd name="T75" fmla="*/ 12 h 134"/>
                <a:gd name="T76" fmla="*/ 14 w 90"/>
                <a:gd name="T77" fmla="*/ 4 h 134"/>
                <a:gd name="T78" fmla="*/ 8 w 90"/>
                <a:gd name="T79" fmla="*/ 22 h 134"/>
                <a:gd name="T80" fmla="*/ 6 w 90"/>
                <a:gd name="T81" fmla="*/ 28 h 134"/>
                <a:gd name="T82" fmla="*/ 6 w 90"/>
                <a:gd name="T83" fmla="*/ 36 h 134"/>
                <a:gd name="T84" fmla="*/ 8 w 90"/>
                <a:gd name="T85" fmla="*/ 48 h 134"/>
                <a:gd name="T86" fmla="*/ 10 w 90"/>
                <a:gd name="T87" fmla="*/ 54 h 134"/>
                <a:gd name="T88" fmla="*/ 12 w 90"/>
                <a:gd name="T89" fmla="*/ 62 h 134"/>
                <a:gd name="T90" fmla="*/ 14 w 90"/>
                <a:gd name="T91" fmla="*/ 70 h 134"/>
                <a:gd name="T92" fmla="*/ 14 w 90"/>
                <a:gd name="T93" fmla="*/ 72 h 134"/>
                <a:gd name="T94" fmla="*/ 14 w 90"/>
                <a:gd name="T95" fmla="*/ 74 h 134"/>
                <a:gd name="T96" fmla="*/ 12 w 90"/>
                <a:gd name="T97" fmla="*/ 74 h 134"/>
                <a:gd name="T98" fmla="*/ 6 w 90"/>
                <a:gd name="T99" fmla="*/ 74 h 134"/>
                <a:gd name="T100" fmla="*/ 2 w 90"/>
                <a:gd name="T101" fmla="*/ 72 h 134"/>
                <a:gd name="T102" fmla="*/ 0 w 90"/>
                <a:gd name="T103" fmla="*/ 74 h 134"/>
                <a:gd name="T104" fmla="*/ 0 w 90"/>
                <a:gd name="T105" fmla="*/ 76 h 134"/>
                <a:gd name="T106" fmla="*/ 0 w 90"/>
                <a:gd name="T107" fmla="*/ 8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 h="134">
                  <a:moveTo>
                    <a:pt x="0" y="84"/>
                  </a:moveTo>
                  <a:lnTo>
                    <a:pt x="0" y="84"/>
                  </a:lnTo>
                  <a:lnTo>
                    <a:pt x="0" y="84"/>
                  </a:lnTo>
                  <a:lnTo>
                    <a:pt x="0" y="86"/>
                  </a:lnTo>
                  <a:lnTo>
                    <a:pt x="2" y="86"/>
                  </a:lnTo>
                  <a:lnTo>
                    <a:pt x="4" y="86"/>
                  </a:lnTo>
                  <a:lnTo>
                    <a:pt x="6" y="86"/>
                  </a:lnTo>
                  <a:lnTo>
                    <a:pt x="6" y="86"/>
                  </a:lnTo>
                  <a:lnTo>
                    <a:pt x="8" y="86"/>
                  </a:lnTo>
                  <a:lnTo>
                    <a:pt x="10" y="86"/>
                  </a:lnTo>
                  <a:lnTo>
                    <a:pt x="10" y="86"/>
                  </a:lnTo>
                  <a:lnTo>
                    <a:pt x="10" y="88"/>
                  </a:lnTo>
                  <a:lnTo>
                    <a:pt x="12" y="88"/>
                  </a:lnTo>
                  <a:lnTo>
                    <a:pt x="12" y="90"/>
                  </a:lnTo>
                  <a:lnTo>
                    <a:pt x="14" y="92"/>
                  </a:lnTo>
                  <a:lnTo>
                    <a:pt x="14" y="92"/>
                  </a:lnTo>
                  <a:lnTo>
                    <a:pt x="18" y="92"/>
                  </a:lnTo>
                  <a:lnTo>
                    <a:pt x="20" y="96"/>
                  </a:lnTo>
                  <a:lnTo>
                    <a:pt x="26" y="88"/>
                  </a:lnTo>
                  <a:lnTo>
                    <a:pt x="28" y="92"/>
                  </a:lnTo>
                  <a:lnTo>
                    <a:pt x="28" y="92"/>
                  </a:lnTo>
                  <a:lnTo>
                    <a:pt x="30" y="92"/>
                  </a:lnTo>
                  <a:lnTo>
                    <a:pt x="30" y="92"/>
                  </a:lnTo>
                  <a:lnTo>
                    <a:pt x="32" y="96"/>
                  </a:lnTo>
                  <a:lnTo>
                    <a:pt x="32" y="96"/>
                  </a:lnTo>
                  <a:lnTo>
                    <a:pt x="36" y="96"/>
                  </a:lnTo>
                  <a:lnTo>
                    <a:pt x="36" y="96"/>
                  </a:lnTo>
                  <a:lnTo>
                    <a:pt x="42" y="94"/>
                  </a:lnTo>
                  <a:lnTo>
                    <a:pt x="42" y="94"/>
                  </a:lnTo>
                  <a:lnTo>
                    <a:pt x="42" y="98"/>
                  </a:lnTo>
                  <a:lnTo>
                    <a:pt x="44" y="96"/>
                  </a:lnTo>
                  <a:lnTo>
                    <a:pt x="46" y="98"/>
                  </a:lnTo>
                  <a:lnTo>
                    <a:pt x="48" y="96"/>
                  </a:lnTo>
                  <a:lnTo>
                    <a:pt x="52" y="100"/>
                  </a:lnTo>
                  <a:lnTo>
                    <a:pt x="54" y="98"/>
                  </a:lnTo>
                  <a:lnTo>
                    <a:pt x="54" y="100"/>
                  </a:lnTo>
                  <a:lnTo>
                    <a:pt x="54" y="100"/>
                  </a:lnTo>
                  <a:lnTo>
                    <a:pt x="60" y="106"/>
                  </a:lnTo>
                  <a:lnTo>
                    <a:pt x="60" y="106"/>
                  </a:lnTo>
                  <a:lnTo>
                    <a:pt x="64" y="110"/>
                  </a:lnTo>
                  <a:lnTo>
                    <a:pt x="66" y="114"/>
                  </a:lnTo>
                  <a:lnTo>
                    <a:pt x="66" y="114"/>
                  </a:lnTo>
                  <a:lnTo>
                    <a:pt x="70" y="118"/>
                  </a:lnTo>
                  <a:lnTo>
                    <a:pt x="70" y="118"/>
                  </a:lnTo>
                  <a:lnTo>
                    <a:pt x="74" y="126"/>
                  </a:lnTo>
                  <a:lnTo>
                    <a:pt x="76" y="128"/>
                  </a:lnTo>
                  <a:lnTo>
                    <a:pt x="76" y="128"/>
                  </a:lnTo>
                  <a:lnTo>
                    <a:pt x="78" y="132"/>
                  </a:lnTo>
                  <a:lnTo>
                    <a:pt x="78" y="132"/>
                  </a:lnTo>
                  <a:lnTo>
                    <a:pt x="80" y="132"/>
                  </a:lnTo>
                  <a:lnTo>
                    <a:pt x="80" y="134"/>
                  </a:lnTo>
                  <a:lnTo>
                    <a:pt x="80" y="134"/>
                  </a:lnTo>
                  <a:lnTo>
                    <a:pt x="82" y="134"/>
                  </a:lnTo>
                  <a:lnTo>
                    <a:pt x="82" y="132"/>
                  </a:lnTo>
                  <a:lnTo>
                    <a:pt x="82" y="132"/>
                  </a:lnTo>
                  <a:lnTo>
                    <a:pt x="86" y="132"/>
                  </a:lnTo>
                  <a:lnTo>
                    <a:pt x="88" y="130"/>
                  </a:lnTo>
                  <a:lnTo>
                    <a:pt x="88" y="130"/>
                  </a:lnTo>
                  <a:lnTo>
                    <a:pt x="88" y="128"/>
                  </a:lnTo>
                  <a:lnTo>
                    <a:pt x="88" y="126"/>
                  </a:lnTo>
                  <a:lnTo>
                    <a:pt x="90" y="124"/>
                  </a:lnTo>
                  <a:lnTo>
                    <a:pt x="90" y="124"/>
                  </a:lnTo>
                  <a:lnTo>
                    <a:pt x="90" y="122"/>
                  </a:lnTo>
                  <a:lnTo>
                    <a:pt x="88" y="122"/>
                  </a:lnTo>
                  <a:lnTo>
                    <a:pt x="88" y="120"/>
                  </a:lnTo>
                  <a:lnTo>
                    <a:pt x="88" y="118"/>
                  </a:lnTo>
                  <a:lnTo>
                    <a:pt x="86" y="116"/>
                  </a:lnTo>
                  <a:lnTo>
                    <a:pt x="84" y="112"/>
                  </a:lnTo>
                  <a:lnTo>
                    <a:pt x="80" y="106"/>
                  </a:lnTo>
                  <a:lnTo>
                    <a:pt x="80" y="104"/>
                  </a:lnTo>
                  <a:lnTo>
                    <a:pt x="78" y="102"/>
                  </a:lnTo>
                  <a:lnTo>
                    <a:pt x="78" y="100"/>
                  </a:lnTo>
                  <a:lnTo>
                    <a:pt x="76" y="98"/>
                  </a:lnTo>
                  <a:lnTo>
                    <a:pt x="74" y="92"/>
                  </a:lnTo>
                  <a:lnTo>
                    <a:pt x="74" y="90"/>
                  </a:lnTo>
                  <a:lnTo>
                    <a:pt x="72" y="86"/>
                  </a:lnTo>
                  <a:lnTo>
                    <a:pt x="72" y="84"/>
                  </a:lnTo>
                  <a:lnTo>
                    <a:pt x="70" y="84"/>
                  </a:lnTo>
                  <a:lnTo>
                    <a:pt x="70" y="84"/>
                  </a:lnTo>
                  <a:lnTo>
                    <a:pt x="70" y="82"/>
                  </a:lnTo>
                  <a:lnTo>
                    <a:pt x="68" y="82"/>
                  </a:lnTo>
                  <a:lnTo>
                    <a:pt x="68" y="82"/>
                  </a:lnTo>
                  <a:lnTo>
                    <a:pt x="66" y="82"/>
                  </a:lnTo>
                  <a:lnTo>
                    <a:pt x="64" y="82"/>
                  </a:lnTo>
                  <a:lnTo>
                    <a:pt x="62" y="82"/>
                  </a:lnTo>
                  <a:lnTo>
                    <a:pt x="58" y="80"/>
                  </a:lnTo>
                  <a:lnTo>
                    <a:pt x="56" y="80"/>
                  </a:lnTo>
                  <a:lnTo>
                    <a:pt x="54" y="80"/>
                  </a:lnTo>
                  <a:lnTo>
                    <a:pt x="54" y="80"/>
                  </a:lnTo>
                  <a:lnTo>
                    <a:pt x="52" y="78"/>
                  </a:lnTo>
                  <a:lnTo>
                    <a:pt x="52" y="78"/>
                  </a:lnTo>
                  <a:lnTo>
                    <a:pt x="52" y="78"/>
                  </a:lnTo>
                  <a:lnTo>
                    <a:pt x="52" y="76"/>
                  </a:lnTo>
                  <a:lnTo>
                    <a:pt x="50" y="76"/>
                  </a:lnTo>
                  <a:lnTo>
                    <a:pt x="50" y="74"/>
                  </a:lnTo>
                  <a:lnTo>
                    <a:pt x="50" y="72"/>
                  </a:lnTo>
                  <a:lnTo>
                    <a:pt x="50" y="68"/>
                  </a:lnTo>
                  <a:lnTo>
                    <a:pt x="50" y="66"/>
                  </a:lnTo>
                  <a:lnTo>
                    <a:pt x="50" y="66"/>
                  </a:lnTo>
                  <a:lnTo>
                    <a:pt x="50" y="64"/>
                  </a:lnTo>
                  <a:lnTo>
                    <a:pt x="50" y="62"/>
                  </a:lnTo>
                  <a:lnTo>
                    <a:pt x="48" y="58"/>
                  </a:lnTo>
                  <a:lnTo>
                    <a:pt x="46" y="54"/>
                  </a:lnTo>
                  <a:lnTo>
                    <a:pt x="40" y="44"/>
                  </a:lnTo>
                  <a:lnTo>
                    <a:pt x="38" y="38"/>
                  </a:lnTo>
                  <a:lnTo>
                    <a:pt x="38" y="36"/>
                  </a:lnTo>
                  <a:lnTo>
                    <a:pt x="36" y="34"/>
                  </a:lnTo>
                  <a:lnTo>
                    <a:pt x="34" y="32"/>
                  </a:lnTo>
                  <a:lnTo>
                    <a:pt x="32" y="30"/>
                  </a:lnTo>
                  <a:lnTo>
                    <a:pt x="30" y="28"/>
                  </a:lnTo>
                  <a:lnTo>
                    <a:pt x="30" y="26"/>
                  </a:lnTo>
                  <a:lnTo>
                    <a:pt x="28" y="22"/>
                  </a:lnTo>
                  <a:lnTo>
                    <a:pt x="26" y="20"/>
                  </a:lnTo>
                  <a:lnTo>
                    <a:pt x="22" y="12"/>
                  </a:lnTo>
                  <a:lnTo>
                    <a:pt x="18" y="6"/>
                  </a:lnTo>
                  <a:lnTo>
                    <a:pt x="16" y="0"/>
                  </a:lnTo>
                  <a:lnTo>
                    <a:pt x="14" y="4"/>
                  </a:lnTo>
                  <a:lnTo>
                    <a:pt x="12" y="12"/>
                  </a:lnTo>
                  <a:lnTo>
                    <a:pt x="10" y="16"/>
                  </a:lnTo>
                  <a:lnTo>
                    <a:pt x="8" y="22"/>
                  </a:lnTo>
                  <a:lnTo>
                    <a:pt x="6" y="26"/>
                  </a:lnTo>
                  <a:lnTo>
                    <a:pt x="6" y="26"/>
                  </a:lnTo>
                  <a:lnTo>
                    <a:pt x="6" y="28"/>
                  </a:lnTo>
                  <a:lnTo>
                    <a:pt x="6" y="30"/>
                  </a:lnTo>
                  <a:lnTo>
                    <a:pt x="6" y="32"/>
                  </a:lnTo>
                  <a:lnTo>
                    <a:pt x="6" y="36"/>
                  </a:lnTo>
                  <a:lnTo>
                    <a:pt x="6" y="38"/>
                  </a:lnTo>
                  <a:lnTo>
                    <a:pt x="6" y="44"/>
                  </a:lnTo>
                  <a:lnTo>
                    <a:pt x="8" y="48"/>
                  </a:lnTo>
                  <a:lnTo>
                    <a:pt x="8" y="48"/>
                  </a:lnTo>
                  <a:lnTo>
                    <a:pt x="8" y="50"/>
                  </a:lnTo>
                  <a:lnTo>
                    <a:pt x="10" y="54"/>
                  </a:lnTo>
                  <a:lnTo>
                    <a:pt x="12" y="58"/>
                  </a:lnTo>
                  <a:lnTo>
                    <a:pt x="12" y="60"/>
                  </a:lnTo>
                  <a:lnTo>
                    <a:pt x="12" y="62"/>
                  </a:lnTo>
                  <a:lnTo>
                    <a:pt x="14" y="64"/>
                  </a:lnTo>
                  <a:lnTo>
                    <a:pt x="14" y="68"/>
                  </a:lnTo>
                  <a:lnTo>
                    <a:pt x="14" y="70"/>
                  </a:lnTo>
                  <a:lnTo>
                    <a:pt x="14" y="72"/>
                  </a:lnTo>
                  <a:lnTo>
                    <a:pt x="14" y="72"/>
                  </a:lnTo>
                  <a:lnTo>
                    <a:pt x="14" y="72"/>
                  </a:lnTo>
                  <a:lnTo>
                    <a:pt x="14" y="74"/>
                  </a:lnTo>
                  <a:lnTo>
                    <a:pt x="14" y="74"/>
                  </a:lnTo>
                  <a:lnTo>
                    <a:pt x="14" y="74"/>
                  </a:lnTo>
                  <a:lnTo>
                    <a:pt x="12" y="74"/>
                  </a:lnTo>
                  <a:lnTo>
                    <a:pt x="12" y="74"/>
                  </a:lnTo>
                  <a:lnTo>
                    <a:pt x="12" y="74"/>
                  </a:lnTo>
                  <a:lnTo>
                    <a:pt x="10" y="74"/>
                  </a:lnTo>
                  <a:lnTo>
                    <a:pt x="8" y="74"/>
                  </a:lnTo>
                  <a:lnTo>
                    <a:pt x="6" y="74"/>
                  </a:lnTo>
                  <a:lnTo>
                    <a:pt x="4" y="72"/>
                  </a:lnTo>
                  <a:lnTo>
                    <a:pt x="2" y="72"/>
                  </a:lnTo>
                  <a:lnTo>
                    <a:pt x="2" y="72"/>
                  </a:lnTo>
                  <a:lnTo>
                    <a:pt x="2" y="72"/>
                  </a:lnTo>
                  <a:lnTo>
                    <a:pt x="0" y="74"/>
                  </a:lnTo>
                  <a:lnTo>
                    <a:pt x="0" y="74"/>
                  </a:lnTo>
                  <a:lnTo>
                    <a:pt x="0" y="74"/>
                  </a:lnTo>
                  <a:lnTo>
                    <a:pt x="0" y="76"/>
                  </a:lnTo>
                  <a:lnTo>
                    <a:pt x="0" y="76"/>
                  </a:lnTo>
                  <a:lnTo>
                    <a:pt x="0" y="78"/>
                  </a:lnTo>
                  <a:lnTo>
                    <a:pt x="0" y="80"/>
                  </a:lnTo>
                  <a:lnTo>
                    <a:pt x="0" y="82"/>
                  </a:lnTo>
                  <a:lnTo>
                    <a:pt x="0" y="8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4" name="Freeform 609">
              <a:extLst>
                <a:ext uri="{FF2B5EF4-FFF2-40B4-BE49-F238E27FC236}">
                  <a16:creationId xmlns:a16="http://schemas.microsoft.com/office/drawing/2014/main" id="{E9EE9D2D-8748-41D0-B714-792DEB67E0D3}"/>
                </a:ext>
              </a:extLst>
            </p:cNvPr>
            <p:cNvSpPr>
              <a:spLocks/>
            </p:cNvSpPr>
            <p:nvPr/>
          </p:nvSpPr>
          <p:spPr bwMode="auto">
            <a:xfrm>
              <a:off x="5159498" y="4067698"/>
              <a:ext cx="155887" cy="232098"/>
            </a:xfrm>
            <a:custGeom>
              <a:avLst/>
              <a:gdLst>
                <a:gd name="T0" fmla="*/ 0 w 90"/>
                <a:gd name="T1" fmla="*/ 84 h 134"/>
                <a:gd name="T2" fmla="*/ 4 w 90"/>
                <a:gd name="T3" fmla="*/ 86 h 134"/>
                <a:gd name="T4" fmla="*/ 8 w 90"/>
                <a:gd name="T5" fmla="*/ 86 h 134"/>
                <a:gd name="T6" fmla="*/ 10 w 90"/>
                <a:gd name="T7" fmla="*/ 88 h 134"/>
                <a:gd name="T8" fmla="*/ 14 w 90"/>
                <a:gd name="T9" fmla="*/ 92 h 134"/>
                <a:gd name="T10" fmla="*/ 20 w 90"/>
                <a:gd name="T11" fmla="*/ 96 h 134"/>
                <a:gd name="T12" fmla="*/ 28 w 90"/>
                <a:gd name="T13" fmla="*/ 92 h 134"/>
                <a:gd name="T14" fmla="*/ 32 w 90"/>
                <a:gd name="T15" fmla="*/ 96 h 134"/>
                <a:gd name="T16" fmla="*/ 36 w 90"/>
                <a:gd name="T17" fmla="*/ 96 h 134"/>
                <a:gd name="T18" fmla="*/ 42 w 90"/>
                <a:gd name="T19" fmla="*/ 98 h 134"/>
                <a:gd name="T20" fmla="*/ 48 w 90"/>
                <a:gd name="T21" fmla="*/ 96 h 134"/>
                <a:gd name="T22" fmla="*/ 54 w 90"/>
                <a:gd name="T23" fmla="*/ 100 h 134"/>
                <a:gd name="T24" fmla="*/ 60 w 90"/>
                <a:gd name="T25" fmla="*/ 106 h 134"/>
                <a:gd name="T26" fmla="*/ 66 w 90"/>
                <a:gd name="T27" fmla="*/ 114 h 134"/>
                <a:gd name="T28" fmla="*/ 74 w 90"/>
                <a:gd name="T29" fmla="*/ 126 h 134"/>
                <a:gd name="T30" fmla="*/ 78 w 90"/>
                <a:gd name="T31" fmla="*/ 132 h 134"/>
                <a:gd name="T32" fmla="*/ 80 w 90"/>
                <a:gd name="T33" fmla="*/ 134 h 134"/>
                <a:gd name="T34" fmla="*/ 82 w 90"/>
                <a:gd name="T35" fmla="*/ 132 h 134"/>
                <a:gd name="T36" fmla="*/ 88 w 90"/>
                <a:gd name="T37" fmla="*/ 130 h 134"/>
                <a:gd name="T38" fmla="*/ 88 w 90"/>
                <a:gd name="T39" fmla="*/ 126 h 134"/>
                <a:gd name="T40" fmla="*/ 90 w 90"/>
                <a:gd name="T41" fmla="*/ 122 h 134"/>
                <a:gd name="T42" fmla="*/ 88 w 90"/>
                <a:gd name="T43" fmla="*/ 118 h 134"/>
                <a:gd name="T44" fmla="*/ 80 w 90"/>
                <a:gd name="T45" fmla="*/ 106 h 134"/>
                <a:gd name="T46" fmla="*/ 78 w 90"/>
                <a:gd name="T47" fmla="*/ 100 h 134"/>
                <a:gd name="T48" fmla="*/ 74 w 90"/>
                <a:gd name="T49" fmla="*/ 90 h 134"/>
                <a:gd name="T50" fmla="*/ 70 w 90"/>
                <a:gd name="T51" fmla="*/ 84 h 134"/>
                <a:gd name="T52" fmla="*/ 68 w 90"/>
                <a:gd name="T53" fmla="*/ 82 h 134"/>
                <a:gd name="T54" fmla="*/ 64 w 90"/>
                <a:gd name="T55" fmla="*/ 82 h 134"/>
                <a:gd name="T56" fmla="*/ 56 w 90"/>
                <a:gd name="T57" fmla="*/ 80 h 134"/>
                <a:gd name="T58" fmla="*/ 52 w 90"/>
                <a:gd name="T59" fmla="*/ 78 h 134"/>
                <a:gd name="T60" fmla="*/ 52 w 90"/>
                <a:gd name="T61" fmla="*/ 76 h 134"/>
                <a:gd name="T62" fmla="*/ 50 w 90"/>
                <a:gd name="T63" fmla="*/ 72 h 134"/>
                <a:gd name="T64" fmla="*/ 50 w 90"/>
                <a:gd name="T65" fmla="*/ 66 h 134"/>
                <a:gd name="T66" fmla="*/ 48 w 90"/>
                <a:gd name="T67" fmla="*/ 58 h 134"/>
                <a:gd name="T68" fmla="*/ 38 w 90"/>
                <a:gd name="T69" fmla="*/ 38 h 134"/>
                <a:gd name="T70" fmla="*/ 34 w 90"/>
                <a:gd name="T71" fmla="*/ 32 h 134"/>
                <a:gd name="T72" fmla="*/ 30 w 90"/>
                <a:gd name="T73" fmla="*/ 26 h 134"/>
                <a:gd name="T74" fmla="*/ 22 w 90"/>
                <a:gd name="T75" fmla="*/ 12 h 134"/>
                <a:gd name="T76" fmla="*/ 14 w 90"/>
                <a:gd name="T77" fmla="*/ 4 h 134"/>
                <a:gd name="T78" fmla="*/ 8 w 90"/>
                <a:gd name="T79" fmla="*/ 22 h 134"/>
                <a:gd name="T80" fmla="*/ 6 w 90"/>
                <a:gd name="T81" fmla="*/ 28 h 134"/>
                <a:gd name="T82" fmla="*/ 6 w 90"/>
                <a:gd name="T83" fmla="*/ 36 h 134"/>
                <a:gd name="T84" fmla="*/ 8 w 90"/>
                <a:gd name="T85" fmla="*/ 48 h 134"/>
                <a:gd name="T86" fmla="*/ 10 w 90"/>
                <a:gd name="T87" fmla="*/ 54 h 134"/>
                <a:gd name="T88" fmla="*/ 12 w 90"/>
                <a:gd name="T89" fmla="*/ 62 h 134"/>
                <a:gd name="T90" fmla="*/ 14 w 90"/>
                <a:gd name="T91" fmla="*/ 70 h 134"/>
                <a:gd name="T92" fmla="*/ 14 w 90"/>
                <a:gd name="T93" fmla="*/ 72 h 134"/>
                <a:gd name="T94" fmla="*/ 14 w 90"/>
                <a:gd name="T95" fmla="*/ 74 h 134"/>
                <a:gd name="T96" fmla="*/ 12 w 90"/>
                <a:gd name="T97" fmla="*/ 74 h 134"/>
                <a:gd name="T98" fmla="*/ 6 w 90"/>
                <a:gd name="T99" fmla="*/ 74 h 134"/>
                <a:gd name="T100" fmla="*/ 2 w 90"/>
                <a:gd name="T101" fmla="*/ 72 h 134"/>
                <a:gd name="T102" fmla="*/ 0 w 90"/>
                <a:gd name="T103" fmla="*/ 74 h 134"/>
                <a:gd name="T104" fmla="*/ 0 w 90"/>
                <a:gd name="T105" fmla="*/ 76 h 134"/>
                <a:gd name="T106" fmla="*/ 0 w 90"/>
                <a:gd name="T107" fmla="*/ 8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 h="134">
                  <a:moveTo>
                    <a:pt x="0" y="84"/>
                  </a:moveTo>
                  <a:lnTo>
                    <a:pt x="0" y="84"/>
                  </a:lnTo>
                  <a:lnTo>
                    <a:pt x="0" y="84"/>
                  </a:lnTo>
                  <a:lnTo>
                    <a:pt x="0" y="86"/>
                  </a:lnTo>
                  <a:lnTo>
                    <a:pt x="2" y="86"/>
                  </a:lnTo>
                  <a:lnTo>
                    <a:pt x="4" y="86"/>
                  </a:lnTo>
                  <a:lnTo>
                    <a:pt x="6" y="86"/>
                  </a:lnTo>
                  <a:lnTo>
                    <a:pt x="6" y="86"/>
                  </a:lnTo>
                  <a:lnTo>
                    <a:pt x="8" y="86"/>
                  </a:lnTo>
                  <a:lnTo>
                    <a:pt x="10" y="86"/>
                  </a:lnTo>
                  <a:lnTo>
                    <a:pt x="10" y="86"/>
                  </a:lnTo>
                  <a:lnTo>
                    <a:pt x="10" y="88"/>
                  </a:lnTo>
                  <a:lnTo>
                    <a:pt x="12" y="88"/>
                  </a:lnTo>
                  <a:lnTo>
                    <a:pt x="12" y="90"/>
                  </a:lnTo>
                  <a:lnTo>
                    <a:pt x="14" y="92"/>
                  </a:lnTo>
                  <a:lnTo>
                    <a:pt x="14" y="92"/>
                  </a:lnTo>
                  <a:lnTo>
                    <a:pt x="18" y="92"/>
                  </a:lnTo>
                  <a:lnTo>
                    <a:pt x="20" y="96"/>
                  </a:lnTo>
                  <a:lnTo>
                    <a:pt x="26" y="88"/>
                  </a:lnTo>
                  <a:lnTo>
                    <a:pt x="28" y="92"/>
                  </a:lnTo>
                  <a:lnTo>
                    <a:pt x="28" y="92"/>
                  </a:lnTo>
                  <a:lnTo>
                    <a:pt x="30" y="92"/>
                  </a:lnTo>
                  <a:lnTo>
                    <a:pt x="30" y="92"/>
                  </a:lnTo>
                  <a:lnTo>
                    <a:pt x="32" y="96"/>
                  </a:lnTo>
                  <a:lnTo>
                    <a:pt x="32" y="96"/>
                  </a:lnTo>
                  <a:lnTo>
                    <a:pt x="36" y="96"/>
                  </a:lnTo>
                  <a:lnTo>
                    <a:pt x="36" y="96"/>
                  </a:lnTo>
                  <a:lnTo>
                    <a:pt x="42" y="94"/>
                  </a:lnTo>
                  <a:lnTo>
                    <a:pt x="42" y="94"/>
                  </a:lnTo>
                  <a:lnTo>
                    <a:pt x="42" y="98"/>
                  </a:lnTo>
                  <a:lnTo>
                    <a:pt x="44" y="96"/>
                  </a:lnTo>
                  <a:lnTo>
                    <a:pt x="46" y="98"/>
                  </a:lnTo>
                  <a:lnTo>
                    <a:pt x="48" y="96"/>
                  </a:lnTo>
                  <a:lnTo>
                    <a:pt x="52" y="100"/>
                  </a:lnTo>
                  <a:lnTo>
                    <a:pt x="54" y="98"/>
                  </a:lnTo>
                  <a:lnTo>
                    <a:pt x="54" y="100"/>
                  </a:lnTo>
                  <a:lnTo>
                    <a:pt x="54" y="100"/>
                  </a:lnTo>
                  <a:lnTo>
                    <a:pt x="60" y="106"/>
                  </a:lnTo>
                  <a:lnTo>
                    <a:pt x="60" y="106"/>
                  </a:lnTo>
                  <a:lnTo>
                    <a:pt x="64" y="110"/>
                  </a:lnTo>
                  <a:lnTo>
                    <a:pt x="66" y="114"/>
                  </a:lnTo>
                  <a:lnTo>
                    <a:pt x="66" y="114"/>
                  </a:lnTo>
                  <a:lnTo>
                    <a:pt x="70" y="118"/>
                  </a:lnTo>
                  <a:lnTo>
                    <a:pt x="70" y="118"/>
                  </a:lnTo>
                  <a:lnTo>
                    <a:pt x="74" y="126"/>
                  </a:lnTo>
                  <a:lnTo>
                    <a:pt x="76" y="128"/>
                  </a:lnTo>
                  <a:lnTo>
                    <a:pt x="76" y="128"/>
                  </a:lnTo>
                  <a:lnTo>
                    <a:pt x="78" y="132"/>
                  </a:lnTo>
                  <a:lnTo>
                    <a:pt x="78" y="132"/>
                  </a:lnTo>
                  <a:lnTo>
                    <a:pt x="80" y="132"/>
                  </a:lnTo>
                  <a:lnTo>
                    <a:pt x="80" y="134"/>
                  </a:lnTo>
                  <a:lnTo>
                    <a:pt x="80" y="134"/>
                  </a:lnTo>
                  <a:lnTo>
                    <a:pt x="82" y="134"/>
                  </a:lnTo>
                  <a:lnTo>
                    <a:pt x="82" y="132"/>
                  </a:lnTo>
                  <a:lnTo>
                    <a:pt x="82" y="132"/>
                  </a:lnTo>
                  <a:lnTo>
                    <a:pt x="86" y="132"/>
                  </a:lnTo>
                  <a:lnTo>
                    <a:pt x="88" y="130"/>
                  </a:lnTo>
                  <a:lnTo>
                    <a:pt x="88" y="130"/>
                  </a:lnTo>
                  <a:lnTo>
                    <a:pt x="88" y="128"/>
                  </a:lnTo>
                  <a:lnTo>
                    <a:pt x="88" y="126"/>
                  </a:lnTo>
                  <a:lnTo>
                    <a:pt x="90" y="124"/>
                  </a:lnTo>
                  <a:lnTo>
                    <a:pt x="90" y="124"/>
                  </a:lnTo>
                  <a:lnTo>
                    <a:pt x="90" y="122"/>
                  </a:lnTo>
                  <a:lnTo>
                    <a:pt x="88" y="122"/>
                  </a:lnTo>
                  <a:lnTo>
                    <a:pt x="88" y="120"/>
                  </a:lnTo>
                  <a:lnTo>
                    <a:pt x="88" y="118"/>
                  </a:lnTo>
                  <a:lnTo>
                    <a:pt x="86" y="116"/>
                  </a:lnTo>
                  <a:lnTo>
                    <a:pt x="84" y="112"/>
                  </a:lnTo>
                  <a:lnTo>
                    <a:pt x="80" y="106"/>
                  </a:lnTo>
                  <a:lnTo>
                    <a:pt x="80" y="104"/>
                  </a:lnTo>
                  <a:lnTo>
                    <a:pt x="78" y="102"/>
                  </a:lnTo>
                  <a:lnTo>
                    <a:pt x="78" y="100"/>
                  </a:lnTo>
                  <a:lnTo>
                    <a:pt x="76" y="98"/>
                  </a:lnTo>
                  <a:lnTo>
                    <a:pt x="74" y="92"/>
                  </a:lnTo>
                  <a:lnTo>
                    <a:pt x="74" y="90"/>
                  </a:lnTo>
                  <a:lnTo>
                    <a:pt x="72" y="86"/>
                  </a:lnTo>
                  <a:lnTo>
                    <a:pt x="72" y="84"/>
                  </a:lnTo>
                  <a:lnTo>
                    <a:pt x="70" y="84"/>
                  </a:lnTo>
                  <a:lnTo>
                    <a:pt x="70" y="84"/>
                  </a:lnTo>
                  <a:lnTo>
                    <a:pt x="70" y="82"/>
                  </a:lnTo>
                  <a:lnTo>
                    <a:pt x="68" y="82"/>
                  </a:lnTo>
                  <a:lnTo>
                    <a:pt x="68" y="82"/>
                  </a:lnTo>
                  <a:lnTo>
                    <a:pt x="66" y="82"/>
                  </a:lnTo>
                  <a:lnTo>
                    <a:pt x="64" y="82"/>
                  </a:lnTo>
                  <a:lnTo>
                    <a:pt x="62" y="82"/>
                  </a:lnTo>
                  <a:lnTo>
                    <a:pt x="58" y="80"/>
                  </a:lnTo>
                  <a:lnTo>
                    <a:pt x="56" y="80"/>
                  </a:lnTo>
                  <a:lnTo>
                    <a:pt x="54" y="80"/>
                  </a:lnTo>
                  <a:lnTo>
                    <a:pt x="54" y="80"/>
                  </a:lnTo>
                  <a:lnTo>
                    <a:pt x="52" y="78"/>
                  </a:lnTo>
                  <a:lnTo>
                    <a:pt x="52" y="78"/>
                  </a:lnTo>
                  <a:lnTo>
                    <a:pt x="52" y="78"/>
                  </a:lnTo>
                  <a:lnTo>
                    <a:pt x="52" y="76"/>
                  </a:lnTo>
                  <a:lnTo>
                    <a:pt x="50" y="76"/>
                  </a:lnTo>
                  <a:lnTo>
                    <a:pt x="50" y="74"/>
                  </a:lnTo>
                  <a:lnTo>
                    <a:pt x="50" y="72"/>
                  </a:lnTo>
                  <a:lnTo>
                    <a:pt x="50" y="68"/>
                  </a:lnTo>
                  <a:lnTo>
                    <a:pt x="50" y="66"/>
                  </a:lnTo>
                  <a:lnTo>
                    <a:pt x="50" y="66"/>
                  </a:lnTo>
                  <a:lnTo>
                    <a:pt x="50" y="64"/>
                  </a:lnTo>
                  <a:lnTo>
                    <a:pt x="50" y="62"/>
                  </a:lnTo>
                  <a:lnTo>
                    <a:pt x="48" y="58"/>
                  </a:lnTo>
                  <a:lnTo>
                    <a:pt x="46" y="54"/>
                  </a:lnTo>
                  <a:lnTo>
                    <a:pt x="40" y="44"/>
                  </a:lnTo>
                  <a:lnTo>
                    <a:pt x="38" y="38"/>
                  </a:lnTo>
                  <a:lnTo>
                    <a:pt x="38" y="36"/>
                  </a:lnTo>
                  <a:lnTo>
                    <a:pt x="36" y="34"/>
                  </a:lnTo>
                  <a:lnTo>
                    <a:pt x="34" y="32"/>
                  </a:lnTo>
                  <a:lnTo>
                    <a:pt x="32" y="30"/>
                  </a:lnTo>
                  <a:lnTo>
                    <a:pt x="30" y="28"/>
                  </a:lnTo>
                  <a:lnTo>
                    <a:pt x="30" y="26"/>
                  </a:lnTo>
                  <a:lnTo>
                    <a:pt x="28" y="22"/>
                  </a:lnTo>
                  <a:lnTo>
                    <a:pt x="26" y="20"/>
                  </a:lnTo>
                  <a:lnTo>
                    <a:pt x="22" y="12"/>
                  </a:lnTo>
                  <a:lnTo>
                    <a:pt x="18" y="6"/>
                  </a:lnTo>
                  <a:lnTo>
                    <a:pt x="16" y="0"/>
                  </a:lnTo>
                  <a:lnTo>
                    <a:pt x="14" y="4"/>
                  </a:lnTo>
                  <a:lnTo>
                    <a:pt x="12" y="12"/>
                  </a:lnTo>
                  <a:lnTo>
                    <a:pt x="10" y="16"/>
                  </a:lnTo>
                  <a:lnTo>
                    <a:pt x="8" y="22"/>
                  </a:lnTo>
                  <a:lnTo>
                    <a:pt x="6" y="26"/>
                  </a:lnTo>
                  <a:lnTo>
                    <a:pt x="6" y="26"/>
                  </a:lnTo>
                  <a:lnTo>
                    <a:pt x="6" y="28"/>
                  </a:lnTo>
                  <a:lnTo>
                    <a:pt x="6" y="30"/>
                  </a:lnTo>
                  <a:lnTo>
                    <a:pt x="6" y="32"/>
                  </a:lnTo>
                  <a:lnTo>
                    <a:pt x="6" y="36"/>
                  </a:lnTo>
                  <a:lnTo>
                    <a:pt x="6" y="38"/>
                  </a:lnTo>
                  <a:lnTo>
                    <a:pt x="6" y="44"/>
                  </a:lnTo>
                  <a:lnTo>
                    <a:pt x="8" y="48"/>
                  </a:lnTo>
                  <a:lnTo>
                    <a:pt x="8" y="48"/>
                  </a:lnTo>
                  <a:lnTo>
                    <a:pt x="8" y="50"/>
                  </a:lnTo>
                  <a:lnTo>
                    <a:pt x="10" y="54"/>
                  </a:lnTo>
                  <a:lnTo>
                    <a:pt x="12" y="58"/>
                  </a:lnTo>
                  <a:lnTo>
                    <a:pt x="12" y="60"/>
                  </a:lnTo>
                  <a:lnTo>
                    <a:pt x="12" y="62"/>
                  </a:lnTo>
                  <a:lnTo>
                    <a:pt x="14" y="64"/>
                  </a:lnTo>
                  <a:lnTo>
                    <a:pt x="14" y="68"/>
                  </a:lnTo>
                  <a:lnTo>
                    <a:pt x="14" y="70"/>
                  </a:lnTo>
                  <a:lnTo>
                    <a:pt x="14" y="72"/>
                  </a:lnTo>
                  <a:lnTo>
                    <a:pt x="14" y="72"/>
                  </a:lnTo>
                  <a:lnTo>
                    <a:pt x="14" y="72"/>
                  </a:lnTo>
                  <a:lnTo>
                    <a:pt x="14" y="74"/>
                  </a:lnTo>
                  <a:lnTo>
                    <a:pt x="14" y="74"/>
                  </a:lnTo>
                  <a:lnTo>
                    <a:pt x="14" y="74"/>
                  </a:lnTo>
                  <a:lnTo>
                    <a:pt x="12" y="74"/>
                  </a:lnTo>
                  <a:lnTo>
                    <a:pt x="12" y="74"/>
                  </a:lnTo>
                  <a:lnTo>
                    <a:pt x="12" y="74"/>
                  </a:lnTo>
                  <a:lnTo>
                    <a:pt x="10" y="74"/>
                  </a:lnTo>
                  <a:lnTo>
                    <a:pt x="8" y="74"/>
                  </a:lnTo>
                  <a:lnTo>
                    <a:pt x="6" y="74"/>
                  </a:lnTo>
                  <a:lnTo>
                    <a:pt x="4" y="72"/>
                  </a:lnTo>
                  <a:lnTo>
                    <a:pt x="2" y="72"/>
                  </a:lnTo>
                  <a:lnTo>
                    <a:pt x="2" y="72"/>
                  </a:lnTo>
                  <a:lnTo>
                    <a:pt x="2" y="72"/>
                  </a:lnTo>
                  <a:lnTo>
                    <a:pt x="0" y="74"/>
                  </a:lnTo>
                  <a:lnTo>
                    <a:pt x="0" y="74"/>
                  </a:lnTo>
                  <a:lnTo>
                    <a:pt x="0" y="74"/>
                  </a:lnTo>
                  <a:lnTo>
                    <a:pt x="0" y="76"/>
                  </a:lnTo>
                  <a:lnTo>
                    <a:pt x="0" y="76"/>
                  </a:lnTo>
                  <a:lnTo>
                    <a:pt x="0" y="78"/>
                  </a:lnTo>
                  <a:lnTo>
                    <a:pt x="0" y="80"/>
                  </a:lnTo>
                  <a:lnTo>
                    <a:pt x="0" y="82"/>
                  </a:lnTo>
                  <a:lnTo>
                    <a:pt x="0" y="8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5" name="Freeform 610">
              <a:extLst>
                <a:ext uri="{FF2B5EF4-FFF2-40B4-BE49-F238E27FC236}">
                  <a16:creationId xmlns:a16="http://schemas.microsoft.com/office/drawing/2014/main" id="{F32EC56F-9166-4F6D-91AD-202AAA39C83A}"/>
                </a:ext>
              </a:extLst>
            </p:cNvPr>
            <p:cNvSpPr>
              <a:spLocks/>
            </p:cNvSpPr>
            <p:nvPr/>
          </p:nvSpPr>
          <p:spPr bwMode="auto">
            <a:xfrm>
              <a:off x="2357001" y="3939524"/>
              <a:ext cx="24249" cy="48498"/>
            </a:xfrm>
            <a:custGeom>
              <a:avLst/>
              <a:gdLst>
                <a:gd name="T0" fmla="*/ 10 w 14"/>
                <a:gd name="T1" fmla="*/ 28 h 28"/>
                <a:gd name="T2" fmla="*/ 10 w 14"/>
                <a:gd name="T3" fmla="*/ 28 h 28"/>
                <a:gd name="T4" fmla="*/ 10 w 14"/>
                <a:gd name="T5" fmla="*/ 24 h 28"/>
                <a:gd name="T6" fmla="*/ 8 w 14"/>
                <a:gd name="T7" fmla="*/ 22 h 28"/>
                <a:gd name="T8" fmla="*/ 8 w 14"/>
                <a:gd name="T9" fmla="*/ 22 h 28"/>
                <a:gd name="T10" fmla="*/ 4 w 14"/>
                <a:gd name="T11" fmla="*/ 16 h 28"/>
                <a:gd name="T12" fmla="*/ 4 w 14"/>
                <a:gd name="T13" fmla="*/ 16 h 28"/>
                <a:gd name="T14" fmla="*/ 0 w 14"/>
                <a:gd name="T15" fmla="*/ 12 h 28"/>
                <a:gd name="T16" fmla="*/ 0 w 14"/>
                <a:gd name="T17" fmla="*/ 12 h 28"/>
                <a:gd name="T18" fmla="*/ 0 w 14"/>
                <a:gd name="T19" fmla="*/ 8 h 28"/>
                <a:gd name="T20" fmla="*/ 0 w 14"/>
                <a:gd name="T21" fmla="*/ 8 h 28"/>
                <a:gd name="T22" fmla="*/ 4 w 14"/>
                <a:gd name="T23" fmla="*/ 4 h 28"/>
                <a:gd name="T24" fmla="*/ 4 w 14"/>
                <a:gd name="T25" fmla="*/ 4 h 28"/>
                <a:gd name="T26" fmla="*/ 4 w 14"/>
                <a:gd name="T27" fmla="*/ 0 h 28"/>
                <a:gd name="T28" fmla="*/ 4 w 14"/>
                <a:gd name="T29" fmla="*/ 0 h 28"/>
                <a:gd name="T30" fmla="*/ 4 w 14"/>
                <a:gd name="T31" fmla="*/ 0 h 28"/>
                <a:gd name="T32" fmla="*/ 4 w 14"/>
                <a:gd name="T33" fmla="*/ 0 h 28"/>
                <a:gd name="T34" fmla="*/ 6 w 14"/>
                <a:gd name="T35" fmla="*/ 0 h 28"/>
                <a:gd name="T36" fmla="*/ 6 w 14"/>
                <a:gd name="T37" fmla="*/ 2 h 28"/>
                <a:gd name="T38" fmla="*/ 6 w 14"/>
                <a:gd name="T39" fmla="*/ 2 h 28"/>
                <a:gd name="T40" fmla="*/ 10 w 14"/>
                <a:gd name="T41" fmla="*/ 8 h 28"/>
                <a:gd name="T42" fmla="*/ 10 w 14"/>
                <a:gd name="T43" fmla="*/ 8 h 28"/>
                <a:gd name="T44" fmla="*/ 10 w 14"/>
                <a:gd name="T45" fmla="*/ 10 h 28"/>
                <a:gd name="T46" fmla="*/ 12 w 14"/>
                <a:gd name="T47" fmla="*/ 14 h 28"/>
                <a:gd name="T48" fmla="*/ 12 w 14"/>
                <a:gd name="T49" fmla="*/ 14 h 28"/>
                <a:gd name="T50" fmla="*/ 12 w 14"/>
                <a:gd name="T51" fmla="*/ 16 h 28"/>
                <a:gd name="T52" fmla="*/ 14 w 14"/>
                <a:gd name="T53" fmla="*/ 18 h 28"/>
                <a:gd name="T54" fmla="*/ 14 w 14"/>
                <a:gd name="T55" fmla="*/ 18 h 28"/>
                <a:gd name="T56" fmla="*/ 14 w 14"/>
                <a:gd name="T57" fmla="*/ 20 h 28"/>
                <a:gd name="T58" fmla="*/ 14 w 14"/>
                <a:gd name="T59" fmla="*/ 26 h 28"/>
                <a:gd name="T60" fmla="*/ 14 w 14"/>
                <a:gd name="T61" fmla="*/ 26 h 28"/>
                <a:gd name="T62" fmla="*/ 14 w 14"/>
                <a:gd name="T63" fmla="*/ 28 h 28"/>
                <a:gd name="T64" fmla="*/ 12 w 14"/>
                <a:gd name="T65" fmla="*/ 28 h 28"/>
                <a:gd name="T66" fmla="*/ 12 w 14"/>
                <a:gd name="T67" fmla="*/ 28 h 28"/>
                <a:gd name="T68" fmla="*/ 10 w 14"/>
                <a:gd name="T69" fmla="*/ 28 h 28"/>
                <a:gd name="T70" fmla="*/ 10 w 14"/>
                <a:gd name="T7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8">
                  <a:moveTo>
                    <a:pt x="10" y="28"/>
                  </a:moveTo>
                  <a:lnTo>
                    <a:pt x="10" y="28"/>
                  </a:lnTo>
                  <a:lnTo>
                    <a:pt x="10" y="24"/>
                  </a:lnTo>
                  <a:lnTo>
                    <a:pt x="8" y="22"/>
                  </a:lnTo>
                  <a:lnTo>
                    <a:pt x="8" y="22"/>
                  </a:lnTo>
                  <a:lnTo>
                    <a:pt x="4" y="16"/>
                  </a:lnTo>
                  <a:lnTo>
                    <a:pt x="4" y="16"/>
                  </a:lnTo>
                  <a:lnTo>
                    <a:pt x="0" y="12"/>
                  </a:lnTo>
                  <a:lnTo>
                    <a:pt x="0" y="12"/>
                  </a:lnTo>
                  <a:lnTo>
                    <a:pt x="0" y="8"/>
                  </a:lnTo>
                  <a:lnTo>
                    <a:pt x="0" y="8"/>
                  </a:lnTo>
                  <a:lnTo>
                    <a:pt x="4" y="4"/>
                  </a:lnTo>
                  <a:lnTo>
                    <a:pt x="4" y="4"/>
                  </a:lnTo>
                  <a:lnTo>
                    <a:pt x="4" y="0"/>
                  </a:lnTo>
                  <a:lnTo>
                    <a:pt x="4" y="0"/>
                  </a:lnTo>
                  <a:lnTo>
                    <a:pt x="4" y="0"/>
                  </a:lnTo>
                  <a:lnTo>
                    <a:pt x="4" y="0"/>
                  </a:lnTo>
                  <a:lnTo>
                    <a:pt x="6" y="0"/>
                  </a:lnTo>
                  <a:lnTo>
                    <a:pt x="6" y="2"/>
                  </a:lnTo>
                  <a:lnTo>
                    <a:pt x="6" y="2"/>
                  </a:lnTo>
                  <a:lnTo>
                    <a:pt x="10" y="8"/>
                  </a:lnTo>
                  <a:lnTo>
                    <a:pt x="10" y="8"/>
                  </a:lnTo>
                  <a:lnTo>
                    <a:pt x="10" y="10"/>
                  </a:lnTo>
                  <a:lnTo>
                    <a:pt x="12" y="14"/>
                  </a:lnTo>
                  <a:lnTo>
                    <a:pt x="12" y="14"/>
                  </a:lnTo>
                  <a:lnTo>
                    <a:pt x="12" y="16"/>
                  </a:lnTo>
                  <a:lnTo>
                    <a:pt x="14" y="18"/>
                  </a:lnTo>
                  <a:lnTo>
                    <a:pt x="14" y="18"/>
                  </a:lnTo>
                  <a:lnTo>
                    <a:pt x="14" y="20"/>
                  </a:lnTo>
                  <a:lnTo>
                    <a:pt x="14" y="26"/>
                  </a:lnTo>
                  <a:lnTo>
                    <a:pt x="14" y="26"/>
                  </a:lnTo>
                  <a:lnTo>
                    <a:pt x="14" y="28"/>
                  </a:lnTo>
                  <a:lnTo>
                    <a:pt x="12" y="28"/>
                  </a:lnTo>
                  <a:lnTo>
                    <a:pt x="12" y="28"/>
                  </a:lnTo>
                  <a:lnTo>
                    <a:pt x="10" y="28"/>
                  </a:lnTo>
                  <a:lnTo>
                    <a:pt x="10" y="2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446" name="Gruppieren 26632">
              <a:extLst>
                <a:ext uri="{FF2B5EF4-FFF2-40B4-BE49-F238E27FC236}">
                  <a16:creationId xmlns:a16="http://schemas.microsoft.com/office/drawing/2014/main" id="{42E664ED-C9FA-45E1-B818-ACB538E96F08}"/>
                </a:ext>
              </a:extLst>
            </p:cNvPr>
            <p:cNvGrpSpPr/>
            <p:nvPr/>
          </p:nvGrpSpPr>
          <p:grpSpPr>
            <a:xfrm>
              <a:off x="1075265" y="1725933"/>
              <a:ext cx="1957245" cy="1693969"/>
              <a:chOff x="1383003" y="2114717"/>
              <a:chExt cx="1793875" cy="1552575"/>
            </a:xfrm>
            <a:grpFill/>
          </p:grpSpPr>
          <p:sp>
            <p:nvSpPr>
              <p:cNvPr id="498" name="Freeform 585">
                <a:extLst>
                  <a:ext uri="{FF2B5EF4-FFF2-40B4-BE49-F238E27FC236}">
                    <a16:creationId xmlns:a16="http://schemas.microsoft.com/office/drawing/2014/main" id="{9D3F9635-D7F7-408D-B1DE-42480C0B7C01}"/>
                  </a:ext>
                </a:extLst>
              </p:cNvPr>
              <p:cNvSpPr>
                <a:spLocks/>
              </p:cNvSpPr>
              <p:nvPr/>
            </p:nvSpPr>
            <p:spPr bwMode="auto">
              <a:xfrm>
                <a:off x="1586203" y="3391067"/>
                <a:ext cx="53975" cy="57150"/>
              </a:xfrm>
              <a:custGeom>
                <a:avLst/>
                <a:gdLst>
                  <a:gd name="T0" fmla="*/ 0 w 34"/>
                  <a:gd name="T1" fmla="*/ 8 h 36"/>
                  <a:gd name="T2" fmla="*/ 0 w 34"/>
                  <a:gd name="T3" fmla="*/ 8 h 36"/>
                  <a:gd name="T4" fmla="*/ 0 w 34"/>
                  <a:gd name="T5" fmla="*/ 8 h 36"/>
                  <a:gd name="T6" fmla="*/ 0 w 34"/>
                  <a:gd name="T7" fmla="*/ 6 h 36"/>
                  <a:gd name="T8" fmla="*/ 2 w 34"/>
                  <a:gd name="T9" fmla="*/ 4 h 36"/>
                  <a:gd name="T10" fmla="*/ 2 w 34"/>
                  <a:gd name="T11" fmla="*/ 4 h 36"/>
                  <a:gd name="T12" fmla="*/ 4 w 34"/>
                  <a:gd name="T13" fmla="*/ 2 h 36"/>
                  <a:gd name="T14" fmla="*/ 6 w 34"/>
                  <a:gd name="T15" fmla="*/ 2 h 36"/>
                  <a:gd name="T16" fmla="*/ 6 w 34"/>
                  <a:gd name="T17" fmla="*/ 0 h 36"/>
                  <a:gd name="T18" fmla="*/ 8 w 34"/>
                  <a:gd name="T19" fmla="*/ 0 h 36"/>
                  <a:gd name="T20" fmla="*/ 8 w 34"/>
                  <a:gd name="T21" fmla="*/ 0 h 36"/>
                  <a:gd name="T22" fmla="*/ 8 w 34"/>
                  <a:gd name="T23" fmla="*/ 0 h 36"/>
                  <a:gd name="T24" fmla="*/ 10 w 34"/>
                  <a:gd name="T25" fmla="*/ 0 h 36"/>
                  <a:gd name="T26" fmla="*/ 12 w 34"/>
                  <a:gd name="T27" fmla="*/ 2 h 36"/>
                  <a:gd name="T28" fmla="*/ 12 w 34"/>
                  <a:gd name="T29" fmla="*/ 2 h 36"/>
                  <a:gd name="T30" fmla="*/ 14 w 34"/>
                  <a:gd name="T31" fmla="*/ 4 h 36"/>
                  <a:gd name="T32" fmla="*/ 16 w 34"/>
                  <a:gd name="T33" fmla="*/ 4 h 36"/>
                  <a:gd name="T34" fmla="*/ 18 w 34"/>
                  <a:gd name="T35" fmla="*/ 8 h 36"/>
                  <a:gd name="T36" fmla="*/ 20 w 34"/>
                  <a:gd name="T37" fmla="*/ 12 h 36"/>
                  <a:gd name="T38" fmla="*/ 22 w 34"/>
                  <a:gd name="T39" fmla="*/ 14 h 36"/>
                  <a:gd name="T40" fmla="*/ 26 w 34"/>
                  <a:gd name="T41" fmla="*/ 20 h 36"/>
                  <a:gd name="T42" fmla="*/ 28 w 34"/>
                  <a:gd name="T43" fmla="*/ 22 h 36"/>
                  <a:gd name="T44" fmla="*/ 30 w 34"/>
                  <a:gd name="T45" fmla="*/ 24 h 36"/>
                  <a:gd name="T46" fmla="*/ 32 w 34"/>
                  <a:gd name="T47" fmla="*/ 26 h 36"/>
                  <a:gd name="T48" fmla="*/ 32 w 34"/>
                  <a:gd name="T49" fmla="*/ 28 h 36"/>
                  <a:gd name="T50" fmla="*/ 34 w 34"/>
                  <a:gd name="T51" fmla="*/ 30 h 36"/>
                  <a:gd name="T52" fmla="*/ 34 w 34"/>
                  <a:gd name="T53" fmla="*/ 30 h 36"/>
                  <a:gd name="T54" fmla="*/ 34 w 34"/>
                  <a:gd name="T55" fmla="*/ 30 h 36"/>
                  <a:gd name="T56" fmla="*/ 34 w 34"/>
                  <a:gd name="T57" fmla="*/ 32 h 36"/>
                  <a:gd name="T58" fmla="*/ 34 w 34"/>
                  <a:gd name="T59" fmla="*/ 32 h 36"/>
                  <a:gd name="T60" fmla="*/ 34 w 34"/>
                  <a:gd name="T61" fmla="*/ 32 h 36"/>
                  <a:gd name="T62" fmla="*/ 32 w 34"/>
                  <a:gd name="T63" fmla="*/ 34 h 36"/>
                  <a:gd name="T64" fmla="*/ 32 w 34"/>
                  <a:gd name="T65" fmla="*/ 34 h 36"/>
                  <a:gd name="T66" fmla="*/ 32 w 34"/>
                  <a:gd name="T67" fmla="*/ 34 h 36"/>
                  <a:gd name="T68" fmla="*/ 30 w 34"/>
                  <a:gd name="T69" fmla="*/ 36 h 36"/>
                  <a:gd name="T70" fmla="*/ 28 w 34"/>
                  <a:gd name="T71" fmla="*/ 36 h 36"/>
                  <a:gd name="T72" fmla="*/ 26 w 34"/>
                  <a:gd name="T73" fmla="*/ 36 h 36"/>
                  <a:gd name="T74" fmla="*/ 24 w 34"/>
                  <a:gd name="T75" fmla="*/ 36 h 36"/>
                  <a:gd name="T76" fmla="*/ 22 w 34"/>
                  <a:gd name="T77" fmla="*/ 36 h 36"/>
                  <a:gd name="T78" fmla="*/ 20 w 34"/>
                  <a:gd name="T79" fmla="*/ 36 h 36"/>
                  <a:gd name="T80" fmla="*/ 18 w 34"/>
                  <a:gd name="T81" fmla="*/ 36 h 36"/>
                  <a:gd name="T82" fmla="*/ 18 w 34"/>
                  <a:gd name="T83" fmla="*/ 36 h 36"/>
                  <a:gd name="T84" fmla="*/ 16 w 34"/>
                  <a:gd name="T85" fmla="*/ 34 h 36"/>
                  <a:gd name="T86" fmla="*/ 16 w 34"/>
                  <a:gd name="T87" fmla="*/ 34 h 36"/>
                  <a:gd name="T88" fmla="*/ 14 w 34"/>
                  <a:gd name="T89" fmla="*/ 32 h 36"/>
                  <a:gd name="T90" fmla="*/ 12 w 34"/>
                  <a:gd name="T91" fmla="*/ 30 h 36"/>
                  <a:gd name="T92" fmla="*/ 10 w 34"/>
                  <a:gd name="T93" fmla="*/ 28 h 36"/>
                  <a:gd name="T94" fmla="*/ 8 w 34"/>
                  <a:gd name="T95" fmla="*/ 26 h 36"/>
                  <a:gd name="T96" fmla="*/ 4 w 34"/>
                  <a:gd name="T97" fmla="*/ 22 h 36"/>
                  <a:gd name="T98" fmla="*/ 2 w 34"/>
                  <a:gd name="T99" fmla="*/ 18 h 36"/>
                  <a:gd name="T100" fmla="*/ 0 w 34"/>
                  <a:gd name="T101" fmla="*/ 16 h 36"/>
                  <a:gd name="T102" fmla="*/ 0 w 34"/>
                  <a:gd name="T103" fmla="*/ 14 h 36"/>
                  <a:gd name="T104" fmla="*/ 0 w 34"/>
                  <a:gd name="T105" fmla="*/ 12 h 36"/>
                  <a:gd name="T106" fmla="*/ 0 w 34"/>
                  <a:gd name="T107" fmla="*/ 10 h 36"/>
                  <a:gd name="T108" fmla="*/ 0 w 34"/>
                  <a:gd name="T109" fmla="*/ 10 h 36"/>
                  <a:gd name="T110" fmla="*/ 0 w 34"/>
                  <a:gd name="T111"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 h="36">
                    <a:moveTo>
                      <a:pt x="0" y="8"/>
                    </a:moveTo>
                    <a:lnTo>
                      <a:pt x="0" y="8"/>
                    </a:lnTo>
                    <a:lnTo>
                      <a:pt x="0" y="8"/>
                    </a:lnTo>
                    <a:lnTo>
                      <a:pt x="0" y="6"/>
                    </a:lnTo>
                    <a:lnTo>
                      <a:pt x="2" y="4"/>
                    </a:lnTo>
                    <a:lnTo>
                      <a:pt x="2" y="4"/>
                    </a:lnTo>
                    <a:lnTo>
                      <a:pt x="4" y="2"/>
                    </a:lnTo>
                    <a:lnTo>
                      <a:pt x="6" y="2"/>
                    </a:lnTo>
                    <a:lnTo>
                      <a:pt x="6" y="0"/>
                    </a:lnTo>
                    <a:lnTo>
                      <a:pt x="8" y="0"/>
                    </a:lnTo>
                    <a:lnTo>
                      <a:pt x="8" y="0"/>
                    </a:lnTo>
                    <a:lnTo>
                      <a:pt x="8" y="0"/>
                    </a:lnTo>
                    <a:lnTo>
                      <a:pt x="10" y="0"/>
                    </a:lnTo>
                    <a:lnTo>
                      <a:pt x="12" y="2"/>
                    </a:lnTo>
                    <a:lnTo>
                      <a:pt x="12" y="2"/>
                    </a:lnTo>
                    <a:lnTo>
                      <a:pt x="14" y="4"/>
                    </a:lnTo>
                    <a:lnTo>
                      <a:pt x="16" y="4"/>
                    </a:lnTo>
                    <a:lnTo>
                      <a:pt x="18" y="8"/>
                    </a:lnTo>
                    <a:lnTo>
                      <a:pt x="20" y="12"/>
                    </a:lnTo>
                    <a:lnTo>
                      <a:pt x="22" y="14"/>
                    </a:lnTo>
                    <a:lnTo>
                      <a:pt x="26" y="20"/>
                    </a:lnTo>
                    <a:lnTo>
                      <a:pt x="28" y="22"/>
                    </a:lnTo>
                    <a:lnTo>
                      <a:pt x="30" y="24"/>
                    </a:lnTo>
                    <a:lnTo>
                      <a:pt x="32" y="26"/>
                    </a:lnTo>
                    <a:lnTo>
                      <a:pt x="32" y="28"/>
                    </a:lnTo>
                    <a:lnTo>
                      <a:pt x="34" y="30"/>
                    </a:lnTo>
                    <a:lnTo>
                      <a:pt x="34" y="30"/>
                    </a:lnTo>
                    <a:lnTo>
                      <a:pt x="34" y="30"/>
                    </a:lnTo>
                    <a:lnTo>
                      <a:pt x="34" y="32"/>
                    </a:lnTo>
                    <a:lnTo>
                      <a:pt x="34" y="32"/>
                    </a:lnTo>
                    <a:lnTo>
                      <a:pt x="34" y="32"/>
                    </a:lnTo>
                    <a:lnTo>
                      <a:pt x="32" y="34"/>
                    </a:lnTo>
                    <a:lnTo>
                      <a:pt x="32" y="34"/>
                    </a:lnTo>
                    <a:lnTo>
                      <a:pt x="32" y="34"/>
                    </a:lnTo>
                    <a:lnTo>
                      <a:pt x="30" y="36"/>
                    </a:lnTo>
                    <a:lnTo>
                      <a:pt x="28" y="36"/>
                    </a:lnTo>
                    <a:lnTo>
                      <a:pt x="26" y="36"/>
                    </a:lnTo>
                    <a:lnTo>
                      <a:pt x="24" y="36"/>
                    </a:lnTo>
                    <a:lnTo>
                      <a:pt x="22" y="36"/>
                    </a:lnTo>
                    <a:lnTo>
                      <a:pt x="20" y="36"/>
                    </a:lnTo>
                    <a:lnTo>
                      <a:pt x="18" y="36"/>
                    </a:lnTo>
                    <a:lnTo>
                      <a:pt x="18" y="36"/>
                    </a:lnTo>
                    <a:lnTo>
                      <a:pt x="16" y="34"/>
                    </a:lnTo>
                    <a:lnTo>
                      <a:pt x="16" y="34"/>
                    </a:lnTo>
                    <a:lnTo>
                      <a:pt x="14" y="32"/>
                    </a:lnTo>
                    <a:lnTo>
                      <a:pt x="12" y="30"/>
                    </a:lnTo>
                    <a:lnTo>
                      <a:pt x="10" y="28"/>
                    </a:lnTo>
                    <a:lnTo>
                      <a:pt x="8" y="26"/>
                    </a:lnTo>
                    <a:lnTo>
                      <a:pt x="4" y="22"/>
                    </a:lnTo>
                    <a:lnTo>
                      <a:pt x="2" y="18"/>
                    </a:lnTo>
                    <a:lnTo>
                      <a:pt x="0" y="16"/>
                    </a:lnTo>
                    <a:lnTo>
                      <a:pt x="0" y="14"/>
                    </a:lnTo>
                    <a:lnTo>
                      <a:pt x="0" y="12"/>
                    </a:lnTo>
                    <a:lnTo>
                      <a:pt x="0" y="10"/>
                    </a:lnTo>
                    <a:lnTo>
                      <a:pt x="0" y="10"/>
                    </a:lnTo>
                    <a:lnTo>
                      <a:pt x="0" y="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9" name="Freeform 530">
                <a:extLst>
                  <a:ext uri="{FF2B5EF4-FFF2-40B4-BE49-F238E27FC236}">
                    <a16:creationId xmlns:a16="http://schemas.microsoft.com/office/drawing/2014/main" id="{FA3C888D-D282-4BBB-811C-FA9B865954EF}"/>
                  </a:ext>
                </a:extLst>
              </p:cNvPr>
              <p:cNvSpPr>
                <a:spLocks/>
              </p:cNvSpPr>
              <p:nvPr/>
            </p:nvSpPr>
            <p:spPr bwMode="auto">
              <a:xfrm>
                <a:off x="1383003" y="2629067"/>
                <a:ext cx="1746250" cy="1038225"/>
              </a:xfrm>
              <a:custGeom>
                <a:avLst/>
                <a:gdLst>
                  <a:gd name="T0" fmla="*/ 1028 w 1100"/>
                  <a:gd name="T1" fmla="*/ 304 h 654"/>
                  <a:gd name="T2" fmla="*/ 1038 w 1100"/>
                  <a:gd name="T3" fmla="*/ 338 h 654"/>
                  <a:gd name="T4" fmla="*/ 1044 w 1100"/>
                  <a:gd name="T5" fmla="*/ 374 h 654"/>
                  <a:gd name="T6" fmla="*/ 1066 w 1100"/>
                  <a:gd name="T7" fmla="*/ 388 h 654"/>
                  <a:gd name="T8" fmla="*/ 1054 w 1100"/>
                  <a:gd name="T9" fmla="*/ 410 h 654"/>
                  <a:gd name="T10" fmla="*/ 1086 w 1100"/>
                  <a:gd name="T11" fmla="*/ 406 h 654"/>
                  <a:gd name="T12" fmla="*/ 1092 w 1100"/>
                  <a:gd name="T13" fmla="*/ 458 h 654"/>
                  <a:gd name="T14" fmla="*/ 1012 w 1100"/>
                  <a:gd name="T15" fmla="*/ 480 h 654"/>
                  <a:gd name="T16" fmla="*/ 912 w 1100"/>
                  <a:gd name="T17" fmla="*/ 512 h 654"/>
                  <a:gd name="T18" fmla="*/ 958 w 1100"/>
                  <a:gd name="T19" fmla="*/ 500 h 654"/>
                  <a:gd name="T20" fmla="*/ 976 w 1100"/>
                  <a:gd name="T21" fmla="*/ 542 h 654"/>
                  <a:gd name="T22" fmla="*/ 988 w 1100"/>
                  <a:gd name="T23" fmla="*/ 582 h 654"/>
                  <a:gd name="T24" fmla="*/ 946 w 1100"/>
                  <a:gd name="T25" fmla="*/ 592 h 654"/>
                  <a:gd name="T26" fmla="*/ 966 w 1100"/>
                  <a:gd name="T27" fmla="*/ 554 h 654"/>
                  <a:gd name="T28" fmla="*/ 920 w 1100"/>
                  <a:gd name="T29" fmla="*/ 540 h 654"/>
                  <a:gd name="T30" fmla="*/ 874 w 1100"/>
                  <a:gd name="T31" fmla="*/ 586 h 654"/>
                  <a:gd name="T32" fmla="*/ 800 w 1100"/>
                  <a:gd name="T33" fmla="*/ 610 h 654"/>
                  <a:gd name="T34" fmla="*/ 732 w 1100"/>
                  <a:gd name="T35" fmla="*/ 646 h 654"/>
                  <a:gd name="T36" fmla="*/ 720 w 1100"/>
                  <a:gd name="T37" fmla="*/ 616 h 654"/>
                  <a:gd name="T38" fmla="*/ 670 w 1100"/>
                  <a:gd name="T39" fmla="*/ 538 h 654"/>
                  <a:gd name="T40" fmla="*/ 560 w 1100"/>
                  <a:gd name="T41" fmla="*/ 520 h 654"/>
                  <a:gd name="T42" fmla="*/ 122 w 1100"/>
                  <a:gd name="T43" fmla="*/ 448 h 654"/>
                  <a:gd name="T44" fmla="*/ 106 w 1100"/>
                  <a:gd name="T45" fmla="*/ 408 h 654"/>
                  <a:gd name="T46" fmla="*/ 116 w 1100"/>
                  <a:gd name="T47" fmla="*/ 360 h 654"/>
                  <a:gd name="T48" fmla="*/ 84 w 1100"/>
                  <a:gd name="T49" fmla="*/ 326 h 654"/>
                  <a:gd name="T50" fmla="*/ 48 w 1100"/>
                  <a:gd name="T51" fmla="*/ 292 h 654"/>
                  <a:gd name="T52" fmla="*/ 20 w 1100"/>
                  <a:gd name="T53" fmla="*/ 290 h 654"/>
                  <a:gd name="T54" fmla="*/ 118 w 1100"/>
                  <a:gd name="T55" fmla="*/ 66 h 654"/>
                  <a:gd name="T56" fmla="*/ 172 w 1100"/>
                  <a:gd name="T57" fmla="*/ 54 h 654"/>
                  <a:gd name="T58" fmla="*/ 198 w 1100"/>
                  <a:gd name="T59" fmla="*/ 48 h 654"/>
                  <a:gd name="T60" fmla="*/ 234 w 1100"/>
                  <a:gd name="T61" fmla="*/ 32 h 654"/>
                  <a:gd name="T62" fmla="*/ 276 w 1100"/>
                  <a:gd name="T63" fmla="*/ 48 h 654"/>
                  <a:gd name="T64" fmla="*/ 306 w 1100"/>
                  <a:gd name="T65" fmla="*/ 46 h 654"/>
                  <a:gd name="T66" fmla="*/ 416 w 1100"/>
                  <a:gd name="T67" fmla="*/ 76 h 654"/>
                  <a:gd name="T68" fmla="*/ 446 w 1100"/>
                  <a:gd name="T69" fmla="*/ 86 h 654"/>
                  <a:gd name="T70" fmla="*/ 486 w 1100"/>
                  <a:gd name="T71" fmla="*/ 96 h 654"/>
                  <a:gd name="T72" fmla="*/ 546 w 1100"/>
                  <a:gd name="T73" fmla="*/ 98 h 654"/>
                  <a:gd name="T74" fmla="*/ 622 w 1100"/>
                  <a:gd name="T75" fmla="*/ 80 h 654"/>
                  <a:gd name="T76" fmla="*/ 660 w 1100"/>
                  <a:gd name="T77" fmla="*/ 68 h 654"/>
                  <a:gd name="T78" fmla="*/ 654 w 1100"/>
                  <a:gd name="T79" fmla="*/ 16 h 654"/>
                  <a:gd name="T80" fmla="*/ 694 w 1100"/>
                  <a:gd name="T81" fmla="*/ 26 h 654"/>
                  <a:gd name="T82" fmla="*/ 714 w 1100"/>
                  <a:gd name="T83" fmla="*/ 80 h 654"/>
                  <a:gd name="T84" fmla="*/ 734 w 1100"/>
                  <a:gd name="T85" fmla="*/ 96 h 654"/>
                  <a:gd name="T86" fmla="*/ 768 w 1100"/>
                  <a:gd name="T87" fmla="*/ 76 h 654"/>
                  <a:gd name="T88" fmla="*/ 812 w 1100"/>
                  <a:gd name="T89" fmla="*/ 54 h 654"/>
                  <a:gd name="T90" fmla="*/ 812 w 1100"/>
                  <a:gd name="T91" fmla="*/ 104 h 654"/>
                  <a:gd name="T92" fmla="*/ 766 w 1100"/>
                  <a:gd name="T93" fmla="*/ 124 h 654"/>
                  <a:gd name="T94" fmla="*/ 722 w 1100"/>
                  <a:gd name="T95" fmla="*/ 144 h 654"/>
                  <a:gd name="T96" fmla="*/ 712 w 1100"/>
                  <a:gd name="T97" fmla="*/ 150 h 654"/>
                  <a:gd name="T98" fmla="*/ 688 w 1100"/>
                  <a:gd name="T99" fmla="*/ 186 h 654"/>
                  <a:gd name="T100" fmla="*/ 604 w 1100"/>
                  <a:gd name="T101" fmla="*/ 274 h 654"/>
                  <a:gd name="T102" fmla="*/ 624 w 1100"/>
                  <a:gd name="T103" fmla="*/ 320 h 654"/>
                  <a:gd name="T104" fmla="*/ 692 w 1100"/>
                  <a:gd name="T105" fmla="*/ 364 h 654"/>
                  <a:gd name="T106" fmla="*/ 750 w 1100"/>
                  <a:gd name="T107" fmla="*/ 382 h 654"/>
                  <a:gd name="T108" fmla="*/ 754 w 1100"/>
                  <a:gd name="T109" fmla="*/ 462 h 654"/>
                  <a:gd name="T110" fmla="*/ 788 w 1100"/>
                  <a:gd name="T111" fmla="*/ 460 h 654"/>
                  <a:gd name="T112" fmla="*/ 806 w 1100"/>
                  <a:gd name="T113" fmla="*/ 380 h 654"/>
                  <a:gd name="T114" fmla="*/ 822 w 1100"/>
                  <a:gd name="T115" fmla="*/ 296 h 654"/>
                  <a:gd name="T116" fmla="*/ 840 w 1100"/>
                  <a:gd name="T117" fmla="*/ 216 h 654"/>
                  <a:gd name="T118" fmla="*/ 902 w 1100"/>
                  <a:gd name="T119" fmla="*/ 224 h 654"/>
                  <a:gd name="T120" fmla="*/ 936 w 1100"/>
                  <a:gd name="T121" fmla="*/ 270 h 654"/>
                  <a:gd name="T122" fmla="*/ 986 w 1100"/>
                  <a:gd name="T123" fmla="*/ 302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0" h="654">
                    <a:moveTo>
                      <a:pt x="1004" y="272"/>
                    </a:moveTo>
                    <a:lnTo>
                      <a:pt x="1004" y="272"/>
                    </a:lnTo>
                    <a:lnTo>
                      <a:pt x="1004" y="272"/>
                    </a:lnTo>
                    <a:lnTo>
                      <a:pt x="1006" y="272"/>
                    </a:lnTo>
                    <a:lnTo>
                      <a:pt x="1006" y="272"/>
                    </a:lnTo>
                    <a:lnTo>
                      <a:pt x="1006" y="272"/>
                    </a:lnTo>
                    <a:lnTo>
                      <a:pt x="1008" y="274"/>
                    </a:lnTo>
                    <a:lnTo>
                      <a:pt x="1008" y="276"/>
                    </a:lnTo>
                    <a:lnTo>
                      <a:pt x="1010" y="278"/>
                    </a:lnTo>
                    <a:lnTo>
                      <a:pt x="1010" y="280"/>
                    </a:lnTo>
                    <a:lnTo>
                      <a:pt x="1012" y="284"/>
                    </a:lnTo>
                    <a:lnTo>
                      <a:pt x="1012" y="284"/>
                    </a:lnTo>
                    <a:lnTo>
                      <a:pt x="1012" y="286"/>
                    </a:lnTo>
                    <a:lnTo>
                      <a:pt x="1012" y="288"/>
                    </a:lnTo>
                    <a:lnTo>
                      <a:pt x="1012" y="294"/>
                    </a:lnTo>
                    <a:lnTo>
                      <a:pt x="1012" y="296"/>
                    </a:lnTo>
                    <a:lnTo>
                      <a:pt x="1014" y="298"/>
                    </a:lnTo>
                    <a:lnTo>
                      <a:pt x="1014" y="300"/>
                    </a:lnTo>
                    <a:lnTo>
                      <a:pt x="1014" y="302"/>
                    </a:lnTo>
                    <a:lnTo>
                      <a:pt x="1014" y="302"/>
                    </a:lnTo>
                    <a:lnTo>
                      <a:pt x="1016" y="302"/>
                    </a:lnTo>
                    <a:lnTo>
                      <a:pt x="1016" y="302"/>
                    </a:lnTo>
                    <a:lnTo>
                      <a:pt x="1016" y="304"/>
                    </a:lnTo>
                    <a:lnTo>
                      <a:pt x="1018" y="304"/>
                    </a:lnTo>
                    <a:lnTo>
                      <a:pt x="1020" y="302"/>
                    </a:lnTo>
                    <a:lnTo>
                      <a:pt x="1022" y="302"/>
                    </a:lnTo>
                    <a:lnTo>
                      <a:pt x="1022" y="302"/>
                    </a:lnTo>
                    <a:lnTo>
                      <a:pt x="1024" y="302"/>
                    </a:lnTo>
                    <a:lnTo>
                      <a:pt x="1026" y="302"/>
                    </a:lnTo>
                    <a:lnTo>
                      <a:pt x="1026" y="302"/>
                    </a:lnTo>
                    <a:lnTo>
                      <a:pt x="1026" y="302"/>
                    </a:lnTo>
                    <a:lnTo>
                      <a:pt x="1028" y="304"/>
                    </a:lnTo>
                    <a:lnTo>
                      <a:pt x="1028" y="304"/>
                    </a:lnTo>
                    <a:lnTo>
                      <a:pt x="1028" y="304"/>
                    </a:lnTo>
                    <a:lnTo>
                      <a:pt x="1028" y="306"/>
                    </a:lnTo>
                    <a:lnTo>
                      <a:pt x="1028" y="308"/>
                    </a:lnTo>
                    <a:lnTo>
                      <a:pt x="1028" y="310"/>
                    </a:lnTo>
                    <a:lnTo>
                      <a:pt x="1028" y="312"/>
                    </a:lnTo>
                    <a:lnTo>
                      <a:pt x="1028" y="316"/>
                    </a:lnTo>
                    <a:lnTo>
                      <a:pt x="1028" y="320"/>
                    </a:lnTo>
                    <a:lnTo>
                      <a:pt x="1028" y="322"/>
                    </a:lnTo>
                    <a:lnTo>
                      <a:pt x="1028" y="324"/>
                    </a:lnTo>
                    <a:lnTo>
                      <a:pt x="1028" y="324"/>
                    </a:lnTo>
                    <a:lnTo>
                      <a:pt x="1030" y="326"/>
                    </a:lnTo>
                    <a:lnTo>
                      <a:pt x="1030" y="328"/>
                    </a:lnTo>
                    <a:lnTo>
                      <a:pt x="1030" y="328"/>
                    </a:lnTo>
                    <a:lnTo>
                      <a:pt x="1030" y="328"/>
                    </a:lnTo>
                    <a:lnTo>
                      <a:pt x="1030" y="328"/>
                    </a:lnTo>
                    <a:lnTo>
                      <a:pt x="1032" y="328"/>
                    </a:lnTo>
                    <a:lnTo>
                      <a:pt x="1032" y="328"/>
                    </a:lnTo>
                    <a:lnTo>
                      <a:pt x="1034" y="328"/>
                    </a:lnTo>
                    <a:lnTo>
                      <a:pt x="1034" y="328"/>
                    </a:lnTo>
                    <a:lnTo>
                      <a:pt x="1036" y="326"/>
                    </a:lnTo>
                    <a:lnTo>
                      <a:pt x="1036" y="326"/>
                    </a:lnTo>
                    <a:lnTo>
                      <a:pt x="1038" y="326"/>
                    </a:lnTo>
                    <a:lnTo>
                      <a:pt x="1038" y="326"/>
                    </a:lnTo>
                    <a:lnTo>
                      <a:pt x="1038" y="326"/>
                    </a:lnTo>
                    <a:lnTo>
                      <a:pt x="1038" y="328"/>
                    </a:lnTo>
                    <a:lnTo>
                      <a:pt x="1038" y="328"/>
                    </a:lnTo>
                    <a:lnTo>
                      <a:pt x="1040" y="328"/>
                    </a:lnTo>
                    <a:lnTo>
                      <a:pt x="1040" y="330"/>
                    </a:lnTo>
                    <a:lnTo>
                      <a:pt x="1040" y="332"/>
                    </a:lnTo>
                    <a:lnTo>
                      <a:pt x="1040" y="334"/>
                    </a:lnTo>
                    <a:lnTo>
                      <a:pt x="1040" y="336"/>
                    </a:lnTo>
                    <a:lnTo>
                      <a:pt x="1038" y="336"/>
                    </a:lnTo>
                    <a:lnTo>
                      <a:pt x="1038" y="338"/>
                    </a:lnTo>
                    <a:lnTo>
                      <a:pt x="1038" y="338"/>
                    </a:lnTo>
                    <a:lnTo>
                      <a:pt x="1036" y="340"/>
                    </a:lnTo>
                    <a:lnTo>
                      <a:pt x="1034" y="340"/>
                    </a:lnTo>
                    <a:lnTo>
                      <a:pt x="1034" y="342"/>
                    </a:lnTo>
                    <a:lnTo>
                      <a:pt x="1032" y="342"/>
                    </a:lnTo>
                    <a:lnTo>
                      <a:pt x="1032" y="342"/>
                    </a:lnTo>
                    <a:lnTo>
                      <a:pt x="1030" y="342"/>
                    </a:lnTo>
                    <a:lnTo>
                      <a:pt x="1030" y="344"/>
                    </a:lnTo>
                    <a:lnTo>
                      <a:pt x="1030" y="346"/>
                    </a:lnTo>
                    <a:lnTo>
                      <a:pt x="1030" y="346"/>
                    </a:lnTo>
                    <a:lnTo>
                      <a:pt x="1030" y="348"/>
                    </a:lnTo>
                    <a:lnTo>
                      <a:pt x="1030" y="350"/>
                    </a:lnTo>
                    <a:lnTo>
                      <a:pt x="1030" y="352"/>
                    </a:lnTo>
                    <a:lnTo>
                      <a:pt x="1032" y="352"/>
                    </a:lnTo>
                    <a:lnTo>
                      <a:pt x="1032" y="352"/>
                    </a:lnTo>
                    <a:lnTo>
                      <a:pt x="1032" y="354"/>
                    </a:lnTo>
                    <a:lnTo>
                      <a:pt x="1032" y="354"/>
                    </a:lnTo>
                    <a:lnTo>
                      <a:pt x="1034" y="354"/>
                    </a:lnTo>
                    <a:lnTo>
                      <a:pt x="1036" y="354"/>
                    </a:lnTo>
                    <a:lnTo>
                      <a:pt x="1036" y="354"/>
                    </a:lnTo>
                    <a:lnTo>
                      <a:pt x="1038" y="354"/>
                    </a:lnTo>
                    <a:lnTo>
                      <a:pt x="1040" y="354"/>
                    </a:lnTo>
                    <a:lnTo>
                      <a:pt x="1042" y="356"/>
                    </a:lnTo>
                    <a:lnTo>
                      <a:pt x="1042" y="356"/>
                    </a:lnTo>
                    <a:lnTo>
                      <a:pt x="1042" y="356"/>
                    </a:lnTo>
                    <a:lnTo>
                      <a:pt x="1042" y="356"/>
                    </a:lnTo>
                    <a:lnTo>
                      <a:pt x="1044" y="358"/>
                    </a:lnTo>
                    <a:lnTo>
                      <a:pt x="1044" y="360"/>
                    </a:lnTo>
                    <a:lnTo>
                      <a:pt x="1044" y="360"/>
                    </a:lnTo>
                    <a:lnTo>
                      <a:pt x="1044" y="364"/>
                    </a:lnTo>
                    <a:lnTo>
                      <a:pt x="1044" y="368"/>
                    </a:lnTo>
                    <a:lnTo>
                      <a:pt x="1044" y="372"/>
                    </a:lnTo>
                    <a:lnTo>
                      <a:pt x="1044" y="374"/>
                    </a:lnTo>
                    <a:lnTo>
                      <a:pt x="1044" y="374"/>
                    </a:lnTo>
                    <a:lnTo>
                      <a:pt x="1044" y="376"/>
                    </a:lnTo>
                    <a:lnTo>
                      <a:pt x="1046" y="378"/>
                    </a:lnTo>
                    <a:lnTo>
                      <a:pt x="1046" y="378"/>
                    </a:lnTo>
                    <a:lnTo>
                      <a:pt x="1046" y="380"/>
                    </a:lnTo>
                    <a:lnTo>
                      <a:pt x="1048" y="380"/>
                    </a:lnTo>
                    <a:lnTo>
                      <a:pt x="1048" y="380"/>
                    </a:lnTo>
                    <a:lnTo>
                      <a:pt x="1050" y="380"/>
                    </a:lnTo>
                    <a:lnTo>
                      <a:pt x="1052" y="380"/>
                    </a:lnTo>
                    <a:lnTo>
                      <a:pt x="1054" y="380"/>
                    </a:lnTo>
                    <a:lnTo>
                      <a:pt x="1056" y="378"/>
                    </a:lnTo>
                    <a:lnTo>
                      <a:pt x="1060" y="376"/>
                    </a:lnTo>
                    <a:lnTo>
                      <a:pt x="1060" y="376"/>
                    </a:lnTo>
                    <a:lnTo>
                      <a:pt x="1062" y="376"/>
                    </a:lnTo>
                    <a:lnTo>
                      <a:pt x="1064" y="376"/>
                    </a:lnTo>
                    <a:lnTo>
                      <a:pt x="1064" y="376"/>
                    </a:lnTo>
                    <a:lnTo>
                      <a:pt x="1066" y="376"/>
                    </a:lnTo>
                    <a:lnTo>
                      <a:pt x="1066" y="378"/>
                    </a:lnTo>
                    <a:lnTo>
                      <a:pt x="1066" y="378"/>
                    </a:lnTo>
                    <a:lnTo>
                      <a:pt x="1066" y="378"/>
                    </a:lnTo>
                    <a:lnTo>
                      <a:pt x="1066" y="378"/>
                    </a:lnTo>
                    <a:lnTo>
                      <a:pt x="1066" y="380"/>
                    </a:lnTo>
                    <a:lnTo>
                      <a:pt x="1066" y="380"/>
                    </a:lnTo>
                    <a:lnTo>
                      <a:pt x="1064" y="382"/>
                    </a:lnTo>
                    <a:lnTo>
                      <a:pt x="1064" y="384"/>
                    </a:lnTo>
                    <a:lnTo>
                      <a:pt x="1064" y="384"/>
                    </a:lnTo>
                    <a:lnTo>
                      <a:pt x="1064" y="386"/>
                    </a:lnTo>
                    <a:lnTo>
                      <a:pt x="1062" y="386"/>
                    </a:lnTo>
                    <a:lnTo>
                      <a:pt x="1064" y="386"/>
                    </a:lnTo>
                    <a:lnTo>
                      <a:pt x="1064" y="388"/>
                    </a:lnTo>
                    <a:lnTo>
                      <a:pt x="1064" y="388"/>
                    </a:lnTo>
                    <a:lnTo>
                      <a:pt x="1064" y="388"/>
                    </a:lnTo>
                    <a:lnTo>
                      <a:pt x="1066" y="388"/>
                    </a:lnTo>
                    <a:lnTo>
                      <a:pt x="1066" y="388"/>
                    </a:lnTo>
                    <a:lnTo>
                      <a:pt x="1068" y="386"/>
                    </a:lnTo>
                    <a:lnTo>
                      <a:pt x="1072" y="386"/>
                    </a:lnTo>
                    <a:lnTo>
                      <a:pt x="1074" y="384"/>
                    </a:lnTo>
                    <a:lnTo>
                      <a:pt x="1076" y="384"/>
                    </a:lnTo>
                    <a:lnTo>
                      <a:pt x="1076" y="384"/>
                    </a:lnTo>
                    <a:lnTo>
                      <a:pt x="1078" y="384"/>
                    </a:lnTo>
                    <a:lnTo>
                      <a:pt x="1078" y="384"/>
                    </a:lnTo>
                    <a:lnTo>
                      <a:pt x="1078" y="384"/>
                    </a:lnTo>
                    <a:lnTo>
                      <a:pt x="1078" y="386"/>
                    </a:lnTo>
                    <a:lnTo>
                      <a:pt x="1078" y="386"/>
                    </a:lnTo>
                    <a:lnTo>
                      <a:pt x="1078" y="386"/>
                    </a:lnTo>
                    <a:lnTo>
                      <a:pt x="1078" y="388"/>
                    </a:lnTo>
                    <a:lnTo>
                      <a:pt x="1078" y="388"/>
                    </a:lnTo>
                    <a:lnTo>
                      <a:pt x="1076" y="390"/>
                    </a:lnTo>
                    <a:lnTo>
                      <a:pt x="1076" y="392"/>
                    </a:lnTo>
                    <a:lnTo>
                      <a:pt x="1072" y="396"/>
                    </a:lnTo>
                    <a:lnTo>
                      <a:pt x="1070" y="396"/>
                    </a:lnTo>
                    <a:lnTo>
                      <a:pt x="1068" y="398"/>
                    </a:lnTo>
                    <a:lnTo>
                      <a:pt x="1068" y="398"/>
                    </a:lnTo>
                    <a:lnTo>
                      <a:pt x="1068" y="400"/>
                    </a:lnTo>
                    <a:lnTo>
                      <a:pt x="1068" y="400"/>
                    </a:lnTo>
                    <a:lnTo>
                      <a:pt x="1066" y="404"/>
                    </a:lnTo>
                    <a:lnTo>
                      <a:pt x="1066" y="406"/>
                    </a:lnTo>
                    <a:lnTo>
                      <a:pt x="1066" y="406"/>
                    </a:lnTo>
                    <a:lnTo>
                      <a:pt x="1066" y="408"/>
                    </a:lnTo>
                    <a:lnTo>
                      <a:pt x="1064" y="408"/>
                    </a:lnTo>
                    <a:lnTo>
                      <a:pt x="1064" y="408"/>
                    </a:lnTo>
                    <a:lnTo>
                      <a:pt x="1062" y="410"/>
                    </a:lnTo>
                    <a:lnTo>
                      <a:pt x="1062" y="410"/>
                    </a:lnTo>
                    <a:lnTo>
                      <a:pt x="1060" y="410"/>
                    </a:lnTo>
                    <a:lnTo>
                      <a:pt x="1056" y="410"/>
                    </a:lnTo>
                    <a:lnTo>
                      <a:pt x="1054" y="410"/>
                    </a:lnTo>
                    <a:lnTo>
                      <a:pt x="1050" y="410"/>
                    </a:lnTo>
                    <a:lnTo>
                      <a:pt x="1048" y="410"/>
                    </a:lnTo>
                    <a:lnTo>
                      <a:pt x="1048" y="412"/>
                    </a:lnTo>
                    <a:lnTo>
                      <a:pt x="1046" y="412"/>
                    </a:lnTo>
                    <a:lnTo>
                      <a:pt x="1046" y="412"/>
                    </a:lnTo>
                    <a:lnTo>
                      <a:pt x="1044" y="412"/>
                    </a:lnTo>
                    <a:lnTo>
                      <a:pt x="1044" y="414"/>
                    </a:lnTo>
                    <a:lnTo>
                      <a:pt x="1044" y="414"/>
                    </a:lnTo>
                    <a:lnTo>
                      <a:pt x="1044" y="414"/>
                    </a:lnTo>
                    <a:lnTo>
                      <a:pt x="1044" y="414"/>
                    </a:lnTo>
                    <a:lnTo>
                      <a:pt x="1044" y="414"/>
                    </a:lnTo>
                    <a:lnTo>
                      <a:pt x="1046" y="416"/>
                    </a:lnTo>
                    <a:lnTo>
                      <a:pt x="1046" y="416"/>
                    </a:lnTo>
                    <a:lnTo>
                      <a:pt x="1048" y="416"/>
                    </a:lnTo>
                    <a:lnTo>
                      <a:pt x="1050" y="418"/>
                    </a:lnTo>
                    <a:lnTo>
                      <a:pt x="1050" y="418"/>
                    </a:lnTo>
                    <a:lnTo>
                      <a:pt x="1052" y="418"/>
                    </a:lnTo>
                    <a:lnTo>
                      <a:pt x="1054" y="418"/>
                    </a:lnTo>
                    <a:lnTo>
                      <a:pt x="1054" y="418"/>
                    </a:lnTo>
                    <a:lnTo>
                      <a:pt x="1056" y="418"/>
                    </a:lnTo>
                    <a:lnTo>
                      <a:pt x="1058" y="418"/>
                    </a:lnTo>
                    <a:lnTo>
                      <a:pt x="1060" y="416"/>
                    </a:lnTo>
                    <a:lnTo>
                      <a:pt x="1064" y="414"/>
                    </a:lnTo>
                    <a:lnTo>
                      <a:pt x="1068" y="414"/>
                    </a:lnTo>
                    <a:lnTo>
                      <a:pt x="1070" y="412"/>
                    </a:lnTo>
                    <a:lnTo>
                      <a:pt x="1072" y="412"/>
                    </a:lnTo>
                    <a:lnTo>
                      <a:pt x="1076" y="410"/>
                    </a:lnTo>
                    <a:lnTo>
                      <a:pt x="1078" y="408"/>
                    </a:lnTo>
                    <a:lnTo>
                      <a:pt x="1078" y="408"/>
                    </a:lnTo>
                    <a:lnTo>
                      <a:pt x="1080" y="406"/>
                    </a:lnTo>
                    <a:lnTo>
                      <a:pt x="1082" y="406"/>
                    </a:lnTo>
                    <a:lnTo>
                      <a:pt x="1084" y="406"/>
                    </a:lnTo>
                    <a:lnTo>
                      <a:pt x="1086" y="406"/>
                    </a:lnTo>
                    <a:lnTo>
                      <a:pt x="1088" y="406"/>
                    </a:lnTo>
                    <a:lnTo>
                      <a:pt x="1090" y="406"/>
                    </a:lnTo>
                    <a:lnTo>
                      <a:pt x="1092" y="406"/>
                    </a:lnTo>
                    <a:lnTo>
                      <a:pt x="1094" y="406"/>
                    </a:lnTo>
                    <a:lnTo>
                      <a:pt x="1094" y="406"/>
                    </a:lnTo>
                    <a:lnTo>
                      <a:pt x="1096" y="406"/>
                    </a:lnTo>
                    <a:lnTo>
                      <a:pt x="1096" y="408"/>
                    </a:lnTo>
                    <a:lnTo>
                      <a:pt x="1096" y="408"/>
                    </a:lnTo>
                    <a:lnTo>
                      <a:pt x="1096" y="408"/>
                    </a:lnTo>
                    <a:lnTo>
                      <a:pt x="1098" y="410"/>
                    </a:lnTo>
                    <a:lnTo>
                      <a:pt x="1098" y="412"/>
                    </a:lnTo>
                    <a:lnTo>
                      <a:pt x="1098" y="414"/>
                    </a:lnTo>
                    <a:lnTo>
                      <a:pt x="1098" y="416"/>
                    </a:lnTo>
                    <a:lnTo>
                      <a:pt x="1098" y="420"/>
                    </a:lnTo>
                    <a:lnTo>
                      <a:pt x="1098" y="422"/>
                    </a:lnTo>
                    <a:lnTo>
                      <a:pt x="1098" y="424"/>
                    </a:lnTo>
                    <a:lnTo>
                      <a:pt x="1098" y="428"/>
                    </a:lnTo>
                    <a:lnTo>
                      <a:pt x="1098" y="434"/>
                    </a:lnTo>
                    <a:lnTo>
                      <a:pt x="1098" y="438"/>
                    </a:lnTo>
                    <a:lnTo>
                      <a:pt x="1098" y="440"/>
                    </a:lnTo>
                    <a:lnTo>
                      <a:pt x="1100" y="442"/>
                    </a:lnTo>
                    <a:lnTo>
                      <a:pt x="1100" y="446"/>
                    </a:lnTo>
                    <a:lnTo>
                      <a:pt x="1100" y="448"/>
                    </a:lnTo>
                    <a:lnTo>
                      <a:pt x="1100" y="450"/>
                    </a:lnTo>
                    <a:lnTo>
                      <a:pt x="1100" y="452"/>
                    </a:lnTo>
                    <a:lnTo>
                      <a:pt x="1100" y="452"/>
                    </a:lnTo>
                    <a:lnTo>
                      <a:pt x="1100" y="454"/>
                    </a:lnTo>
                    <a:lnTo>
                      <a:pt x="1098" y="454"/>
                    </a:lnTo>
                    <a:lnTo>
                      <a:pt x="1098" y="456"/>
                    </a:lnTo>
                    <a:lnTo>
                      <a:pt x="1098" y="456"/>
                    </a:lnTo>
                    <a:lnTo>
                      <a:pt x="1098" y="456"/>
                    </a:lnTo>
                    <a:lnTo>
                      <a:pt x="1096" y="458"/>
                    </a:lnTo>
                    <a:lnTo>
                      <a:pt x="1092" y="458"/>
                    </a:lnTo>
                    <a:lnTo>
                      <a:pt x="1090" y="458"/>
                    </a:lnTo>
                    <a:lnTo>
                      <a:pt x="1088" y="460"/>
                    </a:lnTo>
                    <a:lnTo>
                      <a:pt x="1086" y="460"/>
                    </a:lnTo>
                    <a:lnTo>
                      <a:pt x="1082" y="460"/>
                    </a:lnTo>
                    <a:lnTo>
                      <a:pt x="1080" y="460"/>
                    </a:lnTo>
                    <a:lnTo>
                      <a:pt x="1078" y="460"/>
                    </a:lnTo>
                    <a:lnTo>
                      <a:pt x="1074" y="460"/>
                    </a:lnTo>
                    <a:lnTo>
                      <a:pt x="1072" y="458"/>
                    </a:lnTo>
                    <a:lnTo>
                      <a:pt x="1070" y="458"/>
                    </a:lnTo>
                    <a:lnTo>
                      <a:pt x="1068" y="458"/>
                    </a:lnTo>
                    <a:lnTo>
                      <a:pt x="1066" y="458"/>
                    </a:lnTo>
                    <a:lnTo>
                      <a:pt x="1066" y="458"/>
                    </a:lnTo>
                    <a:lnTo>
                      <a:pt x="1064" y="460"/>
                    </a:lnTo>
                    <a:lnTo>
                      <a:pt x="1064" y="460"/>
                    </a:lnTo>
                    <a:lnTo>
                      <a:pt x="1062" y="462"/>
                    </a:lnTo>
                    <a:lnTo>
                      <a:pt x="1060" y="462"/>
                    </a:lnTo>
                    <a:lnTo>
                      <a:pt x="1058" y="464"/>
                    </a:lnTo>
                    <a:lnTo>
                      <a:pt x="1056" y="468"/>
                    </a:lnTo>
                    <a:lnTo>
                      <a:pt x="1054" y="470"/>
                    </a:lnTo>
                    <a:lnTo>
                      <a:pt x="1050" y="472"/>
                    </a:lnTo>
                    <a:lnTo>
                      <a:pt x="1050" y="474"/>
                    </a:lnTo>
                    <a:lnTo>
                      <a:pt x="1048" y="474"/>
                    </a:lnTo>
                    <a:lnTo>
                      <a:pt x="1046" y="476"/>
                    </a:lnTo>
                    <a:lnTo>
                      <a:pt x="1046" y="476"/>
                    </a:lnTo>
                    <a:lnTo>
                      <a:pt x="1044" y="478"/>
                    </a:lnTo>
                    <a:lnTo>
                      <a:pt x="1042" y="478"/>
                    </a:lnTo>
                    <a:lnTo>
                      <a:pt x="1040" y="478"/>
                    </a:lnTo>
                    <a:lnTo>
                      <a:pt x="1038" y="478"/>
                    </a:lnTo>
                    <a:lnTo>
                      <a:pt x="1034" y="480"/>
                    </a:lnTo>
                    <a:lnTo>
                      <a:pt x="1028" y="480"/>
                    </a:lnTo>
                    <a:lnTo>
                      <a:pt x="1024" y="480"/>
                    </a:lnTo>
                    <a:lnTo>
                      <a:pt x="1020" y="480"/>
                    </a:lnTo>
                    <a:lnTo>
                      <a:pt x="1012" y="480"/>
                    </a:lnTo>
                    <a:lnTo>
                      <a:pt x="1004" y="480"/>
                    </a:lnTo>
                    <a:lnTo>
                      <a:pt x="994" y="480"/>
                    </a:lnTo>
                    <a:lnTo>
                      <a:pt x="984" y="480"/>
                    </a:lnTo>
                    <a:lnTo>
                      <a:pt x="980" y="480"/>
                    </a:lnTo>
                    <a:lnTo>
                      <a:pt x="976" y="480"/>
                    </a:lnTo>
                    <a:lnTo>
                      <a:pt x="974" y="480"/>
                    </a:lnTo>
                    <a:lnTo>
                      <a:pt x="972" y="480"/>
                    </a:lnTo>
                    <a:lnTo>
                      <a:pt x="968" y="478"/>
                    </a:lnTo>
                    <a:lnTo>
                      <a:pt x="966" y="478"/>
                    </a:lnTo>
                    <a:lnTo>
                      <a:pt x="962" y="478"/>
                    </a:lnTo>
                    <a:lnTo>
                      <a:pt x="960" y="478"/>
                    </a:lnTo>
                    <a:lnTo>
                      <a:pt x="960" y="478"/>
                    </a:lnTo>
                    <a:lnTo>
                      <a:pt x="958" y="478"/>
                    </a:lnTo>
                    <a:lnTo>
                      <a:pt x="958" y="478"/>
                    </a:lnTo>
                    <a:lnTo>
                      <a:pt x="958" y="478"/>
                    </a:lnTo>
                    <a:lnTo>
                      <a:pt x="956" y="480"/>
                    </a:lnTo>
                    <a:lnTo>
                      <a:pt x="954" y="482"/>
                    </a:lnTo>
                    <a:lnTo>
                      <a:pt x="952" y="484"/>
                    </a:lnTo>
                    <a:lnTo>
                      <a:pt x="950" y="486"/>
                    </a:lnTo>
                    <a:lnTo>
                      <a:pt x="948" y="488"/>
                    </a:lnTo>
                    <a:lnTo>
                      <a:pt x="946" y="490"/>
                    </a:lnTo>
                    <a:lnTo>
                      <a:pt x="944" y="490"/>
                    </a:lnTo>
                    <a:lnTo>
                      <a:pt x="942" y="492"/>
                    </a:lnTo>
                    <a:lnTo>
                      <a:pt x="936" y="494"/>
                    </a:lnTo>
                    <a:lnTo>
                      <a:pt x="934" y="494"/>
                    </a:lnTo>
                    <a:lnTo>
                      <a:pt x="932" y="496"/>
                    </a:lnTo>
                    <a:lnTo>
                      <a:pt x="930" y="496"/>
                    </a:lnTo>
                    <a:lnTo>
                      <a:pt x="928" y="498"/>
                    </a:lnTo>
                    <a:lnTo>
                      <a:pt x="922" y="502"/>
                    </a:lnTo>
                    <a:lnTo>
                      <a:pt x="918" y="506"/>
                    </a:lnTo>
                    <a:lnTo>
                      <a:pt x="914" y="508"/>
                    </a:lnTo>
                    <a:lnTo>
                      <a:pt x="914" y="510"/>
                    </a:lnTo>
                    <a:lnTo>
                      <a:pt x="912" y="512"/>
                    </a:lnTo>
                    <a:lnTo>
                      <a:pt x="910" y="514"/>
                    </a:lnTo>
                    <a:lnTo>
                      <a:pt x="910" y="516"/>
                    </a:lnTo>
                    <a:lnTo>
                      <a:pt x="910" y="516"/>
                    </a:lnTo>
                    <a:lnTo>
                      <a:pt x="908" y="518"/>
                    </a:lnTo>
                    <a:lnTo>
                      <a:pt x="908" y="518"/>
                    </a:lnTo>
                    <a:lnTo>
                      <a:pt x="910" y="520"/>
                    </a:lnTo>
                    <a:lnTo>
                      <a:pt x="910" y="520"/>
                    </a:lnTo>
                    <a:lnTo>
                      <a:pt x="910" y="520"/>
                    </a:lnTo>
                    <a:lnTo>
                      <a:pt x="910" y="522"/>
                    </a:lnTo>
                    <a:lnTo>
                      <a:pt x="910" y="522"/>
                    </a:lnTo>
                    <a:lnTo>
                      <a:pt x="912" y="522"/>
                    </a:lnTo>
                    <a:lnTo>
                      <a:pt x="912" y="522"/>
                    </a:lnTo>
                    <a:lnTo>
                      <a:pt x="912" y="522"/>
                    </a:lnTo>
                    <a:lnTo>
                      <a:pt x="914" y="522"/>
                    </a:lnTo>
                    <a:lnTo>
                      <a:pt x="916" y="522"/>
                    </a:lnTo>
                    <a:lnTo>
                      <a:pt x="918" y="522"/>
                    </a:lnTo>
                    <a:lnTo>
                      <a:pt x="920" y="520"/>
                    </a:lnTo>
                    <a:lnTo>
                      <a:pt x="922" y="520"/>
                    </a:lnTo>
                    <a:lnTo>
                      <a:pt x="924" y="518"/>
                    </a:lnTo>
                    <a:lnTo>
                      <a:pt x="928" y="516"/>
                    </a:lnTo>
                    <a:lnTo>
                      <a:pt x="932" y="512"/>
                    </a:lnTo>
                    <a:lnTo>
                      <a:pt x="936" y="510"/>
                    </a:lnTo>
                    <a:lnTo>
                      <a:pt x="938" y="508"/>
                    </a:lnTo>
                    <a:lnTo>
                      <a:pt x="940" y="508"/>
                    </a:lnTo>
                    <a:lnTo>
                      <a:pt x="942" y="506"/>
                    </a:lnTo>
                    <a:lnTo>
                      <a:pt x="944" y="506"/>
                    </a:lnTo>
                    <a:lnTo>
                      <a:pt x="948" y="502"/>
                    </a:lnTo>
                    <a:lnTo>
                      <a:pt x="950" y="502"/>
                    </a:lnTo>
                    <a:lnTo>
                      <a:pt x="954" y="500"/>
                    </a:lnTo>
                    <a:lnTo>
                      <a:pt x="954" y="500"/>
                    </a:lnTo>
                    <a:lnTo>
                      <a:pt x="956" y="500"/>
                    </a:lnTo>
                    <a:lnTo>
                      <a:pt x="956" y="500"/>
                    </a:lnTo>
                    <a:lnTo>
                      <a:pt x="958" y="500"/>
                    </a:lnTo>
                    <a:lnTo>
                      <a:pt x="960" y="500"/>
                    </a:lnTo>
                    <a:lnTo>
                      <a:pt x="962" y="500"/>
                    </a:lnTo>
                    <a:lnTo>
                      <a:pt x="966" y="502"/>
                    </a:lnTo>
                    <a:lnTo>
                      <a:pt x="968" y="502"/>
                    </a:lnTo>
                    <a:lnTo>
                      <a:pt x="970" y="504"/>
                    </a:lnTo>
                    <a:lnTo>
                      <a:pt x="972" y="504"/>
                    </a:lnTo>
                    <a:lnTo>
                      <a:pt x="972" y="506"/>
                    </a:lnTo>
                    <a:lnTo>
                      <a:pt x="974" y="506"/>
                    </a:lnTo>
                    <a:lnTo>
                      <a:pt x="974" y="508"/>
                    </a:lnTo>
                    <a:lnTo>
                      <a:pt x="974" y="508"/>
                    </a:lnTo>
                    <a:lnTo>
                      <a:pt x="976" y="510"/>
                    </a:lnTo>
                    <a:lnTo>
                      <a:pt x="976" y="510"/>
                    </a:lnTo>
                    <a:lnTo>
                      <a:pt x="974" y="512"/>
                    </a:lnTo>
                    <a:lnTo>
                      <a:pt x="974" y="512"/>
                    </a:lnTo>
                    <a:lnTo>
                      <a:pt x="974" y="514"/>
                    </a:lnTo>
                    <a:lnTo>
                      <a:pt x="972" y="514"/>
                    </a:lnTo>
                    <a:lnTo>
                      <a:pt x="972" y="516"/>
                    </a:lnTo>
                    <a:lnTo>
                      <a:pt x="970" y="518"/>
                    </a:lnTo>
                    <a:lnTo>
                      <a:pt x="968" y="520"/>
                    </a:lnTo>
                    <a:lnTo>
                      <a:pt x="966" y="522"/>
                    </a:lnTo>
                    <a:lnTo>
                      <a:pt x="964" y="524"/>
                    </a:lnTo>
                    <a:lnTo>
                      <a:pt x="964" y="524"/>
                    </a:lnTo>
                    <a:lnTo>
                      <a:pt x="964" y="526"/>
                    </a:lnTo>
                    <a:lnTo>
                      <a:pt x="964" y="526"/>
                    </a:lnTo>
                    <a:lnTo>
                      <a:pt x="964" y="528"/>
                    </a:lnTo>
                    <a:lnTo>
                      <a:pt x="964" y="530"/>
                    </a:lnTo>
                    <a:lnTo>
                      <a:pt x="966" y="530"/>
                    </a:lnTo>
                    <a:lnTo>
                      <a:pt x="966" y="532"/>
                    </a:lnTo>
                    <a:lnTo>
                      <a:pt x="966" y="532"/>
                    </a:lnTo>
                    <a:lnTo>
                      <a:pt x="968" y="534"/>
                    </a:lnTo>
                    <a:lnTo>
                      <a:pt x="970" y="536"/>
                    </a:lnTo>
                    <a:lnTo>
                      <a:pt x="974" y="538"/>
                    </a:lnTo>
                    <a:lnTo>
                      <a:pt x="976" y="542"/>
                    </a:lnTo>
                    <a:lnTo>
                      <a:pt x="980" y="544"/>
                    </a:lnTo>
                    <a:lnTo>
                      <a:pt x="982" y="546"/>
                    </a:lnTo>
                    <a:lnTo>
                      <a:pt x="984" y="546"/>
                    </a:lnTo>
                    <a:lnTo>
                      <a:pt x="988" y="548"/>
                    </a:lnTo>
                    <a:lnTo>
                      <a:pt x="990" y="548"/>
                    </a:lnTo>
                    <a:lnTo>
                      <a:pt x="996" y="550"/>
                    </a:lnTo>
                    <a:lnTo>
                      <a:pt x="1004" y="552"/>
                    </a:lnTo>
                    <a:lnTo>
                      <a:pt x="1006" y="554"/>
                    </a:lnTo>
                    <a:lnTo>
                      <a:pt x="1010" y="556"/>
                    </a:lnTo>
                    <a:lnTo>
                      <a:pt x="1012" y="556"/>
                    </a:lnTo>
                    <a:lnTo>
                      <a:pt x="1016" y="558"/>
                    </a:lnTo>
                    <a:lnTo>
                      <a:pt x="1016" y="558"/>
                    </a:lnTo>
                    <a:lnTo>
                      <a:pt x="1018" y="560"/>
                    </a:lnTo>
                    <a:lnTo>
                      <a:pt x="1018" y="560"/>
                    </a:lnTo>
                    <a:lnTo>
                      <a:pt x="1020" y="560"/>
                    </a:lnTo>
                    <a:lnTo>
                      <a:pt x="1020" y="562"/>
                    </a:lnTo>
                    <a:lnTo>
                      <a:pt x="1020" y="562"/>
                    </a:lnTo>
                    <a:lnTo>
                      <a:pt x="1020" y="564"/>
                    </a:lnTo>
                    <a:lnTo>
                      <a:pt x="1020" y="564"/>
                    </a:lnTo>
                    <a:lnTo>
                      <a:pt x="1020" y="566"/>
                    </a:lnTo>
                    <a:lnTo>
                      <a:pt x="1020" y="566"/>
                    </a:lnTo>
                    <a:lnTo>
                      <a:pt x="1020" y="568"/>
                    </a:lnTo>
                    <a:lnTo>
                      <a:pt x="1020" y="568"/>
                    </a:lnTo>
                    <a:lnTo>
                      <a:pt x="1018" y="570"/>
                    </a:lnTo>
                    <a:lnTo>
                      <a:pt x="1018" y="570"/>
                    </a:lnTo>
                    <a:lnTo>
                      <a:pt x="1016" y="572"/>
                    </a:lnTo>
                    <a:lnTo>
                      <a:pt x="1014" y="572"/>
                    </a:lnTo>
                    <a:lnTo>
                      <a:pt x="1012" y="574"/>
                    </a:lnTo>
                    <a:lnTo>
                      <a:pt x="1008" y="576"/>
                    </a:lnTo>
                    <a:lnTo>
                      <a:pt x="1006" y="576"/>
                    </a:lnTo>
                    <a:lnTo>
                      <a:pt x="1000" y="578"/>
                    </a:lnTo>
                    <a:lnTo>
                      <a:pt x="994" y="580"/>
                    </a:lnTo>
                    <a:lnTo>
                      <a:pt x="988" y="582"/>
                    </a:lnTo>
                    <a:lnTo>
                      <a:pt x="986" y="584"/>
                    </a:lnTo>
                    <a:lnTo>
                      <a:pt x="984" y="584"/>
                    </a:lnTo>
                    <a:lnTo>
                      <a:pt x="982" y="586"/>
                    </a:lnTo>
                    <a:lnTo>
                      <a:pt x="980" y="588"/>
                    </a:lnTo>
                    <a:lnTo>
                      <a:pt x="976" y="592"/>
                    </a:lnTo>
                    <a:lnTo>
                      <a:pt x="972" y="596"/>
                    </a:lnTo>
                    <a:lnTo>
                      <a:pt x="966" y="600"/>
                    </a:lnTo>
                    <a:lnTo>
                      <a:pt x="964" y="602"/>
                    </a:lnTo>
                    <a:lnTo>
                      <a:pt x="962" y="604"/>
                    </a:lnTo>
                    <a:lnTo>
                      <a:pt x="960" y="604"/>
                    </a:lnTo>
                    <a:lnTo>
                      <a:pt x="958" y="606"/>
                    </a:lnTo>
                    <a:lnTo>
                      <a:pt x="956" y="608"/>
                    </a:lnTo>
                    <a:lnTo>
                      <a:pt x="952" y="608"/>
                    </a:lnTo>
                    <a:lnTo>
                      <a:pt x="952" y="608"/>
                    </a:lnTo>
                    <a:lnTo>
                      <a:pt x="950" y="608"/>
                    </a:lnTo>
                    <a:lnTo>
                      <a:pt x="950" y="608"/>
                    </a:lnTo>
                    <a:lnTo>
                      <a:pt x="948" y="608"/>
                    </a:lnTo>
                    <a:lnTo>
                      <a:pt x="948" y="608"/>
                    </a:lnTo>
                    <a:lnTo>
                      <a:pt x="948" y="608"/>
                    </a:lnTo>
                    <a:lnTo>
                      <a:pt x="946" y="608"/>
                    </a:lnTo>
                    <a:lnTo>
                      <a:pt x="944" y="606"/>
                    </a:lnTo>
                    <a:lnTo>
                      <a:pt x="944" y="606"/>
                    </a:lnTo>
                    <a:lnTo>
                      <a:pt x="942" y="604"/>
                    </a:lnTo>
                    <a:lnTo>
                      <a:pt x="942" y="602"/>
                    </a:lnTo>
                    <a:lnTo>
                      <a:pt x="942" y="602"/>
                    </a:lnTo>
                    <a:lnTo>
                      <a:pt x="942" y="600"/>
                    </a:lnTo>
                    <a:lnTo>
                      <a:pt x="942" y="600"/>
                    </a:lnTo>
                    <a:lnTo>
                      <a:pt x="942" y="598"/>
                    </a:lnTo>
                    <a:lnTo>
                      <a:pt x="942" y="598"/>
                    </a:lnTo>
                    <a:lnTo>
                      <a:pt x="942" y="596"/>
                    </a:lnTo>
                    <a:lnTo>
                      <a:pt x="944" y="594"/>
                    </a:lnTo>
                    <a:lnTo>
                      <a:pt x="944" y="594"/>
                    </a:lnTo>
                    <a:lnTo>
                      <a:pt x="946" y="592"/>
                    </a:lnTo>
                    <a:lnTo>
                      <a:pt x="946" y="590"/>
                    </a:lnTo>
                    <a:lnTo>
                      <a:pt x="948" y="590"/>
                    </a:lnTo>
                    <a:lnTo>
                      <a:pt x="950" y="586"/>
                    </a:lnTo>
                    <a:lnTo>
                      <a:pt x="954" y="584"/>
                    </a:lnTo>
                    <a:lnTo>
                      <a:pt x="958" y="582"/>
                    </a:lnTo>
                    <a:lnTo>
                      <a:pt x="962" y="580"/>
                    </a:lnTo>
                    <a:lnTo>
                      <a:pt x="970" y="574"/>
                    </a:lnTo>
                    <a:lnTo>
                      <a:pt x="972" y="572"/>
                    </a:lnTo>
                    <a:lnTo>
                      <a:pt x="976" y="570"/>
                    </a:lnTo>
                    <a:lnTo>
                      <a:pt x="978" y="568"/>
                    </a:lnTo>
                    <a:lnTo>
                      <a:pt x="980" y="566"/>
                    </a:lnTo>
                    <a:lnTo>
                      <a:pt x="982" y="564"/>
                    </a:lnTo>
                    <a:lnTo>
                      <a:pt x="982" y="564"/>
                    </a:lnTo>
                    <a:lnTo>
                      <a:pt x="984" y="562"/>
                    </a:lnTo>
                    <a:lnTo>
                      <a:pt x="984" y="560"/>
                    </a:lnTo>
                    <a:lnTo>
                      <a:pt x="984" y="560"/>
                    </a:lnTo>
                    <a:lnTo>
                      <a:pt x="984" y="558"/>
                    </a:lnTo>
                    <a:lnTo>
                      <a:pt x="984" y="558"/>
                    </a:lnTo>
                    <a:lnTo>
                      <a:pt x="984" y="558"/>
                    </a:lnTo>
                    <a:lnTo>
                      <a:pt x="984" y="556"/>
                    </a:lnTo>
                    <a:lnTo>
                      <a:pt x="984" y="556"/>
                    </a:lnTo>
                    <a:lnTo>
                      <a:pt x="982" y="554"/>
                    </a:lnTo>
                    <a:lnTo>
                      <a:pt x="982" y="554"/>
                    </a:lnTo>
                    <a:lnTo>
                      <a:pt x="982" y="554"/>
                    </a:lnTo>
                    <a:lnTo>
                      <a:pt x="980" y="552"/>
                    </a:lnTo>
                    <a:lnTo>
                      <a:pt x="978" y="552"/>
                    </a:lnTo>
                    <a:lnTo>
                      <a:pt x="978" y="552"/>
                    </a:lnTo>
                    <a:lnTo>
                      <a:pt x="976" y="552"/>
                    </a:lnTo>
                    <a:lnTo>
                      <a:pt x="974" y="552"/>
                    </a:lnTo>
                    <a:lnTo>
                      <a:pt x="972" y="552"/>
                    </a:lnTo>
                    <a:lnTo>
                      <a:pt x="970" y="552"/>
                    </a:lnTo>
                    <a:lnTo>
                      <a:pt x="968" y="554"/>
                    </a:lnTo>
                    <a:lnTo>
                      <a:pt x="966" y="554"/>
                    </a:lnTo>
                    <a:lnTo>
                      <a:pt x="964" y="556"/>
                    </a:lnTo>
                    <a:lnTo>
                      <a:pt x="962" y="558"/>
                    </a:lnTo>
                    <a:lnTo>
                      <a:pt x="958" y="560"/>
                    </a:lnTo>
                    <a:lnTo>
                      <a:pt x="956" y="562"/>
                    </a:lnTo>
                    <a:lnTo>
                      <a:pt x="952" y="566"/>
                    </a:lnTo>
                    <a:lnTo>
                      <a:pt x="946" y="570"/>
                    </a:lnTo>
                    <a:lnTo>
                      <a:pt x="940" y="576"/>
                    </a:lnTo>
                    <a:lnTo>
                      <a:pt x="936" y="580"/>
                    </a:lnTo>
                    <a:lnTo>
                      <a:pt x="932" y="584"/>
                    </a:lnTo>
                    <a:lnTo>
                      <a:pt x="930" y="584"/>
                    </a:lnTo>
                    <a:lnTo>
                      <a:pt x="928" y="584"/>
                    </a:lnTo>
                    <a:lnTo>
                      <a:pt x="926" y="582"/>
                    </a:lnTo>
                    <a:lnTo>
                      <a:pt x="924" y="582"/>
                    </a:lnTo>
                    <a:lnTo>
                      <a:pt x="924" y="580"/>
                    </a:lnTo>
                    <a:lnTo>
                      <a:pt x="922" y="580"/>
                    </a:lnTo>
                    <a:lnTo>
                      <a:pt x="922" y="580"/>
                    </a:lnTo>
                    <a:lnTo>
                      <a:pt x="922" y="578"/>
                    </a:lnTo>
                    <a:lnTo>
                      <a:pt x="922" y="578"/>
                    </a:lnTo>
                    <a:lnTo>
                      <a:pt x="920" y="576"/>
                    </a:lnTo>
                    <a:lnTo>
                      <a:pt x="920" y="574"/>
                    </a:lnTo>
                    <a:lnTo>
                      <a:pt x="920" y="570"/>
                    </a:lnTo>
                    <a:lnTo>
                      <a:pt x="920" y="568"/>
                    </a:lnTo>
                    <a:lnTo>
                      <a:pt x="920" y="566"/>
                    </a:lnTo>
                    <a:lnTo>
                      <a:pt x="922" y="560"/>
                    </a:lnTo>
                    <a:lnTo>
                      <a:pt x="922" y="554"/>
                    </a:lnTo>
                    <a:lnTo>
                      <a:pt x="922" y="550"/>
                    </a:lnTo>
                    <a:lnTo>
                      <a:pt x="922" y="548"/>
                    </a:lnTo>
                    <a:lnTo>
                      <a:pt x="922" y="546"/>
                    </a:lnTo>
                    <a:lnTo>
                      <a:pt x="922" y="542"/>
                    </a:lnTo>
                    <a:lnTo>
                      <a:pt x="922" y="542"/>
                    </a:lnTo>
                    <a:lnTo>
                      <a:pt x="920" y="542"/>
                    </a:lnTo>
                    <a:lnTo>
                      <a:pt x="920" y="540"/>
                    </a:lnTo>
                    <a:lnTo>
                      <a:pt x="920" y="540"/>
                    </a:lnTo>
                    <a:lnTo>
                      <a:pt x="918" y="538"/>
                    </a:lnTo>
                    <a:lnTo>
                      <a:pt x="918" y="538"/>
                    </a:lnTo>
                    <a:lnTo>
                      <a:pt x="916" y="538"/>
                    </a:lnTo>
                    <a:lnTo>
                      <a:pt x="916" y="536"/>
                    </a:lnTo>
                    <a:lnTo>
                      <a:pt x="912" y="536"/>
                    </a:lnTo>
                    <a:lnTo>
                      <a:pt x="910" y="536"/>
                    </a:lnTo>
                    <a:lnTo>
                      <a:pt x="906" y="534"/>
                    </a:lnTo>
                    <a:lnTo>
                      <a:pt x="904" y="534"/>
                    </a:lnTo>
                    <a:lnTo>
                      <a:pt x="902" y="534"/>
                    </a:lnTo>
                    <a:lnTo>
                      <a:pt x="902" y="534"/>
                    </a:lnTo>
                    <a:lnTo>
                      <a:pt x="900" y="536"/>
                    </a:lnTo>
                    <a:lnTo>
                      <a:pt x="900" y="536"/>
                    </a:lnTo>
                    <a:lnTo>
                      <a:pt x="898" y="536"/>
                    </a:lnTo>
                    <a:lnTo>
                      <a:pt x="898" y="538"/>
                    </a:lnTo>
                    <a:lnTo>
                      <a:pt x="896" y="538"/>
                    </a:lnTo>
                    <a:lnTo>
                      <a:pt x="896" y="540"/>
                    </a:lnTo>
                    <a:lnTo>
                      <a:pt x="896" y="542"/>
                    </a:lnTo>
                    <a:lnTo>
                      <a:pt x="896" y="544"/>
                    </a:lnTo>
                    <a:lnTo>
                      <a:pt x="894" y="546"/>
                    </a:lnTo>
                    <a:lnTo>
                      <a:pt x="892" y="554"/>
                    </a:lnTo>
                    <a:lnTo>
                      <a:pt x="892" y="556"/>
                    </a:lnTo>
                    <a:lnTo>
                      <a:pt x="892" y="558"/>
                    </a:lnTo>
                    <a:lnTo>
                      <a:pt x="890" y="560"/>
                    </a:lnTo>
                    <a:lnTo>
                      <a:pt x="890" y="562"/>
                    </a:lnTo>
                    <a:lnTo>
                      <a:pt x="888" y="566"/>
                    </a:lnTo>
                    <a:lnTo>
                      <a:pt x="884" y="570"/>
                    </a:lnTo>
                    <a:lnTo>
                      <a:pt x="884" y="574"/>
                    </a:lnTo>
                    <a:lnTo>
                      <a:pt x="882" y="576"/>
                    </a:lnTo>
                    <a:lnTo>
                      <a:pt x="878" y="580"/>
                    </a:lnTo>
                    <a:lnTo>
                      <a:pt x="878" y="584"/>
                    </a:lnTo>
                    <a:lnTo>
                      <a:pt x="876" y="584"/>
                    </a:lnTo>
                    <a:lnTo>
                      <a:pt x="874" y="586"/>
                    </a:lnTo>
                    <a:lnTo>
                      <a:pt x="874" y="586"/>
                    </a:lnTo>
                    <a:lnTo>
                      <a:pt x="872" y="588"/>
                    </a:lnTo>
                    <a:lnTo>
                      <a:pt x="872" y="588"/>
                    </a:lnTo>
                    <a:lnTo>
                      <a:pt x="870" y="588"/>
                    </a:lnTo>
                    <a:lnTo>
                      <a:pt x="868" y="588"/>
                    </a:lnTo>
                    <a:lnTo>
                      <a:pt x="868" y="588"/>
                    </a:lnTo>
                    <a:lnTo>
                      <a:pt x="864" y="588"/>
                    </a:lnTo>
                    <a:lnTo>
                      <a:pt x="860" y="588"/>
                    </a:lnTo>
                    <a:lnTo>
                      <a:pt x="856" y="588"/>
                    </a:lnTo>
                    <a:lnTo>
                      <a:pt x="852" y="588"/>
                    </a:lnTo>
                    <a:lnTo>
                      <a:pt x="844" y="586"/>
                    </a:lnTo>
                    <a:lnTo>
                      <a:pt x="836" y="584"/>
                    </a:lnTo>
                    <a:lnTo>
                      <a:pt x="832" y="584"/>
                    </a:lnTo>
                    <a:lnTo>
                      <a:pt x="828" y="582"/>
                    </a:lnTo>
                    <a:lnTo>
                      <a:pt x="824" y="582"/>
                    </a:lnTo>
                    <a:lnTo>
                      <a:pt x="820" y="582"/>
                    </a:lnTo>
                    <a:lnTo>
                      <a:pt x="818" y="582"/>
                    </a:lnTo>
                    <a:lnTo>
                      <a:pt x="816" y="582"/>
                    </a:lnTo>
                    <a:lnTo>
                      <a:pt x="816" y="584"/>
                    </a:lnTo>
                    <a:lnTo>
                      <a:pt x="814" y="584"/>
                    </a:lnTo>
                    <a:lnTo>
                      <a:pt x="812" y="584"/>
                    </a:lnTo>
                    <a:lnTo>
                      <a:pt x="810" y="586"/>
                    </a:lnTo>
                    <a:lnTo>
                      <a:pt x="810" y="586"/>
                    </a:lnTo>
                    <a:lnTo>
                      <a:pt x="808" y="588"/>
                    </a:lnTo>
                    <a:lnTo>
                      <a:pt x="806" y="590"/>
                    </a:lnTo>
                    <a:lnTo>
                      <a:pt x="804" y="592"/>
                    </a:lnTo>
                    <a:lnTo>
                      <a:pt x="804" y="594"/>
                    </a:lnTo>
                    <a:lnTo>
                      <a:pt x="802" y="594"/>
                    </a:lnTo>
                    <a:lnTo>
                      <a:pt x="802" y="596"/>
                    </a:lnTo>
                    <a:lnTo>
                      <a:pt x="802" y="598"/>
                    </a:lnTo>
                    <a:lnTo>
                      <a:pt x="800" y="600"/>
                    </a:lnTo>
                    <a:lnTo>
                      <a:pt x="800" y="602"/>
                    </a:lnTo>
                    <a:lnTo>
                      <a:pt x="800" y="606"/>
                    </a:lnTo>
                    <a:lnTo>
                      <a:pt x="800" y="610"/>
                    </a:lnTo>
                    <a:lnTo>
                      <a:pt x="798" y="612"/>
                    </a:lnTo>
                    <a:lnTo>
                      <a:pt x="798" y="614"/>
                    </a:lnTo>
                    <a:lnTo>
                      <a:pt x="798" y="614"/>
                    </a:lnTo>
                    <a:lnTo>
                      <a:pt x="798" y="616"/>
                    </a:lnTo>
                    <a:lnTo>
                      <a:pt x="796" y="616"/>
                    </a:lnTo>
                    <a:lnTo>
                      <a:pt x="796" y="616"/>
                    </a:lnTo>
                    <a:lnTo>
                      <a:pt x="794" y="616"/>
                    </a:lnTo>
                    <a:lnTo>
                      <a:pt x="794" y="618"/>
                    </a:lnTo>
                    <a:lnTo>
                      <a:pt x="792" y="618"/>
                    </a:lnTo>
                    <a:lnTo>
                      <a:pt x="790" y="618"/>
                    </a:lnTo>
                    <a:lnTo>
                      <a:pt x="788" y="618"/>
                    </a:lnTo>
                    <a:lnTo>
                      <a:pt x="786" y="618"/>
                    </a:lnTo>
                    <a:lnTo>
                      <a:pt x="780" y="616"/>
                    </a:lnTo>
                    <a:lnTo>
                      <a:pt x="776" y="616"/>
                    </a:lnTo>
                    <a:lnTo>
                      <a:pt x="770" y="614"/>
                    </a:lnTo>
                    <a:lnTo>
                      <a:pt x="768" y="614"/>
                    </a:lnTo>
                    <a:lnTo>
                      <a:pt x="766" y="614"/>
                    </a:lnTo>
                    <a:lnTo>
                      <a:pt x="766" y="614"/>
                    </a:lnTo>
                    <a:lnTo>
                      <a:pt x="764" y="614"/>
                    </a:lnTo>
                    <a:lnTo>
                      <a:pt x="762" y="616"/>
                    </a:lnTo>
                    <a:lnTo>
                      <a:pt x="762" y="616"/>
                    </a:lnTo>
                    <a:lnTo>
                      <a:pt x="760" y="616"/>
                    </a:lnTo>
                    <a:lnTo>
                      <a:pt x="758" y="618"/>
                    </a:lnTo>
                    <a:lnTo>
                      <a:pt x="756" y="620"/>
                    </a:lnTo>
                    <a:lnTo>
                      <a:pt x="754" y="624"/>
                    </a:lnTo>
                    <a:lnTo>
                      <a:pt x="752" y="626"/>
                    </a:lnTo>
                    <a:lnTo>
                      <a:pt x="750" y="626"/>
                    </a:lnTo>
                    <a:lnTo>
                      <a:pt x="750" y="628"/>
                    </a:lnTo>
                    <a:lnTo>
                      <a:pt x="748" y="630"/>
                    </a:lnTo>
                    <a:lnTo>
                      <a:pt x="744" y="634"/>
                    </a:lnTo>
                    <a:lnTo>
                      <a:pt x="740" y="638"/>
                    </a:lnTo>
                    <a:lnTo>
                      <a:pt x="736" y="642"/>
                    </a:lnTo>
                    <a:lnTo>
                      <a:pt x="732" y="646"/>
                    </a:lnTo>
                    <a:lnTo>
                      <a:pt x="730" y="648"/>
                    </a:lnTo>
                    <a:lnTo>
                      <a:pt x="728" y="650"/>
                    </a:lnTo>
                    <a:lnTo>
                      <a:pt x="726" y="652"/>
                    </a:lnTo>
                    <a:lnTo>
                      <a:pt x="724" y="652"/>
                    </a:lnTo>
                    <a:lnTo>
                      <a:pt x="722" y="654"/>
                    </a:lnTo>
                    <a:lnTo>
                      <a:pt x="720" y="654"/>
                    </a:lnTo>
                    <a:lnTo>
                      <a:pt x="718" y="654"/>
                    </a:lnTo>
                    <a:lnTo>
                      <a:pt x="716" y="654"/>
                    </a:lnTo>
                    <a:lnTo>
                      <a:pt x="714" y="654"/>
                    </a:lnTo>
                    <a:lnTo>
                      <a:pt x="710" y="654"/>
                    </a:lnTo>
                    <a:lnTo>
                      <a:pt x="708" y="652"/>
                    </a:lnTo>
                    <a:lnTo>
                      <a:pt x="706" y="652"/>
                    </a:lnTo>
                    <a:lnTo>
                      <a:pt x="704" y="650"/>
                    </a:lnTo>
                    <a:lnTo>
                      <a:pt x="702" y="650"/>
                    </a:lnTo>
                    <a:lnTo>
                      <a:pt x="702" y="650"/>
                    </a:lnTo>
                    <a:lnTo>
                      <a:pt x="700" y="648"/>
                    </a:lnTo>
                    <a:lnTo>
                      <a:pt x="700" y="648"/>
                    </a:lnTo>
                    <a:lnTo>
                      <a:pt x="698" y="646"/>
                    </a:lnTo>
                    <a:lnTo>
                      <a:pt x="698" y="646"/>
                    </a:lnTo>
                    <a:lnTo>
                      <a:pt x="698" y="644"/>
                    </a:lnTo>
                    <a:lnTo>
                      <a:pt x="698" y="644"/>
                    </a:lnTo>
                    <a:lnTo>
                      <a:pt x="698" y="644"/>
                    </a:lnTo>
                    <a:lnTo>
                      <a:pt x="698" y="642"/>
                    </a:lnTo>
                    <a:lnTo>
                      <a:pt x="700" y="640"/>
                    </a:lnTo>
                    <a:lnTo>
                      <a:pt x="700" y="640"/>
                    </a:lnTo>
                    <a:lnTo>
                      <a:pt x="704" y="636"/>
                    </a:lnTo>
                    <a:lnTo>
                      <a:pt x="704" y="636"/>
                    </a:lnTo>
                    <a:lnTo>
                      <a:pt x="706" y="634"/>
                    </a:lnTo>
                    <a:lnTo>
                      <a:pt x="708" y="632"/>
                    </a:lnTo>
                    <a:lnTo>
                      <a:pt x="710" y="628"/>
                    </a:lnTo>
                    <a:lnTo>
                      <a:pt x="716" y="622"/>
                    </a:lnTo>
                    <a:lnTo>
                      <a:pt x="718" y="618"/>
                    </a:lnTo>
                    <a:lnTo>
                      <a:pt x="720" y="616"/>
                    </a:lnTo>
                    <a:lnTo>
                      <a:pt x="720" y="614"/>
                    </a:lnTo>
                    <a:lnTo>
                      <a:pt x="722" y="614"/>
                    </a:lnTo>
                    <a:lnTo>
                      <a:pt x="722" y="612"/>
                    </a:lnTo>
                    <a:lnTo>
                      <a:pt x="722" y="610"/>
                    </a:lnTo>
                    <a:lnTo>
                      <a:pt x="724" y="608"/>
                    </a:lnTo>
                    <a:lnTo>
                      <a:pt x="724" y="608"/>
                    </a:lnTo>
                    <a:lnTo>
                      <a:pt x="722" y="606"/>
                    </a:lnTo>
                    <a:lnTo>
                      <a:pt x="722" y="604"/>
                    </a:lnTo>
                    <a:lnTo>
                      <a:pt x="722" y="602"/>
                    </a:lnTo>
                    <a:lnTo>
                      <a:pt x="720" y="600"/>
                    </a:lnTo>
                    <a:lnTo>
                      <a:pt x="720" y="598"/>
                    </a:lnTo>
                    <a:lnTo>
                      <a:pt x="718" y="594"/>
                    </a:lnTo>
                    <a:lnTo>
                      <a:pt x="716" y="590"/>
                    </a:lnTo>
                    <a:lnTo>
                      <a:pt x="714" y="586"/>
                    </a:lnTo>
                    <a:lnTo>
                      <a:pt x="710" y="582"/>
                    </a:lnTo>
                    <a:lnTo>
                      <a:pt x="710" y="580"/>
                    </a:lnTo>
                    <a:lnTo>
                      <a:pt x="708" y="576"/>
                    </a:lnTo>
                    <a:lnTo>
                      <a:pt x="706" y="572"/>
                    </a:lnTo>
                    <a:lnTo>
                      <a:pt x="702" y="564"/>
                    </a:lnTo>
                    <a:lnTo>
                      <a:pt x="700" y="560"/>
                    </a:lnTo>
                    <a:lnTo>
                      <a:pt x="698" y="556"/>
                    </a:lnTo>
                    <a:lnTo>
                      <a:pt x="698" y="554"/>
                    </a:lnTo>
                    <a:lnTo>
                      <a:pt x="696" y="554"/>
                    </a:lnTo>
                    <a:lnTo>
                      <a:pt x="696" y="552"/>
                    </a:lnTo>
                    <a:lnTo>
                      <a:pt x="694" y="550"/>
                    </a:lnTo>
                    <a:lnTo>
                      <a:pt x="694" y="550"/>
                    </a:lnTo>
                    <a:lnTo>
                      <a:pt x="692" y="548"/>
                    </a:lnTo>
                    <a:lnTo>
                      <a:pt x="690" y="548"/>
                    </a:lnTo>
                    <a:lnTo>
                      <a:pt x="686" y="546"/>
                    </a:lnTo>
                    <a:lnTo>
                      <a:pt x="682" y="544"/>
                    </a:lnTo>
                    <a:lnTo>
                      <a:pt x="676" y="542"/>
                    </a:lnTo>
                    <a:lnTo>
                      <a:pt x="672" y="540"/>
                    </a:lnTo>
                    <a:lnTo>
                      <a:pt x="670" y="538"/>
                    </a:lnTo>
                    <a:lnTo>
                      <a:pt x="668" y="536"/>
                    </a:lnTo>
                    <a:lnTo>
                      <a:pt x="666" y="534"/>
                    </a:lnTo>
                    <a:lnTo>
                      <a:pt x="660" y="530"/>
                    </a:lnTo>
                    <a:lnTo>
                      <a:pt x="658" y="528"/>
                    </a:lnTo>
                    <a:lnTo>
                      <a:pt x="656" y="526"/>
                    </a:lnTo>
                    <a:lnTo>
                      <a:pt x="652" y="524"/>
                    </a:lnTo>
                    <a:lnTo>
                      <a:pt x="652" y="524"/>
                    </a:lnTo>
                    <a:lnTo>
                      <a:pt x="650" y="524"/>
                    </a:lnTo>
                    <a:lnTo>
                      <a:pt x="648" y="522"/>
                    </a:lnTo>
                    <a:lnTo>
                      <a:pt x="648" y="522"/>
                    </a:lnTo>
                    <a:lnTo>
                      <a:pt x="644" y="522"/>
                    </a:lnTo>
                    <a:lnTo>
                      <a:pt x="642" y="522"/>
                    </a:lnTo>
                    <a:lnTo>
                      <a:pt x="638" y="522"/>
                    </a:lnTo>
                    <a:lnTo>
                      <a:pt x="630" y="522"/>
                    </a:lnTo>
                    <a:lnTo>
                      <a:pt x="628" y="524"/>
                    </a:lnTo>
                    <a:lnTo>
                      <a:pt x="624" y="524"/>
                    </a:lnTo>
                    <a:lnTo>
                      <a:pt x="620" y="522"/>
                    </a:lnTo>
                    <a:lnTo>
                      <a:pt x="616" y="522"/>
                    </a:lnTo>
                    <a:lnTo>
                      <a:pt x="604" y="522"/>
                    </a:lnTo>
                    <a:lnTo>
                      <a:pt x="594" y="520"/>
                    </a:lnTo>
                    <a:lnTo>
                      <a:pt x="588" y="520"/>
                    </a:lnTo>
                    <a:lnTo>
                      <a:pt x="584" y="520"/>
                    </a:lnTo>
                    <a:lnTo>
                      <a:pt x="584" y="520"/>
                    </a:lnTo>
                    <a:lnTo>
                      <a:pt x="582" y="520"/>
                    </a:lnTo>
                    <a:lnTo>
                      <a:pt x="578" y="520"/>
                    </a:lnTo>
                    <a:lnTo>
                      <a:pt x="574" y="520"/>
                    </a:lnTo>
                    <a:lnTo>
                      <a:pt x="570" y="522"/>
                    </a:lnTo>
                    <a:lnTo>
                      <a:pt x="566" y="522"/>
                    </a:lnTo>
                    <a:lnTo>
                      <a:pt x="564" y="522"/>
                    </a:lnTo>
                    <a:lnTo>
                      <a:pt x="564" y="522"/>
                    </a:lnTo>
                    <a:lnTo>
                      <a:pt x="562" y="522"/>
                    </a:lnTo>
                    <a:lnTo>
                      <a:pt x="560" y="520"/>
                    </a:lnTo>
                    <a:lnTo>
                      <a:pt x="560" y="520"/>
                    </a:lnTo>
                    <a:lnTo>
                      <a:pt x="558" y="520"/>
                    </a:lnTo>
                    <a:lnTo>
                      <a:pt x="558" y="518"/>
                    </a:lnTo>
                    <a:lnTo>
                      <a:pt x="558" y="518"/>
                    </a:lnTo>
                    <a:lnTo>
                      <a:pt x="558" y="516"/>
                    </a:lnTo>
                    <a:lnTo>
                      <a:pt x="558" y="516"/>
                    </a:lnTo>
                    <a:lnTo>
                      <a:pt x="558" y="514"/>
                    </a:lnTo>
                    <a:lnTo>
                      <a:pt x="558" y="510"/>
                    </a:lnTo>
                    <a:lnTo>
                      <a:pt x="560" y="510"/>
                    </a:lnTo>
                    <a:lnTo>
                      <a:pt x="176" y="510"/>
                    </a:lnTo>
                    <a:lnTo>
                      <a:pt x="174" y="508"/>
                    </a:lnTo>
                    <a:lnTo>
                      <a:pt x="170" y="500"/>
                    </a:lnTo>
                    <a:lnTo>
                      <a:pt x="166" y="496"/>
                    </a:lnTo>
                    <a:lnTo>
                      <a:pt x="162" y="492"/>
                    </a:lnTo>
                    <a:lnTo>
                      <a:pt x="160" y="490"/>
                    </a:lnTo>
                    <a:lnTo>
                      <a:pt x="158" y="486"/>
                    </a:lnTo>
                    <a:lnTo>
                      <a:pt x="156" y="486"/>
                    </a:lnTo>
                    <a:lnTo>
                      <a:pt x="154" y="484"/>
                    </a:lnTo>
                    <a:lnTo>
                      <a:pt x="148" y="480"/>
                    </a:lnTo>
                    <a:lnTo>
                      <a:pt x="142" y="476"/>
                    </a:lnTo>
                    <a:lnTo>
                      <a:pt x="140" y="476"/>
                    </a:lnTo>
                    <a:lnTo>
                      <a:pt x="138" y="474"/>
                    </a:lnTo>
                    <a:lnTo>
                      <a:pt x="134" y="470"/>
                    </a:lnTo>
                    <a:lnTo>
                      <a:pt x="132" y="468"/>
                    </a:lnTo>
                    <a:lnTo>
                      <a:pt x="130" y="466"/>
                    </a:lnTo>
                    <a:lnTo>
                      <a:pt x="128" y="464"/>
                    </a:lnTo>
                    <a:lnTo>
                      <a:pt x="126" y="460"/>
                    </a:lnTo>
                    <a:lnTo>
                      <a:pt x="124" y="458"/>
                    </a:lnTo>
                    <a:lnTo>
                      <a:pt x="124" y="458"/>
                    </a:lnTo>
                    <a:lnTo>
                      <a:pt x="124" y="456"/>
                    </a:lnTo>
                    <a:lnTo>
                      <a:pt x="124" y="456"/>
                    </a:lnTo>
                    <a:lnTo>
                      <a:pt x="124" y="454"/>
                    </a:lnTo>
                    <a:lnTo>
                      <a:pt x="122" y="452"/>
                    </a:lnTo>
                    <a:lnTo>
                      <a:pt x="122" y="448"/>
                    </a:lnTo>
                    <a:lnTo>
                      <a:pt x="122" y="446"/>
                    </a:lnTo>
                    <a:lnTo>
                      <a:pt x="122" y="440"/>
                    </a:lnTo>
                    <a:lnTo>
                      <a:pt x="122" y="438"/>
                    </a:lnTo>
                    <a:lnTo>
                      <a:pt x="122" y="434"/>
                    </a:lnTo>
                    <a:lnTo>
                      <a:pt x="122" y="434"/>
                    </a:lnTo>
                    <a:lnTo>
                      <a:pt x="122" y="430"/>
                    </a:lnTo>
                    <a:lnTo>
                      <a:pt x="122" y="426"/>
                    </a:lnTo>
                    <a:lnTo>
                      <a:pt x="122" y="424"/>
                    </a:lnTo>
                    <a:lnTo>
                      <a:pt x="122" y="420"/>
                    </a:lnTo>
                    <a:lnTo>
                      <a:pt x="122" y="420"/>
                    </a:lnTo>
                    <a:lnTo>
                      <a:pt x="122" y="418"/>
                    </a:lnTo>
                    <a:lnTo>
                      <a:pt x="122" y="418"/>
                    </a:lnTo>
                    <a:lnTo>
                      <a:pt x="122" y="418"/>
                    </a:lnTo>
                    <a:lnTo>
                      <a:pt x="120" y="418"/>
                    </a:lnTo>
                    <a:lnTo>
                      <a:pt x="120" y="416"/>
                    </a:lnTo>
                    <a:lnTo>
                      <a:pt x="120" y="416"/>
                    </a:lnTo>
                    <a:lnTo>
                      <a:pt x="118" y="416"/>
                    </a:lnTo>
                    <a:lnTo>
                      <a:pt x="116" y="418"/>
                    </a:lnTo>
                    <a:lnTo>
                      <a:pt x="114" y="418"/>
                    </a:lnTo>
                    <a:lnTo>
                      <a:pt x="112" y="418"/>
                    </a:lnTo>
                    <a:lnTo>
                      <a:pt x="110" y="418"/>
                    </a:lnTo>
                    <a:lnTo>
                      <a:pt x="110" y="418"/>
                    </a:lnTo>
                    <a:lnTo>
                      <a:pt x="108" y="418"/>
                    </a:lnTo>
                    <a:lnTo>
                      <a:pt x="108" y="418"/>
                    </a:lnTo>
                    <a:lnTo>
                      <a:pt x="108" y="418"/>
                    </a:lnTo>
                    <a:lnTo>
                      <a:pt x="106" y="418"/>
                    </a:lnTo>
                    <a:lnTo>
                      <a:pt x="106" y="418"/>
                    </a:lnTo>
                    <a:lnTo>
                      <a:pt x="106" y="416"/>
                    </a:lnTo>
                    <a:lnTo>
                      <a:pt x="106" y="416"/>
                    </a:lnTo>
                    <a:lnTo>
                      <a:pt x="106" y="414"/>
                    </a:lnTo>
                    <a:lnTo>
                      <a:pt x="106" y="412"/>
                    </a:lnTo>
                    <a:lnTo>
                      <a:pt x="106" y="410"/>
                    </a:lnTo>
                    <a:lnTo>
                      <a:pt x="106" y="408"/>
                    </a:lnTo>
                    <a:lnTo>
                      <a:pt x="106" y="406"/>
                    </a:lnTo>
                    <a:lnTo>
                      <a:pt x="106" y="406"/>
                    </a:lnTo>
                    <a:lnTo>
                      <a:pt x="106" y="404"/>
                    </a:lnTo>
                    <a:lnTo>
                      <a:pt x="106" y="404"/>
                    </a:lnTo>
                    <a:lnTo>
                      <a:pt x="106" y="404"/>
                    </a:lnTo>
                    <a:lnTo>
                      <a:pt x="104" y="404"/>
                    </a:lnTo>
                    <a:lnTo>
                      <a:pt x="102" y="404"/>
                    </a:lnTo>
                    <a:lnTo>
                      <a:pt x="102" y="402"/>
                    </a:lnTo>
                    <a:lnTo>
                      <a:pt x="100" y="402"/>
                    </a:lnTo>
                    <a:lnTo>
                      <a:pt x="98" y="402"/>
                    </a:lnTo>
                    <a:lnTo>
                      <a:pt x="98" y="402"/>
                    </a:lnTo>
                    <a:lnTo>
                      <a:pt x="98" y="402"/>
                    </a:lnTo>
                    <a:lnTo>
                      <a:pt x="98" y="402"/>
                    </a:lnTo>
                    <a:lnTo>
                      <a:pt x="96" y="400"/>
                    </a:lnTo>
                    <a:lnTo>
                      <a:pt x="96" y="398"/>
                    </a:lnTo>
                    <a:lnTo>
                      <a:pt x="96" y="398"/>
                    </a:lnTo>
                    <a:lnTo>
                      <a:pt x="96" y="396"/>
                    </a:lnTo>
                    <a:lnTo>
                      <a:pt x="96" y="394"/>
                    </a:lnTo>
                    <a:lnTo>
                      <a:pt x="96" y="390"/>
                    </a:lnTo>
                    <a:lnTo>
                      <a:pt x="98" y="388"/>
                    </a:lnTo>
                    <a:lnTo>
                      <a:pt x="98" y="384"/>
                    </a:lnTo>
                    <a:lnTo>
                      <a:pt x="100" y="380"/>
                    </a:lnTo>
                    <a:lnTo>
                      <a:pt x="100" y="378"/>
                    </a:lnTo>
                    <a:lnTo>
                      <a:pt x="100" y="376"/>
                    </a:lnTo>
                    <a:lnTo>
                      <a:pt x="104" y="372"/>
                    </a:lnTo>
                    <a:lnTo>
                      <a:pt x="106" y="368"/>
                    </a:lnTo>
                    <a:lnTo>
                      <a:pt x="108" y="368"/>
                    </a:lnTo>
                    <a:lnTo>
                      <a:pt x="110" y="366"/>
                    </a:lnTo>
                    <a:lnTo>
                      <a:pt x="112" y="364"/>
                    </a:lnTo>
                    <a:lnTo>
                      <a:pt x="114" y="362"/>
                    </a:lnTo>
                    <a:lnTo>
                      <a:pt x="114" y="362"/>
                    </a:lnTo>
                    <a:lnTo>
                      <a:pt x="116" y="360"/>
                    </a:lnTo>
                    <a:lnTo>
                      <a:pt x="116" y="360"/>
                    </a:lnTo>
                    <a:lnTo>
                      <a:pt x="116" y="358"/>
                    </a:lnTo>
                    <a:lnTo>
                      <a:pt x="116" y="358"/>
                    </a:lnTo>
                    <a:lnTo>
                      <a:pt x="116" y="358"/>
                    </a:lnTo>
                    <a:lnTo>
                      <a:pt x="114" y="356"/>
                    </a:lnTo>
                    <a:lnTo>
                      <a:pt x="114" y="356"/>
                    </a:lnTo>
                    <a:lnTo>
                      <a:pt x="112" y="356"/>
                    </a:lnTo>
                    <a:lnTo>
                      <a:pt x="112" y="356"/>
                    </a:lnTo>
                    <a:lnTo>
                      <a:pt x="110" y="356"/>
                    </a:lnTo>
                    <a:lnTo>
                      <a:pt x="106" y="356"/>
                    </a:lnTo>
                    <a:lnTo>
                      <a:pt x="104" y="356"/>
                    </a:lnTo>
                    <a:lnTo>
                      <a:pt x="100" y="354"/>
                    </a:lnTo>
                    <a:lnTo>
                      <a:pt x="100" y="354"/>
                    </a:lnTo>
                    <a:lnTo>
                      <a:pt x="98" y="354"/>
                    </a:lnTo>
                    <a:lnTo>
                      <a:pt x="96" y="354"/>
                    </a:lnTo>
                    <a:lnTo>
                      <a:pt x="96" y="352"/>
                    </a:lnTo>
                    <a:lnTo>
                      <a:pt x="96" y="352"/>
                    </a:lnTo>
                    <a:lnTo>
                      <a:pt x="94" y="352"/>
                    </a:lnTo>
                    <a:lnTo>
                      <a:pt x="94" y="350"/>
                    </a:lnTo>
                    <a:lnTo>
                      <a:pt x="94" y="348"/>
                    </a:lnTo>
                    <a:lnTo>
                      <a:pt x="94" y="344"/>
                    </a:lnTo>
                    <a:lnTo>
                      <a:pt x="94" y="342"/>
                    </a:lnTo>
                    <a:lnTo>
                      <a:pt x="94" y="338"/>
                    </a:lnTo>
                    <a:lnTo>
                      <a:pt x="92" y="334"/>
                    </a:lnTo>
                    <a:lnTo>
                      <a:pt x="92" y="332"/>
                    </a:lnTo>
                    <a:lnTo>
                      <a:pt x="92" y="332"/>
                    </a:lnTo>
                    <a:lnTo>
                      <a:pt x="92" y="330"/>
                    </a:lnTo>
                    <a:lnTo>
                      <a:pt x="90" y="330"/>
                    </a:lnTo>
                    <a:lnTo>
                      <a:pt x="90" y="328"/>
                    </a:lnTo>
                    <a:lnTo>
                      <a:pt x="90" y="328"/>
                    </a:lnTo>
                    <a:lnTo>
                      <a:pt x="88" y="328"/>
                    </a:lnTo>
                    <a:lnTo>
                      <a:pt x="84" y="326"/>
                    </a:lnTo>
                    <a:lnTo>
                      <a:pt x="84" y="326"/>
                    </a:lnTo>
                    <a:lnTo>
                      <a:pt x="84" y="326"/>
                    </a:lnTo>
                    <a:lnTo>
                      <a:pt x="82" y="324"/>
                    </a:lnTo>
                    <a:lnTo>
                      <a:pt x="82" y="324"/>
                    </a:lnTo>
                    <a:lnTo>
                      <a:pt x="82" y="322"/>
                    </a:lnTo>
                    <a:lnTo>
                      <a:pt x="82" y="320"/>
                    </a:lnTo>
                    <a:lnTo>
                      <a:pt x="82" y="316"/>
                    </a:lnTo>
                    <a:lnTo>
                      <a:pt x="80" y="312"/>
                    </a:lnTo>
                    <a:lnTo>
                      <a:pt x="80" y="310"/>
                    </a:lnTo>
                    <a:lnTo>
                      <a:pt x="80" y="308"/>
                    </a:lnTo>
                    <a:lnTo>
                      <a:pt x="80" y="308"/>
                    </a:lnTo>
                    <a:lnTo>
                      <a:pt x="78" y="304"/>
                    </a:lnTo>
                    <a:lnTo>
                      <a:pt x="76" y="302"/>
                    </a:lnTo>
                    <a:lnTo>
                      <a:pt x="72" y="298"/>
                    </a:lnTo>
                    <a:lnTo>
                      <a:pt x="70" y="294"/>
                    </a:lnTo>
                    <a:lnTo>
                      <a:pt x="68" y="292"/>
                    </a:lnTo>
                    <a:lnTo>
                      <a:pt x="64" y="288"/>
                    </a:lnTo>
                    <a:lnTo>
                      <a:pt x="62" y="286"/>
                    </a:lnTo>
                    <a:lnTo>
                      <a:pt x="60" y="284"/>
                    </a:lnTo>
                    <a:lnTo>
                      <a:pt x="58" y="284"/>
                    </a:lnTo>
                    <a:lnTo>
                      <a:pt x="56" y="284"/>
                    </a:lnTo>
                    <a:lnTo>
                      <a:pt x="54" y="282"/>
                    </a:lnTo>
                    <a:lnTo>
                      <a:pt x="52" y="282"/>
                    </a:lnTo>
                    <a:lnTo>
                      <a:pt x="52" y="282"/>
                    </a:lnTo>
                    <a:lnTo>
                      <a:pt x="50" y="282"/>
                    </a:lnTo>
                    <a:lnTo>
                      <a:pt x="50" y="282"/>
                    </a:lnTo>
                    <a:lnTo>
                      <a:pt x="50" y="282"/>
                    </a:lnTo>
                    <a:lnTo>
                      <a:pt x="48" y="284"/>
                    </a:lnTo>
                    <a:lnTo>
                      <a:pt x="48" y="284"/>
                    </a:lnTo>
                    <a:lnTo>
                      <a:pt x="48" y="286"/>
                    </a:lnTo>
                    <a:lnTo>
                      <a:pt x="48" y="288"/>
                    </a:lnTo>
                    <a:lnTo>
                      <a:pt x="48" y="290"/>
                    </a:lnTo>
                    <a:lnTo>
                      <a:pt x="48" y="290"/>
                    </a:lnTo>
                    <a:lnTo>
                      <a:pt x="48" y="292"/>
                    </a:lnTo>
                    <a:lnTo>
                      <a:pt x="48" y="292"/>
                    </a:lnTo>
                    <a:lnTo>
                      <a:pt x="46" y="292"/>
                    </a:lnTo>
                    <a:lnTo>
                      <a:pt x="46" y="292"/>
                    </a:lnTo>
                    <a:lnTo>
                      <a:pt x="46" y="292"/>
                    </a:lnTo>
                    <a:lnTo>
                      <a:pt x="44" y="294"/>
                    </a:lnTo>
                    <a:lnTo>
                      <a:pt x="44" y="292"/>
                    </a:lnTo>
                    <a:lnTo>
                      <a:pt x="42" y="292"/>
                    </a:lnTo>
                    <a:lnTo>
                      <a:pt x="42" y="292"/>
                    </a:lnTo>
                    <a:lnTo>
                      <a:pt x="40" y="292"/>
                    </a:lnTo>
                    <a:lnTo>
                      <a:pt x="38" y="292"/>
                    </a:lnTo>
                    <a:lnTo>
                      <a:pt x="38" y="292"/>
                    </a:lnTo>
                    <a:lnTo>
                      <a:pt x="38" y="292"/>
                    </a:lnTo>
                    <a:lnTo>
                      <a:pt x="38" y="292"/>
                    </a:lnTo>
                    <a:lnTo>
                      <a:pt x="38" y="294"/>
                    </a:lnTo>
                    <a:lnTo>
                      <a:pt x="36" y="294"/>
                    </a:lnTo>
                    <a:lnTo>
                      <a:pt x="36" y="296"/>
                    </a:lnTo>
                    <a:lnTo>
                      <a:pt x="36" y="298"/>
                    </a:lnTo>
                    <a:lnTo>
                      <a:pt x="36" y="298"/>
                    </a:lnTo>
                    <a:lnTo>
                      <a:pt x="36" y="300"/>
                    </a:lnTo>
                    <a:lnTo>
                      <a:pt x="34" y="302"/>
                    </a:lnTo>
                    <a:lnTo>
                      <a:pt x="34" y="302"/>
                    </a:lnTo>
                    <a:lnTo>
                      <a:pt x="34" y="302"/>
                    </a:lnTo>
                    <a:lnTo>
                      <a:pt x="34" y="302"/>
                    </a:lnTo>
                    <a:lnTo>
                      <a:pt x="32" y="302"/>
                    </a:lnTo>
                    <a:lnTo>
                      <a:pt x="32" y="302"/>
                    </a:lnTo>
                    <a:lnTo>
                      <a:pt x="30" y="302"/>
                    </a:lnTo>
                    <a:lnTo>
                      <a:pt x="30" y="300"/>
                    </a:lnTo>
                    <a:lnTo>
                      <a:pt x="28" y="298"/>
                    </a:lnTo>
                    <a:lnTo>
                      <a:pt x="26" y="298"/>
                    </a:lnTo>
                    <a:lnTo>
                      <a:pt x="24" y="296"/>
                    </a:lnTo>
                    <a:lnTo>
                      <a:pt x="22" y="294"/>
                    </a:lnTo>
                    <a:lnTo>
                      <a:pt x="22" y="292"/>
                    </a:lnTo>
                    <a:lnTo>
                      <a:pt x="22" y="292"/>
                    </a:lnTo>
                    <a:lnTo>
                      <a:pt x="20" y="290"/>
                    </a:lnTo>
                    <a:lnTo>
                      <a:pt x="20" y="288"/>
                    </a:lnTo>
                    <a:lnTo>
                      <a:pt x="20" y="286"/>
                    </a:lnTo>
                    <a:lnTo>
                      <a:pt x="20" y="284"/>
                    </a:lnTo>
                    <a:lnTo>
                      <a:pt x="20" y="280"/>
                    </a:lnTo>
                    <a:lnTo>
                      <a:pt x="20" y="278"/>
                    </a:lnTo>
                    <a:lnTo>
                      <a:pt x="18" y="276"/>
                    </a:lnTo>
                    <a:lnTo>
                      <a:pt x="18" y="274"/>
                    </a:lnTo>
                    <a:lnTo>
                      <a:pt x="18" y="274"/>
                    </a:lnTo>
                    <a:lnTo>
                      <a:pt x="16" y="272"/>
                    </a:lnTo>
                    <a:lnTo>
                      <a:pt x="16" y="270"/>
                    </a:lnTo>
                    <a:lnTo>
                      <a:pt x="14" y="270"/>
                    </a:lnTo>
                    <a:lnTo>
                      <a:pt x="14" y="270"/>
                    </a:lnTo>
                    <a:lnTo>
                      <a:pt x="12" y="268"/>
                    </a:lnTo>
                    <a:lnTo>
                      <a:pt x="12" y="268"/>
                    </a:lnTo>
                    <a:lnTo>
                      <a:pt x="10" y="268"/>
                    </a:lnTo>
                    <a:lnTo>
                      <a:pt x="10" y="268"/>
                    </a:lnTo>
                    <a:lnTo>
                      <a:pt x="8" y="270"/>
                    </a:lnTo>
                    <a:lnTo>
                      <a:pt x="6" y="270"/>
                    </a:lnTo>
                    <a:lnTo>
                      <a:pt x="4" y="272"/>
                    </a:lnTo>
                    <a:lnTo>
                      <a:pt x="0" y="272"/>
                    </a:lnTo>
                    <a:lnTo>
                      <a:pt x="0" y="274"/>
                    </a:lnTo>
                    <a:lnTo>
                      <a:pt x="64" y="52"/>
                    </a:lnTo>
                    <a:lnTo>
                      <a:pt x="68" y="52"/>
                    </a:lnTo>
                    <a:lnTo>
                      <a:pt x="80" y="54"/>
                    </a:lnTo>
                    <a:lnTo>
                      <a:pt x="88" y="56"/>
                    </a:lnTo>
                    <a:lnTo>
                      <a:pt x="94" y="58"/>
                    </a:lnTo>
                    <a:lnTo>
                      <a:pt x="100" y="58"/>
                    </a:lnTo>
                    <a:lnTo>
                      <a:pt x="102" y="60"/>
                    </a:lnTo>
                    <a:lnTo>
                      <a:pt x="104" y="60"/>
                    </a:lnTo>
                    <a:lnTo>
                      <a:pt x="106" y="60"/>
                    </a:lnTo>
                    <a:lnTo>
                      <a:pt x="108" y="62"/>
                    </a:lnTo>
                    <a:lnTo>
                      <a:pt x="114" y="64"/>
                    </a:lnTo>
                    <a:lnTo>
                      <a:pt x="118" y="66"/>
                    </a:lnTo>
                    <a:lnTo>
                      <a:pt x="124" y="68"/>
                    </a:lnTo>
                    <a:lnTo>
                      <a:pt x="128" y="72"/>
                    </a:lnTo>
                    <a:lnTo>
                      <a:pt x="134" y="74"/>
                    </a:lnTo>
                    <a:lnTo>
                      <a:pt x="138" y="76"/>
                    </a:lnTo>
                    <a:lnTo>
                      <a:pt x="140" y="76"/>
                    </a:lnTo>
                    <a:lnTo>
                      <a:pt x="142" y="78"/>
                    </a:lnTo>
                    <a:lnTo>
                      <a:pt x="146" y="78"/>
                    </a:lnTo>
                    <a:lnTo>
                      <a:pt x="148" y="78"/>
                    </a:lnTo>
                    <a:lnTo>
                      <a:pt x="150" y="80"/>
                    </a:lnTo>
                    <a:lnTo>
                      <a:pt x="152" y="80"/>
                    </a:lnTo>
                    <a:lnTo>
                      <a:pt x="154" y="80"/>
                    </a:lnTo>
                    <a:lnTo>
                      <a:pt x="156" y="80"/>
                    </a:lnTo>
                    <a:lnTo>
                      <a:pt x="156" y="80"/>
                    </a:lnTo>
                    <a:lnTo>
                      <a:pt x="156" y="78"/>
                    </a:lnTo>
                    <a:lnTo>
                      <a:pt x="158" y="78"/>
                    </a:lnTo>
                    <a:lnTo>
                      <a:pt x="158" y="78"/>
                    </a:lnTo>
                    <a:lnTo>
                      <a:pt x="158" y="78"/>
                    </a:lnTo>
                    <a:lnTo>
                      <a:pt x="158" y="76"/>
                    </a:lnTo>
                    <a:lnTo>
                      <a:pt x="158" y="76"/>
                    </a:lnTo>
                    <a:lnTo>
                      <a:pt x="158" y="74"/>
                    </a:lnTo>
                    <a:lnTo>
                      <a:pt x="158" y="72"/>
                    </a:lnTo>
                    <a:lnTo>
                      <a:pt x="158" y="70"/>
                    </a:lnTo>
                    <a:lnTo>
                      <a:pt x="158" y="66"/>
                    </a:lnTo>
                    <a:lnTo>
                      <a:pt x="158" y="66"/>
                    </a:lnTo>
                    <a:lnTo>
                      <a:pt x="158" y="64"/>
                    </a:lnTo>
                    <a:lnTo>
                      <a:pt x="158" y="64"/>
                    </a:lnTo>
                    <a:lnTo>
                      <a:pt x="160" y="62"/>
                    </a:lnTo>
                    <a:lnTo>
                      <a:pt x="160" y="62"/>
                    </a:lnTo>
                    <a:lnTo>
                      <a:pt x="162" y="60"/>
                    </a:lnTo>
                    <a:lnTo>
                      <a:pt x="164" y="60"/>
                    </a:lnTo>
                    <a:lnTo>
                      <a:pt x="166" y="58"/>
                    </a:lnTo>
                    <a:lnTo>
                      <a:pt x="170" y="56"/>
                    </a:lnTo>
                    <a:lnTo>
                      <a:pt x="172" y="54"/>
                    </a:lnTo>
                    <a:lnTo>
                      <a:pt x="176" y="50"/>
                    </a:lnTo>
                    <a:lnTo>
                      <a:pt x="180" y="48"/>
                    </a:lnTo>
                    <a:lnTo>
                      <a:pt x="184" y="44"/>
                    </a:lnTo>
                    <a:lnTo>
                      <a:pt x="190" y="40"/>
                    </a:lnTo>
                    <a:lnTo>
                      <a:pt x="192" y="38"/>
                    </a:lnTo>
                    <a:lnTo>
                      <a:pt x="194" y="36"/>
                    </a:lnTo>
                    <a:lnTo>
                      <a:pt x="196" y="34"/>
                    </a:lnTo>
                    <a:lnTo>
                      <a:pt x="200" y="34"/>
                    </a:lnTo>
                    <a:lnTo>
                      <a:pt x="202" y="32"/>
                    </a:lnTo>
                    <a:lnTo>
                      <a:pt x="204" y="32"/>
                    </a:lnTo>
                    <a:lnTo>
                      <a:pt x="206" y="32"/>
                    </a:lnTo>
                    <a:lnTo>
                      <a:pt x="208" y="30"/>
                    </a:lnTo>
                    <a:lnTo>
                      <a:pt x="210" y="30"/>
                    </a:lnTo>
                    <a:lnTo>
                      <a:pt x="210" y="32"/>
                    </a:lnTo>
                    <a:lnTo>
                      <a:pt x="212" y="32"/>
                    </a:lnTo>
                    <a:lnTo>
                      <a:pt x="214" y="32"/>
                    </a:lnTo>
                    <a:lnTo>
                      <a:pt x="216" y="34"/>
                    </a:lnTo>
                    <a:lnTo>
                      <a:pt x="218" y="34"/>
                    </a:lnTo>
                    <a:lnTo>
                      <a:pt x="218" y="36"/>
                    </a:lnTo>
                    <a:lnTo>
                      <a:pt x="218" y="36"/>
                    </a:lnTo>
                    <a:lnTo>
                      <a:pt x="218" y="36"/>
                    </a:lnTo>
                    <a:lnTo>
                      <a:pt x="218" y="38"/>
                    </a:lnTo>
                    <a:lnTo>
                      <a:pt x="218" y="38"/>
                    </a:lnTo>
                    <a:lnTo>
                      <a:pt x="218" y="38"/>
                    </a:lnTo>
                    <a:lnTo>
                      <a:pt x="218" y="40"/>
                    </a:lnTo>
                    <a:lnTo>
                      <a:pt x="218" y="40"/>
                    </a:lnTo>
                    <a:lnTo>
                      <a:pt x="216" y="40"/>
                    </a:lnTo>
                    <a:lnTo>
                      <a:pt x="214" y="42"/>
                    </a:lnTo>
                    <a:lnTo>
                      <a:pt x="212" y="42"/>
                    </a:lnTo>
                    <a:lnTo>
                      <a:pt x="210" y="44"/>
                    </a:lnTo>
                    <a:lnTo>
                      <a:pt x="204" y="46"/>
                    </a:lnTo>
                    <a:lnTo>
                      <a:pt x="200" y="48"/>
                    </a:lnTo>
                    <a:lnTo>
                      <a:pt x="198" y="48"/>
                    </a:lnTo>
                    <a:lnTo>
                      <a:pt x="196" y="50"/>
                    </a:lnTo>
                    <a:lnTo>
                      <a:pt x="194" y="50"/>
                    </a:lnTo>
                    <a:lnTo>
                      <a:pt x="194" y="50"/>
                    </a:lnTo>
                    <a:lnTo>
                      <a:pt x="194" y="50"/>
                    </a:lnTo>
                    <a:lnTo>
                      <a:pt x="192" y="52"/>
                    </a:lnTo>
                    <a:lnTo>
                      <a:pt x="192" y="52"/>
                    </a:lnTo>
                    <a:lnTo>
                      <a:pt x="192" y="52"/>
                    </a:lnTo>
                    <a:lnTo>
                      <a:pt x="192" y="54"/>
                    </a:lnTo>
                    <a:lnTo>
                      <a:pt x="194" y="54"/>
                    </a:lnTo>
                    <a:lnTo>
                      <a:pt x="194" y="54"/>
                    </a:lnTo>
                    <a:lnTo>
                      <a:pt x="194" y="54"/>
                    </a:lnTo>
                    <a:lnTo>
                      <a:pt x="194" y="56"/>
                    </a:lnTo>
                    <a:lnTo>
                      <a:pt x="196" y="56"/>
                    </a:lnTo>
                    <a:lnTo>
                      <a:pt x="196" y="56"/>
                    </a:lnTo>
                    <a:lnTo>
                      <a:pt x="198" y="56"/>
                    </a:lnTo>
                    <a:lnTo>
                      <a:pt x="200" y="56"/>
                    </a:lnTo>
                    <a:lnTo>
                      <a:pt x="202" y="56"/>
                    </a:lnTo>
                    <a:lnTo>
                      <a:pt x="204" y="56"/>
                    </a:lnTo>
                    <a:lnTo>
                      <a:pt x="208" y="56"/>
                    </a:lnTo>
                    <a:lnTo>
                      <a:pt x="212" y="54"/>
                    </a:lnTo>
                    <a:lnTo>
                      <a:pt x="216" y="54"/>
                    </a:lnTo>
                    <a:lnTo>
                      <a:pt x="220" y="52"/>
                    </a:lnTo>
                    <a:lnTo>
                      <a:pt x="220" y="52"/>
                    </a:lnTo>
                    <a:lnTo>
                      <a:pt x="222" y="50"/>
                    </a:lnTo>
                    <a:lnTo>
                      <a:pt x="224" y="50"/>
                    </a:lnTo>
                    <a:lnTo>
                      <a:pt x="224" y="48"/>
                    </a:lnTo>
                    <a:lnTo>
                      <a:pt x="228" y="44"/>
                    </a:lnTo>
                    <a:lnTo>
                      <a:pt x="230" y="42"/>
                    </a:lnTo>
                    <a:lnTo>
                      <a:pt x="230" y="40"/>
                    </a:lnTo>
                    <a:lnTo>
                      <a:pt x="230" y="40"/>
                    </a:lnTo>
                    <a:lnTo>
                      <a:pt x="232" y="36"/>
                    </a:lnTo>
                    <a:lnTo>
                      <a:pt x="234" y="34"/>
                    </a:lnTo>
                    <a:lnTo>
                      <a:pt x="234" y="32"/>
                    </a:lnTo>
                    <a:lnTo>
                      <a:pt x="236" y="30"/>
                    </a:lnTo>
                    <a:lnTo>
                      <a:pt x="238" y="30"/>
                    </a:lnTo>
                    <a:lnTo>
                      <a:pt x="238" y="28"/>
                    </a:lnTo>
                    <a:lnTo>
                      <a:pt x="240" y="28"/>
                    </a:lnTo>
                    <a:lnTo>
                      <a:pt x="242" y="28"/>
                    </a:lnTo>
                    <a:lnTo>
                      <a:pt x="242" y="28"/>
                    </a:lnTo>
                    <a:lnTo>
                      <a:pt x="244" y="28"/>
                    </a:lnTo>
                    <a:lnTo>
                      <a:pt x="244" y="28"/>
                    </a:lnTo>
                    <a:lnTo>
                      <a:pt x="246" y="28"/>
                    </a:lnTo>
                    <a:lnTo>
                      <a:pt x="246" y="28"/>
                    </a:lnTo>
                    <a:lnTo>
                      <a:pt x="248" y="30"/>
                    </a:lnTo>
                    <a:lnTo>
                      <a:pt x="248" y="30"/>
                    </a:lnTo>
                    <a:lnTo>
                      <a:pt x="250" y="32"/>
                    </a:lnTo>
                    <a:lnTo>
                      <a:pt x="250" y="34"/>
                    </a:lnTo>
                    <a:lnTo>
                      <a:pt x="252" y="38"/>
                    </a:lnTo>
                    <a:lnTo>
                      <a:pt x="252" y="40"/>
                    </a:lnTo>
                    <a:lnTo>
                      <a:pt x="254" y="44"/>
                    </a:lnTo>
                    <a:lnTo>
                      <a:pt x="254" y="46"/>
                    </a:lnTo>
                    <a:lnTo>
                      <a:pt x="256" y="46"/>
                    </a:lnTo>
                    <a:lnTo>
                      <a:pt x="256" y="48"/>
                    </a:lnTo>
                    <a:lnTo>
                      <a:pt x="258" y="48"/>
                    </a:lnTo>
                    <a:lnTo>
                      <a:pt x="258" y="50"/>
                    </a:lnTo>
                    <a:lnTo>
                      <a:pt x="260" y="50"/>
                    </a:lnTo>
                    <a:lnTo>
                      <a:pt x="262" y="50"/>
                    </a:lnTo>
                    <a:lnTo>
                      <a:pt x="266" y="50"/>
                    </a:lnTo>
                    <a:lnTo>
                      <a:pt x="268" y="52"/>
                    </a:lnTo>
                    <a:lnTo>
                      <a:pt x="270" y="52"/>
                    </a:lnTo>
                    <a:lnTo>
                      <a:pt x="272" y="52"/>
                    </a:lnTo>
                    <a:lnTo>
                      <a:pt x="274" y="50"/>
                    </a:lnTo>
                    <a:lnTo>
                      <a:pt x="274" y="50"/>
                    </a:lnTo>
                    <a:lnTo>
                      <a:pt x="274" y="50"/>
                    </a:lnTo>
                    <a:lnTo>
                      <a:pt x="276" y="50"/>
                    </a:lnTo>
                    <a:lnTo>
                      <a:pt x="276" y="48"/>
                    </a:lnTo>
                    <a:lnTo>
                      <a:pt x="278" y="46"/>
                    </a:lnTo>
                    <a:lnTo>
                      <a:pt x="278" y="44"/>
                    </a:lnTo>
                    <a:lnTo>
                      <a:pt x="280" y="44"/>
                    </a:lnTo>
                    <a:lnTo>
                      <a:pt x="280" y="42"/>
                    </a:lnTo>
                    <a:lnTo>
                      <a:pt x="280" y="42"/>
                    </a:lnTo>
                    <a:lnTo>
                      <a:pt x="280" y="42"/>
                    </a:lnTo>
                    <a:lnTo>
                      <a:pt x="280" y="42"/>
                    </a:lnTo>
                    <a:lnTo>
                      <a:pt x="282" y="42"/>
                    </a:lnTo>
                    <a:lnTo>
                      <a:pt x="282" y="42"/>
                    </a:lnTo>
                    <a:lnTo>
                      <a:pt x="284" y="44"/>
                    </a:lnTo>
                    <a:lnTo>
                      <a:pt x="284" y="44"/>
                    </a:lnTo>
                    <a:lnTo>
                      <a:pt x="286" y="46"/>
                    </a:lnTo>
                    <a:lnTo>
                      <a:pt x="286" y="50"/>
                    </a:lnTo>
                    <a:lnTo>
                      <a:pt x="288" y="52"/>
                    </a:lnTo>
                    <a:lnTo>
                      <a:pt x="288" y="54"/>
                    </a:lnTo>
                    <a:lnTo>
                      <a:pt x="288" y="56"/>
                    </a:lnTo>
                    <a:lnTo>
                      <a:pt x="290" y="56"/>
                    </a:lnTo>
                    <a:lnTo>
                      <a:pt x="290" y="56"/>
                    </a:lnTo>
                    <a:lnTo>
                      <a:pt x="292" y="58"/>
                    </a:lnTo>
                    <a:lnTo>
                      <a:pt x="292" y="58"/>
                    </a:lnTo>
                    <a:lnTo>
                      <a:pt x="292" y="56"/>
                    </a:lnTo>
                    <a:lnTo>
                      <a:pt x="294" y="56"/>
                    </a:lnTo>
                    <a:lnTo>
                      <a:pt x="294" y="56"/>
                    </a:lnTo>
                    <a:lnTo>
                      <a:pt x="296" y="54"/>
                    </a:lnTo>
                    <a:lnTo>
                      <a:pt x="298" y="52"/>
                    </a:lnTo>
                    <a:lnTo>
                      <a:pt x="300" y="50"/>
                    </a:lnTo>
                    <a:lnTo>
                      <a:pt x="300" y="50"/>
                    </a:lnTo>
                    <a:lnTo>
                      <a:pt x="302" y="48"/>
                    </a:lnTo>
                    <a:lnTo>
                      <a:pt x="302" y="48"/>
                    </a:lnTo>
                    <a:lnTo>
                      <a:pt x="304" y="48"/>
                    </a:lnTo>
                    <a:lnTo>
                      <a:pt x="304" y="48"/>
                    </a:lnTo>
                    <a:lnTo>
                      <a:pt x="306" y="46"/>
                    </a:lnTo>
                    <a:lnTo>
                      <a:pt x="306" y="46"/>
                    </a:lnTo>
                    <a:lnTo>
                      <a:pt x="308" y="46"/>
                    </a:lnTo>
                    <a:lnTo>
                      <a:pt x="310" y="48"/>
                    </a:lnTo>
                    <a:lnTo>
                      <a:pt x="312" y="48"/>
                    </a:lnTo>
                    <a:lnTo>
                      <a:pt x="316" y="48"/>
                    </a:lnTo>
                    <a:lnTo>
                      <a:pt x="320" y="50"/>
                    </a:lnTo>
                    <a:lnTo>
                      <a:pt x="324" y="50"/>
                    </a:lnTo>
                    <a:lnTo>
                      <a:pt x="328" y="52"/>
                    </a:lnTo>
                    <a:lnTo>
                      <a:pt x="330" y="54"/>
                    </a:lnTo>
                    <a:lnTo>
                      <a:pt x="338" y="58"/>
                    </a:lnTo>
                    <a:lnTo>
                      <a:pt x="346" y="60"/>
                    </a:lnTo>
                    <a:lnTo>
                      <a:pt x="348" y="62"/>
                    </a:lnTo>
                    <a:lnTo>
                      <a:pt x="352" y="64"/>
                    </a:lnTo>
                    <a:lnTo>
                      <a:pt x="356" y="64"/>
                    </a:lnTo>
                    <a:lnTo>
                      <a:pt x="358" y="64"/>
                    </a:lnTo>
                    <a:lnTo>
                      <a:pt x="360" y="66"/>
                    </a:lnTo>
                    <a:lnTo>
                      <a:pt x="362" y="66"/>
                    </a:lnTo>
                    <a:lnTo>
                      <a:pt x="366" y="66"/>
                    </a:lnTo>
                    <a:lnTo>
                      <a:pt x="370" y="66"/>
                    </a:lnTo>
                    <a:lnTo>
                      <a:pt x="374" y="66"/>
                    </a:lnTo>
                    <a:lnTo>
                      <a:pt x="380" y="66"/>
                    </a:lnTo>
                    <a:lnTo>
                      <a:pt x="384" y="66"/>
                    </a:lnTo>
                    <a:lnTo>
                      <a:pt x="388" y="66"/>
                    </a:lnTo>
                    <a:lnTo>
                      <a:pt x="390" y="66"/>
                    </a:lnTo>
                    <a:lnTo>
                      <a:pt x="392" y="66"/>
                    </a:lnTo>
                    <a:lnTo>
                      <a:pt x="394" y="66"/>
                    </a:lnTo>
                    <a:lnTo>
                      <a:pt x="398" y="68"/>
                    </a:lnTo>
                    <a:lnTo>
                      <a:pt x="402" y="70"/>
                    </a:lnTo>
                    <a:lnTo>
                      <a:pt x="406" y="70"/>
                    </a:lnTo>
                    <a:lnTo>
                      <a:pt x="410" y="72"/>
                    </a:lnTo>
                    <a:lnTo>
                      <a:pt x="412" y="74"/>
                    </a:lnTo>
                    <a:lnTo>
                      <a:pt x="414" y="74"/>
                    </a:lnTo>
                    <a:lnTo>
                      <a:pt x="414" y="76"/>
                    </a:lnTo>
                    <a:lnTo>
                      <a:pt x="416" y="76"/>
                    </a:lnTo>
                    <a:lnTo>
                      <a:pt x="416" y="78"/>
                    </a:lnTo>
                    <a:lnTo>
                      <a:pt x="418" y="78"/>
                    </a:lnTo>
                    <a:lnTo>
                      <a:pt x="418" y="80"/>
                    </a:lnTo>
                    <a:lnTo>
                      <a:pt x="418" y="80"/>
                    </a:lnTo>
                    <a:lnTo>
                      <a:pt x="418" y="82"/>
                    </a:lnTo>
                    <a:lnTo>
                      <a:pt x="416" y="82"/>
                    </a:lnTo>
                    <a:lnTo>
                      <a:pt x="416" y="86"/>
                    </a:lnTo>
                    <a:lnTo>
                      <a:pt x="414" y="88"/>
                    </a:lnTo>
                    <a:lnTo>
                      <a:pt x="412" y="90"/>
                    </a:lnTo>
                    <a:lnTo>
                      <a:pt x="412" y="92"/>
                    </a:lnTo>
                    <a:lnTo>
                      <a:pt x="412" y="92"/>
                    </a:lnTo>
                    <a:lnTo>
                      <a:pt x="412" y="94"/>
                    </a:lnTo>
                    <a:lnTo>
                      <a:pt x="412" y="94"/>
                    </a:lnTo>
                    <a:lnTo>
                      <a:pt x="412" y="96"/>
                    </a:lnTo>
                    <a:lnTo>
                      <a:pt x="412" y="96"/>
                    </a:lnTo>
                    <a:lnTo>
                      <a:pt x="412" y="96"/>
                    </a:lnTo>
                    <a:lnTo>
                      <a:pt x="414" y="98"/>
                    </a:lnTo>
                    <a:lnTo>
                      <a:pt x="414" y="98"/>
                    </a:lnTo>
                    <a:lnTo>
                      <a:pt x="416" y="98"/>
                    </a:lnTo>
                    <a:lnTo>
                      <a:pt x="416" y="98"/>
                    </a:lnTo>
                    <a:lnTo>
                      <a:pt x="416" y="98"/>
                    </a:lnTo>
                    <a:lnTo>
                      <a:pt x="418" y="96"/>
                    </a:lnTo>
                    <a:lnTo>
                      <a:pt x="422" y="96"/>
                    </a:lnTo>
                    <a:lnTo>
                      <a:pt x="424" y="96"/>
                    </a:lnTo>
                    <a:lnTo>
                      <a:pt x="428" y="92"/>
                    </a:lnTo>
                    <a:lnTo>
                      <a:pt x="434" y="90"/>
                    </a:lnTo>
                    <a:lnTo>
                      <a:pt x="436" y="88"/>
                    </a:lnTo>
                    <a:lnTo>
                      <a:pt x="438" y="88"/>
                    </a:lnTo>
                    <a:lnTo>
                      <a:pt x="440" y="86"/>
                    </a:lnTo>
                    <a:lnTo>
                      <a:pt x="442" y="86"/>
                    </a:lnTo>
                    <a:lnTo>
                      <a:pt x="444" y="86"/>
                    </a:lnTo>
                    <a:lnTo>
                      <a:pt x="446" y="86"/>
                    </a:lnTo>
                    <a:lnTo>
                      <a:pt x="446" y="86"/>
                    </a:lnTo>
                    <a:lnTo>
                      <a:pt x="448" y="86"/>
                    </a:lnTo>
                    <a:lnTo>
                      <a:pt x="450" y="88"/>
                    </a:lnTo>
                    <a:lnTo>
                      <a:pt x="450" y="88"/>
                    </a:lnTo>
                    <a:lnTo>
                      <a:pt x="452" y="90"/>
                    </a:lnTo>
                    <a:lnTo>
                      <a:pt x="454" y="92"/>
                    </a:lnTo>
                    <a:lnTo>
                      <a:pt x="456" y="94"/>
                    </a:lnTo>
                    <a:lnTo>
                      <a:pt x="458" y="98"/>
                    </a:lnTo>
                    <a:lnTo>
                      <a:pt x="462" y="102"/>
                    </a:lnTo>
                    <a:lnTo>
                      <a:pt x="464" y="106"/>
                    </a:lnTo>
                    <a:lnTo>
                      <a:pt x="466" y="106"/>
                    </a:lnTo>
                    <a:lnTo>
                      <a:pt x="468" y="108"/>
                    </a:lnTo>
                    <a:lnTo>
                      <a:pt x="468" y="110"/>
                    </a:lnTo>
                    <a:lnTo>
                      <a:pt x="470" y="110"/>
                    </a:lnTo>
                    <a:lnTo>
                      <a:pt x="472" y="110"/>
                    </a:lnTo>
                    <a:lnTo>
                      <a:pt x="474" y="112"/>
                    </a:lnTo>
                    <a:lnTo>
                      <a:pt x="476" y="112"/>
                    </a:lnTo>
                    <a:lnTo>
                      <a:pt x="480" y="112"/>
                    </a:lnTo>
                    <a:lnTo>
                      <a:pt x="482" y="112"/>
                    </a:lnTo>
                    <a:lnTo>
                      <a:pt x="484" y="110"/>
                    </a:lnTo>
                    <a:lnTo>
                      <a:pt x="486" y="110"/>
                    </a:lnTo>
                    <a:lnTo>
                      <a:pt x="486" y="110"/>
                    </a:lnTo>
                    <a:lnTo>
                      <a:pt x="488" y="110"/>
                    </a:lnTo>
                    <a:lnTo>
                      <a:pt x="488" y="108"/>
                    </a:lnTo>
                    <a:lnTo>
                      <a:pt x="488" y="108"/>
                    </a:lnTo>
                    <a:lnTo>
                      <a:pt x="488" y="108"/>
                    </a:lnTo>
                    <a:lnTo>
                      <a:pt x="488" y="106"/>
                    </a:lnTo>
                    <a:lnTo>
                      <a:pt x="488" y="106"/>
                    </a:lnTo>
                    <a:lnTo>
                      <a:pt x="488" y="104"/>
                    </a:lnTo>
                    <a:lnTo>
                      <a:pt x="486" y="102"/>
                    </a:lnTo>
                    <a:lnTo>
                      <a:pt x="486" y="100"/>
                    </a:lnTo>
                    <a:lnTo>
                      <a:pt x="486" y="100"/>
                    </a:lnTo>
                    <a:lnTo>
                      <a:pt x="486" y="98"/>
                    </a:lnTo>
                    <a:lnTo>
                      <a:pt x="486" y="96"/>
                    </a:lnTo>
                    <a:lnTo>
                      <a:pt x="486" y="96"/>
                    </a:lnTo>
                    <a:lnTo>
                      <a:pt x="486" y="94"/>
                    </a:lnTo>
                    <a:lnTo>
                      <a:pt x="486" y="94"/>
                    </a:lnTo>
                    <a:lnTo>
                      <a:pt x="488" y="92"/>
                    </a:lnTo>
                    <a:lnTo>
                      <a:pt x="488" y="90"/>
                    </a:lnTo>
                    <a:lnTo>
                      <a:pt x="490" y="88"/>
                    </a:lnTo>
                    <a:lnTo>
                      <a:pt x="494" y="84"/>
                    </a:lnTo>
                    <a:lnTo>
                      <a:pt x="494" y="82"/>
                    </a:lnTo>
                    <a:lnTo>
                      <a:pt x="496" y="80"/>
                    </a:lnTo>
                    <a:lnTo>
                      <a:pt x="498" y="80"/>
                    </a:lnTo>
                    <a:lnTo>
                      <a:pt x="500" y="78"/>
                    </a:lnTo>
                    <a:lnTo>
                      <a:pt x="500" y="78"/>
                    </a:lnTo>
                    <a:lnTo>
                      <a:pt x="502" y="76"/>
                    </a:lnTo>
                    <a:lnTo>
                      <a:pt x="504" y="76"/>
                    </a:lnTo>
                    <a:lnTo>
                      <a:pt x="506" y="76"/>
                    </a:lnTo>
                    <a:lnTo>
                      <a:pt x="506" y="76"/>
                    </a:lnTo>
                    <a:lnTo>
                      <a:pt x="508" y="76"/>
                    </a:lnTo>
                    <a:lnTo>
                      <a:pt x="510" y="78"/>
                    </a:lnTo>
                    <a:lnTo>
                      <a:pt x="510" y="78"/>
                    </a:lnTo>
                    <a:lnTo>
                      <a:pt x="512" y="80"/>
                    </a:lnTo>
                    <a:lnTo>
                      <a:pt x="514" y="80"/>
                    </a:lnTo>
                    <a:lnTo>
                      <a:pt x="516" y="84"/>
                    </a:lnTo>
                    <a:lnTo>
                      <a:pt x="518" y="86"/>
                    </a:lnTo>
                    <a:lnTo>
                      <a:pt x="522" y="88"/>
                    </a:lnTo>
                    <a:lnTo>
                      <a:pt x="524" y="90"/>
                    </a:lnTo>
                    <a:lnTo>
                      <a:pt x="524" y="92"/>
                    </a:lnTo>
                    <a:lnTo>
                      <a:pt x="526" y="92"/>
                    </a:lnTo>
                    <a:lnTo>
                      <a:pt x="526" y="92"/>
                    </a:lnTo>
                    <a:lnTo>
                      <a:pt x="530" y="94"/>
                    </a:lnTo>
                    <a:lnTo>
                      <a:pt x="534" y="94"/>
                    </a:lnTo>
                    <a:lnTo>
                      <a:pt x="536" y="96"/>
                    </a:lnTo>
                    <a:lnTo>
                      <a:pt x="542" y="96"/>
                    </a:lnTo>
                    <a:lnTo>
                      <a:pt x="546" y="98"/>
                    </a:lnTo>
                    <a:lnTo>
                      <a:pt x="550" y="98"/>
                    </a:lnTo>
                    <a:lnTo>
                      <a:pt x="554" y="98"/>
                    </a:lnTo>
                    <a:lnTo>
                      <a:pt x="558" y="98"/>
                    </a:lnTo>
                    <a:lnTo>
                      <a:pt x="564" y="100"/>
                    </a:lnTo>
                    <a:lnTo>
                      <a:pt x="568" y="100"/>
                    </a:lnTo>
                    <a:lnTo>
                      <a:pt x="572" y="100"/>
                    </a:lnTo>
                    <a:lnTo>
                      <a:pt x="576" y="100"/>
                    </a:lnTo>
                    <a:lnTo>
                      <a:pt x="580" y="98"/>
                    </a:lnTo>
                    <a:lnTo>
                      <a:pt x="584" y="98"/>
                    </a:lnTo>
                    <a:lnTo>
                      <a:pt x="588" y="98"/>
                    </a:lnTo>
                    <a:lnTo>
                      <a:pt x="590" y="96"/>
                    </a:lnTo>
                    <a:lnTo>
                      <a:pt x="592" y="96"/>
                    </a:lnTo>
                    <a:lnTo>
                      <a:pt x="592" y="96"/>
                    </a:lnTo>
                    <a:lnTo>
                      <a:pt x="592" y="96"/>
                    </a:lnTo>
                    <a:lnTo>
                      <a:pt x="594" y="94"/>
                    </a:lnTo>
                    <a:lnTo>
                      <a:pt x="594" y="94"/>
                    </a:lnTo>
                    <a:lnTo>
                      <a:pt x="596" y="92"/>
                    </a:lnTo>
                    <a:lnTo>
                      <a:pt x="596" y="90"/>
                    </a:lnTo>
                    <a:lnTo>
                      <a:pt x="598" y="88"/>
                    </a:lnTo>
                    <a:lnTo>
                      <a:pt x="600" y="86"/>
                    </a:lnTo>
                    <a:lnTo>
                      <a:pt x="600" y="84"/>
                    </a:lnTo>
                    <a:lnTo>
                      <a:pt x="602" y="82"/>
                    </a:lnTo>
                    <a:lnTo>
                      <a:pt x="602" y="82"/>
                    </a:lnTo>
                    <a:lnTo>
                      <a:pt x="604" y="82"/>
                    </a:lnTo>
                    <a:lnTo>
                      <a:pt x="606" y="80"/>
                    </a:lnTo>
                    <a:lnTo>
                      <a:pt x="608" y="80"/>
                    </a:lnTo>
                    <a:lnTo>
                      <a:pt x="612" y="80"/>
                    </a:lnTo>
                    <a:lnTo>
                      <a:pt x="614" y="80"/>
                    </a:lnTo>
                    <a:lnTo>
                      <a:pt x="616" y="80"/>
                    </a:lnTo>
                    <a:lnTo>
                      <a:pt x="620" y="80"/>
                    </a:lnTo>
                    <a:lnTo>
                      <a:pt x="620" y="80"/>
                    </a:lnTo>
                    <a:lnTo>
                      <a:pt x="622" y="80"/>
                    </a:lnTo>
                    <a:lnTo>
                      <a:pt x="622" y="80"/>
                    </a:lnTo>
                    <a:lnTo>
                      <a:pt x="622" y="82"/>
                    </a:lnTo>
                    <a:lnTo>
                      <a:pt x="624" y="82"/>
                    </a:lnTo>
                    <a:lnTo>
                      <a:pt x="624" y="82"/>
                    </a:lnTo>
                    <a:lnTo>
                      <a:pt x="626" y="86"/>
                    </a:lnTo>
                    <a:lnTo>
                      <a:pt x="626" y="88"/>
                    </a:lnTo>
                    <a:lnTo>
                      <a:pt x="628" y="90"/>
                    </a:lnTo>
                    <a:lnTo>
                      <a:pt x="628" y="92"/>
                    </a:lnTo>
                    <a:lnTo>
                      <a:pt x="630" y="94"/>
                    </a:lnTo>
                    <a:lnTo>
                      <a:pt x="630" y="94"/>
                    </a:lnTo>
                    <a:lnTo>
                      <a:pt x="630" y="94"/>
                    </a:lnTo>
                    <a:lnTo>
                      <a:pt x="632" y="96"/>
                    </a:lnTo>
                    <a:lnTo>
                      <a:pt x="632" y="96"/>
                    </a:lnTo>
                    <a:lnTo>
                      <a:pt x="632" y="96"/>
                    </a:lnTo>
                    <a:lnTo>
                      <a:pt x="634" y="94"/>
                    </a:lnTo>
                    <a:lnTo>
                      <a:pt x="634" y="94"/>
                    </a:lnTo>
                    <a:lnTo>
                      <a:pt x="636" y="94"/>
                    </a:lnTo>
                    <a:lnTo>
                      <a:pt x="640" y="92"/>
                    </a:lnTo>
                    <a:lnTo>
                      <a:pt x="642" y="88"/>
                    </a:lnTo>
                    <a:lnTo>
                      <a:pt x="644" y="88"/>
                    </a:lnTo>
                    <a:lnTo>
                      <a:pt x="646" y="86"/>
                    </a:lnTo>
                    <a:lnTo>
                      <a:pt x="650" y="84"/>
                    </a:lnTo>
                    <a:lnTo>
                      <a:pt x="654" y="82"/>
                    </a:lnTo>
                    <a:lnTo>
                      <a:pt x="656" y="80"/>
                    </a:lnTo>
                    <a:lnTo>
                      <a:pt x="658" y="78"/>
                    </a:lnTo>
                    <a:lnTo>
                      <a:pt x="658" y="78"/>
                    </a:lnTo>
                    <a:lnTo>
                      <a:pt x="660" y="78"/>
                    </a:lnTo>
                    <a:lnTo>
                      <a:pt x="660" y="76"/>
                    </a:lnTo>
                    <a:lnTo>
                      <a:pt x="660" y="76"/>
                    </a:lnTo>
                    <a:lnTo>
                      <a:pt x="660" y="74"/>
                    </a:lnTo>
                    <a:lnTo>
                      <a:pt x="660" y="72"/>
                    </a:lnTo>
                    <a:lnTo>
                      <a:pt x="660" y="72"/>
                    </a:lnTo>
                    <a:lnTo>
                      <a:pt x="660" y="70"/>
                    </a:lnTo>
                    <a:lnTo>
                      <a:pt x="660" y="68"/>
                    </a:lnTo>
                    <a:lnTo>
                      <a:pt x="660" y="66"/>
                    </a:lnTo>
                    <a:lnTo>
                      <a:pt x="658" y="62"/>
                    </a:lnTo>
                    <a:lnTo>
                      <a:pt x="658" y="58"/>
                    </a:lnTo>
                    <a:lnTo>
                      <a:pt x="656" y="54"/>
                    </a:lnTo>
                    <a:lnTo>
                      <a:pt x="654" y="50"/>
                    </a:lnTo>
                    <a:lnTo>
                      <a:pt x="652" y="48"/>
                    </a:lnTo>
                    <a:lnTo>
                      <a:pt x="652" y="46"/>
                    </a:lnTo>
                    <a:lnTo>
                      <a:pt x="652" y="46"/>
                    </a:lnTo>
                    <a:lnTo>
                      <a:pt x="650" y="44"/>
                    </a:lnTo>
                    <a:lnTo>
                      <a:pt x="648" y="44"/>
                    </a:lnTo>
                    <a:lnTo>
                      <a:pt x="646" y="42"/>
                    </a:lnTo>
                    <a:lnTo>
                      <a:pt x="642" y="42"/>
                    </a:lnTo>
                    <a:lnTo>
                      <a:pt x="640" y="40"/>
                    </a:lnTo>
                    <a:lnTo>
                      <a:pt x="638" y="38"/>
                    </a:lnTo>
                    <a:lnTo>
                      <a:pt x="638" y="38"/>
                    </a:lnTo>
                    <a:lnTo>
                      <a:pt x="636" y="38"/>
                    </a:lnTo>
                    <a:lnTo>
                      <a:pt x="636" y="36"/>
                    </a:lnTo>
                    <a:lnTo>
                      <a:pt x="636" y="36"/>
                    </a:lnTo>
                    <a:lnTo>
                      <a:pt x="636" y="34"/>
                    </a:lnTo>
                    <a:lnTo>
                      <a:pt x="636" y="34"/>
                    </a:lnTo>
                    <a:lnTo>
                      <a:pt x="636" y="34"/>
                    </a:lnTo>
                    <a:lnTo>
                      <a:pt x="636" y="32"/>
                    </a:lnTo>
                    <a:lnTo>
                      <a:pt x="636" y="32"/>
                    </a:lnTo>
                    <a:lnTo>
                      <a:pt x="638" y="30"/>
                    </a:lnTo>
                    <a:lnTo>
                      <a:pt x="642" y="30"/>
                    </a:lnTo>
                    <a:lnTo>
                      <a:pt x="646" y="28"/>
                    </a:lnTo>
                    <a:lnTo>
                      <a:pt x="648" y="26"/>
                    </a:lnTo>
                    <a:lnTo>
                      <a:pt x="648" y="26"/>
                    </a:lnTo>
                    <a:lnTo>
                      <a:pt x="648" y="26"/>
                    </a:lnTo>
                    <a:lnTo>
                      <a:pt x="650" y="24"/>
                    </a:lnTo>
                    <a:lnTo>
                      <a:pt x="650" y="22"/>
                    </a:lnTo>
                    <a:lnTo>
                      <a:pt x="652" y="20"/>
                    </a:lnTo>
                    <a:lnTo>
                      <a:pt x="654" y="16"/>
                    </a:lnTo>
                    <a:lnTo>
                      <a:pt x="656" y="14"/>
                    </a:lnTo>
                    <a:lnTo>
                      <a:pt x="656" y="14"/>
                    </a:lnTo>
                    <a:lnTo>
                      <a:pt x="658" y="12"/>
                    </a:lnTo>
                    <a:lnTo>
                      <a:pt x="660" y="10"/>
                    </a:lnTo>
                    <a:lnTo>
                      <a:pt x="662" y="8"/>
                    </a:lnTo>
                    <a:lnTo>
                      <a:pt x="666" y="6"/>
                    </a:lnTo>
                    <a:lnTo>
                      <a:pt x="668" y="4"/>
                    </a:lnTo>
                    <a:lnTo>
                      <a:pt x="670" y="2"/>
                    </a:lnTo>
                    <a:lnTo>
                      <a:pt x="672" y="2"/>
                    </a:lnTo>
                    <a:lnTo>
                      <a:pt x="674" y="0"/>
                    </a:lnTo>
                    <a:lnTo>
                      <a:pt x="674" y="0"/>
                    </a:lnTo>
                    <a:lnTo>
                      <a:pt x="676" y="0"/>
                    </a:lnTo>
                    <a:lnTo>
                      <a:pt x="676" y="0"/>
                    </a:lnTo>
                    <a:lnTo>
                      <a:pt x="678" y="2"/>
                    </a:lnTo>
                    <a:lnTo>
                      <a:pt x="680" y="2"/>
                    </a:lnTo>
                    <a:lnTo>
                      <a:pt x="682" y="2"/>
                    </a:lnTo>
                    <a:lnTo>
                      <a:pt x="682" y="4"/>
                    </a:lnTo>
                    <a:lnTo>
                      <a:pt x="684" y="4"/>
                    </a:lnTo>
                    <a:lnTo>
                      <a:pt x="686" y="6"/>
                    </a:lnTo>
                    <a:lnTo>
                      <a:pt x="688" y="8"/>
                    </a:lnTo>
                    <a:lnTo>
                      <a:pt x="690" y="10"/>
                    </a:lnTo>
                    <a:lnTo>
                      <a:pt x="692" y="12"/>
                    </a:lnTo>
                    <a:lnTo>
                      <a:pt x="692" y="12"/>
                    </a:lnTo>
                    <a:lnTo>
                      <a:pt x="694" y="14"/>
                    </a:lnTo>
                    <a:lnTo>
                      <a:pt x="694" y="16"/>
                    </a:lnTo>
                    <a:lnTo>
                      <a:pt x="696" y="16"/>
                    </a:lnTo>
                    <a:lnTo>
                      <a:pt x="696" y="18"/>
                    </a:lnTo>
                    <a:lnTo>
                      <a:pt x="696" y="18"/>
                    </a:lnTo>
                    <a:lnTo>
                      <a:pt x="696" y="20"/>
                    </a:lnTo>
                    <a:lnTo>
                      <a:pt x="696" y="20"/>
                    </a:lnTo>
                    <a:lnTo>
                      <a:pt x="696" y="22"/>
                    </a:lnTo>
                    <a:lnTo>
                      <a:pt x="694" y="24"/>
                    </a:lnTo>
                    <a:lnTo>
                      <a:pt x="694" y="26"/>
                    </a:lnTo>
                    <a:lnTo>
                      <a:pt x="692" y="30"/>
                    </a:lnTo>
                    <a:lnTo>
                      <a:pt x="690" y="32"/>
                    </a:lnTo>
                    <a:lnTo>
                      <a:pt x="690" y="34"/>
                    </a:lnTo>
                    <a:lnTo>
                      <a:pt x="690" y="34"/>
                    </a:lnTo>
                    <a:lnTo>
                      <a:pt x="690" y="36"/>
                    </a:lnTo>
                    <a:lnTo>
                      <a:pt x="690" y="38"/>
                    </a:lnTo>
                    <a:lnTo>
                      <a:pt x="692" y="42"/>
                    </a:lnTo>
                    <a:lnTo>
                      <a:pt x="692" y="44"/>
                    </a:lnTo>
                    <a:lnTo>
                      <a:pt x="692" y="46"/>
                    </a:lnTo>
                    <a:lnTo>
                      <a:pt x="692" y="48"/>
                    </a:lnTo>
                    <a:lnTo>
                      <a:pt x="692" y="48"/>
                    </a:lnTo>
                    <a:lnTo>
                      <a:pt x="694" y="50"/>
                    </a:lnTo>
                    <a:lnTo>
                      <a:pt x="694" y="50"/>
                    </a:lnTo>
                    <a:lnTo>
                      <a:pt x="696" y="52"/>
                    </a:lnTo>
                    <a:lnTo>
                      <a:pt x="698" y="52"/>
                    </a:lnTo>
                    <a:lnTo>
                      <a:pt x="700" y="54"/>
                    </a:lnTo>
                    <a:lnTo>
                      <a:pt x="704" y="56"/>
                    </a:lnTo>
                    <a:lnTo>
                      <a:pt x="704" y="58"/>
                    </a:lnTo>
                    <a:lnTo>
                      <a:pt x="706" y="60"/>
                    </a:lnTo>
                    <a:lnTo>
                      <a:pt x="706" y="60"/>
                    </a:lnTo>
                    <a:lnTo>
                      <a:pt x="706" y="62"/>
                    </a:lnTo>
                    <a:lnTo>
                      <a:pt x="708" y="64"/>
                    </a:lnTo>
                    <a:lnTo>
                      <a:pt x="708" y="68"/>
                    </a:lnTo>
                    <a:lnTo>
                      <a:pt x="708" y="72"/>
                    </a:lnTo>
                    <a:lnTo>
                      <a:pt x="708" y="74"/>
                    </a:lnTo>
                    <a:lnTo>
                      <a:pt x="708" y="76"/>
                    </a:lnTo>
                    <a:lnTo>
                      <a:pt x="710" y="76"/>
                    </a:lnTo>
                    <a:lnTo>
                      <a:pt x="710" y="78"/>
                    </a:lnTo>
                    <a:lnTo>
                      <a:pt x="710" y="78"/>
                    </a:lnTo>
                    <a:lnTo>
                      <a:pt x="710" y="80"/>
                    </a:lnTo>
                    <a:lnTo>
                      <a:pt x="712" y="80"/>
                    </a:lnTo>
                    <a:lnTo>
                      <a:pt x="712" y="80"/>
                    </a:lnTo>
                    <a:lnTo>
                      <a:pt x="714" y="80"/>
                    </a:lnTo>
                    <a:lnTo>
                      <a:pt x="714" y="80"/>
                    </a:lnTo>
                    <a:lnTo>
                      <a:pt x="714" y="80"/>
                    </a:lnTo>
                    <a:lnTo>
                      <a:pt x="716" y="78"/>
                    </a:lnTo>
                    <a:lnTo>
                      <a:pt x="716" y="78"/>
                    </a:lnTo>
                    <a:lnTo>
                      <a:pt x="718" y="76"/>
                    </a:lnTo>
                    <a:lnTo>
                      <a:pt x="718" y="74"/>
                    </a:lnTo>
                    <a:lnTo>
                      <a:pt x="720" y="70"/>
                    </a:lnTo>
                    <a:lnTo>
                      <a:pt x="722" y="66"/>
                    </a:lnTo>
                    <a:lnTo>
                      <a:pt x="722" y="64"/>
                    </a:lnTo>
                    <a:lnTo>
                      <a:pt x="724" y="62"/>
                    </a:lnTo>
                    <a:lnTo>
                      <a:pt x="724" y="62"/>
                    </a:lnTo>
                    <a:lnTo>
                      <a:pt x="726" y="60"/>
                    </a:lnTo>
                    <a:lnTo>
                      <a:pt x="726" y="60"/>
                    </a:lnTo>
                    <a:lnTo>
                      <a:pt x="726" y="60"/>
                    </a:lnTo>
                    <a:lnTo>
                      <a:pt x="728" y="60"/>
                    </a:lnTo>
                    <a:lnTo>
                      <a:pt x="728" y="60"/>
                    </a:lnTo>
                    <a:lnTo>
                      <a:pt x="730" y="60"/>
                    </a:lnTo>
                    <a:lnTo>
                      <a:pt x="730" y="60"/>
                    </a:lnTo>
                    <a:lnTo>
                      <a:pt x="730" y="62"/>
                    </a:lnTo>
                    <a:lnTo>
                      <a:pt x="732" y="62"/>
                    </a:lnTo>
                    <a:lnTo>
                      <a:pt x="732" y="64"/>
                    </a:lnTo>
                    <a:lnTo>
                      <a:pt x="732" y="64"/>
                    </a:lnTo>
                    <a:lnTo>
                      <a:pt x="734" y="66"/>
                    </a:lnTo>
                    <a:lnTo>
                      <a:pt x="736" y="70"/>
                    </a:lnTo>
                    <a:lnTo>
                      <a:pt x="736" y="72"/>
                    </a:lnTo>
                    <a:lnTo>
                      <a:pt x="738" y="78"/>
                    </a:lnTo>
                    <a:lnTo>
                      <a:pt x="738" y="78"/>
                    </a:lnTo>
                    <a:lnTo>
                      <a:pt x="738" y="80"/>
                    </a:lnTo>
                    <a:lnTo>
                      <a:pt x="738" y="82"/>
                    </a:lnTo>
                    <a:lnTo>
                      <a:pt x="736" y="84"/>
                    </a:lnTo>
                    <a:lnTo>
                      <a:pt x="736" y="88"/>
                    </a:lnTo>
                    <a:lnTo>
                      <a:pt x="736" y="92"/>
                    </a:lnTo>
                    <a:lnTo>
                      <a:pt x="734" y="96"/>
                    </a:lnTo>
                    <a:lnTo>
                      <a:pt x="734" y="98"/>
                    </a:lnTo>
                    <a:lnTo>
                      <a:pt x="734" y="100"/>
                    </a:lnTo>
                    <a:lnTo>
                      <a:pt x="734" y="102"/>
                    </a:lnTo>
                    <a:lnTo>
                      <a:pt x="734" y="104"/>
                    </a:lnTo>
                    <a:lnTo>
                      <a:pt x="736" y="106"/>
                    </a:lnTo>
                    <a:lnTo>
                      <a:pt x="736" y="106"/>
                    </a:lnTo>
                    <a:lnTo>
                      <a:pt x="736" y="106"/>
                    </a:lnTo>
                    <a:lnTo>
                      <a:pt x="736" y="106"/>
                    </a:lnTo>
                    <a:lnTo>
                      <a:pt x="738" y="106"/>
                    </a:lnTo>
                    <a:lnTo>
                      <a:pt x="738" y="108"/>
                    </a:lnTo>
                    <a:lnTo>
                      <a:pt x="740" y="108"/>
                    </a:lnTo>
                    <a:lnTo>
                      <a:pt x="742" y="108"/>
                    </a:lnTo>
                    <a:lnTo>
                      <a:pt x="744" y="108"/>
                    </a:lnTo>
                    <a:lnTo>
                      <a:pt x="746" y="108"/>
                    </a:lnTo>
                    <a:lnTo>
                      <a:pt x="748" y="106"/>
                    </a:lnTo>
                    <a:lnTo>
                      <a:pt x="748" y="106"/>
                    </a:lnTo>
                    <a:lnTo>
                      <a:pt x="748" y="106"/>
                    </a:lnTo>
                    <a:lnTo>
                      <a:pt x="750" y="106"/>
                    </a:lnTo>
                    <a:lnTo>
                      <a:pt x="750" y="104"/>
                    </a:lnTo>
                    <a:lnTo>
                      <a:pt x="750" y="104"/>
                    </a:lnTo>
                    <a:lnTo>
                      <a:pt x="750" y="100"/>
                    </a:lnTo>
                    <a:lnTo>
                      <a:pt x="752" y="98"/>
                    </a:lnTo>
                    <a:lnTo>
                      <a:pt x="752" y="94"/>
                    </a:lnTo>
                    <a:lnTo>
                      <a:pt x="752" y="92"/>
                    </a:lnTo>
                    <a:lnTo>
                      <a:pt x="754" y="90"/>
                    </a:lnTo>
                    <a:lnTo>
                      <a:pt x="754" y="90"/>
                    </a:lnTo>
                    <a:lnTo>
                      <a:pt x="754" y="88"/>
                    </a:lnTo>
                    <a:lnTo>
                      <a:pt x="754" y="88"/>
                    </a:lnTo>
                    <a:lnTo>
                      <a:pt x="758" y="86"/>
                    </a:lnTo>
                    <a:lnTo>
                      <a:pt x="760" y="84"/>
                    </a:lnTo>
                    <a:lnTo>
                      <a:pt x="762" y="82"/>
                    </a:lnTo>
                    <a:lnTo>
                      <a:pt x="766" y="78"/>
                    </a:lnTo>
                    <a:lnTo>
                      <a:pt x="768" y="76"/>
                    </a:lnTo>
                    <a:lnTo>
                      <a:pt x="770" y="74"/>
                    </a:lnTo>
                    <a:lnTo>
                      <a:pt x="770" y="74"/>
                    </a:lnTo>
                    <a:lnTo>
                      <a:pt x="772" y="72"/>
                    </a:lnTo>
                    <a:lnTo>
                      <a:pt x="772" y="72"/>
                    </a:lnTo>
                    <a:lnTo>
                      <a:pt x="772" y="70"/>
                    </a:lnTo>
                    <a:lnTo>
                      <a:pt x="772" y="66"/>
                    </a:lnTo>
                    <a:lnTo>
                      <a:pt x="774" y="64"/>
                    </a:lnTo>
                    <a:lnTo>
                      <a:pt x="774" y="60"/>
                    </a:lnTo>
                    <a:lnTo>
                      <a:pt x="774" y="56"/>
                    </a:lnTo>
                    <a:lnTo>
                      <a:pt x="776" y="54"/>
                    </a:lnTo>
                    <a:lnTo>
                      <a:pt x="776" y="52"/>
                    </a:lnTo>
                    <a:lnTo>
                      <a:pt x="776" y="52"/>
                    </a:lnTo>
                    <a:lnTo>
                      <a:pt x="776" y="50"/>
                    </a:lnTo>
                    <a:lnTo>
                      <a:pt x="778" y="50"/>
                    </a:lnTo>
                    <a:lnTo>
                      <a:pt x="778" y="48"/>
                    </a:lnTo>
                    <a:lnTo>
                      <a:pt x="780" y="48"/>
                    </a:lnTo>
                    <a:lnTo>
                      <a:pt x="782" y="48"/>
                    </a:lnTo>
                    <a:lnTo>
                      <a:pt x="784" y="46"/>
                    </a:lnTo>
                    <a:lnTo>
                      <a:pt x="786" y="46"/>
                    </a:lnTo>
                    <a:lnTo>
                      <a:pt x="788" y="46"/>
                    </a:lnTo>
                    <a:lnTo>
                      <a:pt x="790" y="46"/>
                    </a:lnTo>
                    <a:lnTo>
                      <a:pt x="792" y="46"/>
                    </a:lnTo>
                    <a:lnTo>
                      <a:pt x="794" y="46"/>
                    </a:lnTo>
                    <a:lnTo>
                      <a:pt x="796" y="48"/>
                    </a:lnTo>
                    <a:lnTo>
                      <a:pt x="800" y="48"/>
                    </a:lnTo>
                    <a:lnTo>
                      <a:pt x="802" y="48"/>
                    </a:lnTo>
                    <a:lnTo>
                      <a:pt x="804" y="50"/>
                    </a:lnTo>
                    <a:lnTo>
                      <a:pt x="806" y="50"/>
                    </a:lnTo>
                    <a:lnTo>
                      <a:pt x="808" y="50"/>
                    </a:lnTo>
                    <a:lnTo>
                      <a:pt x="808" y="52"/>
                    </a:lnTo>
                    <a:lnTo>
                      <a:pt x="810" y="52"/>
                    </a:lnTo>
                    <a:lnTo>
                      <a:pt x="810" y="54"/>
                    </a:lnTo>
                    <a:lnTo>
                      <a:pt x="812" y="54"/>
                    </a:lnTo>
                    <a:lnTo>
                      <a:pt x="812" y="56"/>
                    </a:lnTo>
                    <a:lnTo>
                      <a:pt x="814" y="56"/>
                    </a:lnTo>
                    <a:lnTo>
                      <a:pt x="816" y="60"/>
                    </a:lnTo>
                    <a:lnTo>
                      <a:pt x="816" y="62"/>
                    </a:lnTo>
                    <a:lnTo>
                      <a:pt x="818" y="66"/>
                    </a:lnTo>
                    <a:lnTo>
                      <a:pt x="818" y="68"/>
                    </a:lnTo>
                    <a:lnTo>
                      <a:pt x="820" y="70"/>
                    </a:lnTo>
                    <a:lnTo>
                      <a:pt x="820" y="72"/>
                    </a:lnTo>
                    <a:lnTo>
                      <a:pt x="820" y="72"/>
                    </a:lnTo>
                    <a:lnTo>
                      <a:pt x="820" y="74"/>
                    </a:lnTo>
                    <a:lnTo>
                      <a:pt x="818" y="74"/>
                    </a:lnTo>
                    <a:lnTo>
                      <a:pt x="818" y="76"/>
                    </a:lnTo>
                    <a:lnTo>
                      <a:pt x="818" y="76"/>
                    </a:lnTo>
                    <a:lnTo>
                      <a:pt x="818" y="76"/>
                    </a:lnTo>
                    <a:lnTo>
                      <a:pt x="816" y="76"/>
                    </a:lnTo>
                    <a:lnTo>
                      <a:pt x="814" y="78"/>
                    </a:lnTo>
                    <a:lnTo>
                      <a:pt x="812" y="78"/>
                    </a:lnTo>
                    <a:lnTo>
                      <a:pt x="810" y="80"/>
                    </a:lnTo>
                    <a:lnTo>
                      <a:pt x="808" y="80"/>
                    </a:lnTo>
                    <a:lnTo>
                      <a:pt x="808" y="80"/>
                    </a:lnTo>
                    <a:lnTo>
                      <a:pt x="808" y="82"/>
                    </a:lnTo>
                    <a:lnTo>
                      <a:pt x="806" y="82"/>
                    </a:lnTo>
                    <a:lnTo>
                      <a:pt x="806" y="82"/>
                    </a:lnTo>
                    <a:lnTo>
                      <a:pt x="806" y="84"/>
                    </a:lnTo>
                    <a:lnTo>
                      <a:pt x="806" y="84"/>
                    </a:lnTo>
                    <a:lnTo>
                      <a:pt x="806" y="86"/>
                    </a:lnTo>
                    <a:lnTo>
                      <a:pt x="806" y="88"/>
                    </a:lnTo>
                    <a:lnTo>
                      <a:pt x="806" y="88"/>
                    </a:lnTo>
                    <a:lnTo>
                      <a:pt x="808" y="90"/>
                    </a:lnTo>
                    <a:lnTo>
                      <a:pt x="808" y="92"/>
                    </a:lnTo>
                    <a:lnTo>
                      <a:pt x="810" y="96"/>
                    </a:lnTo>
                    <a:lnTo>
                      <a:pt x="812" y="100"/>
                    </a:lnTo>
                    <a:lnTo>
                      <a:pt x="812" y="104"/>
                    </a:lnTo>
                    <a:lnTo>
                      <a:pt x="812" y="104"/>
                    </a:lnTo>
                    <a:lnTo>
                      <a:pt x="812" y="106"/>
                    </a:lnTo>
                    <a:lnTo>
                      <a:pt x="814" y="108"/>
                    </a:lnTo>
                    <a:lnTo>
                      <a:pt x="814" y="110"/>
                    </a:lnTo>
                    <a:lnTo>
                      <a:pt x="812" y="110"/>
                    </a:lnTo>
                    <a:lnTo>
                      <a:pt x="812" y="112"/>
                    </a:lnTo>
                    <a:lnTo>
                      <a:pt x="812" y="114"/>
                    </a:lnTo>
                    <a:lnTo>
                      <a:pt x="810" y="116"/>
                    </a:lnTo>
                    <a:lnTo>
                      <a:pt x="808" y="118"/>
                    </a:lnTo>
                    <a:lnTo>
                      <a:pt x="806" y="120"/>
                    </a:lnTo>
                    <a:lnTo>
                      <a:pt x="804" y="122"/>
                    </a:lnTo>
                    <a:lnTo>
                      <a:pt x="800" y="124"/>
                    </a:lnTo>
                    <a:lnTo>
                      <a:pt x="798" y="126"/>
                    </a:lnTo>
                    <a:lnTo>
                      <a:pt x="794" y="128"/>
                    </a:lnTo>
                    <a:lnTo>
                      <a:pt x="792" y="128"/>
                    </a:lnTo>
                    <a:lnTo>
                      <a:pt x="788" y="130"/>
                    </a:lnTo>
                    <a:lnTo>
                      <a:pt x="786" y="132"/>
                    </a:lnTo>
                    <a:lnTo>
                      <a:pt x="782" y="132"/>
                    </a:lnTo>
                    <a:lnTo>
                      <a:pt x="780" y="132"/>
                    </a:lnTo>
                    <a:lnTo>
                      <a:pt x="778" y="134"/>
                    </a:lnTo>
                    <a:lnTo>
                      <a:pt x="774" y="134"/>
                    </a:lnTo>
                    <a:lnTo>
                      <a:pt x="774" y="132"/>
                    </a:lnTo>
                    <a:lnTo>
                      <a:pt x="772" y="132"/>
                    </a:lnTo>
                    <a:lnTo>
                      <a:pt x="772" y="132"/>
                    </a:lnTo>
                    <a:lnTo>
                      <a:pt x="772" y="132"/>
                    </a:lnTo>
                    <a:lnTo>
                      <a:pt x="770" y="132"/>
                    </a:lnTo>
                    <a:lnTo>
                      <a:pt x="770" y="132"/>
                    </a:lnTo>
                    <a:lnTo>
                      <a:pt x="770" y="130"/>
                    </a:lnTo>
                    <a:lnTo>
                      <a:pt x="770" y="128"/>
                    </a:lnTo>
                    <a:lnTo>
                      <a:pt x="768" y="126"/>
                    </a:lnTo>
                    <a:lnTo>
                      <a:pt x="768" y="124"/>
                    </a:lnTo>
                    <a:lnTo>
                      <a:pt x="766" y="124"/>
                    </a:lnTo>
                    <a:lnTo>
                      <a:pt x="766" y="124"/>
                    </a:lnTo>
                    <a:lnTo>
                      <a:pt x="766" y="122"/>
                    </a:lnTo>
                    <a:lnTo>
                      <a:pt x="766" y="122"/>
                    </a:lnTo>
                    <a:lnTo>
                      <a:pt x="764" y="122"/>
                    </a:lnTo>
                    <a:lnTo>
                      <a:pt x="762" y="122"/>
                    </a:lnTo>
                    <a:lnTo>
                      <a:pt x="758" y="122"/>
                    </a:lnTo>
                    <a:lnTo>
                      <a:pt x="754" y="122"/>
                    </a:lnTo>
                    <a:lnTo>
                      <a:pt x="752" y="122"/>
                    </a:lnTo>
                    <a:lnTo>
                      <a:pt x="748" y="122"/>
                    </a:lnTo>
                    <a:lnTo>
                      <a:pt x="748" y="122"/>
                    </a:lnTo>
                    <a:lnTo>
                      <a:pt x="746" y="122"/>
                    </a:lnTo>
                    <a:lnTo>
                      <a:pt x="746" y="124"/>
                    </a:lnTo>
                    <a:lnTo>
                      <a:pt x="744" y="124"/>
                    </a:lnTo>
                    <a:lnTo>
                      <a:pt x="744" y="124"/>
                    </a:lnTo>
                    <a:lnTo>
                      <a:pt x="744" y="126"/>
                    </a:lnTo>
                    <a:lnTo>
                      <a:pt x="744" y="126"/>
                    </a:lnTo>
                    <a:lnTo>
                      <a:pt x="744" y="128"/>
                    </a:lnTo>
                    <a:lnTo>
                      <a:pt x="742" y="130"/>
                    </a:lnTo>
                    <a:lnTo>
                      <a:pt x="742" y="132"/>
                    </a:lnTo>
                    <a:lnTo>
                      <a:pt x="742" y="136"/>
                    </a:lnTo>
                    <a:lnTo>
                      <a:pt x="742" y="138"/>
                    </a:lnTo>
                    <a:lnTo>
                      <a:pt x="742" y="140"/>
                    </a:lnTo>
                    <a:lnTo>
                      <a:pt x="742" y="140"/>
                    </a:lnTo>
                    <a:lnTo>
                      <a:pt x="742" y="140"/>
                    </a:lnTo>
                    <a:lnTo>
                      <a:pt x="740" y="142"/>
                    </a:lnTo>
                    <a:lnTo>
                      <a:pt x="740" y="142"/>
                    </a:lnTo>
                    <a:lnTo>
                      <a:pt x="738" y="142"/>
                    </a:lnTo>
                    <a:lnTo>
                      <a:pt x="738" y="144"/>
                    </a:lnTo>
                    <a:lnTo>
                      <a:pt x="736" y="144"/>
                    </a:lnTo>
                    <a:lnTo>
                      <a:pt x="734" y="144"/>
                    </a:lnTo>
                    <a:lnTo>
                      <a:pt x="732" y="144"/>
                    </a:lnTo>
                    <a:lnTo>
                      <a:pt x="728" y="144"/>
                    </a:lnTo>
                    <a:lnTo>
                      <a:pt x="724" y="144"/>
                    </a:lnTo>
                    <a:lnTo>
                      <a:pt x="722" y="144"/>
                    </a:lnTo>
                    <a:lnTo>
                      <a:pt x="718" y="142"/>
                    </a:lnTo>
                    <a:lnTo>
                      <a:pt x="716" y="142"/>
                    </a:lnTo>
                    <a:lnTo>
                      <a:pt x="714" y="140"/>
                    </a:lnTo>
                    <a:lnTo>
                      <a:pt x="714" y="140"/>
                    </a:lnTo>
                    <a:lnTo>
                      <a:pt x="712" y="138"/>
                    </a:lnTo>
                    <a:lnTo>
                      <a:pt x="710" y="136"/>
                    </a:lnTo>
                    <a:lnTo>
                      <a:pt x="710" y="136"/>
                    </a:lnTo>
                    <a:lnTo>
                      <a:pt x="710" y="134"/>
                    </a:lnTo>
                    <a:lnTo>
                      <a:pt x="708" y="134"/>
                    </a:lnTo>
                    <a:lnTo>
                      <a:pt x="708" y="134"/>
                    </a:lnTo>
                    <a:lnTo>
                      <a:pt x="706" y="134"/>
                    </a:lnTo>
                    <a:lnTo>
                      <a:pt x="704" y="134"/>
                    </a:lnTo>
                    <a:lnTo>
                      <a:pt x="702" y="134"/>
                    </a:lnTo>
                    <a:lnTo>
                      <a:pt x="702" y="134"/>
                    </a:lnTo>
                    <a:lnTo>
                      <a:pt x="700" y="134"/>
                    </a:lnTo>
                    <a:lnTo>
                      <a:pt x="698" y="134"/>
                    </a:lnTo>
                    <a:lnTo>
                      <a:pt x="698" y="134"/>
                    </a:lnTo>
                    <a:lnTo>
                      <a:pt x="698" y="136"/>
                    </a:lnTo>
                    <a:lnTo>
                      <a:pt x="698" y="136"/>
                    </a:lnTo>
                    <a:lnTo>
                      <a:pt x="698" y="136"/>
                    </a:lnTo>
                    <a:lnTo>
                      <a:pt x="698" y="138"/>
                    </a:lnTo>
                    <a:lnTo>
                      <a:pt x="698" y="138"/>
                    </a:lnTo>
                    <a:lnTo>
                      <a:pt x="698" y="140"/>
                    </a:lnTo>
                    <a:lnTo>
                      <a:pt x="698" y="142"/>
                    </a:lnTo>
                    <a:lnTo>
                      <a:pt x="698" y="144"/>
                    </a:lnTo>
                    <a:lnTo>
                      <a:pt x="698" y="144"/>
                    </a:lnTo>
                    <a:lnTo>
                      <a:pt x="700" y="146"/>
                    </a:lnTo>
                    <a:lnTo>
                      <a:pt x="700" y="146"/>
                    </a:lnTo>
                    <a:lnTo>
                      <a:pt x="702" y="146"/>
                    </a:lnTo>
                    <a:lnTo>
                      <a:pt x="702" y="148"/>
                    </a:lnTo>
                    <a:lnTo>
                      <a:pt x="704" y="148"/>
                    </a:lnTo>
                    <a:lnTo>
                      <a:pt x="708" y="148"/>
                    </a:lnTo>
                    <a:lnTo>
                      <a:pt x="712" y="150"/>
                    </a:lnTo>
                    <a:lnTo>
                      <a:pt x="716" y="150"/>
                    </a:lnTo>
                    <a:lnTo>
                      <a:pt x="718" y="150"/>
                    </a:lnTo>
                    <a:lnTo>
                      <a:pt x="718" y="152"/>
                    </a:lnTo>
                    <a:lnTo>
                      <a:pt x="720" y="152"/>
                    </a:lnTo>
                    <a:lnTo>
                      <a:pt x="722" y="152"/>
                    </a:lnTo>
                    <a:lnTo>
                      <a:pt x="722" y="154"/>
                    </a:lnTo>
                    <a:lnTo>
                      <a:pt x="724" y="154"/>
                    </a:lnTo>
                    <a:lnTo>
                      <a:pt x="724" y="156"/>
                    </a:lnTo>
                    <a:lnTo>
                      <a:pt x="724" y="156"/>
                    </a:lnTo>
                    <a:lnTo>
                      <a:pt x="724" y="158"/>
                    </a:lnTo>
                    <a:lnTo>
                      <a:pt x="724" y="160"/>
                    </a:lnTo>
                    <a:lnTo>
                      <a:pt x="724" y="160"/>
                    </a:lnTo>
                    <a:lnTo>
                      <a:pt x="724" y="162"/>
                    </a:lnTo>
                    <a:lnTo>
                      <a:pt x="722" y="166"/>
                    </a:lnTo>
                    <a:lnTo>
                      <a:pt x="720" y="168"/>
                    </a:lnTo>
                    <a:lnTo>
                      <a:pt x="720" y="172"/>
                    </a:lnTo>
                    <a:lnTo>
                      <a:pt x="718" y="174"/>
                    </a:lnTo>
                    <a:lnTo>
                      <a:pt x="716" y="176"/>
                    </a:lnTo>
                    <a:lnTo>
                      <a:pt x="716" y="178"/>
                    </a:lnTo>
                    <a:lnTo>
                      <a:pt x="714" y="180"/>
                    </a:lnTo>
                    <a:lnTo>
                      <a:pt x="712" y="180"/>
                    </a:lnTo>
                    <a:lnTo>
                      <a:pt x="712" y="182"/>
                    </a:lnTo>
                    <a:lnTo>
                      <a:pt x="710" y="184"/>
                    </a:lnTo>
                    <a:lnTo>
                      <a:pt x="708" y="184"/>
                    </a:lnTo>
                    <a:lnTo>
                      <a:pt x="706" y="184"/>
                    </a:lnTo>
                    <a:lnTo>
                      <a:pt x="704" y="186"/>
                    </a:lnTo>
                    <a:lnTo>
                      <a:pt x="704" y="186"/>
                    </a:lnTo>
                    <a:lnTo>
                      <a:pt x="702" y="186"/>
                    </a:lnTo>
                    <a:lnTo>
                      <a:pt x="700" y="186"/>
                    </a:lnTo>
                    <a:lnTo>
                      <a:pt x="698" y="186"/>
                    </a:lnTo>
                    <a:lnTo>
                      <a:pt x="694" y="186"/>
                    </a:lnTo>
                    <a:lnTo>
                      <a:pt x="692" y="186"/>
                    </a:lnTo>
                    <a:lnTo>
                      <a:pt x="688" y="186"/>
                    </a:lnTo>
                    <a:lnTo>
                      <a:pt x="688" y="188"/>
                    </a:lnTo>
                    <a:lnTo>
                      <a:pt x="686" y="188"/>
                    </a:lnTo>
                    <a:lnTo>
                      <a:pt x="686" y="188"/>
                    </a:lnTo>
                    <a:lnTo>
                      <a:pt x="684" y="188"/>
                    </a:lnTo>
                    <a:lnTo>
                      <a:pt x="684" y="188"/>
                    </a:lnTo>
                    <a:lnTo>
                      <a:pt x="682" y="190"/>
                    </a:lnTo>
                    <a:lnTo>
                      <a:pt x="682" y="190"/>
                    </a:lnTo>
                    <a:lnTo>
                      <a:pt x="682" y="192"/>
                    </a:lnTo>
                    <a:lnTo>
                      <a:pt x="680" y="194"/>
                    </a:lnTo>
                    <a:lnTo>
                      <a:pt x="678" y="196"/>
                    </a:lnTo>
                    <a:lnTo>
                      <a:pt x="676" y="202"/>
                    </a:lnTo>
                    <a:lnTo>
                      <a:pt x="674" y="204"/>
                    </a:lnTo>
                    <a:lnTo>
                      <a:pt x="672" y="206"/>
                    </a:lnTo>
                    <a:lnTo>
                      <a:pt x="670" y="208"/>
                    </a:lnTo>
                    <a:lnTo>
                      <a:pt x="666" y="212"/>
                    </a:lnTo>
                    <a:lnTo>
                      <a:pt x="664" y="214"/>
                    </a:lnTo>
                    <a:lnTo>
                      <a:pt x="660" y="216"/>
                    </a:lnTo>
                    <a:lnTo>
                      <a:pt x="652" y="222"/>
                    </a:lnTo>
                    <a:lnTo>
                      <a:pt x="648" y="224"/>
                    </a:lnTo>
                    <a:lnTo>
                      <a:pt x="646" y="228"/>
                    </a:lnTo>
                    <a:lnTo>
                      <a:pt x="640" y="232"/>
                    </a:lnTo>
                    <a:lnTo>
                      <a:pt x="634" y="236"/>
                    </a:lnTo>
                    <a:lnTo>
                      <a:pt x="630" y="240"/>
                    </a:lnTo>
                    <a:lnTo>
                      <a:pt x="628" y="242"/>
                    </a:lnTo>
                    <a:lnTo>
                      <a:pt x="624" y="246"/>
                    </a:lnTo>
                    <a:lnTo>
                      <a:pt x="622" y="248"/>
                    </a:lnTo>
                    <a:lnTo>
                      <a:pt x="620" y="250"/>
                    </a:lnTo>
                    <a:lnTo>
                      <a:pt x="618" y="254"/>
                    </a:lnTo>
                    <a:lnTo>
                      <a:pt x="614" y="258"/>
                    </a:lnTo>
                    <a:lnTo>
                      <a:pt x="612" y="262"/>
                    </a:lnTo>
                    <a:lnTo>
                      <a:pt x="610" y="266"/>
                    </a:lnTo>
                    <a:lnTo>
                      <a:pt x="606" y="270"/>
                    </a:lnTo>
                    <a:lnTo>
                      <a:pt x="604" y="274"/>
                    </a:lnTo>
                    <a:lnTo>
                      <a:pt x="604" y="274"/>
                    </a:lnTo>
                    <a:lnTo>
                      <a:pt x="604" y="276"/>
                    </a:lnTo>
                    <a:lnTo>
                      <a:pt x="602" y="278"/>
                    </a:lnTo>
                    <a:lnTo>
                      <a:pt x="602" y="282"/>
                    </a:lnTo>
                    <a:lnTo>
                      <a:pt x="602" y="284"/>
                    </a:lnTo>
                    <a:lnTo>
                      <a:pt x="602" y="288"/>
                    </a:lnTo>
                    <a:lnTo>
                      <a:pt x="600" y="290"/>
                    </a:lnTo>
                    <a:lnTo>
                      <a:pt x="600" y="292"/>
                    </a:lnTo>
                    <a:lnTo>
                      <a:pt x="600" y="294"/>
                    </a:lnTo>
                    <a:lnTo>
                      <a:pt x="602" y="294"/>
                    </a:lnTo>
                    <a:lnTo>
                      <a:pt x="602" y="296"/>
                    </a:lnTo>
                    <a:lnTo>
                      <a:pt x="602" y="296"/>
                    </a:lnTo>
                    <a:lnTo>
                      <a:pt x="602" y="298"/>
                    </a:lnTo>
                    <a:lnTo>
                      <a:pt x="602" y="298"/>
                    </a:lnTo>
                    <a:lnTo>
                      <a:pt x="604" y="298"/>
                    </a:lnTo>
                    <a:lnTo>
                      <a:pt x="604" y="300"/>
                    </a:lnTo>
                    <a:lnTo>
                      <a:pt x="606" y="300"/>
                    </a:lnTo>
                    <a:lnTo>
                      <a:pt x="608" y="300"/>
                    </a:lnTo>
                    <a:lnTo>
                      <a:pt x="610" y="300"/>
                    </a:lnTo>
                    <a:lnTo>
                      <a:pt x="614" y="300"/>
                    </a:lnTo>
                    <a:lnTo>
                      <a:pt x="616" y="300"/>
                    </a:lnTo>
                    <a:lnTo>
                      <a:pt x="618" y="300"/>
                    </a:lnTo>
                    <a:lnTo>
                      <a:pt x="618" y="300"/>
                    </a:lnTo>
                    <a:lnTo>
                      <a:pt x="620" y="302"/>
                    </a:lnTo>
                    <a:lnTo>
                      <a:pt x="620" y="302"/>
                    </a:lnTo>
                    <a:lnTo>
                      <a:pt x="620" y="302"/>
                    </a:lnTo>
                    <a:lnTo>
                      <a:pt x="620" y="302"/>
                    </a:lnTo>
                    <a:lnTo>
                      <a:pt x="622" y="304"/>
                    </a:lnTo>
                    <a:lnTo>
                      <a:pt x="622" y="306"/>
                    </a:lnTo>
                    <a:lnTo>
                      <a:pt x="624" y="308"/>
                    </a:lnTo>
                    <a:lnTo>
                      <a:pt x="624" y="312"/>
                    </a:lnTo>
                    <a:lnTo>
                      <a:pt x="624" y="314"/>
                    </a:lnTo>
                    <a:lnTo>
                      <a:pt x="624" y="320"/>
                    </a:lnTo>
                    <a:lnTo>
                      <a:pt x="624" y="324"/>
                    </a:lnTo>
                    <a:lnTo>
                      <a:pt x="624" y="328"/>
                    </a:lnTo>
                    <a:lnTo>
                      <a:pt x="626" y="330"/>
                    </a:lnTo>
                    <a:lnTo>
                      <a:pt x="626" y="332"/>
                    </a:lnTo>
                    <a:lnTo>
                      <a:pt x="626" y="334"/>
                    </a:lnTo>
                    <a:lnTo>
                      <a:pt x="628" y="336"/>
                    </a:lnTo>
                    <a:lnTo>
                      <a:pt x="628" y="336"/>
                    </a:lnTo>
                    <a:lnTo>
                      <a:pt x="628" y="336"/>
                    </a:lnTo>
                    <a:lnTo>
                      <a:pt x="630" y="338"/>
                    </a:lnTo>
                    <a:lnTo>
                      <a:pt x="630" y="338"/>
                    </a:lnTo>
                    <a:lnTo>
                      <a:pt x="632" y="338"/>
                    </a:lnTo>
                    <a:lnTo>
                      <a:pt x="634" y="340"/>
                    </a:lnTo>
                    <a:lnTo>
                      <a:pt x="636" y="340"/>
                    </a:lnTo>
                    <a:lnTo>
                      <a:pt x="640" y="340"/>
                    </a:lnTo>
                    <a:lnTo>
                      <a:pt x="642" y="340"/>
                    </a:lnTo>
                    <a:lnTo>
                      <a:pt x="648" y="340"/>
                    </a:lnTo>
                    <a:lnTo>
                      <a:pt x="654" y="340"/>
                    </a:lnTo>
                    <a:lnTo>
                      <a:pt x="658" y="340"/>
                    </a:lnTo>
                    <a:lnTo>
                      <a:pt x="662" y="340"/>
                    </a:lnTo>
                    <a:lnTo>
                      <a:pt x="664" y="340"/>
                    </a:lnTo>
                    <a:lnTo>
                      <a:pt x="666" y="342"/>
                    </a:lnTo>
                    <a:lnTo>
                      <a:pt x="668" y="342"/>
                    </a:lnTo>
                    <a:lnTo>
                      <a:pt x="670" y="342"/>
                    </a:lnTo>
                    <a:lnTo>
                      <a:pt x="670" y="344"/>
                    </a:lnTo>
                    <a:lnTo>
                      <a:pt x="672" y="346"/>
                    </a:lnTo>
                    <a:lnTo>
                      <a:pt x="674" y="346"/>
                    </a:lnTo>
                    <a:lnTo>
                      <a:pt x="678" y="350"/>
                    </a:lnTo>
                    <a:lnTo>
                      <a:pt x="680" y="354"/>
                    </a:lnTo>
                    <a:lnTo>
                      <a:pt x="684" y="358"/>
                    </a:lnTo>
                    <a:lnTo>
                      <a:pt x="686" y="360"/>
                    </a:lnTo>
                    <a:lnTo>
                      <a:pt x="688" y="362"/>
                    </a:lnTo>
                    <a:lnTo>
                      <a:pt x="690" y="364"/>
                    </a:lnTo>
                    <a:lnTo>
                      <a:pt x="692" y="364"/>
                    </a:lnTo>
                    <a:lnTo>
                      <a:pt x="692" y="366"/>
                    </a:lnTo>
                    <a:lnTo>
                      <a:pt x="694" y="366"/>
                    </a:lnTo>
                    <a:lnTo>
                      <a:pt x="696" y="366"/>
                    </a:lnTo>
                    <a:lnTo>
                      <a:pt x="700" y="366"/>
                    </a:lnTo>
                    <a:lnTo>
                      <a:pt x="702" y="368"/>
                    </a:lnTo>
                    <a:lnTo>
                      <a:pt x="704" y="368"/>
                    </a:lnTo>
                    <a:lnTo>
                      <a:pt x="706" y="368"/>
                    </a:lnTo>
                    <a:lnTo>
                      <a:pt x="708" y="368"/>
                    </a:lnTo>
                    <a:lnTo>
                      <a:pt x="708" y="368"/>
                    </a:lnTo>
                    <a:lnTo>
                      <a:pt x="710" y="368"/>
                    </a:lnTo>
                    <a:lnTo>
                      <a:pt x="710" y="370"/>
                    </a:lnTo>
                    <a:lnTo>
                      <a:pt x="712" y="372"/>
                    </a:lnTo>
                    <a:lnTo>
                      <a:pt x="714" y="374"/>
                    </a:lnTo>
                    <a:lnTo>
                      <a:pt x="716" y="376"/>
                    </a:lnTo>
                    <a:lnTo>
                      <a:pt x="718" y="380"/>
                    </a:lnTo>
                    <a:lnTo>
                      <a:pt x="720" y="382"/>
                    </a:lnTo>
                    <a:lnTo>
                      <a:pt x="720" y="382"/>
                    </a:lnTo>
                    <a:lnTo>
                      <a:pt x="722" y="384"/>
                    </a:lnTo>
                    <a:lnTo>
                      <a:pt x="722" y="384"/>
                    </a:lnTo>
                    <a:lnTo>
                      <a:pt x="724" y="384"/>
                    </a:lnTo>
                    <a:lnTo>
                      <a:pt x="724" y="384"/>
                    </a:lnTo>
                    <a:lnTo>
                      <a:pt x="726" y="384"/>
                    </a:lnTo>
                    <a:lnTo>
                      <a:pt x="728" y="384"/>
                    </a:lnTo>
                    <a:lnTo>
                      <a:pt x="730" y="384"/>
                    </a:lnTo>
                    <a:lnTo>
                      <a:pt x="732" y="384"/>
                    </a:lnTo>
                    <a:lnTo>
                      <a:pt x="738" y="382"/>
                    </a:lnTo>
                    <a:lnTo>
                      <a:pt x="740" y="382"/>
                    </a:lnTo>
                    <a:lnTo>
                      <a:pt x="742" y="380"/>
                    </a:lnTo>
                    <a:lnTo>
                      <a:pt x="744" y="380"/>
                    </a:lnTo>
                    <a:lnTo>
                      <a:pt x="746" y="380"/>
                    </a:lnTo>
                    <a:lnTo>
                      <a:pt x="748" y="380"/>
                    </a:lnTo>
                    <a:lnTo>
                      <a:pt x="748" y="382"/>
                    </a:lnTo>
                    <a:lnTo>
                      <a:pt x="750" y="382"/>
                    </a:lnTo>
                    <a:lnTo>
                      <a:pt x="750" y="382"/>
                    </a:lnTo>
                    <a:lnTo>
                      <a:pt x="750" y="382"/>
                    </a:lnTo>
                    <a:lnTo>
                      <a:pt x="750" y="384"/>
                    </a:lnTo>
                    <a:lnTo>
                      <a:pt x="752" y="384"/>
                    </a:lnTo>
                    <a:lnTo>
                      <a:pt x="752" y="386"/>
                    </a:lnTo>
                    <a:lnTo>
                      <a:pt x="752" y="388"/>
                    </a:lnTo>
                    <a:lnTo>
                      <a:pt x="752" y="390"/>
                    </a:lnTo>
                    <a:lnTo>
                      <a:pt x="752" y="392"/>
                    </a:lnTo>
                    <a:lnTo>
                      <a:pt x="752" y="394"/>
                    </a:lnTo>
                    <a:lnTo>
                      <a:pt x="750" y="396"/>
                    </a:lnTo>
                    <a:lnTo>
                      <a:pt x="750" y="402"/>
                    </a:lnTo>
                    <a:lnTo>
                      <a:pt x="748" y="406"/>
                    </a:lnTo>
                    <a:lnTo>
                      <a:pt x="748" y="410"/>
                    </a:lnTo>
                    <a:lnTo>
                      <a:pt x="748" y="412"/>
                    </a:lnTo>
                    <a:lnTo>
                      <a:pt x="748" y="414"/>
                    </a:lnTo>
                    <a:lnTo>
                      <a:pt x="746" y="416"/>
                    </a:lnTo>
                    <a:lnTo>
                      <a:pt x="746" y="420"/>
                    </a:lnTo>
                    <a:lnTo>
                      <a:pt x="746" y="428"/>
                    </a:lnTo>
                    <a:lnTo>
                      <a:pt x="744" y="432"/>
                    </a:lnTo>
                    <a:lnTo>
                      <a:pt x="744" y="434"/>
                    </a:lnTo>
                    <a:lnTo>
                      <a:pt x="744" y="438"/>
                    </a:lnTo>
                    <a:lnTo>
                      <a:pt x="744" y="440"/>
                    </a:lnTo>
                    <a:lnTo>
                      <a:pt x="744" y="442"/>
                    </a:lnTo>
                    <a:lnTo>
                      <a:pt x="746" y="444"/>
                    </a:lnTo>
                    <a:lnTo>
                      <a:pt x="746" y="446"/>
                    </a:lnTo>
                    <a:lnTo>
                      <a:pt x="748" y="450"/>
                    </a:lnTo>
                    <a:lnTo>
                      <a:pt x="748" y="452"/>
                    </a:lnTo>
                    <a:lnTo>
                      <a:pt x="750" y="456"/>
                    </a:lnTo>
                    <a:lnTo>
                      <a:pt x="752" y="458"/>
                    </a:lnTo>
                    <a:lnTo>
                      <a:pt x="752" y="458"/>
                    </a:lnTo>
                    <a:lnTo>
                      <a:pt x="754" y="460"/>
                    </a:lnTo>
                    <a:lnTo>
                      <a:pt x="754" y="460"/>
                    </a:lnTo>
                    <a:lnTo>
                      <a:pt x="754" y="462"/>
                    </a:lnTo>
                    <a:lnTo>
                      <a:pt x="756" y="462"/>
                    </a:lnTo>
                    <a:lnTo>
                      <a:pt x="758" y="462"/>
                    </a:lnTo>
                    <a:lnTo>
                      <a:pt x="758" y="462"/>
                    </a:lnTo>
                    <a:lnTo>
                      <a:pt x="760" y="462"/>
                    </a:lnTo>
                    <a:lnTo>
                      <a:pt x="762" y="464"/>
                    </a:lnTo>
                    <a:lnTo>
                      <a:pt x="764" y="464"/>
                    </a:lnTo>
                    <a:lnTo>
                      <a:pt x="766" y="462"/>
                    </a:lnTo>
                    <a:lnTo>
                      <a:pt x="766" y="462"/>
                    </a:lnTo>
                    <a:lnTo>
                      <a:pt x="766" y="462"/>
                    </a:lnTo>
                    <a:lnTo>
                      <a:pt x="768" y="462"/>
                    </a:lnTo>
                    <a:lnTo>
                      <a:pt x="768" y="460"/>
                    </a:lnTo>
                    <a:lnTo>
                      <a:pt x="770" y="458"/>
                    </a:lnTo>
                    <a:lnTo>
                      <a:pt x="770" y="458"/>
                    </a:lnTo>
                    <a:lnTo>
                      <a:pt x="772" y="456"/>
                    </a:lnTo>
                    <a:lnTo>
                      <a:pt x="772" y="454"/>
                    </a:lnTo>
                    <a:lnTo>
                      <a:pt x="774" y="454"/>
                    </a:lnTo>
                    <a:lnTo>
                      <a:pt x="774" y="452"/>
                    </a:lnTo>
                    <a:lnTo>
                      <a:pt x="774" y="452"/>
                    </a:lnTo>
                    <a:lnTo>
                      <a:pt x="774" y="452"/>
                    </a:lnTo>
                    <a:lnTo>
                      <a:pt x="776" y="452"/>
                    </a:lnTo>
                    <a:lnTo>
                      <a:pt x="776" y="452"/>
                    </a:lnTo>
                    <a:lnTo>
                      <a:pt x="776" y="454"/>
                    </a:lnTo>
                    <a:lnTo>
                      <a:pt x="778" y="454"/>
                    </a:lnTo>
                    <a:lnTo>
                      <a:pt x="780" y="456"/>
                    </a:lnTo>
                    <a:lnTo>
                      <a:pt x="780" y="458"/>
                    </a:lnTo>
                    <a:lnTo>
                      <a:pt x="782" y="458"/>
                    </a:lnTo>
                    <a:lnTo>
                      <a:pt x="784" y="460"/>
                    </a:lnTo>
                    <a:lnTo>
                      <a:pt x="784" y="460"/>
                    </a:lnTo>
                    <a:lnTo>
                      <a:pt x="784" y="462"/>
                    </a:lnTo>
                    <a:lnTo>
                      <a:pt x="786" y="462"/>
                    </a:lnTo>
                    <a:lnTo>
                      <a:pt x="786" y="462"/>
                    </a:lnTo>
                    <a:lnTo>
                      <a:pt x="786" y="462"/>
                    </a:lnTo>
                    <a:lnTo>
                      <a:pt x="788" y="460"/>
                    </a:lnTo>
                    <a:lnTo>
                      <a:pt x="788" y="460"/>
                    </a:lnTo>
                    <a:lnTo>
                      <a:pt x="788" y="460"/>
                    </a:lnTo>
                    <a:lnTo>
                      <a:pt x="788" y="458"/>
                    </a:lnTo>
                    <a:lnTo>
                      <a:pt x="790" y="456"/>
                    </a:lnTo>
                    <a:lnTo>
                      <a:pt x="790" y="452"/>
                    </a:lnTo>
                    <a:lnTo>
                      <a:pt x="792" y="450"/>
                    </a:lnTo>
                    <a:lnTo>
                      <a:pt x="792" y="446"/>
                    </a:lnTo>
                    <a:lnTo>
                      <a:pt x="794" y="442"/>
                    </a:lnTo>
                    <a:lnTo>
                      <a:pt x="796" y="434"/>
                    </a:lnTo>
                    <a:lnTo>
                      <a:pt x="796" y="430"/>
                    </a:lnTo>
                    <a:lnTo>
                      <a:pt x="796" y="426"/>
                    </a:lnTo>
                    <a:lnTo>
                      <a:pt x="798" y="422"/>
                    </a:lnTo>
                    <a:lnTo>
                      <a:pt x="798" y="418"/>
                    </a:lnTo>
                    <a:lnTo>
                      <a:pt x="798" y="418"/>
                    </a:lnTo>
                    <a:lnTo>
                      <a:pt x="798" y="416"/>
                    </a:lnTo>
                    <a:lnTo>
                      <a:pt x="796" y="412"/>
                    </a:lnTo>
                    <a:lnTo>
                      <a:pt x="796" y="408"/>
                    </a:lnTo>
                    <a:lnTo>
                      <a:pt x="796" y="408"/>
                    </a:lnTo>
                    <a:lnTo>
                      <a:pt x="796" y="406"/>
                    </a:lnTo>
                    <a:lnTo>
                      <a:pt x="796" y="402"/>
                    </a:lnTo>
                    <a:lnTo>
                      <a:pt x="796" y="398"/>
                    </a:lnTo>
                    <a:lnTo>
                      <a:pt x="796" y="394"/>
                    </a:lnTo>
                    <a:lnTo>
                      <a:pt x="796" y="392"/>
                    </a:lnTo>
                    <a:lnTo>
                      <a:pt x="798" y="390"/>
                    </a:lnTo>
                    <a:lnTo>
                      <a:pt x="798" y="388"/>
                    </a:lnTo>
                    <a:lnTo>
                      <a:pt x="798" y="386"/>
                    </a:lnTo>
                    <a:lnTo>
                      <a:pt x="798" y="386"/>
                    </a:lnTo>
                    <a:lnTo>
                      <a:pt x="798" y="384"/>
                    </a:lnTo>
                    <a:lnTo>
                      <a:pt x="800" y="384"/>
                    </a:lnTo>
                    <a:lnTo>
                      <a:pt x="800" y="382"/>
                    </a:lnTo>
                    <a:lnTo>
                      <a:pt x="802" y="382"/>
                    </a:lnTo>
                    <a:lnTo>
                      <a:pt x="804" y="382"/>
                    </a:lnTo>
                    <a:lnTo>
                      <a:pt x="806" y="380"/>
                    </a:lnTo>
                    <a:lnTo>
                      <a:pt x="810" y="378"/>
                    </a:lnTo>
                    <a:lnTo>
                      <a:pt x="812" y="378"/>
                    </a:lnTo>
                    <a:lnTo>
                      <a:pt x="816" y="376"/>
                    </a:lnTo>
                    <a:lnTo>
                      <a:pt x="818" y="376"/>
                    </a:lnTo>
                    <a:lnTo>
                      <a:pt x="818" y="374"/>
                    </a:lnTo>
                    <a:lnTo>
                      <a:pt x="820" y="374"/>
                    </a:lnTo>
                    <a:lnTo>
                      <a:pt x="820" y="374"/>
                    </a:lnTo>
                    <a:lnTo>
                      <a:pt x="822" y="372"/>
                    </a:lnTo>
                    <a:lnTo>
                      <a:pt x="822" y="370"/>
                    </a:lnTo>
                    <a:lnTo>
                      <a:pt x="822" y="368"/>
                    </a:lnTo>
                    <a:lnTo>
                      <a:pt x="822" y="366"/>
                    </a:lnTo>
                    <a:lnTo>
                      <a:pt x="824" y="364"/>
                    </a:lnTo>
                    <a:lnTo>
                      <a:pt x="824" y="362"/>
                    </a:lnTo>
                    <a:lnTo>
                      <a:pt x="824" y="360"/>
                    </a:lnTo>
                    <a:lnTo>
                      <a:pt x="824" y="358"/>
                    </a:lnTo>
                    <a:lnTo>
                      <a:pt x="824" y="354"/>
                    </a:lnTo>
                    <a:lnTo>
                      <a:pt x="822" y="350"/>
                    </a:lnTo>
                    <a:lnTo>
                      <a:pt x="822" y="344"/>
                    </a:lnTo>
                    <a:lnTo>
                      <a:pt x="820" y="340"/>
                    </a:lnTo>
                    <a:lnTo>
                      <a:pt x="818" y="328"/>
                    </a:lnTo>
                    <a:lnTo>
                      <a:pt x="816" y="318"/>
                    </a:lnTo>
                    <a:lnTo>
                      <a:pt x="814" y="314"/>
                    </a:lnTo>
                    <a:lnTo>
                      <a:pt x="814" y="308"/>
                    </a:lnTo>
                    <a:lnTo>
                      <a:pt x="812" y="304"/>
                    </a:lnTo>
                    <a:lnTo>
                      <a:pt x="812" y="302"/>
                    </a:lnTo>
                    <a:lnTo>
                      <a:pt x="812" y="300"/>
                    </a:lnTo>
                    <a:lnTo>
                      <a:pt x="812" y="300"/>
                    </a:lnTo>
                    <a:lnTo>
                      <a:pt x="814" y="298"/>
                    </a:lnTo>
                    <a:lnTo>
                      <a:pt x="814" y="298"/>
                    </a:lnTo>
                    <a:lnTo>
                      <a:pt x="814" y="298"/>
                    </a:lnTo>
                    <a:lnTo>
                      <a:pt x="816" y="298"/>
                    </a:lnTo>
                    <a:lnTo>
                      <a:pt x="818" y="296"/>
                    </a:lnTo>
                    <a:lnTo>
                      <a:pt x="822" y="296"/>
                    </a:lnTo>
                    <a:lnTo>
                      <a:pt x="824" y="296"/>
                    </a:lnTo>
                    <a:lnTo>
                      <a:pt x="824" y="296"/>
                    </a:lnTo>
                    <a:lnTo>
                      <a:pt x="826" y="294"/>
                    </a:lnTo>
                    <a:lnTo>
                      <a:pt x="826" y="294"/>
                    </a:lnTo>
                    <a:lnTo>
                      <a:pt x="826" y="294"/>
                    </a:lnTo>
                    <a:lnTo>
                      <a:pt x="828" y="292"/>
                    </a:lnTo>
                    <a:lnTo>
                      <a:pt x="828" y="292"/>
                    </a:lnTo>
                    <a:lnTo>
                      <a:pt x="828" y="290"/>
                    </a:lnTo>
                    <a:lnTo>
                      <a:pt x="830" y="288"/>
                    </a:lnTo>
                    <a:lnTo>
                      <a:pt x="830" y="284"/>
                    </a:lnTo>
                    <a:lnTo>
                      <a:pt x="832" y="280"/>
                    </a:lnTo>
                    <a:lnTo>
                      <a:pt x="832" y="276"/>
                    </a:lnTo>
                    <a:lnTo>
                      <a:pt x="832" y="272"/>
                    </a:lnTo>
                    <a:lnTo>
                      <a:pt x="832" y="268"/>
                    </a:lnTo>
                    <a:lnTo>
                      <a:pt x="832" y="264"/>
                    </a:lnTo>
                    <a:lnTo>
                      <a:pt x="832" y="264"/>
                    </a:lnTo>
                    <a:lnTo>
                      <a:pt x="830" y="262"/>
                    </a:lnTo>
                    <a:lnTo>
                      <a:pt x="830" y="260"/>
                    </a:lnTo>
                    <a:lnTo>
                      <a:pt x="828" y="258"/>
                    </a:lnTo>
                    <a:lnTo>
                      <a:pt x="828" y="256"/>
                    </a:lnTo>
                    <a:lnTo>
                      <a:pt x="828" y="254"/>
                    </a:lnTo>
                    <a:lnTo>
                      <a:pt x="828" y="252"/>
                    </a:lnTo>
                    <a:lnTo>
                      <a:pt x="828" y="250"/>
                    </a:lnTo>
                    <a:lnTo>
                      <a:pt x="828" y="246"/>
                    </a:lnTo>
                    <a:lnTo>
                      <a:pt x="828" y="244"/>
                    </a:lnTo>
                    <a:lnTo>
                      <a:pt x="830" y="240"/>
                    </a:lnTo>
                    <a:lnTo>
                      <a:pt x="830" y="238"/>
                    </a:lnTo>
                    <a:lnTo>
                      <a:pt x="830" y="234"/>
                    </a:lnTo>
                    <a:lnTo>
                      <a:pt x="832" y="232"/>
                    </a:lnTo>
                    <a:lnTo>
                      <a:pt x="834" y="226"/>
                    </a:lnTo>
                    <a:lnTo>
                      <a:pt x="836" y="222"/>
                    </a:lnTo>
                    <a:lnTo>
                      <a:pt x="838" y="220"/>
                    </a:lnTo>
                    <a:lnTo>
                      <a:pt x="840" y="216"/>
                    </a:lnTo>
                    <a:lnTo>
                      <a:pt x="840" y="214"/>
                    </a:lnTo>
                    <a:lnTo>
                      <a:pt x="842" y="212"/>
                    </a:lnTo>
                    <a:lnTo>
                      <a:pt x="844" y="212"/>
                    </a:lnTo>
                    <a:lnTo>
                      <a:pt x="844" y="210"/>
                    </a:lnTo>
                    <a:lnTo>
                      <a:pt x="846" y="210"/>
                    </a:lnTo>
                    <a:lnTo>
                      <a:pt x="846" y="210"/>
                    </a:lnTo>
                    <a:lnTo>
                      <a:pt x="848" y="210"/>
                    </a:lnTo>
                    <a:lnTo>
                      <a:pt x="850" y="210"/>
                    </a:lnTo>
                    <a:lnTo>
                      <a:pt x="850" y="210"/>
                    </a:lnTo>
                    <a:lnTo>
                      <a:pt x="852" y="210"/>
                    </a:lnTo>
                    <a:lnTo>
                      <a:pt x="854" y="212"/>
                    </a:lnTo>
                    <a:lnTo>
                      <a:pt x="854" y="212"/>
                    </a:lnTo>
                    <a:lnTo>
                      <a:pt x="858" y="214"/>
                    </a:lnTo>
                    <a:lnTo>
                      <a:pt x="862" y="218"/>
                    </a:lnTo>
                    <a:lnTo>
                      <a:pt x="864" y="220"/>
                    </a:lnTo>
                    <a:lnTo>
                      <a:pt x="866" y="220"/>
                    </a:lnTo>
                    <a:lnTo>
                      <a:pt x="866" y="222"/>
                    </a:lnTo>
                    <a:lnTo>
                      <a:pt x="868" y="222"/>
                    </a:lnTo>
                    <a:lnTo>
                      <a:pt x="870" y="222"/>
                    </a:lnTo>
                    <a:lnTo>
                      <a:pt x="870" y="222"/>
                    </a:lnTo>
                    <a:lnTo>
                      <a:pt x="872" y="222"/>
                    </a:lnTo>
                    <a:lnTo>
                      <a:pt x="874" y="222"/>
                    </a:lnTo>
                    <a:lnTo>
                      <a:pt x="876" y="222"/>
                    </a:lnTo>
                    <a:lnTo>
                      <a:pt x="880" y="222"/>
                    </a:lnTo>
                    <a:lnTo>
                      <a:pt x="886" y="222"/>
                    </a:lnTo>
                    <a:lnTo>
                      <a:pt x="890" y="222"/>
                    </a:lnTo>
                    <a:lnTo>
                      <a:pt x="894" y="222"/>
                    </a:lnTo>
                    <a:lnTo>
                      <a:pt x="896" y="222"/>
                    </a:lnTo>
                    <a:lnTo>
                      <a:pt x="898" y="222"/>
                    </a:lnTo>
                    <a:lnTo>
                      <a:pt x="900" y="222"/>
                    </a:lnTo>
                    <a:lnTo>
                      <a:pt x="900" y="222"/>
                    </a:lnTo>
                    <a:lnTo>
                      <a:pt x="902" y="222"/>
                    </a:lnTo>
                    <a:lnTo>
                      <a:pt x="902" y="224"/>
                    </a:lnTo>
                    <a:lnTo>
                      <a:pt x="904" y="224"/>
                    </a:lnTo>
                    <a:lnTo>
                      <a:pt x="906" y="226"/>
                    </a:lnTo>
                    <a:lnTo>
                      <a:pt x="908" y="228"/>
                    </a:lnTo>
                    <a:lnTo>
                      <a:pt x="910" y="232"/>
                    </a:lnTo>
                    <a:lnTo>
                      <a:pt x="914" y="234"/>
                    </a:lnTo>
                    <a:lnTo>
                      <a:pt x="916" y="238"/>
                    </a:lnTo>
                    <a:lnTo>
                      <a:pt x="920" y="242"/>
                    </a:lnTo>
                    <a:lnTo>
                      <a:pt x="922" y="244"/>
                    </a:lnTo>
                    <a:lnTo>
                      <a:pt x="922" y="246"/>
                    </a:lnTo>
                    <a:lnTo>
                      <a:pt x="924" y="248"/>
                    </a:lnTo>
                    <a:lnTo>
                      <a:pt x="926" y="248"/>
                    </a:lnTo>
                    <a:lnTo>
                      <a:pt x="928" y="250"/>
                    </a:lnTo>
                    <a:lnTo>
                      <a:pt x="928" y="250"/>
                    </a:lnTo>
                    <a:lnTo>
                      <a:pt x="930" y="250"/>
                    </a:lnTo>
                    <a:lnTo>
                      <a:pt x="938" y="252"/>
                    </a:lnTo>
                    <a:lnTo>
                      <a:pt x="940" y="252"/>
                    </a:lnTo>
                    <a:lnTo>
                      <a:pt x="942" y="252"/>
                    </a:lnTo>
                    <a:lnTo>
                      <a:pt x="944" y="254"/>
                    </a:lnTo>
                    <a:lnTo>
                      <a:pt x="944" y="254"/>
                    </a:lnTo>
                    <a:lnTo>
                      <a:pt x="946" y="254"/>
                    </a:lnTo>
                    <a:lnTo>
                      <a:pt x="946" y="256"/>
                    </a:lnTo>
                    <a:lnTo>
                      <a:pt x="946" y="256"/>
                    </a:lnTo>
                    <a:lnTo>
                      <a:pt x="946" y="256"/>
                    </a:lnTo>
                    <a:lnTo>
                      <a:pt x="946" y="258"/>
                    </a:lnTo>
                    <a:lnTo>
                      <a:pt x="946" y="258"/>
                    </a:lnTo>
                    <a:lnTo>
                      <a:pt x="946" y="258"/>
                    </a:lnTo>
                    <a:lnTo>
                      <a:pt x="944" y="260"/>
                    </a:lnTo>
                    <a:lnTo>
                      <a:pt x="942" y="262"/>
                    </a:lnTo>
                    <a:lnTo>
                      <a:pt x="940" y="264"/>
                    </a:lnTo>
                    <a:lnTo>
                      <a:pt x="938" y="266"/>
                    </a:lnTo>
                    <a:lnTo>
                      <a:pt x="938" y="266"/>
                    </a:lnTo>
                    <a:lnTo>
                      <a:pt x="938" y="268"/>
                    </a:lnTo>
                    <a:lnTo>
                      <a:pt x="936" y="270"/>
                    </a:lnTo>
                    <a:lnTo>
                      <a:pt x="936" y="272"/>
                    </a:lnTo>
                    <a:lnTo>
                      <a:pt x="936" y="276"/>
                    </a:lnTo>
                    <a:lnTo>
                      <a:pt x="934" y="282"/>
                    </a:lnTo>
                    <a:lnTo>
                      <a:pt x="934" y="284"/>
                    </a:lnTo>
                    <a:lnTo>
                      <a:pt x="934" y="288"/>
                    </a:lnTo>
                    <a:lnTo>
                      <a:pt x="934" y="290"/>
                    </a:lnTo>
                    <a:lnTo>
                      <a:pt x="934" y="294"/>
                    </a:lnTo>
                    <a:lnTo>
                      <a:pt x="936" y="296"/>
                    </a:lnTo>
                    <a:lnTo>
                      <a:pt x="936" y="298"/>
                    </a:lnTo>
                    <a:lnTo>
                      <a:pt x="936" y="300"/>
                    </a:lnTo>
                    <a:lnTo>
                      <a:pt x="936" y="302"/>
                    </a:lnTo>
                    <a:lnTo>
                      <a:pt x="938" y="304"/>
                    </a:lnTo>
                    <a:lnTo>
                      <a:pt x="938" y="306"/>
                    </a:lnTo>
                    <a:lnTo>
                      <a:pt x="940" y="308"/>
                    </a:lnTo>
                    <a:lnTo>
                      <a:pt x="940" y="308"/>
                    </a:lnTo>
                    <a:lnTo>
                      <a:pt x="942" y="308"/>
                    </a:lnTo>
                    <a:lnTo>
                      <a:pt x="942" y="310"/>
                    </a:lnTo>
                    <a:lnTo>
                      <a:pt x="946" y="310"/>
                    </a:lnTo>
                    <a:lnTo>
                      <a:pt x="948" y="312"/>
                    </a:lnTo>
                    <a:lnTo>
                      <a:pt x="952" y="312"/>
                    </a:lnTo>
                    <a:lnTo>
                      <a:pt x="954" y="312"/>
                    </a:lnTo>
                    <a:lnTo>
                      <a:pt x="958" y="312"/>
                    </a:lnTo>
                    <a:lnTo>
                      <a:pt x="960" y="312"/>
                    </a:lnTo>
                    <a:lnTo>
                      <a:pt x="962" y="312"/>
                    </a:lnTo>
                    <a:lnTo>
                      <a:pt x="966" y="312"/>
                    </a:lnTo>
                    <a:lnTo>
                      <a:pt x="968" y="312"/>
                    </a:lnTo>
                    <a:lnTo>
                      <a:pt x="972" y="310"/>
                    </a:lnTo>
                    <a:lnTo>
                      <a:pt x="974" y="310"/>
                    </a:lnTo>
                    <a:lnTo>
                      <a:pt x="978" y="308"/>
                    </a:lnTo>
                    <a:lnTo>
                      <a:pt x="980" y="306"/>
                    </a:lnTo>
                    <a:lnTo>
                      <a:pt x="982" y="306"/>
                    </a:lnTo>
                    <a:lnTo>
                      <a:pt x="984" y="304"/>
                    </a:lnTo>
                    <a:lnTo>
                      <a:pt x="986" y="302"/>
                    </a:lnTo>
                    <a:lnTo>
                      <a:pt x="986" y="302"/>
                    </a:lnTo>
                    <a:lnTo>
                      <a:pt x="988" y="300"/>
                    </a:lnTo>
                    <a:lnTo>
                      <a:pt x="992" y="292"/>
                    </a:lnTo>
                    <a:lnTo>
                      <a:pt x="992" y="292"/>
                    </a:lnTo>
                    <a:lnTo>
                      <a:pt x="992" y="290"/>
                    </a:lnTo>
                    <a:lnTo>
                      <a:pt x="994" y="288"/>
                    </a:lnTo>
                    <a:lnTo>
                      <a:pt x="996" y="284"/>
                    </a:lnTo>
                    <a:lnTo>
                      <a:pt x="996" y="280"/>
                    </a:lnTo>
                    <a:lnTo>
                      <a:pt x="998" y="276"/>
                    </a:lnTo>
                    <a:lnTo>
                      <a:pt x="1000" y="276"/>
                    </a:lnTo>
                    <a:lnTo>
                      <a:pt x="1000" y="274"/>
                    </a:lnTo>
                    <a:lnTo>
                      <a:pt x="1000" y="272"/>
                    </a:lnTo>
                    <a:lnTo>
                      <a:pt x="1002" y="272"/>
                    </a:lnTo>
                    <a:lnTo>
                      <a:pt x="1002" y="272"/>
                    </a:lnTo>
                    <a:lnTo>
                      <a:pt x="1004" y="27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0" name="Freeform 532">
                <a:extLst>
                  <a:ext uri="{FF2B5EF4-FFF2-40B4-BE49-F238E27FC236}">
                    <a16:creationId xmlns:a16="http://schemas.microsoft.com/office/drawing/2014/main" id="{0C0E84E6-68C5-4538-A324-1E77105C947B}"/>
                  </a:ext>
                </a:extLst>
              </p:cNvPr>
              <p:cNvSpPr>
                <a:spLocks/>
              </p:cNvSpPr>
              <p:nvPr/>
            </p:nvSpPr>
            <p:spPr bwMode="auto">
              <a:xfrm>
                <a:off x="3037178" y="3372017"/>
                <a:ext cx="130175" cy="133350"/>
              </a:xfrm>
              <a:custGeom>
                <a:avLst/>
                <a:gdLst>
                  <a:gd name="T0" fmla="*/ 42 w 82"/>
                  <a:gd name="T1" fmla="*/ 0 h 84"/>
                  <a:gd name="T2" fmla="*/ 42 w 82"/>
                  <a:gd name="T3" fmla="*/ 2 h 84"/>
                  <a:gd name="T4" fmla="*/ 38 w 82"/>
                  <a:gd name="T5" fmla="*/ 2 h 84"/>
                  <a:gd name="T6" fmla="*/ 34 w 82"/>
                  <a:gd name="T7" fmla="*/ 4 h 84"/>
                  <a:gd name="T8" fmla="*/ 30 w 82"/>
                  <a:gd name="T9" fmla="*/ 12 h 84"/>
                  <a:gd name="T10" fmla="*/ 22 w 82"/>
                  <a:gd name="T11" fmla="*/ 22 h 84"/>
                  <a:gd name="T12" fmla="*/ 20 w 82"/>
                  <a:gd name="T13" fmla="*/ 26 h 84"/>
                  <a:gd name="T14" fmla="*/ 12 w 82"/>
                  <a:gd name="T15" fmla="*/ 28 h 84"/>
                  <a:gd name="T16" fmla="*/ 8 w 82"/>
                  <a:gd name="T17" fmla="*/ 32 h 84"/>
                  <a:gd name="T18" fmla="*/ 6 w 82"/>
                  <a:gd name="T19" fmla="*/ 36 h 84"/>
                  <a:gd name="T20" fmla="*/ 2 w 82"/>
                  <a:gd name="T21" fmla="*/ 46 h 84"/>
                  <a:gd name="T22" fmla="*/ 0 w 82"/>
                  <a:gd name="T23" fmla="*/ 56 h 84"/>
                  <a:gd name="T24" fmla="*/ 0 w 82"/>
                  <a:gd name="T25" fmla="*/ 62 h 84"/>
                  <a:gd name="T26" fmla="*/ 2 w 82"/>
                  <a:gd name="T27" fmla="*/ 66 h 84"/>
                  <a:gd name="T28" fmla="*/ 4 w 82"/>
                  <a:gd name="T29" fmla="*/ 68 h 84"/>
                  <a:gd name="T30" fmla="*/ 10 w 82"/>
                  <a:gd name="T31" fmla="*/ 68 h 84"/>
                  <a:gd name="T32" fmla="*/ 16 w 82"/>
                  <a:gd name="T33" fmla="*/ 68 h 84"/>
                  <a:gd name="T34" fmla="*/ 22 w 82"/>
                  <a:gd name="T35" fmla="*/ 68 h 84"/>
                  <a:gd name="T36" fmla="*/ 30 w 82"/>
                  <a:gd name="T37" fmla="*/ 62 h 84"/>
                  <a:gd name="T38" fmla="*/ 38 w 82"/>
                  <a:gd name="T39" fmla="*/ 60 h 84"/>
                  <a:gd name="T40" fmla="*/ 42 w 82"/>
                  <a:gd name="T41" fmla="*/ 62 h 84"/>
                  <a:gd name="T42" fmla="*/ 44 w 82"/>
                  <a:gd name="T43" fmla="*/ 62 h 84"/>
                  <a:gd name="T44" fmla="*/ 44 w 82"/>
                  <a:gd name="T45" fmla="*/ 66 h 84"/>
                  <a:gd name="T46" fmla="*/ 44 w 82"/>
                  <a:gd name="T47" fmla="*/ 74 h 84"/>
                  <a:gd name="T48" fmla="*/ 44 w 82"/>
                  <a:gd name="T49" fmla="*/ 80 h 84"/>
                  <a:gd name="T50" fmla="*/ 46 w 82"/>
                  <a:gd name="T51" fmla="*/ 82 h 84"/>
                  <a:gd name="T52" fmla="*/ 50 w 82"/>
                  <a:gd name="T53" fmla="*/ 84 h 84"/>
                  <a:gd name="T54" fmla="*/ 54 w 82"/>
                  <a:gd name="T55" fmla="*/ 84 h 84"/>
                  <a:gd name="T56" fmla="*/ 56 w 82"/>
                  <a:gd name="T57" fmla="*/ 84 h 84"/>
                  <a:gd name="T58" fmla="*/ 56 w 82"/>
                  <a:gd name="T59" fmla="*/ 82 h 84"/>
                  <a:gd name="T60" fmla="*/ 56 w 82"/>
                  <a:gd name="T61" fmla="*/ 76 h 84"/>
                  <a:gd name="T62" fmla="*/ 54 w 82"/>
                  <a:gd name="T63" fmla="*/ 72 h 84"/>
                  <a:gd name="T64" fmla="*/ 56 w 82"/>
                  <a:gd name="T65" fmla="*/ 70 h 84"/>
                  <a:gd name="T66" fmla="*/ 58 w 82"/>
                  <a:gd name="T67" fmla="*/ 70 h 84"/>
                  <a:gd name="T68" fmla="*/ 62 w 82"/>
                  <a:gd name="T69" fmla="*/ 72 h 84"/>
                  <a:gd name="T70" fmla="*/ 64 w 82"/>
                  <a:gd name="T71" fmla="*/ 74 h 84"/>
                  <a:gd name="T72" fmla="*/ 66 w 82"/>
                  <a:gd name="T73" fmla="*/ 78 h 84"/>
                  <a:gd name="T74" fmla="*/ 66 w 82"/>
                  <a:gd name="T75" fmla="*/ 84 h 84"/>
                  <a:gd name="T76" fmla="*/ 68 w 82"/>
                  <a:gd name="T77" fmla="*/ 84 h 84"/>
                  <a:gd name="T78" fmla="*/ 70 w 82"/>
                  <a:gd name="T79" fmla="*/ 84 h 84"/>
                  <a:gd name="T80" fmla="*/ 72 w 82"/>
                  <a:gd name="T81" fmla="*/ 82 h 84"/>
                  <a:gd name="T82" fmla="*/ 74 w 82"/>
                  <a:gd name="T83" fmla="*/ 74 h 84"/>
                  <a:gd name="T84" fmla="*/ 76 w 82"/>
                  <a:gd name="T85" fmla="*/ 66 h 84"/>
                  <a:gd name="T86" fmla="*/ 80 w 82"/>
                  <a:gd name="T87" fmla="*/ 58 h 84"/>
                  <a:gd name="T88" fmla="*/ 82 w 82"/>
                  <a:gd name="T89" fmla="*/ 52 h 84"/>
                  <a:gd name="T90" fmla="*/ 82 w 82"/>
                  <a:gd name="T91" fmla="*/ 44 h 84"/>
                  <a:gd name="T92" fmla="*/ 80 w 82"/>
                  <a:gd name="T93" fmla="*/ 34 h 84"/>
                  <a:gd name="T94" fmla="*/ 78 w 82"/>
                  <a:gd name="T95" fmla="*/ 32 h 84"/>
                  <a:gd name="T96" fmla="*/ 76 w 82"/>
                  <a:gd name="T97" fmla="*/ 28 h 84"/>
                  <a:gd name="T98" fmla="*/ 70 w 82"/>
                  <a:gd name="T99" fmla="*/ 28 h 84"/>
                  <a:gd name="T100" fmla="*/ 66 w 82"/>
                  <a:gd name="T101" fmla="*/ 26 h 84"/>
                  <a:gd name="T102" fmla="*/ 58 w 82"/>
                  <a:gd name="T103" fmla="*/ 28 h 84"/>
                  <a:gd name="T104" fmla="*/ 56 w 82"/>
                  <a:gd name="T105" fmla="*/ 26 h 84"/>
                  <a:gd name="T106" fmla="*/ 54 w 82"/>
                  <a:gd name="T107" fmla="*/ 24 h 84"/>
                  <a:gd name="T108" fmla="*/ 52 w 82"/>
                  <a:gd name="T109" fmla="*/ 18 h 84"/>
                  <a:gd name="T110" fmla="*/ 50 w 82"/>
                  <a:gd name="T111" fmla="*/ 12 h 84"/>
                  <a:gd name="T112" fmla="*/ 52 w 82"/>
                  <a:gd name="T113" fmla="*/ 8 h 84"/>
                  <a:gd name="T114" fmla="*/ 52 w 82"/>
                  <a:gd name="T115" fmla="*/ 4 h 84"/>
                  <a:gd name="T116" fmla="*/ 50 w 82"/>
                  <a:gd name="T117" fmla="*/ 4 h 84"/>
                  <a:gd name="T118" fmla="*/ 46 w 82"/>
                  <a:gd name="T119" fmla="*/ 2 h 84"/>
                  <a:gd name="T120" fmla="*/ 44 w 82"/>
                  <a:gd name="T121" fmla="*/ 2 h 84"/>
                  <a:gd name="T122" fmla="*/ 46 w 82"/>
                  <a:gd name="T123" fmla="*/ 0 h 84"/>
                  <a:gd name="T124" fmla="*/ 42 w 82"/>
                  <a:gd name="T12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 h="84">
                    <a:moveTo>
                      <a:pt x="42" y="0"/>
                    </a:moveTo>
                    <a:lnTo>
                      <a:pt x="42" y="0"/>
                    </a:lnTo>
                    <a:lnTo>
                      <a:pt x="42" y="0"/>
                    </a:lnTo>
                    <a:lnTo>
                      <a:pt x="42" y="2"/>
                    </a:lnTo>
                    <a:lnTo>
                      <a:pt x="42" y="2"/>
                    </a:lnTo>
                    <a:lnTo>
                      <a:pt x="42" y="2"/>
                    </a:lnTo>
                    <a:lnTo>
                      <a:pt x="42" y="2"/>
                    </a:lnTo>
                    <a:lnTo>
                      <a:pt x="40" y="2"/>
                    </a:lnTo>
                    <a:lnTo>
                      <a:pt x="38" y="2"/>
                    </a:lnTo>
                    <a:lnTo>
                      <a:pt x="36" y="4"/>
                    </a:lnTo>
                    <a:lnTo>
                      <a:pt x="36" y="4"/>
                    </a:lnTo>
                    <a:lnTo>
                      <a:pt x="34" y="4"/>
                    </a:lnTo>
                    <a:lnTo>
                      <a:pt x="34" y="6"/>
                    </a:lnTo>
                    <a:lnTo>
                      <a:pt x="32" y="8"/>
                    </a:lnTo>
                    <a:lnTo>
                      <a:pt x="30" y="12"/>
                    </a:lnTo>
                    <a:lnTo>
                      <a:pt x="30" y="14"/>
                    </a:lnTo>
                    <a:lnTo>
                      <a:pt x="26" y="20"/>
                    </a:lnTo>
                    <a:lnTo>
                      <a:pt x="22" y="22"/>
                    </a:lnTo>
                    <a:lnTo>
                      <a:pt x="22" y="24"/>
                    </a:lnTo>
                    <a:lnTo>
                      <a:pt x="20" y="26"/>
                    </a:lnTo>
                    <a:lnTo>
                      <a:pt x="20" y="26"/>
                    </a:lnTo>
                    <a:lnTo>
                      <a:pt x="18" y="26"/>
                    </a:lnTo>
                    <a:lnTo>
                      <a:pt x="14" y="28"/>
                    </a:lnTo>
                    <a:lnTo>
                      <a:pt x="12" y="28"/>
                    </a:lnTo>
                    <a:lnTo>
                      <a:pt x="10" y="30"/>
                    </a:lnTo>
                    <a:lnTo>
                      <a:pt x="10" y="30"/>
                    </a:lnTo>
                    <a:lnTo>
                      <a:pt x="8" y="32"/>
                    </a:lnTo>
                    <a:lnTo>
                      <a:pt x="6" y="32"/>
                    </a:lnTo>
                    <a:lnTo>
                      <a:pt x="6" y="34"/>
                    </a:lnTo>
                    <a:lnTo>
                      <a:pt x="6" y="36"/>
                    </a:lnTo>
                    <a:lnTo>
                      <a:pt x="4" y="38"/>
                    </a:lnTo>
                    <a:lnTo>
                      <a:pt x="2" y="42"/>
                    </a:lnTo>
                    <a:lnTo>
                      <a:pt x="2" y="46"/>
                    </a:lnTo>
                    <a:lnTo>
                      <a:pt x="0" y="50"/>
                    </a:lnTo>
                    <a:lnTo>
                      <a:pt x="0" y="52"/>
                    </a:lnTo>
                    <a:lnTo>
                      <a:pt x="0" y="56"/>
                    </a:lnTo>
                    <a:lnTo>
                      <a:pt x="0" y="58"/>
                    </a:lnTo>
                    <a:lnTo>
                      <a:pt x="0" y="62"/>
                    </a:lnTo>
                    <a:lnTo>
                      <a:pt x="0" y="62"/>
                    </a:lnTo>
                    <a:lnTo>
                      <a:pt x="0" y="64"/>
                    </a:lnTo>
                    <a:lnTo>
                      <a:pt x="2" y="64"/>
                    </a:lnTo>
                    <a:lnTo>
                      <a:pt x="2" y="66"/>
                    </a:lnTo>
                    <a:lnTo>
                      <a:pt x="2" y="66"/>
                    </a:lnTo>
                    <a:lnTo>
                      <a:pt x="4" y="66"/>
                    </a:lnTo>
                    <a:lnTo>
                      <a:pt x="4" y="68"/>
                    </a:lnTo>
                    <a:lnTo>
                      <a:pt x="4" y="68"/>
                    </a:lnTo>
                    <a:lnTo>
                      <a:pt x="6" y="68"/>
                    </a:lnTo>
                    <a:lnTo>
                      <a:pt x="10" y="68"/>
                    </a:lnTo>
                    <a:lnTo>
                      <a:pt x="12" y="68"/>
                    </a:lnTo>
                    <a:lnTo>
                      <a:pt x="14" y="68"/>
                    </a:lnTo>
                    <a:lnTo>
                      <a:pt x="16" y="68"/>
                    </a:lnTo>
                    <a:lnTo>
                      <a:pt x="18" y="68"/>
                    </a:lnTo>
                    <a:lnTo>
                      <a:pt x="20" y="68"/>
                    </a:lnTo>
                    <a:lnTo>
                      <a:pt x="22" y="68"/>
                    </a:lnTo>
                    <a:lnTo>
                      <a:pt x="26" y="66"/>
                    </a:lnTo>
                    <a:lnTo>
                      <a:pt x="28" y="64"/>
                    </a:lnTo>
                    <a:lnTo>
                      <a:pt x="30" y="62"/>
                    </a:lnTo>
                    <a:lnTo>
                      <a:pt x="32" y="62"/>
                    </a:lnTo>
                    <a:lnTo>
                      <a:pt x="34" y="62"/>
                    </a:lnTo>
                    <a:lnTo>
                      <a:pt x="38" y="60"/>
                    </a:lnTo>
                    <a:lnTo>
                      <a:pt x="40" y="60"/>
                    </a:lnTo>
                    <a:lnTo>
                      <a:pt x="40" y="60"/>
                    </a:lnTo>
                    <a:lnTo>
                      <a:pt x="42" y="62"/>
                    </a:lnTo>
                    <a:lnTo>
                      <a:pt x="42" y="62"/>
                    </a:lnTo>
                    <a:lnTo>
                      <a:pt x="44" y="62"/>
                    </a:lnTo>
                    <a:lnTo>
                      <a:pt x="44" y="62"/>
                    </a:lnTo>
                    <a:lnTo>
                      <a:pt x="44" y="64"/>
                    </a:lnTo>
                    <a:lnTo>
                      <a:pt x="44" y="64"/>
                    </a:lnTo>
                    <a:lnTo>
                      <a:pt x="44" y="66"/>
                    </a:lnTo>
                    <a:lnTo>
                      <a:pt x="44" y="68"/>
                    </a:lnTo>
                    <a:lnTo>
                      <a:pt x="44" y="72"/>
                    </a:lnTo>
                    <a:lnTo>
                      <a:pt x="44" y="74"/>
                    </a:lnTo>
                    <a:lnTo>
                      <a:pt x="44" y="76"/>
                    </a:lnTo>
                    <a:lnTo>
                      <a:pt x="44" y="78"/>
                    </a:lnTo>
                    <a:lnTo>
                      <a:pt x="44" y="80"/>
                    </a:lnTo>
                    <a:lnTo>
                      <a:pt x="46" y="80"/>
                    </a:lnTo>
                    <a:lnTo>
                      <a:pt x="46" y="80"/>
                    </a:lnTo>
                    <a:lnTo>
                      <a:pt x="46" y="82"/>
                    </a:lnTo>
                    <a:lnTo>
                      <a:pt x="48" y="82"/>
                    </a:lnTo>
                    <a:lnTo>
                      <a:pt x="48" y="84"/>
                    </a:lnTo>
                    <a:lnTo>
                      <a:pt x="50" y="84"/>
                    </a:lnTo>
                    <a:lnTo>
                      <a:pt x="52" y="84"/>
                    </a:lnTo>
                    <a:lnTo>
                      <a:pt x="54" y="84"/>
                    </a:lnTo>
                    <a:lnTo>
                      <a:pt x="54" y="84"/>
                    </a:lnTo>
                    <a:lnTo>
                      <a:pt x="56" y="84"/>
                    </a:lnTo>
                    <a:lnTo>
                      <a:pt x="56" y="84"/>
                    </a:lnTo>
                    <a:lnTo>
                      <a:pt x="56" y="84"/>
                    </a:lnTo>
                    <a:lnTo>
                      <a:pt x="56" y="84"/>
                    </a:lnTo>
                    <a:lnTo>
                      <a:pt x="56" y="82"/>
                    </a:lnTo>
                    <a:lnTo>
                      <a:pt x="56" y="82"/>
                    </a:lnTo>
                    <a:lnTo>
                      <a:pt x="56" y="80"/>
                    </a:lnTo>
                    <a:lnTo>
                      <a:pt x="56" y="78"/>
                    </a:lnTo>
                    <a:lnTo>
                      <a:pt x="56" y="76"/>
                    </a:lnTo>
                    <a:lnTo>
                      <a:pt x="54" y="74"/>
                    </a:lnTo>
                    <a:lnTo>
                      <a:pt x="54" y="72"/>
                    </a:lnTo>
                    <a:lnTo>
                      <a:pt x="54" y="72"/>
                    </a:lnTo>
                    <a:lnTo>
                      <a:pt x="56" y="72"/>
                    </a:lnTo>
                    <a:lnTo>
                      <a:pt x="56" y="70"/>
                    </a:lnTo>
                    <a:lnTo>
                      <a:pt x="56" y="70"/>
                    </a:lnTo>
                    <a:lnTo>
                      <a:pt x="56" y="70"/>
                    </a:lnTo>
                    <a:lnTo>
                      <a:pt x="58" y="70"/>
                    </a:lnTo>
                    <a:lnTo>
                      <a:pt x="58" y="70"/>
                    </a:lnTo>
                    <a:lnTo>
                      <a:pt x="60" y="70"/>
                    </a:lnTo>
                    <a:lnTo>
                      <a:pt x="62" y="72"/>
                    </a:lnTo>
                    <a:lnTo>
                      <a:pt x="62" y="72"/>
                    </a:lnTo>
                    <a:lnTo>
                      <a:pt x="64" y="72"/>
                    </a:lnTo>
                    <a:lnTo>
                      <a:pt x="64" y="74"/>
                    </a:lnTo>
                    <a:lnTo>
                      <a:pt x="64" y="74"/>
                    </a:lnTo>
                    <a:lnTo>
                      <a:pt x="66" y="74"/>
                    </a:lnTo>
                    <a:lnTo>
                      <a:pt x="66" y="76"/>
                    </a:lnTo>
                    <a:lnTo>
                      <a:pt x="66" y="78"/>
                    </a:lnTo>
                    <a:lnTo>
                      <a:pt x="66" y="80"/>
                    </a:lnTo>
                    <a:lnTo>
                      <a:pt x="66" y="82"/>
                    </a:lnTo>
                    <a:lnTo>
                      <a:pt x="66" y="84"/>
                    </a:lnTo>
                    <a:lnTo>
                      <a:pt x="66" y="84"/>
                    </a:lnTo>
                    <a:lnTo>
                      <a:pt x="68" y="84"/>
                    </a:lnTo>
                    <a:lnTo>
                      <a:pt x="68" y="84"/>
                    </a:lnTo>
                    <a:lnTo>
                      <a:pt x="68" y="84"/>
                    </a:lnTo>
                    <a:lnTo>
                      <a:pt x="70" y="84"/>
                    </a:lnTo>
                    <a:lnTo>
                      <a:pt x="70" y="84"/>
                    </a:lnTo>
                    <a:lnTo>
                      <a:pt x="70" y="84"/>
                    </a:lnTo>
                    <a:lnTo>
                      <a:pt x="72" y="82"/>
                    </a:lnTo>
                    <a:lnTo>
                      <a:pt x="72" y="82"/>
                    </a:lnTo>
                    <a:lnTo>
                      <a:pt x="72" y="80"/>
                    </a:lnTo>
                    <a:lnTo>
                      <a:pt x="74" y="78"/>
                    </a:lnTo>
                    <a:lnTo>
                      <a:pt x="74" y="74"/>
                    </a:lnTo>
                    <a:lnTo>
                      <a:pt x="74" y="72"/>
                    </a:lnTo>
                    <a:lnTo>
                      <a:pt x="76" y="70"/>
                    </a:lnTo>
                    <a:lnTo>
                      <a:pt x="76" y="66"/>
                    </a:lnTo>
                    <a:lnTo>
                      <a:pt x="78" y="64"/>
                    </a:lnTo>
                    <a:lnTo>
                      <a:pt x="80" y="60"/>
                    </a:lnTo>
                    <a:lnTo>
                      <a:pt x="80" y="58"/>
                    </a:lnTo>
                    <a:lnTo>
                      <a:pt x="82" y="56"/>
                    </a:lnTo>
                    <a:lnTo>
                      <a:pt x="82" y="54"/>
                    </a:lnTo>
                    <a:lnTo>
                      <a:pt x="82" y="52"/>
                    </a:lnTo>
                    <a:lnTo>
                      <a:pt x="82" y="50"/>
                    </a:lnTo>
                    <a:lnTo>
                      <a:pt x="82" y="46"/>
                    </a:lnTo>
                    <a:lnTo>
                      <a:pt x="82" y="44"/>
                    </a:lnTo>
                    <a:lnTo>
                      <a:pt x="82" y="40"/>
                    </a:lnTo>
                    <a:lnTo>
                      <a:pt x="82" y="38"/>
                    </a:lnTo>
                    <a:lnTo>
                      <a:pt x="80" y="34"/>
                    </a:lnTo>
                    <a:lnTo>
                      <a:pt x="80" y="34"/>
                    </a:lnTo>
                    <a:lnTo>
                      <a:pt x="80" y="32"/>
                    </a:lnTo>
                    <a:lnTo>
                      <a:pt x="78" y="32"/>
                    </a:lnTo>
                    <a:lnTo>
                      <a:pt x="78" y="30"/>
                    </a:lnTo>
                    <a:lnTo>
                      <a:pt x="78" y="30"/>
                    </a:lnTo>
                    <a:lnTo>
                      <a:pt x="76" y="28"/>
                    </a:lnTo>
                    <a:lnTo>
                      <a:pt x="74" y="28"/>
                    </a:lnTo>
                    <a:lnTo>
                      <a:pt x="74" y="28"/>
                    </a:lnTo>
                    <a:lnTo>
                      <a:pt x="70" y="28"/>
                    </a:lnTo>
                    <a:lnTo>
                      <a:pt x="68" y="26"/>
                    </a:lnTo>
                    <a:lnTo>
                      <a:pt x="66" y="26"/>
                    </a:lnTo>
                    <a:lnTo>
                      <a:pt x="66" y="26"/>
                    </a:lnTo>
                    <a:lnTo>
                      <a:pt x="62" y="26"/>
                    </a:lnTo>
                    <a:lnTo>
                      <a:pt x="60" y="28"/>
                    </a:lnTo>
                    <a:lnTo>
                      <a:pt x="58" y="28"/>
                    </a:lnTo>
                    <a:lnTo>
                      <a:pt x="56" y="26"/>
                    </a:lnTo>
                    <a:lnTo>
                      <a:pt x="56" y="26"/>
                    </a:lnTo>
                    <a:lnTo>
                      <a:pt x="56" y="26"/>
                    </a:lnTo>
                    <a:lnTo>
                      <a:pt x="54" y="26"/>
                    </a:lnTo>
                    <a:lnTo>
                      <a:pt x="54" y="26"/>
                    </a:lnTo>
                    <a:lnTo>
                      <a:pt x="54" y="24"/>
                    </a:lnTo>
                    <a:lnTo>
                      <a:pt x="52" y="22"/>
                    </a:lnTo>
                    <a:lnTo>
                      <a:pt x="52" y="20"/>
                    </a:lnTo>
                    <a:lnTo>
                      <a:pt x="52" y="18"/>
                    </a:lnTo>
                    <a:lnTo>
                      <a:pt x="52" y="16"/>
                    </a:lnTo>
                    <a:lnTo>
                      <a:pt x="50" y="14"/>
                    </a:lnTo>
                    <a:lnTo>
                      <a:pt x="50" y="12"/>
                    </a:lnTo>
                    <a:lnTo>
                      <a:pt x="50" y="12"/>
                    </a:lnTo>
                    <a:lnTo>
                      <a:pt x="52" y="10"/>
                    </a:lnTo>
                    <a:lnTo>
                      <a:pt x="52" y="8"/>
                    </a:lnTo>
                    <a:lnTo>
                      <a:pt x="52" y="6"/>
                    </a:lnTo>
                    <a:lnTo>
                      <a:pt x="52" y="6"/>
                    </a:lnTo>
                    <a:lnTo>
                      <a:pt x="52" y="4"/>
                    </a:lnTo>
                    <a:lnTo>
                      <a:pt x="52" y="4"/>
                    </a:lnTo>
                    <a:lnTo>
                      <a:pt x="52" y="4"/>
                    </a:lnTo>
                    <a:lnTo>
                      <a:pt x="50" y="4"/>
                    </a:lnTo>
                    <a:lnTo>
                      <a:pt x="48" y="4"/>
                    </a:lnTo>
                    <a:lnTo>
                      <a:pt x="48" y="2"/>
                    </a:lnTo>
                    <a:lnTo>
                      <a:pt x="46" y="2"/>
                    </a:lnTo>
                    <a:lnTo>
                      <a:pt x="46" y="2"/>
                    </a:lnTo>
                    <a:lnTo>
                      <a:pt x="44" y="2"/>
                    </a:lnTo>
                    <a:lnTo>
                      <a:pt x="44" y="2"/>
                    </a:lnTo>
                    <a:lnTo>
                      <a:pt x="44" y="2"/>
                    </a:lnTo>
                    <a:lnTo>
                      <a:pt x="46" y="0"/>
                    </a:lnTo>
                    <a:lnTo>
                      <a:pt x="46" y="0"/>
                    </a:lnTo>
                    <a:lnTo>
                      <a:pt x="44" y="0"/>
                    </a:lnTo>
                    <a:lnTo>
                      <a:pt x="44" y="0"/>
                    </a:lnTo>
                    <a:lnTo>
                      <a:pt x="42" y="0"/>
                    </a:lnTo>
                    <a:lnTo>
                      <a:pt x="42" y="0"/>
                    </a:lnTo>
                    <a:lnTo>
                      <a:pt x="42"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1" name="Freeform 534">
                <a:extLst>
                  <a:ext uri="{FF2B5EF4-FFF2-40B4-BE49-F238E27FC236}">
                    <a16:creationId xmlns:a16="http://schemas.microsoft.com/office/drawing/2014/main" id="{380A93B5-4496-4720-A145-EDEEB04C7129}"/>
                  </a:ext>
                </a:extLst>
              </p:cNvPr>
              <p:cNvSpPr>
                <a:spLocks/>
              </p:cNvSpPr>
              <p:nvPr/>
            </p:nvSpPr>
            <p:spPr bwMode="auto">
              <a:xfrm>
                <a:off x="3154653" y="3473617"/>
                <a:ext cx="22225" cy="38100"/>
              </a:xfrm>
              <a:custGeom>
                <a:avLst/>
                <a:gdLst>
                  <a:gd name="T0" fmla="*/ 14 w 14"/>
                  <a:gd name="T1" fmla="*/ 0 h 24"/>
                  <a:gd name="T2" fmla="*/ 14 w 14"/>
                  <a:gd name="T3" fmla="*/ 0 h 24"/>
                  <a:gd name="T4" fmla="*/ 14 w 14"/>
                  <a:gd name="T5" fmla="*/ 2 h 24"/>
                  <a:gd name="T6" fmla="*/ 14 w 14"/>
                  <a:gd name="T7" fmla="*/ 2 h 24"/>
                  <a:gd name="T8" fmla="*/ 14 w 14"/>
                  <a:gd name="T9" fmla="*/ 2 h 24"/>
                  <a:gd name="T10" fmla="*/ 14 w 14"/>
                  <a:gd name="T11" fmla="*/ 2 h 24"/>
                  <a:gd name="T12" fmla="*/ 14 w 14"/>
                  <a:gd name="T13" fmla="*/ 4 h 24"/>
                  <a:gd name="T14" fmla="*/ 14 w 14"/>
                  <a:gd name="T15" fmla="*/ 6 h 24"/>
                  <a:gd name="T16" fmla="*/ 14 w 14"/>
                  <a:gd name="T17" fmla="*/ 8 h 24"/>
                  <a:gd name="T18" fmla="*/ 12 w 14"/>
                  <a:gd name="T19" fmla="*/ 10 h 24"/>
                  <a:gd name="T20" fmla="*/ 12 w 14"/>
                  <a:gd name="T21" fmla="*/ 10 h 24"/>
                  <a:gd name="T22" fmla="*/ 12 w 14"/>
                  <a:gd name="T23" fmla="*/ 14 h 24"/>
                  <a:gd name="T24" fmla="*/ 12 w 14"/>
                  <a:gd name="T25" fmla="*/ 16 h 24"/>
                  <a:gd name="T26" fmla="*/ 12 w 14"/>
                  <a:gd name="T27" fmla="*/ 18 h 24"/>
                  <a:gd name="T28" fmla="*/ 12 w 14"/>
                  <a:gd name="T29" fmla="*/ 18 h 24"/>
                  <a:gd name="T30" fmla="*/ 12 w 14"/>
                  <a:gd name="T31" fmla="*/ 20 h 24"/>
                  <a:gd name="T32" fmla="*/ 12 w 14"/>
                  <a:gd name="T33" fmla="*/ 20 h 24"/>
                  <a:gd name="T34" fmla="*/ 10 w 14"/>
                  <a:gd name="T35" fmla="*/ 22 h 24"/>
                  <a:gd name="T36" fmla="*/ 10 w 14"/>
                  <a:gd name="T37" fmla="*/ 22 h 24"/>
                  <a:gd name="T38" fmla="*/ 8 w 14"/>
                  <a:gd name="T39" fmla="*/ 22 h 24"/>
                  <a:gd name="T40" fmla="*/ 6 w 14"/>
                  <a:gd name="T41" fmla="*/ 24 h 24"/>
                  <a:gd name="T42" fmla="*/ 4 w 14"/>
                  <a:gd name="T43" fmla="*/ 24 h 24"/>
                  <a:gd name="T44" fmla="*/ 2 w 14"/>
                  <a:gd name="T45" fmla="*/ 24 h 24"/>
                  <a:gd name="T46" fmla="*/ 2 w 14"/>
                  <a:gd name="T47" fmla="*/ 24 h 24"/>
                  <a:gd name="T48" fmla="*/ 2 w 14"/>
                  <a:gd name="T49" fmla="*/ 24 h 24"/>
                  <a:gd name="T50" fmla="*/ 2 w 14"/>
                  <a:gd name="T51" fmla="*/ 24 h 24"/>
                  <a:gd name="T52" fmla="*/ 2 w 14"/>
                  <a:gd name="T53" fmla="*/ 22 h 24"/>
                  <a:gd name="T54" fmla="*/ 0 w 14"/>
                  <a:gd name="T55" fmla="*/ 22 h 24"/>
                  <a:gd name="T56" fmla="*/ 0 w 14"/>
                  <a:gd name="T57" fmla="*/ 22 h 24"/>
                  <a:gd name="T58" fmla="*/ 0 w 14"/>
                  <a:gd name="T59" fmla="*/ 20 h 24"/>
                  <a:gd name="T60" fmla="*/ 0 w 14"/>
                  <a:gd name="T61" fmla="*/ 18 h 24"/>
                  <a:gd name="T62" fmla="*/ 0 w 14"/>
                  <a:gd name="T63" fmla="*/ 18 h 24"/>
                  <a:gd name="T64" fmla="*/ 0 w 14"/>
                  <a:gd name="T65" fmla="*/ 16 h 24"/>
                  <a:gd name="T66" fmla="*/ 2 w 14"/>
                  <a:gd name="T67" fmla="*/ 14 h 24"/>
                  <a:gd name="T68" fmla="*/ 2 w 14"/>
                  <a:gd name="T69" fmla="*/ 12 h 24"/>
                  <a:gd name="T70" fmla="*/ 4 w 14"/>
                  <a:gd name="T71" fmla="*/ 10 h 24"/>
                  <a:gd name="T72" fmla="*/ 4 w 14"/>
                  <a:gd name="T73" fmla="*/ 8 h 24"/>
                  <a:gd name="T74" fmla="*/ 6 w 14"/>
                  <a:gd name="T75" fmla="*/ 6 h 24"/>
                  <a:gd name="T76" fmla="*/ 8 w 14"/>
                  <a:gd name="T77" fmla="*/ 4 h 24"/>
                  <a:gd name="T78" fmla="*/ 8 w 14"/>
                  <a:gd name="T79" fmla="*/ 2 h 24"/>
                  <a:gd name="T80" fmla="*/ 10 w 14"/>
                  <a:gd name="T81" fmla="*/ 2 h 24"/>
                  <a:gd name="T82" fmla="*/ 12 w 14"/>
                  <a:gd name="T83" fmla="*/ 2 h 24"/>
                  <a:gd name="T84" fmla="*/ 12 w 14"/>
                  <a:gd name="T85" fmla="*/ 0 h 24"/>
                  <a:gd name="T86" fmla="*/ 12 w 14"/>
                  <a:gd name="T87" fmla="*/ 0 h 24"/>
                  <a:gd name="T88" fmla="*/ 14 w 14"/>
                  <a:gd name="T89" fmla="*/ 0 h 24"/>
                  <a:gd name="T90" fmla="*/ 14 w 14"/>
                  <a:gd name="T9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 h="24">
                    <a:moveTo>
                      <a:pt x="14" y="0"/>
                    </a:moveTo>
                    <a:lnTo>
                      <a:pt x="14" y="0"/>
                    </a:lnTo>
                    <a:lnTo>
                      <a:pt x="14" y="2"/>
                    </a:lnTo>
                    <a:lnTo>
                      <a:pt x="14" y="2"/>
                    </a:lnTo>
                    <a:lnTo>
                      <a:pt x="14" y="2"/>
                    </a:lnTo>
                    <a:lnTo>
                      <a:pt x="14" y="2"/>
                    </a:lnTo>
                    <a:lnTo>
                      <a:pt x="14" y="4"/>
                    </a:lnTo>
                    <a:lnTo>
                      <a:pt x="14" y="6"/>
                    </a:lnTo>
                    <a:lnTo>
                      <a:pt x="14" y="8"/>
                    </a:lnTo>
                    <a:lnTo>
                      <a:pt x="12" y="10"/>
                    </a:lnTo>
                    <a:lnTo>
                      <a:pt x="12" y="10"/>
                    </a:lnTo>
                    <a:lnTo>
                      <a:pt x="12" y="14"/>
                    </a:lnTo>
                    <a:lnTo>
                      <a:pt x="12" y="16"/>
                    </a:lnTo>
                    <a:lnTo>
                      <a:pt x="12" y="18"/>
                    </a:lnTo>
                    <a:lnTo>
                      <a:pt x="12" y="18"/>
                    </a:lnTo>
                    <a:lnTo>
                      <a:pt x="12" y="20"/>
                    </a:lnTo>
                    <a:lnTo>
                      <a:pt x="12" y="20"/>
                    </a:lnTo>
                    <a:lnTo>
                      <a:pt x="10" y="22"/>
                    </a:lnTo>
                    <a:lnTo>
                      <a:pt x="10" y="22"/>
                    </a:lnTo>
                    <a:lnTo>
                      <a:pt x="8" y="22"/>
                    </a:lnTo>
                    <a:lnTo>
                      <a:pt x="6" y="24"/>
                    </a:lnTo>
                    <a:lnTo>
                      <a:pt x="4" y="24"/>
                    </a:lnTo>
                    <a:lnTo>
                      <a:pt x="2" y="24"/>
                    </a:lnTo>
                    <a:lnTo>
                      <a:pt x="2" y="24"/>
                    </a:lnTo>
                    <a:lnTo>
                      <a:pt x="2" y="24"/>
                    </a:lnTo>
                    <a:lnTo>
                      <a:pt x="2" y="24"/>
                    </a:lnTo>
                    <a:lnTo>
                      <a:pt x="2" y="22"/>
                    </a:lnTo>
                    <a:lnTo>
                      <a:pt x="0" y="22"/>
                    </a:lnTo>
                    <a:lnTo>
                      <a:pt x="0" y="22"/>
                    </a:lnTo>
                    <a:lnTo>
                      <a:pt x="0" y="20"/>
                    </a:lnTo>
                    <a:lnTo>
                      <a:pt x="0" y="18"/>
                    </a:lnTo>
                    <a:lnTo>
                      <a:pt x="0" y="18"/>
                    </a:lnTo>
                    <a:lnTo>
                      <a:pt x="0" y="16"/>
                    </a:lnTo>
                    <a:lnTo>
                      <a:pt x="2" y="14"/>
                    </a:lnTo>
                    <a:lnTo>
                      <a:pt x="2" y="12"/>
                    </a:lnTo>
                    <a:lnTo>
                      <a:pt x="4" y="10"/>
                    </a:lnTo>
                    <a:lnTo>
                      <a:pt x="4" y="8"/>
                    </a:lnTo>
                    <a:lnTo>
                      <a:pt x="6" y="6"/>
                    </a:lnTo>
                    <a:lnTo>
                      <a:pt x="8" y="4"/>
                    </a:lnTo>
                    <a:lnTo>
                      <a:pt x="8" y="2"/>
                    </a:lnTo>
                    <a:lnTo>
                      <a:pt x="10" y="2"/>
                    </a:lnTo>
                    <a:lnTo>
                      <a:pt x="12" y="2"/>
                    </a:lnTo>
                    <a:lnTo>
                      <a:pt x="12" y="0"/>
                    </a:lnTo>
                    <a:lnTo>
                      <a:pt x="12" y="0"/>
                    </a:lnTo>
                    <a:lnTo>
                      <a:pt x="14" y="0"/>
                    </a:lnTo>
                    <a:lnTo>
                      <a:pt x="14"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2" name="Freeform 536">
                <a:extLst>
                  <a:ext uri="{FF2B5EF4-FFF2-40B4-BE49-F238E27FC236}">
                    <a16:creationId xmlns:a16="http://schemas.microsoft.com/office/drawing/2014/main" id="{B61A7B93-3933-4BB7-A650-289F67191A80}"/>
                  </a:ext>
                </a:extLst>
              </p:cNvPr>
              <p:cNvSpPr>
                <a:spLocks/>
              </p:cNvSpPr>
              <p:nvPr/>
            </p:nvSpPr>
            <p:spPr bwMode="auto">
              <a:xfrm>
                <a:off x="1827503" y="2489367"/>
                <a:ext cx="222250" cy="155575"/>
              </a:xfrm>
              <a:custGeom>
                <a:avLst/>
                <a:gdLst>
                  <a:gd name="T0" fmla="*/ 44 w 140"/>
                  <a:gd name="T1" fmla="*/ 6 h 98"/>
                  <a:gd name="T2" fmla="*/ 40 w 140"/>
                  <a:gd name="T3" fmla="*/ 8 h 98"/>
                  <a:gd name="T4" fmla="*/ 36 w 140"/>
                  <a:gd name="T5" fmla="*/ 14 h 98"/>
                  <a:gd name="T6" fmla="*/ 32 w 140"/>
                  <a:gd name="T7" fmla="*/ 22 h 98"/>
                  <a:gd name="T8" fmla="*/ 28 w 140"/>
                  <a:gd name="T9" fmla="*/ 32 h 98"/>
                  <a:gd name="T10" fmla="*/ 22 w 140"/>
                  <a:gd name="T11" fmla="*/ 42 h 98"/>
                  <a:gd name="T12" fmla="*/ 16 w 140"/>
                  <a:gd name="T13" fmla="*/ 50 h 98"/>
                  <a:gd name="T14" fmla="*/ 12 w 140"/>
                  <a:gd name="T15" fmla="*/ 56 h 98"/>
                  <a:gd name="T16" fmla="*/ 2 w 140"/>
                  <a:gd name="T17" fmla="*/ 64 h 98"/>
                  <a:gd name="T18" fmla="*/ 0 w 140"/>
                  <a:gd name="T19" fmla="*/ 68 h 98"/>
                  <a:gd name="T20" fmla="*/ 0 w 140"/>
                  <a:gd name="T21" fmla="*/ 72 h 98"/>
                  <a:gd name="T22" fmla="*/ 0 w 140"/>
                  <a:gd name="T23" fmla="*/ 74 h 98"/>
                  <a:gd name="T24" fmla="*/ 6 w 140"/>
                  <a:gd name="T25" fmla="*/ 80 h 98"/>
                  <a:gd name="T26" fmla="*/ 16 w 140"/>
                  <a:gd name="T27" fmla="*/ 88 h 98"/>
                  <a:gd name="T28" fmla="*/ 24 w 140"/>
                  <a:gd name="T29" fmla="*/ 94 h 98"/>
                  <a:gd name="T30" fmla="*/ 30 w 140"/>
                  <a:gd name="T31" fmla="*/ 98 h 98"/>
                  <a:gd name="T32" fmla="*/ 34 w 140"/>
                  <a:gd name="T33" fmla="*/ 98 h 98"/>
                  <a:gd name="T34" fmla="*/ 42 w 140"/>
                  <a:gd name="T35" fmla="*/ 96 h 98"/>
                  <a:gd name="T36" fmla="*/ 52 w 140"/>
                  <a:gd name="T37" fmla="*/ 90 h 98"/>
                  <a:gd name="T38" fmla="*/ 66 w 140"/>
                  <a:gd name="T39" fmla="*/ 80 h 98"/>
                  <a:gd name="T40" fmla="*/ 74 w 140"/>
                  <a:gd name="T41" fmla="*/ 76 h 98"/>
                  <a:gd name="T42" fmla="*/ 88 w 140"/>
                  <a:gd name="T43" fmla="*/ 66 h 98"/>
                  <a:gd name="T44" fmla="*/ 94 w 140"/>
                  <a:gd name="T45" fmla="*/ 64 h 98"/>
                  <a:gd name="T46" fmla="*/ 106 w 140"/>
                  <a:gd name="T47" fmla="*/ 62 h 98"/>
                  <a:gd name="T48" fmla="*/ 118 w 140"/>
                  <a:gd name="T49" fmla="*/ 60 h 98"/>
                  <a:gd name="T50" fmla="*/ 126 w 140"/>
                  <a:gd name="T51" fmla="*/ 56 h 98"/>
                  <a:gd name="T52" fmla="*/ 136 w 140"/>
                  <a:gd name="T53" fmla="*/ 50 h 98"/>
                  <a:gd name="T54" fmla="*/ 140 w 140"/>
                  <a:gd name="T55" fmla="*/ 46 h 98"/>
                  <a:gd name="T56" fmla="*/ 140 w 140"/>
                  <a:gd name="T57" fmla="*/ 44 h 98"/>
                  <a:gd name="T58" fmla="*/ 140 w 140"/>
                  <a:gd name="T59" fmla="*/ 40 h 98"/>
                  <a:gd name="T60" fmla="*/ 136 w 140"/>
                  <a:gd name="T61" fmla="*/ 36 h 98"/>
                  <a:gd name="T62" fmla="*/ 132 w 140"/>
                  <a:gd name="T63" fmla="*/ 30 h 98"/>
                  <a:gd name="T64" fmla="*/ 118 w 140"/>
                  <a:gd name="T65" fmla="*/ 22 h 98"/>
                  <a:gd name="T66" fmla="*/ 112 w 140"/>
                  <a:gd name="T67" fmla="*/ 20 h 98"/>
                  <a:gd name="T68" fmla="*/ 104 w 140"/>
                  <a:gd name="T69" fmla="*/ 18 h 98"/>
                  <a:gd name="T70" fmla="*/ 90 w 140"/>
                  <a:gd name="T71" fmla="*/ 16 h 98"/>
                  <a:gd name="T72" fmla="*/ 84 w 140"/>
                  <a:gd name="T73" fmla="*/ 14 h 98"/>
                  <a:gd name="T74" fmla="*/ 82 w 140"/>
                  <a:gd name="T75" fmla="*/ 12 h 98"/>
                  <a:gd name="T76" fmla="*/ 74 w 140"/>
                  <a:gd name="T77" fmla="*/ 4 h 98"/>
                  <a:gd name="T78" fmla="*/ 72 w 140"/>
                  <a:gd name="T79" fmla="*/ 2 h 98"/>
                  <a:gd name="T80" fmla="*/ 68 w 140"/>
                  <a:gd name="T81" fmla="*/ 2 h 98"/>
                  <a:gd name="T82" fmla="*/ 66 w 140"/>
                  <a:gd name="T83" fmla="*/ 4 h 98"/>
                  <a:gd name="T84" fmla="*/ 62 w 140"/>
                  <a:gd name="T85" fmla="*/ 8 h 98"/>
                  <a:gd name="T86" fmla="*/ 58 w 140"/>
                  <a:gd name="T87" fmla="*/ 14 h 98"/>
                  <a:gd name="T88" fmla="*/ 56 w 140"/>
                  <a:gd name="T89" fmla="*/ 16 h 98"/>
                  <a:gd name="T90" fmla="*/ 54 w 140"/>
                  <a:gd name="T91" fmla="*/ 16 h 98"/>
                  <a:gd name="T92" fmla="*/ 50 w 140"/>
                  <a:gd name="T93" fmla="*/ 12 h 98"/>
                  <a:gd name="T94" fmla="*/ 48 w 140"/>
                  <a:gd name="T95" fmla="*/ 8 h 98"/>
                  <a:gd name="T96" fmla="*/ 46 w 140"/>
                  <a:gd name="T97" fmla="*/ 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0" h="98">
                    <a:moveTo>
                      <a:pt x="44" y="6"/>
                    </a:moveTo>
                    <a:lnTo>
                      <a:pt x="44" y="6"/>
                    </a:lnTo>
                    <a:lnTo>
                      <a:pt x="44" y="6"/>
                    </a:lnTo>
                    <a:lnTo>
                      <a:pt x="44" y="6"/>
                    </a:lnTo>
                    <a:lnTo>
                      <a:pt x="42" y="8"/>
                    </a:lnTo>
                    <a:lnTo>
                      <a:pt x="40" y="8"/>
                    </a:lnTo>
                    <a:lnTo>
                      <a:pt x="40" y="10"/>
                    </a:lnTo>
                    <a:lnTo>
                      <a:pt x="38" y="12"/>
                    </a:lnTo>
                    <a:lnTo>
                      <a:pt x="36" y="14"/>
                    </a:lnTo>
                    <a:lnTo>
                      <a:pt x="36" y="16"/>
                    </a:lnTo>
                    <a:lnTo>
                      <a:pt x="34" y="18"/>
                    </a:lnTo>
                    <a:lnTo>
                      <a:pt x="32" y="22"/>
                    </a:lnTo>
                    <a:lnTo>
                      <a:pt x="30" y="26"/>
                    </a:lnTo>
                    <a:lnTo>
                      <a:pt x="28" y="30"/>
                    </a:lnTo>
                    <a:lnTo>
                      <a:pt x="28" y="32"/>
                    </a:lnTo>
                    <a:lnTo>
                      <a:pt x="28" y="34"/>
                    </a:lnTo>
                    <a:lnTo>
                      <a:pt x="24" y="38"/>
                    </a:lnTo>
                    <a:lnTo>
                      <a:pt x="22" y="42"/>
                    </a:lnTo>
                    <a:lnTo>
                      <a:pt x="20" y="46"/>
                    </a:lnTo>
                    <a:lnTo>
                      <a:pt x="18" y="48"/>
                    </a:lnTo>
                    <a:lnTo>
                      <a:pt x="16" y="50"/>
                    </a:lnTo>
                    <a:lnTo>
                      <a:pt x="16" y="52"/>
                    </a:lnTo>
                    <a:lnTo>
                      <a:pt x="16" y="52"/>
                    </a:lnTo>
                    <a:lnTo>
                      <a:pt x="12" y="56"/>
                    </a:lnTo>
                    <a:lnTo>
                      <a:pt x="6" y="60"/>
                    </a:lnTo>
                    <a:lnTo>
                      <a:pt x="4" y="62"/>
                    </a:lnTo>
                    <a:lnTo>
                      <a:pt x="2" y="64"/>
                    </a:lnTo>
                    <a:lnTo>
                      <a:pt x="2" y="66"/>
                    </a:lnTo>
                    <a:lnTo>
                      <a:pt x="0" y="66"/>
                    </a:lnTo>
                    <a:lnTo>
                      <a:pt x="0" y="68"/>
                    </a:lnTo>
                    <a:lnTo>
                      <a:pt x="0" y="70"/>
                    </a:lnTo>
                    <a:lnTo>
                      <a:pt x="0" y="70"/>
                    </a:lnTo>
                    <a:lnTo>
                      <a:pt x="0" y="72"/>
                    </a:lnTo>
                    <a:lnTo>
                      <a:pt x="0" y="72"/>
                    </a:lnTo>
                    <a:lnTo>
                      <a:pt x="0" y="74"/>
                    </a:lnTo>
                    <a:lnTo>
                      <a:pt x="0" y="74"/>
                    </a:lnTo>
                    <a:lnTo>
                      <a:pt x="2" y="76"/>
                    </a:lnTo>
                    <a:lnTo>
                      <a:pt x="4" y="78"/>
                    </a:lnTo>
                    <a:lnTo>
                      <a:pt x="6" y="80"/>
                    </a:lnTo>
                    <a:lnTo>
                      <a:pt x="8" y="82"/>
                    </a:lnTo>
                    <a:lnTo>
                      <a:pt x="12" y="86"/>
                    </a:lnTo>
                    <a:lnTo>
                      <a:pt x="16" y="88"/>
                    </a:lnTo>
                    <a:lnTo>
                      <a:pt x="18" y="92"/>
                    </a:lnTo>
                    <a:lnTo>
                      <a:pt x="22" y="94"/>
                    </a:lnTo>
                    <a:lnTo>
                      <a:pt x="24" y="94"/>
                    </a:lnTo>
                    <a:lnTo>
                      <a:pt x="28" y="96"/>
                    </a:lnTo>
                    <a:lnTo>
                      <a:pt x="28" y="98"/>
                    </a:lnTo>
                    <a:lnTo>
                      <a:pt x="30" y="98"/>
                    </a:lnTo>
                    <a:lnTo>
                      <a:pt x="30" y="98"/>
                    </a:lnTo>
                    <a:lnTo>
                      <a:pt x="32" y="98"/>
                    </a:lnTo>
                    <a:lnTo>
                      <a:pt x="34" y="98"/>
                    </a:lnTo>
                    <a:lnTo>
                      <a:pt x="36" y="98"/>
                    </a:lnTo>
                    <a:lnTo>
                      <a:pt x="38" y="96"/>
                    </a:lnTo>
                    <a:lnTo>
                      <a:pt x="42" y="96"/>
                    </a:lnTo>
                    <a:lnTo>
                      <a:pt x="44" y="94"/>
                    </a:lnTo>
                    <a:lnTo>
                      <a:pt x="46" y="94"/>
                    </a:lnTo>
                    <a:lnTo>
                      <a:pt x="52" y="90"/>
                    </a:lnTo>
                    <a:lnTo>
                      <a:pt x="56" y="86"/>
                    </a:lnTo>
                    <a:lnTo>
                      <a:pt x="62" y="84"/>
                    </a:lnTo>
                    <a:lnTo>
                      <a:pt x="66" y="80"/>
                    </a:lnTo>
                    <a:lnTo>
                      <a:pt x="70" y="78"/>
                    </a:lnTo>
                    <a:lnTo>
                      <a:pt x="72" y="76"/>
                    </a:lnTo>
                    <a:lnTo>
                      <a:pt x="74" y="76"/>
                    </a:lnTo>
                    <a:lnTo>
                      <a:pt x="80" y="72"/>
                    </a:lnTo>
                    <a:lnTo>
                      <a:pt x="86" y="68"/>
                    </a:lnTo>
                    <a:lnTo>
                      <a:pt x="88" y="66"/>
                    </a:lnTo>
                    <a:lnTo>
                      <a:pt x="90" y="66"/>
                    </a:lnTo>
                    <a:lnTo>
                      <a:pt x="92" y="66"/>
                    </a:lnTo>
                    <a:lnTo>
                      <a:pt x="94" y="64"/>
                    </a:lnTo>
                    <a:lnTo>
                      <a:pt x="98" y="64"/>
                    </a:lnTo>
                    <a:lnTo>
                      <a:pt x="102" y="62"/>
                    </a:lnTo>
                    <a:lnTo>
                      <a:pt x="106" y="62"/>
                    </a:lnTo>
                    <a:lnTo>
                      <a:pt x="110" y="62"/>
                    </a:lnTo>
                    <a:lnTo>
                      <a:pt x="114" y="60"/>
                    </a:lnTo>
                    <a:lnTo>
                      <a:pt x="118" y="60"/>
                    </a:lnTo>
                    <a:lnTo>
                      <a:pt x="120" y="58"/>
                    </a:lnTo>
                    <a:lnTo>
                      <a:pt x="120" y="58"/>
                    </a:lnTo>
                    <a:lnTo>
                      <a:pt x="126" y="56"/>
                    </a:lnTo>
                    <a:lnTo>
                      <a:pt x="130" y="54"/>
                    </a:lnTo>
                    <a:lnTo>
                      <a:pt x="132" y="52"/>
                    </a:lnTo>
                    <a:lnTo>
                      <a:pt x="136" y="50"/>
                    </a:lnTo>
                    <a:lnTo>
                      <a:pt x="138" y="48"/>
                    </a:lnTo>
                    <a:lnTo>
                      <a:pt x="138" y="48"/>
                    </a:lnTo>
                    <a:lnTo>
                      <a:pt x="140" y="46"/>
                    </a:lnTo>
                    <a:lnTo>
                      <a:pt x="140" y="46"/>
                    </a:lnTo>
                    <a:lnTo>
                      <a:pt x="140" y="44"/>
                    </a:lnTo>
                    <a:lnTo>
                      <a:pt x="140" y="44"/>
                    </a:lnTo>
                    <a:lnTo>
                      <a:pt x="140" y="42"/>
                    </a:lnTo>
                    <a:lnTo>
                      <a:pt x="140" y="42"/>
                    </a:lnTo>
                    <a:lnTo>
                      <a:pt x="140" y="40"/>
                    </a:lnTo>
                    <a:lnTo>
                      <a:pt x="140" y="38"/>
                    </a:lnTo>
                    <a:lnTo>
                      <a:pt x="138" y="36"/>
                    </a:lnTo>
                    <a:lnTo>
                      <a:pt x="136" y="36"/>
                    </a:lnTo>
                    <a:lnTo>
                      <a:pt x="134" y="34"/>
                    </a:lnTo>
                    <a:lnTo>
                      <a:pt x="134" y="32"/>
                    </a:lnTo>
                    <a:lnTo>
                      <a:pt x="132" y="30"/>
                    </a:lnTo>
                    <a:lnTo>
                      <a:pt x="126" y="28"/>
                    </a:lnTo>
                    <a:lnTo>
                      <a:pt x="122" y="24"/>
                    </a:lnTo>
                    <a:lnTo>
                      <a:pt x="118" y="22"/>
                    </a:lnTo>
                    <a:lnTo>
                      <a:pt x="116" y="20"/>
                    </a:lnTo>
                    <a:lnTo>
                      <a:pt x="114" y="20"/>
                    </a:lnTo>
                    <a:lnTo>
                      <a:pt x="112" y="20"/>
                    </a:lnTo>
                    <a:lnTo>
                      <a:pt x="110" y="20"/>
                    </a:lnTo>
                    <a:lnTo>
                      <a:pt x="108" y="18"/>
                    </a:lnTo>
                    <a:lnTo>
                      <a:pt x="104" y="18"/>
                    </a:lnTo>
                    <a:lnTo>
                      <a:pt x="100" y="18"/>
                    </a:lnTo>
                    <a:lnTo>
                      <a:pt x="94" y="16"/>
                    </a:lnTo>
                    <a:lnTo>
                      <a:pt x="90" y="16"/>
                    </a:lnTo>
                    <a:lnTo>
                      <a:pt x="88" y="16"/>
                    </a:lnTo>
                    <a:lnTo>
                      <a:pt x="86" y="14"/>
                    </a:lnTo>
                    <a:lnTo>
                      <a:pt x="84" y="14"/>
                    </a:lnTo>
                    <a:lnTo>
                      <a:pt x="82" y="14"/>
                    </a:lnTo>
                    <a:lnTo>
                      <a:pt x="82" y="12"/>
                    </a:lnTo>
                    <a:lnTo>
                      <a:pt x="82" y="12"/>
                    </a:lnTo>
                    <a:lnTo>
                      <a:pt x="80" y="10"/>
                    </a:lnTo>
                    <a:lnTo>
                      <a:pt x="76" y="6"/>
                    </a:lnTo>
                    <a:lnTo>
                      <a:pt x="74" y="4"/>
                    </a:lnTo>
                    <a:lnTo>
                      <a:pt x="74" y="2"/>
                    </a:lnTo>
                    <a:lnTo>
                      <a:pt x="72" y="2"/>
                    </a:lnTo>
                    <a:lnTo>
                      <a:pt x="72" y="2"/>
                    </a:lnTo>
                    <a:lnTo>
                      <a:pt x="70" y="2"/>
                    </a:lnTo>
                    <a:lnTo>
                      <a:pt x="70" y="0"/>
                    </a:lnTo>
                    <a:lnTo>
                      <a:pt x="68" y="2"/>
                    </a:lnTo>
                    <a:lnTo>
                      <a:pt x="68" y="2"/>
                    </a:lnTo>
                    <a:lnTo>
                      <a:pt x="68" y="2"/>
                    </a:lnTo>
                    <a:lnTo>
                      <a:pt x="66" y="4"/>
                    </a:lnTo>
                    <a:lnTo>
                      <a:pt x="66" y="4"/>
                    </a:lnTo>
                    <a:lnTo>
                      <a:pt x="64" y="6"/>
                    </a:lnTo>
                    <a:lnTo>
                      <a:pt x="62" y="8"/>
                    </a:lnTo>
                    <a:lnTo>
                      <a:pt x="60" y="12"/>
                    </a:lnTo>
                    <a:lnTo>
                      <a:pt x="60" y="12"/>
                    </a:lnTo>
                    <a:lnTo>
                      <a:pt x="58" y="14"/>
                    </a:lnTo>
                    <a:lnTo>
                      <a:pt x="58" y="14"/>
                    </a:lnTo>
                    <a:lnTo>
                      <a:pt x="56" y="16"/>
                    </a:lnTo>
                    <a:lnTo>
                      <a:pt x="56" y="16"/>
                    </a:lnTo>
                    <a:lnTo>
                      <a:pt x="54" y="16"/>
                    </a:lnTo>
                    <a:lnTo>
                      <a:pt x="54" y="16"/>
                    </a:lnTo>
                    <a:lnTo>
                      <a:pt x="54" y="16"/>
                    </a:lnTo>
                    <a:lnTo>
                      <a:pt x="52" y="14"/>
                    </a:lnTo>
                    <a:lnTo>
                      <a:pt x="52" y="14"/>
                    </a:lnTo>
                    <a:lnTo>
                      <a:pt x="50" y="12"/>
                    </a:lnTo>
                    <a:lnTo>
                      <a:pt x="50" y="10"/>
                    </a:lnTo>
                    <a:lnTo>
                      <a:pt x="48" y="8"/>
                    </a:lnTo>
                    <a:lnTo>
                      <a:pt x="48" y="8"/>
                    </a:lnTo>
                    <a:lnTo>
                      <a:pt x="46" y="6"/>
                    </a:lnTo>
                    <a:lnTo>
                      <a:pt x="46" y="6"/>
                    </a:lnTo>
                    <a:lnTo>
                      <a:pt x="46" y="6"/>
                    </a:lnTo>
                    <a:lnTo>
                      <a:pt x="44" y="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3" name="Freeform 538">
                <a:extLst>
                  <a:ext uri="{FF2B5EF4-FFF2-40B4-BE49-F238E27FC236}">
                    <a16:creationId xmlns:a16="http://schemas.microsoft.com/office/drawing/2014/main" id="{2D596D16-07F8-43D5-B54A-ECF90C025616}"/>
                  </a:ext>
                </a:extLst>
              </p:cNvPr>
              <p:cNvSpPr>
                <a:spLocks/>
              </p:cNvSpPr>
              <p:nvPr/>
            </p:nvSpPr>
            <p:spPr bwMode="auto">
              <a:xfrm>
                <a:off x="1970378" y="2556042"/>
                <a:ext cx="323850" cy="174625"/>
              </a:xfrm>
              <a:custGeom>
                <a:avLst/>
                <a:gdLst>
                  <a:gd name="T0" fmla="*/ 48 w 204"/>
                  <a:gd name="T1" fmla="*/ 18 h 110"/>
                  <a:gd name="T2" fmla="*/ 38 w 204"/>
                  <a:gd name="T3" fmla="*/ 24 h 110"/>
                  <a:gd name="T4" fmla="*/ 36 w 204"/>
                  <a:gd name="T5" fmla="*/ 30 h 110"/>
                  <a:gd name="T6" fmla="*/ 36 w 204"/>
                  <a:gd name="T7" fmla="*/ 38 h 110"/>
                  <a:gd name="T8" fmla="*/ 34 w 204"/>
                  <a:gd name="T9" fmla="*/ 40 h 110"/>
                  <a:gd name="T10" fmla="*/ 26 w 204"/>
                  <a:gd name="T11" fmla="*/ 42 h 110"/>
                  <a:gd name="T12" fmla="*/ 10 w 204"/>
                  <a:gd name="T13" fmla="*/ 40 h 110"/>
                  <a:gd name="T14" fmla="*/ 2 w 204"/>
                  <a:gd name="T15" fmla="*/ 42 h 110"/>
                  <a:gd name="T16" fmla="*/ 0 w 204"/>
                  <a:gd name="T17" fmla="*/ 50 h 110"/>
                  <a:gd name="T18" fmla="*/ 2 w 204"/>
                  <a:gd name="T19" fmla="*/ 54 h 110"/>
                  <a:gd name="T20" fmla="*/ 8 w 204"/>
                  <a:gd name="T21" fmla="*/ 58 h 110"/>
                  <a:gd name="T22" fmla="*/ 30 w 204"/>
                  <a:gd name="T23" fmla="*/ 58 h 110"/>
                  <a:gd name="T24" fmla="*/ 48 w 204"/>
                  <a:gd name="T25" fmla="*/ 58 h 110"/>
                  <a:gd name="T26" fmla="*/ 52 w 204"/>
                  <a:gd name="T27" fmla="*/ 62 h 110"/>
                  <a:gd name="T28" fmla="*/ 52 w 204"/>
                  <a:gd name="T29" fmla="*/ 66 h 110"/>
                  <a:gd name="T30" fmla="*/ 48 w 204"/>
                  <a:gd name="T31" fmla="*/ 70 h 110"/>
                  <a:gd name="T32" fmla="*/ 30 w 204"/>
                  <a:gd name="T33" fmla="*/ 72 h 110"/>
                  <a:gd name="T34" fmla="*/ 14 w 204"/>
                  <a:gd name="T35" fmla="*/ 74 h 110"/>
                  <a:gd name="T36" fmla="*/ 6 w 204"/>
                  <a:gd name="T37" fmla="*/ 78 h 110"/>
                  <a:gd name="T38" fmla="*/ 6 w 204"/>
                  <a:gd name="T39" fmla="*/ 82 h 110"/>
                  <a:gd name="T40" fmla="*/ 10 w 204"/>
                  <a:gd name="T41" fmla="*/ 88 h 110"/>
                  <a:gd name="T42" fmla="*/ 26 w 204"/>
                  <a:gd name="T43" fmla="*/ 94 h 110"/>
                  <a:gd name="T44" fmla="*/ 46 w 204"/>
                  <a:gd name="T45" fmla="*/ 104 h 110"/>
                  <a:gd name="T46" fmla="*/ 60 w 204"/>
                  <a:gd name="T47" fmla="*/ 110 h 110"/>
                  <a:gd name="T48" fmla="*/ 86 w 204"/>
                  <a:gd name="T49" fmla="*/ 110 h 110"/>
                  <a:gd name="T50" fmla="*/ 140 w 204"/>
                  <a:gd name="T51" fmla="*/ 108 h 110"/>
                  <a:gd name="T52" fmla="*/ 168 w 204"/>
                  <a:gd name="T53" fmla="*/ 106 h 110"/>
                  <a:gd name="T54" fmla="*/ 186 w 204"/>
                  <a:gd name="T55" fmla="*/ 104 h 110"/>
                  <a:gd name="T56" fmla="*/ 192 w 204"/>
                  <a:gd name="T57" fmla="*/ 100 h 110"/>
                  <a:gd name="T58" fmla="*/ 192 w 204"/>
                  <a:gd name="T59" fmla="*/ 96 h 110"/>
                  <a:gd name="T60" fmla="*/ 186 w 204"/>
                  <a:gd name="T61" fmla="*/ 86 h 110"/>
                  <a:gd name="T62" fmla="*/ 182 w 204"/>
                  <a:gd name="T63" fmla="*/ 76 h 110"/>
                  <a:gd name="T64" fmla="*/ 182 w 204"/>
                  <a:gd name="T65" fmla="*/ 74 h 110"/>
                  <a:gd name="T66" fmla="*/ 188 w 204"/>
                  <a:gd name="T67" fmla="*/ 72 h 110"/>
                  <a:gd name="T68" fmla="*/ 200 w 204"/>
                  <a:gd name="T69" fmla="*/ 72 h 110"/>
                  <a:gd name="T70" fmla="*/ 204 w 204"/>
                  <a:gd name="T71" fmla="*/ 70 h 110"/>
                  <a:gd name="T72" fmla="*/ 204 w 204"/>
                  <a:gd name="T73" fmla="*/ 66 h 110"/>
                  <a:gd name="T74" fmla="*/ 194 w 204"/>
                  <a:gd name="T75" fmla="*/ 60 h 110"/>
                  <a:gd name="T76" fmla="*/ 180 w 204"/>
                  <a:gd name="T77" fmla="*/ 54 h 110"/>
                  <a:gd name="T78" fmla="*/ 170 w 204"/>
                  <a:gd name="T79" fmla="*/ 40 h 110"/>
                  <a:gd name="T80" fmla="*/ 164 w 204"/>
                  <a:gd name="T81" fmla="*/ 28 h 110"/>
                  <a:gd name="T82" fmla="*/ 164 w 204"/>
                  <a:gd name="T83" fmla="*/ 20 h 110"/>
                  <a:gd name="T84" fmla="*/ 170 w 204"/>
                  <a:gd name="T85" fmla="*/ 12 h 110"/>
                  <a:gd name="T86" fmla="*/ 172 w 204"/>
                  <a:gd name="T87" fmla="*/ 6 h 110"/>
                  <a:gd name="T88" fmla="*/ 164 w 204"/>
                  <a:gd name="T89" fmla="*/ 2 h 110"/>
                  <a:gd name="T90" fmla="*/ 152 w 204"/>
                  <a:gd name="T91" fmla="*/ 0 h 110"/>
                  <a:gd name="T92" fmla="*/ 142 w 204"/>
                  <a:gd name="T93" fmla="*/ 0 h 110"/>
                  <a:gd name="T94" fmla="*/ 140 w 204"/>
                  <a:gd name="T95" fmla="*/ 4 h 110"/>
                  <a:gd name="T96" fmla="*/ 138 w 204"/>
                  <a:gd name="T97" fmla="*/ 18 h 110"/>
                  <a:gd name="T98" fmla="*/ 136 w 204"/>
                  <a:gd name="T99" fmla="*/ 32 h 110"/>
                  <a:gd name="T100" fmla="*/ 134 w 204"/>
                  <a:gd name="T101" fmla="*/ 34 h 110"/>
                  <a:gd name="T102" fmla="*/ 128 w 204"/>
                  <a:gd name="T103" fmla="*/ 32 h 110"/>
                  <a:gd name="T104" fmla="*/ 120 w 204"/>
                  <a:gd name="T105" fmla="*/ 18 h 110"/>
                  <a:gd name="T106" fmla="*/ 112 w 204"/>
                  <a:gd name="T107" fmla="*/ 8 h 110"/>
                  <a:gd name="T108" fmla="*/ 106 w 204"/>
                  <a:gd name="T109" fmla="*/ 6 h 110"/>
                  <a:gd name="T110" fmla="*/ 102 w 204"/>
                  <a:gd name="T111" fmla="*/ 10 h 110"/>
                  <a:gd name="T112" fmla="*/ 98 w 204"/>
                  <a:gd name="T113" fmla="*/ 22 h 110"/>
                  <a:gd name="T114" fmla="*/ 96 w 204"/>
                  <a:gd name="T115" fmla="*/ 24 h 110"/>
                  <a:gd name="T116" fmla="*/ 92 w 204"/>
                  <a:gd name="T117" fmla="*/ 22 h 110"/>
                  <a:gd name="T118" fmla="*/ 90 w 204"/>
                  <a:gd name="T119" fmla="*/ 10 h 110"/>
                  <a:gd name="T120" fmla="*/ 86 w 204"/>
                  <a:gd name="T121" fmla="*/ 4 h 110"/>
                  <a:gd name="T122" fmla="*/ 80 w 204"/>
                  <a:gd name="T123" fmla="*/ 4 h 110"/>
                  <a:gd name="T124" fmla="*/ 66 w 204"/>
                  <a:gd name="T125" fmla="*/ 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4" h="110">
                    <a:moveTo>
                      <a:pt x="64" y="12"/>
                    </a:moveTo>
                    <a:lnTo>
                      <a:pt x="64" y="12"/>
                    </a:lnTo>
                    <a:lnTo>
                      <a:pt x="56" y="14"/>
                    </a:lnTo>
                    <a:lnTo>
                      <a:pt x="52" y="16"/>
                    </a:lnTo>
                    <a:lnTo>
                      <a:pt x="48" y="18"/>
                    </a:lnTo>
                    <a:lnTo>
                      <a:pt x="44" y="20"/>
                    </a:lnTo>
                    <a:lnTo>
                      <a:pt x="42" y="20"/>
                    </a:lnTo>
                    <a:lnTo>
                      <a:pt x="40" y="22"/>
                    </a:lnTo>
                    <a:lnTo>
                      <a:pt x="38" y="22"/>
                    </a:lnTo>
                    <a:lnTo>
                      <a:pt x="38" y="24"/>
                    </a:lnTo>
                    <a:lnTo>
                      <a:pt x="36" y="26"/>
                    </a:lnTo>
                    <a:lnTo>
                      <a:pt x="36" y="26"/>
                    </a:lnTo>
                    <a:lnTo>
                      <a:pt x="36" y="28"/>
                    </a:lnTo>
                    <a:lnTo>
                      <a:pt x="36" y="28"/>
                    </a:lnTo>
                    <a:lnTo>
                      <a:pt x="36" y="30"/>
                    </a:lnTo>
                    <a:lnTo>
                      <a:pt x="36" y="30"/>
                    </a:lnTo>
                    <a:lnTo>
                      <a:pt x="36" y="32"/>
                    </a:lnTo>
                    <a:lnTo>
                      <a:pt x="36" y="34"/>
                    </a:lnTo>
                    <a:lnTo>
                      <a:pt x="36" y="36"/>
                    </a:lnTo>
                    <a:lnTo>
                      <a:pt x="36" y="38"/>
                    </a:lnTo>
                    <a:lnTo>
                      <a:pt x="36" y="38"/>
                    </a:lnTo>
                    <a:lnTo>
                      <a:pt x="36" y="38"/>
                    </a:lnTo>
                    <a:lnTo>
                      <a:pt x="36" y="38"/>
                    </a:lnTo>
                    <a:lnTo>
                      <a:pt x="34" y="40"/>
                    </a:lnTo>
                    <a:lnTo>
                      <a:pt x="34" y="40"/>
                    </a:lnTo>
                    <a:lnTo>
                      <a:pt x="34" y="40"/>
                    </a:lnTo>
                    <a:lnTo>
                      <a:pt x="32" y="40"/>
                    </a:lnTo>
                    <a:lnTo>
                      <a:pt x="30" y="40"/>
                    </a:lnTo>
                    <a:lnTo>
                      <a:pt x="28" y="42"/>
                    </a:lnTo>
                    <a:lnTo>
                      <a:pt x="26" y="42"/>
                    </a:lnTo>
                    <a:lnTo>
                      <a:pt x="24" y="40"/>
                    </a:lnTo>
                    <a:lnTo>
                      <a:pt x="20" y="40"/>
                    </a:lnTo>
                    <a:lnTo>
                      <a:pt x="14" y="40"/>
                    </a:lnTo>
                    <a:lnTo>
                      <a:pt x="12" y="40"/>
                    </a:lnTo>
                    <a:lnTo>
                      <a:pt x="10" y="40"/>
                    </a:lnTo>
                    <a:lnTo>
                      <a:pt x="8" y="40"/>
                    </a:lnTo>
                    <a:lnTo>
                      <a:pt x="6" y="40"/>
                    </a:lnTo>
                    <a:lnTo>
                      <a:pt x="4" y="40"/>
                    </a:lnTo>
                    <a:lnTo>
                      <a:pt x="4" y="40"/>
                    </a:lnTo>
                    <a:lnTo>
                      <a:pt x="2" y="42"/>
                    </a:lnTo>
                    <a:lnTo>
                      <a:pt x="2" y="42"/>
                    </a:lnTo>
                    <a:lnTo>
                      <a:pt x="2" y="44"/>
                    </a:lnTo>
                    <a:lnTo>
                      <a:pt x="0" y="46"/>
                    </a:lnTo>
                    <a:lnTo>
                      <a:pt x="0" y="48"/>
                    </a:lnTo>
                    <a:lnTo>
                      <a:pt x="0" y="50"/>
                    </a:lnTo>
                    <a:lnTo>
                      <a:pt x="0" y="52"/>
                    </a:lnTo>
                    <a:lnTo>
                      <a:pt x="0" y="52"/>
                    </a:lnTo>
                    <a:lnTo>
                      <a:pt x="0" y="54"/>
                    </a:lnTo>
                    <a:lnTo>
                      <a:pt x="0" y="54"/>
                    </a:lnTo>
                    <a:lnTo>
                      <a:pt x="2" y="54"/>
                    </a:lnTo>
                    <a:lnTo>
                      <a:pt x="2" y="56"/>
                    </a:lnTo>
                    <a:lnTo>
                      <a:pt x="4" y="56"/>
                    </a:lnTo>
                    <a:lnTo>
                      <a:pt x="4" y="56"/>
                    </a:lnTo>
                    <a:lnTo>
                      <a:pt x="6" y="58"/>
                    </a:lnTo>
                    <a:lnTo>
                      <a:pt x="8" y="58"/>
                    </a:lnTo>
                    <a:lnTo>
                      <a:pt x="10" y="58"/>
                    </a:lnTo>
                    <a:lnTo>
                      <a:pt x="12" y="58"/>
                    </a:lnTo>
                    <a:lnTo>
                      <a:pt x="16" y="58"/>
                    </a:lnTo>
                    <a:lnTo>
                      <a:pt x="20" y="58"/>
                    </a:lnTo>
                    <a:lnTo>
                      <a:pt x="30" y="58"/>
                    </a:lnTo>
                    <a:lnTo>
                      <a:pt x="34" y="58"/>
                    </a:lnTo>
                    <a:lnTo>
                      <a:pt x="38" y="58"/>
                    </a:lnTo>
                    <a:lnTo>
                      <a:pt x="42" y="58"/>
                    </a:lnTo>
                    <a:lnTo>
                      <a:pt x="46" y="58"/>
                    </a:lnTo>
                    <a:lnTo>
                      <a:pt x="48" y="58"/>
                    </a:lnTo>
                    <a:lnTo>
                      <a:pt x="48" y="60"/>
                    </a:lnTo>
                    <a:lnTo>
                      <a:pt x="50" y="60"/>
                    </a:lnTo>
                    <a:lnTo>
                      <a:pt x="52" y="60"/>
                    </a:lnTo>
                    <a:lnTo>
                      <a:pt x="52" y="60"/>
                    </a:lnTo>
                    <a:lnTo>
                      <a:pt x="52" y="62"/>
                    </a:lnTo>
                    <a:lnTo>
                      <a:pt x="54" y="62"/>
                    </a:lnTo>
                    <a:lnTo>
                      <a:pt x="54" y="64"/>
                    </a:lnTo>
                    <a:lnTo>
                      <a:pt x="54" y="64"/>
                    </a:lnTo>
                    <a:lnTo>
                      <a:pt x="52" y="66"/>
                    </a:lnTo>
                    <a:lnTo>
                      <a:pt x="52" y="66"/>
                    </a:lnTo>
                    <a:lnTo>
                      <a:pt x="52" y="68"/>
                    </a:lnTo>
                    <a:lnTo>
                      <a:pt x="52" y="68"/>
                    </a:lnTo>
                    <a:lnTo>
                      <a:pt x="50" y="68"/>
                    </a:lnTo>
                    <a:lnTo>
                      <a:pt x="50" y="68"/>
                    </a:lnTo>
                    <a:lnTo>
                      <a:pt x="48" y="70"/>
                    </a:lnTo>
                    <a:lnTo>
                      <a:pt x="46" y="70"/>
                    </a:lnTo>
                    <a:lnTo>
                      <a:pt x="42" y="70"/>
                    </a:lnTo>
                    <a:lnTo>
                      <a:pt x="40" y="70"/>
                    </a:lnTo>
                    <a:lnTo>
                      <a:pt x="36" y="70"/>
                    </a:lnTo>
                    <a:lnTo>
                      <a:pt x="30" y="72"/>
                    </a:lnTo>
                    <a:lnTo>
                      <a:pt x="22" y="72"/>
                    </a:lnTo>
                    <a:lnTo>
                      <a:pt x="20" y="72"/>
                    </a:lnTo>
                    <a:lnTo>
                      <a:pt x="18" y="72"/>
                    </a:lnTo>
                    <a:lnTo>
                      <a:pt x="14" y="74"/>
                    </a:lnTo>
                    <a:lnTo>
                      <a:pt x="14" y="74"/>
                    </a:lnTo>
                    <a:lnTo>
                      <a:pt x="12" y="74"/>
                    </a:lnTo>
                    <a:lnTo>
                      <a:pt x="10" y="76"/>
                    </a:lnTo>
                    <a:lnTo>
                      <a:pt x="10" y="76"/>
                    </a:lnTo>
                    <a:lnTo>
                      <a:pt x="8" y="78"/>
                    </a:lnTo>
                    <a:lnTo>
                      <a:pt x="6" y="78"/>
                    </a:lnTo>
                    <a:lnTo>
                      <a:pt x="6" y="80"/>
                    </a:lnTo>
                    <a:lnTo>
                      <a:pt x="6" y="80"/>
                    </a:lnTo>
                    <a:lnTo>
                      <a:pt x="6" y="80"/>
                    </a:lnTo>
                    <a:lnTo>
                      <a:pt x="6" y="82"/>
                    </a:lnTo>
                    <a:lnTo>
                      <a:pt x="6" y="82"/>
                    </a:lnTo>
                    <a:lnTo>
                      <a:pt x="6" y="82"/>
                    </a:lnTo>
                    <a:lnTo>
                      <a:pt x="6" y="84"/>
                    </a:lnTo>
                    <a:lnTo>
                      <a:pt x="8" y="86"/>
                    </a:lnTo>
                    <a:lnTo>
                      <a:pt x="10" y="86"/>
                    </a:lnTo>
                    <a:lnTo>
                      <a:pt x="10" y="88"/>
                    </a:lnTo>
                    <a:lnTo>
                      <a:pt x="12" y="88"/>
                    </a:lnTo>
                    <a:lnTo>
                      <a:pt x="14" y="90"/>
                    </a:lnTo>
                    <a:lnTo>
                      <a:pt x="16" y="90"/>
                    </a:lnTo>
                    <a:lnTo>
                      <a:pt x="22" y="92"/>
                    </a:lnTo>
                    <a:lnTo>
                      <a:pt x="26" y="94"/>
                    </a:lnTo>
                    <a:lnTo>
                      <a:pt x="30" y="96"/>
                    </a:lnTo>
                    <a:lnTo>
                      <a:pt x="32" y="96"/>
                    </a:lnTo>
                    <a:lnTo>
                      <a:pt x="34" y="96"/>
                    </a:lnTo>
                    <a:lnTo>
                      <a:pt x="38" y="100"/>
                    </a:lnTo>
                    <a:lnTo>
                      <a:pt x="46" y="104"/>
                    </a:lnTo>
                    <a:lnTo>
                      <a:pt x="48" y="106"/>
                    </a:lnTo>
                    <a:lnTo>
                      <a:pt x="52" y="106"/>
                    </a:lnTo>
                    <a:lnTo>
                      <a:pt x="56" y="108"/>
                    </a:lnTo>
                    <a:lnTo>
                      <a:pt x="58" y="108"/>
                    </a:lnTo>
                    <a:lnTo>
                      <a:pt x="60" y="110"/>
                    </a:lnTo>
                    <a:lnTo>
                      <a:pt x="62" y="110"/>
                    </a:lnTo>
                    <a:lnTo>
                      <a:pt x="66" y="110"/>
                    </a:lnTo>
                    <a:lnTo>
                      <a:pt x="70" y="110"/>
                    </a:lnTo>
                    <a:lnTo>
                      <a:pt x="76" y="110"/>
                    </a:lnTo>
                    <a:lnTo>
                      <a:pt x="86" y="110"/>
                    </a:lnTo>
                    <a:lnTo>
                      <a:pt x="94" y="108"/>
                    </a:lnTo>
                    <a:lnTo>
                      <a:pt x="108" y="108"/>
                    </a:lnTo>
                    <a:lnTo>
                      <a:pt x="124" y="108"/>
                    </a:lnTo>
                    <a:lnTo>
                      <a:pt x="132" y="108"/>
                    </a:lnTo>
                    <a:lnTo>
                      <a:pt x="140" y="108"/>
                    </a:lnTo>
                    <a:lnTo>
                      <a:pt x="148" y="108"/>
                    </a:lnTo>
                    <a:lnTo>
                      <a:pt x="154" y="106"/>
                    </a:lnTo>
                    <a:lnTo>
                      <a:pt x="158" y="106"/>
                    </a:lnTo>
                    <a:lnTo>
                      <a:pt x="164" y="106"/>
                    </a:lnTo>
                    <a:lnTo>
                      <a:pt x="168" y="106"/>
                    </a:lnTo>
                    <a:lnTo>
                      <a:pt x="174" y="106"/>
                    </a:lnTo>
                    <a:lnTo>
                      <a:pt x="178" y="106"/>
                    </a:lnTo>
                    <a:lnTo>
                      <a:pt x="180" y="104"/>
                    </a:lnTo>
                    <a:lnTo>
                      <a:pt x="182" y="104"/>
                    </a:lnTo>
                    <a:lnTo>
                      <a:pt x="186" y="104"/>
                    </a:lnTo>
                    <a:lnTo>
                      <a:pt x="188" y="102"/>
                    </a:lnTo>
                    <a:lnTo>
                      <a:pt x="190" y="102"/>
                    </a:lnTo>
                    <a:lnTo>
                      <a:pt x="190" y="100"/>
                    </a:lnTo>
                    <a:lnTo>
                      <a:pt x="190" y="100"/>
                    </a:lnTo>
                    <a:lnTo>
                      <a:pt x="192" y="100"/>
                    </a:lnTo>
                    <a:lnTo>
                      <a:pt x="192" y="100"/>
                    </a:lnTo>
                    <a:lnTo>
                      <a:pt x="192" y="98"/>
                    </a:lnTo>
                    <a:lnTo>
                      <a:pt x="192" y="98"/>
                    </a:lnTo>
                    <a:lnTo>
                      <a:pt x="192" y="98"/>
                    </a:lnTo>
                    <a:lnTo>
                      <a:pt x="192" y="96"/>
                    </a:lnTo>
                    <a:lnTo>
                      <a:pt x="192" y="94"/>
                    </a:lnTo>
                    <a:lnTo>
                      <a:pt x="190" y="94"/>
                    </a:lnTo>
                    <a:lnTo>
                      <a:pt x="190" y="92"/>
                    </a:lnTo>
                    <a:lnTo>
                      <a:pt x="190" y="90"/>
                    </a:lnTo>
                    <a:lnTo>
                      <a:pt x="186" y="86"/>
                    </a:lnTo>
                    <a:lnTo>
                      <a:pt x="184" y="82"/>
                    </a:lnTo>
                    <a:lnTo>
                      <a:pt x="184" y="82"/>
                    </a:lnTo>
                    <a:lnTo>
                      <a:pt x="182" y="80"/>
                    </a:lnTo>
                    <a:lnTo>
                      <a:pt x="182" y="78"/>
                    </a:lnTo>
                    <a:lnTo>
                      <a:pt x="182" y="76"/>
                    </a:lnTo>
                    <a:lnTo>
                      <a:pt x="182" y="76"/>
                    </a:lnTo>
                    <a:lnTo>
                      <a:pt x="182" y="76"/>
                    </a:lnTo>
                    <a:lnTo>
                      <a:pt x="182" y="74"/>
                    </a:lnTo>
                    <a:lnTo>
                      <a:pt x="182" y="74"/>
                    </a:lnTo>
                    <a:lnTo>
                      <a:pt x="182" y="74"/>
                    </a:lnTo>
                    <a:lnTo>
                      <a:pt x="182" y="74"/>
                    </a:lnTo>
                    <a:lnTo>
                      <a:pt x="184" y="72"/>
                    </a:lnTo>
                    <a:lnTo>
                      <a:pt x="184" y="72"/>
                    </a:lnTo>
                    <a:lnTo>
                      <a:pt x="186" y="72"/>
                    </a:lnTo>
                    <a:lnTo>
                      <a:pt x="188" y="72"/>
                    </a:lnTo>
                    <a:lnTo>
                      <a:pt x="190" y="72"/>
                    </a:lnTo>
                    <a:lnTo>
                      <a:pt x="194" y="72"/>
                    </a:lnTo>
                    <a:lnTo>
                      <a:pt x="198" y="72"/>
                    </a:lnTo>
                    <a:lnTo>
                      <a:pt x="200" y="72"/>
                    </a:lnTo>
                    <a:lnTo>
                      <a:pt x="200" y="72"/>
                    </a:lnTo>
                    <a:lnTo>
                      <a:pt x="202" y="72"/>
                    </a:lnTo>
                    <a:lnTo>
                      <a:pt x="204" y="70"/>
                    </a:lnTo>
                    <a:lnTo>
                      <a:pt x="204" y="70"/>
                    </a:lnTo>
                    <a:lnTo>
                      <a:pt x="204" y="70"/>
                    </a:lnTo>
                    <a:lnTo>
                      <a:pt x="204" y="70"/>
                    </a:lnTo>
                    <a:lnTo>
                      <a:pt x="204" y="68"/>
                    </a:lnTo>
                    <a:lnTo>
                      <a:pt x="204" y="68"/>
                    </a:lnTo>
                    <a:lnTo>
                      <a:pt x="204" y="68"/>
                    </a:lnTo>
                    <a:lnTo>
                      <a:pt x="204" y="68"/>
                    </a:lnTo>
                    <a:lnTo>
                      <a:pt x="204" y="66"/>
                    </a:lnTo>
                    <a:lnTo>
                      <a:pt x="202" y="66"/>
                    </a:lnTo>
                    <a:lnTo>
                      <a:pt x="202" y="64"/>
                    </a:lnTo>
                    <a:lnTo>
                      <a:pt x="200" y="64"/>
                    </a:lnTo>
                    <a:lnTo>
                      <a:pt x="198" y="62"/>
                    </a:lnTo>
                    <a:lnTo>
                      <a:pt x="194" y="60"/>
                    </a:lnTo>
                    <a:lnTo>
                      <a:pt x="190" y="60"/>
                    </a:lnTo>
                    <a:lnTo>
                      <a:pt x="186" y="58"/>
                    </a:lnTo>
                    <a:lnTo>
                      <a:pt x="184" y="56"/>
                    </a:lnTo>
                    <a:lnTo>
                      <a:pt x="182" y="56"/>
                    </a:lnTo>
                    <a:lnTo>
                      <a:pt x="180" y="54"/>
                    </a:lnTo>
                    <a:lnTo>
                      <a:pt x="180" y="54"/>
                    </a:lnTo>
                    <a:lnTo>
                      <a:pt x="176" y="52"/>
                    </a:lnTo>
                    <a:lnTo>
                      <a:pt x="174" y="48"/>
                    </a:lnTo>
                    <a:lnTo>
                      <a:pt x="172" y="44"/>
                    </a:lnTo>
                    <a:lnTo>
                      <a:pt x="170" y="40"/>
                    </a:lnTo>
                    <a:lnTo>
                      <a:pt x="168" y="36"/>
                    </a:lnTo>
                    <a:lnTo>
                      <a:pt x="166" y="34"/>
                    </a:lnTo>
                    <a:lnTo>
                      <a:pt x="166" y="32"/>
                    </a:lnTo>
                    <a:lnTo>
                      <a:pt x="164" y="30"/>
                    </a:lnTo>
                    <a:lnTo>
                      <a:pt x="164" y="28"/>
                    </a:lnTo>
                    <a:lnTo>
                      <a:pt x="164" y="26"/>
                    </a:lnTo>
                    <a:lnTo>
                      <a:pt x="164" y="24"/>
                    </a:lnTo>
                    <a:lnTo>
                      <a:pt x="164" y="22"/>
                    </a:lnTo>
                    <a:lnTo>
                      <a:pt x="164" y="22"/>
                    </a:lnTo>
                    <a:lnTo>
                      <a:pt x="164" y="20"/>
                    </a:lnTo>
                    <a:lnTo>
                      <a:pt x="166" y="20"/>
                    </a:lnTo>
                    <a:lnTo>
                      <a:pt x="166" y="18"/>
                    </a:lnTo>
                    <a:lnTo>
                      <a:pt x="168" y="14"/>
                    </a:lnTo>
                    <a:lnTo>
                      <a:pt x="170" y="12"/>
                    </a:lnTo>
                    <a:lnTo>
                      <a:pt x="170" y="12"/>
                    </a:lnTo>
                    <a:lnTo>
                      <a:pt x="172" y="10"/>
                    </a:lnTo>
                    <a:lnTo>
                      <a:pt x="172" y="10"/>
                    </a:lnTo>
                    <a:lnTo>
                      <a:pt x="172" y="8"/>
                    </a:lnTo>
                    <a:lnTo>
                      <a:pt x="172" y="8"/>
                    </a:lnTo>
                    <a:lnTo>
                      <a:pt x="172" y="6"/>
                    </a:lnTo>
                    <a:lnTo>
                      <a:pt x="170" y="6"/>
                    </a:lnTo>
                    <a:lnTo>
                      <a:pt x="170" y="4"/>
                    </a:lnTo>
                    <a:lnTo>
                      <a:pt x="168" y="4"/>
                    </a:lnTo>
                    <a:lnTo>
                      <a:pt x="166" y="2"/>
                    </a:lnTo>
                    <a:lnTo>
                      <a:pt x="164" y="2"/>
                    </a:lnTo>
                    <a:lnTo>
                      <a:pt x="162" y="0"/>
                    </a:lnTo>
                    <a:lnTo>
                      <a:pt x="160" y="0"/>
                    </a:lnTo>
                    <a:lnTo>
                      <a:pt x="158" y="0"/>
                    </a:lnTo>
                    <a:lnTo>
                      <a:pt x="156" y="0"/>
                    </a:lnTo>
                    <a:lnTo>
                      <a:pt x="152" y="0"/>
                    </a:lnTo>
                    <a:lnTo>
                      <a:pt x="150" y="0"/>
                    </a:lnTo>
                    <a:lnTo>
                      <a:pt x="148" y="0"/>
                    </a:lnTo>
                    <a:lnTo>
                      <a:pt x="146" y="0"/>
                    </a:lnTo>
                    <a:lnTo>
                      <a:pt x="144" y="0"/>
                    </a:lnTo>
                    <a:lnTo>
                      <a:pt x="142" y="0"/>
                    </a:lnTo>
                    <a:lnTo>
                      <a:pt x="142" y="2"/>
                    </a:lnTo>
                    <a:lnTo>
                      <a:pt x="140" y="2"/>
                    </a:lnTo>
                    <a:lnTo>
                      <a:pt x="140" y="2"/>
                    </a:lnTo>
                    <a:lnTo>
                      <a:pt x="140" y="4"/>
                    </a:lnTo>
                    <a:lnTo>
                      <a:pt x="140" y="4"/>
                    </a:lnTo>
                    <a:lnTo>
                      <a:pt x="138" y="6"/>
                    </a:lnTo>
                    <a:lnTo>
                      <a:pt x="138" y="8"/>
                    </a:lnTo>
                    <a:lnTo>
                      <a:pt x="138" y="10"/>
                    </a:lnTo>
                    <a:lnTo>
                      <a:pt x="138" y="14"/>
                    </a:lnTo>
                    <a:lnTo>
                      <a:pt x="138" y="18"/>
                    </a:lnTo>
                    <a:lnTo>
                      <a:pt x="138" y="24"/>
                    </a:lnTo>
                    <a:lnTo>
                      <a:pt x="138" y="26"/>
                    </a:lnTo>
                    <a:lnTo>
                      <a:pt x="138" y="28"/>
                    </a:lnTo>
                    <a:lnTo>
                      <a:pt x="136" y="30"/>
                    </a:lnTo>
                    <a:lnTo>
                      <a:pt x="136" y="32"/>
                    </a:lnTo>
                    <a:lnTo>
                      <a:pt x="136" y="32"/>
                    </a:lnTo>
                    <a:lnTo>
                      <a:pt x="136" y="32"/>
                    </a:lnTo>
                    <a:lnTo>
                      <a:pt x="136" y="34"/>
                    </a:lnTo>
                    <a:lnTo>
                      <a:pt x="134" y="34"/>
                    </a:lnTo>
                    <a:lnTo>
                      <a:pt x="134" y="34"/>
                    </a:lnTo>
                    <a:lnTo>
                      <a:pt x="132" y="34"/>
                    </a:lnTo>
                    <a:lnTo>
                      <a:pt x="132" y="34"/>
                    </a:lnTo>
                    <a:lnTo>
                      <a:pt x="130" y="34"/>
                    </a:lnTo>
                    <a:lnTo>
                      <a:pt x="130" y="32"/>
                    </a:lnTo>
                    <a:lnTo>
                      <a:pt x="128" y="32"/>
                    </a:lnTo>
                    <a:lnTo>
                      <a:pt x="128" y="30"/>
                    </a:lnTo>
                    <a:lnTo>
                      <a:pt x="126" y="28"/>
                    </a:lnTo>
                    <a:lnTo>
                      <a:pt x="122" y="22"/>
                    </a:lnTo>
                    <a:lnTo>
                      <a:pt x="120" y="18"/>
                    </a:lnTo>
                    <a:lnTo>
                      <a:pt x="120" y="18"/>
                    </a:lnTo>
                    <a:lnTo>
                      <a:pt x="118" y="16"/>
                    </a:lnTo>
                    <a:lnTo>
                      <a:pt x="116" y="14"/>
                    </a:lnTo>
                    <a:lnTo>
                      <a:pt x="114" y="12"/>
                    </a:lnTo>
                    <a:lnTo>
                      <a:pt x="112" y="10"/>
                    </a:lnTo>
                    <a:lnTo>
                      <a:pt x="112" y="8"/>
                    </a:lnTo>
                    <a:lnTo>
                      <a:pt x="110" y="8"/>
                    </a:lnTo>
                    <a:lnTo>
                      <a:pt x="108" y="6"/>
                    </a:lnTo>
                    <a:lnTo>
                      <a:pt x="108" y="6"/>
                    </a:lnTo>
                    <a:lnTo>
                      <a:pt x="106" y="6"/>
                    </a:lnTo>
                    <a:lnTo>
                      <a:pt x="106" y="6"/>
                    </a:lnTo>
                    <a:lnTo>
                      <a:pt x="106" y="6"/>
                    </a:lnTo>
                    <a:lnTo>
                      <a:pt x="104" y="8"/>
                    </a:lnTo>
                    <a:lnTo>
                      <a:pt x="104" y="8"/>
                    </a:lnTo>
                    <a:lnTo>
                      <a:pt x="104" y="10"/>
                    </a:lnTo>
                    <a:lnTo>
                      <a:pt x="102" y="10"/>
                    </a:lnTo>
                    <a:lnTo>
                      <a:pt x="102" y="12"/>
                    </a:lnTo>
                    <a:lnTo>
                      <a:pt x="100" y="16"/>
                    </a:lnTo>
                    <a:lnTo>
                      <a:pt x="100" y="18"/>
                    </a:lnTo>
                    <a:lnTo>
                      <a:pt x="100" y="20"/>
                    </a:lnTo>
                    <a:lnTo>
                      <a:pt x="98" y="22"/>
                    </a:lnTo>
                    <a:lnTo>
                      <a:pt x="98" y="22"/>
                    </a:lnTo>
                    <a:lnTo>
                      <a:pt x="98" y="24"/>
                    </a:lnTo>
                    <a:lnTo>
                      <a:pt x="96" y="24"/>
                    </a:lnTo>
                    <a:lnTo>
                      <a:pt x="96" y="24"/>
                    </a:lnTo>
                    <a:lnTo>
                      <a:pt x="96" y="24"/>
                    </a:lnTo>
                    <a:lnTo>
                      <a:pt x="96" y="24"/>
                    </a:lnTo>
                    <a:lnTo>
                      <a:pt x="94" y="24"/>
                    </a:lnTo>
                    <a:lnTo>
                      <a:pt x="94" y="24"/>
                    </a:lnTo>
                    <a:lnTo>
                      <a:pt x="94" y="22"/>
                    </a:lnTo>
                    <a:lnTo>
                      <a:pt x="92" y="22"/>
                    </a:lnTo>
                    <a:lnTo>
                      <a:pt x="92" y="20"/>
                    </a:lnTo>
                    <a:lnTo>
                      <a:pt x="92" y="18"/>
                    </a:lnTo>
                    <a:lnTo>
                      <a:pt x="90" y="14"/>
                    </a:lnTo>
                    <a:lnTo>
                      <a:pt x="90" y="12"/>
                    </a:lnTo>
                    <a:lnTo>
                      <a:pt x="90" y="10"/>
                    </a:lnTo>
                    <a:lnTo>
                      <a:pt x="88" y="8"/>
                    </a:lnTo>
                    <a:lnTo>
                      <a:pt x="88" y="6"/>
                    </a:lnTo>
                    <a:lnTo>
                      <a:pt x="88" y="6"/>
                    </a:lnTo>
                    <a:lnTo>
                      <a:pt x="86" y="4"/>
                    </a:lnTo>
                    <a:lnTo>
                      <a:pt x="86" y="4"/>
                    </a:lnTo>
                    <a:lnTo>
                      <a:pt x="84" y="4"/>
                    </a:lnTo>
                    <a:lnTo>
                      <a:pt x="84" y="4"/>
                    </a:lnTo>
                    <a:lnTo>
                      <a:pt x="82" y="4"/>
                    </a:lnTo>
                    <a:lnTo>
                      <a:pt x="80" y="4"/>
                    </a:lnTo>
                    <a:lnTo>
                      <a:pt x="80" y="4"/>
                    </a:lnTo>
                    <a:lnTo>
                      <a:pt x="78" y="4"/>
                    </a:lnTo>
                    <a:lnTo>
                      <a:pt x="74" y="6"/>
                    </a:lnTo>
                    <a:lnTo>
                      <a:pt x="72" y="8"/>
                    </a:lnTo>
                    <a:lnTo>
                      <a:pt x="68" y="8"/>
                    </a:lnTo>
                    <a:lnTo>
                      <a:pt x="66" y="10"/>
                    </a:lnTo>
                    <a:lnTo>
                      <a:pt x="64" y="1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4" name="Freeform 540">
                <a:extLst>
                  <a:ext uri="{FF2B5EF4-FFF2-40B4-BE49-F238E27FC236}">
                    <a16:creationId xmlns:a16="http://schemas.microsoft.com/office/drawing/2014/main" id="{9E913997-1E65-442B-A539-46ADB0140855}"/>
                  </a:ext>
                </a:extLst>
              </p:cNvPr>
              <p:cNvSpPr>
                <a:spLocks/>
              </p:cNvSpPr>
              <p:nvPr/>
            </p:nvSpPr>
            <p:spPr bwMode="auto">
              <a:xfrm>
                <a:off x="2227553" y="2527467"/>
                <a:ext cx="44450" cy="22225"/>
              </a:xfrm>
              <a:custGeom>
                <a:avLst/>
                <a:gdLst>
                  <a:gd name="T0" fmla="*/ 14 w 28"/>
                  <a:gd name="T1" fmla="*/ 14 h 14"/>
                  <a:gd name="T2" fmla="*/ 14 w 28"/>
                  <a:gd name="T3" fmla="*/ 14 h 14"/>
                  <a:gd name="T4" fmla="*/ 18 w 28"/>
                  <a:gd name="T5" fmla="*/ 14 h 14"/>
                  <a:gd name="T6" fmla="*/ 20 w 28"/>
                  <a:gd name="T7" fmla="*/ 12 h 14"/>
                  <a:gd name="T8" fmla="*/ 22 w 28"/>
                  <a:gd name="T9" fmla="*/ 12 h 14"/>
                  <a:gd name="T10" fmla="*/ 24 w 28"/>
                  <a:gd name="T11" fmla="*/ 12 h 14"/>
                  <a:gd name="T12" fmla="*/ 26 w 28"/>
                  <a:gd name="T13" fmla="*/ 10 h 14"/>
                  <a:gd name="T14" fmla="*/ 28 w 28"/>
                  <a:gd name="T15" fmla="*/ 10 h 14"/>
                  <a:gd name="T16" fmla="*/ 28 w 28"/>
                  <a:gd name="T17" fmla="*/ 10 h 14"/>
                  <a:gd name="T18" fmla="*/ 28 w 28"/>
                  <a:gd name="T19" fmla="*/ 8 h 14"/>
                  <a:gd name="T20" fmla="*/ 28 w 28"/>
                  <a:gd name="T21" fmla="*/ 8 h 14"/>
                  <a:gd name="T22" fmla="*/ 28 w 28"/>
                  <a:gd name="T23" fmla="*/ 8 h 14"/>
                  <a:gd name="T24" fmla="*/ 28 w 28"/>
                  <a:gd name="T25" fmla="*/ 6 h 14"/>
                  <a:gd name="T26" fmla="*/ 28 w 28"/>
                  <a:gd name="T27" fmla="*/ 6 h 14"/>
                  <a:gd name="T28" fmla="*/ 28 w 28"/>
                  <a:gd name="T29" fmla="*/ 6 h 14"/>
                  <a:gd name="T30" fmla="*/ 28 w 28"/>
                  <a:gd name="T31" fmla="*/ 4 h 14"/>
                  <a:gd name="T32" fmla="*/ 28 w 28"/>
                  <a:gd name="T33" fmla="*/ 4 h 14"/>
                  <a:gd name="T34" fmla="*/ 28 w 28"/>
                  <a:gd name="T35" fmla="*/ 4 h 14"/>
                  <a:gd name="T36" fmla="*/ 26 w 28"/>
                  <a:gd name="T37" fmla="*/ 2 h 14"/>
                  <a:gd name="T38" fmla="*/ 24 w 28"/>
                  <a:gd name="T39" fmla="*/ 2 h 14"/>
                  <a:gd name="T40" fmla="*/ 22 w 28"/>
                  <a:gd name="T41" fmla="*/ 2 h 14"/>
                  <a:gd name="T42" fmla="*/ 20 w 28"/>
                  <a:gd name="T43" fmla="*/ 0 h 14"/>
                  <a:gd name="T44" fmla="*/ 18 w 28"/>
                  <a:gd name="T45" fmla="*/ 0 h 14"/>
                  <a:gd name="T46" fmla="*/ 14 w 28"/>
                  <a:gd name="T47" fmla="*/ 0 h 14"/>
                  <a:gd name="T48" fmla="*/ 12 w 28"/>
                  <a:gd name="T49" fmla="*/ 0 h 14"/>
                  <a:gd name="T50" fmla="*/ 10 w 28"/>
                  <a:gd name="T51" fmla="*/ 0 h 14"/>
                  <a:gd name="T52" fmla="*/ 6 w 28"/>
                  <a:gd name="T53" fmla="*/ 2 h 14"/>
                  <a:gd name="T54" fmla="*/ 4 w 28"/>
                  <a:gd name="T55" fmla="*/ 2 h 14"/>
                  <a:gd name="T56" fmla="*/ 2 w 28"/>
                  <a:gd name="T57" fmla="*/ 2 h 14"/>
                  <a:gd name="T58" fmla="*/ 2 w 28"/>
                  <a:gd name="T59" fmla="*/ 4 h 14"/>
                  <a:gd name="T60" fmla="*/ 2 w 28"/>
                  <a:gd name="T61" fmla="*/ 4 h 14"/>
                  <a:gd name="T62" fmla="*/ 2 w 28"/>
                  <a:gd name="T63" fmla="*/ 4 h 14"/>
                  <a:gd name="T64" fmla="*/ 0 w 28"/>
                  <a:gd name="T65" fmla="*/ 6 h 14"/>
                  <a:gd name="T66" fmla="*/ 0 w 28"/>
                  <a:gd name="T67" fmla="*/ 6 h 14"/>
                  <a:gd name="T68" fmla="*/ 0 w 28"/>
                  <a:gd name="T69" fmla="*/ 6 h 14"/>
                  <a:gd name="T70" fmla="*/ 0 w 28"/>
                  <a:gd name="T71" fmla="*/ 8 h 14"/>
                  <a:gd name="T72" fmla="*/ 0 w 28"/>
                  <a:gd name="T73" fmla="*/ 8 h 14"/>
                  <a:gd name="T74" fmla="*/ 2 w 28"/>
                  <a:gd name="T75" fmla="*/ 8 h 14"/>
                  <a:gd name="T76" fmla="*/ 2 w 28"/>
                  <a:gd name="T77" fmla="*/ 10 h 14"/>
                  <a:gd name="T78" fmla="*/ 2 w 28"/>
                  <a:gd name="T79" fmla="*/ 10 h 14"/>
                  <a:gd name="T80" fmla="*/ 2 w 28"/>
                  <a:gd name="T81" fmla="*/ 10 h 14"/>
                  <a:gd name="T82" fmla="*/ 4 w 28"/>
                  <a:gd name="T83" fmla="*/ 12 h 14"/>
                  <a:gd name="T84" fmla="*/ 6 w 28"/>
                  <a:gd name="T85" fmla="*/ 12 h 14"/>
                  <a:gd name="T86" fmla="*/ 10 w 28"/>
                  <a:gd name="T87" fmla="*/ 12 h 14"/>
                  <a:gd name="T88" fmla="*/ 12 w 28"/>
                  <a:gd name="T89" fmla="*/ 14 h 14"/>
                  <a:gd name="T90" fmla="*/ 14 w 28"/>
                  <a:gd name="T9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 h="14">
                    <a:moveTo>
                      <a:pt x="14" y="14"/>
                    </a:moveTo>
                    <a:lnTo>
                      <a:pt x="14" y="14"/>
                    </a:lnTo>
                    <a:lnTo>
                      <a:pt x="18" y="14"/>
                    </a:lnTo>
                    <a:lnTo>
                      <a:pt x="20" y="12"/>
                    </a:lnTo>
                    <a:lnTo>
                      <a:pt x="22" y="12"/>
                    </a:lnTo>
                    <a:lnTo>
                      <a:pt x="24" y="12"/>
                    </a:lnTo>
                    <a:lnTo>
                      <a:pt x="26" y="10"/>
                    </a:lnTo>
                    <a:lnTo>
                      <a:pt x="28" y="10"/>
                    </a:lnTo>
                    <a:lnTo>
                      <a:pt x="28" y="10"/>
                    </a:lnTo>
                    <a:lnTo>
                      <a:pt x="28" y="8"/>
                    </a:lnTo>
                    <a:lnTo>
                      <a:pt x="28" y="8"/>
                    </a:lnTo>
                    <a:lnTo>
                      <a:pt x="28" y="8"/>
                    </a:lnTo>
                    <a:lnTo>
                      <a:pt x="28" y="6"/>
                    </a:lnTo>
                    <a:lnTo>
                      <a:pt x="28" y="6"/>
                    </a:lnTo>
                    <a:lnTo>
                      <a:pt x="28" y="6"/>
                    </a:lnTo>
                    <a:lnTo>
                      <a:pt x="28" y="4"/>
                    </a:lnTo>
                    <a:lnTo>
                      <a:pt x="28" y="4"/>
                    </a:lnTo>
                    <a:lnTo>
                      <a:pt x="28" y="4"/>
                    </a:lnTo>
                    <a:lnTo>
                      <a:pt x="26" y="2"/>
                    </a:lnTo>
                    <a:lnTo>
                      <a:pt x="24" y="2"/>
                    </a:lnTo>
                    <a:lnTo>
                      <a:pt x="22" y="2"/>
                    </a:lnTo>
                    <a:lnTo>
                      <a:pt x="20" y="0"/>
                    </a:lnTo>
                    <a:lnTo>
                      <a:pt x="18" y="0"/>
                    </a:lnTo>
                    <a:lnTo>
                      <a:pt x="14" y="0"/>
                    </a:lnTo>
                    <a:lnTo>
                      <a:pt x="12" y="0"/>
                    </a:lnTo>
                    <a:lnTo>
                      <a:pt x="10" y="0"/>
                    </a:lnTo>
                    <a:lnTo>
                      <a:pt x="6" y="2"/>
                    </a:lnTo>
                    <a:lnTo>
                      <a:pt x="4" y="2"/>
                    </a:lnTo>
                    <a:lnTo>
                      <a:pt x="2" y="2"/>
                    </a:lnTo>
                    <a:lnTo>
                      <a:pt x="2" y="4"/>
                    </a:lnTo>
                    <a:lnTo>
                      <a:pt x="2" y="4"/>
                    </a:lnTo>
                    <a:lnTo>
                      <a:pt x="2" y="4"/>
                    </a:lnTo>
                    <a:lnTo>
                      <a:pt x="0" y="6"/>
                    </a:lnTo>
                    <a:lnTo>
                      <a:pt x="0" y="6"/>
                    </a:lnTo>
                    <a:lnTo>
                      <a:pt x="0" y="6"/>
                    </a:lnTo>
                    <a:lnTo>
                      <a:pt x="0" y="8"/>
                    </a:lnTo>
                    <a:lnTo>
                      <a:pt x="0" y="8"/>
                    </a:lnTo>
                    <a:lnTo>
                      <a:pt x="2" y="8"/>
                    </a:lnTo>
                    <a:lnTo>
                      <a:pt x="2" y="10"/>
                    </a:lnTo>
                    <a:lnTo>
                      <a:pt x="2" y="10"/>
                    </a:lnTo>
                    <a:lnTo>
                      <a:pt x="2" y="10"/>
                    </a:lnTo>
                    <a:lnTo>
                      <a:pt x="4" y="12"/>
                    </a:lnTo>
                    <a:lnTo>
                      <a:pt x="6" y="12"/>
                    </a:lnTo>
                    <a:lnTo>
                      <a:pt x="10" y="12"/>
                    </a:lnTo>
                    <a:lnTo>
                      <a:pt x="12" y="14"/>
                    </a:lnTo>
                    <a:lnTo>
                      <a:pt x="14" y="1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5" name="Freeform 542">
                <a:extLst>
                  <a:ext uri="{FF2B5EF4-FFF2-40B4-BE49-F238E27FC236}">
                    <a16:creationId xmlns:a16="http://schemas.microsoft.com/office/drawing/2014/main" id="{543564D2-1F98-4355-B989-FAEA7055CA7B}"/>
                  </a:ext>
                </a:extLst>
              </p:cNvPr>
              <p:cNvSpPr>
                <a:spLocks/>
              </p:cNvSpPr>
              <p:nvPr/>
            </p:nvSpPr>
            <p:spPr bwMode="auto">
              <a:xfrm>
                <a:off x="1944978" y="2368717"/>
                <a:ext cx="146050" cy="88900"/>
              </a:xfrm>
              <a:custGeom>
                <a:avLst/>
                <a:gdLst>
                  <a:gd name="T0" fmla="*/ 88 w 92"/>
                  <a:gd name="T1" fmla="*/ 0 h 56"/>
                  <a:gd name="T2" fmla="*/ 84 w 92"/>
                  <a:gd name="T3" fmla="*/ 0 h 56"/>
                  <a:gd name="T4" fmla="*/ 82 w 92"/>
                  <a:gd name="T5" fmla="*/ 0 h 56"/>
                  <a:gd name="T6" fmla="*/ 80 w 92"/>
                  <a:gd name="T7" fmla="*/ 2 h 56"/>
                  <a:gd name="T8" fmla="*/ 72 w 92"/>
                  <a:gd name="T9" fmla="*/ 4 h 56"/>
                  <a:gd name="T10" fmla="*/ 66 w 92"/>
                  <a:gd name="T11" fmla="*/ 8 h 56"/>
                  <a:gd name="T12" fmla="*/ 60 w 92"/>
                  <a:gd name="T13" fmla="*/ 10 h 56"/>
                  <a:gd name="T14" fmla="*/ 48 w 92"/>
                  <a:gd name="T15" fmla="*/ 16 h 56"/>
                  <a:gd name="T16" fmla="*/ 34 w 92"/>
                  <a:gd name="T17" fmla="*/ 22 h 56"/>
                  <a:gd name="T18" fmla="*/ 30 w 92"/>
                  <a:gd name="T19" fmla="*/ 24 h 56"/>
                  <a:gd name="T20" fmla="*/ 24 w 92"/>
                  <a:gd name="T21" fmla="*/ 26 h 56"/>
                  <a:gd name="T22" fmla="*/ 12 w 92"/>
                  <a:gd name="T23" fmla="*/ 26 h 56"/>
                  <a:gd name="T24" fmla="*/ 8 w 92"/>
                  <a:gd name="T25" fmla="*/ 28 h 56"/>
                  <a:gd name="T26" fmla="*/ 6 w 92"/>
                  <a:gd name="T27" fmla="*/ 30 h 56"/>
                  <a:gd name="T28" fmla="*/ 4 w 92"/>
                  <a:gd name="T29" fmla="*/ 32 h 56"/>
                  <a:gd name="T30" fmla="*/ 2 w 92"/>
                  <a:gd name="T31" fmla="*/ 32 h 56"/>
                  <a:gd name="T32" fmla="*/ 0 w 92"/>
                  <a:gd name="T33" fmla="*/ 38 h 56"/>
                  <a:gd name="T34" fmla="*/ 0 w 92"/>
                  <a:gd name="T35" fmla="*/ 42 h 56"/>
                  <a:gd name="T36" fmla="*/ 0 w 92"/>
                  <a:gd name="T37" fmla="*/ 46 h 56"/>
                  <a:gd name="T38" fmla="*/ 0 w 92"/>
                  <a:gd name="T39" fmla="*/ 48 h 56"/>
                  <a:gd name="T40" fmla="*/ 2 w 92"/>
                  <a:gd name="T41" fmla="*/ 50 h 56"/>
                  <a:gd name="T42" fmla="*/ 4 w 92"/>
                  <a:gd name="T43" fmla="*/ 52 h 56"/>
                  <a:gd name="T44" fmla="*/ 8 w 92"/>
                  <a:gd name="T45" fmla="*/ 54 h 56"/>
                  <a:gd name="T46" fmla="*/ 12 w 92"/>
                  <a:gd name="T47" fmla="*/ 54 h 56"/>
                  <a:gd name="T48" fmla="*/ 18 w 92"/>
                  <a:gd name="T49" fmla="*/ 56 h 56"/>
                  <a:gd name="T50" fmla="*/ 24 w 92"/>
                  <a:gd name="T51" fmla="*/ 56 h 56"/>
                  <a:gd name="T52" fmla="*/ 30 w 92"/>
                  <a:gd name="T53" fmla="*/ 56 h 56"/>
                  <a:gd name="T54" fmla="*/ 34 w 92"/>
                  <a:gd name="T55" fmla="*/ 54 h 56"/>
                  <a:gd name="T56" fmla="*/ 38 w 92"/>
                  <a:gd name="T57" fmla="*/ 54 h 56"/>
                  <a:gd name="T58" fmla="*/ 42 w 92"/>
                  <a:gd name="T59" fmla="*/ 52 h 56"/>
                  <a:gd name="T60" fmla="*/ 46 w 92"/>
                  <a:gd name="T61" fmla="*/ 48 h 56"/>
                  <a:gd name="T62" fmla="*/ 48 w 92"/>
                  <a:gd name="T63" fmla="*/ 46 h 56"/>
                  <a:gd name="T64" fmla="*/ 54 w 92"/>
                  <a:gd name="T65" fmla="*/ 38 h 56"/>
                  <a:gd name="T66" fmla="*/ 60 w 92"/>
                  <a:gd name="T67" fmla="*/ 32 h 56"/>
                  <a:gd name="T68" fmla="*/ 62 w 92"/>
                  <a:gd name="T69" fmla="*/ 30 h 56"/>
                  <a:gd name="T70" fmla="*/ 66 w 92"/>
                  <a:gd name="T71" fmla="*/ 28 h 56"/>
                  <a:gd name="T72" fmla="*/ 68 w 92"/>
                  <a:gd name="T73" fmla="*/ 28 h 56"/>
                  <a:gd name="T74" fmla="*/ 72 w 92"/>
                  <a:gd name="T75" fmla="*/ 28 h 56"/>
                  <a:gd name="T76" fmla="*/ 80 w 92"/>
                  <a:gd name="T77" fmla="*/ 30 h 56"/>
                  <a:gd name="T78" fmla="*/ 82 w 92"/>
                  <a:gd name="T79" fmla="*/ 30 h 56"/>
                  <a:gd name="T80" fmla="*/ 86 w 92"/>
                  <a:gd name="T81" fmla="*/ 30 h 56"/>
                  <a:gd name="T82" fmla="*/ 88 w 92"/>
                  <a:gd name="T83" fmla="*/ 28 h 56"/>
                  <a:gd name="T84" fmla="*/ 88 w 92"/>
                  <a:gd name="T85" fmla="*/ 26 h 56"/>
                  <a:gd name="T86" fmla="*/ 90 w 92"/>
                  <a:gd name="T87" fmla="*/ 22 h 56"/>
                  <a:gd name="T88" fmla="*/ 90 w 92"/>
                  <a:gd name="T89" fmla="*/ 18 h 56"/>
                  <a:gd name="T90" fmla="*/ 92 w 92"/>
                  <a:gd name="T91" fmla="*/ 14 h 56"/>
                  <a:gd name="T92" fmla="*/ 90 w 92"/>
                  <a:gd name="T93" fmla="*/ 10 h 56"/>
                  <a:gd name="T94" fmla="*/ 90 w 92"/>
                  <a:gd name="T95" fmla="*/ 6 h 56"/>
                  <a:gd name="T96" fmla="*/ 88 w 92"/>
                  <a:gd name="T97" fmla="*/ 4 h 56"/>
                  <a:gd name="T98" fmla="*/ 88 w 92"/>
                  <a:gd name="T9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2" h="56">
                    <a:moveTo>
                      <a:pt x="88" y="0"/>
                    </a:moveTo>
                    <a:lnTo>
                      <a:pt x="88" y="0"/>
                    </a:lnTo>
                    <a:lnTo>
                      <a:pt x="86" y="0"/>
                    </a:lnTo>
                    <a:lnTo>
                      <a:pt x="84" y="0"/>
                    </a:lnTo>
                    <a:lnTo>
                      <a:pt x="84" y="0"/>
                    </a:lnTo>
                    <a:lnTo>
                      <a:pt x="82" y="0"/>
                    </a:lnTo>
                    <a:lnTo>
                      <a:pt x="80" y="0"/>
                    </a:lnTo>
                    <a:lnTo>
                      <a:pt x="80" y="2"/>
                    </a:lnTo>
                    <a:lnTo>
                      <a:pt x="76" y="2"/>
                    </a:lnTo>
                    <a:lnTo>
                      <a:pt x="72" y="4"/>
                    </a:lnTo>
                    <a:lnTo>
                      <a:pt x="70" y="6"/>
                    </a:lnTo>
                    <a:lnTo>
                      <a:pt x="66" y="8"/>
                    </a:lnTo>
                    <a:lnTo>
                      <a:pt x="64" y="8"/>
                    </a:lnTo>
                    <a:lnTo>
                      <a:pt x="60" y="10"/>
                    </a:lnTo>
                    <a:lnTo>
                      <a:pt x="56" y="12"/>
                    </a:lnTo>
                    <a:lnTo>
                      <a:pt x="48" y="16"/>
                    </a:lnTo>
                    <a:lnTo>
                      <a:pt x="38" y="20"/>
                    </a:lnTo>
                    <a:lnTo>
                      <a:pt x="34" y="22"/>
                    </a:lnTo>
                    <a:lnTo>
                      <a:pt x="32" y="24"/>
                    </a:lnTo>
                    <a:lnTo>
                      <a:pt x="30" y="24"/>
                    </a:lnTo>
                    <a:lnTo>
                      <a:pt x="28" y="24"/>
                    </a:lnTo>
                    <a:lnTo>
                      <a:pt x="24" y="26"/>
                    </a:lnTo>
                    <a:lnTo>
                      <a:pt x="16" y="26"/>
                    </a:lnTo>
                    <a:lnTo>
                      <a:pt x="12" y="26"/>
                    </a:lnTo>
                    <a:lnTo>
                      <a:pt x="10" y="28"/>
                    </a:lnTo>
                    <a:lnTo>
                      <a:pt x="8" y="28"/>
                    </a:lnTo>
                    <a:lnTo>
                      <a:pt x="6" y="28"/>
                    </a:lnTo>
                    <a:lnTo>
                      <a:pt x="6" y="30"/>
                    </a:lnTo>
                    <a:lnTo>
                      <a:pt x="4" y="30"/>
                    </a:lnTo>
                    <a:lnTo>
                      <a:pt x="4" y="32"/>
                    </a:lnTo>
                    <a:lnTo>
                      <a:pt x="2" y="32"/>
                    </a:lnTo>
                    <a:lnTo>
                      <a:pt x="2" y="32"/>
                    </a:lnTo>
                    <a:lnTo>
                      <a:pt x="2" y="34"/>
                    </a:lnTo>
                    <a:lnTo>
                      <a:pt x="0" y="38"/>
                    </a:lnTo>
                    <a:lnTo>
                      <a:pt x="0" y="40"/>
                    </a:lnTo>
                    <a:lnTo>
                      <a:pt x="0" y="42"/>
                    </a:lnTo>
                    <a:lnTo>
                      <a:pt x="0" y="44"/>
                    </a:lnTo>
                    <a:lnTo>
                      <a:pt x="0" y="46"/>
                    </a:lnTo>
                    <a:lnTo>
                      <a:pt x="0" y="48"/>
                    </a:lnTo>
                    <a:lnTo>
                      <a:pt x="0" y="48"/>
                    </a:lnTo>
                    <a:lnTo>
                      <a:pt x="0" y="48"/>
                    </a:lnTo>
                    <a:lnTo>
                      <a:pt x="2" y="50"/>
                    </a:lnTo>
                    <a:lnTo>
                      <a:pt x="2" y="50"/>
                    </a:lnTo>
                    <a:lnTo>
                      <a:pt x="4" y="52"/>
                    </a:lnTo>
                    <a:lnTo>
                      <a:pt x="6" y="52"/>
                    </a:lnTo>
                    <a:lnTo>
                      <a:pt x="8" y="54"/>
                    </a:lnTo>
                    <a:lnTo>
                      <a:pt x="10" y="54"/>
                    </a:lnTo>
                    <a:lnTo>
                      <a:pt x="12" y="54"/>
                    </a:lnTo>
                    <a:lnTo>
                      <a:pt x="16" y="54"/>
                    </a:lnTo>
                    <a:lnTo>
                      <a:pt x="18" y="56"/>
                    </a:lnTo>
                    <a:lnTo>
                      <a:pt x="22" y="56"/>
                    </a:lnTo>
                    <a:lnTo>
                      <a:pt x="24" y="56"/>
                    </a:lnTo>
                    <a:lnTo>
                      <a:pt x="28" y="56"/>
                    </a:lnTo>
                    <a:lnTo>
                      <a:pt x="30" y="56"/>
                    </a:lnTo>
                    <a:lnTo>
                      <a:pt x="32" y="54"/>
                    </a:lnTo>
                    <a:lnTo>
                      <a:pt x="34" y="54"/>
                    </a:lnTo>
                    <a:lnTo>
                      <a:pt x="36" y="54"/>
                    </a:lnTo>
                    <a:lnTo>
                      <a:pt x="38" y="54"/>
                    </a:lnTo>
                    <a:lnTo>
                      <a:pt x="40" y="52"/>
                    </a:lnTo>
                    <a:lnTo>
                      <a:pt x="42" y="52"/>
                    </a:lnTo>
                    <a:lnTo>
                      <a:pt x="44" y="50"/>
                    </a:lnTo>
                    <a:lnTo>
                      <a:pt x="46" y="48"/>
                    </a:lnTo>
                    <a:lnTo>
                      <a:pt x="46" y="48"/>
                    </a:lnTo>
                    <a:lnTo>
                      <a:pt x="48" y="46"/>
                    </a:lnTo>
                    <a:lnTo>
                      <a:pt x="52" y="42"/>
                    </a:lnTo>
                    <a:lnTo>
                      <a:pt x="54" y="38"/>
                    </a:lnTo>
                    <a:lnTo>
                      <a:pt x="58" y="34"/>
                    </a:lnTo>
                    <a:lnTo>
                      <a:pt x="60" y="32"/>
                    </a:lnTo>
                    <a:lnTo>
                      <a:pt x="60" y="30"/>
                    </a:lnTo>
                    <a:lnTo>
                      <a:pt x="62" y="30"/>
                    </a:lnTo>
                    <a:lnTo>
                      <a:pt x="64" y="28"/>
                    </a:lnTo>
                    <a:lnTo>
                      <a:pt x="66" y="28"/>
                    </a:lnTo>
                    <a:lnTo>
                      <a:pt x="66" y="28"/>
                    </a:lnTo>
                    <a:lnTo>
                      <a:pt x="68" y="28"/>
                    </a:lnTo>
                    <a:lnTo>
                      <a:pt x="70" y="28"/>
                    </a:lnTo>
                    <a:lnTo>
                      <a:pt x="72" y="28"/>
                    </a:lnTo>
                    <a:lnTo>
                      <a:pt x="76" y="30"/>
                    </a:lnTo>
                    <a:lnTo>
                      <a:pt x="80" y="30"/>
                    </a:lnTo>
                    <a:lnTo>
                      <a:pt x="82" y="30"/>
                    </a:lnTo>
                    <a:lnTo>
                      <a:pt x="82" y="30"/>
                    </a:lnTo>
                    <a:lnTo>
                      <a:pt x="84" y="30"/>
                    </a:lnTo>
                    <a:lnTo>
                      <a:pt x="86" y="30"/>
                    </a:lnTo>
                    <a:lnTo>
                      <a:pt x="86" y="30"/>
                    </a:lnTo>
                    <a:lnTo>
                      <a:pt x="88" y="28"/>
                    </a:lnTo>
                    <a:lnTo>
                      <a:pt x="88" y="28"/>
                    </a:lnTo>
                    <a:lnTo>
                      <a:pt x="88" y="26"/>
                    </a:lnTo>
                    <a:lnTo>
                      <a:pt x="90" y="24"/>
                    </a:lnTo>
                    <a:lnTo>
                      <a:pt x="90" y="22"/>
                    </a:lnTo>
                    <a:lnTo>
                      <a:pt x="90" y="20"/>
                    </a:lnTo>
                    <a:lnTo>
                      <a:pt x="90" y="18"/>
                    </a:lnTo>
                    <a:lnTo>
                      <a:pt x="90" y="16"/>
                    </a:lnTo>
                    <a:lnTo>
                      <a:pt x="92" y="14"/>
                    </a:lnTo>
                    <a:lnTo>
                      <a:pt x="92" y="12"/>
                    </a:lnTo>
                    <a:lnTo>
                      <a:pt x="90" y="10"/>
                    </a:lnTo>
                    <a:lnTo>
                      <a:pt x="90" y="8"/>
                    </a:lnTo>
                    <a:lnTo>
                      <a:pt x="90" y="6"/>
                    </a:lnTo>
                    <a:lnTo>
                      <a:pt x="90" y="4"/>
                    </a:lnTo>
                    <a:lnTo>
                      <a:pt x="88" y="4"/>
                    </a:lnTo>
                    <a:lnTo>
                      <a:pt x="88" y="2"/>
                    </a:lnTo>
                    <a:lnTo>
                      <a:pt x="88"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6" name="Freeform 544">
                <a:extLst>
                  <a:ext uri="{FF2B5EF4-FFF2-40B4-BE49-F238E27FC236}">
                    <a16:creationId xmlns:a16="http://schemas.microsoft.com/office/drawing/2014/main" id="{03EC259C-2EB8-4D41-AFD6-D8D24359315A}"/>
                  </a:ext>
                </a:extLst>
              </p:cNvPr>
              <p:cNvSpPr>
                <a:spLocks/>
              </p:cNvSpPr>
              <p:nvPr/>
            </p:nvSpPr>
            <p:spPr bwMode="auto">
              <a:xfrm>
                <a:off x="2030703" y="2448092"/>
                <a:ext cx="22225" cy="41275"/>
              </a:xfrm>
              <a:custGeom>
                <a:avLst/>
                <a:gdLst>
                  <a:gd name="T0" fmla="*/ 8 w 14"/>
                  <a:gd name="T1" fmla="*/ 26 h 26"/>
                  <a:gd name="T2" fmla="*/ 8 w 14"/>
                  <a:gd name="T3" fmla="*/ 26 h 26"/>
                  <a:gd name="T4" fmla="*/ 6 w 14"/>
                  <a:gd name="T5" fmla="*/ 26 h 26"/>
                  <a:gd name="T6" fmla="*/ 6 w 14"/>
                  <a:gd name="T7" fmla="*/ 26 h 26"/>
                  <a:gd name="T8" fmla="*/ 6 w 14"/>
                  <a:gd name="T9" fmla="*/ 24 h 26"/>
                  <a:gd name="T10" fmla="*/ 4 w 14"/>
                  <a:gd name="T11" fmla="*/ 24 h 26"/>
                  <a:gd name="T12" fmla="*/ 4 w 14"/>
                  <a:gd name="T13" fmla="*/ 24 h 26"/>
                  <a:gd name="T14" fmla="*/ 4 w 14"/>
                  <a:gd name="T15" fmla="*/ 24 h 26"/>
                  <a:gd name="T16" fmla="*/ 2 w 14"/>
                  <a:gd name="T17" fmla="*/ 22 h 26"/>
                  <a:gd name="T18" fmla="*/ 2 w 14"/>
                  <a:gd name="T19" fmla="*/ 20 h 26"/>
                  <a:gd name="T20" fmla="*/ 2 w 14"/>
                  <a:gd name="T21" fmla="*/ 18 h 26"/>
                  <a:gd name="T22" fmla="*/ 0 w 14"/>
                  <a:gd name="T23" fmla="*/ 16 h 26"/>
                  <a:gd name="T24" fmla="*/ 0 w 14"/>
                  <a:gd name="T25" fmla="*/ 12 h 26"/>
                  <a:gd name="T26" fmla="*/ 0 w 14"/>
                  <a:gd name="T27" fmla="*/ 10 h 26"/>
                  <a:gd name="T28" fmla="*/ 2 w 14"/>
                  <a:gd name="T29" fmla="*/ 8 h 26"/>
                  <a:gd name="T30" fmla="*/ 2 w 14"/>
                  <a:gd name="T31" fmla="*/ 6 h 26"/>
                  <a:gd name="T32" fmla="*/ 2 w 14"/>
                  <a:gd name="T33" fmla="*/ 4 h 26"/>
                  <a:gd name="T34" fmla="*/ 4 w 14"/>
                  <a:gd name="T35" fmla="*/ 2 h 26"/>
                  <a:gd name="T36" fmla="*/ 4 w 14"/>
                  <a:gd name="T37" fmla="*/ 2 h 26"/>
                  <a:gd name="T38" fmla="*/ 4 w 14"/>
                  <a:gd name="T39" fmla="*/ 2 h 26"/>
                  <a:gd name="T40" fmla="*/ 6 w 14"/>
                  <a:gd name="T41" fmla="*/ 0 h 26"/>
                  <a:gd name="T42" fmla="*/ 6 w 14"/>
                  <a:gd name="T43" fmla="*/ 0 h 26"/>
                  <a:gd name="T44" fmla="*/ 6 w 14"/>
                  <a:gd name="T45" fmla="*/ 0 h 26"/>
                  <a:gd name="T46" fmla="*/ 8 w 14"/>
                  <a:gd name="T47" fmla="*/ 0 h 26"/>
                  <a:gd name="T48" fmla="*/ 8 w 14"/>
                  <a:gd name="T49" fmla="*/ 0 h 26"/>
                  <a:gd name="T50" fmla="*/ 8 w 14"/>
                  <a:gd name="T51" fmla="*/ 0 h 26"/>
                  <a:gd name="T52" fmla="*/ 10 w 14"/>
                  <a:gd name="T53" fmla="*/ 0 h 26"/>
                  <a:gd name="T54" fmla="*/ 10 w 14"/>
                  <a:gd name="T55" fmla="*/ 2 h 26"/>
                  <a:gd name="T56" fmla="*/ 10 w 14"/>
                  <a:gd name="T57" fmla="*/ 2 h 26"/>
                  <a:gd name="T58" fmla="*/ 12 w 14"/>
                  <a:gd name="T59" fmla="*/ 2 h 26"/>
                  <a:gd name="T60" fmla="*/ 12 w 14"/>
                  <a:gd name="T61" fmla="*/ 4 h 26"/>
                  <a:gd name="T62" fmla="*/ 12 w 14"/>
                  <a:gd name="T63" fmla="*/ 6 h 26"/>
                  <a:gd name="T64" fmla="*/ 14 w 14"/>
                  <a:gd name="T65" fmla="*/ 8 h 26"/>
                  <a:gd name="T66" fmla="*/ 14 w 14"/>
                  <a:gd name="T67" fmla="*/ 10 h 26"/>
                  <a:gd name="T68" fmla="*/ 14 w 14"/>
                  <a:gd name="T69" fmla="*/ 12 h 26"/>
                  <a:gd name="T70" fmla="*/ 14 w 14"/>
                  <a:gd name="T71" fmla="*/ 16 h 26"/>
                  <a:gd name="T72" fmla="*/ 14 w 14"/>
                  <a:gd name="T73" fmla="*/ 18 h 26"/>
                  <a:gd name="T74" fmla="*/ 12 w 14"/>
                  <a:gd name="T75" fmla="*/ 20 h 26"/>
                  <a:gd name="T76" fmla="*/ 12 w 14"/>
                  <a:gd name="T77" fmla="*/ 22 h 26"/>
                  <a:gd name="T78" fmla="*/ 12 w 14"/>
                  <a:gd name="T79" fmla="*/ 24 h 26"/>
                  <a:gd name="T80" fmla="*/ 10 w 14"/>
                  <a:gd name="T81" fmla="*/ 24 h 26"/>
                  <a:gd name="T82" fmla="*/ 10 w 14"/>
                  <a:gd name="T83" fmla="*/ 24 h 26"/>
                  <a:gd name="T84" fmla="*/ 10 w 14"/>
                  <a:gd name="T85" fmla="*/ 24 h 26"/>
                  <a:gd name="T86" fmla="*/ 8 w 14"/>
                  <a:gd name="T87" fmla="*/ 26 h 26"/>
                  <a:gd name="T88" fmla="*/ 8 w 14"/>
                  <a:gd name="T89" fmla="*/ 26 h 26"/>
                  <a:gd name="T90" fmla="*/ 8 w 14"/>
                  <a:gd name="T9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 h="26">
                    <a:moveTo>
                      <a:pt x="8" y="26"/>
                    </a:moveTo>
                    <a:lnTo>
                      <a:pt x="8" y="26"/>
                    </a:lnTo>
                    <a:lnTo>
                      <a:pt x="6" y="26"/>
                    </a:lnTo>
                    <a:lnTo>
                      <a:pt x="6" y="26"/>
                    </a:lnTo>
                    <a:lnTo>
                      <a:pt x="6" y="24"/>
                    </a:lnTo>
                    <a:lnTo>
                      <a:pt x="4" y="24"/>
                    </a:lnTo>
                    <a:lnTo>
                      <a:pt x="4" y="24"/>
                    </a:lnTo>
                    <a:lnTo>
                      <a:pt x="4" y="24"/>
                    </a:lnTo>
                    <a:lnTo>
                      <a:pt x="2" y="22"/>
                    </a:lnTo>
                    <a:lnTo>
                      <a:pt x="2" y="20"/>
                    </a:lnTo>
                    <a:lnTo>
                      <a:pt x="2" y="18"/>
                    </a:lnTo>
                    <a:lnTo>
                      <a:pt x="0" y="16"/>
                    </a:lnTo>
                    <a:lnTo>
                      <a:pt x="0" y="12"/>
                    </a:lnTo>
                    <a:lnTo>
                      <a:pt x="0" y="10"/>
                    </a:lnTo>
                    <a:lnTo>
                      <a:pt x="2" y="8"/>
                    </a:lnTo>
                    <a:lnTo>
                      <a:pt x="2" y="6"/>
                    </a:lnTo>
                    <a:lnTo>
                      <a:pt x="2" y="4"/>
                    </a:lnTo>
                    <a:lnTo>
                      <a:pt x="4" y="2"/>
                    </a:lnTo>
                    <a:lnTo>
                      <a:pt x="4" y="2"/>
                    </a:lnTo>
                    <a:lnTo>
                      <a:pt x="4" y="2"/>
                    </a:lnTo>
                    <a:lnTo>
                      <a:pt x="6" y="0"/>
                    </a:lnTo>
                    <a:lnTo>
                      <a:pt x="6" y="0"/>
                    </a:lnTo>
                    <a:lnTo>
                      <a:pt x="6" y="0"/>
                    </a:lnTo>
                    <a:lnTo>
                      <a:pt x="8" y="0"/>
                    </a:lnTo>
                    <a:lnTo>
                      <a:pt x="8" y="0"/>
                    </a:lnTo>
                    <a:lnTo>
                      <a:pt x="8" y="0"/>
                    </a:lnTo>
                    <a:lnTo>
                      <a:pt x="10" y="0"/>
                    </a:lnTo>
                    <a:lnTo>
                      <a:pt x="10" y="2"/>
                    </a:lnTo>
                    <a:lnTo>
                      <a:pt x="10" y="2"/>
                    </a:lnTo>
                    <a:lnTo>
                      <a:pt x="12" y="2"/>
                    </a:lnTo>
                    <a:lnTo>
                      <a:pt x="12" y="4"/>
                    </a:lnTo>
                    <a:lnTo>
                      <a:pt x="12" y="6"/>
                    </a:lnTo>
                    <a:lnTo>
                      <a:pt x="14" y="8"/>
                    </a:lnTo>
                    <a:lnTo>
                      <a:pt x="14" y="10"/>
                    </a:lnTo>
                    <a:lnTo>
                      <a:pt x="14" y="12"/>
                    </a:lnTo>
                    <a:lnTo>
                      <a:pt x="14" y="16"/>
                    </a:lnTo>
                    <a:lnTo>
                      <a:pt x="14" y="18"/>
                    </a:lnTo>
                    <a:lnTo>
                      <a:pt x="12" y="20"/>
                    </a:lnTo>
                    <a:lnTo>
                      <a:pt x="12" y="22"/>
                    </a:lnTo>
                    <a:lnTo>
                      <a:pt x="12" y="24"/>
                    </a:lnTo>
                    <a:lnTo>
                      <a:pt x="10" y="24"/>
                    </a:lnTo>
                    <a:lnTo>
                      <a:pt x="10" y="24"/>
                    </a:lnTo>
                    <a:lnTo>
                      <a:pt x="10" y="24"/>
                    </a:lnTo>
                    <a:lnTo>
                      <a:pt x="8" y="26"/>
                    </a:lnTo>
                    <a:lnTo>
                      <a:pt x="8" y="26"/>
                    </a:lnTo>
                    <a:lnTo>
                      <a:pt x="8" y="2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7" name="Freeform 546">
                <a:extLst>
                  <a:ext uri="{FF2B5EF4-FFF2-40B4-BE49-F238E27FC236}">
                    <a16:creationId xmlns:a16="http://schemas.microsoft.com/office/drawing/2014/main" id="{90492980-0D65-40CF-AA3B-5D599CCDB23D}"/>
                  </a:ext>
                </a:extLst>
              </p:cNvPr>
              <p:cNvSpPr>
                <a:spLocks/>
              </p:cNvSpPr>
              <p:nvPr/>
            </p:nvSpPr>
            <p:spPr bwMode="auto">
              <a:xfrm>
                <a:off x="2075153" y="2406817"/>
                <a:ext cx="212725" cy="104775"/>
              </a:xfrm>
              <a:custGeom>
                <a:avLst/>
                <a:gdLst>
                  <a:gd name="T0" fmla="*/ 46 w 134"/>
                  <a:gd name="T1" fmla="*/ 22 h 66"/>
                  <a:gd name="T2" fmla="*/ 42 w 134"/>
                  <a:gd name="T3" fmla="*/ 26 h 66"/>
                  <a:gd name="T4" fmla="*/ 38 w 134"/>
                  <a:gd name="T5" fmla="*/ 32 h 66"/>
                  <a:gd name="T6" fmla="*/ 34 w 134"/>
                  <a:gd name="T7" fmla="*/ 34 h 66"/>
                  <a:gd name="T8" fmla="*/ 30 w 134"/>
                  <a:gd name="T9" fmla="*/ 36 h 66"/>
                  <a:gd name="T10" fmla="*/ 20 w 134"/>
                  <a:gd name="T11" fmla="*/ 34 h 66"/>
                  <a:gd name="T12" fmla="*/ 12 w 134"/>
                  <a:gd name="T13" fmla="*/ 34 h 66"/>
                  <a:gd name="T14" fmla="*/ 8 w 134"/>
                  <a:gd name="T15" fmla="*/ 34 h 66"/>
                  <a:gd name="T16" fmla="*/ 6 w 134"/>
                  <a:gd name="T17" fmla="*/ 36 h 66"/>
                  <a:gd name="T18" fmla="*/ 4 w 134"/>
                  <a:gd name="T19" fmla="*/ 40 h 66"/>
                  <a:gd name="T20" fmla="*/ 2 w 134"/>
                  <a:gd name="T21" fmla="*/ 50 h 66"/>
                  <a:gd name="T22" fmla="*/ 0 w 134"/>
                  <a:gd name="T23" fmla="*/ 54 h 66"/>
                  <a:gd name="T24" fmla="*/ 2 w 134"/>
                  <a:gd name="T25" fmla="*/ 58 h 66"/>
                  <a:gd name="T26" fmla="*/ 6 w 134"/>
                  <a:gd name="T27" fmla="*/ 60 h 66"/>
                  <a:gd name="T28" fmla="*/ 12 w 134"/>
                  <a:gd name="T29" fmla="*/ 62 h 66"/>
                  <a:gd name="T30" fmla="*/ 20 w 134"/>
                  <a:gd name="T31" fmla="*/ 64 h 66"/>
                  <a:gd name="T32" fmla="*/ 32 w 134"/>
                  <a:gd name="T33" fmla="*/ 66 h 66"/>
                  <a:gd name="T34" fmla="*/ 42 w 134"/>
                  <a:gd name="T35" fmla="*/ 64 h 66"/>
                  <a:gd name="T36" fmla="*/ 58 w 134"/>
                  <a:gd name="T37" fmla="*/ 60 h 66"/>
                  <a:gd name="T38" fmla="*/ 68 w 134"/>
                  <a:gd name="T39" fmla="*/ 56 h 66"/>
                  <a:gd name="T40" fmla="*/ 80 w 134"/>
                  <a:gd name="T41" fmla="*/ 52 h 66"/>
                  <a:gd name="T42" fmla="*/ 98 w 134"/>
                  <a:gd name="T43" fmla="*/ 48 h 66"/>
                  <a:gd name="T44" fmla="*/ 108 w 134"/>
                  <a:gd name="T45" fmla="*/ 48 h 66"/>
                  <a:gd name="T46" fmla="*/ 112 w 134"/>
                  <a:gd name="T47" fmla="*/ 48 h 66"/>
                  <a:gd name="T48" fmla="*/ 122 w 134"/>
                  <a:gd name="T49" fmla="*/ 54 h 66"/>
                  <a:gd name="T50" fmla="*/ 128 w 134"/>
                  <a:gd name="T51" fmla="*/ 56 h 66"/>
                  <a:gd name="T52" fmla="*/ 132 w 134"/>
                  <a:gd name="T53" fmla="*/ 56 h 66"/>
                  <a:gd name="T54" fmla="*/ 134 w 134"/>
                  <a:gd name="T55" fmla="*/ 56 h 66"/>
                  <a:gd name="T56" fmla="*/ 134 w 134"/>
                  <a:gd name="T57" fmla="*/ 54 h 66"/>
                  <a:gd name="T58" fmla="*/ 134 w 134"/>
                  <a:gd name="T59" fmla="*/ 48 h 66"/>
                  <a:gd name="T60" fmla="*/ 132 w 134"/>
                  <a:gd name="T61" fmla="*/ 42 h 66"/>
                  <a:gd name="T62" fmla="*/ 128 w 134"/>
                  <a:gd name="T63" fmla="*/ 36 h 66"/>
                  <a:gd name="T64" fmla="*/ 122 w 134"/>
                  <a:gd name="T65" fmla="*/ 28 h 66"/>
                  <a:gd name="T66" fmla="*/ 118 w 134"/>
                  <a:gd name="T67" fmla="*/ 26 h 66"/>
                  <a:gd name="T68" fmla="*/ 110 w 134"/>
                  <a:gd name="T69" fmla="*/ 24 h 66"/>
                  <a:gd name="T70" fmla="*/ 98 w 134"/>
                  <a:gd name="T71" fmla="*/ 22 h 66"/>
                  <a:gd name="T72" fmla="*/ 94 w 134"/>
                  <a:gd name="T73" fmla="*/ 20 h 66"/>
                  <a:gd name="T74" fmla="*/ 92 w 134"/>
                  <a:gd name="T75" fmla="*/ 18 h 66"/>
                  <a:gd name="T76" fmla="*/ 90 w 134"/>
                  <a:gd name="T77" fmla="*/ 14 h 66"/>
                  <a:gd name="T78" fmla="*/ 90 w 134"/>
                  <a:gd name="T79" fmla="*/ 6 h 66"/>
                  <a:gd name="T80" fmla="*/ 88 w 134"/>
                  <a:gd name="T81" fmla="*/ 2 h 66"/>
                  <a:gd name="T82" fmla="*/ 86 w 134"/>
                  <a:gd name="T83" fmla="*/ 2 h 66"/>
                  <a:gd name="T84" fmla="*/ 82 w 134"/>
                  <a:gd name="T85" fmla="*/ 0 h 66"/>
                  <a:gd name="T86" fmla="*/ 74 w 134"/>
                  <a:gd name="T87" fmla="*/ 2 h 66"/>
                  <a:gd name="T88" fmla="*/ 68 w 134"/>
                  <a:gd name="T89" fmla="*/ 4 h 66"/>
                  <a:gd name="T90" fmla="*/ 64 w 134"/>
                  <a:gd name="T91" fmla="*/ 6 h 66"/>
                  <a:gd name="T92" fmla="*/ 64 w 134"/>
                  <a:gd name="T93" fmla="*/ 8 h 66"/>
                  <a:gd name="T94" fmla="*/ 64 w 134"/>
                  <a:gd name="T95" fmla="*/ 14 h 66"/>
                  <a:gd name="T96" fmla="*/ 64 w 134"/>
                  <a:gd name="T97" fmla="*/ 18 h 66"/>
                  <a:gd name="T98" fmla="*/ 62 w 134"/>
                  <a:gd name="T99" fmla="*/ 20 h 66"/>
                  <a:gd name="T100" fmla="*/ 60 w 134"/>
                  <a:gd name="T101" fmla="*/ 22 h 66"/>
                  <a:gd name="T102" fmla="*/ 50 w 134"/>
                  <a:gd name="T103" fmla="*/ 22 h 66"/>
                  <a:gd name="T104" fmla="*/ 48 w 134"/>
                  <a:gd name="T105" fmla="*/ 2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4" h="66">
                    <a:moveTo>
                      <a:pt x="48" y="22"/>
                    </a:moveTo>
                    <a:lnTo>
                      <a:pt x="48" y="22"/>
                    </a:lnTo>
                    <a:lnTo>
                      <a:pt x="46" y="22"/>
                    </a:lnTo>
                    <a:lnTo>
                      <a:pt x="46" y="24"/>
                    </a:lnTo>
                    <a:lnTo>
                      <a:pt x="44" y="24"/>
                    </a:lnTo>
                    <a:lnTo>
                      <a:pt x="42" y="26"/>
                    </a:lnTo>
                    <a:lnTo>
                      <a:pt x="42" y="28"/>
                    </a:lnTo>
                    <a:lnTo>
                      <a:pt x="40" y="30"/>
                    </a:lnTo>
                    <a:lnTo>
                      <a:pt x="38" y="32"/>
                    </a:lnTo>
                    <a:lnTo>
                      <a:pt x="36" y="34"/>
                    </a:lnTo>
                    <a:lnTo>
                      <a:pt x="36" y="34"/>
                    </a:lnTo>
                    <a:lnTo>
                      <a:pt x="34" y="34"/>
                    </a:lnTo>
                    <a:lnTo>
                      <a:pt x="34" y="36"/>
                    </a:lnTo>
                    <a:lnTo>
                      <a:pt x="32" y="36"/>
                    </a:lnTo>
                    <a:lnTo>
                      <a:pt x="30" y="36"/>
                    </a:lnTo>
                    <a:lnTo>
                      <a:pt x="28" y="36"/>
                    </a:lnTo>
                    <a:lnTo>
                      <a:pt x="24" y="34"/>
                    </a:lnTo>
                    <a:lnTo>
                      <a:pt x="20" y="34"/>
                    </a:lnTo>
                    <a:lnTo>
                      <a:pt x="16" y="34"/>
                    </a:lnTo>
                    <a:lnTo>
                      <a:pt x="14" y="34"/>
                    </a:lnTo>
                    <a:lnTo>
                      <a:pt x="12" y="34"/>
                    </a:lnTo>
                    <a:lnTo>
                      <a:pt x="12" y="34"/>
                    </a:lnTo>
                    <a:lnTo>
                      <a:pt x="10" y="34"/>
                    </a:lnTo>
                    <a:lnTo>
                      <a:pt x="8" y="34"/>
                    </a:lnTo>
                    <a:lnTo>
                      <a:pt x="8" y="34"/>
                    </a:lnTo>
                    <a:lnTo>
                      <a:pt x="6" y="36"/>
                    </a:lnTo>
                    <a:lnTo>
                      <a:pt x="6" y="36"/>
                    </a:lnTo>
                    <a:lnTo>
                      <a:pt x="4" y="38"/>
                    </a:lnTo>
                    <a:lnTo>
                      <a:pt x="4" y="40"/>
                    </a:lnTo>
                    <a:lnTo>
                      <a:pt x="4" y="40"/>
                    </a:lnTo>
                    <a:lnTo>
                      <a:pt x="2" y="42"/>
                    </a:lnTo>
                    <a:lnTo>
                      <a:pt x="2" y="46"/>
                    </a:lnTo>
                    <a:lnTo>
                      <a:pt x="2" y="50"/>
                    </a:lnTo>
                    <a:lnTo>
                      <a:pt x="0" y="50"/>
                    </a:lnTo>
                    <a:lnTo>
                      <a:pt x="0" y="52"/>
                    </a:lnTo>
                    <a:lnTo>
                      <a:pt x="0" y="54"/>
                    </a:lnTo>
                    <a:lnTo>
                      <a:pt x="2" y="56"/>
                    </a:lnTo>
                    <a:lnTo>
                      <a:pt x="2" y="56"/>
                    </a:lnTo>
                    <a:lnTo>
                      <a:pt x="2" y="58"/>
                    </a:lnTo>
                    <a:lnTo>
                      <a:pt x="4" y="58"/>
                    </a:lnTo>
                    <a:lnTo>
                      <a:pt x="4" y="60"/>
                    </a:lnTo>
                    <a:lnTo>
                      <a:pt x="6" y="60"/>
                    </a:lnTo>
                    <a:lnTo>
                      <a:pt x="8" y="62"/>
                    </a:lnTo>
                    <a:lnTo>
                      <a:pt x="10" y="62"/>
                    </a:lnTo>
                    <a:lnTo>
                      <a:pt x="12" y="62"/>
                    </a:lnTo>
                    <a:lnTo>
                      <a:pt x="14" y="64"/>
                    </a:lnTo>
                    <a:lnTo>
                      <a:pt x="16" y="64"/>
                    </a:lnTo>
                    <a:lnTo>
                      <a:pt x="20" y="64"/>
                    </a:lnTo>
                    <a:lnTo>
                      <a:pt x="24" y="64"/>
                    </a:lnTo>
                    <a:lnTo>
                      <a:pt x="28" y="64"/>
                    </a:lnTo>
                    <a:lnTo>
                      <a:pt x="32" y="66"/>
                    </a:lnTo>
                    <a:lnTo>
                      <a:pt x="34" y="64"/>
                    </a:lnTo>
                    <a:lnTo>
                      <a:pt x="38" y="64"/>
                    </a:lnTo>
                    <a:lnTo>
                      <a:pt x="42" y="64"/>
                    </a:lnTo>
                    <a:lnTo>
                      <a:pt x="46" y="64"/>
                    </a:lnTo>
                    <a:lnTo>
                      <a:pt x="52" y="62"/>
                    </a:lnTo>
                    <a:lnTo>
                      <a:pt x="58" y="60"/>
                    </a:lnTo>
                    <a:lnTo>
                      <a:pt x="60" y="60"/>
                    </a:lnTo>
                    <a:lnTo>
                      <a:pt x="62" y="58"/>
                    </a:lnTo>
                    <a:lnTo>
                      <a:pt x="68" y="56"/>
                    </a:lnTo>
                    <a:lnTo>
                      <a:pt x="76" y="54"/>
                    </a:lnTo>
                    <a:lnTo>
                      <a:pt x="78" y="54"/>
                    </a:lnTo>
                    <a:lnTo>
                      <a:pt x="80" y="52"/>
                    </a:lnTo>
                    <a:lnTo>
                      <a:pt x="86" y="50"/>
                    </a:lnTo>
                    <a:lnTo>
                      <a:pt x="94" y="50"/>
                    </a:lnTo>
                    <a:lnTo>
                      <a:pt x="98" y="48"/>
                    </a:lnTo>
                    <a:lnTo>
                      <a:pt x="102" y="48"/>
                    </a:lnTo>
                    <a:lnTo>
                      <a:pt x="106" y="48"/>
                    </a:lnTo>
                    <a:lnTo>
                      <a:pt x="108" y="48"/>
                    </a:lnTo>
                    <a:lnTo>
                      <a:pt x="110" y="48"/>
                    </a:lnTo>
                    <a:lnTo>
                      <a:pt x="110" y="48"/>
                    </a:lnTo>
                    <a:lnTo>
                      <a:pt x="112" y="48"/>
                    </a:lnTo>
                    <a:lnTo>
                      <a:pt x="114" y="50"/>
                    </a:lnTo>
                    <a:lnTo>
                      <a:pt x="118" y="52"/>
                    </a:lnTo>
                    <a:lnTo>
                      <a:pt x="122" y="54"/>
                    </a:lnTo>
                    <a:lnTo>
                      <a:pt x="126" y="54"/>
                    </a:lnTo>
                    <a:lnTo>
                      <a:pt x="126" y="56"/>
                    </a:lnTo>
                    <a:lnTo>
                      <a:pt x="128" y="56"/>
                    </a:lnTo>
                    <a:lnTo>
                      <a:pt x="130" y="56"/>
                    </a:lnTo>
                    <a:lnTo>
                      <a:pt x="132" y="56"/>
                    </a:lnTo>
                    <a:lnTo>
                      <a:pt x="132" y="56"/>
                    </a:lnTo>
                    <a:lnTo>
                      <a:pt x="132" y="56"/>
                    </a:lnTo>
                    <a:lnTo>
                      <a:pt x="132" y="56"/>
                    </a:lnTo>
                    <a:lnTo>
                      <a:pt x="134" y="56"/>
                    </a:lnTo>
                    <a:lnTo>
                      <a:pt x="134" y="54"/>
                    </a:lnTo>
                    <a:lnTo>
                      <a:pt x="134" y="54"/>
                    </a:lnTo>
                    <a:lnTo>
                      <a:pt x="134" y="54"/>
                    </a:lnTo>
                    <a:lnTo>
                      <a:pt x="134" y="52"/>
                    </a:lnTo>
                    <a:lnTo>
                      <a:pt x="134" y="50"/>
                    </a:lnTo>
                    <a:lnTo>
                      <a:pt x="134" y="48"/>
                    </a:lnTo>
                    <a:lnTo>
                      <a:pt x="134" y="46"/>
                    </a:lnTo>
                    <a:lnTo>
                      <a:pt x="132" y="46"/>
                    </a:lnTo>
                    <a:lnTo>
                      <a:pt x="132" y="42"/>
                    </a:lnTo>
                    <a:lnTo>
                      <a:pt x="130" y="40"/>
                    </a:lnTo>
                    <a:lnTo>
                      <a:pt x="130" y="38"/>
                    </a:lnTo>
                    <a:lnTo>
                      <a:pt x="128" y="36"/>
                    </a:lnTo>
                    <a:lnTo>
                      <a:pt x="126" y="32"/>
                    </a:lnTo>
                    <a:lnTo>
                      <a:pt x="124" y="30"/>
                    </a:lnTo>
                    <a:lnTo>
                      <a:pt x="122" y="28"/>
                    </a:lnTo>
                    <a:lnTo>
                      <a:pt x="120" y="28"/>
                    </a:lnTo>
                    <a:lnTo>
                      <a:pt x="120" y="26"/>
                    </a:lnTo>
                    <a:lnTo>
                      <a:pt x="118" y="26"/>
                    </a:lnTo>
                    <a:lnTo>
                      <a:pt x="116" y="26"/>
                    </a:lnTo>
                    <a:lnTo>
                      <a:pt x="114" y="24"/>
                    </a:lnTo>
                    <a:lnTo>
                      <a:pt x="110" y="24"/>
                    </a:lnTo>
                    <a:lnTo>
                      <a:pt x="106" y="24"/>
                    </a:lnTo>
                    <a:lnTo>
                      <a:pt x="102" y="24"/>
                    </a:lnTo>
                    <a:lnTo>
                      <a:pt x="98" y="22"/>
                    </a:lnTo>
                    <a:lnTo>
                      <a:pt x="96" y="22"/>
                    </a:lnTo>
                    <a:lnTo>
                      <a:pt x="96" y="22"/>
                    </a:lnTo>
                    <a:lnTo>
                      <a:pt x="94" y="20"/>
                    </a:lnTo>
                    <a:lnTo>
                      <a:pt x="92" y="20"/>
                    </a:lnTo>
                    <a:lnTo>
                      <a:pt x="92" y="18"/>
                    </a:lnTo>
                    <a:lnTo>
                      <a:pt x="92" y="18"/>
                    </a:lnTo>
                    <a:lnTo>
                      <a:pt x="92" y="18"/>
                    </a:lnTo>
                    <a:lnTo>
                      <a:pt x="92" y="16"/>
                    </a:lnTo>
                    <a:lnTo>
                      <a:pt x="90" y="14"/>
                    </a:lnTo>
                    <a:lnTo>
                      <a:pt x="90" y="10"/>
                    </a:lnTo>
                    <a:lnTo>
                      <a:pt x="90" y="8"/>
                    </a:lnTo>
                    <a:lnTo>
                      <a:pt x="90" y="6"/>
                    </a:lnTo>
                    <a:lnTo>
                      <a:pt x="90" y="4"/>
                    </a:lnTo>
                    <a:lnTo>
                      <a:pt x="90" y="4"/>
                    </a:lnTo>
                    <a:lnTo>
                      <a:pt x="88" y="2"/>
                    </a:lnTo>
                    <a:lnTo>
                      <a:pt x="88" y="2"/>
                    </a:lnTo>
                    <a:lnTo>
                      <a:pt x="86" y="2"/>
                    </a:lnTo>
                    <a:lnTo>
                      <a:pt x="86" y="2"/>
                    </a:lnTo>
                    <a:lnTo>
                      <a:pt x="84" y="0"/>
                    </a:lnTo>
                    <a:lnTo>
                      <a:pt x="82" y="0"/>
                    </a:lnTo>
                    <a:lnTo>
                      <a:pt x="82" y="0"/>
                    </a:lnTo>
                    <a:lnTo>
                      <a:pt x="80" y="0"/>
                    </a:lnTo>
                    <a:lnTo>
                      <a:pt x="76" y="0"/>
                    </a:lnTo>
                    <a:lnTo>
                      <a:pt x="74" y="2"/>
                    </a:lnTo>
                    <a:lnTo>
                      <a:pt x="70" y="2"/>
                    </a:lnTo>
                    <a:lnTo>
                      <a:pt x="68" y="2"/>
                    </a:lnTo>
                    <a:lnTo>
                      <a:pt x="68" y="4"/>
                    </a:lnTo>
                    <a:lnTo>
                      <a:pt x="66" y="4"/>
                    </a:lnTo>
                    <a:lnTo>
                      <a:pt x="66" y="4"/>
                    </a:lnTo>
                    <a:lnTo>
                      <a:pt x="64" y="6"/>
                    </a:lnTo>
                    <a:lnTo>
                      <a:pt x="64" y="6"/>
                    </a:lnTo>
                    <a:lnTo>
                      <a:pt x="64" y="6"/>
                    </a:lnTo>
                    <a:lnTo>
                      <a:pt x="64" y="8"/>
                    </a:lnTo>
                    <a:lnTo>
                      <a:pt x="64" y="10"/>
                    </a:lnTo>
                    <a:lnTo>
                      <a:pt x="64" y="12"/>
                    </a:lnTo>
                    <a:lnTo>
                      <a:pt x="64" y="14"/>
                    </a:lnTo>
                    <a:lnTo>
                      <a:pt x="64" y="16"/>
                    </a:lnTo>
                    <a:lnTo>
                      <a:pt x="64" y="18"/>
                    </a:lnTo>
                    <a:lnTo>
                      <a:pt x="64" y="18"/>
                    </a:lnTo>
                    <a:lnTo>
                      <a:pt x="62" y="20"/>
                    </a:lnTo>
                    <a:lnTo>
                      <a:pt x="62" y="20"/>
                    </a:lnTo>
                    <a:lnTo>
                      <a:pt x="62" y="20"/>
                    </a:lnTo>
                    <a:lnTo>
                      <a:pt x="62" y="20"/>
                    </a:lnTo>
                    <a:lnTo>
                      <a:pt x="60" y="20"/>
                    </a:lnTo>
                    <a:lnTo>
                      <a:pt x="60" y="22"/>
                    </a:lnTo>
                    <a:lnTo>
                      <a:pt x="58" y="22"/>
                    </a:lnTo>
                    <a:lnTo>
                      <a:pt x="56" y="22"/>
                    </a:lnTo>
                    <a:lnTo>
                      <a:pt x="50" y="22"/>
                    </a:lnTo>
                    <a:lnTo>
                      <a:pt x="50" y="22"/>
                    </a:lnTo>
                    <a:lnTo>
                      <a:pt x="48" y="22"/>
                    </a:lnTo>
                    <a:lnTo>
                      <a:pt x="48" y="2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8" name="Freeform 548">
                <a:extLst>
                  <a:ext uri="{FF2B5EF4-FFF2-40B4-BE49-F238E27FC236}">
                    <a16:creationId xmlns:a16="http://schemas.microsoft.com/office/drawing/2014/main" id="{F92C1E3E-9FE6-46EB-9361-C0A9C4D5B094}"/>
                  </a:ext>
                </a:extLst>
              </p:cNvPr>
              <p:cNvSpPr>
                <a:spLocks/>
              </p:cNvSpPr>
              <p:nvPr/>
            </p:nvSpPr>
            <p:spPr bwMode="auto">
              <a:xfrm>
                <a:off x="2145003" y="2352842"/>
                <a:ext cx="69850" cy="50800"/>
              </a:xfrm>
              <a:custGeom>
                <a:avLst/>
                <a:gdLst>
                  <a:gd name="T0" fmla="*/ 26 w 44"/>
                  <a:gd name="T1" fmla="*/ 2 h 32"/>
                  <a:gd name="T2" fmla="*/ 22 w 44"/>
                  <a:gd name="T3" fmla="*/ 2 h 32"/>
                  <a:gd name="T4" fmla="*/ 16 w 44"/>
                  <a:gd name="T5" fmla="*/ 2 h 32"/>
                  <a:gd name="T6" fmla="*/ 12 w 44"/>
                  <a:gd name="T7" fmla="*/ 2 h 32"/>
                  <a:gd name="T8" fmla="*/ 10 w 44"/>
                  <a:gd name="T9" fmla="*/ 2 h 32"/>
                  <a:gd name="T10" fmla="*/ 8 w 44"/>
                  <a:gd name="T11" fmla="*/ 4 h 32"/>
                  <a:gd name="T12" fmla="*/ 6 w 44"/>
                  <a:gd name="T13" fmla="*/ 6 h 32"/>
                  <a:gd name="T14" fmla="*/ 4 w 44"/>
                  <a:gd name="T15" fmla="*/ 10 h 32"/>
                  <a:gd name="T16" fmla="*/ 2 w 44"/>
                  <a:gd name="T17" fmla="*/ 14 h 32"/>
                  <a:gd name="T18" fmla="*/ 0 w 44"/>
                  <a:gd name="T19" fmla="*/ 22 h 32"/>
                  <a:gd name="T20" fmla="*/ 0 w 44"/>
                  <a:gd name="T21" fmla="*/ 26 h 32"/>
                  <a:gd name="T22" fmla="*/ 0 w 44"/>
                  <a:gd name="T23" fmla="*/ 30 h 32"/>
                  <a:gd name="T24" fmla="*/ 0 w 44"/>
                  <a:gd name="T25" fmla="*/ 30 h 32"/>
                  <a:gd name="T26" fmla="*/ 2 w 44"/>
                  <a:gd name="T27" fmla="*/ 32 h 32"/>
                  <a:gd name="T28" fmla="*/ 4 w 44"/>
                  <a:gd name="T29" fmla="*/ 32 h 32"/>
                  <a:gd name="T30" fmla="*/ 6 w 44"/>
                  <a:gd name="T31" fmla="*/ 32 h 32"/>
                  <a:gd name="T32" fmla="*/ 8 w 44"/>
                  <a:gd name="T33" fmla="*/ 30 h 32"/>
                  <a:gd name="T34" fmla="*/ 16 w 44"/>
                  <a:gd name="T35" fmla="*/ 24 h 32"/>
                  <a:gd name="T36" fmla="*/ 18 w 44"/>
                  <a:gd name="T37" fmla="*/ 22 h 32"/>
                  <a:gd name="T38" fmla="*/ 20 w 44"/>
                  <a:gd name="T39" fmla="*/ 20 h 32"/>
                  <a:gd name="T40" fmla="*/ 24 w 44"/>
                  <a:gd name="T41" fmla="*/ 20 h 32"/>
                  <a:gd name="T42" fmla="*/ 32 w 44"/>
                  <a:gd name="T43" fmla="*/ 18 h 32"/>
                  <a:gd name="T44" fmla="*/ 36 w 44"/>
                  <a:gd name="T45" fmla="*/ 18 h 32"/>
                  <a:gd name="T46" fmla="*/ 38 w 44"/>
                  <a:gd name="T47" fmla="*/ 16 h 32"/>
                  <a:gd name="T48" fmla="*/ 40 w 44"/>
                  <a:gd name="T49" fmla="*/ 14 h 32"/>
                  <a:gd name="T50" fmla="*/ 42 w 44"/>
                  <a:gd name="T51" fmla="*/ 10 h 32"/>
                  <a:gd name="T52" fmla="*/ 44 w 44"/>
                  <a:gd name="T53" fmla="*/ 6 h 32"/>
                  <a:gd name="T54" fmla="*/ 44 w 44"/>
                  <a:gd name="T55" fmla="*/ 2 h 32"/>
                  <a:gd name="T56" fmla="*/ 42 w 44"/>
                  <a:gd name="T57" fmla="*/ 0 h 32"/>
                  <a:gd name="T58" fmla="*/ 42 w 44"/>
                  <a:gd name="T59" fmla="*/ 0 h 32"/>
                  <a:gd name="T60" fmla="*/ 40 w 44"/>
                  <a:gd name="T61" fmla="*/ 0 h 32"/>
                  <a:gd name="T62" fmla="*/ 38 w 44"/>
                  <a:gd name="T63" fmla="*/ 0 h 32"/>
                  <a:gd name="T64" fmla="*/ 30 w 44"/>
                  <a:gd name="T65" fmla="*/ 2 h 32"/>
                  <a:gd name="T66" fmla="*/ 26 w 44"/>
                  <a:gd name="T6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 h="32">
                    <a:moveTo>
                      <a:pt x="26" y="2"/>
                    </a:moveTo>
                    <a:lnTo>
                      <a:pt x="26" y="2"/>
                    </a:lnTo>
                    <a:lnTo>
                      <a:pt x="24" y="2"/>
                    </a:lnTo>
                    <a:lnTo>
                      <a:pt x="22" y="2"/>
                    </a:lnTo>
                    <a:lnTo>
                      <a:pt x="18" y="2"/>
                    </a:lnTo>
                    <a:lnTo>
                      <a:pt x="16" y="2"/>
                    </a:lnTo>
                    <a:lnTo>
                      <a:pt x="12" y="2"/>
                    </a:lnTo>
                    <a:lnTo>
                      <a:pt x="12" y="2"/>
                    </a:lnTo>
                    <a:lnTo>
                      <a:pt x="10" y="2"/>
                    </a:lnTo>
                    <a:lnTo>
                      <a:pt x="10" y="2"/>
                    </a:lnTo>
                    <a:lnTo>
                      <a:pt x="10" y="2"/>
                    </a:lnTo>
                    <a:lnTo>
                      <a:pt x="8" y="4"/>
                    </a:lnTo>
                    <a:lnTo>
                      <a:pt x="8" y="4"/>
                    </a:lnTo>
                    <a:lnTo>
                      <a:pt x="6" y="6"/>
                    </a:lnTo>
                    <a:lnTo>
                      <a:pt x="6" y="8"/>
                    </a:lnTo>
                    <a:lnTo>
                      <a:pt x="4" y="10"/>
                    </a:lnTo>
                    <a:lnTo>
                      <a:pt x="4" y="12"/>
                    </a:lnTo>
                    <a:lnTo>
                      <a:pt x="2" y="14"/>
                    </a:lnTo>
                    <a:lnTo>
                      <a:pt x="2" y="18"/>
                    </a:lnTo>
                    <a:lnTo>
                      <a:pt x="0" y="22"/>
                    </a:lnTo>
                    <a:lnTo>
                      <a:pt x="0" y="24"/>
                    </a:lnTo>
                    <a:lnTo>
                      <a:pt x="0" y="26"/>
                    </a:lnTo>
                    <a:lnTo>
                      <a:pt x="0" y="28"/>
                    </a:lnTo>
                    <a:lnTo>
                      <a:pt x="0" y="30"/>
                    </a:lnTo>
                    <a:lnTo>
                      <a:pt x="0" y="30"/>
                    </a:lnTo>
                    <a:lnTo>
                      <a:pt x="0" y="30"/>
                    </a:lnTo>
                    <a:lnTo>
                      <a:pt x="0" y="30"/>
                    </a:lnTo>
                    <a:lnTo>
                      <a:pt x="2" y="32"/>
                    </a:lnTo>
                    <a:lnTo>
                      <a:pt x="2" y="32"/>
                    </a:lnTo>
                    <a:lnTo>
                      <a:pt x="4" y="32"/>
                    </a:lnTo>
                    <a:lnTo>
                      <a:pt x="4" y="32"/>
                    </a:lnTo>
                    <a:lnTo>
                      <a:pt x="6" y="32"/>
                    </a:lnTo>
                    <a:lnTo>
                      <a:pt x="6" y="30"/>
                    </a:lnTo>
                    <a:lnTo>
                      <a:pt x="8" y="30"/>
                    </a:lnTo>
                    <a:lnTo>
                      <a:pt x="10" y="28"/>
                    </a:lnTo>
                    <a:lnTo>
                      <a:pt x="16" y="24"/>
                    </a:lnTo>
                    <a:lnTo>
                      <a:pt x="18" y="22"/>
                    </a:lnTo>
                    <a:lnTo>
                      <a:pt x="18" y="22"/>
                    </a:lnTo>
                    <a:lnTo>
                      <a:pt x="20" y="20"/>
                    </a:lnTo>
                    <a:lnTo>
                      <a:pt x="20" y="20"/>
                    </a:lnTo>
                    <a:lnTo>
                      <a:pt x="22" y="20"/>
                    </a:lnTo>
                    <a:lnTo>
                      <a:pt x="24" y="20"/>
                    </a:lnTo>
                    <a:lnTo>
                      <a:pt x="30" y="20"/>
                    </a:lnTo>
                    <a:lnTo>
                      <a:pt x="32" y="18"/>
                    </a:lnTo>
                    <a:lnTo>
                      <a:pt x="36" y="18"/>
                    </a:lnTo>
                    <a:lnTo>
                      <a:pt x="36" y="18"/>
                    </a:lnTo>
                    <a:lnTo>
                      <a:pt x="38" y="18"/>
                    </a:lnTo>
                    <a:lnTo>
                      <a:pt x="38" y="16"/>
                    </a:lnTo>
                    <a:lnTo>
                      <a:pt x="40" y="16"/>
                    </a:lnTo>
                    <a:lnTo>
                      <a:pt x="40" y="14"/>
                    </a:lnTo>
                    <a:lnTo>
                      <a:pt x="42" y="12"/>
                    </a:lnTo>
                    <a:lnTo>
                      <a:pt x="42" y="10"/>
                    </a:lnTo>
                    <a:lnTo>
                      <a:pt x="42" y="8"/>
                    </a:lnTo>
                    <a:lnTo>
                      <a:pt x="44" y="6"/>
                    </a:lnTo>
                    <a:lnTo>
                      <a:pt x="44" y="4"/>
                    </a:lnTo>
                    <a:lnTo>
                      <a:pt x="44" y="2"/>
                    </a:lnTo>
                    <a:lnTo>
                      <a:pt x="42" y="2"/>
                    </a:lnTo>
                    <a:lnTo>
                      <a:pt x="42" y="0"/>
                    </a:lnTo>
                    <a:lnTo>
                      <a:pt x="42" y="0"/>
                    </a:lnTo>
                    <a:lnTo>
                      <a:pt x="42" y="0"/>
                    </a:lnTo>
                    <a:lnTo>
                      <a:pt x="40" y="0"/>
                    </a:lnTo>
                    <a:lnTo>
                      <a:pt x="40" y="0"/>
                    </a:lnTo>
                    <a:lnTo>
                      <a:pt x="40" y="0"/>
                    </a:lnTo>
                    <a:lnTo>
                      <a:pt x="38" y="0"/>
                    </a:lnTo>
                    <a:lnTo>
                      <a:pt x="34" y="0"/>
                    </a:lnTo>
                    <a:lnTo>
                      <a:pt x="30" y="2"/>
                    </a:lnTo>
                    <a:lnTo>
                      <a:pt x="28" y="2"/>
                    </a:lnTo>
                    <a:lnTo>
                      <a:pt x="26"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9" name="Freeform 550">
                <a:extLst>
                  <a:ext uri="{FF2B5EF4-FFF2-40B4-BE49-F238E27FC236}">
                    <a16:creationId xmlns:a16="http://schemas.microsoft.com/office/drawing/2014/main" id="{954F20C1-F785-4451-9240-1F3DE1634680}"/>
                  </a:ext>
                </a:extLst>
              </p:cNvPr>
              <p:cNvSpPr>
                <a:spLocks/>
              </p:cNvSpPr>
              <p:nvPr/>
            </p:nvSpPr>
            <p:spPr bwMode="auto">
              <a:xfrm>
                <a:off x="2141828" y="2298867"/>
                <a:ext cx="79375" cy="41275"/>
              </a:xfrm>
              <a:custGeom>
                <a:avLst/>
                <a:gdLst>
                  <a:gd name="T0" fmla="*/ 14 w 50"/>
                  <a:gd name="T1" fmla="*/ 8 h 26"/>
                  <a:gd name="T2" fmla="*/ 14 w 50"/>
                  <a:gd name="T3" fmla="*/ 8 h 26"/>
                  <a:gd name="T4" fmla="*/ 16 w 50"/>
                  <a:gd name="T5" fmla="*/ 6 h 26"/>
                  <a:gd name="T6" fmla="*/ 20 w 50"/>
                  <a:gd name="T7" fmla="*/ 4 h 26"/>
                  <a:gd name="T8" fmla="*/ 20 w 50"/>
                  <a:gd name="T9" fmla="*/ 2 h 26"/>
                  <a:gd name="T10" fmla="*/ 22 w 50"/>
                  <a:gd name="T11" fmla="*/ 2 h 26"/>
                  <a:gd name="T12" fmla="*/ 24 w 50"/>
                  <a:gd name="T13" fmla="*/ 0 h 26"/>
                  <a:gd name="T14" fmla="*/ 26 w 50"/>
                  <a:gd name="T15" fmla="*/ 0 h 26"/>
                  <a:gd name="T16" fmla="*/ 28 w 50"/>
                  <a:gd name="T17" fmla="*/ 0 h 26"/>
                  <a:gd name="T18" fmla="*/ 30 w 50"/>
                  <a:gd name="T19" fmla="*/ 0 h 26"/>
                  <a:gd name="T20" fmla="*/ 32 w 50"/>
                  <a:gd name="T21" fmla="*/ 0 h 26"/>
                  <a:gd name="T22" fmla="*/ 34 w 50"/>
                  <a:gd name="T23" fmla="*/ 0 h 26"/>
                  <a:gd name="T24" fmla="*/ 38 w 50"/>
                  <a:gd name="T25" fmla="*/ 0 h 26"/>
                  <a:gd name="T26" fmla="*/ 40 w 50"/>
                  <a:gd name="T27" fmla="*/ 0 h 26"/>
                  <a:gd name="T28" fmla="*/ 42 w 50"/>
                  <a:gd name="T29" fmla="*/ 2 h 26"/>
                  <a:gd name="T30" fmla="*/ 42 w 50"/>
                  <a:gd name="T31" fmla="*/ 2 h 26"/>
                  <a:gd name="T32" fmla="*/ 44 w 50"/>
                  <a:gd name="T33" fmla="*/ 4 h 26"/>
                  <a:gd name="T34" fmla="*/ 46 w 50"/>
                  <a:gd name="T35" fmla="*/ 4 h 26"/>
                  <a:gd name="T36" fmla="*/ 46 w 50"/>
                  <a:gd name="T37" fmla="*/ 6 h 26"/>
                  <a:gd name="T38" fmla="*/ 48 w 50"/>
                  <a:gd name="T39" fmla="*/ 8 h 26"/>
                  <a:gd name="T40" fmla="*/ 50 w 50"/>
                  <a:gd name="T41" fmla="*/ 10 h 26"/>
                  <a:gd name="T42" fmla="*/ 50 w 50"/>
                  <a:gd name="T43" fmla="*/ 12 h 26"/>
                  <a:gd name="T44" fmla="*/ 50 w 50"/>
                  <a:gd name="T45" fmla="*/ 12 h 26"/>
                  <a:gd name="T46" fmla="*/ 50 w 50"/>
                  <a:gd name="T47" fmla="*/ 14 h 26"/>
                  <a:gd name="T48" fmla="*/ 50 w 50"/>
                  <a:gd name="T49" fmla="*/ 14 h 26"/>
                  <a:gd name="T50" fmla="*/ 50 w 50"/>
                  <a:gd name="T51" fmla="*/ 14 h 26"/>
                  <a:gd name="T52" fmla="*/ 50 w 50"/>
                  <a:gd name="T53" fmla="*/ 16 h 26"/>
                  <a:gd name="T54" fmla="*/ 50 w 50"/>
                  <a:gd name="T55" fmla="*/ 16 h 26"/>
                  <a:gd name="T56" fmla="*/ 48 w 50"/>
                  <a:gd name="T57" fmla="*/ 18 h 26"/>
                  <a:gd name="T58" fmla="*/ 46 w 50"/>
                  <a:gd name="T59" fmla="*/ 18 h 26"/>
                  <a:gd name="T60" fmla="*/ 46 w 50"/>
                  <a:gd name="T61" fmla="*/ 18 h 26"/>
                  <a:gd name="T62" fmla="*/ 44 w 50"/>
                  <a:gd name="T63" fmla="*/ 20 h 26"/>
                  <a:gd name="T64" fmla="*/ 40 w 50"/>
                  <a:gd name="T65" fmla="*/ 20 h 26"/>
                  <a:gd name="T66" fmla="*/ 38 w 50"/>
                  <a:gd name="T67" fmla="*/ 20 h 26"/>
                  <a:gd name="T68" fmla="*/ 34 w 50"/>
                  <a:gd name="T69" fmla="*/ 20 h 26"/>
                  <a:gd name="T70" fmla="*/ 30 w 50"/>
                  <a:gd name="T71" fmla="*/ 22 h 26"/>
                  <a:gd name="T72" fmla="*/ 28 w 50"/>
                  <a:gd name="T73" fmla="*/ 22 h 26"/>
                  <a:gd name="T74" fmla="*/ 26 w 50"/>
                  <a:gd name="T75" fmla="*/ 22 h 26"/>
                  <a:gd name="T76" fmla="*/ 22 w 50"/>
                  <a:gd name="T77" fmla="*/ 24 h 26"/>
                  <a:gd name="T78" fmla="*/ 18 w 50"/>
                  <a:gd name="T79" fmla="*/ 24 h 26"/>
                  <a:gd name="T80" fmla="*/ 14 w 50"/>
                  <a:gd name="T81" fmla="*/ 26 h 26"/>
                  <a:gd name="T82" fmla="*/ 12 w 50"/>
                  <a:gd name="T83" fmla="*/ 26 h 26"/>
                  <a:gd name="T84" fmla="*/ 10 w 50"/>
                  <a:gd name="T85" fmla="*/ 26 h 26"/>
                  <a:gd name="T86" fmla="*/ 8 w 50"/>
                  <a:gd name="T87" fmla="*/ 26 h 26"/>
                  <a:gd name="T88" fmla="*/ 6 w 50"/>
                  <a:gd name="T89" fmla="*/ 26 h 26"/>
                  <a:gd name="T90" fmla="*/ 4 w 50"/>
                  <a:gd name="T91" fmla="*/ 26 h 26"/>
                  <a:gd name="T92" fmla="*/ 2 w 50"/>
                  <a:gd name="T93" fmla="*/ 26 h 26"/>
                  <a:gd name="T94" fmla="*/ 2 w 50"/>
                  <a:gd name="T95" fmla="*/ 26 h 26"/>
                  <a:gd name="T96" fmla="*/ 2 w 50"/>
                  <a:gd name="T97" fmla="*/ 26 h 26"/>
                  <a:gd name="T98" fmla="*/ 2 w 50"/>
                  <a:gd name="T99" fmla="*/ 26 h 26"/>
                  <a:gd name="T100" fmla="*/ 0 w 50"/>
                  <a:gd name="T101" fmla="*/ 24 h 26"/>
                  <a:gd name="T102" fmla="*/ 0 w 50"/>
                  <a:gd name="T103" fmla="*/ 24 h 26"/>
                  <a:gd name="T104" fmla="*/ 0 w 50"/>
                  <a:gd name="T105" fmla="*/ 22 h 26"/>
                  <a:gd name="T106" fmla="*/ 0 w 50"/>
                  <a:gd name="T107" fmla="*/ 22 h 26"/>
                  <a:gd name="T108" fmla="*/ 2 w 50"/>
                  <a:gd name="T109" fmla="*/ 20 h 26"/>
                  <a:gd name="T110" fmla="*/ 2 w 50"/>
                  <a:gd name="T111" fmla="*/ 20 h 26"/>
                  <a:gd name="T112" fmla="*/ 2 w 50"/>
                  <a:gd name="T113" fmla="*/ 18 h 26"/>
                  <a:gd name="T114" fmla="*/ 4 w 50"/>
                  <a:gd name="T115" fmla="*/ 16 h 26"/>
                  <a:gd name="T116" fmla="*/ 8 w 50"/>
                  <a:gd name="T117" fmla="*/ 14 h 26"/>
                  <a:gd name="T118" fmla="*/ 10 w 50"/>
                  <a:gd name="T119" fmla="*/ 10 h 26"/>
                  <a:gd name="T120" fmla="*/ 14 w 50"/>
                  <a:gd name="T121"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 h="26">
                    <a:moveTo>
                      <a:pt x="14" y="8"/>
                    </a:moveTo>
                    <a:lnTo>
                      <a:pt x="14" y="8"/>
                    </a:lnTo>
                    <a:lnTo>
                      <a:pt x="16" y="6"/>
                    </a:lnTo>
                    <a:lnTo>
                      <a:pt x="20" y="4"/>
                    </a:lnTo>
                    <a:lnTo>
                      <a:pt x="20" y="2"/>
                    </a:lnTo>
                    <a:lnTo>
                      <a:pt x="22" y="2"/>
                    </a:lnTo>
                    <a:lnTo>
                      <a:pt x="24" y="0"/>
                    </a:lnTo>
                    <a:lnTo>
                      <a:pt x="26" y="0"/>
                    </a:lnTo>
                    <a:lnTo>
                      <a:pt x="28" y="0"/>
                    </a:lnTo>
                    <a:lnTo>
                      <a:pt x="30" y="0"/>
                    </a:lnTo>
                    <a:lnTo>
                      <a:pt x="32" y="0"/>
                    </a:lnTo>
                    <a:lnTo>
                      <a:pt x="34" y="0"/>
                    </a:lnTo>
                    <a:lnTo>
                      <a:pt x="38" y="0"/>
                    </a:lnTo>
                    <a:lnTo>
                      <a:pt x="40" y="0"/>
                    </a:lnTo>
                    <a:lnTo>
                      <a:pt x="42" y="2"/>
                    </a:lnTo>
                    <a:lnTo>
                      <a:pt x="42" y="2"/>
                    </a:lnTo>
                    <a:lnTo>
                      <a:pt x="44" y="4"/>
                    </a:lnTo>
                    <a:lnTo>
                      <a:pt x="46" y="4"/>
                    </a:lnTo>
                    <a:lnTo>
                      <a:pt x="46" y="6"/>
                    </a:lnTo>
                    <a:lnTo>
                      <a:pt x="48" y="8"/>
                    </a:lnTo>
                    <a:lnTo>
                      <a:pt x="50" y="10"/>
                    </a:lnTo>
                    <a:lnTo>
                      <a:pt x="50" y="12"/>
                    </a:lnTo>
                    <a:lnTo>
                      <a:pt x="50" y="12"/>
                    </a:lnTo>
                    <a:lnTo>
                      <a:pt x="50" y="14"/>
                    </a:lnTo>
                    <a:lnTo>
                      <a:pt x="50" y="14"/>
                    </a:lnTo>
                    <a:lnTo>
                      <a:pt x="50" y="14"/>
                    </a:lnTo>
                    <a:lnTo>
                      <a:pt x="50" y="16"/>
                    </a:lnTo>
                    <a:lnTo>
                      <a:pt x="50" y="16"/>
                    </a:lnTo>
                    <a:lnTo>
                      <a:pt x="48" y="18"/>
                    </a:lnTo>
                    <a:lnTo>
                      <a:pt x="46" y="18"/>
                    </a:lnTo>
                    <a:lnTo>
                      <a:pt x="46" y="18"/>
                    </a:lnTo>
                    <a:lnTo>
                      <a:pt x="44" y="20"/>
                    </a:lnTo>
                    <a:lnTo>
                      <a:pt x="40" y="20"/>
                    </a:lnTo>
                    <a:lnTo>
                      <a:pt x="38" y="20"/>
                    </a:lnTo>
                    <a:lnTo>
                      <a:pt x="34" y="20"/>
                    </a:lnTo>
                    <a:lnTo>
                      <a:pt x="30" y="22"/>
                    </a:lnTo>
                    <a:lnTo>
                      <a:pt x="28" y="22"/>
                    </a:lnTo>
                    <a:lnTo>
                      <a:pt x="26" y="22"/>
                    </a:lnTo>
                    <a:lnTo>
                      <a:pt x="22" y="24"/>
                    </a:lnTo>
                    <a:lnTo>
                      <a:pt x="18" y="24"/>
                    </a:lnTo>
                    <a:lnTo>
                      <a:pt x="14" y="26"/>
                    </a:lnTo>
                    <a:lnTo>
                      <a:pt x="12" y="26"/>
                    </a:lnTo>
                    <a:lnTo>
                      <a:pt x="10" y="26"/>
                    </a:lnTo>
                    <a:lnTo>
                      <a:pt x="8" y="26"/>
                    </a:lnTo>
                    <a:lnTo>
                      <a:pt x="6" y="26"/>
                    </a:lnTo>
                    <a:lnTo>
                      <a:pt x="4" y="26"/>
                    </a:lnTo>
                    <a:lnTo>
                      <a:pt x="2" y="26"/>
                    </a:lnTo>
                    <a:lnTo>
                      <a:pt x="2" y="26"/>
                    </a:lnTo>
                    <a:lnTo>
                      <a:pt x="2" y="26"/>
                    </a:lnTo>
                    <a:lnTo>
                      <a:pt x="2" y="26"/>
                    </a:lnTo>
                    <a:lnTo>
                      <a:pt x="0" y="24"/>
                    </a:lnTo>
                    <a:lnTo>
                      <a:pt x="0" y="24"/>
                    </a:lnTo>
                    <a:lnTo>
                      <a:pt x="0" y="22"/>
                    </a:lnTo>
                    <a:lnTo>
                      <a:pt x="0" y="22"/>
                    </a:lnTo>
                    <a:lnTo>
                      <a:pt x="2" y="20"/>
                    </a:lnTo>
                    <a:lnTo>
                      <a:pt x="2" y="20"/>
                    </a:lnTo>
                    <a:lnTo>
                      <a:pt x="2" y="18"/>
                    </a:lnTo>
                    <a:lnTo>
                      <a:pt x="4" y="16"/>
                    </a:lnTo>
                    <a:lnTo>
                      <a:pt x="8" y="14"/>
                    </a:lnTo>
                    <a:lnTo>
                      <a:pt x="10" y="10"/>
                    </a:lnTo>
                    <a:lnTo>
                      <a:pt x="14" y="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10" name="Freeform 552">
                <a:extLst>
                  <a:ext uri="{FF2B5EF4-FFF2-40B4-BE49-F238E27FC236}">
                    <a16:creationId xmlns:a16="http://schemas.microsoft.com/office/drawing/2014/main" id="{34051ADE-4E28-4D0D-8EB1-BC93F8DD0062}"/>
                  </a:ext>
                </a:extLst>
              </p:cNvPr>
              <p:cNvSpPr>
                <a:spLocks/>
              </p:cNvSpPr>
              <p:nvPr/>
            </p:nvSpPr>
            <p:spPr bwMode="auto">
              <a:xfrm>
                <a:off x="2300578" y="2298867"/>
                <a:ext cx="107950" cy="73025"/>
              </a:xfrm>
              <a:custGeom>
                <a:avLst/>
                <a:gdLst>
                  <a:gd name="T0" fmla="*/ 12 w 68"/>
                  <a:gd name="T1" fmla="*/ 0 h 46"/>
                  <a:gd name="T2" fmla="*/ 14 w 68"/>
                  <a:gd name="T3" fmla="*/ 0 h 46"/>
                  <a:gd name="T4" fmla="*/ 18 w 68"/>
                  <a:gd name="T5" fmla="*/ 0 h 46"/>
                  <a:gd name="T6" fmla="*/ 26 w 68"/>
                  <a:gd name="T7" fmla="*/ 2 h 46"/>
                  <a:gd name="T8" fmla="*/ 34 w 68"/>
                  <a:gd name="T9" fmla="*/ 4 h 46"/>
                  <a:gd name="T10" fmla="*/ 42 w 68"/>
                  <a:gd name="T11" fmla="*/ 6 h 46"/>
                  <a:gd name="T12" fmla="*/ 46 w 68"/>
                  <a:gd name="T13" fmla="*/ 6 h 46"/>
                  <a:gd name="T14" fmla="*/ 48 w 68"/>
                  <a:gd name="T15" fmla="*/ 8 h 46"/>
                  <a:gd name="T16" fmla="*/ 54 w 68"/>
                  <a:gd name="T17" fmla="*/ 14 h 46"/>
                  <a:gd name="T18" fmla="*/ 58 w 68"/>
                  <a:gd name="T19" fmla="*/ 18 h 46"/>
                  <a:gd name="T20" fmla="*/ 62 w 68"/>
                  <a:gd name="T21" fmla="*/ 24 h 46"/>
                  <a:gd name="T22" fmla="*/ 64 w 68"/>
                  <a:gd name="T23" fmla="*/ 28 h 46"/>
                  <a:gd name="T24" fmla="*/ 66 w 68"/>
                  <a:gd name="T25" fmla="*/ 32 h 46"/>
                  <a:gd name="T26" fmla="*/ 68 w 68"/>
                  <a:gd name="T27" fmla="*/ 36 h 46"/>
                  <a:gd name="T28" fmla="*/ 68 w 68"/>
                  <a:gd name="T29" fmla="*/ 38 h 46"/>
                  <a:gd name="T30" fmla="*/ 68 w 68"/>
                  <a:gd name="T31" fmla="*/ 40 h 46"/>
                  <a:gd name="T32" fmla="*/ 66 w 68"/>
                  <a:gd name="T33" fmla="*/ 42 h 46"/>
                  <a:gd name="T34" fmla="*/ 62 w 68"/>
                  <a:gd name="T35" fmla="*/ 44 h 46"/>
                  <a:gd name="T36" fmla="*/ 58 w 68"/>
                  <a:gd name="T37" fmla="*/ 46 h 46"/>
                  <a:gd name="T38" fmla="*/ 54 w 68"/>
                  <a:gd name="T39" fmla="*/ 46 h 46"/>
                  <a:gd name="T40" fmla="*/ 48 w 68"/>
                  <a:gd name="T41" fmla="*/ 46 h 46"/>
                  <a:gd name="T42" fmla="*/ 44 w 68"/>
                  <a:gd name="T43" fmla="*/ 46 h 46"/>
                  <a:gd name="T44" fmla="*/ 40 w 68"/>
                  <a:gd name="T45" fmla="*/ 46 h 46"/>
                  <a:gd name="T46" fmla="*/ 36 w 68"/>
                  <a:gd name="T47" fmla="*/ 46 h 46"/>
                  <a:gd name="T48" fmla="*/ 36 w 68"/>
                  <a:gd name="T49" fmla="*/ 44 h 46"/>
                  <a:gd name="T50" fmla="*/ 34 w 68"/>
                  <a:gd name="T51" fmla="*/ 42 h 46"/>
                  <a:gd name="T52" fmla="*/ 34 w 68"/>
                  <a:gd name="T53" fmla="*/ 38 h 46"/>
                  <a:gd name="T54" fmla="*/ 32 w 68"/>
                  <a:gd name="T55" fmla="*/ 34 h 46"/>
                  <a:gd name="T56" fmla="*/ 30 w 68"/>
                  <a:gd name="T57" fmla="*/ 32 h 46"/>
                  <a:gd name="T58" fmla="*/ 30 w 68"/>
                  <a:gd name="T59" fmla="*/ 30 h 46"/>
                  <a:gd name="T60" fmla="*/ 28 w 68"/>
                  <a:gd name="T61" fmla="*/ 30 h 46"/>
                  <a:gd name="T62" fmla="*/ 26 w 68"/>
                  <a:gd name="T63" fmla="*/ 30 h 46"/>
                  <a:gd name="T64" fmla="*/ 20 w 68"/>
                  <a:gd name="T65" fmla="*/ 28 h 46"/>
                  <a:gd name="T66" fmla="*/ 16 w 68"/>
                  <a:gd name="T67" fmla="*/ 28 h 46"/>
                  <a:gd name="T68" fmla="*/ 12 w 68"/>
                  <a:gd name="T69" fmla="*/ 28 h 46"/>
                  <a:gd name="T70" fmla="*/ 10 w 68"/>
                  <a:gd name="T71" fmla="*/ 26 h 46"/>
                  <a:gd name="T72" fmla="*/ 6 w 68"/>
                  <a:gd name="T73" fmla="*/ 22 h 46"/>
                  <a:gd name="T74" fmla="*/ 2 w 68"/>
                  <a:gd name="T75" fmla="*/ 18 h 46"/>
                  <a:gd name="T76" fmla="*/ 0 w 68"/>
                  <a:gd name="T77" fmla="*/ 14 h 46"/>
                  <a:gd name="T78" fmla="*/ 0 w 68"/>
                  <a:gd name="T79" fmla="*/ 12 h 46"/>
                  <a:gd name="T80" fmla="*/ 0 w 68"/>
                  <a:gd name="T81" fmla="*/ 10 h 46"/>
                  <a:gd name="T82" fmla="*/ 0 w 68"/>
                  <a:gd name="T83" fmla="*/ 8 h 46"/>
                  <a:gd name="T84" fmla="*/ 0 w 68"/>
                  <a:gd name="T85" fmla="*/ 6 h 46"/>
                  <a:gd name="T86" fmla="*/ 4 w 68"/>
                  <a:gd name="T87" fmla="*/ 4 h 46"/>
                  <a:gd name="T88" fmla="*/ 8 w 68"/>
                  <a:gd name="T89" fmla="*/ 2 h 46"/>
                  <a:gd name="T90" fmla="*/ 12 w 68"/>
                  <a:gd name="T9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 h="46">
                    <a:moveTo>
                      <a:pt x="12" y="0"/>
                    </a:moveTo>
                    <a:lnTo>
                      <a:pt x="12" y="0"/>
                    </a:lnTo>
                    <a:lnTo>
                      <a:pt x="12" y="0"/>
                    </a:lnTo>
                    <a:lnTo>
                      <a:pt x="14" y="0"/>
                    </a:lnTo>
                    <a:lnTo>
                      <a:pt x="16" y="0"/>
                    </a:lnTo>
                    <a:lnTo>
                      <a:pt x="18" y="0"/>
                    </a:lnTo>
                    <a:lnTo>
                      <a:pt x="20" y="0"/>
                    </a:lnTo>
                    <a:lnTo>
                      <a:pt x="26" y="2"/>
                    </a:lnTo>
                    <a:lnTo>
                      <a:pt x="30" y="2"/>
                    </a:lnTo>
                    <a:lnTo>
                      <a:pt x="34" y="4"/>
                    </a:lnTo>
                    <a:lnTo>
                      <a:pt x="38" y="4"/>
                    </a:lnTo>
                    <a:lnTo>
                      <a:pt x="42" y="6"/>
                    </a:lnTo>
                    <a:lnTo>
                      <a:pt x="44" y="6"/>
                    </a:lnTo>
                    <a:lnTo>
                      <a:pt x="46" y="6"/>
                    </a:lnTo>
                    <a:lnTo>
                      <a:pt x="48" y="8"/>
                    </a:lnTo>
                    <a:lnTo>
                      <a:pt x="48" y="8"/>
                    </a:lnTo>
                    <a:lnTo>
                      <a:pt x="52" y="12"/>
                    </a:lnTo>
                    <a:lnTo>
                      <a:pt x="54" y="14"/>
                    </a:lnTo>
                    <a:lnTo>
                      <a:pt x="56" y="16"/>
                    </a:lnTo>
                    <a:lnTo>
                      <a:pt x="58" y="18"/>
                    </a:lnTo>
                    <a:lnTo>
                      <a:pt x="60" y="20"/>
                    </a:lnTo>
                    <a:lnTo>
                      <a:pt x="62" y="24"/>
                    </a:lnTo>
                    <a:lnTo>
                      <a:pt x="62" y="26"/>
                    </a:lnTo>
                    <a:lnTo>
                      <a:pt x="64" y="28"/>
                    </a:lnTo>
                    <a:lnTo>
                      <a:pt x="66" y="30"/>
                    </a:lnTo>
                    <a:lnTo>
                      <a:pt x="66" y="32"/>
                    </a:lnTo>
                    <a:lnTo>
                      <a:pt x="68" y="34"/>
                    </a:lnTo>
                    <a:lnTo>
                      <a:pt x="68" y="36"/>
                    </a:lnTo>
                    <a:lnTo>
                      <a:pt x="68" y="38"/>
                    </a:lnTo>
                    <a:lnTo>
                      <a:pt x="68" y="38"/>
                    </a:lnTo>
                    <a:lnTo>
                      <a:pt x="68" y="40"/>
                    </a:lnTo>
                    <a:lnTo>
                      <a:pt x="68" y="40"/>
                    </a:lnTo>
                    <a:lnTo>
                      <a:pt x="66" y="42"/>
                    </a:lnTo>
                    <a:lnTo>
                      <a:pt x="66" y="42"/>
                    </a:lnTo>
                    <a:lnTo>
                      <a:pt x="64" y="44"/>
                    </a:lnTo>
                    <a:lnTo>
                      <a:pt x="62" y="44"/>
                    </a:lnTo>
                    <a:lnTo>
                      <a:pt x="60" y="46"/>
                    </a:lnTo>
                    <a:lnTo>
                      <a:pt x="58" y="46"/>
                    </a:lnTo>
                    <a:lnTo>
                      <a:pt x="56" y="46"/>
                    </a:lnTo>
                    <a:lnTo>
                      <a:pt x="54" y="46"/>
                    </a:lnTo>
                    <a:lnTo>
                      <a:pt x="50" y="46"/>
                    </a:lnTo>
                    <a:lnTo>
                      <a:pt x="48" y="46"/>
                    </a:lnTo>
                    <a:lnTo>
                      <a:pt x="46" y="46"/>
                    </a:lnTo>
                    <a:lnTo>
                      <a:pt x="44" y="46"/>
                    </a:lnTo>
                    <a:lnTo>
                      <a:pt x="42" y="46"/>
                    </a:lnTo>
                    <a:lnTo>
                      <a:pt x="40" y="46"/>
                    </a:lnTo>
                    <a:lnTo>
                      <a:pt x="38" y="46"/>
                    </a:lnTo>
                    <a:lnTo>
                      <a:pt x="36" y="46"/>
                    </a:lnTo>
                    <a:lnTo>
                      <a:pt x="36" y="44"/>
                    </a:lnTo>
                    <a:lnTo>
                      <a:pt x="36" y="44"/>
                    </a:lnTo>
                    <a:lnTo>
                      <a:pt x="36" y="44"/>
                    </a:lnTo>
                    <a:lnTo>
                      <a:pt x="34" y="42"/>
                    </a:lnTo>
                    <a:lnTo>
                      <a:pt x="34" y="40"/>
                    </a:lnTo>
                    <a:lnTo>
                      <a:pt x="34" y="38"/>
                    </a:lnTo>
                    <a:lnTo>
                      <a:pt x="32" y="36"/>
                    </a:lnTo>
                    <a:lnTo>
                      <a:pt x="32" y="34"/>
                    </a:lnTo>
                    <a:lnTo>
                      <a:pt x="32" y="32"/>
                    </a:lnTo>
                    <a:lnTo>
                      <a:pt x="30" y="32"/>
                    </a:lnTo>
                    <a:lnTo>
                      <a:pt x="30" y="30"/>
                    </a:lnTo>
                    <a:lnTo>
                      <a:pt x="30" y="30"/>
                    </a:lnTo>
                    <a:lnTo>
                      <a:pt x="28" y="30"/>
                    </a:lnTo>
                    <a:lnTo>
                      <a:pt x="28" y="30"/>
                    </a:lnTo>
                    <a:lnTo>
                      <a:pt x="26" y="30"/>
                    </a:lnTo>
                    <a:lnTo>
                      <a:pt x="26" y="30"/>
                    </a:lnTo>
                    <a:lnTo>
                      <a:pt x="24" y="28"/>
                    </a:lnTo>
                    <a:lnTo>
                      <a:pt x="20" y="28"/>
                    </a:lnTo>
                    <a:lnTo>
                      <a:pt x="18" y="28"/>
                    </a:lnTo>
                    <a:lnTo>
                      <a:pt x="16" y="28"/>
                    </a:lnTo>
                    <a:lnTo>
                      <a:pt x="14" y="28"/>
                    </a:lnTo>
                    <a:lnTo>
                      <a:pt x="12" y="28"/>
                    </a:lnTo>
                    <a:lnTo>
                      <a:pt x="12" y="28"/>
                    </a:lnTo>
                    <a:lnTo>
                      <a:pt x="10" y="26"/>
                    </a:lnTo>
                    <a:lnTo>
                      <a:pt x="8" y="24"/>
                    </a:lnTo>
                    <a:lnTo>
                      <a:pt x="6" y="22"/>
                    </a:lnTo>
                    <a:lnTo>
                      <a:pt x="4" y="20"/>
                    </a:lnTo>
                    <a:lnTo>
                      <a:pt x="2" y="18"/>
                    </a:lnTo>
                    <a:lnTo>
                      <a:pt x="0" y="16"/>
                    </a:lnTo>
                    <a:lnTo>
                      <a:pt x="0" y="14"/>
                    </a:lnTo>
                    <a:lnTo>
                      <a:pt x="0" y="14"/>
                    </a:lnTo>
                    <a:lnTo>
                      <a:pt x="0" y="12"/>
                    </a:lnTo>
                    <a:lnTo>
                      <a:pt x="0" y="12"/>
                    </a:lnTo>
                    <a:lnTo>
                      <a:pt x="0" y="10"/>
                    </a:lnTo>
                    <a:lnTo>
                      <a:pt x="0" y="10"/>
                    </a:lnTo>
                    <a:lnTo>
                      <a:pt x="0" y="8"/>
                    </a:lnTo>
                    <a:lnTo>
                      <a:pt x="0" y="8"/>
                    </a:lnTo>
                    <a:lnTo>
                      <a:pt x="0" y="6"/>
                    </a:lnTo>
                    <a:lnTo>
                      <a:pt x="2" y="6"/>
                    </a:lnTo>
                    <a:lnTo>
                      <a:pt x="4" y="4"/>
                    </a:lnTo>
                    <a:lnTo>
                      <a:pt x="6" y="2"/>
                    </a:lnTo>
                    <a:lnTo>
                      <a:pt x="8" y="2"/>
                    </a:lnTo>
                    <a:lnTo>
                      <a:pt x="10" y="0"/>
                    </a:lnTo>
                    <a:lnTo>
                      <a:pt x="12"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11" name="Freeform 554">
                <a:extLst>
                  <a:ext uri="{FF2B5EF4-FFF2-40B4-BE49-F238E27FC236}">
                    <a16:creationId xmlns:a16="http://schemas.microsoft.com/office/drawing/2014/main" id="{D6506118-7C4E-4088-A9E1-4CB92F60DBAD}"/>
                  </a:ext>
                </a:extLst>
              </p:cNvPr>
              <p:cNvSpPr>
                <a:spLocks/>
              </p:cNvSpPr>
              <p:nvPr/>
            </p:nvSpPr>
            <p:spPr bwMode="auto">
              <a:xfrm>
                <a:off x="2297403" y="2517942"/>
                <a:ext cx="104775" cy="114300"/>
              </a:xfrm>
              <a:custGeom>
                <a:avLst/>
                <a:gdLst>
                  <a:gd name="T0" fmla="*/ 22 w 66"/>
                  <a:gd name="T1" fmla="*/ 8 h 72"/>
                  <a:gd name="T2" fmla="*/ 24 w 66"/>
                  <a:gd name="T3" fmla="*/ 10 h 72"/>
                  <a:gd name="T4" fmla="*/ 26 w 66"/>
                  <a:gd name="T5" fmla="*/ 20 h 72"/>
                  <a:gd name="T6" fmla="*/ 28 w 66"/>
                  <a:gd name="T7" fmla="*/ 22 h 72"/>
                  <a:gd name="T8" fmla="*/ 28 w 66"/>
                  <a:gd name="T9" fmla="*/ 32 h 72"/>
                  <a:gd name="T10" fmla="*/ 28 w 66"/>
                  <a:gd name="T11" fmla="*/ 38 h 72"/>
                  <a:gd name="T12" fmla="*/ 26 w 66"/>
                  <a:gd name="T13" fmla="*/ 40 h 72"/>
                  <a:gd name="T14" fmla="*/ 24 w 66"/>
                  <a:gd name="T15" fmla="*/ 40 h 72"/>
                  <a:gd name="T16" fmla="*/ 22 w 66"/>
                  <a:gd name="T17" fmla="*/ 40 h 72"/>
                  <a:gd name="T18" fmla="*/ 18 w 66"/>
                  <a:gd name="T19" fmla="*/ 38 h 72"/>
                  <a:gd name="T20" fmla="*/ 10 w 66"/>
                  <a:gd name="T21" fmla="*/ 30 h 72"/>
                  <a:gd name="T22" fmla="*/ 6 w 66"/>
                  <a:gd name="T23" fmla="*/ 28 h 72"/>
                  <a:gd name="T24" fmla="*/ 4 w 66"/>
                  <a:gd name="T25" fmla="*/ 28 h 72"/>
                  <a:gd name="T26" fmla="*/ 2 w 66"/>
                  <a:gd name="T27" fmla="*/ 28 h 72"/>
                  <a:gd name="T28" fmla="*/ 0 w 66"/>
                  <a:gd name="T29" fmla="*/ 32 h 72"/>
                  <a:gd name="T30" fmla="*/ 0 w 66"/>
                  <a:gd name="T31" fmla="*/ 40 h 72"/>
                  <a:gd name="T32" fmla="*/ 0 w 66"/>
                  <a:gd name="T33" fmla="*/ 44 h 72"/>
                  <a:gd name="T34" fmla="*/ 4 w 66"/>
                  <a:gd name="T35" fmla="*/ 46 h 72"/>
                  <a:gd name="T36" fmla="*/ 16 w 66"/>
                  <a:gd name="T37" fmla="*/ 52 h 72"/>
                  <a:gd name="T38" fmla="*/ 20 w 66"/>
                  <a:gd name="T39" fmla="*/ 56 h 72"/>
                  <a:gd name="T40" fmla="*/ 26 w 66"/>
                  <a:gd name="T41" fmla="*/ 62 h 72"/>
                  <a:gd name="T42" fmla="*/ 30 w 66"/>
                  <a:gd name="T43" fmla="*/ 68 h 72"/>
                  <a:gd name="T44" fmla="*/ 32 w 66"/>
                  <a:gd name="T45" fmla="*/ 70 h 72"/>
                  <a:gd name="T46" fmla="*/ 42 w 66"/>
                  <a:gd name="T47" fmla="*/ 72 h 72"/>
                  <a:gd name="T48" fmla="*/ 50 w 66"/>
                  <a:gd name="T49" fmla="*/ 72 h 72"/>
                  <a:gd name="T50" fmla="*/ 54 w 66"/>
                  <a:gd name="T51" fmla="*/ 70 h 72"/>
                  <a:gd name="T52" fmla="*/ 56 w 66"/>
                  <a:gd name="T53" fmla="*/ 68 h 72"/>
                  <a:gd name="T54" fmla="*/ 60 w 66"/>
                  <a:gd name="T55" fmla="*/ 64 h 72"/>
                  <a:gd name="T56" fmla="*/ 64 w 66"/>
                  <a:gd name="T57" fmla="*/ 54 h 72"/>
                  <a:gd name="T58" fmla="*/ 66 w 66"/>
                  <a:gd name="T59" fmla="*/ 48 h 72"/>
                  <a:gd name="T60" fmla="*/ 66 w 66"/>
                  <a:gd name="T61" fmla="*/ 46 h 72"/>
                  <a:gd name="T62" fmla="*/ 62 w 66"/>
                  <a:gd name="T63" fmla="*/ 40 h 72"/>
                  <a:gd name="T64" fmla="*/ 58 w 66"/>
                  <a:gd name="T65" fmla="*/ 32 h 72"/>
                  <a:gd name="T66" fmla="*/ 58 w 66"/>
                  <a:gd name="T67" fmla="*/ 28 h 72"/>
                  <a:gd name="T68" fmla="*/ 60 w 66"/>
                  <a:gd name="T69" fmla="*/ 20 h 72"/>
                  <a:gd name="T70" fmla="*/ 62 w 66"/>
                  <a:gd name="T71" fmla="*/ 10 h 72"/>
                  <a:gd name="T72" fmla="*/ 62 w 66"/>
                  <a:gd name="T73" fmla="*/ 4 h 72"/>
                  <a:gd name="T74" fmla="*/ 60 w 66"/>
                  <a:gd name="T75" fmla="*/ 2 h 72"/>
                  <a:gd name="T76" fmla="*/ 58 w 66"/>
                  <a:gd name="T77" fmla="*/ 0 h 72"/>
                  <a:gd name="T78" fmla="*/ 50 w 66"/>
                  <a:gd name="T79" fmla="*/ 0 h 72"/>
                  <a:gd name="T80" fmla="*/ 42 w 66"/>
                  <a:gd name="T81" fmla="*/ 0 h 72"/>
                  <a:gd name="T82" fmla="*/ 32 w 66"/>
                  <a:gd name="T83" fmla="*/ 2 h 72"/>
                  <a:gd name="T84" fmla="*/ 26 w 66"/>
                  <a:gd name="T85" fmla="*/ 4 h 72"/>
                  <a:gd name="T86" fmla="*/ 24 w 66"/>
                  <a:gd name="T87"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 h="72">
                    <a:moveTo>
                      <a:pt x="24" y="8"/>
                    </a:moveTo>
                    <a:lnTo>
                      <a:pt x="24" y="8"/>
                    </a:lnTo>
                    <a:lnTo>
                      <a:pt x="22" y="8"/>
                    </a:lnTo>
                    <a:lnTo>
                      <a:pt x="22" y="10"/>
                    </a:lnTo>
                    <a:lnTo>
                      <a:pt x="22" y="10"/>
                    </a:lnTo>
                    <a:lnTo>
                      <a:pt x="24" y="10"/>
                    </a:lnTo>
                    <a:lnTo>
                      <a:pt x="24" y="12"/>
                    </a:lnTo>
                    <a:lnTo>
                      <a:pt x="24" y="16"/>
                    </a:lnTo>
                    <a:lnTo>
                      <a:pt x="26" y="20"/>
                    </a:lnTo>
                    <a:lnTo>
                      <a:pt x="28" y="22"/>
                    </a:lnTo>
                    <a:lnTo>
                      <a:pt x="28" y="22"/>
                    </a:lnTo>
                    <a:lnTo>
                      <a:pt x="28" y="22"/>
                    </a:lnTo>
                    <a:lnTo>
                      <a:pt x="28" y="28"/>
                    </a:lnTo>
                    <a:lnTo>
                      <a:pt x="28" y="30"/>
                    </a:lnTo>
                    <a:lnTo>
                      <a:pt x="28" y="32"/>
                    </a:lnTo>
                    <a:lnTo>
                      <a:pt x="28" y="36"/>
                    </a:lnTo>
                    <a:lnTo>
                      <a:pt x="28" y="36"/>
                    </a:lnTo>
                    <a:lnTo>
                      <a:pt x="28" y="38"/>
                    </a:lnTo>
                    <a:lnTo>
                      <a:pt x="28" y="38"/>
                    </a:lnTo>
                    <a:lnTo>
                      <a:pt x="26" y="40"/>
                    </a:lnTo>
                    <a:lnTo>
                      <a:pt x="26" y="40"/>
                    </a:lnTo>
                    <a:lnTo>
                      <a:pt x="26" y="40"/>
                    </a:lnTo>
                    <a:lnTo>
                      <a:pt x="24" y="40"/>
                    </a:lnTo>
                    <a:lnTo>
                      <a:pt x="24" y="40"/>
                    </a:lnTo>
                    <a:lnTo>
                      <a:pt x="24" y="40"/>
                    </a:lnTo>
                    <a:lnTo>
                      <a:pt x="24" y="40"/>
                    </a:lnTo>
                    <a:lnTo>
                      <a:pt x="22" y="40"/>
                    </a:lnTo>
                    <a:lnTo>
                      <a:pt x="20" y="40"/>
                    </a:lnTo>
                    <a:lnTo>
                      <a:pt x="18" y="38"/>
                    </a:lnTo>
                    <a:lnTo>
                      <a:pt x="18" y="38"/>
                    </a:lnTo>
                    <a:lnTo>
                      <a:pt x="14" y="34"/>
                    </a:lnTo>
                    <a:lnTo>
                      <a:pt x="12" y="32"/>
                    </a:lnTo>
                    <a:lnTo>
                      <a:pt x="10" y="30"/>
                    </a:lnTo>
                    <a:lnTo>
                      <a:pt x="8" y="30"/>
                    </a:lnTo>
                    <a:lnTo>
                      <a:pt x="6" y="28"/>
                    </a:lnTo>
                    <a:lnTo>
                      <a:pt x="6" y="28"/>
                    </a:lnTo>
                    <a:lnTo>
                      <a:pt x="4" y="28"/>
                    </a:lnTo>
                    <a:lnTo>
                      <a:pt x="4" y="28"/>
                    </a:lnTo>
                    <a:lnTo>
                      <a:pt x="4" y="28"/>
                    </a:lnTo>
                    <a:lnTo>
                      <a:pt x="4" y="28"/>
                    </a:lnTo>
                    <a:lnTo>
                      <a:pt x="2" y="28"/>
                    </a:lnTo>
                    <a:lnTo>
                      <a:pt x="2" y="28"/>
                    </a:lnTo>
                    <a:lnTo>
                      <a:pt x="2" y="30"/>
                    </a:lnTo>
                    <a:lnTo>
                      <a:pt x="0" y="30"/>
                    </a:lnTo>
                    <a:lnTo>
                      <a:pt x="0" y="32"/>
                    </a:lnTo>
                    <a:lnTo>
                      <a:pt x="0" y="34"/>
                    </a:lnTo>
                    <a:lnTo>
                      <a:pt x="0" y="38"/>
                    </a:lnTo>
                    <a:lnTo>
                      <a:pt x="0" y="40"/>
                    </a:lnTo>
                    <a:lnTo>
                      <a:pt x="0" y="42"/>
                    </a:lnTo>
                    <a:lnTo>
                      <a:pt x="0" y="44"/>
                    </a:lnTo>
                    <a:lnTo>
                      <a:pt x="0" y="44"/>
                    </a:lnTo>
                    <a:lnTo>
                      <a:pt x="2" y="46"/>
                    </a:lnTo>
                    <a:lnTo>
                      <a:pt x="2" y="46"/>
                    </a:lnTo>
                    <a:lnTo>
                      <a:pt x="4" y="46"/>
                    </a:lnTo>
                    <a:lnTo>
                      <a:pt x="6" y="48"/>
                    </a:lnTo>
                    <a:lnTo>
                      <a:pt x="10" y="50"/>
                    </a:lnTo>
                    <a:lnTo>
                      <a:pt x="16" y="52"/>
                    </a:lnTo>
                    <a:lnTo>
                      <a:pt x="18" y="54"/>
                    </a:lnTo>
                    <a:lnTo>
                      <a:pt x="20" y="56"/>
                    </a:lnTo>
                    <a:lnTo>
                      <a:pt x="20" y="56"/>
                    </a:lnTo>
                    <a:lnTo>
                      <a:pt x="22" y="56"/>
                    </a:lnTo>
                    <a:lnTo>
                      <a:pt x="24" y="58"/>
                    </a:lnTo>
                    <a:lnTo>
                      <a:pt x="26" y="62"/>
                    </a:lnTo>
                    <a:lnTo>
                      <a:pt x="26" y="64"/>
                    </a:lnTo>
                    <a:lnTo>
                      <a:pt x="28" y="66"/>
                    </a:lnTo>
                    <a:lnTo>
                      <a:pt x="30" y="68"/>
                    </a:lnTo>
                    <a:lnTo>
                      <a:pt x="30" y="68"/>
                    </a:lnTo>
                    <a:lnTo>
                      <a:pt x="30" y="68"/>
                    </a:lnTo>
                    <a:lnTo>
                      <a:pt x="32" y="70"/>
                    </a:lnTo>
                    <a:lnTo>
                      <a:pt x="36" y="70"/>
                    </a:lnTo>
                    <a:lnTo>
                      <a:pt x="38" y="72"/>
                    </a:lnTo>
                    <a:lnTo>
                      <a:pt x="42" y="72"/>
                    </a:lnTo>
                    <a:lnTo>
                      <a:pt x="46" y="72"/>
                    </a:lnTo>
                    <a:lnTo>
                      <a:pt x="48" y="72"/>
                    </a:lnTo>
                    <a:lnTo>
                      <a:pt x="50" y="72"/>
                    </a:lnTo>
                    <a:lnTo>
                      <a:pt x="52" y="72"/>
                    </a:lnTo>
                    <a:lnTo>
                      <a:pt x="52" y="72"/>
                    </a:lnTo>
                    <a:lnTo>
                      <a:pt x="54" y="70"/>
                    </a:lnTo>
                    <a:lnTo>
                      <a:pt x="54" y="70"/>
                    </a:lnTo>
                    <a:lnTo>
                      <a:pt x="56" y="70"/>
                    </a:lnTo>
                    <a:lnTo>
                      <a:pt x="56" y="68"/>
                    </a:lnTo>
                    <a:lnTo>
                      <a:pt x="58" y="68"/>
                    </a:lnTo>
                    <a:lnTo>
                      <a:pt x="58" y="66"/>
                    </a:lnTo>
                    <a:lnTo>
                      <a:pt x="60" y="64"/>
                    </a:lnTo>
                    <a:lnTo>
                      <a:pt x="62" y="60"/>
                    </a:lnTo>
                    <a:lnTo>
                      <a:pt x="64" y="58"/>
                    </a:lnTo>
                    <a:lnTo>
                      <a:pt x="64" y="54"/>
                    </a:lnTo>
                    <a:lnTo>
                      <a:pt x="66" y="50"/>
                    </a:lnTo>
                    <a:lnTo>
                      <a:pt x="66" y="50"/>
                    </a:lnTo>
                    <a:lnTo>
                      <a:pt x="66" y="48"/>
                    </a:lnTo>
                    <a:lnTo>
                      <a:pt x="66" y="48"/>
                    </a:lnTo>
                    <a:lnTo>
                      <a:pt x="66" y="46"/>
                    </a:lnTo>
                    <a:lnTo>
                      <a:pt x="66" y="46"/>
                    </a:lnTo>
                    <a:lnTo>
                      <a:pt x="64" y="44"/>
                    </a:lnTo>
                    <a:lnTo>
                      <a:pt x="64" y="42"/>
                    </a:lnTo>
                    <a:lnTo>
                      <a:pt x="62" y="40"/>
                    </a:lnTo>
                    <a:lnTo>
                      <a:pt x="60" y="34"/>
                    </a:lnTo>
                    <a:lnTo>
                      <a:pt x="58" y="32"/>
                    </a:lnTo>
                    <a:lnTo>
                      <a:pt x="58" y="32"/>
                    </a:lnTo>
                    <a:lnTo>
                      <a:pt x="58" y="30"/>
                    </a:lnTo>
                    <a:lnTo>
                      <a:pt x="58" y="30"/>
                    </a:lnTo>
                    <a:lnTo>
                      <a:pt x="58" y="28"/>
                    </a:lnTo>
                    <a:lnTo>
                      <a:pt x="58" y="26"/>
                    </a:lnTo>
                    <a:lnTo>
                      <a:pt x="58" y="24"/>
                    </a:lnTo>
                    <a:lnTo>
                      <a:pt x="60" y="20"/>
                    </a:lnTo>
                    <a:lnTo>
                      <a:pt x="60" y="16"/>
                    </a:lnTo>
                    <a:lnTo>
                      <a:pt x="62" y="12"/>
                    </a:lnTo>
                    <a:lnTo>
                      <a:pt x="62" y="10"/>
                    </a:lnTo>
                    <a:lnTo>
                      <a:pt x="62" y="8"/>
                    </a:lnTo>
                    <a:lnTo>
                      <a:pt x="62" y="6"/>
                    </a:lnTo>
                    <a:lnTo>
                      <a:pt x="62" y="4"/>
                    </a:lnTo>
                    <a:lnTo>
                      <a:pt x="62" y="4"/>
                    </a:lnTo>
                    <a:lnTo>
                      <a:pt x="62" y="4"/>
                    </a:lnTo>
                    <a:lnTo>
                      <a:pt x="60" y="2"/>
                    </a:lnTo>
                    <a:lnTo>
                      <a:pt x="60" y="2"/>
                    </a:lnTo>
                    <a:lnTo>
                      <a:pt x="60" y="2"/>
                    </a:lnTo>
                    <a:lnTo>
                      <a:pt x="58" y="0"/>
                    </a:lnTo>
                    <a:lnTo>
                      <a:pt x="56" y="0"/>
                    </a:lnTo>
                    <a:lnTo>
                      <a:pt x="52" y="0"/>
                    </a:lnTo>
                    <a:lnTo>
                      <a:pt x="50" y="0"/>
                    </a:lnTo>
                    <a:lnTo>
                      <a:pt x="48" y="0"/>
                    </a:lnTo>
                    <a:lnTo>
                      <a:pt x="44" y="0"/>
                    </a:lnTo>
                    <a:lnTo>
                      <a:pt x="42" y="0"/>
                    </a:lnTo>
                    <a:lnTo>
                      <a:pt x="38" y="0"/>
                    </a:lnTo>
                    <a:lnTo>
                      <a:pt x="36" y="0"/>
                    </a:lnTo>
                    <a:lnTo>
                      <a:pt x="32" y="2"/>
                    </a:lnTo>
                    <a:lnTo>
                      <a:pt x="30" y="2"/>
                    </a:lnTo>
                    <a:lnTo>
                      <a:pt x="28" y="4"/>
                    </a:lnTo>
                    <a:lnTo>
                      <a:pt x="26" y="4"/>
                    </a:lnTo>
                    <a:lnTo>
                      <a:pt x="24" y="6"/>
                    </a:lnTo>
                    <a:lnTo>
                      <a:pt x="24" y="6"/>
                    </a:lnTo>
                    <a:lnTo>
                      <a:pt x="24" y="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12" name="Freeform 556">
                <a:extLst>
                  <a:ext uri="{FF2B5EF4-FFF2-40B4-BE49-F238E27FC236}">
                    <a16:creationId xmlns:a16="http://schemas.microsoft.com/office/drawing/2014/main" id="{1966804A-F9BC-4A3C-A0DF-C4DF66840C1F}"/>
                  </a:ext>
                </a:extLst>
              </p:cNvPr>
              <p:cNvSpPr>
                <a:spLocks/>
              </p:cNvSpPr>
              <p:nvPr/>
            </p:nvSpPr>
            <p:spPr bwMode="auto">
              <a:xfrm>
                <a:off x="2319628" y="2679867"/>
                <a:ext cx="66675" cy="53975"/>
              </a:xfrm>
              <a:custGeom>
                <a:avLst/>
                <a:gdLst>
                  <a:gd name="T0" fmla="*/ 22 w 42"/>
                  <a:gd name="T1" fmla="*/ 0 h 34"/>
                  <a:gd name="T2" fmla="*/ 22 w 42"/>
                  <a:gd name="T3" fmla="*/ 0 h 34"/>
                  <a:gd name="T4" fmla="*/ 20 w 42"/>
                  <a:gd name="T5" fmla="*/ 0 h 34"/>
                  <a:gd name="T6" fmla="*/ 20 w 42"/>
                  <a:gd name="T7" fmla="*/ 2 h 34"/>
                  <a:gd name="T8" fmla="*/ 18 w 42"/>
                  <a:gd name="T9" fmla="*/ 2 h 34"/>
                  <a:gd name="T10" fmla="*/ 18 w 42"/>
                  <a:gd name="T11" fmla="*/ 2 h 34"/>
                  <a:gd name="T12" fmla="*/ 16 w 42"/>
                  <a:gd name="T13" fmla="*/ 4 h 34"/>
                  <a:gd name="T14" fmla="*/ 14 w 42"/>
                  <a:gd name="T15" fmla="*/ 4 h 34"/>
                  <a:gd name="T16" fmla="*/ 12 w 42"/>
                  <a:gd name="T17" fmla="*/ 6 h 34"/>
                  <a:gd name="T18" fmla="*/ 10 w 42"/>
                  <a:gd name="T19" fmla="*/ 8 h 34"/>
                  <a:gd name="T20" fmla="*/ 8 w 42"/>
                  <a:gd name="T21" fmla="*/ 10 h 34"/>
                  <a:gd name="T22" fmla="*/ 6 w 42"/>
                  <a:gd name="T23" fmla="*/ 12 h 34"/>
                  <a:gd name="T24" fmla="*/ 6 w 42"/>
                  <a:gd name="T25" fmla="*/ 12 h 34"/>
                  <a:gd name="T26" fmla="*/ 4 w 42"/>
                  <a:gd name="T27" fmla="*/ 16 h 34"/>
                  <a:gd name="T28" fmla="*/ 2 w 42"/>
                  <a:gd name="T29" fmla="*/ 18 h 34"/>
                  <a:gd name="T30" fmla="*/ 2 w 42"/>
                  <a:gd name="T31" fmla="*/ 20 h 34"/>
                  <a:gd name="T32" fmla="*/ 0 w 42"/>
                  <a:gd name="T33" fmla="*/ 22 h 34"/>
                  <a:gd name="T34" fmla="*/ 0 w 42"/>
                  <a:gd name="T35" fmla="*/ 24 h 34"/>
                  <a:gd name="T36" fmla="*/ 0 w 42"/>
                  <a:gd name="T37" fmla="*/ 26 h 34"/>
                  <a:gd name="T38" fmla="*/ 0 w 42"/>
                  <a:gd name="T39" fmla="*/ 26 h 34"/>
                  <a:gd name="T40" fmla="*/ 0 w 42"/>
                  <a:gd name="T41" fmla="*/ 28 h 34"/>
                  <a:gd name="T42" fmla="*/ 0 w 42"/>
                  <a:gd name="T43" fmla="*/ 28 h 34"/>
                  <a:gd name="T44" fmla="*/ 2 w 42"/>
                  <a:gd name="T45" fmla="*/ 30 h 34"/>
                  <a:gd name="T46" fmla="*/ 2 w 42"/>
                  <a:gd name="T47" fmla="*/ 30 h 34"/>
                  <a:gd name="T48" fmla="*/ 4 w 42"/>
                  <a:gd name="T49" fmla="*/ 32 h 34"/>
                  <a:gd name="T50" fmla="*/ 4 w 42"/>
                  <a:gd name="T51" fmla="*/ 32 h 34"/>
                  <a:gd name="T52" fmla="*/ 6 w 42"/>
                  <a:gd name="T53" fmla="*/ 32 h 34"/>
                  <a:gd name="T54" fmla="*/ 8 w 42"/>
                  <a:gd name="T55" fmla="*/ 32 h 34"/>
                  <a:gd name="T56" fmla="*/ 10 w 42"/>
                  <a:gd name="T57" fmla="*/ 32 h 34"/>
                  <a:gd name="T58" fmla="*/ 12 w 42"/>
                  <a:gd name="T59" fmla="*/ 34 h 34"/>
                  <a:gd name="T60" fmla="*/ 14 w 42"/>
                  <a:gd name="T61" fmla="*/ 34 h 34"/>
                  <a:gd name="T62" fmla="*/ 18 w 42"/>
                  <a:gd name="T63" fmla="*/ 34 h 34"/>
                  <a:gd name="T64" fmla="*/ 20 w 42"/>
                  <a:gd name="T65" fmla="*/ 32 h 34"/>
                  <a:gd name="T66" fmla="*/ 24 w 42"/>
                  <a:gd name="T67" fmla="*/ 32 h 34"/>
                  <a:gd name="T68" fmla="*/ 26 w 42"/>
                  <a:gd name="T69" fmla="*/ 32 h 34"/>
                  <a:gd name="T70" fmla="*/ 28 w 42"/>
                  <a:gd name="T71" fmla="*/ 32 h 34"/>
                  <a:gd name="T72" fmla="*/ 32 w 42"/>
                  <a:gd name="T73" fmla="*/ 30 h 34"/>
                  <a:gd name="T74" fmla="*/ 34 w 42"/>
                  <a:gd name="T75" fmla="*/ 30 h 34"/>
                  <a:gd name="T76" fmla="*/ 36 w 42"/>
                  <a:gd name="T77" fmla="*/ 28 h 34"/>
                  <a:gd name="T78" fmla="*/ 38 w 42"/>
                  <a:gd name="T79" fmla="*/ 26 h 34"/>
                  <a:gd name="T80" fmla="*/ 40 w 42"/>
                  <a:gd name="T81" fmla="*/ 26 h 34"/>
                  <a:gd name="T82" fmla="*/ 40 w 42"/>
                  <a:gd name="T83" fmla="*/ 26 h 34"/>
                  <a:gd name="T84" fmla="*/ 42 w 42"/>
                  <a:gd name="T85" fmla="*/ 24 h 34"/>
                  <a:gd name="T86" fmla="*/ 42 w 42"/>
                  <a:gd name="T87" fmla="*/ 24 h 34"/>
                  <a:gd name="T88" fmla="*/ 42 w 42"/>
                  <a:gd name="T89" fmla="*/ 22 h 34"/>
                  <a:gd name="T90" fmla="*/ 42 w 42"/>
                  <a:gd name="T91" fmla="*/ 22 h 34"/>
                  <a:gd name="T92" fmla="*/ 42 w 42"/>
                  <a:gd name="T93" fmla="*/ 20 h 34"/>
                  <a:gd name="T94" fmla="*/ 42 w 42"/>
                  <a:gd name="T95" fmla="*/ 18 h 34"/>
                  <a:gd name="T96" fmla="*/ 42 w 42"/>
                  <a:gd name="T97" fmla="*/ 18 h 34"/>
                  <a:gd name="T98" fmla="*/ 40 w 42"/>
                  <a:gd name="T99" fmla="*/ 16 h 34"/>
                  <a:gd name="T100" fmla="*/ 40 w 42"/>
                  <a:gd name="T101" fmla="*/ 14 h 34"/>
                  <a:gd name="T102" fmla="*/ 38 w 42"/>
                  <a:gd name="T103" fmla="*/ 12 h 34"/>
                  <a:gd name="T104" fmla="*/ 36 w 42"/>
                  <a:gd name="T105" fmla="*/ 10 h 34"/>
                  <a:gd name="T106" fmla="*/ 36 w 42"/>
                  <a:gd name="T107" fmla="*/ 8 h 34"/>
                  <a:gd name="T108" fmla="*/ 34 w 42"/>
                  <a:gd name="T109" fmla="*/ 8 h 34"/>
                  <a:gd name="T110" fmla="*/ 32 w 42"/>
                  <a:gd name="T111" fmla="*/ 6 h 34"/>
                  <a:gd name="T112" fmla="*/ 30 w 42"/>
                  <a:gd name="T113" fmla="*/ 4 h 34"/>
                  <a:gd name="T114" fmla="*/ 28 w 42"/>
                  <a:gd name="T115" fmla="*/ 4 h 34"/>
                  <a:gd name="T116" fmla="*/ 26 w 42"/>
                  <a:gd name="T117" fmla="*/ 2 h 34"/>
                  <a:gd name="T118" fmla="*/ 24 w 42"/>
                  <a:gd name="T119" fmla="*/ 2 h 34"/>
                  <a:gd name="T120" fmla="*/ 24 w 42"/>
                  <a:gd name="T121" fmla="*/ 2 h 34"/>
                  <a:gd name="T122" fmla="*/ 22 w 42"/>
                  <a:gd name="T1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 h="34">
                    <a:moveTo>
                      <a:pt x="22" y="0"/>
                    </a:moveTo>
                    <a:lnTo>
                      <a:pt x="22" y="0"/>
                    </a:lnTo>
                    <a:lnTo>
                      <a:pt x="20" y="0"/>
                    </a:lnTo>
                    <a:lnTo>
                      <a:pt x="20" y="2"/>
                    </a:lnTo>
                    <a:lnTo>
                      <a:pt x="18" y="2"/>
                    </a:lnTo>
                    <a:lnTo>
                      <a:pt x="18" y="2"/>
                    </a:lnTo>
                    <a:lnTo>
                      <a:pt x="16" y="4"/>
                    </a:lnTo>
                    <a:lnTo>
                      <a:pt x="14" y="4"/>
                    </a:lnTo>
                    <a:lnTo>
                      <a:pt x="12" y="6"/>
                    </a:lnTo>
                    <a:lnTo>
                      <a:pt x="10" y="8"/>
                    </a:lnTo>
                    <a:lnTo>
                      <a:pt x="8" y="10"/>
                    </a:lnTo>
                    <a:lnTo>
                      <a:pt x="6" y="12"/>
                    </a:lnTo>
                    <a:lnTo>
                      <a:pt x="6" y="12"/>
                    </a:lnTo>
                    <a:lnTo>
                      <a:pt x="4" y="16"/>
                    </a:lnTo>
                    <a:lnTo>
                      <a:pt x="2" y="18"/>
                    </a:lnTo>
                    <a:lnTo>
                      <a:pt x="2" y="20"/>
                    </a:lnTo>
                    <a:lnTo>
                      <a:pt x="0" y="22"/>
                    </a:lnTo>
                    <a:lnTo>
                      <a:pt x="0" y="24"/>
                    </a:lnTo>
                    <a:lnTo>
                      <a:pt x="0" y="26"/>
                    </a:lnTo>
                    <a:lnTo>
                      <a:pt x="0" y="26"/>
                    </a:lnTo>
                    <a:lnTo>
                      <a:pt x="0" y="28"/>
                    </a:lnTo>
                    <a:lnTo>
                      <a:pt x="0" y="28"/>
                    </a:lnTo>
                    <a:lnTo>
                      <a:pt x="2" y="30"/>
                    </a:lnTo>
                    <a:lnTo>
                      <a:pt x="2" y="30"/>
                    </a:lnTo>
                    <a:lnTo>
                      <a:pt x="4" y="32"/>
                    </a:lnTo>
                    <a:lnTo>
                      <a:pt x="4" y="32"/>
                    </a:lnTo>
                    <a:lnTo>
                      <a:pt x="6" y="32"/>
                    </a:lnTo>
                    <a:lnTo>
                      <a:pt x="8" y="32"/>
                    </a:lnTo>
                    <a:lnTo>
                      <a:pt x="10" y="32"/>
                    </a:lnTo>
                    <a:lnTo>
                      <a:pt x="12" y="34"/>
                    </a:lnTo>
                    <a:lnTo>
                      <a:pt x="14" y="34"/>
                    </a:lnTo>
                    <a:lnTo>
                      <a:pt x="18" y="34"/>
                    </a:lnTo>
                    <a:lnTo>
                      <a:pt x="20" y="32"/>
                    </a:lnTo>
                    <a:lnTo>
                      <a:pt x="24" y="32"/>
                    </a:lnTo>
                    <a:lnTo>
                      <a:pt x="26" y="32"/>
                    </a:lnTo>
                    <a:lnTo>
                      <a:pt x="28" y="32"/>
                    </a:lnTo>
                    <a:lnTo>
                      <a:pt x="32" y="30"/>
                    </a:lnTo>
                    <a:lnTo>
                      <a:pt x="34" y="30"/>
                    </a:lnTo>
                    <a:lnTo>
                      <a:pt x="36" y="28"/>
                    </a:lnTo>
                    <a:lnTo>
                      <a:pt x="38" y="26"/>
                    </a:lnTo>
                    <a:lnTo>
                      <a:pt x="40" y="26"/>
                    </a:lnTo>
                    <a:lnTo>
                      <a:pt x="40" y="26"/>
                    </a:lnTo>
                    <a:lnTo>
                      <a:pt x="42" y="24"/>
                    </a:lnTo>
                    <a:lnTo>
                      <a:pt x="42" y="24"/>
                    </a:lnTo>
                    <a:lnTo>
                      <a:pt x="42" y="22"/>
                    </a:lnTo>
                    <a:lnTo>
                      <a:pt x="42" y="22"/>
                    </a:lnTo>
                    <a:lnTo>
                      <a:pt x="42" y="20"/>
                    </a:lnTo>
                    <a:lnTo>
                      <a:pt x="42" y="18"/>
                    </a:lnTo>
                    <a:lnTo>
                      <a:pt x="42" y="18"/>
                    </a:lnTo>
                    <a:lnTo>
                      <a:pt x="40" y="16"/>
                    </a:lnTo>
                    <a:lnTo>
                      <a:pt x="40" y="14"/>
                    </a:lnTo>
                    <a:lnTo>
                      <a:pt x="38" y="12"/>
                    </a:lnTo>
                    <a:lnTo>
                      <a:pt x="36" y="10"/>
                    </a:lnTo>
                    <a:lnTo>
                      <a:pt x="36" y="8"/>
                    </a:lnTo>
                    <a:lnTo>
                      <a:pt x="34" y="8"/>
                    </a:lnTo>
                    <a:lnTo>
                      <a:pt x="32" y="6"/>
                    </a:lnTo>
                    <a:lnTo>
                      <a:pt x="30" y="4"/>
                    </a:lnTo>
                    <a:lnTo>
                      <a:pt x="28" y="4"/>
                    </a:lnTo>
                    <a:lnTo>
                      <a:pt x="26" y="2"/>
                    </a:lnTo>
                    <a:lnTo>
                      <a:pt x="24" y="2"/>
                    </a:lnTo>
                    <a:lnTo>
                      <a:pt x="24" y="2"/>
                    </a:lnTo>
                    <a:lnTo>
                      <a:pt x="22"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13" name="Freeform 558">
                <a:extLst>
                  <a:ext uri="{FF2B5EF4-FFF2-40B4-BE49-F238E27FC236}">
                    <a16:creationId xmlns:a16="http://schemas.microsoft.com/office/drawing/2014/main" id="{C47F21E1-FD67-4EBA-8825-4177BEA9B169}"/>
                  </a:ext>
                </a:extLst>
              </p:cNvPr>
              <p:cNvSpPr>
                <a:spLocks/>
              </p:cNvSpPr>
              <p:nvPr/>
            </p:nvSpPr>
            <p:spPr bwMode="auto">
              <a:xfrm>
                <a:off x="2430753" y="2517942"/>
                <a:ext cx="111125" cy="85725"/>
              </a:xfrm>
              <a:custGeom>
                <a:avLst/>
                <a:gdLst>
                  <a:gd name="T0" fmla="*/ 2 w 70"/>
                  <a:gd name="T1" fmla="*/ 52 h 54"/>
                  <a:gd name="T2" fmla="*/ 2 w 70"/>
                  <a:gd name="T3" fmla="*/ 50 h 54"/>
                  <a:gd name="T4" fmla="*/ 0 w 70"/>
                  <a:gd name="T5" fmla="*/ 48 h 54"/>
                  <a:gd name="T6" fmla="*/ 0 w 70"/>
                  <a:gd name="T7" fmla="*/ 46 h 54"/>
                  <a:gd name="T8" fmla="*/ 2 w 70"/>
                  <a:gd name="T9" fmla="*/ 38 h 54"/>
                  <a:gd name="T10" fmla="*/ 4 w 70"/>
                  <a:gd name="T11" fmla="*/ 30 h 54"/>
                  <a:gd name="T12" fmla="*/ 6 w 70"/>
                  <a:gd name="T13" fmla="*/ 22 h 54"/>
                  <a:gd name="T14" fmla="*/ 8 w 70"/>
                  <a:gd name="T15" fmla="*/ 18 h 54"/>
                  <a:gd name="T16" fmla="*/ 12 w 70"/>
                  <a:gd name="T17" fmla="*/ 12 h 54"/>
                  <a:gd name="T18" fmla="*/ 12 w 70"/>
                  <a:gd name="T19" fmla="*/ 10 h 54"/>
                  <a:gd name="T20" fmla="*/ 14 w 70"/>
                  <a:gd name="T21" fmla="*/ 8 h 54"/>
                  <a:gd name="T22" fmla="*/ 20 w 70"/>
                  <a:gd name="T23" fmla="*/ 6 h 54"/>
                  <a:gd name="T24" fmla="*/ 26 w 70"/>
                  <a:gd name="T25" fmla="*/ 2 h 54"/>
                  <a:gd name="T26" fmla="*/ 32 w 70"/>
                  <a:gd name="T27" fmla="*/ 2 h 54"/>
                  <a:gd name="T28" fmla="*/ 38 w 70"/>
                  <a:gd name="T29" fmla="*/ 0 h 54"/>
                  <a:gd name="T30" fmla="*/ 42 w 70"/>
                  <a:gd name="T31" fmla="*/ 0 h 54"/>
                  <a:gd name="T32" fmla="*/ 50 w 70"/>
                  <a:gd name="T33" fmla="*/ 2 h 54"/>
                  <a:gd name="T34" fmla="*/ 56 w 70"/>
                  <a:gd name="T35" fmla="*/ 4 h 54"/>
                  <a:gd name="T36" fmla="*/ 62 w 70"/>
                  <a:gd name="T37" fmla="*/ 4 h 54"/>
                  <a:gd name="T38" fmla="*/ 66 w 70"/>
                  <a:gd name="T39" fmla="*/ 6 h 54"/>
                  <a:gd name="T40" fmla="*/ 70 w 70"/>
                  <a:gd name="T41" fmla="*/ 6 h 54"/>
                  <a:gd name="T42" fmla="*/ 70 w 70"/>
                  <a:gd name="T43" fmla="*/ 8 h 54"/>
                  <a:gd name="T44" fmla="*/ 70 w 70"/>
                  <a:gd name="T45" fmla="*/ 8 h 54"/>
                  <a:gd name="T46" fmla="*/ 70 w 70"/>
                  <a:gd name="T47" fmla="*/ 10 h 54"/>
                  <a:gd name="T48" fmla="*/ 68 w 70"/>
                  <a:gd name="T49" fmla="*/ 12 h 54"/>
                  <a:gd name="T50" fmla="*/ 66 w 70"/>
                  <a:gd name="T51" fmla="*/ 16 h 54"/>
                  <a:gd name="T52" fmla="*/ 62 w 70"/>
                  <a:gd name="T53" fmla="*/ 20 h 54"/>
                  <a:gd name="T54" fmla="*/ 58 w 70"/>
                  <a:gd name="T55" fmla="*/ 22 h 54"/>
                  <a:gd name="T56" fmla="*/ 50 w 70"/>
                  <a:gd name="T57" fmla="*/ 28 h 54"/>
                  <a:gd name="T58" fmla="*/ 46 w 70"/>
                  <a:gd name="T59" fmla="*/ 34 h 54"/>
                  <a:gd name="T60" fmla="*/ 40 w 70"/>
                  <a:gd name="T61" fmla="*/ 36 h 54"/>
                  <a:gd name="T62" fmla="*/ 38 w 70"/>
                  <a:gd name="T63" fmla="*/ 38 h 54"/>
                  <a:gd name="T64" fmla="*/ 36 w 70"/>
                  <a:gd name="T65" fmla="*/ 38 h 54"/>
                  <a:gd name="T66" fmla="*/ 30 w 70"/>
                  <a:gd name="T67" fmla="*/ 38 h 54"/>
                  <a:gd name="T68" fmla="*/ 26 w 70"/>
                  <a:gd name="T69" fmla="*/ 36 h 54"/>
                  <a:gd name="T70" fmla="*/ 24 w 70"/>
                  <a:gd name="T71" fmla="*/ 38 h 54"/>
                  <a:gd name="T72" fmla="*/ 22 w 70"/>
                  <a:gd name="T73" fmla="*/ 38 h 54"/>
                  <a:gd name="T74" fmla="*/ 22 w 70"/>
                  <a:gd name="T75" fmla="*/ 38 h 54"/>
                  <a:gd name="T76" fmla="*/ 20 w 70"/>
                  <a:gd name="T77" fmla="*/ 40 h 54"/>
                  <a:gd name="T78" fmla="*/ 20 w 70"/>
                  <a:gd name="T79" fmla="*/ 46 h 54"/>
                  <a:gd name="T80" fmla="*/ 18 w 70"/>
                  <a:gd name="T81" fmla="*/ 50 h 54"/>
                  <a:gd name="T82" fmla="*/ 18 w 70"/>
                  <a:gd name="T83" fmla="*/ 52 h 54"/>
                  <a:gd name="T84" fmla="*/ 18 w 70"/>
                  <a:gd name="T85" fmla="*/ 52 h 54"/>
                  <a:gd name="T86" fmla="*/ 16 w 70"/>
                  <a:gd name="T87" fmla="*/ 54 h 54"/>
                  <a:gd name="T88" fmla="*/ 12 w 70"/>
                  <a:gd name="T89" fmla="*/ 54 h 54"/>
                  <a:gd name="T90" fmla="*/ 8 w 70"/>
                  <a:gd name="T91" fmla="*/ 54 h 54"/>
                  <a:gd name="T92" fmla="*/ 4 w 70"/>
                  <a:gd name="T93" fmla="*/ 54 h 54"/>
                  <a:gd name="T94" fmla="*/ 2 w 70"/>
                  <a:gd name="T9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0" h="54">
                    <a:moveTo>
                      <a:pt x="2" y="52"/>
                    </a:moveTo>
                    <a:lnTo>
                      <a:pt x="2" y="52"/>
                    </a:lnTo>
                    <a:lnTo>
                      <a:pt x="2" y="52"/>
                    </a:lnTo>
                    <a:lnTo>
                      <a:pt x="2" y="50"/>
                    </a:lnTo>
                    <a:lnTo>
                      <a:pt x="0" y="50"/>
                    </a:lnTo>
                    <a:lnTo>
                      <a:pt x="0" y="48"/>
                    </a:lnTo>
                    <a:lnTo>
                      <a:pt x="0" y="46"/>
                    </a:lnTo>
                    <a:lnTo>
                      <a:pt x="0" y="46"/>
                    </a:lnTo>
                    <a:lnTo>
                      <a:pt x="2" y="42"/>
                    </a:lnTo>
                    <a:lnTo>
                      <a:pt x="2" y="38"/>
                    </a:lnTo>
                    <a:lnTo>
                      <a:pt x="4" y="36"/>
                    </a:lnTo>
                    <a:lnTo>
                      <a:pt x="4" y="30"/>
                    </a:lnTo>
                    <a:lnTo>
                      <a:pt x="6" y="26"/>
                    </a:lnTo>
                    <a:lnTo>
                      <a:pt x="6" y="22"/>
                    </a:lnTo>
                    <a:lnTo>
                      <a:pt x="8" y="20"/>
                    </a:lnTo>
                    <a:lnTo>
                      <a:pt x="8" y="18"/>
                    </a:lnTo>
                    <a:lnTo>
                      <a:pt x="10" y="14"/>
                    </a:lnTo>
                    <a:lnTo>
                      <a:pt x="12" y="12"/>
                    </a:lnTo>
                    <a:lnTo>
                      <a:pt x="12" y="12"/>
                    </a:lnTo>
                    <a:lnTo>
                      <a:pt x="12" y="10"/>
                    </a:lnTo>
                    <a:lnTo>
                      <a:pt x="14" y="10"/>
                    </a:lnTo>
                    <a:lnTo>
                      <a:pt x="14" y="8"/>
                    </a:lnTo>
                    <a:lnTo>
                      <a:pt x="16" y="8"/>
                    </a:lnTo>
                    <a:lnTo>
                      <a:pt x="20" y="6"/>
                    </a:lnTo>
                    <a:lnTo>
                      <a:pt x="22" y="4"/>
                    </a:lnTo>
                    <a:lnTo>
                      <a:pt x="26" y="2"/>
                    </a:lnTo>
                    <a:lnTo>
                      <a:pt x="30" y="2"/>
                    </a:lnTo>
                    <a:lnTo>
                      <a:pt x="32" y="2"/>
                    </a:lnTo>
                    <a:lnTo>
                      <a:pt x="34" y="0"/>
                    </a:lnTo>
                    <a:lnTo>
                      <a:pt x="38" y="0"/>
                    </a:lnTo>
                    <a:lnTo>
                      <a:pt x="40" y="0"/>
                    </a:lnTo>
                    <a:lnTo>
                      <a:pt x="42" y="0"/>
                    </a:lnTo>
                    <a:lnTo>
                      <a:pt x="46" y="2"/>
                    </a:lnTo>
                    <a:lnTo>
                      <a:pt x="50" y="2"/>
                    </a:lnTo>
                    <a:lnTo>
                      <a:pt x="56" y="2"/>
                    </a:lnTo>
                    <a:lnTo>
                      <a:pt x="56" y="4"/>
                    </a:lnTo>
                    <a:lnTo>
                      <a:pt x="60" y="4"/>
                    </a:lnTo>
                    <a:lnTo>
                      <a:pt x="62" y="4"/>
                    </a:lnTo>
                    <a:lnTo>
                      <a:pt x="64" y="4"/>
                    </a:lnTo>
                    <a:lnTo>
                      <a:pt x="66" y="6"/>
                    </a:lnTo>
                    <a:lnTo>
                      <a:pt x="68" y="6"/>
                    </a:lnTo>
                    <a:lnTo>
                      <a:pt x="70" y="6"/>
                    </a:lnTo>
                    <a:lnTo>
                      <a:pt x="70" y="6"/>
                    </a:lnTo>
                    <a:lnTo>
                      <a:pt x="70" y="8"/>
                    </a:lnTo>
                    <a:lnTo>
                      <a:pt x="70" y="8"/>
                    </a:lnTo>
                    <a:lnTo>
                      <a:pt x="70" y="8"/>
                    </a:lnTo>
                    <a:lnTo>
                      <a:pt x="70" y="10"/>
                    </a:lnTo>
                    <a:lnTo>
                      <a:pt x="70" y="10"/>
                    </a:lnTo>
                    <a:lnTo>
                      <a:pt x="70" y="12"/>
                    </a:lnTo>
                    <a:lnTo>
                      <a:pt x="68" y="12"/>
                    </a:lnTo>
                    <a:lnTo>
                      <a:pt x="68" y="14"/>
                    </a:lnTo>
                    <a:lnTo>
                      <a:pt x="66" y="16"/>
                    </a:lnTo>
                    <a:lnTo>
                      <a:pt x="64" y="18"/>
                    </a:lnTo>
                    <a:lnTo>
                      <a:pt x="62" y="20"/>
                    </a:lnTo>
                    <a:lnTo>
                      <a:pt x="60" y="22"/>
                    </a:lnTo>
                    <a:lnTo>
                      <a:pt x="58" y="22"/>
                    </a:lnTo>
                    <a:lnTo>
                      <a:pt x="54" y="26"/>
                    </a:lnTo>
                    <a:lnTo>
                      <a:pt x="50" y="28"/>
                    </a:lnTo>
                    <a:lnTo>
                      <a:pt x="48" y="32"/>
                    </a:lnTo>
                    <a:lnTo>
                      <a:pt x="46" y="34"/>
                    </a:lnTo>
                    <a:lnTo>
                      <a:pt x="42" y="36"/>
                    </a:lnTo>
                    <a:lnTo>
                      <a:pt x="40" y="36"/>
                    </a:lnTo>
                    <a:lnTo>
                      <a:pt x="38" y="38"/>
                    </a:lnTo>
                    <a:lnTo>
                      <a:pt x="38" y="38"/>
                    </a:lnTo>
                    <a:lnTo>
                      <a:pt x="36" y="38"/>
                    </a:lnTo>
                    <a:lnTo>
                      <a:pt x="36" y="38"/>
                    </a:lnTo>
                    <a:lnTo>
                      <a:pt x="34" y="38"/>
                    </a:lnTo>
                    <a:lnTo>
                      <a:pt x="30" y="38"/>
                    </a:lnTo>
                    <a:lnTo>
                      <a:pt x="28" y="36"/>
                    </a:lnTo>
                    <a:lnTo>
                      <a:pt x="26" y="36"/>
                    </a:lnTo>
                    <a:lnTo>
                      <a:pt x="24" y="36"/>
                    </a:lnTo>
                    <a:lnTo>
                      <a:pt x="24" y="38"/>
                    </a:lnTo>
                    <a:lnTo>
                      <a:pt x="22" y="38"/>
                    </a:lnTo>
                    <a:lnTo>
                      <a:pt x="22" y="38"/>
                    </a:lnTo>
                    <a:lnTo>
                      <a:pt x="22" y="38"/>
                    </a:lnTo>
                    <a:lnTo>
                      <a:pt x="22" y="38"/>
                    </a:lnTo>
                    <a:lnTo>
                      <a:pt x="20" y="40"/>
                    </a:lnTo>
                    <a:lnTo>
                      <a:pt x="20" y="40"/>
                    </a:lnTo>
                    <a:lnTo>
                      <a:pt x="20" y="42"/>
                    </a:lnTo>
                    <a:lnTo>
                      <a:pt x="20" y="46"/>
                    </a:lnTo>
                    <a:lnTo>
                      <a:pt x="20" y="48"/>
                    </a:lnTo>
                    <a:lnTo>
                      <a:pt x="18" y="50"/>
                    </a:lnTo>
                    <a:lnTo>
                      <a:pt x="18" y="50"/>
                    </a:lnTo>
                    <a:lnTo>
                      <a:pt x="18" y="52"/>
                    </a:lnTo>
                    <a:lnTo>
                      <a:pt x="18" y="52"/>
                    </a:lnTo>
                    <a:lnTo>
                      <a:pt x="18" y="52"/>
                    </a:lnTo>
                    <a:lnTo>
                      <a:pt x="16" y="54"/>
                    </a:lnTo>
                    <a:lnTo>
                      <a:pt x="16" y="54"/>
                    </a:lnTo>
                    <a:lnTo>
                      <a:pt x="14" y="54"/>
                    </a:lnTo>
                    <a:lnTo>
                      <a:pt x="12" y="54"/>
                    </a:lnTo>
                    <a:lnTo>
                      <a:pt x="10" y="54"/>
                    </a:lnTo>
                    <a:lnTo>
                      <a:pt x="8" y="54"/>
                    </a:lnTo>
                    <a:lnTo>
                      <a:pt x="6" y="54"/>
                    </a:lnTo>
                    <a:lnTo>
                      <a:pt x="4" y="54"/>
                    </a:lnTo>
                    <a:lnTo>
                      <a:pt x="4" y="54"/>
                    </a:lnTo>
                    <a:lnTo>
                      <a:pt x="2" y="54"/>
                    </a:lnTo>
                    <a:lnTo>
                      <a:pt x="2" y="5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14" name="Freeform 560">
                <a:extLst>
                  <a:ext uri="{FF2B5EF4-FFF2-40B4-BE49-F238E27FC236}">
                    <a16:creationId xmlns:a16="http://schemas.microsoft.com/office/drawing/2014/main" id="{0FC07B81-6132-4E2C-B8C7-A859D94BCDF5}"/>
                  </a:ext>
                </a:extLst>
              </p:cNvPr>
              <p:cNvSpPr>
                <a:spLocks/>
              </p:cNvSpPr>
              <p:nvPr/>
            </p:nvSpPr>
            <p:spPr bwMode="auto">
              <a:xfrm>
                <a:off x="2548228" y="2521117"/>
                <a:ext cx="517525" cy="473075"/>
              </a:xfrm>
              <a:custGeom>
                <a:avLst/>
                <a:gdLst>
                  <a:gd name="T0" fmla="*/ 38 w 326"/>
                  <a:gd name="T1" fmla="*/ 2 h 298"/>
                  <a:gd name="T2" fmla="*/ 16 w 326"/>
                  <a:gd name="T3" fmla="*/ 16 h 298"/>
                  <a:gd name="T4" fmla="*/ 0 w 326"/>
                  <a:gd name="T5" fmla="*/ 50 h 298"/>
                  <a:gd name="T6" fmla="*/ 6 w 326"/>
                  <a:gd name="T7" fmla="*/ 72 h 298"/>
                  <a:gd name="T8" fmla="*/ 26 w 326"/>
                  <a:gd name="T9" fmla="*/ 80 h 298"/>
                  <a:gd name="T10" fmla="*/ 18 w 326"/>
                  <a:gd name="T11" fmla="*/ 88 h 298"/>
                  <a:gd name="T12" fmla="*/ 20 w 326"/>
                  <a:gd name="T13" fmla="*/ 100 h 298"/>
                  <a:gd name="T14" fmla="*/ 38 w 326"/>
                  <a:gd name="T15" fmla="*/ 100 h 298"/>
                  <a:gd name="T16" fmla="*/ 72 w 326"/>
                  <a:gd name="T17" fmla="*/ 94 h 298"/>
                  <a:gd name="T18" fmla="*/ 96 w 326"/>
                  <a:gd name="T19" fmla="*/ 108 h 298"/>
                  <a:gd name="T20" fmla="*/ 116 w 326"/>
                  <a:gd name="T21" fmla="*/ 96 h 298"/>
                  <a:gd name="T22" fmla="*/ 132 w 326"/>
                  <a:gd name="T23" fmla="*/ 98 h 298"/>
                  <a:gd name="T24" fmla="*/ 150 w 326"/>
                  <a:gd name="T25" fmla="*/ 116 h 298"/>
                  <a:gd name="T26" fmla="*/ 148 w 326"/>
                  <a:gd name="T27" fmla="*/ 134 h 298"/>
                  <a:gd name="T28" fmla="*/ 160 w 326"/>
                  <a:gd name="T29" fmla="*/ 138 h 298"/>
                  <a:gd name="T30" fmla="*/ 182 w 326"/>
                  <a:gd name="T31" fmla="*/ 142 h 298"/>
                  <a:gd name="T32" fmla="*/ 192 w 326"/>
                  <a:gd name="T33" fmla="*/ 166 h 298"/>
                  <a:gd name="T34" fmla="*/ 182 w 326"/>
                  <a:gd name="T35" fmla="*/ 190 h 298"/>
                  <a:gd name="T36" fmla="*/ 152 w 326"/>
                  <a:gd name="T37" fmla="*/ 210 h 298"/>
                  <a:gd name="T38" fmla="*/ 118 w 326"/>
                  <a:gd name="T39" fmla="*/ 218 h 298"/>
                  <a:gd name="T40" fmla="*/ 108 w 326"/>
                  <a:gd name="T41" fmla="*/ 232 h 298"/>
                  <a:gd name="T42" fmla="*/ 122 w 326"/>
                  <a:gd name="T43" fmla="*/ 248 h 298"/>
                  <a:gd name="T44" fmla="*/ 138 w 326"/>
                  <a:gd name="T45" fmla="*/ 248 h 298"/>
                  <a:gd name="T46" fmla="*/ 164 w 326"/>
                  <a:gd name="T47" fmla="*/ 240 h 298"/>
                  <a:gd name="T48" fmla="*/ 196 w 326"/>
                  <a:gd name="T49" fmla="*/ 268 h 298"/>
                  <a:gd name="T50" fmla="*/ 234 w 326"/>
                  <a:gd name="T51" fmla="*/ 294 h 298"/>
                  <a:gd name="T52" fmla="*/ 250 w 326"/>
                  <a:gd name="T53" fmla="*/ 296 h 298"/>
                  <a:gd name="T54" fmla="*/ 248 w 326"/>
                  <a:gd name="T55" fmla="*/ 284 h 298"/>
                  <a:gd name="T56" fmla="*/ 232 w 326"/>
                  <a:gd name="T57" fmla="*/ 258 h 298"/>
                  <a:gd name="T58" fmla="*/ 240 w 326"/>
                  <a:gd name="T59" fmla="*/ 256 h 298"/>
                  <a:gd name="T60" fmla="*/ 264 w 326"/>
                  <a:gd name="T61" fmla="*/ 278 h 298"/>
                  <a:gd name="T62" fmla="*/ 274 w 326"/>
                  <a:gd name="T63" fmla="*/ 270 h 298"/>
                  <a:gd name="T64" fmla="*/ 278 w 326"/>
                  <a:gd name="T65" fmla="*/ 236 h 298"/>
                  <a:gd name="T66" fmla="*/ 268 w 326"/>
                  <a:gd name="T67" fmla="*/ 220 h 298"/>
                  <a:gd name="T68" fmla="*/ 246 w 326"/>
                  <a:gd name="T69" fmla="*/ 218 h 298"/>
                  <a:gd name="T70" fmla="*/ 244 w 326"/>
                  <a:gd name="T71" fmla="*/ 198 h 298"/>
                  <a:gd name="T72" fmla="*/ 252 w 326"/>
                  <a:gd name="T73" fmla="*/ 184 h 298"/>
                  <a:gd name="T74" fmla="*/ 268 w 326"/>
                  <a:gd name="T75" fmla="*/ 188 h 298"/>
                  <a:gd name="T76" fmla="*/ 292 w 326"/>
                  <a:gd name="T77" fmla="*/ 220 h 298"/>
                  <a:gd name="T78" fmla="*/ 304 w 326"/>
                  <a:gd name="T79" fmla="*/ 224 h 298"/>
                  <a:gd name="T80" fmla="*/ 316 w 326"/>
                  <a:gd name="T81" fmla="*/ 200 h 298"/>
                  <a:gd name="T82" fmla="*/ 326 w 326"/>
                  <a:gd name="T83" fmla="*/ 182 h 298"/>
                  <a:gd name="T84" fmla="*/ 308 w 326"/>
                  <a:gd name="T85" fmla="*/ 168 h 298"/>
                  <a:gd name="T86" fmla="*/ 276 w 326"/>
                  <a:gd name="T87" fmla="*/ 158 h 298"/>
                  <a:gd name="T88" fmla="*/ 256 w 326"/>
                  <a:gd name="T89" fmla="*/ 136 h 298"/>
                  <a:gd name="T90" fmla="*/ 260 w 326"/>
                  <a:gd name="T91" fmla="*/ 120 h 298"/>
                  <a:gd name="T92" fmla="*/ 268 w 326"/>
                  <a:gd name="T93" fmla="*/ 106 h 298"/>
                  <a:gd name="T94" fmla="*/ 250 w 326"/>
                  <a:gd name="T95" fmla="*/ 84 h 298"/>
                  <a:gd name="T96" fmla="*/ 200 w 326"/>
                  <a:gd name="T97" fmla="*/ 64 h 298"/>
                  <a:gd name="T98" fmla="*/ 182 w 326"/>
                  <a:gd name="T99" fmla="*/ 40 h 298"/>
                  <a:gd name="T100" fmla="*/ 166 w 326"/>
                  <a:gd name="T101" fmla="*/ 24 h 298"/>
                  <a:gd name="T102" fmla="*/ 132 w 326"/>
                  <a:gd name="T103" fmla="*/ 26 h 298"/>
                  <a:gd name="T104" fmla="*/ 112 w 326"/>
                  <a:gd name="T105" fmla="*/ 42 h 298"/>
                  <a:gd name="T106" fmla="*/ 104 w 326"/>
                  <a:gd name="T107" fmla="*/ 50 h 298"/>
                  <a:gd name="T108" fmla="*/ 106 w 326"/>
                  <a:gd name="T109" fmla="*/ 34 h 298"/>
                  <a:gd name="T110" fmla="*/ 114 w 326"/>
                  <a:gd name="T111" fmla="*/ 6 h 298"/>
                  <a:gd name="T112" fmla="*/ 96 w 326"/>
                  <a:gd name="T113" fmla="*/ 0 h 298"/>
                  <a:gd name="T114" fmla="*/ 74 w 326"/>
                  <a:gd name="T115" fmla="*/ 4 h 298"/>
                  <a:gd name="T116" fmla="*/ 60 w 326"/>
                  <a:gd name="T117" fmla="*/ 28 h 298"/>
                  <a:gd name="T118" fmla="*/ 56 w 326"/>
                  <a:gd name="T119" fmla="*/ 44 h 298"/>
                  <a:gd name="T120" fmla="*/ 40 w 326"/>
                  <a:gd name="T121" fmla="*/ 40 h 298"/>
                  <a:gd name="T122" fmla="*/ 46 w 326"/>
                  <a:gd name="T123" fmla="*/ 20 h 298"/>
                  <a:gd name="T124" fmla="*/ 50 w 326"/>
                  <a:gd name="T125" fmla="*/ 2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6" h="298">
                    <a:moveTo>
                      <a:pt x="50" y="2"/>
                    </a:moveTo>
                    <a:lnTo>
                      <a:pt x="50" y="2"/>
                    </a:lnTo>
                    <a:lnTo>
                      <a:pt x="48" y="2"/>
                    </a:lnTo>
                    <a:lnTo>
                      <a:pt x="48" y="2"/>
                    </a:lnTo>
                    <a:lnTo>
                      <a:pt x="48" y="2"/>
                    </a:lnTo>
                    <a:lnTo>
                      <a:pt x="46" y="2"/>
                    </a:lnTo>
                    <a:lnTo>
                      <a:pt x="46" y="2"/>
                    </a:lnTo>
                    <a:lnTo>
                      <a:pt x="44" y="2"/>
                    </a:lnTo>
                    <a:lnTo>
                      <a:pt x="42" y="2"/>
                    </a:lnTo>
                    <a:lnTo>
                      <a:pt x="38" y="2"/>
                    </a:lnTo>
                    <a:lnTo>
                      <a:pt x="36" y="2"/>
                    </a:lnTo>
                    <a:lnTo>
                      <a:pt x="34" y="4"/>
                    </a:lnTo>
                    <a:lnTo>
                      <a:pt x="32" y="4"/>
                    </a:lnTo>
                    <a:lnTo>
                      <a:pt x="30" y="6"/>
                    </a:lnTo>
                    <a:lnTo>
                      <a:pt x="26" y="8"/>
                    </a:lnTo>
                    <a:lnTo>
                      <a:pt x="22" y="10"/>
                    </a:lnTo>
                    <a:lnTo>
                      <a:pt x="20" y="12"/>
                    </a:lnTo>
                    <a:lnTo>
                      <a:pt x="18" y="14"/>
                    </a:lnTo>
                    <a:lnTo>
                      <a:pt x="16" y="16"/>
                    </a:lnTo>
                    <a:lnTo>
                      <a:pt x="16" y="16"/>
                    </a:lnTo>
                    <a:lnTo>
                      <a:pt x="14" y="18"/>
                    </a:lnTo>
                    <a:lnTo>
                      <a:pt x="12" y="22"/>
                    </a:lnTo>
                    <a:lnTo>
                      <a:pt x="8" y="26"/>
                    </a:lnTo>
                    <a:lnTo>
                      <a:pt x="6" y="32"/>
                    </a:lnTo>
                    <a:lnTo>
                      <a:pt x="4" y="36"/>
                    </a:lnTo>
                    <a:lnTo>
                      <a:pt x="2" y="40"/>
                    </a:lnTo>
                    <a:lnTo>
                      <a:pt x="2" y="42"/>
                    </a:lnTo>
                    <a:lnTo>
                      <a:pt x="2" y="42"/>
                    </a:lnTo>
                    <a:lnTo>
                      <a:pt x="2" y="46"/>
                    </a:lnTo>
                    <a:lnTo>
                      <a:pt x="0" y="50"/>
                    </a:lnTo>
                    <a:lnTo>
                      <a:pt x="0" y="54"/>
                    </a:lnTo>
                    <a:lnTo>
                      <a:pt x="0" y="58"/>
                    </a:lnTo>
                    <a:lnTo>
                      <a:pt x="2" y="62"/>
                    </a:lnTo>
                    <a:lnTo>
                      <a:pt x="2" y="64"/>
                    </a:lnTo>
                    <a:lnTo>
                      <a:pt x="2" y="66"/>
                    </a:lnTo>
                    <a:lnTo>
                      <a:pt x="2" y="68"/>
                    </a:lnTo>
                    <a:lnTo>
                      <a:pt x="4" y="70"/>
                    </a:lnTo>
                    <a:lnTo>
                      <a:pt x="4" y="70"/>
                    </a:lnTo>
                    <a:lnTo>
                      <a:pt x="4" y="72"/>
                    </a:lnTo>
                    <a:lnTo>
                      <a:pt x="6" y="72"/>
                    </a:lnTo>
                    <a:lnTo>
                      <a:pt x="8" y="74"/>
                    </a:lnTo>
                    <a:lnTo>
                      <a:pt x="10" y="74"/>
                    </a:lnTo>
                    <a:lnTo>
                      <a:pt x="12" y="74"/>
                    </a:lnTo>
                    <a:lnTo>
                      <a:pt x="16" y="76"/>
                    </a:lnTo>
                    <a:lnTo>
                      <a:pt x="20" y="76"/>
                    </a:lnTo>
                    <a:lnTo>
                      <a:pt x="22" y="76"/>
                    </a:lnTo>
                    <a:lnTo>
                      <a:pt x="24" y="78"/>
                    </a:lnTo>
                    <a:lnTo>
                      <a:pt x="24" y="78"/>
                    </a:lnTo>
                    <a:lnTo>
                      <a:pt x="26" y="78"/>
                    </a:lnTo>
                    <a:lnTo>
                      <a:pt x="26" y="80"/>
                    </a:lnTo>
                    <a:lnTo>
                      <a:pt x="26" y="80"/>
                    </a:lnTo>
                    <a:lnTo>
                      <a:pt x="26" y="80"/>
                    </a:lnTo>
                    <a:lnTo>
                      <a:pt x="26" y="82"/>
                    </a:lnTo>
                    <a:lnTo>
                      <a:pt x="26" y="82"/>
                    </a:lnTo>
                    <a:lnTo>
                      <a:pt x="26" y="82"/>
                    </a:lnTo>
                    <a:lnTo>
                      <a:pt x="26" y="84"/>
                    </a:lnTo>
                    <a:lnTo>
                      <a:pt x="24" y="84"/>
                    </a:lnTo>
                    <a:lnTo>
                      <a:pt x="22" y="86"/>
                    </a:lnTo>
                    <a:lnTo>
                      <a:pt x="20" y="88"/>
                    </a:lnTo>
                    <a:lnTo>
                      <a:pt x="18" y="88"/>
                    </a:lnTo>
                    <a:lnTo>
                      <a:pt x="18" y="90"/>
                    </a:lnTo>
                    <a:lnTo>
                      <a:pt x="18" y="90"/>
                    </a:lnTo>
                    <a:lnTo>
                      <a:pt x="16" y="90"/>
                    </a:lnTo>
                    <a:lnTo>
                      <a:pt x="16" y="90"/>
                    </a:lnTo>
                    <a:lnTo>
                      <a:pt x="16" y="92"/>
                    </a:lnTo>
                    <a:lnTo>
                      <a:pt x="16" y="94"/>
                    </a:lnTo>
                    <a:lnTo>
                      <a:pt x="18" y="94"/>
                    </a:lnTo>
                    <a:lnTo>
                      <a:pt x="18" y="96"/>
                    </a:lnTo>
                    <a:lnTo>
                      <a:pt x="18" y="98"/>
                    </a:lnTo>
                    <a:lnTo>
                      <a:pt x="20" y="100"/>
                    </a:lnTo>
                    <a:lnTo>
                      <a:pt x="20" y="100"/>
                    </a:lnTo>
                    <a:lnTo>
                      <a:pt x="22" y="102"/>
                    </a:lnTo>
                    <a:lnTo>
                      <a:pt x="22" y="102"/>
                    </a:lnTo>
                    <a:lnTo>
                      <a:pt x="24" y="102"/>
                    </a:lnTo>
                    <a:lnTo>
                      <a:pt x="26" y="102"/>
                    </a:lnTo>
                    <a:lnTo>
                      <a:pt x="26" y="102"/>
                    </a:lnTo>
                    <a:lnTo>
                      <a:pt x="30" y="102"/>
                    </a:lnTo>
                    <a:lnTo>
                      <a:pt x="32" y="102"/>
                    </a:lnTo>
                    <a:lnTo>
                      <a:pt x="36" y="102"/>
                    </a:lnTo>
                    <a:lnTo>
                      <a:pt x="38" y="100"/>
                    </a:lnTo>
                    <a:lnTo>
                      <a:pt x="46" y="98"/>
                    </a:lnTo>
                    <a:lnTo>
                      <a:pt x="52" y="96"/>
                    </a:lnTo>
                    <a:lnTo>
                      <a:pt x="56" y="96"/>
                    </a:lnTo>
                    <a:lnTo>
                      <a:pt x="58" y="94"/>
                    </a:lnTo>
                    <a:lnTo>
                      <a:pt x="62" y="94"/>
                    </a:lnTo>
                    <a:lnTo>
                      <a:pt x="64" y="94"/>
                    </a:lnTo>
                    <a:lnTo>
                      <a:pt x="68" y="94"/>
                    </a:lnTo>
                    <a:lnTo>
                      <a:pt x="68" y="94"/>
                    </a:lnTo>
                    <a:lnTo>
                      <a:pt x="70" y="94"/>
                    </a:lnTo>
                    <a:lnTo>
                      <a:pt x="72" y="94"/>
                    </a:lnTo>
                    <a:lnTo>
                      <a:pt x="72" y="94"/>
                    </a:lnTo>
                    <a:lnTo>
                      <a:pt x="74" y="96"/>
                    </a:lnTo>
                    <a:lnTo>
                      <a:pt x="76" y="96"/>
                    </a:lnTo>
                    <a:lnTo>
                      <a:pt x="80" y="100"/>
                    </a:lnTo>
                    <a:lnTo>
                      <a:pt x="84" y="102"/>
                    </a:lnTo>
                    <a:lnTo>
                      <a:pt x="88" y="104"/>
                    </a:lnTo>
                    <a:lnTo>
                      <a:pt x="90" y="106"/>
                    </a:lnTo>
                    <a:lnTo>
                      <a:pt x="92" y="106"/>
                    </a:lnTo>
                    <a:lnTo>
                      <a:pt x="94" y="108"/>
                    </a:lnTo>
                    <a:lnTo>
                      <a:pt x="96" y="108"/>
                    </a:lnTo>
                    <a:lnTo>
                      <a:pt x="98" y="108"/>
                    </a:lnTo>
                    <a:lnTo>
                      <a:pt x="100" y="108"/>
                    </a:lnTo>
                    <a:lnTo>
                      <a:pt x="102" y="108"/>
                    </a:lnTo>
                    <a:lnTo>
                      <a:pt x="102" y="108"/>
                    </a:lnTo>
                    <a:lnTo>
                      <a:pt x="104" y="108"/>
                    </a:lnTo>
                    <a:lnTo>
                      <a:pt x="106" y="106"/>
                    </a:lnTo>
                    <a:lnTo>
                      <a:pt x="108" y="104"/>
                    </a:lnTo>
                    <a:lnTo>
                      <a:pt x="112" y="100"/>
                    </a:lnTo>
                    <a:lnTo>
                      <a:pt x="114" y="98"/>
                    </a:lnTo>
                    <a:lnTo>
                      <a:pt x="116" y="96"/>
                    </a:lnTo>
                    <a:lnTo>
                      <a:pt x="118" y="96"/>
                    </a:lnTo>
                    <a:lnTo>
                      <a:pt x="118" y="94"/>
                    </a:lnTo>
                    <a:lnTo>
                      <a:pt x="120" y="94"/>
                    </a:lnTo>
                    <a:lnTo>
                      <a:pt x="122" y="94"/>
                    </a:lnTo>
                    <a:lnTo>
                      <a:pt x="122" y="94"/>
                    </a:lnTo>
                    <a:lnTo>
                      <a:pt x="124" y="94"/>
                    </a:lnTo>
                    <a:lnTo>
                      <a:pt x="126" y="94"/>
                    </a:lnTo>
                    <a:lnTo>
                      <a:pt x="128" y="96"/>
                    </a:lnTo>
                    <a:lnTo>
                      <a:pt x="130" y="96"/>
                    </a:lnTo>
                    <a:lnTo>
                      <a:pt x="132" y="98"/>
                    </a:lnTo>
                    <a:lnTo>
                      <a:pt x="134" y="100"/>
                    </a:lnTo>
                    <a:lnTo>
                      <a:pt x="136" y="102"/>
                    </a:lnTo>
                    <a:lnTo>
                      <a:pt x="138" y="102"/>
                    </a:lnTo>
                    <a:lnTo>
                      <a:pt x="140" y="106"/>
                    </a:lnTo>
                    <a:lnTo>
                      <a:pt x="142" y="108"/>
                    </a:lnTo>
                    <a:lnTo>
                      <a:pt x="144" y="110"/>
                    </a:lnTo>
                    <a:lnTo>
                      <a:pt x="146" y="112"/>
                    </a:lnTo>
                    <a:lnTo>
                      <a:pt x="148" y="114"/>
                    </a:lnTo>
                    <a:lnTo>
                      <a:pt x="148" y="116"/>
                    </a:lnTo>
                    <a:lnTo>
                      <a:pt x="150" y="116"/>
                    </a:lnTo>
                    <a:lnTo>
                      <a:pt x="150" y="118"/>
                    </a:lnTo>
                    <a:lnTo>
                      <a:pt x="150" y="120"/>
                    </a:lnTo>
                    <a:lnTo>
                      <a:pt x="150" y="120"/>
                    </a:lnTo>
                    <a:lnTo>
                      <a:pt x="150" y="122"/>
                    </a:lnTo>
                    <a:lnTo>
                      <a:pt x="150" y="122"/>
                    </a:lnTo>
                    <a:lnTo>
                      <a:pt x="150" y="126"/>
                    </a:lnTo>
                    <a:lnTo>
                      <a:pt x="148" y="128"/>
                    </a:lnTo>
                    <a:lnTo>
                      <a:pt x="148" y="130"/>
                    </a:lnTo>
                    <a:lnTo>
                      <a:pt x="148" y="132"/>
                    </a:lnTo>
                    <a:lnTo>
                      <a:pt x="148" y="134"/>
                    </a:lnTo>
                    <a:lnTo>
                      <a:pt x="148" y="134"/>
                    </a:lnTo>
                    <a:lnTo>
                      <a:pt x="148" y="136"/>
                    </a:lnTo>
                    <a:lnTo>
                      <a:pt x="148" y="136"/>
                    </a:lnTo>
                    <a:lnTo>
                      <a:pt x="148" y="138"/>
                    </a:lnTo>
                    <a:lnTo>
                      <a:pt x="150" y="138"/>
                    </a:lnTo>
                    <a:lnTo>
                      <a:pt x="152" y="138"/>
                    </a:lnTo>
                    <a:lnTo>
                      <a:pt x="152" y="138"/>
                    </a:lnTo>
                    <a:lnTo>
                      <a:pt x="154" y="138"/>
                    </a:lnTo>
                    <a:lnTo>
                      <a:pt x="156" y="138"/>
                    </a:lnTo>
                    <a:lnTo>
                      <a:pt x="160" y="138"/>
                    </a:lnTo>
                    <a:lnTo>
                      <a:pt x="164" y="136"/>
                    </a:lnTo>
                    <a:lnTo>
                      <a:pt x="166" y="136"/>
                    </a:lnTo>
                    <a:lnTo>
                      <a:pt x="168" y="136"/>
                    </a:lnTo>
                    <a:lnTo>
                      <a:pt x="170" y="136"/>
                    </a:lnTo>
                    <a:lnTo>
                      <a:pt x="172" y="136"/>
                    </a:lnTo>
                    <a:lnTo>
                      <a:pt x="172" y="136"/>
                    </a:lnTo>
                    <a:lnTo>
                      <a:pt x="174" y="138"/>
                    </a:lnTo>
                    <a:lnTo>
                      <a:pt x="178" y="138"/>
                    </a:lnTo>
                    <a:lnTo>
                      <a:pt x="180" y="140"/>
                    </a:lnTo>
                    <a:lnTo>
                      <a:pt x="182" y="142"/>
                    </a:lnTo>
                    <a:lnTo>
                      <a:pt x="184" y="144"/>
                    </a:lnTo>
                    <a:lnTo>
                      <a:pt x="186" y="146"/>
                    </a:lnTo>
                    <a:lnTo>
                      <a:pt x="186" y="148"/>
                    </a:lnTo>
                    <a:lnTo>
                      <a:pt x="188" y="150"/>
                    </a:lnTo>
                    <a:lnTo>
                      <a:pt x="188" y="150"/>
                    </a:lnTo>
                    <a:lnTo>
                      <a:pt x="190" y="152"/>
                    </a:lnTo>
                    <a:lnTo>
                      <a:pt x="190" y="156"/>
                    </a:lnTo>
                    <a:lnTo>
                      <a:pt x="190" y="158"/>
                    </a:lnTo>
                    <a:lnTo>
                      <a:pt x="192" y="162"/>
                    </a:lnTo>
                    <a:lnTo>
                      <a:pt x="192" y="166"/>
                    </a:lnTo>
                    <a:lnTo>
                      <a:pt x="192" y="170"/>
                    </a:lnTo>
                    <a:lnTo>
                      <a:pt x="192" y="174"/>
                    </a:lnTo>
                    <a:lnTo>
                      <a:pt x="190" y="176"/>
                    </a:lnTo>
                    <a:lnTo>
                      <a:pt x="190" y="176"/>
                    </a:lnTo>
                    <a:lnTo>
                      <a:pt x="190" y="178"/>
                    </a:lnTo>
                    <a:lnTo>
                      <a:pt x="188" y="180"/>
                    </a:lnTo>
                    <a:lnTo>
                      <a:pt x="188" y="182"/>
                    </a:lnTo>
                    <a:lnTo>
                      <a:pt x="186" y="184"/>
                    </a:lnTo>
                    <a:lnTo>
                      <a:pt x="184" y="188"/>
                    </a:lnTo>
                    <a:lnTo>
                      <a:pt x="182" y="190"/>
                    </a:lnTo>
                    <a:lnTo>
                      <a:pt x="178" y="194"/>
                    </a:lnTo>
                    <a:lnTo>
                      <a:pt x="174" y="198"/>
                    </a:lnTo>
                    <a:lnTo>
                      <a:pt x="170" y="202"/>
                    </a:lnTo>
                    <a:lnTo>
                      <a:pt x="166" y="204"/>
                    </a:lnTo>
                    <a:lnTo>
                      <a:pt x="164" y="206"/>
                    </a:lnTo>
                    <a:lnTo>
                      <a:pt x="162" y="208"/>
                    </a:lnTo>
                    <a:lnTo>
                      <a:pt x="160" y="208"/>
                    </a:lnTo>
                    <a:lnTo>
                      <a:pt x="158" y="210"/>
                    </a:lnTo>
                    <a:lnTo>
                      <a:pt x="156" y="210"/>
                    </a:lnTo>
                    <a:lnTo>
                      <a:pt x="152" y="210"/>
                    </a:lnTo>
                    <a:lnTo>
                      <a:pt x="150" y="210"/>
                    </a:lnTo>
                    <a:lnTo>
                      <a:pt x="146" y="212"/>
                    </a:lnTo>
                    <a:lnTo>
                      <a:pt x="140" y="212"/>
                    </a:lnTo>
                    <a:lnTo>
                      <a:pt x="134" y="212"/>
                    </a:lnTo>
                    <a:lnTo>
                      <a:pt x="130" y="214"/>
                    </a:lnTo>
                    <a:lnTo>
                      <a:pt x="128" y="214"/>
                    </a:lnTo>
                    <a:lnTo>
                      <a:pt x="124" y="214"/>
                    </a:lnTo>
                    <a:lnTo>
                      <a:pt x="122" y="216"/>
                    </a:lnTo>
                    <a:lnTo>
                      <a:pt x="120" y="216"/>
                    </a:lnTo>
                    <a:lnTo>
                      <a:pt x="118" y="218"/>
                    </a:lnTo>
                    <a:lnTo>
                      <a:pt x="116" y="218"/>
                    </a:lnTo>
                    <a:lnTo>
                      <a:pt x="114" y="220"/>
                    </a:lnTo>
                    <a:lnTo>
                      <a:pt x="112" y="222"/>
                    </a:lnTo>
                    <a:lnTo>
                      <a:pt x="110" y="224"/>
                    </a:lnTo>
                    <a:lnTo>
                      <a:pt x="110" y="226"/>
                    </a:lnTo>
                    <a:lnTo>
                      <a:pt x="108" y="228"/>
                    </a:lnTo>
                    <a:lnTo>
                      <a:pt x="108" y="230"/>
                    </a:lnTo>
                    <a:lnTo>
                      <a:pt x="108" y="230"/>
                    </a:lnTo>
                    <a:lnTo>
                      <a:pt x="108" y="232"/>
                    </a:lnTo>
                    <a:lnTo>
                      <a:pt x="108" y="232"/>
                    </a:lnTo>
                    <a:lnTo>
                      <a:pt x="108" y="234"/>
                    </a:lnTo>
                    <a:lnTo>
                      <a:pt x="108" y="234"/>
                    </a:lnTo>
                    <a:lnTo>
                      <a:pt x="108" y="236"/>
                    </a:lnTo>
                    <a:lnTo>
                      <a:pt x="110" y="238"/>
                    </a:lnTo>
                    <a:lnTo>
                      <a:pt x="110" y="238"/>
                    </a:lnTo>
                    <a:lnTo>
                      <a:pt x="112" y="240"/>
                    </a:lnTo>
                    <a:lnTo>
                      <a:pt x="114" y="242"/>
                    </a:lnTo>
                    <a:lnTo>
                      <a:pt x="116" y="246"/>
                    </a:lnTo>
                    <a:lnTo>
                      <a:pt x="120" y="248"/>
                    </a:lnTo>
                    <a:lnTo>
                      <a:pt x="122" y="248"/>
                    </a:lnTo>
                    <a:lnTo>
                      <a:pt x="122" y="248"/>
                    </a:lnTo>
                    <a:lnTo>
                      <a:pt x="124" y="250"/>
                    </a:lnTo>
                    <a:lnTo>
                      <a:pt x="126" y="250"/>
                    </a:lnTo>
                    <a:lnTo>
                      <a:pt x="126" y="250"/>
                    </a:lnTo>
                    <a:lnTo>
                      <a:pt x="126" y="250"/>
                    </a:lnTo>
                    <a:lnTo>
                      <a:pt x="128" y="250"/>
                    </a:lnTo>
                    <a:lnTo>
                      <a:pt x="132" y="250"/>
                    </a:lnTo>
                    <a:lnTo>
                      <a:pt x="134" y="250"/>
                    </a:lnTo>
                    <a:lnTo>
                      <a:pt x="136" y="248"/>
                    </a:lnTo>
                    <a:lnTo>
                      <a:pt x="138" y="248"/>
                    </a:lnTo>
                    <a:lnTo>
                      <a:pt x="144" y="246"/>
                    </a:lnTo>
                    <a:lnTo>
                      <a:pt x="150" y="242"/>
                    </a:lnTo>
                    <a:lnTo>
                      <a:pt x="152" y="242"/>
                    </a:lnTo>
                    <a:lnTo>
                      <a:pt x="154" y="240"/>
                    </a:lnTo>
                    <a:lnTo>
                      <a:pt x="156" y="240"/>
                    </a:lnTo>
                    <a:lnTo>
                      <a:pt x="158" y="240"/>
                    </a:lnTo>
                    <a:lnTo>
                      <a:pt x="160" y="240"/>
                    </a:lnTo>
                    <a:lnTo>
                      <a:pt x="162" y="240"/>
                    </a:lnTo>
                    <a:lnTo>
                      <a:pt x="162" y="240"/>
                    </a:lnTo>
                    <a:lnTo>
                      <a:pt x="164" y="240"/>
                    </a:lnTo>
                    <a:lnTo>
                      <a:pt x="166" y="240"/>
                    </a:lnTo>
                    <a:lnTo>
                      <a:pt x="168" y="242"/>
                    </a:lnTo>
                    <a:lnTo>
                      <a:pt x="170" y="244"/>
                    </a:lnTo>
                    <a:lnTo>
                      <a:pt x="172" y="244"/>
                    </a:lnTo>
                    <a:lnTo>
                      <a:pt x="174" y="246"/>
                    </a:lnTo>
                    <a:lnTo>
                      <a:pt x="178" y="248"/>
                    </a:lnTo>
                    <a:lnTo>
                      <a:pt x="182" y="254"/>
                    </a:lnTo>
                    <a:lnTo>
                      <a:pt x="192" y="264"/>
                    </a:lnTo>
                    <a:lnTo>
                      <a:pt x="194" y="266"/>
                    </a:lnTo>
                    <a:lnTo>
                      <a:pt x="196" y="268"/>
                    </a:lnTo>
                    <a:lnTo>
                      <a:pt x="198" y="268"/>
                    </a:lnTo>
                    <a:lnTo>
                      <a:pt x="200" y="270"/>
                    </a:lnTo>
                    <a:lnTo>
                      <a:pt x="204" y="272"/>
                    </a:lnTo>
                    <a:lnTo>
                      <a:pt x="206" y="274"/>
                    </a:lnTo>
                    <a:lnTo>
                      <a:pt x="212" y="278"/>
                    </a:lnTo>
                    <a:lnTo>
                      <a:pt x="220" y="284"/>
                    </a:lnTo>
                    <a:lnTo>
                      <a:pt x="222" y="286"/>
                    </a:lnTo>
                    <a:lnTo>
                      <a:pt x="226" y="290"/>
                    </a:lnTo>
                    <a:lnTo>
                      <a:pt x="230" y="292"/>
                    </a:lnTo>
                    <a:lnTo>
                      <a:pt x="234" y="294"/>
                    </a:lnTo>
                    <a:lnTo>
                      <a:pt x="238" y="296"/>
                    </a:lnTo>
                    <a:lnTo>
                      <a:pt x="238" y="296"/>
                    </a:lnTo>
                    <a:lnTo>
                      <a:pt x="240" y="296"/>
                    </a:lnTo>
                    <a:lnTo>
                      <a:pt x="242" y="298"/>
                    </a:lnTo>
                    <a:lnTo>
                      <a:pt x="244" y="298"/>
                    </a:lnTo>
                    <a:lnTo>
                      <a:pt x="246" y="298"/>
                    </a:lnTo>
                    <a:lnTo>
                      <a:pt x="246" y="298"/>
                    </a:lnTo>
                    <a:lnTo>
                      <a:pt x="248" y="298"/>
                    </a:lnTo>
                    <a:lnTo>
                      <a:pt x="248" y="298"/>
                    </a:lnTo>
                    <a:lnTo>
                      <a:pt x="250" y="296"/>
                    </a:lnTo>
                    <a:lnTo>
                      <a:pt x="252" y="296"/>
                    </a:lnTo>
                    <a:lnTo>
                      <a:pt x="252" y="294"/>
                    </a:lnTo>
                    <a:lnTo>
                      <a:pt x="252" y="294"/>
                    </a:lnTo>
                    <a:lnTo>
                      <a:pt x="252" y="292"/>
                    </a:lnTo>
                    <a:lnTo>
                      <a:pt x="252" y="292"/>
                    </a:lnTo>
                    <a:lnTo>
                      <a:pt x="252" y="290"/>
                    </a:lnTo>
                    <a:lnTo>
                      <a:pt x="252" y="290"/>
                    </a:lnTo>
                    <a:lnTo>
                      <a:pt x="252" y="288"/>
                    </a:lnTo>
                    <a:lnTo>
                      <a:pt x="250" y="286"/>
                    </a:lnTo>
                    <a:lnTo>
                      <a:pt x="248" y="284"/>
                    </a:lnTo>
                    <a:lnTo>
                      <a:pt x="246" y="282"/>
                    </a:lnTo>
                    <a:lnTo>
                      <a:pt x="242" y="276"/>
                    </a:lnTo>
                    <a:lnTo>
                      <a:pt x="238" y="270"/>
                    </a:lnTo>
                    <a:lnTo>
                      <a:pt x="236" y="266"/>
                    </a:lnTo>
                    <a:lnTo>
                      <a:pt x="234" y="264"/>
                    </a:lnTo>
                    <a:lnTo>
                      <a:pt x="234" y="262"/>
                    </a:lnTo>
                    <a:lnTo>
                      <a:pt x="232" y="260"/>
                    </a:lnTo>
                    <a:lnTo>
                      <a:pt x="232" y="260"/>
                    </a:lnTo>
                    <a:lnTo>
                      <a:pt x="232" y="258"/>
                    </a:lnTo>
                    <a:lnTo>
                      <a:pt x="232" y="258"/>
                    </a:lnTo>
                    <a:lnTo>
                      <a:pt x="232" y="256"/>
                    </a:lnTo>
                    <a:lnTo>
                      <a:pt x="232" y="256"/>
                    </a:lnTo>
                    <a:lnTo>
                      <a:pt x="234" y="256"/>
                    </a:lnTo>
                    <a:lnTo>
                      <a:pt x="234" y="254"/>
                    </a:lnTo>
                    <a:lnTo>
                      <a:pt x="234" y="254"/>
                    </a:lnTo>
                    <a:lnTo>
                      <a:pt x="236" y="254"/>
                    </a:lnTo>
                    <a:lnTo>
                      <a:pt x="236" y="254"/>
                    </a:lnTo>
                    <a:lnTo>
                      <a:pt x="238" y="254"/>
                    </a:lnTo>
                    <a:lnTo>
                      <a:pt x="238" y="254"/>
                    </a:lnTo>
                    <a:lnTo>
                      <a:pt x="240" y="256"/>
                    </a:lnTo>
                    <a:lnTo>
                      <a:pt x="240" y="256"/>
                    </a:lnTo>
                    <a:lnTo>
                      <a:pt x="244" y="258"/>
                    </a:lnTo>
                    <a:lnTo>
                      <a:pt x="246" y="260"/>
                    </a:lnTo>
                    <a:lnTo>
                      <a:pt x="250" y="266"/>
                    </a:lnTo>
                    <a:lnTo>
                      <a:pt x="256" y="270"/>
                    </a:lnTo>
                    <a:lnTo>
                      <a:pt x="258" y="272"/>
                    </a:lnTo>
                    <a:lnTo>
                      <a:pt x="260" y="274"/>
                    </a:lnTo>
                    <a:lnTo>
                      <a:pt x="262" y="276"/>
                    </a:lnTo>
                    <a:lnTo>
                      <a:pt x="264" y="276"/>
                    </a:lnTo>
                    <a:lnTo>
                      <a:pt x="264" y="278"/>
                    </a:lnTo>
                    <a:lnTo>
                      <a:pt x="266" y="278"/>
                    </a:lnTo>
                    <a:lnTo>
                      <a:pt x="266" y="278"/>
                    </a:lnTo>
                    <a:lnTo>
                      <a:pt x="268" y="278"/>
                    </a:lnTo>
                    <a:lnTo>
                      <a:pt x="268" y="278"/>
                    </a:lnTo>
                    <a:lnTo>
                      <a:pt x="270" y="278"/>
                    </a:lnTo>
                    <a:lnTo>
                      <a:pt x="270" y="276"/>
                    </a:lnTo>
                    <a:lnTo>
                      <a:pt x="272" y="276"/>
                    </a:lnTo>
                    <a:lnTo>
                      <a:pt x="272" y="274"/>
                    </a:lnTo>
                    <a:lnTo>
                      <a:pt x="274" y="272"/>
                    </a:lnTo>
                    <a:lnTo>
                      <a:pt x="274" y="270"/>
                    </a:lnTo>
                    <a:lnTo>
                      <a:pt x="276" y="268"/>
                    </a:lnTo>
                    <a:lnTo>
                      <a:pt x="276" y="266"/>
                    </a:lnTo>
                    <a:lnTo>
                      <a:pt x="278" y="264"/>
                    </a:lnTo>
                    <a:lnTo>
                      <a:pt x="278" y="260"/>
                    </a:lnTo>
                    <a:lnTo>
                      <a:pt x="278" y="256"/>
                    </a:lnTo>
                    <a:lnTo>
                      <a:pt x="278" y="252"/>
                    </a:lnTo>
                    <a:lnTo>
                      <a:pt x="278" y="250"/>
                    </a:lnTo>
                    <a:lnTo>
                      <a:pt x="278" y="246"/>
                    </a:lnTo>
                    <a:lnTo>
                      <a:pt x="278" y="240"/>
                    </a:lnTo>
                    <a:lnTo>
                      <a:pt x="278" y="236"/>
                    </a:lnTo>
                    <a:lnTo>
                      <a:pt x="276" y="232"/>
                    </a:lnTo>
                    <a:lnTo>
                      <a:pt x="276" y="230"/>
                    </a:lnTo>
                    <a:lnTo>
                      <a:pt x="274" y="228"/>
                    </a:lnTo>
                    <a:lnTo>
                      <a:pt x="274" y="226"/>
                    </a:lnTo>
                    <a:lnTo>
                      <a:pt x="274" y="224"/>
                    </a:lnTo>
                    <a:lnTo>
                      <a:pt x="272" y="224"/>
                    </a:lnTo>
                    <a:lnTo>
                      <a:pt x="272" y="222"/>
                    </a:lnTo>
                    <a:lnTo>
                      <a:pt x="270" y="222"/>
                    </a:lnTo>
                    <a:lnTo>
                      <a:pt x="268" y="220"/>
                    </a:lnTo>
                    <a:lnTo>
                      <a:pt x="268" y="220"/>
                    </a:lnTo>
                    <a:lnTo>
                      <a:pt x="266" y="220"/>
                    </a:lnTo>
                    <a:lnTo>
                      <a:pt x="262" y="220"/>
                    </a:lnTo>
                    <a:lnTo>
                      <a:pt x="258" y="220"/>
                    </a:lnTo>
                    <a:lnTo>
                      <a:pt x="254" y="220"/>
                    </a:lnTo>
                    <a:lnTo>
                      <a:pt x="252" y="220"/>
                    </a:lnTo>
                    <a:lnTo>
                      <a:pt x="250" y="220"/>
                    </a:lnTo>
                    <a:lnTo>
                      <a:pt x="250" y="220"/>
                    </a:lnTo>
                    <a:lnTo>
                      <a:pt x="248" y="218"/>
                    </a:lnTo>
                    <a:lnTo>
                      <a:pt x="246" y="218"/>
                    </a:lnTo>
                    <a:lnTo>
                      <a:pt x="246" y="218"/>
                    </a:lnTo>
                    <a:lnTo>
                      <a:pt x="246" y="216"/>
                    </a:lnTo>
                    <a:lnTo>
                      <a:pt x="244" y="214"/>
                    </a:lnTo>
                    <a:lnTo>
                      <a:pt x="244" y="212"/>
                    </a:lnTo>
                    <a:lnTo>
                      <a:pt x="244" y="210"/>
                    </a:lnTo>
                    <a:lnTo>
                      <a:pt x="244" y="208"/>
                    </a:lnTo>
                    <a:lnTo>
                      <a:pt x="244" y="206"/>
                    </a:lnTo>
                    <a:lnTo>
                      <a:pt x="244" y="204"/>
                    </a:lnTo>
                    <a:lnTo>
                      <a:pt x="244" y="202"/>
                    </a:lnTo>
                    <a:lnTo>
                      <a:pt x="244" y="200"/>
                    </a:lnTo>
                    <a:lnTo>
                      <a:pt x="244" y="198"/>
                    </a:lnTo>
                    <a:lnTo>
                      <a:pt x="244" y="196"/>
                    </a:lnTo>
                    <a:lnTo>
                      <a:pt x="246" y="194"/>
                    </a:lnTo>
                    <a:lnTo>
                      <a:pt x="246" y="192"/>
                    </a:lnTo>
                    <a:lnTo>
                      <a:pt x="246" y="190"/>
                    </a:lnTo>
                    <a:lnTo>
                      <a:pt x="248" y="188"/>
                    </a:lnTo>
                    <a:lnTo>
                      <a:pt x="248" y="186"/>
                    </a:lnTo>
                    <a:lnTo>
                      <a:pt x="250" y="186"/>
                    </a:lnTo>
                    <a:lnTo>
                      <a:pt x="250" y="186"/>
                    </a:lnTo>
                    <a:lnTo>
                      <a:pt x="250" y="186"/>
                    </a:lnTo>
                    <a:lnTo>
                      <a:pt x="252" y="184"/>
                    </a:lnTo>
                    <a:lnTo>
                      <a:pt x="254" y="184"/>
                    </a:lnTo>
                    <a:lnTo>
                      <a:pt x="256" y="184"/>
                    </a:lnTo>
                    <a:lnTo>
                      <a:pt x="258" y="184"/>
                    </a:lnTo>
                    <a:lnTo>
                      <a:pt x="260" y="184"/>
                    </a:lnTo>
                    <a:lnTo>
                      <a:pt x="262" y="184"/>
                    </a:lnTo>
                    <a:lnTo>
                      <a:pt x="262" y="184"/>
                    </a:lnTo>
                    <a:lnTo>
                      <a:pt x="264" y="186"/>
                    </a:lnTo>
                    <a:lnTo>
                      <a:pt x="264" y="186"/>
                    </a:lnTo>
                    <a:lnTo>
                      <a:pt x="266" y="188"/>
                    </a:lnTo>
                    <a:lnTo>
                      <a:pt x="268" y="188"/>
                    </a:lnTo>
                    <a:lnTo>
                      <a:pt x="268" y="190"/>
                    </a:lnTo>
                    <a:lnTo>
                      <a:pt x="272" y="192"/>
                    </a:lnTo>
                    <a:lnTo>
                      <a:pt x="274" y="196"/>
                    </a:lnTo>
                    <a:lnTo>
                      <a:pt x="276" y="200"/>
                    </a:lnTo>
                    <a:lnTo>
                      <a:pt x="282" y="206"/>
                    </a:lnTo>
                    <a:lnTo>
                      <a:pt x="284" y="210"/>
                    </a:lnTo>
                    <a:lnTo>
                      <a:pt x="286" y="214"/>
                    </a:lnTo>
                    <a:lnTo>
                      <a:pt x="288" y="216"/>
                    </a:lnTo>
                    <a:lnTo>
                      <a:pt x="292" y="220"/>
                    </a:lnTo>
                    <a:lnTo>
                      <a:pt x="292" y="220"/>
                    </a:lnTo>
                    <a:lnTo>
                      <a:pt x="294" y="222"/>
                    </a:lnTo>
                    <a:lnTo>
                      <a:pt x="294" y="222"/>
                    </a:lnTo>
                    <a:lnTo>
                      <a:pt x="296" y="224"/>
                    </a:lnTo>
                    <a:lnTo>
                      <a:pt x="298" y="224"/>
                    </a:lnTo>
                    <a:lnTo>
                      <a:pt x="298" y="224"/>
                    </a:lnTo>
                    <a:lnTo>
                      <a:pt x="300" y="224"/>
                    </a:lnTo>
                    <a:lnTo>
                      <a:pt x="302" y="224"/>
                    </a:lnTo>
                    <a:lnTo>
                      <a:pt x="302" y="224"/>
                    </a:lnTo>
                    <a:lnTo>
                      <a:pt x="302" y="224"/>
                    </a:lnTo>
                    <a:lnTo>
                      <a:pt x="304" y="224"/>
                    </a:lnTo>
                    <a:lnTo>
                      <a:pt x="306" y="222"/>
                    </a:lnTo>
                    <a:lnTo>
                      <a:pt x="306" y="222"/>
                    </a:lnTo>
                    <a:lnTo>
                      <a:pt x="308" y="220"/>
                    </a:lnTo>
                    <a:lnTo>
                      <a:pt x="308" y="218"/>
                    </a:lnTo>
                    <a:lnTo>
                      <a:pt x="310" y="216"/>
                    </a:lnTo>
                    <a:lnTo>
                      <a:pt x="310" y="214"/>
                    </a:lnTo>
                    <a:lnTo>
                      <a:pt x="312" y="210"/>
                    </a:lnTo>
                    <a:lnTo>
                      <a:pt x="314" y="206"/>
                    </a:lnTo>
                    <a:lnTo>
                      <a:pt x="316" y="202"/>
                    </a:lnTo>
                    <a:lnTo>
                      <a:pt x="316" y="200"/>
                    </a:lnTo>
                    <a:lnTo>
                      <a:pt x="316" y="200"/>
                    </a:lnTo>
                    <a:lnTo>
                      <a:pt x="318" y="198"/>
                    </a:lnTo>
                    <a:lnTo>
                      <a:pt x="320" y="196"/>
                    </a:lnTo>
                    <a:lnTo>
                      <a:pt x="322" y="190"/>
                    </a:lnTo>
                    <a:lnTo>
                      <a:pt x="324" y="188"/>
                    </a:lnTo>
                    <a:lnTo>
                      <a:pt x="326" y="186"/>
                    </a:lnTo>
                    <a:lnTo>
                      <a:pt x="326" y="184"/>
                    </a:lnTo>
                    <a:lnTo>
                      <a:pt x="326" y="184"/>
                    </a:lnTo>
                    <a:lnTo>
                      <a:pt x="326" y="182"/>
                    </a:lnTo>
                    <a:lnTo>
                      <a:pt x="326" y="182"/>
                    </a:lnTo>
                    <a:lnTo>
                      <a:pt x="326" y="180"/>
                    </a:lnTo>
                    <a:lnTo>
                      <a:pt x="326" y="180"/>
                    </a:lnTo>
                    <a:lnTo>
                      <a:pt x="324" y="178"/>
                    </a:lnTo>
                    <a:lnTo>
                      <a:pt x="322" y="176"/>
                    </a:lnTo>
                    <a:lnTo>
                      <a:pt x="322" y="176"/>
                    </a:lnTo>
                    <a:lnTo>
                      <a:pt x="320" y="174"/>
                    </a:lnTo>
                    <a:lnTo>
                      <a:pt x="318" y="172"/>
                    </a:lnTo>
                    <a:lnTo>
                      <a:pt x="316" y="172"/>
                    </a:lnTo>
                    <a:lnTo>
                      <a:pt x="312" y="170"/>
                    </a:lnTo>
                    <a:lnTo>
                      <a:pt x="308" y="168"/>
                    </a:lnTo>
                    <a:lnTo>
                      <a:pt x="302" y="164"/>
                    </a:lnTo>
                    <a:lnTo>
                      <a:pt x="300" y="164"/>
                    </a:lnTo>
                    <a:lnTo>
                      <a:pt x="298" y="164"/>
                    </a:lnTo>
                    <a:lnTo>
                      <a:pt x="296" y="162"/>
                    </a:lnTo>
                    <a:lnTo>
                      <a:pt x="292" y="162"/>
                    </a:lnTo>
                    <a:lnTo>
                      <a:pt x="288" y="160"/>
                    </a:lnTo>
                    <a:lnTo>
                      <a:pt x="284" y="160"/>
                    </a:lnTo>
                    <a:lnTo>
                      <a:pt x="280" y="160"/>
                    </a:lnTo>
                    <a:lnTo>
                      <a:pt x="278" y="158"/>
                    </a:lnTo>
                    <a:lnTo>
                      <a:pt x="276" y="158"/>
                    </a:lnTo>
                    <a:lnTo>
                      <a:pt x="274" y="158"/>
                    </a:lnTo>
                    <a:lnTo>
                      <a:pt x="274" y="156"/>
                    </a:lnTo>
                    <a:lnTo>
                      <a:pt x="270" y="154"/>
                    </a:lnTo>
                    <a:lnTo>
                      <a:pt x="268" y="152"/>
                    </a:lnTo>
                    <a:lnTo>
                      <a:pt x="264" y="148"/>
                    </a:lnTo>
                    <a:lnTo>
                      <a:pt x="260" y="144"/>
                    </a:lnTo>
                    <a:lnTo>
                      <a:pt x="260" y="142"/>
                    </a:lnTo>
                    <a:lnTo>
                      <a:pt x="258" y="140"/>
                    </a:lnTo>
                    <a:lnTo>
                      <a:pt x="256" y="138"/>
                    </a:lnTo>
                    <a:lnTo>
                      <a:pt x="256" y="136"/>
                    </a:lnTo>
                    <a:lnTo>
                      <a:pt x="254" y="134"/>
                    </a:lnTo>
                    <a:lnTo>
                      <a:pt x="254" y="132"/>
                    </a:lnTo>
                    <a:lnTo>
                      <a:pt x="254" y="130"/>
                    </a:lnTo>
                    <a:lnTo>
                      <a:pt x="254" y="128"/>
                    </a:lnTo>
                    <a:lnTo>
                      <a:pt x="254" y="128"/>
                    </a:lnTo>
                    <a:lnTo>
                      <a:pt x="254" y="126"/>
                    </a:lnTo>
                    <a:lnTo>
                      <a:pt x="256" y="126"/>
                    </a:lnTo>
                    <a:lnTo>
                      <a:pt x="256" y="124"/>
                    </a:lnTo>
                    <a:lnTo>
                      <a:pt x="258" y="122"/>
                    </a:lnTo>
                    <a:lnTo>
                      <a:pt x="260" y="120"/>
                    </a:lnTo>
                    <a:lnTo>
                      <a:pt x="264" y="118"/>
                    </a:lnTo>
                    <a:lnTo>
                      <a:pt x="266" y="116"/>
                    </a:lnTo>
                    <a:lnTo>
                      <a:pt x="268" y="114"/>
                    </a:lnTo>
                    <a:lnTo>
                      <a:pt x="268" y="114"/>
                    </a:lnTo>
                    <a:lnTo>
                      <a:pt x="268" y="112"/>
                    </a:lnTo>
                    <a:lnTo>
                      <a:pt x="268" y="112"/>
                    </a:lnTo>
                    <a:lnTo>
                      <a:pt x="268" y="110"/>
                    </a:lnTo>
                    <a:lnTo>
                      <a:pt x="268" y="108"/>
                    </a:lnTo>
                    <a:lnTo>
                      <a:pt x="268" y="108"/>
                    </a:lnTo>
                    <a:lnTo>
                      <a:pt x="268" y="106"/>
                    </a:lnTo>
                    <a:lnTo>
                      <a:pt x="266" y="104"/>
                    </a:lnTo>
                    <a:lnTo>
                      <a:pt x="266" y="102"/>
                    </a:lnTo>
                    <a:lnTo>
                      <a:pt x="264" y="100"/>
                    </a:lnTo>
                    <a:lnTo>
                      <a:pt x="262" y="96"/>
                    </a:lnTo>
                    <a:lnTo>
                      <a:pt x="260" y="92"/>
                    </a:lnTo>
                    <a:lnTo>
                      <a:pt x="258" y="90"/>
                    </a:lnTo>
                    <a:lnTo>
                      <a:pt x="256" y="88"/>
                    </a:lnTo>
                    <a:lnTo>
                      <a:pt x="254" y="88"/>
                    </a:lnTo>
                    <a:lnTo>
                      <a:pt x="252" y="86"/>
                    </a:lnTo>
                    <a:lnTo>
                      <a:pt x="250" y="84"/>
                    </a:lnTo>
                    <a:lnTo>
                      <a:pt x="248" y="84"/>
                    </a:lnTo>
                    <a:lnTo>
                      <a:pt x="246" y="82"/>
                    </a:lnTo>
                    <a:lnTo>
                      <a:pt x="242" y="80"/>
                    </a:lnTo>
                    <a:lnTo>
                      <a:pt x="236" y="78"/>
                    </a:lnTo>
                    <a:lnTo>
                      <a:pt x="226" y="74"/>
                    </a:lnTo>
                    <a:lnTo>
                      <a:pt x="220" y="72"/>
                    </a:lnTo>
                    <a:lnTo>
                      <a:pt x="216" y="70"/>
                    </a:lnTo>
                    <a:lnTo>
                      <a:pt x="210" y="68"/>
                    </a:lnTo>
                    <a:lnTo>
                      <a:pt x="202" y="66"/>
                    </a:lnTo>
                    <a:lnTo>
                      <a:pt x="200" y="64"/>
                    </a:lnTo>
                    <a:lnTo>
                      <a:pt x="196" y="62"/>
                    </a:lnTo>
                    <a:lnTo>
                      <a:pt x="192" y="60"/>
                    </a:lnTo>
                    <a:lnTo>
                      <a:pt x="192" y="58"/>
                    </a:lnTo>
                    <a:lnTo>
                      <a:pt x="190" y="58"/>
                    </a:lnTo>
                    <a:lnTo>
                      <a:pt x="190" y="56"/>
                    </a:lnTo>
                    <a:lnTo>
                      <a:pt x="188" y="56"/>
                    </a:lnTo>
                    <a:lnTo>
                      <a:pt x="186" y="52"/>
                    </a:lnTo>
                    <a:lnTo>
                      <a:pt x="186" y="50"/>
                    </a:lnTo>
                    <a:lnTo>
                      <a:pt x="184" y="46"/>
                    </a:lnTo>
                    <a:lnTo>
                      <a:pt x="182" y="40"/>
                    </a:lnTo>
                    <a:lnTo>
                      <a:pt x="178" y="36"/>
                    </a:lnTo>
                    <a:lnTo>
                      <a:pt x="178" y="34"/>
                    </a:lnTo>
                    <a:lnTo>
                      <a:pt x="176" y="32"/>
                    </a:lnTo>
                    <a:lnTo>
                      <a:pt x="174" y="30"/>
                    </a:lnTo>
                    <a:lnTo>
                      <a:pt x="174" y="28"/>
                    </a:lnTo>
                    <a:lnTo>
                      <a:pt x="172" y="26"/>
                    </a:lnTo>
                    <a:lnTo>
                      <a:pt x="172" y="26"/>
                    </a:lnTo>
                    <a:lnTo>
                      <a:pt x="170" y="26"/>
                    </a:lnTo>
                    <a:lnTo>
                      <a:pt x="168" y="24"/>
                    </a:lnTo>
                    <a:lnTo>
                      <a:pt x="166" y="24"/>
                    </a:lnTo>
                    <a:lnTo>
                      <a:pt x="162" y="24"/>
                    </a:lnTo>
                    <a:lnTo>
                      <a:pt x="160" y="22"/>
                    </a:lnTo>
                    <a:lnTo>
                      <a:pt x="156" y="22"/>
                    </a:lnTo>
                    <a:lnTo>
                      <a:pt x="152" y="22"/>
                    </a:lnTo>
                    <a:lnTo>
                      <a:pt x="148" y="24"/>
                    </a:lnTo>
                    <a:lnTo>
                      <a:pt x="146" y="24"/>
                    </a:lnTo>
                    <a:lnTo>
                      <a:pt x="142" y="24"/>
                    </a:lnTo>
                    <a:lnTo>
                      <a:pt x="138" y="24"/>
                    </a:lnTo>
                    <a:lnTo>
                      <a:pt x="134" y="26"/>
                    </a:lnTo>
                    <a:lnTo>
                      <a:pt x="132" y="26"/>
                    </a:lnTo>
                    <a:lnTo>
                      <a:pt x="128" y="28"/>
                    </a:lnTo>
                    <a:lnTo>
                      <a:pt x="124" y="28"/>
                    </a:lnTo>
                    <a:lnTo>
                      <a:pt x="122" y="30"/>
                    </a:lnTo>
                    <a:lnTo>
                      <a:pt x="120" y="30"/>
                    </a:lnTo>
                    <a:lnTo>
                      <a:pt x="120" y="32"/>
                    </a:lnTo>
                    <a:lnTo>
                      <a:pt x="118" y="32"/>
                    </a:lnTo>
                    <a:lnTo>
                      <a:pt x="118" y="34"/>
                    </a:lnTo>
                    <a:lnTo>
                      <a:pt x="116" y="36"/>
                    </a:lnTo>
                    <a:lnTo>
                      <a:pt x="114" y="38"/>
                    </a:lnTo>
                    <a:lnTo>
                      <a:pt x="112" y="42"/>
                    </a:lnTo>
                    <a:lnTo>
                      <a:pt x="110" y="46"/>
                    </a:lnTo>
                    <a:lnTo>
                      <a:pt x="110" y="48"/>
                    </a:lnTo>
                    <a:lnTo>
                      <a:pt x="110" y="48"/>
                    </a:lnTo>
                    <a:lnTo>
                      <a:pt x="108" y="50"/>
                    </a:lnTo>
                    <a:lnTo>
                      <a:pt x="106" y="50"/>
                    </a:lnTo>
                    <a:lnTo>
                      <a:pt x="106" y="50"/>
                    </a:lnTo>
                    <a:lnTo>
                      <a:pt x="106" y="50"/>
                    </a:lnTo>
                    <a:lnTo>
                      <a:pt x="106" y="50"/>
                    </a:lnTo>
                    <a:lnTo>
                      <a:pt x="104" y="50"/>
                    </a:lnTo>
                    <a:lnTo>
                      <a:pt x="104" y="50"/>
                    </a:lnTo>
                    <a:lnTo>
                      <a:pt x="104" y="50"/>
                    </a:lnTo>
                    <a:lnTo>
                      <a:pt x="102" y="48"/>
                    </a:lnTo>
                    <a:lnTo>
                      <a:pt x="102" y="48"/>
                    </a:lnTo>
                    <a:lnTo>
                      <a:pt x="102" y="46"/>
                    </a:lnTo>
                    <a:lnTo>
                      <a:pt x="102" y="46"/>
                    </a:lnTo>
                    <a:lnTo>
                      <a:pt x="102" y="44"/>
                    </a:lnTo>
                    <a:lnTo>
                      <a:pt x="102" y="42"/>
                    </a:lnTo>
                    <a:lnTo>
                      <a:pt x="104" y="40"/>
                    </a:lnTo>
                    <a:lnTo>
                      <a:pt x="104" y="36"/>
                    </a:lnTo>
                    <a:lnTo>
                      <a:pt x="106" y="34"/>
                    </a:lnTo>
                    <a:lnTo>
                      <a:pt x="108" y="30"/>
                    </a:lnTo>
                    <a:lnTo>
                      <a:pt x="110" y="22"/>
                    </a:lnTo>
                    <a:lnTo>
                      <a:pt x="112" y="18"/>
                    </a:lnTo>
                    <a:lnTo>
                      <a:pt x="112" y="16"/>
                    </a:lnTo>
                    <a:lnTo>
                      <a:pt x="114" y="12"/>
                    </a:lnTo>
                    <a:lnTo>
                      <a:pt x="114" y="10"/>
                    </a:lnTo>
                    <a:lnTo>
                      <a:pt x="114" y="10"/>
                    </a:lnTo>
                    <a:lnTo>
                      <a:pt x="114" y="8"/>
                    </a:lnTo>
                    <a:lnTo>
                      <a:pt x="114" y="8"/>
                    </a:lnTo>
                    <a:lnTo>
                      <a:pt x="114" y="6"/>
                    </a:lnTo>
                    <a:lnTo>
                      <a:pt x="112" y="6"/>
                    </a:lnTo>
                    <a:lnTo>
                      <a:pt x="112" y="4"/>
                    </a:lnTo>
                    <a:lnTo>
                      <a:pt x="112" y="4"/>
                    </a:lnTo>
                    <a:lnTo>
                      <a:pt x="110" y="2"/>
                    </a:lnTo>
                    <a:lnTo>
                      <a:pt x="108" y="2"/>
                    </a:lnTo>
                    <a:lnTo>
                      <a:pt x="106" y="2"/>
                    </a:lnTo>
                    <a:lnTo>
                      <a:pt x="104" y="0"/>
                    </a:lnTo>
                    <a:lnTo>
                      <a:pt x="100" y="0"/>
                    </a:lnTo>
                    <a:lnTo>
                      <a:pt x="98" y="0"/>
                    </a:lnTo>
                    <a:lnTo>
                      <a:pt x="96" y="0"/>
                    </a:lnTo>
                    <a:lnTo>
                      <a:pt x="94" y="0"/>
                    </a:lnTo>
                    <a:lnTo>
                      <a:pt x="90" y="0"/>
                    </a:lnTo>
                    <a:lnTo>
                      <a:pt x="88" y="0"/>
                    </a:lnTo>
                    <a:lnTo>
                      <a:pt x="86" y="0"/>
                    </a:lnTo>
                    <a:lnTo>
                      <a:pt x="82" y="0"/>
                    </a:lnTo>
                    <a:lnTo>
                      <a:pt x="80" y="2"/>
                    </a:lnTo>
                    <a:lnTo>
                      <a:pt x="78" y="2"/>
                    </a:lnTo>
                    <a:lnTo>
                      <a:pt x="78" y="2"/>
                    </a:lnTo>
                    <a:lnTo>
                      <a:pt x="76" y="4"/>
                    </a:lnTo>
                    <a:lnTo>
                      <a:pt x="74" y="4"/>
                    </a:lnTo>
                    <a:lnTo>
                      <a:pt x="74" y="6"/>
                    </a:lnTo>
                    <a:lnTo>
                      <a:pt x="72" y="6"/>
                    </a:lnTo>
                    <a:lnTo>
                      <a:pt x="70" y="10"/>
                    </a:lnTo>
                    <a:lnTo>
                      <a:pt x="66" y="12"/>
                    </a:lnTo>
                    <a:lnTo>
                      <a:pt x="64" y="16"/>
                    </a:lnTo>
                    <a:lnTo>
                      <a:pt x="62" y="20"/>
                    </a:lnTo>
                    <a:lnTo>
                      <a:pt x="60" y="22"/>
                    </a:lnTo>
                    <a:lnTo>
                      <a:pt x="60" y="26"/>
                    </a:lnTo>
                    <a:lnTo>
                      <a:pt x="60" y="26"/>
                    </a:lnTo>
                    <a:lnTo>
                      <a:pt x="60" y="28"/>
                    </a:lnTo>
                    <a:lnTo>
                      <a:pt x="58" y="30"/>
                    </a:lnTo>
                    <a:lnTo>
                      <a:pt x="58" y="34"/>
                    </a:lnTo>
                    <a:lnTo>
                      <a:pt x="58" y="38"/>
                    </a:lnTo>
                    <a:lnTo>
                      <a:pt x="58" y="40"/>
                    </a:lnTo>
                    <a:lnTo>
                      <a:pt x="58" y="40"/>
                    </a:lnTo>
                    <a:lnTo>
                      <a:pt x="58" y="42"/>
                    </a:lnTo>
                    <a:lnTo>
                      <a:pt x="58" y="42"/>
                    </a:lnTo>
                    <a:lnTo>
                      <a:pt x="58" y="42"/>
                    </a:lnTo>
                    <a:lnTo>
                      <a:pt x="56" y="44"/>
                    </a:lnTo>
                    <a:lnTo>
                      <a:pt x="56" y="44"/>
                    </a:lnTo>
                    <a:lnTo>
                      <a:pt x="54" y="44"/>
                    </a:lnTo>
                    <a:lnTo>
                      <a:pt x="54" y="44"/>
                    </a:lnTo>
                    <a:lnTo>
                      <a:pt x="50" y="44"/>
                    </a:lnTo>
                    <a:lnTo>
                      <a:pt x="48" y="44"/>
                    </a:lnTo>
                    <a:lnTo>
                      <a:pt x="46" y="44"/>
                    </a:lnTo>
                    <a:lnTo>
                      <a:pt x="42" y="42"/>
                    </a:lnTo>
                    <a:lnTo>
                      <a:pt x="42" y="42"/>
                    </a:lnTo>
                    <a:lnTo>
                      <a:pt x="40" y="42"/>
                    </a:lnTo>
                    <a:lnTo>
                      <a:pt x="40" y="42"/>
                    </a:lnTo>
                    <a:lnTo>
                      <a:pt x="40" y="40"/>
                    </a:lnTo>
                    <a:lnTo>
                      <a:pt x="38" y="40"/>
                    </a:lnTo>
                    <a:lnTo>
                      <a:pt x="38" y="38"/>
                    </a:lnTo>
                    <a:lnTo>
                      <a:pt x="38" y="38"/>
                    </a:lnTo>
                    <a:lnTo>
                      <a:pt x="38" y="36"/>
                    </a:lnTo>
                    <a:lnTo>
                      <a:pt x="38" y="36"/>
                    </a:lnTo>
                    <a:lnTo>
                      <a:pt x="38" y="34"/>
                    </a:lnTo>
                    <a:lnTo>
                      <a:pt x="40" y="32"/>
                    </a:lnTo>
                    <a:lnTo>
                      <a:pt x="40" y="30"/>
                    </a:lnTo>
                    <a:lnTo>
                      <a:pt x="42" y="26"/>
                    </a:lnTo>
                    <a:lnTo>
                      <a:pt x="46" y="20"/>
                    </a:lnTo>
                    <a:lnTo>
                      <a:pt x="48" y="16"/>
                    </a:lnTo>
                    <a:lnTo>
                      <a:pt x="50" y="12"/>
                    </a:lnTo>
                    <a:lnTo>
                      <a:pt x="50" y="10"/>
                    </a:lnTo>
                    <a:lnTo>
                      <a:pt x="50" y="8"/>
                    </a:lnTo>
                    <a:lnTo>
                      <a:pt x="50" y="6"/>
                    </a:lnTo>
                    <a:lnTo>
                      <a:pt x="50" y="6"/>
                    </a:lnTo>
                    <a:lnTo>
                      <a:pt x="50" y="4"/>
                    </a:lnTo>
                    <a:lnTo>
                      <a:pt x="50" y="4"/>
                    </a:lnTo>
                    <a:lnTo>
                      <a:pt x="50" y="4"/>
                    </a:lnTo>
                    <a:lnTo>
                      <a:pt x="50"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15" name="Freeform 562">
                <a:extLst>
                  <a:ext uri="{FF2B5EF4-FFF2-40B4-BE49-F238E27FC236}">
                    <a16:creationId xmlns:a16="http://schemas.microsoft.com/office/drawing/2014/main" id="{03D8FAFD-2A21-4B27-8843-1946FD3AD4E0}"/>
                  </a:ext>
                </a:extLst>
              </p:cNvPr>
              <p:cNvSpPr>
                <a:spLocks/>
              </p:cNvSpPr>
              <p:nvPr/>
            </p:nvSpPr>
            <p:spPr bwMode="auto">
              <a:xfrm>
                <a:off x="2745078" y="2768767"/>
                <a:ext cx="38100" cy="47625"/>
              </a:xfrm>
              <a:custGeom>
                <a:avLst/>
                <a:gdLst>
                  <a:gd name="T0" fmla="*/ 2 w 24"/>
                  <a:gd name="T1" fmla="*/ 30 h 30"/>
                  <a:gd name="T2" fmla="*/ 2 w 24"/>
                  <a:gd name="T3" fmla="*/ 30 h 30"/>
                  <a:gd name="T4" fmla="*/ 0 w 24"/>
                  <a:gd name="T5" fmla="*/ 30 h 30"/>
                  <a:gd name="T6" fmla="*/ 0 w 24"/>
                  <a:gd name="T7" fmla="*/ 30 h 30"/>
                  <a:gd name="T8" fmla="*/ 0 w 24"/>
                  <a:gd name="T9" fmla="*/ 28 h 30"/>
                  <a:gd name="T10" fmla="*/ 0 w 24"/>
                  <a:gd name="T11" fmla="*/ 28 h 30"/>
                  <a:gd name="T12" fmla="*/ 0 w 24"/>
                  <a:gd name="T13" fmla="*/ 28 h 30"/>
                  <a:gd name="T14" fmla="*/ 0 w 24"/>
                  <a:gd name="T15" fmla="*/ 26 h 30"/>
                  <a:gd name="T16" fmla="*/ 0 w 24"/>
                  <a:gd name="T17" fmla="*/ 24 h 30"/>
                  <a:gd name="T18" fmla="*/ 2 w 24"/>
                  <a:gd name="T19" fmla="*/ 18 h 30"/>
                  <a:gd name="T20" fmla="*/ 2 w 24"/>
                  <a:gd name="T21" fmla="*/ 16 h 30"/>
                  <a:gd name="T22" fmla="*/ 2 w 24"/>
                  <a:gd name="T23" fmla="*/ 14 h 30"/>
                  <a:gd name="T24" fmla="*/ 2 w 24"/>
                  <a:gd name="T25" fmla="*/ 12 h 30"/>
                  <a:gd name="T26" fmla="*/ 4 w 24"/>
                  <a:gd name="T27" fmla="*/ 12 h 30"/>
                  <a:gd name="T28" fmla="*/ 4 w 24"/>
                  <a:gd name="T29" fmla="*/ 10 h 30"/>
                  <a:gd name="T30" fmla="*/ 4 w 24"/>
                  <a:gd name="T31" fmla="*/ 8 h 30"/>
                  <a:gd name="T32" fmla="*/ 4 w 24"/>
                  <a:gd name="T33" fmla="*/ 8 h 30"/>
                  <a:gd name="T34" fmla="*/ 4 w 24"/>
                  <a:gd name="T35" fmla="*/ 6 h 30"/>
                  <a:gd name="T36" fmla="*/ 4 w 24"/>
                  <a:gd name="T37" fmla="*/ 6 h 30"/>
                  <a:gd name="T38" fmla="*/ 6 w 24"/>
                  <a:gd name="T39" fmla="*/ 4 h 30"/>
                  <a:gd name="T40" fmla="*/ 6 w 24"/>
                  <a:gd name="T41" fmla="*/ 4 h 30"/>
                  <a:gd name="T42" fmla="*/ 6 w 24"/>
                  <a:gd name="T43" fmla="*/ 2 h 30"/>
                  <a:gd name="T44" fmla="*/ 8 w 24"/>
                  <a:gd name="T45" fmla="*/ 2 h 30"/>
                  <a:gd name="T46" fmla="*/ 8 w 24"/>
                  <a:gd name="T47" fmla="*/ 2 h 30"/>
                  <a:gd name="T48" fmla="*/ 10 w 24"/>
                  <a:gd name="T49" fmla="*/ 2 h 30"/>
                  <a:gd name="T50" fmla="*/ 10 w 24"/>
                  <a:gd name="T51" fmla="*/ 0 h 30"/>
                  <a:gd name="T52" fmla="*/ 12 w 24"/>
                  <a:gd name="T53" fmla="*/ 0 h 30"/>
                  <a:gd name="T54" fmla="*/ 12 w 24"/>
                  <a:gd name="T55" fmla="*/ 0 h 30"/>
                  <a:gd name="T56" fmla="*/ 14 w 24"/>
                  <a:gd name="T57" fmla="*/ 0 h 30"/>
                  <a:gd name="T58" fmla="*/ 14 w 24"/>
                  <a:gd name="T59" fmla="*/ 0 h 30"/>
                  <a:gd name="T60" fmla="*/ 16 w 24"/>
                  <a:gd name="T61" fmla="*/ 0 h 30"/>
                  <a:gd name="T62" fmla="*/ 16 w 24"/>
                  <a:gd name="T63" fmla="*/ 0 h 30"/>
                  <a:gd name="T64" fmla="*/ 18 w 24"/>
                  <a:gd name="T65" fmla="*/ 2 h 30"/>
                  <a:gd name="T66" fmla="*/ 18 w 24"/>
                  <a:gd name="T67" fmla="*/ 2 h 30"/>
                  <a:gd name="T68" fmla="*/ 20 w 24"/>
                  <a:gd name="T69" fmla="*/ 2 h 30"/>
                  <a:gd name="T70" fmla="*/ 20 w 24"/>
                  <a:gd name="T71" fmla="*/ 2 h 30"/>
                  <a:gd name="T72" fmla="*/ 20 w 24"/>
                  <a:gd name="T73" fmla="*/ 4 h 30"/>
                  <a:gd name="T74" fmla="*/ 22 w 24"/>
                  <a:gd name="T75" fmla="*/ 4 h 30"/>
                  <a:gd name="T76" fmla="*/ 22 w 24"/>
                  <a:gd name="T77" fmla="*/ 6 h 30"/>
                  <a:gd name="T78" fmla="*/ 22 w 24"/>
                  <a:gd name="T79" fmla="*/ 6 h 30"/>
                  <a:gd name="T80" fmla="*/ 22 w 24"/>
                  <a:gd name="T81" fmla="*/ 8 h 30"/>
                  <a:gd name="T82" fmla="*/ 24 w 24"/>
                  <a:gd name="T83" fmla="*/ 8 h 30"/>
                  <a:gd name="T84" fmla="*/ 24 w 24"/>
                  <a:gd name="T85" fmla="*/ 10 h 30"/>
                  <a:gd name="T86" fmla="*/ 24 w 24"/>
                  <a:gd name="T87" fmla="*/ 12 h 30"/>
                  <a:gd name="T88" fmla="*/ 24 w 24"/>
                  <a:gd name="T89" fmla="*/ 12 h 30"/>
                  <a:gd name="T90" fmla="*/ 24 w 24"/>
                  <a:gd name="T91" fmla="*/ 14 h 30"/>
                  <a:gd name="T92" fmla="*/ 24 w 24"/>
                  <a:gd name="T93" fmla="*/ 16 h 30"/>
                  <a:gd name="T94" fmla="*/ 22 w 24"/>
                  <a:gd name="T95" fmla="*/ 16 h 30"/>
                  <a:gd name="T96" fmla="*/ 20 w 24"/>
                  <a:gd name="T97" fmla="*/ 18 h 30"/>
                  <a:gd name="T98" fmla="*/ 20 w 24"/>
                  <a:gd name="T99" fmla="*/ 20 h 30"/>
                  <a:gd name="T100" fmla="*/ 18 w 24"/>
                  <a:gd name="T101" fmla="*/ 20 h 30"/>
                  <a:gd name="T102" fmla="*/ 16 w 24"/>
                  <a:gd name="T103" fmla="*/ 22 h 30"/>
                  <a:gd name="T104" fmla="*/ 14 w 24"/>
                  <a:gd name="T105" fmla="*/ 24 h 30"/>
                  <a:gd name="T106" fmla="*/ 12 w 24"/>
                  <a:gd name="T107" fmla="*/ 24 h 30"/>
                  <a:gd name="T108" fmla="*/ 12 w 24"/>
                  <a:gd name="T109" fmla="*/ 26 h 30"/>
                  <a:gd name="T110" fmla="*/ 10 w 24"/>
                  <a:gd name="T111" fmla="*/ 28 h 30"/>
                  <a:gd name="T112" fmla="*/ 8 w 24"/>
                  <a:gd name="T113" fmla="*/ 28 h 30"/>
                  <a:gd name="T114" fmla="*/ 6 w 24"/>
                  <a:gd name="T115" fmla="*/ 28 h 30"/>
                  <a:gd name="T116" fmla="*/ 4 w 24"/>
                  <a:gd name="T117" fmla="*/ 30 h 30"/>
                  <a:gd name="T118" fmla="*/ 2 w 24"/>
                  <a:gd name="T119" fmla="*/ 30 h 30"/>
                  <a:gd name="T120" fmla="*/ 2 w 24"/>
                  <a:gd name="T12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30">
                    <a:moveTo>
                      <a:pt x="2" y="30"/>
                    </a:moveTo>
                    <a:lnTo>
                      <a:pt x="2" y="30"/>
                    </a:lnTo>
                    <a:lnTo>
                      <a:pt x="0" y="30"/>
                    </a:lnTo>
                    <a:lnTo>
                      <a:pt x="0" y="30"/>
                    </a:lnTo>
                    <a:lnTo>
                      <a:pt x="0" y="28"/>
                    </a:lnTo>
                    <a:lnTo>
                      <a:pt x="0" y="28"/>
                    </a:lnTo>
                    <a:lnTo>
                      <a:pt x="0" y="28"/>
                    </a:lnTo>
                    <a:lnTo>
                      <a:pt x="0" y="26"/>
                    </a:lnTo>
                    <a:lnTo>
                      <a:pt x="0" y="24"/>
                    </a:lnTo>
                    <a:lnTo>
                      <a:pt x="2" y="18"/>
                    </a:lnTo>
                    <a:lnTo>
                      <a:pt x="2" y="16"/>
                    </a:lnTo>
                    <a:lnTo>
                      <a:pt x="2" y="14"/>
                    </a:lnTo>
                    <a:lnTo>
                      <a:pt x="2" y="12"/>
                    </a:lnTo>
                    <a:lnTo>
                      <a:pt x="4" y="12"/>
                    </a:lnTo>
                    <a:lnTo>
                      <a:pt x="4" y="10"/>
                    </a:lnTo>
                    <a:lnTo>
                      <a:pt x="4" y="8"/>
                    </a:lnTo>
                    <a:lnTo>
                      <a:pt x="4" y="8"/>
                    </a:lnTo>
                    <a:lnTo>
                      <a:pt x="4" y="6"/>
                    </a:lnTo>
                    <a:lnTo>
                      <a:pt x="4" y="6"/>
                    </a:lnTo>
                    <a:lnTo>
                      <a:pt x="6" y="4"/>
                    </a:lnTo>
                    <a:lnTo>
                      <a:pt x="6" y="4"/>
                    </a:lnTo>
                    <a:lnTo>
                      <a:pt x="6" y="2"/>
                    </a:lnTo>
                    <a:lnTo>
                      <a:pt x="8" y="2"/>
                    </a:lnTo>
                    <a:lnTo>
                      <a:pt x="8" y="2"/>
                    </a:lnTo>
                    <a:lnTo>
                      <a:pt x="10" y="2"/>
                    </a:lnTo>
                    <a:lnTo>
                      <a:pt x="10" y="0"/>
                    </a:lnTo>
                    <a:lnTo>
                      <a:pt x="12" y="0"/>
                    </a:lnTo>
                    <a:lnTo>
                      <a:pt x="12" y="0"/>
                    </a:lnTo>
                    <a:lnTo>
                      <a:pt x="14" y="0"/>
                    </a:lnTo>
                    <a:lnTo>
                      <a:pt x="14" y="0"/>
                    </a:lnTo>
                    <a:lnTo>
                      <a:pt x="16" y="0"/>
                    </a:lnTo>
                    <a:lnTo>
                      <a:pt x="16" y="0"/>
                    </a:lnTo>
                    <a:lnTo>
                      <a:pt x="18" y="2"/>
                    </a:lnTo>
                    <a:lnTo>
                      <a:pt x="18" y="2"/>
                    </a:lnTo>
                    <a:lnTo>
                      <a:pt x="20" y="2"/>
                    </a:lnTo>
                    <a:lnTo>
                      <a:pt x="20" y="2"/>
                    </a:lnTo>
                    <a:lnTo>
                      <a:pt x="20" y="4"/>
                    </a:lnTo>
                    <a:lnTo>
                      <a:pt x="22" y="4"/>
                    </a:lnTo>
                    <a:lnTo>
                      <a:pt x="22" y="6"/>
                    </a:lnTo>
                    <a:lnTo>
                      <a:pt x="22" y="6"/>
                    </a:lnTo>
                    <a:lnTo>
                      <a:pt x="22" y="8"/>
                    </a:lnTo>
                    <a:lnTo>
                      <a:pt x="24" y="8"/>
                    </a:lnTo>
                    <a:lnTo>
                      <a:pt x="24" y="10"/>
                    </a:lnTo>
                    <a:lnTo>
                      <a:pt x="24" y="12"/>
                    </a:lnTo>
                    <a:lnTo>
                      <a:pt x="24" y="12"/>
                    </a:lnTo>
                    <a:lnTo>
                      <a:pt x="24" y="14"/>
                    </a:lnTo>
                    <a:lnTo>
                      <a:pt x="24" y="16"/>
                    </a:lnTo>
                    <a:lnTo>
                      <a:pt x="22" y="16"/>
                    </a:lnTo>
                    <a:lnTo>
                      <a:pt x="20" y="18"/>
                    </a:lnTo>
                    <a:lnTo>
                      <a:pt x="20" y="20"/>
                    </a:lnTo>
                    <a:lnTo>
                      <a:pt x="18" y="20"/>
                    </a:lnTo>
                    <a:lnTo>
                      <a:pt x="16" y="22"/>
                    </a:lnTo>
                    <a:lnTo>
                      <a:pt x="14" y="24"/>
                    </a:lnTo>
                    <a:lnTo>
                      <a:pt x="12" y="24"/>
                    </a:lnTo>
                    <a:lnTo>
                      <a:pt x="12" y="26"/>
                    </a:lnTo>
                    <a:lnTo>
                      <a:pt x="10" y="28"/>
                    </a:lnTo>
                    <a:lnTo>
                      <a:pt x="8" y="28"/>
                    </a:lnTo>
                    <a:lnTo>
                      <a:pt x="6" y="28"/>
                    </a:lnTo>
                    <a:lnTo>
                      <a:pt x="4" y="30"/>
                    </a:lnTo>
                    <a:lnTo>
                      <a:pt x="2" y="30"/>
                    </a:lnTo>
                    <a:lnTo>
                      <a:pt x="2" y="3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16" name="Freeform 564">
                <a:extLst>
                  <a:ext uri="{FF2B5EF4-FFF2-40B4-BE49-F238E27FC236}">
                    <a16:creationId xmlns:a16="http://schemas.microsoft.com/office/drawing/2014/main" id="{1977774F-2ACC-4CEC-BDCE-9BBA29D463EA}"/>
                  </a:ext>
                </a:extLst>
              </p:cNvPr>
              <p:cNvSpPr>
                <a:spLocks/>
              </p:cNvSpPr>
              <p:nvPr/>
            </p:nvSpPr>
            <p:spPr bwMode="auto">
              <a:xfrm>
                <a:off x="2719678" y="2702092"/>
                <a:ext cx="22225" cy="44450"/>
              </a:xfrm>
              <a:custGeom>
                <a:avLst/>
                <a:gdLst>
                  <a:gd name="T0" fmla="*/ 6 w 14"/>
                  <a:gd name="T1" fmla="*/ 28 h 28"/>
                  <a:gd name="T2" fmla="*/ 6 w 14"/>
                  <a:gd name="T3" fmla="*/ 28 h 28"/>
                  <a:gd name="T4" fmla="*/ 6 w 14"/>
                  <a:gd name="T5" fmla="*/ 28 h 28"/>
                  <a:gd name="T6" fmla="*/ 6 w 14"/>
                  <a:gd name="T7" fmla="*/ 28 h 28"/>
                  <a:gd name="T8" fmla="*/ 4 w 14"/>
                  <a:gd name="T9" fmla="*/ 28 h 28"/>
                  <a:gd name="T10" fmla="*/ 4 w 14"/>
                  <a:gd name="T11" fmla="*/ 28 h 28"/>
                  <a:gd name="T12" fmla="*/ 4 w 14"/>
                  <a:gd name="T13" fmla="*/ 28 h 28"/>
                  <a:gd name="T14" fmla="*/ 2 w 14"/>
                  <a:gd name="T15" fmla="*/ 26 h 28"/>
                  <a:gd name="T16" fmla="*/ 2 w 14"/>
                  <a:gd name="T17" fmla="*/ 24 h 28"/>
                  <a:gd name="T18" fmla="*/ 0 w 14"/>
                  <a:gd name="T19" fmla="*/ 22 h 28"/>
                  <a:gd name="T20" fmla="*/ 0 w 14"/>
                  <a:gd name="T21" fmla="*/ 20 h 28"/>
                  <a:gd name="T22" fmla="*/ 0 w 14"/>
                  <a:gd name="T23" fmla="*/ 18 h 28"/>
                  <a:gd name="T24" fmla="*/ 0 w 14"/>
                  <a:gd name="T25" fmla="*/ 14 h 28"/>
                  <a:gd name="T26" fmla="*/ 0 w 14"/>
                  <a:gd name="T27" fmla="*/ 12 h 28"/>
                  <a:gd name="T28" fmla="*/ 0 w 14"/>
                  <a:gd name="T29" fmla="*/ 8 h 28"/>
                  <a:gd name="T30" fmla="*/ 0 w 14"/>
                  <a:gd name="T31" fmla="*/ 6 h 28"/>
                  <a:gd name="T32" fmla="*/ 2 w 14"/>
                  <a:gd name="T33" fmla="*/ 4 h 28"/>
                  <a:gd name="T34" fmla="*/ 2 w 14"/>
                  <a:gd name="T35" fmla="*/ 2 h 28"/>
                  <a:gd name="T36" fmla="*/ 4 w 14"/>
                  <a:gd name="T37" fmla="*/ 2 h 28"/>
                  <a:gd name="T38" fmla="*/ 4 w 14"/>
                  <a:gd name="T39" fmla="*/ 2 h 28"/>
                  <a:gd name="T40" fmla="*/ 4 w 14"/>
                  <a:gd name="T41" fmla="*/ 0 h 28"/>
                  <a:gd name="T42" fmla="*/ 6 w 14"/>
                  <a:gd name="T43" fmla="*/ 0 h 28"/>
                  <a:gd name="T44" fmla="*/ 6 w 14"/>
                  <a:gd name="T45" fmla="*/ 0 h 28"/>
                  <a:gd name="T46" fmla="*/ 6 w 14"/>
                  <a:gd name="T47" fmla="*/ 0 h 28"/>
                  <a:gd name="T48" fmla="*/ 8 w 14"/>
                  <a:gd name="T49" fmla="*/ 0 h 28"/>
                  <a:gd name="T50" fmla="*/ 8 w 14"/>
                  <a:gd name="T51" fmla="*/ 0 h 28"/>
                  <a:gd name="T52" fmla="*/ 8 w 14"/>
                  <a:gd name="T53" fmla="*/ 0 h 28"/>
                  <a:gd name="T54" fmla="*/ 10 w 14"/>
                  <a:gd name="T55" fmla="*/ 2 h 28"/>
                  <a:gd name="T56" fmla="*/ 10 w 14"/>
                  <a:gd name="T57" fmla="*/ 2 h 28"/>
                  <a:gd name="T58" fmla="*/ 10 w 14"/>
                  <a:gd name="T59" fmla="*/ 2 h 28"/>
                  <a:gd name="T60" fmla="*/ 12 w 14"/>
                  <a:gd name="T61" fmla="*/ 4 h 28"/>
                  <a:gd name="T62" fmla="*/ 12 w 14"/>
                  <a:gd name="T63" fmla="*/ 6 h 28"/>
                  <a:gd name="T64" fmla="*/ 14 w 14"/>
                  <a:gd name="T65" fmla="*/ 8 h 28"/>
                  <a:gd name="T66" fmla="*/ 14 w 14"/>
                  <a:gd name="T67" fmla="*/ 12 h 28"/>
                  <a:gd name="T68" fmla="*/ 14 w 14"/>
                  <a:gd name="T69" fmla="*/ 14 h 28"/>
                  <a:gd name="T70" fmla="*/ 14 w 14"/>
                  <a:gd name="T71" fmla="*/ 18 h 28"/>
                  <a:gd name="T72" fmla="*/ 14 w 14"/>
                  <a:gd name="T73" fmla="*/ 20 h 28"/>
                  <a:gd name="T74" fmla="*/ 12 w 14"/>
                  <a:gd name="T75" fmla="*/ 22 h 28"/>
                  <a:gd name="T76" fmla="*/ 12 w 14"/>
                  <a:gd name="T77" fmla="*/ 24 h 28"/>
                  <a:gd name="T78" fmla="*/ 10 w 14"/>
                  <a:gd name="T79" fmla="*/ 26 h 28"/>
                  <a:gd name="T80" fmla="*/ 10 w 14"/>
                  <a:gd name="T81" fmla="*/ 28 h 28"/>
                  <a:gd name="T82" fmla="*/ 10 w 14"/>
                  <a:gd name="T83" fmla="*/ 28 h 28"/>
                  <a:gd name="T84" fmla="*/ 8 w 14"/>
                  <a:gd name="T85" fmla="*/ 28 h 28"/>
                  <a:gd name="T86" fmla="*/ 8 w 14"/>
                  <a:gd name="T87" fmla="*/ 28 h 28"/>
                  <a:gd name="T88" fmla="*/ 8 w 14"/>
                  <a:gd name="T89" fmla="*/ 28 h 28"/>
                  <a:gd name="T90" fmla="*/ 6 w 14"/>
                  <a:gd name="T9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 h="28">
                    <a:moveTo>
                      <a:pt x="6" y="28"/>
                    </a:moveTo>
                    <a:lnTo>
                      <a:pt x="6" y="28"/>
                    </a:lnTo>
                    <a:lnTo>
                      <a:pt x="6" y="28"/>
                    </a:lnTo>
                    <a:lnTo>
                      <a:pt x="6" y="28"/>
                    </a:lnTo>
                    <a:lnTo>
                      <a:pt x="4" y="28"/>
                    </a:lnTo>
                    <a:lnTo>
                      <a:pt x="4" y="28"/>
                    </a:lnTo>
                    <a:lnTo>
                      <a:pt x="4" y="28"/>
                    </a:lnTo>
                    <a:lnTo>
                      <a:pt x="2" y="26"/>
                    </a:lnTo>
                    <a:lnTo>
                      <a:pt x="2" y="24"/>
                    </a:lnTo>
                    <a:lnTo>
                      <a:pt x="0" y="22"/>
                    </a:lnTo>
                    <a:lnTo>
                      <a:pt x="0" y="20"/>
                    </a:lnTo>
                    <a:lnTo>
                      <a:pt x="0" y="18"/>
                    </a:lnTo>
                    <a:lnTo>
                      <a:pt x="0" y="14"/>
                    </a:lnTo>
                    <a:lnTo>
                      <a:pt x="0" y="12"/>
                    </a:lnTo>
                    <a:lnTo>
                      <a:pt x="0" y="8"/>
                    </a:lnTo>
                    <a:lnTo>
                      <a:pt x="0" y="6"/>
                    </a:lnTo>
                    <a:lnTo>
                      <a:pt x="2" y="4"/>
                    </a:lnTo>
                    <a:lnTo>
                      <a:pt x="2" y="2"/>
                    </a:lnTo>
                    <a:lnTo>
                      <a:pt x="4" y="2"/>
                    </a:lnTo>
                    <a:lnTo>
                      <a:pt x="4" y="2"/>
                    </a:lnTo>
                    <a:lnTo>
                      <a:pt x="4" y="0"/>
                    </a:lnTo>
                    <a:lnTo>
                      <a:pt x="6" y="0"/>
                    </a:lnTo>
                    <a:lnTo>
                      <a:pt x="6" y="0"/>
                    </a:lnTo>
                    <a:lnTo>
                      <a:pt x="6" y="0"/>
                    </a:lnTo>
                    <a:lnTo>
                      <a:pt x="8" y="0"/>
                    </a:lnTo>
                    <a:lnTo>
                      <a:pt x="8" y="0"/>
                    </a:lnTo>
                    <a:lnTo>
                      <a:pt x="8" y="0"/>
                    </a:lnTo>
                    <a:lnTo>
                      <a:pt x="10" y="2"/>
                    </a:lnTo>
                    <a:lnTo>
                      <a:pt x="10" y="2"/>
                    </a:lnTo>
                    <a:lnTo>
                      <a:pt x="10" y="2"/>
                    </a:lnTo>
                    <a:lnTo>
                      <a:pt x="12" y="4"/>
                    </a:lnTo>
                    <a:lnTo>
                      <a:pt x="12" y="6"/>
                    </a:lnTo>
                    <a:lnTo>
                      <a:pt x="14" y="8"/>
                    </a:lnTo>
                    <a:lnTo>
                      <a:pt x="14" y="12"/>
                    </a:lnTo>
                    <a:lnTo>
                      <a:pt x="14" y="14"/>
                    </a:lnTo>
                    <a:lnTo>
                      <a:pt x="14" y="18"/>
                    </a:lnTo>
                    <a:lnTo>
                      <a:pt x="14" y="20"/>
                    </a:lnTo>
                    <a:lnTo>
                      <a:pt x="12" y="22"/>
                    </a:lnTo>
                    <a:lnTo>
                      <a:pt x="12" y="24"/>
                    </a:lnTo>
                    <a:lnTo>
                      <a:pt x="10" y="26"/>
                    </a:lnTo>
                    <a:lnTo>
                      <a:pt x="10" y="28"/>
                    </a:lnTo>
                    <a:lnTo>
                      <a:pt x="10" y="28"/>
                    </a:lnTo>
                    <a:lnTo>
                      <a:pt x="8" y="28"/>
                    </a:lnTo>
                    <a:lnTo>
                      <a:pt x="8" y="28"/>
                    </a:lnTo>
                    <a:lnTo>
                      <a:pt x="8" y="28"/>
                    </a:lnTo>
                    <a:lnTo>
                      <a:pt x="6" y="2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17" name="Freeform 566">
                <a:extLst>
                  <a:ext uri="{FF2B5EF4-FFF2-40B4-BE49-F238E27FC236}">
                    <a16:creationId xmlns:a16="http://schemas.microsoft.com/office/drawing/2014/main" id="{9EB1CABF-DBE9-4FA0-8C37-2C5CDA49DC37}"/>
                  </a:ext>
                </a:extLst>
              </p:cNvPr>
              <p:cNvSpPr>
                <a:spLocks/>
              </p:cNvSpPr>
              <p:nvPr/>
            </p:nvSpPr>
            <p:spPr bwMode="auto">
              <a:xfrm>
                <a:off x="2541878" y="2873542"/>
                <a:ext cx="92075" cy="79375"/>
              </a:xfrm>
              <a:custGeom>
                <a:avLst/>
                <a:gdLst>
                  <a:gd name="T0" fmla="*/ 26 w 58"/>
                  <a:gd name="T1" fmla="*/ 0 h 50"/>
                  <a:gd name="T2" fmla="*/ 32 w 58"/>
                  <a:gd name="T3" fmla="*/ 0 h 50"/>
                  <a:gd name="T4" fmla="*/ 38 w 58"/>
                  <a:gd name="T5" fmla="*/ 2 h 50"/>
                  <a:gd name="T6" fmla="*/ 46 w 58"/>
                  <a:gd name="T7" fmla="*/ 4 h 50"/>
                  <a:gd name="T8" fmla="*/ 50 w 58"/>
                  <a:gd name="T9" fmla="*/ 6 h 50"/>
                  <a:gd name="T10" fmla="*/ 52 w 58"/>
                  <a:gd name="T11" fmla="*/ 10 h 50"/>
                  <a:gd name="T12" fmla="*/ 56 w 58"/>
                  <a:gd name="T13" fmla="*/ 12 h 50"/>
                  <a:gd name="T14" fmla="*/ 58 w 58"/>
                  <a:gd name="T15" fmla="*/ 16 h 50"/>
                  <a:gd name="T16" fmla="*/ 58 w 58"/>
                  <a:gd name="T17" fmla="*/ 20 h 50"/>
                  <a:gd name="T18" fmla="*/ 58 w 58"/>
                  <a:gd name="T19" fmla="*/ 22 h 50"/>
                  <a:gd name="T20" fmla="*/ 58 w 58"/>
                  <a:gd name="T21" fmla="*/ 24 h 50"/>
                  <a:gd name="T22" fmla="*/ 56 w 58"/>
                  <a:gd name="T23" fmla="*/ 24 h 50"/>
                  <a:gd name="T24" fmla="*/ 54 w 58"/>
                  <a:gd name="T25" fmla="*/ 26 h 50"/>
                  <a:gd name="T26" fmla="*/ 50 w 58"/>
                  <a:gd name="T27" fmla="*/ 28 h 50"/>
                  <a:gd name="T28" fmla="*/ 40 w 58"/>
                  <a:gd name="T29" fmla="*/ 30 h 50"/>
                  <a:gd name="T30" fmla="*/ 38 w 58"/>
                  <a:gd name="T31" fmla="*/ 30 h 50"/>
                  <a:gd name="T32" fmla="*/ 36 w 58"/>
                  <a:gd name="T33" fmla="*/ 32 h 50"/>
                  <a:gd name="T34" fmla="*/ 32 w 58"/>
                  <a:gd name="T35" fmla="*/ 34 h 50"/>
                  <a:gd name="T36" fmla="*/ 24 w 58"/>
                  <a:gd name="T37" fmla="*/ 44 h 50"/>
                  <a:gd name="T38" fmla="*/ 22 w 58"/>
                  <a:gd name="T39" fmla="*/ 48 h 50"/>
                  <a:gd name="T40" fmla="*/ 18 w 58"/>
                  <a:gd name="T41" fmla="*/ 50 h 50"/>
                  <a:gd name="T42" fmla="*/ 16 w 58"/>
                  <a:gd name="T43" fmla="*/ 50 h 50"/>
                  <a:gd name="T44" fmla="*/ 14 w 58"/>
                  <a:gd name="T45" fmla="*/ 50 h 50"/>
                  <a:gd name="T46" fmla="*/ 12 w 58"/>
                  <a:gd name="T47" fmla="*/ 48 h 50"/>
                  <a:gd name="T48" fmla="*/ 10 w 58"/>
                  <a:gd name="T49" fmla="*/ 46 h 50"/>
                  <a:gd name="T50" fmla="*/ 6 w 58"/>
                  <a:gd name="T51" fmla="*/ 44 h 50"/>
                  <a:gd name="T52" fmla="*/ 4 w 58"/>
                  <a:gd name="T53" fmla="*/ 38 h 50"/>
                  <a:gd name="T54" fmla="*/ 0 w 58"/>
                  <a:gd name="T55" fmla="*/ 32 h 50"/>
                  <a:gd name="T56" fmla="*/ 0 w 58"/>
                  <a:gd name="T57" fmla="*/ 28 h 50"/>
                  <a:gd name="T58" fmla="*/ 0 w 58"/>
                  <a:gd name="T59" fmla="*/ 22 h 50"/>
                  <a:gd name="T60" fmla="*/ 0 w 58"/>
                  <a:gd name="T61" fmla="*/ 16 h 50"/>
                  <a:gd name="T62" fmla="*/ 2 w 58"/>
                  <a:gd name="T63" fmla="*/ 12 h 50"/>
                  <a:gd name="T64" fmla="*/ 2 w 58"/>
                  <a:gd name="T65" fmla="*/ 10 h 50"/>
                  <a:gd name="T66" fmla="*/ 4 w 58"/>
                  <a:gd name="T67" fmla="*/ 8 h 50"/>
                  <a:gd name="T68" fmla="*/ 6 w 58"/>
                  <a:gd name="T69" fmla="*/ 6 h 50"/>
                  <a:gd name="T70" fmla="*/ 14 w 58"/>
                  <a:gd name="T71" fmla="*/ 4 h 50"/>
                  <a:gd name="T72" fmla="*/ 20 w 58"/>
                  <a:gd name="T73" fmla="*/ 2 h 50"/>
                  <a:gd name="T74" fmla="*/ 26 w 58"/>
                  <a:gd name="T7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50">
                    <a:moveTo>
                      <a:pt x="26" y="0"/>
                    </a:moveTo>
                    <a:lnTo>
                      <a:pt x="26" y="0"/>
                    </a:lnTo>
                    <a:lnTo>
                      <a:pt x="28" y="0"/>
                    </a:lnTo>
                    <a:lnTo>
                      <a:pt x="32" y="0"/>
                    </a:lnTo>
                    <a:lnTo>
                      <a:pt x="36" y="2"/>
                    </a:lnTo>
                    <a:lnTo>
                      <a:pt x="38" y="2"/>
                    </a:lnTo>
                    <a:lnTo>
                      <a:pt x="42" y="4"/>
                    </a:lnTo>
                    <a:lnTo>
                      <a:pt x="46" y="4"/>
                    </a:lnTo>
                    <a:lnTo>
                      <a:pt x="48" y="6"/>
                    </a:lnTo>
                    <a:lnTo>
                      <a:pt x="50" y="6"/>
                    </a:lnTo>
                    <a:lnTo>
                      <a:pt x="50" y="8"/>
                    </a:lnTo>
                    <a:lnTo>
                      <a:pt x="52" y="10"/>
                    </a:lnTo>
                    <a:lnTo>
                      <a:pt x="54" y="10"/>
                    </a:lnTo>
                    <a:lnTo>
                      <a:pt x="56" y="12"/>
                    </a:lnTo>
                    <a:lnTo>
                      <a:pt x="56" y="14"/>
                    </a:lnTo>
                    <a:lnTo>
                      <a:pt x="58" y="16"/>
                    </a:lnTo>
                    <a:lnTo>
                      <a:pt x="58" y="18"/>
                    </a:lnTo>
                    <a:lnTo>
                      <a:pt x="58" y="20"/>
                    </a:lnTo>
                    <a:lnTo>
                      <a:pt x="58" y="22"/>
                    </a:lnTo>
                    <a:lnTo>
                      <a:pt x="58" y="22"/>
                    </a:lnTo>
                    <a:lnTo>
                      <a:pt x="58" y="22"/>
                    </a:lnTo>
                    <a:lnTo>
                      <a:pt x="58" y="24"/>
                    </a:lnTo>
                    <a:lnTo>
                      <a:pt x="58" y="24"/>
                    </a:lnTo>
                    <a:lnTo>
                      <a:pt x="56" y="24"/>
                    </a:lnTo>
                    <a:lnTo>
                      <a:pt x="56" y="26"/>
                    </a:lnTo>
                    <a:lnTo>
                      <a:pt x="54" y="26"/>
                    </a:lnTo>
                    <a:lnTo>
                      <a:pt x="52" y="26"/>
                    </a:lnTo>
                    <a:lnTo>
                      <a:pt x="50" y="28"/>
                    </a:lnTo>
                    <a:lnTo>
                      <a:pt x="42" y="28"/>
                    </a:lnTo>
                    <a:lnTo>
                      <a:pt x="40" y="30"/>
                    </a:lnTo>
                    <a:lnTo>
                      <a:pt x="40" y="30"/>
                    </a:lnTo>
                    <a:lnTo>
                      <a:pt x="38" y="30"/>
                    </a:lnTo>
                    <a:lnTo>
                      <a:pt x="36" y="30"/>
                    </a:lnTo>
                    <a:lnTo>
                      <a:pt x="36" y="32"/>
                    </a:lnTo>
                    <a:lnTo>
                      <a:pt x="34" y="34"/>
                    </a:lnTo>
                    <a:lnTo>
                      <a:pt x="32" y="34"/>
                    </a:lnTo>
                    <a:lnTo>
                      <a:pt x="28" y="42"/>
                    </a:lnTo>
                    <a:lnTo>
                      <a:pt x="24" y="44"/>
                    </a:lnTo>
                    <a:lnTo>
                      <a:pt x="22" y="46"/>
                    </a:lnTo>
                    <a:lnTo>
                      <a:pt x="22" y="48"/>
                    </a:lnTo>
                    <a:lnTo>
                      <a:pt x="20" y="48"/>
                    </a:lnTo>
                    <a:lnTo>
                      <a:pt x="18" y="50"/>
                    </a:lnTo>
                    <a:lnTo>
                      <a:pt x="16" y="50"/>
                    </a:lnTo>
                    <a:lnTo>
                      <a:pt x="16" y="50"/>
                    </a:lnTo>
                    <a:lnTo>
                      <a:pt x="16" y="50"/>
                    </a:lnTo>
                    <a:lnTo>
                      <a:pt x="14" y="50"/>
                    </a:lnTo>
                    <a:lnTo>
                      <a:pt x="12" y="50"/>
                    </a:lnTo>
                    <a:lnTo>
                      <a:pt x="12" y="48"/>
                    </a:lnTo>
                    <a:lnTo>
                      <a:pt x="10" y="48"/>
                    </a:lnTo>
                    <a:lnTo>
                      <a:pt x="10" y="46"/>
                    </a:lnTo>
                    <a:lnTo>
                      <a:pt x="8" y="44"/>
                    </a:lnTo>
                    <a:lnTo>
                      <a:pt x="6" y="44"/>
                    </a:lnTo>
                    <a:lnTo>
                      <a:pt x="6" y="42"/>
                    </a:lnTo>
                    <a:lnTo>
                      <a:pt x="4" y="38"/>
                    </a:lnTo>
                    <a:lnTo>
                      <a:pt x="2" y="36"/>
                    </a:lnTo>
                    <a:lnTo>
                      <a:pt x="0" y="32"/>
                    </a:lnTo>
                    <a:lnTo>
                      <a:pt x="0" y="30"/>
                    </a:lnTo>
                    <a:lnTo>
                      <a:pt x="0" y="28"/>
                    </a:lnTo>
                    <a:lnTo>
                      <a:pt x="0" y="26"/>
                    </a:lnTo>
                    <a:lnTo>
                      <a:pt x="0" y="22"/>
                    </a:lnTo>
                    <a:lnTo>
                      <a:pt x="0" y="20"/>
                    </a:lnTo>
                    <a:lnTo>
                      <a:pt x="0" y="16"/>
                    </a:lnTo>
                    <a:lnTo>
                      <a:pt x="0" y="14"/>
                    </a:lnTo>
                    <a:lnTo>
                      <a:pt x="2" y="12"/>
                    </a:lnTo>
                    <a:lnTo>
                      <a:pt x="2" y="10"/>
                    </a:lnTo>
                    <a:lnTo>
                      <a:pt x="2" y="10"/>
                    </a:lnTo>
                    <a:lnTo>
                      <a:pt x="4" y="10"/>
                    </a:lnTo>
                    <a:lnTo>
                      <a:pt x="4" y="8"/>
                    </a:lnTo>
                    <a:lnTo>
                      <a:pt x="6" y="8"/>
                    </a:lnTo>
                    <a:lnTo>
                      <a:pt x="6" y="6"/>
                    </a:lnTo>
                    <a:lnTo>
                      <a:pt x="10" y="4"/>
                    </a:lnTo>
                    <a:lnTo>
                      <a:pt x="14" y="4"/>
                    </a:lnTo>
                    <a:lnTo>
                      <a:pt x="16" y="2"/>
                    </a:lnTo>
                    <a:lnTo>
                      <a:pt x="20" y="2"/>
                    </a:lnTo>
                    <a:lnTo>
                      <a:pt x="22" y="0"/>
                    </a:lnTo>
                    <a:lnTo>
                      <a:pt x="26"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18" name="Freeform 571">
                <a:extLst>
                  <a:ext uri="{FF2B5EF4-FFF2-40B4-BE49-F238E27FC236}">
                    <a16:creationId xmlns:a16="http://schemas.microsoft.com/office/drawing/2014/main" id="{3EDF88ED-67A4-494C-8DE6-B995409EB00D}"/>
                  </a:ext>
                </a:extLst>
              </p:cNvPr>
              <p:cNvSpPr>
                <a:spLocks/>
              </p:cNvSpPr>
              <p:nvPr/>
            </p:nvSpPr>
            <p:spPr bwMode="auto">
              <a:xfrm>
                <a:off x="2303753" y="2409992"/>
                <a:ext cx="114300" cy="73025"/>
              </a:xfrm>
              <a:custGeom>
                <a:avLst/>
                <a:gdLst>
                  <a:gd name="T0" fmla="*/ 30 w 72"/>
                  <a:gd name="T1" fmla="*/ 18 h 46"/>
                  <a:gd name="T2" fmla="*/ 30 w 72"/>
                  <a:gd name="T3" fmla="*/ 16 h 46"/>
                  <a:gd name="T4" fmla="*/ 32 w 72"/>
                  <a:gd name="T5" fmla="*/ 14 h 46"/>
                  <a:gd name="T6" fmla="*/ 34 w 72"/>
                  <a:gd name="T7" fmla="*/ 12 h 46"/>
                  <a:gd name="T8" fmla="*/ 38 w 72"/>
                  <a:gd name="T9" fmla="*/ 10 h 46"/>
                  <a:gd name="T10" fmla="*/ 44 w 72"/>
                  <a:gd name="T11" fmla="*/ 6 h 46"/>
                  <a:gd name="T12" fmla="*/ 50 w 72"/>
                  <a:gd name="T13" fmla="*/ 4 h 46"/>
                  <a:gd name="T14" fmla="*/ 54 w 72"/>
                  <a:gd name="T15" fmla="*/ 4 h 46"/>
                  <a:gd name="T16" fmla="*/ 60 w 72"/>
                  <a:gd name="T17" fmla="*/ 4 h 46"/>
                  <a:gd name="T18" fmla="*/ 64 w 72"/>
                  <a:gd name="T19" fmla="*/ 4 h 46"/>
                  <a:gd name="T20" fmla="*/ 68 w 72"/>
                  <a:gd name="T21" fmla="*/ 6 h 46"/>
                  <a:gd name="T22" fmla="*/ 70 w 72"/>
                  <a:gd name="T23" fmla="*/ 6 h 46"/>
                  <a:gd name="T24" fmla="*/ 70 w 72"/>
                  <a:gd name="T25" fmla="*/ 8 h 46"/>
                  <a:gd name="T26" fmla="*/ 72 w 72"/>
                  <a:gd name="T27" fmla="*/ 12 h 46"/>
                  <a:gd name="T28" fmla="*/ 72 w 72"/>
                  <a:gd name="T29" fmla="*/ 16 h 46"/>
                  <a:gd name="T30" fmla="*/ 72 w 72"/>
                  <a:gd name="T31" fmla="*/ 20 h 46"/>
                  <a:gd name="T32" fmla="*/ 72 w 72"/>
                  <a:gd name="T33" fmla="*/ 24 h 46"/>
                  <a:gd name="T34" fmla="*/ 72 w 72"/>
                  <a:gd name="T35" fmla="*/ 30 h 46"/>
                  <a:gd name="T36" fmla="*/ 70 w 72"/>
                  <a:gd name="T37" fmla="*/ 34 h 46"/>
                  <a:gd name="T38" fmla="*/ 68 w 72"/>
                  <a:gd name="T39" fmla="*/ 36 h 46"/>
                  <a:gd name="T40" fmla="*/ 66 w 72"/>
                  <a:gd name="T41" fmla="*/ 40 h 46"/>
                  <a:gd name="T42" fmla="*/ 62 w 72"/>
                  <a:gd name="T43" fmla="*/ 42 h 46"/>
                  <a:gd name="T44" fmla="*/ 56 w 72"/>
                  <a:gd name="T45" fmla="*/ 44 h 46"/>
                  <a:gd name="T46" fmla="*/ 50 w 72"/>
                  <a:gd name="T47" fmla="*/ 46 h 46"/>
                  <a:gd name="T48" fmla="*/ 44 w 72"/>
                  <a:gd name="T49" fmla="*/ 46 h 46"/>
                  <a:gd name="T50" fmla="*/ 38 w 72"/>
                  <a:gd name="T51" fmla="*/ 46 h 46"/>
                  <a:gd name="T52" fmla="*/ 32 w 72"/>
                  <a:gd name="T53" fmla="*/ 46 h 46"/>
                  <a:gd name="T54" fmla="*/ 26 w 72"/>
                  <a:gd name="T55" fmla="*/ 46 h 46"/>
                  <a:gd name="T56" fmla="*/ 24 w 72"/>
                  <a:gd name="T57" fmla="*/ 44 h 46"/>
                  <a:gd name="T58" fmla="*/ 22 w 72"/>
                  <a:gd name="T59" fmla="*/ 44 h 46"/>
                  <a:gd name="T60" fmla="*/ 20 w 72"/>
                  <a:gd name="T61" fmla="*/ 40 h 46"/>
                  <a:gd name="T62" fmla="*/ 14 w 72"/>
                  <a:gd name="T63" fmla="*/ 34 h 46"/>
                  <a:gd name="T64" fmla="*/ 10 w 72"/>
                  <a:gd name="T65" fmla="*/ 28 h 46"/>
                  <a:gd name="T66" fmla="*/ 6 w 72"/>
                  <a:gd name="T67" fmla="*/ 24 h 46"/>
                  <a:gd name="T68" fmla="*/ 2 w 72"/>
                  <a:gd name="T69" fmla="*/ 18 h 46"/>
                  <a:gd name="T70" fmla="*/ 0 w 72"/>
                  <a:gd name="T71" fmla="*/ 14 h 46"/>
                  <a:gd name="T72" fmla="*/ 0 w 72"/>
                  <a:gd name="T73" fmla="*/ 12 h 46"/>
                  <a:gd name="T74" fmla="*/ 0 w 72"/>
                  <a:gd name="T75" fmla="*/ 10 h 46"/>
                  <a:gd name="T76" fmla="*/ 0 w 72"/>
                  <a:gd name="T77" fmla="*/ 8 h 46"/>
                  <a:gd name="T78" fmla="*/ 2 w 72"/>
                  <a:gd name="T79" fmla="*/ 6 h 46"/>
                  <a:gd name="T80" fmla="*/ 6 w 72"/>
                  <a:gd name="T81" fmla="*/ 2 h 46"/>
                  <a:gd name="T82" fmla="*/ 8 w 72"/>
                  <a:gd name="T83" fmla="*/ 0 h 46"/>
                  <a:gd name="T84" fmla="*/ 8 w 72"/>
                  <a:gd name="T85" fmla="*/ 0 h 46"/>
                  <a:gd name="T86" fmla="*/ 10 w 72"/>
                  <a:gd name="T87" fmla="*/ 0 h 46"/>
                  <a:gd name="T88" fmla="*/ 12 w 72"/>
                  <a:gd name="T89" fmla="*/ 0 h 46"/>
                  <a:gd name="T90" fmla="*/ 14 w 72"/>
                  <a:gd name="T91" fmla="*/ 2 h 46"/>
                  <a:gd name="T92" fmla="*/ 18 w 72"/>
                  <a:gd name="T93" fmla="*/ 6 h 46"/>
                  <a:gd name="T94" fmla="*/ 22 w 72"/>
                  <a:gd name="T95" fmla="*/ 10 h 46"/>
                  <a:gd name="T96" fmla="*/ 22 w 72"/>
                  <a:gd name="T97" fmla="*/ 12 h 46"/>
                  <a:gd name="T98" fmla="*/ 22 w 72"/>
                  <a:gd name="T99" fmla="*/ 1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46">
                    <a:moveTo>
                      <a:pt x="30" y="18"/>
                    </a:moveTo>
                    <a:lnTo>
                      <a:pt x="30" y="18"/>
                    </a:lnTo>
                    <a:lnTo>
                      <a:pt x="30" y="16"/>
                    </a:lnTo>
                    <a:lnTo>
                      <a:pt x="30" y="16"/>
                    </a:lnTo>
                    <a:lnTo>
                      <a:pt x="32" y="14"/>
                    </a:lnTo>
                    <a:lnTo>
                      <a:pt x="32" y="14"/>
                    </a:lnTo>
                    <a:lnTo>
                      <a:pt x="34" y="12"/>
                    </a:lnTo>
                    <a:lnTo>
                      <a:pt x="34" y="12"/>
                    </a:lnTo>
                    <a:lnTo>
                      <a:pt x="36" y="10"/>
                    </a:lnTo>
                    <a:lnTo>
                      <a:pt x="38" y="10"/>
                    </a:lnTo>
                    <a:lnTo>
                      <a:pt x="40" y="8"/>
                    </a:lnTo>
                    <a:lnTo>
                      <a:pt x="44" y="6"/>
                    </a:lnTo>
                    <a:lnTo>
                      <a:pt x="48" y="6"/>
                    </a:lnTo>
                    <a:lnTo>
                      <a:pt x="50" y="4"/>
                    </a:lnTo>
                    <a:lnTo>
                      <a:pt x="52" y="4"/>
                    </a:lnTo>
                    <a:lnTo>
                      <a:pt x="54" y="4"/>
                    </a:lnTo>
                    <a:lnTo>
                      <a:pt x="58" y="4"/>
                    </a:lnTo>
                    <a:lnTo>
                      <a:pt x="60" y="4"/>
                    </a:lnTo>
                    <a:lnTo>
                      <a:pt x="64" y="4"/>
                    </a:lnTo>
                    <a:lnTo>
                      <a:pt x="64" y="4"/>
                    </a:lnTo>
                    <a:lnTo>
                      <a:pt x="66" y="6"/>
                    </a:lnTo>
                    <a:lnTo>
                      <a:pt x="68" y="6"/>
                    </a:lnTo>
                    <a:lnTo>
                      <a:pt x="68" y="6"/>
                    </a:lnTo>
                    <a:lnTo>
                      <a:pt x="70" y="6"/>
                    </a:lnTo>
                    <a:lnTo>
                      <a:pt x="70" y="8"/>
                    </a:lnTo>
                    <a:lnTo>
                      <a:pt x="70" y="8"/>
                    </a:lnTo>
                    <a:lnTo>
                      <a:pt x="72" y="10"/>
                    </a:lnTo>
                    <a:lnTo>
                      <a:pt x="72" y="12"/>
                    </a:lnTo>
                    <a:lnTo>
                      <a:pt x="72" y="14"/>
                    </a:lnTo>
                    <a:lnTo>
                      <a:pt x="72" y="16"/>
                    </a:lnTo>
                    <a:lnTo>
                      <a:pt x="72" y="18"/>
                    </a:lnTo>
                    <a:lnTo>
                      <a:pt x="72" y="20"/>
                    </a:lnTo>
                    <a:lnTo>
                      <a:pt x="72" y="22"/>
                    </a:lnTo>
                    <a:lnTo>
                      <a:pt x="72" y="24"/>
                    </a:lnTo>
                    <a:lnTo>
                      <a:pt x="72" y="28"/>
                    </a:lnTo>
                    <a:lnTo>
                      <a:pt x="72" y="30"/>
                    </a:lnTo>
                    <a:lnTo>
                      <a:pt x="70" y="32"/>
                    </a:lnTo>
                    <a:lnTo>
                      <a:pt x="70" y="34"/>
                    </a:lnTo>
                    <a:lnTo>
                      <a:pt x="68" y="36"/>
                    </a:lnTo>
                    <a:lnTo>
                      <a:pt x="68" y="36"/>
                    </a:lnTo>
                    <a:lnTo>
                      <a:pt x="68" y="38"/>
                    </a:lnTo>
                    <a:lnTo>
                      <a:pt x="66" y="40"/>
                    </a:lnTo>
                    <a:lnTo>
                      <a:pt x="64" y="40"/>
                    </a:lnTo>
                    <a:lnTo>
                      <a:pt x="62" y="42"/>
                    </a:lnTo>
                    <a:lnTo>
                      <a:pt x="58" y="42"/>
                    </a:lnTo>
                    <a:lnTo>
                      <a:pt x="56" y="44"/>
                    </a:lnTo>
                    <a:lnTo>
                      <a:pt x="54" y="44"/>
                    </a:lnTo>
                    <a:lnTo>
                      <a:pt x="50" y="46"/>
                    </a:lnTo>
                    <a:lnTo>
                      <a:pt x="48" y="46"/>
                    </a:lnTo>
                    <a:lnTo>
                      <a:pt x="44" y="46"/>
                    </a:lnTo>
                    <a:lnTo>
                      <a:pt x="40" y="46"/>
                    </a:lnTo>
                    <a:lnTo>
                      <a:pt x="38" y="46"/>
                    </a:lnTo>
                    <a:lnTo>
                      <a:pt x="34" y="46"/>
                    </a:lnTo>
                    <a:lnTo>
                      <a:pt x="32" y="46"/>
                    </a:lnTo>
                    <a:lnTo>
                      <a:pt x="30" y="46"/>
                    </a:lnTo>
                    <a:lnTo>
                      <a:pt x="26" y="46"/>
                    </a:lnTo>
                    <a:lnTo>
                      <a:pt x="24" y="46"/>
                    </a:lnTo>
                    <a:lnTo>
                      <a:pt x="24" y="44"/>
                    </a:lnTo>
                    <a:lnTo>
                      <a:pt x="24" y="44"/>
                    </a:lnTo>
                    <a:lnTo>
                      <a:pt x="22" y="44"/>
                    </a:lnTo>
                    <a:lnTo>
                      <a:pt x="22" y="42"/>
                    </a:lnTo>
                    <a:lnTo>
                      <a:pt x="20" y="40"/>
                    </a:lnTo>
                    <a:lnTo>
                      <a:pt x="18" y="38"/>
                    </a:lnTo>
                    <a:lnTo>
                      <a:pt x="14" y="34"/>
                    </a:lnTo>
                    <a:lnTo>
                      <a:pt x="12" y="30"/>
                    </a:lnTo>
                    <a:lnTo>
                      <a:pt x="10" y="28"/>
                    </a:lnTo>
                    <a:lnTo>
                      <a:pt x="8" y="26"/>
                    </a:lnTo>
                    <a:lnTo>
                      <a:pt x="6" y="24"/>
                    </a:lnTo>
                    <a:lnTo>
                      <a:pt x="4" y="20"/>
                    </a:lnTo>
                    <a:lnTo>
                      <a:pt x="2" y="18"/>
                    </a:lnTo>
                    <a:lnTo>
                      <a:pt x="2" y="16"/>
                    </a:lnTo>
                    <a:lnTo>
                      <a:pt x="0" y="14"/>
                    </a:lnTo>
                    <a:lnTo>
                      <a:pt x="0" y="14"/>
                    </a:lnTo>
                    <a:lnTo>
                      <a:pt x="0" y="12"/>
                    </a:lnTo>
                    <a:lnTo>
                      <a:pt x="0" y="12"/>
                    </a:lnTo>
                    <a:lnTo>
                      <a:pt x="0" y="10"/>
                    </a:lnTo>
                    <a:lnTo>
                      <a:pt x="0" y="10"/>
                    </a:lnTo>
                    <a:lnTo>
                      <a:pt x="0" y="8"/>
                    </a:lnTo>
                    <a:lnTo>
                      <a:pt x="2" y="6"/>
                    </a:lnTo>
                    <a:lnTo>
                      <a:pt x="2" y="6"/>
                    </a:lnTo>
                    <a:lnTo>
                      <a:pt x="4" y="4"/>
                    </a:lnTo>
                    <a:lnTo>
                      <a:pt x="6" y="2"/>
                    </a:lnTo>
                    <a:lnTo>
                      <a:pt x="6" y="0"/>
                    </a:lnTo>
                    <a:lnTo>
                      <a:pt x="8" y="0"/>
                    </a:lnTo>
                    <a:lnTo>
                      <a:pt x="8" y="0"/>
                    </a:lnTo>
                    <a:lnTo>
                      <a:pt x="8" y="0"/>
                    </a:lnTo>
                    <a:lnTo>
                      <a:pt x="10" y="0"/>
                    </a:lnTo>
                    <a:lnTo>
                      <a:pt x="10" y="0"/>
                    </a:lnTo>
                    <a:lnTo>
                      <a:pt x="12" y="0"/>
                    </a:lnTo>
                    <a:lnTo>
                      <a:pt x="12" y="0"/>
                    </a:lnTo>
                    <a:lnTo>
                      <a:pt x="14" y="2"/>
                    </a:lnTo>
                    <a:lnTo>
                      <a:pt x="14" y="2"/>
                    </a:lnTo>
                    <a:lnTo>
                      <a:pt x="16" y="4"/>
                    </a:lnTo>
                    <a:lnTo>
                      <a:pt x="18" y="6"/>
                    </a:lnTo>
                    <a:lnTo>
                      <a:pt x="20" y="8"/>
                    </a:lnTo>
                    <a:lnTo>
                      <a:pt x="22" y="10"/>
                    </a:lnTo>
                    <a:lnTo>
                      <a:pt x="22" y="12"/>
                    </a:lnTo>
                    <a:lnTo>
                      <a:pt x="22" y="12"/>
                    </a:lnTo>
                    <a:lnTo>
                      <a:pt x="22" y="14"/>
                    </a:lnTo>
                    <a:lnTo>
                      <a:pt x="22" y="14"/>
                    </a:lnTo>
                  </a:path>
                </a:pathLst>
              </a:custGeom>
              <a:grp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19" name="Freeform 573">
                <a:extLst>
                  <a:ext uri="{FF2B5EF4-FFF2-40B4-BE49-F238E27FC236}">
                    <a16:creationId xmlns:a16="http://schemas.microsoft.com/office/drawing/2014/main" id="{43FB5068-4BBD-4DB0-BE8F-B80890A8886B}"/>
                  </a:ext>
                </a:extLst>
              </p:cNvPr>
              <p:cNvSpPr>
                <a:spLocks/>
              </p:cNvSpPr>
              <p:nvPr/>
            </p:nvSpPr>
            <p:spPr bwMode="auto">
              <a:xfrm>
                <a:off x="2443453" y="2308392"/>
                <a:ext cx="60325" cy="63500"/>
              </a:xfrm>
              <a:custGeom>
                <a:avLst/>
                <a:gdLst>
                  <a:gd name="T0" fmla="*/ 2 w 38"/>
                  <a:gd name="T1" fmla="*/ 8 h 40"/>
                  <a:gd name="T2" fmla="*/ 2 w 38"/>
                  <a:gd name="T3" fmla="*/ 8 h 40"/>
                  <a:gd name="T4" fmla="*/ 2 w 38"/>
                  <a:gd name="T5" fmla="*/ 10 h 40"/>
                  <a:gd name="T6" fmla="*/ 2 w 38"/>
                  <a:gd name="T7" fmla="*/ 10 h 40"/>
                  <a:gd name="T8" fmla="*/ 0 w 38"/>
                  <a:gd name="T9" fmla="*/ 12 h 40"/>
                  <a:gd name="T10" fmla="*/ 0 w 38"/>
                  <a:gd name="T11" fmla="*/ 14 h 40"/>
                  <a:gd name="T12" fmla="*/ 0 w 38"/>
                  <a:gd name="T13" fmla="*/ 18 h 40"/>
                  <a:gd name="T14" fmla="*/ 0 w 38"/>
                  <a:gd name="T15" fmla="*/ 20 h 40"/>
                  <a:gd name="T16" fmla="*/ 2 w 38"/>
                  <a:gd name="T17" fmla="*/ 22 h 40"/>
                  <a:gd name="T18" fmla="*/ 2 w 38"/>
                  <a:gd name="T19" fmla="*/ 24 h 40"/>
                  <a:gd name="T20" fmla="*/ 2 w 38"/>
                  <a:gd name="T21" fmla="*/ 26 h 40"/>
                  <a:gd name="T22" fmla="*/ 4 w 38"/>
                  <a:gd name="T23" fmla="*/ 28 h 40"/>
                  <a:gd name="T24" fmla="*/ 4 w 38"/>
                  <a:gd name="T25" fmla="*/ 30 h 40"/>
                  <a:gd name="T26" fmla="*/ 6 w 38"/>
                  <a:gd name="T27" fmla="*/ 32 h 40"/>
                  <a:gd name="T28" fmla="*/ 8 w 38"/>
                  <a:gd name="T29" fmla="*/ 34 h 40"/>
                  <a:gd name="T30" fmla="*/ 10 w 38"/>
                  <a:gd name="T31" fmla="*/ 36 h 40"/>
                  <a:gd name="T32" fmla="*/ 12 w 38"/>
                  <a:gd name="T33" fmla="*/ 38 h 40"/>
                  <a:gd name="T34" fmla="*/ 14 w 38"/>
                  <a:gd name="T35" fmla="*/ 38 h 40"/>
                  <a:gd name="T36" fmla="*/ 14 w 38"/>
                  <a:gd name="T37" fmla="*/ 38 h 40"/>
                  <a:gd name="T38" fmla="*/ 14 w 38"/>
                  <a:gd name="T39" fmla="*/ 40 h 40"/>
                  <a:gd name="T40" fmla="*/ 16 w 38"/>
                  <a:gd name="T41" fmla="*/ 40 h 40"/>
                  <a:gd name="T42" fmla="*/ 18 w 38"/>
                  <a:gd name="T43" fmla="*/ 40 h 40"/>
                  <a:gd name="T44" fmla="*/ 20 w 38"/>
                  <a:gd name="T45" fmla="*/ 40 h 40"/>
                  <a:gd name="T46" fmla="*/ 22 w 38"/>
                  <a:gd name="T47" fmla="*/ 40 h 40"/>
                  <a:gd name="T48" fmla="*/ 24 w 38"/>
                  <a:gd name="T49" fmla="*/ 38 h 40"/>
                  <a:gd name="T50" fmla="*/ 26 w 38"/>
                  <a:gd name="T51" fmla="*/ 38 h 40"/>
                  <a:gd name="T52" fmla="*/ 28 w 38"/>
                  <a:gd name="T53" fmla="*/ 38 h 40"/>
                  <a:gd name="T54" fmla="*/ 30 w 38"/>
                  <a:gd name="T55" fmla="*/ 36 h 40"/>
                  <a:gd name="T56" fmla="*/ 30 w 38"/>
                  <a:gd name="T57" fmla="*/ 36 h 40"/>
                  <a:gd name="T58" fmla="*/ 30 w 38"/>
                  <a:gd name="T59" fmla="*/ 36 h 40"/>
                  <a:gd name="T60" fmla="*/ 32 w 38"/>
                  <a:gd name="T61" fmla="*/ 34 h 40"/>
                  <a:gd name="T62" fmla="*/ 34 w 38"/>
                  <a:gd name="T63" fmla="*/ 30 h 40"/>
                  <a:gd name="T64" fmla="*/ 34 w 38"/>
                  <a:gd name="T65" fmla="*/ 28 h 40"/>
                  <a:gd name="T66" fmla="*/ 36 w 38"/>
                  <a:gd name="T67" fmla="*/ 26 h 40"/>
                  <a:gd name="T68" fmla="*/ 36 w 38"/>
                  <a:gd name="T69" fmla="*/ 24 h 40"/>
                  <a:gd name="T70" fmla="*/ 36 w 38"/>
                  <a:gd name="T71" fmla="*/ 20 h 40"/>
                  <a:gd name="T72" fmla="*/ 38 w 38"/>
                  <a:gd name="T73" fmla="*/ 20 h 40"/>
                  <a:gd name="T74" fmla="*/ 36 w 38"/>
                  <a:gd name="T75" fmla="*/ 18 h 40"/>
                  <a:gd name="T76" fmla="*/ 36 w 38"/>
                  <a:gd name="T77" fmla="*/ 18 h 40"/>
                  <a:gd name="T78" fmla="*/ 36 w 38"/>
                  <a:gd name="T79" fmla="*/ 16 h 40"/>
                  <a:gd name="T80" fmla="*/ 36 w 38"/>
                  <a:gd name="T81" fmla="*/ 14 h 40"/>
                  <a:gd name="T82" fmla="*/ 34 w 38"/>
                  <a:gd name="T83" fmla="*/ 12 h 40"/>
                  <a:gd name="T84" fmla="*/ 32 w 38"/>
                  <a:gd name="T85" fmla="*/ 8 h 40"/>
                  <a:gd name="T86" fmla="*/ 30 w 38"/>
                  <a:gd name="T87" fmla="*/ 6 h 40"/>
                  <a:gd name="T88" fmla="*/ 28 w 38"/>
                  <a:gd name="T89" fmla="*/ 4 h 40"/>
                  <a:gd name="T90" fmla="*/ 28 w 38"/>
                  <a:gd name="T91" fmla="*/ 2 h 40"/>
                  <a:gd name="T92" fmla="*/ 26 w 38"/>
                  <a:gd name="T93" fmla="*/ 2 h 40"/>
                  <a:gd name="T94" fmla="*/ 26 w 38"/>
                  <a:gd name="T95" fmla="*/ 2 h 40"/>
                  <a:gd name="T96" fmla="*/ 24 w 38"/>
                  <a:gd name="T97" fmla="*/ 0 h 40"/>
                  <a:gd name="T98" fmla="*/ 24 w 38"/>
                  <a:gd name="T99" fmla="*/ 0 h 40"/>
                  <a:gd name="T100" fmla="*/ 22 w 38"/>
                  <a:gd name="T101" fmla="*/ 0 h 40"/>
                  <a:gd name="T102" fmla="*/ 20 w 38"/>
                  <a:gd name="T103" fmla="*/ 0 h 40"/>
                  <a:gd name="T104" fmla="*/ 20 w 38"/>
                  <a:gd name="T105" fmla="*/ 0 h 40"/>
                  <a:gd name="T106" fmla="*/ 18 w 38"/>
                  <a:gd name="T107" fmla="*/ 0 h 40"/>
                  <a:gd name="T108" fmla="*/ 16 w 38"/>
                  <a:gd name="T109" fmla="*/ 2 h 40"/>
                  <a:gd name="T110" fmla="*/ 12 w 38"/>
                  <a:gd name="T111" fmla="*/ 2 h 40"/>
                  <a:gd name="T112" fmla="*/ 10 w 38"/>
                  <a:gd name="T113" fmla="*/ 4 h 40"/>
                  <a:gd name="T114" fmla="*/ 8 w 38"/>
                  <a:gd name="T115" fmla="*/ 4 h 40"/>
                  <a:gd name="T116" fmla="*/ 6 w 38"/>
                  <a:gd name="T117" fmla="*/ 4 h 40"/>
                  <a:gd name="T118" fmla="*/ 6 w 38"/>
                  <a:gd name="T119" fmla="*/ 6 h 40"/>
                  <a:gd name="T120" fmla="*/ 4 w 38"/>
                  <a:gd name="T121" fmla="*/ 6 h 40"/>
                  <a:gd name="T122" fmla="*/ 2 w 38"/>
                  <a:gd name="T123" fmla="*/ 8 h 40"/>
                  <a:gd name="T124" fmla="*/ 2 w 38"/>
                  <a:gd name="T125"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 h="40">
                    <a:moveTo>
                      <a:pt x="2" y="8"/>
                    </a:moveTo>
                    <a:lnTo>
                      <a:pt x="2" y="8"/>
                    </a:lnTo>
                    <a:lnTo>
                      <a:pt x="2" y="10"/>
                    </a:lnTo>
                    <a:lnTo>
                      <a:pt x="2" y="10"/>
                    </a:lnTo>
                    <a:lnTo>
                      <a:pt x="0" y="12"/>
                    </a:lnTo>
                    <a:lnTo>
                      <a:pt x="0" y="14"/>
                    </a:lnTo>
                    <a:lnTo>
                      <a:pt x="0" y="18"/>
                    </a:lnTo>
                    <a:lnTo>
                      <a:pt x="0" y="20"/>
                    </a:lnTo>
                    <a:lnTo>
                      <a:pt x="2" y="22"/>
                    </a:lnTo>
                    <a:lnTo>
                      <a:pt x="2" y="24"/>
                    </a:lnTo>
                    <a:lnTo>
                      <a:pt x="2" y="26"/>
                    </a:lnTo>
                    <a:lnTo>
                      <a:pt x="4" y="28"/>
                    </a:lnTo>
                    <a:lnTo>
                      <a:pt x="4" y="30"/>
                    </a:lnTo>
                    <a:lnTo>
                      <a:pt x="6" y="32"/>
                    </a:lnTo>
                    <a:lnTo>
                      <a:pt x="8" y="34"/>
                    </a:lnTo>
                    <a:lnTo>
                      <a:pt x="10" y="36"/>
                    </a:lnTo>
                    <a:lnTo>
                      <a:pt x="12" y="38"/>
                    </a:lnTo>
                    <a:lnTo>
                      <a:pt x="14" y="38"/>
                    </a:lnTo>
                    <a:lnTo>
                      <a:pt x="14" y="38"/>
                    </a:lnTo>
                    <a:lnTo>
                      <a:pt x="14" y="40"/>
                    </a:lnTo>
                    <a:lnTo>
                      <a:pt x="16" y="40"/>
                    </a:lnTo>
                    <a:lnTo>
                      <a:pt x="18" y="40"/>
                    </a:lnTo>
                    <a:lnTo>
                      <a:pt x="20" y="40"/>
                    </a:lnTo>
                    <a:lnTo>
                      <a:pt x="22" y="40"/>
                    </a:lnTo>
                    <a:lnTo>
                      <a:pt x="24" y="38"/>
                    </a:lnTo>
                    <a:lnTo>
                      <a:pt x="26" y="38"/>
                    </a:lnTo>
                    <a:lnTo>
                      <a:pt x="28" y="38"/>
                    </a:lnTo>
                    <a:lnTo>
                      <a:pt x="30" y="36"/>
                    </a:lnTo>
                    <a:lnTo>
                      <a:pt x="30" y="36"/>
                    </a:lnTo>
                    <a:lnTo>
                      <a:pt x="30" y="36"/>
                    </a:lnTo>
                    <a:lnTo>
                      <a:pt x="32" y="34"/>
                    </a:lnTo>
                    <a:lnTo>
                      <a:pt x="34" y="30"/>
                    </a:lnTo>
                    <a:lnTo>
                      <a:pt x="34" y="28"/>
                    </a:lnTo>
                    <a:lnTo>
                      <a:pt x="36" y="26"/>
                    </a:lnTo>
                    <a:lnTo>
                      <a:pt x="36" y="24"/>
                    </a:lnTo>
                    <a:lnTo>
                      <a:pt x="36" y="20"/>
                    </a:lnTo>
                    <a:lnTo>
                      <a:pt x="38" y="20"/>
                    </a:lnTo>
                    <a:lnTo>
                      <a:pt x="36" y="18"/>
                    </a:lnTo>
                    <a:lnTo>
                      <a:pt x="36" y="18"/>
                    </a:lnTo>
                    <a:lnTo>
                      <a:pt x="36" y="16"/>
                    </a:lnTo>
                    <a:lnTo>
                      <a:pt x="36" y="14"/>
                    </a:lnTo>
                    <a:lnTo>
                      <a:pt x="34" y="12"/>
                    </a:lnTo>
                    <a:lnTo>
                      <a:pt x="32" y="8"/>
                    </a:lnTo>
                    <a:lnTo>
                      <a:pt x="30" y="6"/>
                    </a:lnTo>
                    <a:lnTo>
                      <a:pt x="28" y="4"/>
                    </a:lnTo>
                    <a:lnTo>
                      <a:pt x="28" y="2"/>
                    </a:lnTo>
                    <a:lnTo>
                      <a:pt x="26" y="2"/>
                    </a:lnTo>
                    <a:lnTo>
                      <a:pt x="26" y="2"/>
                    </a:lnTo>
                    <a:lnTo>
                      <a:pt x="24" y="0"/>
                    </a:lnTo>
                    <a:lnTo>
                      <a:pt x="24" y="0"/>
                    </a:lnTo>
                    <a:lnTo>
                      <a:pt x="22" y="0"/>
                    </a:lnTo>
                    <a:lnTo>
                      <a:pt x="20" y="0"/>
                    </a:lnTo>
                    <a:lnTo>
                      <a:pt x="20" y="0"/>
                    </a:lnTo>
                    <a:lnTo>
                      <a:pt x="18" y="0"/>
                    </a:lnTo>
                    <a:lnTo>
                      <a:pt x="16" y="2"/>
                    </a:lnTo>
                    <a:lnTo>
                      <a:pt x="12" y="2"/>
                    </a:lnTo>
                    <a:lnTo>
                      <a:pt x="10" y="4"/>
                    </a:lnTo>
                    <a:lnTo>
                      <a:pt x="8" y="4"/>
                    </a:lnTo>
                    <a:lnTo>
                      <a:pt x="6" y="4"/>
                    </a:lnTo>
                    <a:lnTo>
                      <a:pt x="6" y="6"/>
                    </a:lnTo>
                    <a:lnTo>
                      <a:pt x="4" y="6"/>
                    </a:lnTo>
                    <a:lnTo>
                      <a:pt x="2" y="8"/>
                    </a:lnTo>
                    <a:lnTo>
                      <a:pt x="2" y="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20" name="Freeform 575">
                <a:extLst>
                  <a:ext uri="{FF2B5EF4-FFF2-40B4-BE49-F238E27FC236}">
                    <a16:creationId xmlns:a16="http://schemas.microsoft.com/office/drawing/2014/main" id="{45154A2F-6E81-44F1-B2B6-42EFFE796149}"/>
                  </a:ext>
                </a:extLst>
              </p:cNvPr>
              <p:cNvSpPr>
                <a:spLocks/>
              </p:cNvSpPr>
              <p:nvPr/>
            </p:nvSpPr>
            <p:spPr bwMode="auto">
              <a:xfrm>
                <a:off x="2430753" y="2248067"/>
                <a:ext cx="44450" cy="38100"/>
              </a:xfrm>
              <a:custGeom>
                <a:avLst/>
                <a:gdLst>
                  <a:gd name="T0" fmla="*/ 4 w 28"/>
                  <a:gd name="T1" fmla="*/ 0 h 24"/>
                  <a:gd name="T2" fmla="*/ 4 w 28"/>
                  <a:gd name="T3" fmla="*/ 0 h 24"/>
                  <a:gd name="T4" fmla="*/ 4 w 28"/>
                  <a:gd name="T5" fmla="*/ 2 h 24"/>
                  <a:gd name="T6" fmla="*/ 4 w 28"/>
                  <a:gd name="T7" fmla="*/ 2 h 24"/>
                  <a:gd name="T8" fmla="*/ 2 w 28"/>
                  <a:gd name="T9" fmla="*/ 4 h 24"/>
                  <a:gd name="T10" fmla="*/ 2 w 28"/>
                  <a:gd name="T11" fmla="*/ 4 h 24"/>
                  <a:gd name="T12" fmla="*/ 2 w 28"/>
                  <a:gd name="T13" fmla="*/ 6 h 24"/>
                  <a:gd name="T14" fmla="*/ 2 w 28"/>
                  <a:gd name="T15" fmla="*/ 8 h 24"/>
                  <a:gd name="T16" fmla="*/ 0 w 28"/>
                  <a:gd name="T17" fmla="*/ 10 h 24"/>
                  <a:gd name="T18" fmla="*/ 0 w 28"/>
                  <a:gd name="T19" fmla="*/ 14 h 24"/>
                  <a:gd name="T20" fmla="*/ 0 w 28"/>
                  <a:gd name="T21" fmla="*/ 16 h 24"/>
                  <a:gd name="T22" fmla="*/ 0 w 28"/>
                  <a:gd name="T23" fmla="*/ 16 h 24"/>
                  <a:gd name="T24" fmla="*/ 0 w 28"/>
                  <a:gd name="T25" fmla="*/ 18 h 24"/>
                  <a:gd name="T26" fmla="*/ 2 w 28"/>
                  <a:gd name="T27" fmla="*/ 20 h 24"/>
                  <a:gd name="T28" fmla="*/ 2 w 28"/>
                  <a:gd name="T29" fmla="*/ 20 h 24"/>
                  <a:gd name="T30" fmla="*/ 2 w 28"/>
                  <a:gd name="T31" fmla="*/ 22 h 24"/>
                  <a:gd name="T32" fmla="*/ 4 w 28"/>
                  <a:gd name="T33" fmla="*/ 22 h 24"/>
                  <a:gd name="T34" fmla="*/ 4 w 28"/>
                  <a:gd name="T35" fmla="*/ 22 h 24"/>
                  <a:gd name="T36" fmla="*/ 6 w 28"/>
                  <a:gd name="T37" fmla="*/ 22 h 24"/>
                  <a:gd name="T38" fmla="*/ 6 w 28"/>
                  <a:gd name="T39" fmla="*/ 24 h 24"/>
                  <a:gd name="T40" fmla="*/ 8 w 28"/>
                  <a:gd name="T41" fmla="*/ 24 h 24"/>
                  <a:gd name="T42" fmla="*/ 8 w 28"/>
                  <a:gd name="T43" fmla="*/ 24 h 24"/>
                  <a:gd name="T44" fmla="*/ 12 w 28"/>
                  <a:gd name="T45" fmla="*/ 24 h 24"/>
                  <a:gd name="T46" fmla="*/ 14 w 28"/>
                  <a:gd name="T47" fmla="*/ 24 h 24"/>
                  <a:gd name="T48" fmla="*/ 18 w 28"/>
                  <a:gd name="T49" fmla="*/ 22 h 24"/>
                  <a:gd name="T50" fmla="*/ 20 w 28"/>
                  <a:gd name="T51" fmla="*/ 22 h 24"/>
                  <a:gd name="T52" fmla="*/ 20 w 28"/>
                  <a:gd name="T53" fmla="*/ 22 h 24"/>
                  <a:gd name="T54" fmla="*/ 22 w 28"/>
                  <a:gd name="T55" fmla="*/ 22 h 24"/>
                  <a:gd name="T56" fmla="*/ 22 w 28"/>
                  <a:gd name="T57" fmla="*/ 22 h 24"/>
                  <a:gd name="T58" fmla="*/ 22 w 28"/>
                  <a:gd name="T59" fmla="*/ 20 h 24"/>
                  <a:gd name="T60" fmla="*/ 24 w 28"/>
                  <a:gd name="T61" fmla="*/ 20 h 24"/>
                  <a:gd name="T62" fmla="*/ 24 w 28"/>
                  <a:gd name="T63" fmla="*/ 18 h 24"/>
                  <a:gd name="T64" fmla="*/ 26 w 28"/>
                  <a:gd name="T65" fmla="*/ 16 h 24"/>
                  <a:gd name="T66" fmla="*/ 26 w 28"/>
                  <a:gd name="T67" fmla="*/ 14 h 24"/>
                  <a:gd name="T68" fmla="*/ 28 w 28"/>
                  <a:gd name="T69" fmla="*/ 12 h 24"/>
                  <a:gd name="T70" fmla="*/ 28 w 28"/>
                  <a:gd name="T71" fmla="*/ 10 h 24"/>
                  <a:gd name="T72" fmla="*/ 28 w 28"/>
                  <a:gd name="T73" fmla="*/ 8 h 24"/>
                  <a:gd name="T74" fmla="*/ 28 w 28"/>
                  <a:gd name="T75" fmla="*/ 8 h 24"/>
                  <a:gd name="T76" fmla="*/ 28 w 28"/>
                  <a:gd name="T77" fmla="*/ 6 h 24"/>
                  <a:gd name="T78" fmla="*/ 26 w 28"/>
                  <a:gd name="T79" fmla="*/ 6 h 24"/>
                  <a:gd name="T80" fmla="*/ 26 w 28"/>
                  <a:gd name="T81" fmla="*/ 4 h 24"/>
                  <a:gd name="T82" fmla="*/ 26 w 28"/>
                  <a:gd name="T83" fmla="*/ 4 h 24"/>
                  <a:gd name="T84" fmla="*/ 24 w 28"/>
                  <a:gd name="T85" fmla="*/ 4 h 24"/>
                  <a:gd name="T86" fmla="*/ 24 w 28"/>
                  <a:gd name="T87" fmla="*/ 2 h 24"/>
                  <a:gd name="T88" fmla="*/ 22 w 28"/>
                  <a:gd name="T89" fmla="*/ 2 h 24"/>
                  <a:gd name="T90" fmla="*/ 20 w 28"/>
                  <a:gd name="T91" fmla="*/ 2 h 24"/>
                  <a:gd name="T92" fmla="*/ 18 w 28"/>
                  <a:gd name="T93" fmla="*/ 0 h 24"/>
                  <a:gd name="T94" fmla="*/ 16 w 28"/>
                  <a:gd name="T95" fmla="*/ 0 h 24"/>
                  <a:gd name="T96" fmla="*/ 14 w 28"/>
                  <a:gd name="T97" fmla="*/ 0 h 24"/>
                  <a:gd name="T98" fmla="*/ 14 w 28"/>
                  <a:gd name="T99" fmla="*/ 0 h 24"/>
                  <a:gd name="T100" fmla="*/ 12 w 28"/>
                  <a:gd name="T101" fmla="*/ 0 h 24"/>
                  <a:gd name="T102" fmla="*/ 10 w 28"/>
                  <a:gd name="T103" fmla="*/ 0 h 24"/>
                  <a:gd name="T104" fmla="*/ 8 w 28"/>
                  <a:gd name="T105" fmla="*/ 0 h 24"/>
                  <a:gd name="T106" fmla="*/ 6 w 28"/>
                  <a:gd name="T107" fmla="*/ 0 h 24"/>
                  <a:gd name="T108" fmla="*/ 6 w 28"/>
                  <a:gd name="T109" fmla="*/ 0 h 24"/>
                  <a:gd name="T110" fmla="*/ 4 w 28"/>
                  <a:gd name="T11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 h="24">
                    <a:moveTo>
                      <a:pt x="4" y="0"/>
                    </a:moveTo>
                    <a:lnTo>
                      <a:pt x="4" y="0"/>
                    </a:lnTo>
                    <a:lnTo>
                      <a:pt x="4" y="2"/>
                    </a:lnTo>
                    <a:lnTo>
                      <a:pt x="4" y="2"/>
                    </a:lnTo>
                    <a:lnTo>
                      <a:pt x="2" y="4"/>
                    </a:lnTo>
                    <a:lnTo>
                      <a:pt x="2" y="4"/>
                    </a:lnTo>
                    <a:lnTo>
                      <a:pt x="2" y="6"/>
                    </a:lnTo>
                    <a:lnTo>
                      <a:pt x="2" y="8"/>
                    </a:lnTo>
                    <a:lnTo>
                      <a:pt x="0" y="10"/>
                    </a:lnTo>
                    <a:lnTo>
                      <a:pt x="0" y="14"/>
                    </a:lnTo>
                    <a:lnTo>
                      <a:pt x="0" y="16"/>
                    </a:lnTo>
                    <a:lnTo>
                      <a:pt x="0" y="16"/>
                    </a:lnTo>
                    <a:lnTo>
                      <a:pt x="0" y="18"/>
                    </a:lnTo>
                    <a:lnTo>
                      <a:pt x="2" y="20"/>
                    </a:lnTo>
                    <a:lnTo>
                      <a:pt x="2" y="20"/>
                    </a:lnTo>
                    <a:lnTo>
                      <a:pt x="2" y="22"/>
                    </a:lnTo>
                    <a:lnTo>
                      <a:pt x="4" y="22"/>
                    </a:lnTo>
                    <a:lnTo>
                      <a:pt x="4" y="22"/>
                    </a:lnTo>
                    <a:lnTo>
                      <a:pt x="6" y="22"/>
                    </a:lnTo>
                    <a:lnTo>
                      <a:pt x="6" y="24"/>
                    </a:lnTo>
                    <a:lnTo>
                      <a:pt x="8" y="24"/>
                    </a:lnTo>
                    <a:lnTo>
                      <a:pt x="8" y="24"/>
                    </a:lnTo>
                    <a:lnTo>
                      <a:pt x="12" y="24"/>
                    </a:lnTo>
                    <a:lnTo>
                      <a:pt x="14" y="24"/>
                    </a:lnTo>
                    <a:lnTo>
                      <a:pt x="18" y="22"/>
                    </a:lnTo>
                    <a:lnTo>
                      <a:pt x="20" y="22"/>
                    </a:lnTo>
                    <a:lnTo>
                      <a:pt x="20" y="22"/>
                    </a:lnTo>
                    <a:lnTo>
                      <a:pt x="22" y="22"/>
                    </a:lnTo>
                    <a:lnTo>
                      <a:pt x="22" y="22"/>
                    </a:lnTo>
                    <a:lnTo>
                      <a:pt x="22" y="20"/>
                    </a:lnTo>
                    <a:lnTo>
                      <a:pt x="24" y="20"/>
                    </a:lnTo>
                    <a:lnTo>
                      <a:pt x="24" y="18"/>
                    </a:lnTo>
                    <a:lnTo>
                      <a:pt x="26" y="16"/>
                    </a:lnTo>
                    <a:lnTo>
                      <a:pt x="26" y="14"/>
                    </a:lnTo>
                    <a:lnTo>
                      <a:pt x="28" y="12"/>
                    </a:lnTo>
                    <a:lnTo>
                      <a:pt x="28" y="10"/>
                    </a:lnTo>
                    <a:lnTo>
                      <a:pt x="28" y="8"/>
                    </a:lnTo>
                    <a:lnTo>
                      <a:pt x="28" y="8"/>
                    </a:lnTo>
                    <a:lnTo>
                      <a:pt x="28" y="6"/>
                    </a:lnTo>
                    <a:lnTo>
                      <a:pt x="26" y="6"/>
                    </a:lnTo>
                    <a:lnTo>
                      <a:pt x="26" y="4"/>
                    </a:lnTo>
                    <a:lnTo>
                      <a:pt x="26" y="4"/>
                    </a:lnTo>
                    <a:lnTo>
                      <a:pt x="24" y="4"/>
                    </a:lnTo>
                    <a:lnTo>
                      <a:pt x="24" y="2"/>
                    </a:lnTo>
                    <a:lnTo>
                      <a:pt x="22" y="2"/>
                    </a:lnTo>
                    <a:lnTo>
                      <a:pt x="20" y="2"/>
                    </a:lnTo>
                    <a:lnTo>
                      <a:pt x="18" y="0"/>
                    </a:lnTo>
                    <a:lnTo>
                      <a:pt x="16" y="0"/>
                    </a:lnTo>
                    <a:lnTo>
                      <a:pt x="14" y="0"/>
                    </a:lnTo>
                    <a:lnTo>
                      <a:pt x="14" y="0"/>
                    </a:lnTo>
                    <a:lnTo>
                      <a:pt x="12" y="0"/>
                    </a:lnTo>
                    <a:lnTo>
                      <a:pt x="10" y="0"/>
                    </a:lnTo>
                    <a:lnTo>
                      <a:pt x="8" y="0"/>
                    </a:lnTo>
                    <a:lnTo>
                      <a:pt x="6" y="0"/>
                    </a:lnTo>
                    <a:lnTo>
                      <a:pt x="6" y="0"/>
                    </a:lnTo>
                    <a:lnTo>
                      <a:pt x="4"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21" name="Freeform 577">
                <a:extLst>
                  <a:ext uri="{FF2B5EF4-FFF2-40B4-BE49-F238E27FC236}">
                    <a16:creationId xmlns:a16="http://schemas.microsoft.com/office/drawing/2014/main" id="{FB8FDDEA-926E-4475-A291-AB275F1892C4}"/>
                  </a:ext>
                </a:extLst>
              </p:cNvPr>
              <p:cNvSpPr>
                <a:spLocks/>
              </p:cNvSpPr>
              <p:nvPr/>
            </p:nvSpPr>
            <p:spPr bwMode="auto">
              <a:xfrm>
                <a:off x="2516478" y="2197267"/>
                <a:ext cx="136525" cy="142875"/>
              </a:xfrm>
              <a:custGeom>
                <a:avLst/>
                <a:gdLst>
                  <a:gd name="T0" fmla="*/ 30 w 86"/>
                  <a:gd name="T1" fmla="*/ 0 h 90"/>
                  <a:gd name="T2" fmla="*/ 28 w 86"/>
                  <a:gd name="T3" fmla="*/ 2 h 90"/>
                  <a:gd name="T4" fmla="*/ 26 w 86"/>
                  <a:gd name="T5" fmla="*/ 4 h 90"/>
                  <a:gd name="T6" fmla="*/ 24 w 86"/>
                  <a:gd name="T7" fmla="*/ 6 h 90"/>
                  <a:gd name="T8" fmla="*/ 20 w 86"/>
                  <a:gd name="T9" fmla="*/ 14 h 90"/>
                  <a:gd name="T10" fmla="*/ 16 w 86"/>
                  <a:gd name="T11" fmla="*/ 18 h 90"/>
                  <a:gd name="T12" fmla="*/ 12 w 86"/>
                  <a:gd name="T13" fmla="*/ 22 h 90"/>
                  <a:gd name="T14" fmla="*/ 6 w 86"/>
                  <a:gd name="T15" fmla="*/ 30 h 90"/>
                  <a:gd name="T16" fmla="*/ 4 w 86"/>
                  <a:gd name="T17" fmla="*/ 32 h 90"/>
                  <a:gd name="T18" fmla="*/ 2 w 86"/>
                  <a:gd name="T19" fmla="*/ 34 h 90"/>
                  <a:gd name="T20" fmla="*/ 0 w 86"/>
                  <a:gd name="T21" fmla="*/ 38 h 90"/>
                  <a:gd name="T22" fmla="*/ 0 w 86"/>
                  <a:gd name="T23" fmla="*/ 44 h 90"/>
                  <a:gd name="T24" fmla="*/ 2 w 86"/>
                  <a:gd name="T25" fmla="*/ 50 h 90"/>
                  <a:gd name="T26" fmla="*/ 2 w 86"/>
                  <a:gd name="T27" fmla="*/ 54 h 90"/>
                  <a:gd name="T28" fmla="*/ 4 w 86"/>
                  <a:gd name="T29" fmla="*/ 56 h 90"/>
                  <a:gd name="T30" fmla="*/ 4 w 86"/>
                  <a:gd name="T31" fmla="*/ 56 h 90"/>
                  <a:gd name="T32" fmla="*/ 6 w 86"/>
                  <a:gd name="T33" fmla="*/ 56 h 90"/>
                  <a:gd name="T34" fmla="*/ 10 w 86"/>
                  <a:gd name="T35" fmla="*/ 56 h 90"/>
                  <a:gd name="T36" fmla="*/ 16 w 86"/>
                  <a:gd name="T37" fmla="*/ 56 h 90"/>
                  <a:gd name="T38" fmla="*/ 20 w 86"/>
                  <a:gd name="T39" fmla="*/ 54 h 90"/>
                  <a:gd name="T40" fmla="*/ 22 w 86"/>
                  <a:gd name="T41" fmla="*/ 56 h 90"/>
                  <a:gd name="T42" fmla="*/ 22 w 86"/>
                  <a:gd name="T43" fmla="*/ 56 h 90"/>
                  <a:gd name="T44" fmla="*/ 22 w 86"/>
                  <a:gd name="T45" fmla="*/ 58 h 90"/>
                  <a:gd name="T46" fmla="*/ 22 w 86"/>
                  <a:gd name="T47" fmla="*/ 60 h 90"/>
                  <a:gd name="T48" fmla="*/ 20 w 86"/>
                  <a:gd name="T49" fmla="*/ 66 h 90"/>
                  <a:gd name="T50" fmla="*/ 20 w 86"/>
                  <a:gd name="T51" fmla="*/ 68 h 90"/>
                  <a:gd name="T52" fmla="*/ 20 w 86"/>
                  <a:gd name="T53" fmla="*/ 70 h 90"/>
                  <a:gd name="T54" fmla="*/ 20 w 86"/>
                  <a:gd name="T55" fmla="*/ 74 h 90"/>
                  <a:gd name="T56" fmla="*/ 22 w 86"/>
                  <a:gd name="T57" fmla="*/ 78 h 90"/>
                  <a:gd name="T58" fmla="*/ 24 w 86"/>
                  <a:gd name="T59" fmla="*/ 82 h 90"/>
                  <a:gd name="T60" fmla="*/ 24 w 86"/>
                  <a:gd name="T61" fmla="*/ 84 h 90"/>
                  <a:gd name="T62" fmla="*/ 28 w 86"/>
                  <a:gd name="T63" fmla="*/ 86 h 90"/>
                  <a:gd name="T64" fmla="*/ 34 w 86"/>
                  <a:gd name="T65" fmla="*/ 88 h 90"/>
                  <a:gd name="T66" fmla="*/ 40 w 86"/>
                  <a:gd name="T67" fmla="*/ 90 h 90"/>
                  <a:gd name="T68" fmla="*/ 46 w 86"/>
                  <a:gd name="T69" fmla="*/ 90 h 90"/>
                  <a:gd name="T70" fmla="*/ 52 w 86"/>
                  <a:gd name="T71" fmla="*/ 90 h 90"/>
                  <a:gd name="T72" fmla="*/ 60 w 86"/>
                  <a:gd name="T73" fmla="*/ 90 h 90"/>
                  <a:gd name="T74" fmla="*/ 64 w 86"/>
                  <a:gd name="T75" fmla="*/ 90 h 90"/>
                  <a:gd name="T76" fmla="*/ 70 w 86"/>
                  <a:gd name="T77" fmla="*/ 88 h 90"/>
                  <a:gd name="T78" fmla="*/ 72 w 86"/>
                  <a:gd name="T79" fmla="*/ 88 h 90"/>
                  <a:gd name="T80" fmla="*/ 74 w 86"/>
                  <a:gd name="T81" fmla="*/ 86 h 90"/>
                  <a:gd name="T82" fmla="*/ 76 w 86"/>
                  <a:gd name="T83" fmla="*/ 80 h 90"/>
                  <a:gd name="T84" fmla="*/ 80 w 86"/>
                  <a:gd name="T85" fmla="*/ 76 h 90"/>
                  <a:gd name="T86" fmla="*/ 82 w 86"/>
                  <a:gd name="T87" fmla="*/ 70 h 90"/>
                  <a:gd name="T88" fmla="*/ 84 w 86"/>
                  <a:gd name="T89" fmla="*/ 64 h 90"/>
                  <a:gd name="T90" fmla="*/ 84 w 86"/>
                  <a:gd name="T91" fmla="*/ 58 h 90"/>
                  <a:gd name="T92" fmla="*/ 86 w 86"/>
                  <a:gd name="T93" fmla="*/ 50 h 90"/>
                  <a:gd name="T94" fmla="*/ 84 w 86"/>
                  <a:gd name="T95" fmla="*/ 44 h 90"/>
                  <a:gd name="T96" fmla="*/ 84 w 86"/>
                  <a:gd name="T97" fmla="*/ 42 h 90"/>
                  <a:gd name="T98" fmla="*/ 82 w 86"/>
                  <a:gd name="T99" fmla="*/ 38 h 90"/>
                  <a:gd name="T100" fmla="*/ 78 w 86"/>
                  <a:gd name="T101" fmla="*/ 32 h 90"/>
                  <a:gd name="T102" fmla="*/ 72 w 86"/>
                  <a:gd name="T103" fmla="*/ 26 h 90"/>
                  <a:gd name="T104" fmla="*/ 66 w 86"/>
                  <a:gd name="T105" fmla="*/ 20 h 90"/>
                  <a:gd name="T106" fmla="*/ 60 w 86"/>
                  <a:gd name="T107" fmla="*/ 14 h 90"/>
                  <a:gd name="T108" fmla="*/ 48 w 86"/>
                  <a:gd name="T109" fmla="*/ 8 h 90"/>
                  <a:gd name="T110" fmla="*/ 44 w 86"/>
                  <a:gd name="T111" fmla="*/ 4 h 90"/>
                  <a:gd name="T112" fmla="*/ 38 w 86"/>
                  <a:gd name="T113" fmla="*/ 2 h 90"/>
                  <a:gd name="T114" fmla="*/ 34 w 86"/>
                  <a:gd name="T115" fmla="*/ 0 h 90"/>
                  <a:gd name="T116" fmla="*/ 30 w 86"/>
                  <a:gd name="T1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6" h="90">
                    <a:moveTo>
                      <a:pt x="30" y="0"/>
                    </a:moveTo>
                    <a:lnTo>
                      <a:pt x="30" y="0"/>
                    </a:lnTo>
                    <a:lnTo>
                      <a:pt x="28" y="2"/>
                    </a:lnTo>
                    <a:lnTo>
                      <a:pt x="28" y="2"/>
                    </a:lnTo>
                    <a:lnTo>
                      <a:pt x="26" y="2"/>
                    </a:lnTo>
                    <a:lnTo>
                      <a:pt x="26" y="4"/>
                    </a:lnTo>
                    <a:lnTo>
                      <a:pt x="24" y="4"/>
                    </a:lnTo>
                    <a:lnTo>
                      <a:pt x="24" y="6"/>
                    </a:lnTo>
                    <a:lnTo>
                      <a:pt x="22" y="8"/>
                    </a:lnTo>
                    <a:lnTo>
                      <a:pt x="20" y="14"/>
                    </a:lnTo>
                    <a:lnTo>
                      <a:pt x="18" y="16"/>
                    </a:lnTo>
                    <a:lnTo>
                      <a:pt x="16" y="18"/>
                    </a:lnTo>
                    <a:lnTo>
                      <a:pt x="14" y="20"/>
                    </a:lnTo>
                    <a:lnTo>
                      <a:pt x="12" y="22"/>
                    </a:lnTo>
                    <a:lnTo>
                      <a:pt x="8" y="26"/>
                    </a:lnTo>
                    <a:lnTo>
                      <a:pt x="6" y="30"/>
                    </a:lnTo>
                    <a:lnTo>
                      <a:pt x="4" y="32"/>
                    </a:lnTo>
                    <a:lnTo>
                      <a:pt x="4" y="32"/>
                    </a:lnTo>
                    <a:lnTo>
                      <a:pt x="2" y="34"/>
                    </a:lnTo>
                    <a:lnTo>
                      <a:pt x="2" y="34"/>
                    </a:lnTo>
                    <a:lnTo>
                      <a:pt x="2" y="36"/>
                    </a:lnTo>
                    <a:lnTo>
                      <a:pt x="0" y="38"/>
                    </a:lnTo>
                    <a:lnTo>
                      <a:pt x="0" y="40"/>
                    </a:lnTo>
                    <a:lnTo>
                      <a:pt x="0" y="44"/>
                    </a:lnTo>
                    <a:lnTo>
                      <a:pt x="0" y="46"/>
                    </a:lnTo>
                    <a:lnTo>
                      <a:pt x="2" y="50"/>
                    </a:lnTo>
                    <a:lnTo>
                      <a:pt x="2" y="52"/>
                    </a:lnTo>
                    <a:lnTo>
                      <a:pt x="2" y="54"/>
                    </a:lnTo>
                    <a:lnTo>
                      <a:pt x="2" y="54"/>
                    </a:lnTo>
                    <a:lnTo>
                      <a:pt x="4" y="56"/>
                    </a:lnTo>
                    <a:lnTo>
                      <a:pt x="4" y="56"/>
                    </a:lnTo>
                    <a:lnTo>
                      <a:pt x="4" y="56"/>
                    </a:lnTo>
                    <a:lnTo>
                      <a:pt x="6" y="56"/>
                    </a:lnTo>
                    <a:lnTo>
                      <a:pt x="6" y="56"/>
                    </a:lnTo>
                    <a:lnTo>
                      <a:pt x="8" y="56"/>
                    </a:lnTo>
                    <a:lnTo>
                      <a:pt x="10" y="56"/>
                    </a:lnTo>
                    <a:lnTo>
                      <a:pt x="12" y="56"/>
                    </a:lnTo>
                    <a:lnTo>
                      <a:pt x="16" y="56"/>
                    </a:lnTo>
                    <a:lnTo>
                      <a:pt x="18" y="54"/>
                    </a:lnTo>
                    <a:lnTo>
                      <a:pt x="20" y="54"/>
                    </a:lnTo>
                    <a:lnTo>
                      <a:pt x="20" y="56"/>
                    </a:lnTo>
                    <a:lnTo>
                      <a:pt x="22" y="56"/>
                    </a:lnTo>
                    <a:lnTo>
                      <a:pt x="22" y="56"/>
                    </a:lnTo>
                    <a:lnTo>
                      <a:pt x="22" y="56"/>
                    </a:lnTo>
                    <a:lnTo>
                      <a:pt x="22" y="56"/>
                    </a:lnTo>
                    <a:lnTo>
                      <a:pt x="22" y="58"/>
                    </a:lnTo>
                    <a:lnTo>
                      <a:pt x="22" y="58"/>
                    </a:lnTo>
                    <a:lnTo>
                      <a:pt x="22" y="60"/>
                    </a:lnTo>
                    <a:lnTo>
                      <a:pt x="22" y="62"/>
                    </a:lnTo>
                    <a:lnTo>
                      <a:pt x="20" y="66"/>
                    </a:lnTo>
                    <a:lnTo>
                      <a:pt x="20" y="66"/>
                    </a:lnTo>
                    <a:lnTo>
                      <a:pt x="20" y="68"/>
                    </a:lnTo>
                    <a:lnTo>
                      <a:pt x="20" y="68"/>
                    </a:lnTo>
                    <a:lnTo>
                      <a:pt x="20" y="70"/>
                    </a:lnTo>
                    <a:lnTo>
                      <a:pt x="20" y="72"/>
                    </a:lnTo>
                    <a:lnTo>
                      <a:pt x="20" y="74"/>
                    </a:lnTo>
                    <a:lnTo>
                      <a:pt x="20" y="76"/>
                    </a:lnTo>
                    <a:lnTo>
                      <a:pt x="22" y="78"/>
                    </a:lnTo>
                    <a:lnTo>
                      <a:pt x="22" y="80"/>
                    </a:lnTo>
                    <a:lnTo>
                      <a:pt x="24" y="82"/>
                    </a:lnTo>
                    <a:lnTo>
                      <a:pt x="24" y="82"/>
                    </a:lnTo>
                    <a:lnTo>
                      <a:pt x="24" y="84"/>
                    </a:lnTo>
                    <a:lnTo>
                      <a:pt x="26" y="84"/>
                    </a:lnTo>
                    <a:lnTo>
                      <a:pt x="28" y="86"/>
                    </a:lnTo>
                    <a:lnTo>
                      <a:pt x="30" y="86"/>
                    </a:lnTo>
                    <a:lnTo>
                      <a:pt x="34" y="88"/>
                    </a:lnTo>
                    <a:lnTo>
                      <a:pt x="36" y="88"/>
                    </a:lnTo>
                    <a:lnTo>
                      <a:pt x="40" y="90"/>
                    </a:lnTo>
                    <a:lnTo>
                      <a:pt x="42" y="90"/>
                    </a:lnTo>
                    <a:lnTo>
                      <a:pt x="46" y="90"/>
                    </a:lnTo>
                    <a:lnTo>
                      <a:pt x="50" y="90"/>
                    </a:lnTo>
                    <a:lnTo>
                      <a:pt x="52" y="90"/>
                    </a:lnTo>
                    <a:lnTo>
                      <a:pt x="56" y="90"/>
                    </a:lnTo>
                    <a:lnTo>
                      <a:pt x="60" y="90"/>
                    </a:lnTo>
                    <a:lnTo>
                      <a:pt x="62" y="90"/>
                    </a:lnTo>
                    <a:lnTo>
                      <a:pt x="64" y="90"/>
                    </a:lnTo>
                    <a:lnTo>
                      <a:pt x="68" y="90"/>
                    </a:lnTo>
                    <a:lnTo>
                      <a:pt x="70" y="88"/>
                    </a:lnTo>
                    <a:lnTo>
                      <a:pt x="70" y="88"/>
                    </a:lnTo>
                    <a:lnTo>
                      <a:pt x="72" y="88"/>
                    </a:lnTo>
                    <a:lnTo>
                      <a:pt x="72" y="86"/>
                    </a:lnTo>
                    <a:lnTo>
                      <a:pt x="74" y="86"/>
                    </a:lnTo>
                    <a:lnTo>
                      <a:pt x="76" y="84"/>
                    </a:lnTo>
                    <a:lnTo>
                      <a:pt x="76" y="80"/>
                    </a:lnTo>
                    <a:lnTo>
                      <a:pt x="78" y="78"/>
                    </a:lnTo>
                    <a:lnTo>
                      <a:pt x="80" y="76"/>
                    </a:lnTo>
                    <a:lnTo>
                      <a:pt x="82" y="74"/>
                    </a:lnTo>
                    <a:lnTo>
                      <a:pt x="82" y="70"/>
                    </a:lnTo>
                    <a:lnTo>
                      <a:pt x="84" y="68"/>
                    </a:lnTo>
                    <a:lnTo>
                      <a:pt x="84" y="64"/>
                    </a:lnTo>
                    <a:lnTo>
                      <a:pt x="84" y="60"/>
                    </a:lnTo>
                    <a:lnTo>
                      <a:pt x="84" y="58"/>
                    </a:lnTo>
                    <a:lnTo>
                      <a:pt x="86" y="54"/>
                    </a:lnTo>
                    <a:lnTo>
                      <a:pt x="86" y="50"/>
                    </a:lnTo>
                    <a:lnTo>
                      <a:pt x="86" y="46"/>
                    </a:lnTo>
                    <a:lnTo>
                      <a:pt x="84" y="44"/>
                    </a:lnTo>
                    <a:lnTo>
                      <a:pt x="84" y="44"/>
                    </a:lnTo>
                    <a:lnTo>
                      <a:pt x="84" y="42"/>
                    </a:lnTo>
                    <a:lnTo>
                      <a:pt x="84" y="40"/>
                    </a:lnTo>
                    <a:lnTo>
                      <a:pt x="82" y="38"/>
                    </a:lnTo>
                    <a:lnTo>
                      <a:pt x="80" y="34"/>
                    </a:lnTo>
                    <a:lnTo>
                      <a:pt x="78" y="32"/>
                    </a:lnTo>
                    <a:lnTo>
                      <a:pt x="74" y="28"/>
                    </a:lnTo>
                    <a:lnTo>
                      <a:pt x="72" y="26"/>
                    </a:lnTo>
                    <a:lnTo>
                      <a:pt x="70" y="22"/>
                    </a:lnTo>
                    <a:lnTo>
                      <a:pt x="66" y="20"/>
                    </a:lnTo>
                    <a:lnTo>
                      <a:pt x="64" y="18"/>
                    </a:lnTo>
                    <a:lnTo>
                      <a:pt x="60" y="14"/>
                    </a:lnTo>
                    <a:lnTo>
                      <a:pt x="54" y="10"/>
                    </a:lnTo>
                    <a:lnTo>
                      <a:pt x="48" y="8"/>
                    </a:lnTo>
                    <a:lnTo>
                      <a:pt x="46" y="6"/>
                    </a:lnTo>
                    <a:lnTo>
                      <a:pt x="44" y="4"/>
                    </a:lnTo>
                    <a:lnTo>
                      <a:pt x="40" y="2"/>
                    </a:lnTo>
                    <a:lnTo>
                      <a:pt x="38" y="2"/>
                    </a:lnTo>
                    <a:lnTo>
                      <a:pt x="36" y="2"/>
                    </a:lnTo>
                    <a:lnTo>
                      <a:pt x="34" y="0"/>
                    </a:lnTo>
                    <a:lnTo>
                      <a:pt x="32" y="0"/>
                    </a:lnTo>
                    <a:lnTo>
                      <a:pt x="30" y="0"/>
                    </a:lnTo>
                    <a:lnTo>
                      <a:pt x="30"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22" name="Freeform 579">
                <a:extLst>
                  <a:ext uri="{FF2B5EF4-FFF2-40B4-BE49-F238E27FC236}">
                    <a16:creationId xmlns:a16="http://schemas.microsoft.com/office/drawing/2014/main" id="{D046F41C-874B-452E-8D70-87948A1FE889}"/>
                  </a:ext>
                </a:extLst>
              </p:cNvPr>
              <p:cNvSpPr>
                <a:spLocks/>
              </p:cNvSpPr>
              <p:nvPr/>
            </p:nvSpPr>
            <p:spPr bwMode="auto">
              <a:xfrm>
                <a:off x="2595853" y="2114717"/>
                <a:ext cx="561975" cy="323850"/>
              </a:xfrm>
              <a:custGeom>
                <a:avLst/>
                <a:gdLst>
                  <a:gd name="T0" fmla="*/ 32 w 354"/>
                  <a:gd name="T1" fmla="*/ 50 h 204"/>
                  <a:gd name="T2" fmla="*/ 48 w 354"/>
                  <a:gd name="T3" fmla="*/ 70 h 204"/>
                  <a:gd name="T4" fmla="*/ 84 w 354"/>
                  <a:gd name="T5" fmla="*/ 82 h 204"/>
                  <a:gd name="T6" fmla="*/ 108 w 354"/>
                  <a:gd name="T7" fmla="*/ 72 h 204"/>
                  <a:gd name="T8" fmla="*/ 144 w 354"/>
                  <a:gd name="T9" fmla="*/ 62 h 204"/>
                  <a:gd name="T10" fmla="*/ 150 w 354"/>
                  <a:gd name="T11" fmla="*/ 62 h 204"/>
                  <a:gd name="T12" fmla="*/ 148 w 354"/>
                  <a:gd name="T13" fmla="*/ 78 h 204"/>
                  <a:gd name="T14" fmla="*/ 118 w 354"/>
                  <a:gd name="T15" fmla="*/ 84 h 204"/>
                  <a:gd name="T16" fmla="*/ 98 w 354"/>
                  <a:gd name="T17" fmla="*/ 92 h 204"/>
                  <a:gd name="T18" fmla="*/ 98 w 354"/>
                  <a:gd name="T19" fmla="*/ 98 h 204"/>
                  <a:gd name="T20" fmla="*/ 112 w 354"/>
                  <a:gd name="T21" fmla="*/ 102 h 204"/>
                  <a:gd name="T22" fmla="*/ 110 w 354"/>
                  <a:gd name="T23" fmla="*/ 106 h 204"/>
                  <a:gd name="T24" fmla="*/ 84 w 354"/>
                  <a:gd name="T25" fmla="*/ 104 h 204"/>
                  <a:gd name="T26" fmla="*/ 68 w 354"/>
                  <a:gd name="T27" fmla="*/ 92 h 204"/>
                  <a:gd name="T28" fmla="*/ 62 w 354"/>
                  <a:gd name="T29" fmla="*/ 98 h 204"/>
                  <a:gd name="T30" fmla="*/ 66 w 354"/>
                  <a:gd name="T31" fmla="*/ 116 h 204"/>
                  <a:gd name="T32" fmla="*/ 76 w 354"/>
                  <a:gd name="T33" fmla="*/ 130 h 204"/>
                  <a:gd name="T34" fmla="*/ 60 w 354"/>
                  <a:gd name="T35" fmla="*/ 142 h 204"/>
                  <a:gd name="T36" fmla="*/ 32 w 354"/>
                  <a:gd name="T37" fmla="*/ 162 h 204"/>
                  <a:gd name="T38" fmla="*/ 24 w 354"/>
                  <a:gd name="T39" fmla="*/ 176 h 204"/>
                  <a:gd name="T40" fmla="*/ 6 w 354"/>
                  <a:gd name="T41" fmla="*/ 170 h 204"/>
                  <a:gd name="T42" fmla="*/ 0 w 354"/>
                  <a:gd name="T43" fmla="*/ 172 h 204"/>
                  <a:gd name="T44" fmla="*/ 8 w 354"/>
                  <a:gd name="T45" fmla="*/ 188 h 204"/>
                  <a:gd name="T46" fmla="*/ 28 w 354"/>
                  <a:gd name="T47" fmla="*/ 198 h 204"/>
                  <a:gd name="T48" fmla="*/ 82 w 354"/>
                  <a:gd name="T49" fmla="*/ 204 h 204"/>
                  <a:gd name="T50" fmla="*/ 122 w 354"/>
                  <a:gd name="T51" fmla="*/ 196 h 204"/>
                  <a:gd name="T52" fmla="*/ 140 w 354"/>
                  <a:gd name="T53" fmla="*/ 180 h 204"/>
                  <a:gd name="T54" fmla="*/ 136 w 354"/>
                  <a:gd name="T55" fmla="*/ 170 h 204"/>
                  <a:gd name="T56" fmla="*/ 126 w 354"/>
                  <a:gd name="T57" fmla="*/ 156 h 204"/>
                  <a:gd name="T58" fmla="*/ 140 w 354"/>
                  <a:gd name="T59" fmla="*/ 150 h 204"/>
                  <a:gd name="T60" fmla="*/ 162 w 354"/>
                  <a:gd name="T61" fmla="*/ 144 h 204"/>
                  <a:gd name="T62" fmla="*/ 186 w 354"/>
                  <a:gd name="T63" fmla="*/ 118 h 204"/>
                  <a:gd name="T64" fmla="*/ 204 w 354"/>
                  <a:gd name="T65" fmla="*/ 98 h 204"/>
                  <a:gd name="T66" fmla="*/ 222 w 354"/>
                  <a:gd name="T67" fmla="*/ 98 h 204"/>
                  <a:gd name="T68" fmla="*/ 246 w 354"/>
                  <a:gd name="T69" fmla="*/ 100 h 204"/>
                  <a:gd name="T70" fmla="*/ 280 w 354"/>
                  <a:gd name="T71" fmla="*/ 76 h 204"/>
                  <a:gd name="T72" fmla="*/ 290 w 354"/>
                  <a:gd name="T73" fmla="*/ 58 h 204"/>
                  <a:gd name="T74" fmla="*/ 280 w 354"/>
                  <a:gd name="T75" fmla="*/ 44 h 204"/>
                  <a:gd name="T76" fmla="*/ 284 w 354"/>
                  <a:gd name="T77" fmla="*/ 38 h 204"/>
                  <a:gd name="T78" fmla="*/ 320 w 354"/>
                  <a:gd name="T79" fmla="*/ 36 h 204"/>
                  <a:gd name="T80" fmla="*/ 348 w 354"/>
                  <a:gd name="T81" fmla="*/ 28 h 204"/>
                  <a:gd name="T82" fmla="*/ 354 w 354"/>
                  <a:gd name="T83" fmla="*/ 20 h 204"/>
                  <a:gd name="T84" fmla="*/ 340 w 354"/>
                  <a:gd name="T85" fmla="*/ 6 h 204"/>
                  <a:gd name="T86" fmla="*/ 310 w 354"/>
                  <a:gd name="T87" fmla="*/ 4 h 204"/>
                  <a:gd name="T88" fmla="*/ 252 w 354"/>
                  <a:gd name="T89" fmla="*/ 0 h 204"/>
                  <a:gd name="T90" fmla="*/ 226 w 354"/>
                  <a:gd name="T91" fmla="*/ 4 h 204"/>
                  <a:gd name="T92" fmla="*/ 208 w 354"/>
                  <a:gd name="T93" fmla="*/ 22 h 204"/>
                  <a:gd name="T94" fmla="*/ 198 w 354"/>
                  <a:gd name="T95" fmla="*/ 16 h 204"/>
                  <a:gd name="T96" fmla="*/ 184 w 354"/>
                  <a:gd name="T97" fmla="*/ 2 h 204"/>
                  <a:gd name="T98" fmla="*/ 182 w 354"/>
                  <a:gd name="T99" fmla="*/ 10 h 204"/>
                  <a:gd name="T100" fmla="*/ 172 w 354"/>
                  <a:gd name="T101" fmla="*/ 14 h 204"/>
                  <a:gd name="T102" fmla="*/ 140 w 354"/>
                  <a:gd name="T103" fmla="*/ 8 h 204"/>
                  <a:gd name="T104" fmla="*/ 126 w 354"/>
                  <a:gd name="T105" fmla="*/ 24 h 204"/>
                  <a:gd name="T106" fmla="*/ 108 w 354"/>
                  <a:gd name="T107" fmla="*/ 34 h 204"/>
                  <a:gd name="T108" fmla="*/ 94 w 354"/>
                  <a:gd name="T109" fmla="*/ 28 h 204"/>
                  <a:gd name="T110" fmla="*/ 86 w 354"/>
                  <a:gd name="T111" fmla="*/ 18 h 204"/>
                  <a:gd name="T112" fmla="*/ 66 w 354"/>
                  <a:gd name="T113" fmla="*/ 24 h 204"/>
                  <a:gd name="T114" fmla="*/ 60 w 354"/>
                  <a:gd name="T115" fmla="*/ 34 h 204"/>
                  <a:gd name="T116" fmla="*/ 42 w 354"/>
                  <a:gd name="T117" fmla="*/ 36 h 204"/>
                  <a:gd name="T118" fmla="*/ 28 w 354"/>
                  <a:gd name="T119" fmla="*/ 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4" h="204">
                    <a:moveTo>
                      <a:pt x="28" y="40"/>
                    </a:moveTo>
                    <a:lnTo>
                      <a:pt x="28" y="40"/>
                    </a:lnTo>
                    <a:lnTo>
                      <a:pt x="28" y="40"/>
                    </a:lnTo>
                    <a:lnTo>
                      <a:pt x="28" y="42"/>
                    </a:lnTo>
                    <a:lnTo>
                      <a:pt x="28" y="42"/>
                    </a:lnTo>
                    <a:lnTo>
                      <a:pt x="28" y="44"/>
                    </a:lnTo>
                    <a:lnTo>
                      <a:pt x="28" y="46"/>
                    </a:lnTo>
                    <a:lnTo>
                      <a:pt x="30" y="48"/>
                    </a:lnTo>
                    <a:lnTo>
                      <a:pt x="32" y="50"/>
                    </a:lnTo>
                    <a:lnTo>
                      <a:pt x="32" y="52"/>
                    </a:lnTo>
                    <a:lnTo>
                      <a:pt x="34" y="54"/>
                    </a:lnTo>
                    <a:lnTo>
                      <a:pt x="38" y="58"/>
                    </a:lnTo>
                    <a:lnTo>
                      <a:pt x="40" y="62"/>
                    </a:lnTo>
                    <a:lnTo>
                      <a:pt x="42" y="64"/>
                    </a:lnTo>
                    <a:lnTo>
                      <a:pt x="44" y="66"/>
                    </a:lnTo>
                    <a:lnTo>
                      <a:pt x="46" y="68"/>
                    </a:lnTo>
                    <a:lnTo>
                      <a:pt x="48" y="70"/>
                    </a:lnTo>
                    <a:lnTo>
                      <a:pt x="48" y="70"/>
                    </a:lnTo>
                    <a:lnTo>
                      <a:pt x="50" y="72"/>
                    </a:lnTo>
                    <a:lnTo>
                      <a:pt x="54" y="72"/>
                    </a:lnTo>
                    <a:lnTo>
                      <a:pt x="60" y="74"/>
                    </a:lnTo>
                    <a:lnTo>
                      <a:pt x="66" y="76"/>
                    </a:lnTo>
                    <a:lnTo>
                      <a:pt x="72" y="80"/>
                    </a:lnTo>
                    <a:lnTo>
                      <a:pt x="76" y="80"/>
                    </a:lnTo>
                    <a:lnTo>
                      <a:pt x="80" y="82"/>
                    </a:lnTo>
                    <a:lnTo>
                      <a:pt x="82" y="82"/>
                    </a:lnTo>
                    <a:lnTo>
                      <a:pt x="84" y="82"/>
                    </a:lnTo>
                    <a:lnTo>
                      <a:pt x="86" y="82"/>
                    </a:lnTo>
                    <a:lnTo>
                      <a:pt x="86" y="82"/>
                    </a:lnTo>
                    <a:lnTo>
                      <a:pt x="88" y="82"/>
                    </a:lnTo>
                    <a:lnTo>
                      <a:pt x="90" y="82"/>
                    </a:lnTo>
                    <a:lnTo>
                      <a:pt x="94" y="80"/>
                    </a:lnTo>
                    <a:lnTo>
                      <a:pt x="96" y="78"/>
                    </a:lnTo>
                    <a:lnTo>
                      <a:pt x="102" y="74"/>
                    </a:lnTo>
                    <a:lnTo>
                      <a:pt x="106" y="74"/>
                    </a:lnTo>
                    <a:lnTo>
                      <a:pt x="108" y="72"/>
                    </a:lnTo>
                    <a:lnTo>
                      <a:pt x="112" y="72"/>
                    </a:lnTo>
                    <a:lnTo>
                      <a:pt x="114" y="70"/>
                    </a:lnTo>
                    <a:lnTo>
                      <a:pt x="124" y="68"/>
                    </a:lnTo>
                    <a:lnTo>
                      <a:pt x="132" y="66"/>
                    </a:lnTo>
                    <a:lnTo>
                      <a:pt x="136" y="66"/>
                    </a:lnTo>
                    <a:lnTo>
                      <a:pt x="138" y="64"/>
                    </a:lnTo>
                    <a:lnTo>
                      <a:pt x="140" y="64"/>
                    </a:lnTo>
                    <a:lnTo>
                      <a:pt x="140" y="64"/>
                    </a:lnTo>
                    <a:lnTo>
                      <a:pt x="144" y="62"/>
                    </a:lnTo>
                    <a:lnTo>
                      <a:pt x="144" y="60"/>
                    </a:lnTo>
                    <a:lnTo>
                      <a:pt x="146" y="60"/>
                    </a:lnTo>
                    <a:lnTo>
                      <a:pt x="146" y="60"/>
                    </a:lnTo>
                    <a:lnTo>
                      <a:pt x="148" y="60"/>
                    </a:lnTo>
                    <a:lnTo>
                      <a:pt x="148" y="60"/>
                    </a:lnTo>
                    <a:lnTo>
                      <a:pt x="148" y="60"/>
                    </a:lnTo>
                    <a:lnTo>
                      <a:pt x="148" y="60"/>
                    </a:lnTo>
                    <a:lnTo>
                      <a:pt x="150" y="60"/>
                    </a:lnTo>
                    <a:lnTo>
                      <a:pt x="150" y="62"/>
                    </a:lnTo>
                    <a:lnTo>
                      <a:pt x="150" y="62"/>
                    </a:lnTo>
                    <a:lnTo>
                      <a:pt x="150" y="64"/>
                    </a:lnTo>
                    <a:lnTo>
                      <a:pt x="150" y="66"/>
                    </a:lnTo>
                    <a:lnTo>
                      <a:pt x="150" y="68"/>
                    </a:lnTo>
                    <a:lnTo>
                      <a:pt x="150" y="70"/>
                    </a:lnTo>
                    <a:lnTo>
                      <a:pt x="150" y="74"/>
                    </a:lnTo>
                    <a:lnTo>
                      <a:pt x="150" y="76"/>
                    </a:lnTo>
                    <a:lnTo>
                      <a:pt x="148" y="76"/>
                    </a:lnTo>
                    <a:lnTo>
                      <a:pt x="148" y="78"/>
                    </a:lnTo>
                    <a:lnTo>
                      <a:pt x="148" y="78"/>
                    </a:lnTo>
                    <a:lnTo>
                      <a:pt x="146" y="80"/>
                    </a:lnTo>
                    <a:lnTo>
                      <a:pt x="144" y="80"/>
                    </a:lnTo>
                    <a:lnTo>
                      <a:pt x="142" y="80"/>
                    </a:lnTo>
                    <a:lnTo>
                      <a:pt x="140" y="82"/>
                    </a:lnTo>
                    <a:lnTo>
                      <a:pt x="138" y="82"/>
                    </a:lnTo>
                    <a:lnTo>
                      <a:pt x="132" y="82"/>
                    </a:lnTo>
                    <a:lnTo>
                      <a:pt x="124" y="84"/>
                    </a:lnTo>
                    <a:lnTo>
                      <a:pt x="118" y="84"/>
                    </a:lnTo>
                    <a:lnTo>
                      <a:pt x="118" y="84"/>
                    </a:lnTo>
                    <a:lnTo>
                      <a:pt x="116" y="84"/>
                    </a:lnTo>
                    <a:lnTo>
                      <a:pt x="114" y="86"/>
                    </a:lnTo>
                    <a:lnTo>
                      <a:pt x="110" y="86"/>
                    </a:lnTo>
                    <a:lnTo>
                      <a:pt x="106" y="88"/>
                    </a:lnTo>
                    <a:lnTo>
                      <a:pt x="104" y="88"/>
                    </a:lnTo>
                    <a:lnTo>
                      <a:pt x="100" y="90"/>
                    </a:lnTo>
                    <a:lnTo>
                      <a:pt x="98" y="90"/>
                    </a:lnTo>
                    <a:lnTo>
                      <a:pt x="98" y="92"/>
                    </a:lnTo>
                    <a:lnTo>
                      <a:pt x="96" y="92"/>
                    </a:lnTo>
                    <a:lnTo>
                      <a:pt x="96" y="92"/>
                    </a:lnTo>
                    <a:lnTo>
                      <a:pt x="96" y="94"/>
                    </a:lnTo>
                    <a:lnTo>
                      <a:pt x="96" y="94"/>
                    </a:lnTo>
                    <a:lnTo>
                      <a:pt x="96" y="96"/>
                    </a:lnTo>
                    <a:lnTo>
                      <a:pt x="96" y="96"/>
                    </a:lnTo>
                    <a:lnTo>
                      <a:pt x="96" y="96"/>
                    </a:lnTo>
                    <a:lnTo>
                      <a:pt x="98" y="98"/>
                    </a:lnTo>
                    <a:lnTo>
                      <a:pt x="98" y="98"/>
                    </a:lnTo>
                    <a:lnTo>
                      <a:pt x="100" y="98"/>
                    </a:lnTo>
                    <a:lnTo>
                      <a:pt x="102" y="98"/>
                    </a:lnTo>
                    <a:lnTo>
                      <a:pt x="104" y="98"/>
                    </a:lnTo>
                    <a:lnTo>
                      <a:pt x="108" y="100"/>
                    </a:lnTo>
                    <a:lnTo>
                      <a:pt x="110" y="100"/>
                    </a:lnTo>
                    <a:lnTo>
                      <a:pt x="110" y="100"/>
                    </a:lnTo>
                    <a:lnTo>
                      <a:pt x="112" y="100"/>
                    </a:lnTo>
                    <a:lnTo>
                      <a:pt x="112" y="102"/>
                    </a:lnTo>
                    <a:lnTo>
                      <a:pt x="112" y="102"/>
                    </a:lnTo>
                    <a:lnTo>
                      <a:pt x="114" y="102"/>
                    </a:lnTo>
                    <a:lnTo>
                      <a:pt x="114" y="102"/>
                    </a:lnTo>
                    <a:lnTo>
                      <a:pt x="114" y="102"/>
                    </a:lnTo>
                    <a:lnTo>
                      <a:pt x="112" y="104"/>
                    </a:lnTo>
                    <a:lnTo>
                      <a:pt x="112" y="104"/>
                    </a:lnTo>
                    <a:lnTo>
                      <a:pt x="112" y="104"/>
                    </a:lnTo>
                    <a:lnTo>
                      <a:pt x="112" y="104"/>
                    </a:lnTo>
                    <a:lnTo>
                      <a:pt x="110" y="106"/>
                    </a:lnTo>
                    <a:lnTo>
                      <a:pt x="110" y="106"/>
                    </a:lnTo>
                    <a:lnTo>
                      <a:pt x="108" y="106"/>
                    </a:lnTo>
                    <a:lnTo>
                      <a:pt x="106" y="106"/>
                    </a:lnTo>
                    <a:lnTo>
                      <a:pt x="104" y="106"/>
                    </a:lnTo>
                    <a:lnTo>
                      <a:pt x="102" y="106"/>
                    </a:lnTo>
                    <a:lnTo>
                      <a:pt x="98" y="106"/>
                    </a:lnTo>
                    <a:lnTo>
                      <a:pt x="96" y="106"/>
                    </a:lnTo>
                    <a:lnTo>
                      <a:pt x="94" y="106"/>
                    </a:lnTo>
                    <a:lnTo>
                      <a:pt x="88" y="104"/>
                    </a:lnTo>
                    <a:lnTo>
                      <a:pt x="84" y="104"/>
                    </a:lnTo>
                    <a:lnTo>
                      <a:pt x="80" y="102"/>
                    </a:lnTo>
                    <a:lnTo>
                      <a:pt x="80" y="102"/>
                    </a:lnTo>
                    <a:lnTo>
                      <a:pt x="78" y="102"/>
                    </a:lnTo>
                    <a:lnTo>
                      <a:pt x="76" y="100"/>
                    </a:lnTo>
                    <a:lnTo>
                      <a:pt x="72" y="96"/>
                    </a:lnTo>
                    <a:lnTo>
                      <a:pt x="70" y="94"/>
                    </a:lnTo>
                    <a:lnTo>
                      <a:pt x="70" y="94"/>
                    </a:lnTo>
                    <a:lnTo>
                      <a:pt x="68" y="94"/>
                    </a:lnTo>
                    <a:lnTo>
                      <a:pt x="68" y="92"/>
                    </a:lnTo>
                    <a:lnTo>
                      <a:pt x="66" y="92"/>
                    </a:lnTo>
                    <a:lnTo>
                      <a:pt x="66" y="92"/>
                    </a:lnTo>
                    <a:lnTo>
                      <a:pt x="66" y="92"/>
                    </a:lnTo>
                    <a:lnTo>
                      <a:pt x="64" y="92"/>
                    </a:lnTo>
                    <a:lnTo>
                      <a:pt x="64" y="94"/>
                    </a:lnTo>
                    <a:lnTo>
                      <a:pt x="64" y="94"/>
                    </a:lnTo>
                    <a:lnTo>
                      <a:pt x="62" y="96"/>
                    </a:lnTo>
                    <a:lnTo>
                      <a:pt x="62" y="98"/>
                    </a:lnTo>
                    <a:lnTo>
                      <a:pt x="62" y="98"/>
                    </a:lnTo>
                    <a:lnTo>
                      <a:pt x="62" y="102"/>
                    </a:lnTo>
                    <a:lnTo>
                      <a:pt x="62" y="104"/>
                    </a:lnTo>
                    <a:lnTo>
                      <a:pt x="62" y="108"/>
                    </a:lnTo>
                    <a:lnTo>
                      <a:pt x="62" y="110"/>
                    </a:lnTo>
                    <a:lnTo>
                      <a:pt x="62" y="112"/>
                    </a:lnTo>
                    <a:lnTo>
                      <a:pt x="62" y="114"/>
                    </a:lnTo>
                    <a:lnTo>
                      <a:pt x="64" y="114"/>
                    </a:lnTo>
                    <a:lnTo>
                      <a:pt x="64" y="116"/>
                    </a:lnTo>
                    <a:lnTo>
                      <a:pt x="66" y="116"/>
                    </a:lnTo>
                    <a:lnTo>
                      <a:pt x="68" y="120"/>
                    </a:lnTo>
                    <a:lnTo>
                      <a:pt x="70" y="122"/>
                    </a:lnTo>
                    <a:lnTo>
                      <a:pt x="72" y="124"/>
                    </a:lnTo>
                    <a:lnTo>
                      <a:pt x="72" y="124"/>
                    </a:lnTo>
                    <a:lnTo>
                      <a:pt x="74" y="126"/>
                    </a:lnTo>
                    <a:lnTo>
                      <a:pt x="74" y="126"/>
                    </a:lnTo>
                    <a:lnTo>
                      <a:pt x="74" y="128"/>
                    </a:lnTo>
                    <a:lnTo>
                      <a:pt x="76" y="130"/>
                    </a:lnTo>
                    <a:lnTo>
                      <a:pt x="76" y="130"/>
                    </a:lnTo>
                    <a:lnTo>
                      <a:pt x="76" y="132"/>
                    </a:lnTo>
                    <a:lnTo>
                      <a:pt x="74" y="132"/>
                    </a:lnTo>
                    <a:lnTo>
                      <a:pt x="74" y="132"/>
                    </a:lnTo>
                    <a:lnTo>
                      <a:pt x="74" y="134"/>
                    </a:lnTo>
                    <a:lnTo>
                      <a:pt x="72" y="136"/>
                    </a:lnTo>
                    <a:lnTo>
                      <a:pt x="68" y="138"/>
                    </a:lnTo>
                    <a:lnTo>
                      <a:pt x="64" y="140"/>
                    </a:lnTo>
                    <a:lnTo>
                      <a:pt x="62" y="142"/>
                    </a:lnTo>
                    <a:lnTo>
                      <a:pt x="60" y="142"/>
                    </a:lnTo>
                    <a:lnTo>
                      <a:pt x="54" y="148"/>
                    </a:lnTo>
                    <a:lnTo>
                      <a:pt x="50" y="150"/>
                    </a:lnTo>
                    <a:lnTo>
                      <a:pt x="48" y="152"/>
                    </a:lnTo>
                    <a:lnTo>
                      <a:pt x="46" y="154"/>
                    </a:lnTo>
                    <a:lnTo>
                      <a:pt x="44" y="156"/>
                    </a:lnTo>
                    <a:lnTo>
                      <a:pt x="40" y="158"/>
                    </a:lnTo>
                    <a:lnTo>
                      <a:pt x="36" y="160"/>
                    </a:lnTo>
                    <a:lnTo>
                      <a:pt x="34" y="162"/>
                    </a:lnTo>
                    <a:lnTo>
                      <a:pt x="32" y="162"/>
                    </a:lnTo>
                    <a:lnTo>
                      <a:pt x="32" y="164"/>
                    </a:lnTo>
                    <a:lnTo>
                      <a:pt x="30" y="166"/>
                    </a:lnTo>
                    <a:lnTo>
                      <a:pt x="30" y="170"/>
                    </a:lnTo>
                    <a:lnTo>
                      <a:pt x="28" y="172"/>
                    </a:lnTo>
                    <a:lnTo>
                      <a:pt x="28" y="174"/>
                    </a:lnTo>
                    <a:lnTo>
                      <a:pt x="26" y="174"/>
                    </a:lnTo>
                    <a:lnTo>
                      <a:pt x="26" y="176"/>
                    </a:lnTo>
                    <a:lnTo>
                      <a:pt x="24" y="176"/>
                    </a:lnTo>
                    <a:lnTo>
                      <a:pt x="24" y="176"/>
                    </a:lnTo>
                    <a:lnTo>
                      <a:pt x="24" y="176"/>
                    </a:lnTo>
                    <a:lnTo>
                      <a:pt x="22" y="176"/>
                    </a:lnTo>
                    <a:lnTo>
                      <a:pt x="20" y="176"/>
                    </a:lnTo>
                    <a:lnTo>
                      <a:pt x="18" y="176"/>
                    </a:lnTo>
                    <a:lnTo>
                      <a:pt x="18" y="174"/>
                    </a:lnTo>
                    <a:lnTo>
                      <a:pt x="16" y="174"/>
                    </a:lnTo>
                    <a:lnTo>
                      <a:pt x="12" y="172"/>
                    </a:lnTo>
                    <a:lnTo>
                      <a:pt x="8" y="170"/>
                    </a:lnTo>
                    <a:lnTo>
                      <a:pt x="6" y="170"/>
                    </a:lnTo>
                    <a:lnTo>
                      <a:pt x="4" y="170"/>
                    </a:lnTo>
                    <a:lnTo>
                      <a:pt x="2" y="170"/>
                    </a:lnTo>
                    <a:lnTo>
                      <a:pt x="2" y="170"/>
                    </a:lnTo>
                    <a:lnTo>
                      <a:pt x="2" y="170"/>
                    </a:lnTo>
                    <a:lnTo>
                      <a:pt x="0" y="170"/>
                    </a:lnTo>
                    <a:lnTo>
                      <a:pt x="0" y="170"/>
                    </a:lnTo>
                    <a:lnTo>
                      <a:pt x="0" y="170"/>
                    </a:lnTo>
                    <a:lnTo>
                      <a:pt x="0" y="170"/>
                    </a:lnTo>
                    <a:lnTo>
                      <a:pt x="0" y="172"/>
                    </a:lnTo>
                    <a:lnTo>
                      <a:pt x="0" y="172"/>
                    </a:lnTo>
                    <a:lnTo>
                      <a:pt x="0" y="174"/>
                    </a:lnTo>
                    <a:lnTo>
                      <a:pt x="0" y="176"/>
                    </a:lnTo>
                    <a:lnTo>
                      <a:pt x="0" y="178"/>
                    </a:lnTo>
                    <a:lnTo>
                      <a:pt x="0" y="180"/>
                    </a:lnTo>
                    <a:lnTo>
                      <a:pt x="2" y="180"/>
                    </a:lnTo>
                    <a:lnTo>
                      <a:pt x="2" y="182"/>
                    </a:lnTo>
                    <a:lnTo>
                      <a:pt x="6" y="186"/>
                    </a:lnTo>
                    <a:lnTo>
                      <a:pt x="8" y="188"/>
                    </a:lnTo>
                    <a:lnTo>
                      <a:pt x="10" y="192"/>
                    </a:lnTo>
                    <a:lnTo>
                      <a:pt x="12" y="192"/>
                    </a:lnTo>
                    <a:lnTo>
                      <a:pt x="12" y="194"/>
                    </a:lnTo>
                    <a:lnTo>
                      <a:pt x="14" y="194"/>
                    </a:lnTo>
                    <a:lnTo>
                      <a:pt x="16" y="194"/>
                    </a:lnTo>
                    <a:lnTo>
                      <a:pt x="18" y="196"/>
                    </a:lnTo>
                    <a:lnTo>
                      <a:pt x="18" y="196"/>
                    </a:lnTo>
                    <a:lnTo>
                      <a:pt x="22" y="198"/>
                    </a:lnTo>
                    <a:lnTo>
                      <a:pt x="28" y="198"/>
                    </a:lnTo>
                    <a:lnTo>
                      <a:pt x="32" y="200"/>
                    </a:lnTo>
                    <a:lnTo>
                      <a:pt x="36" y="200"/>
                    </a:lnTo>
                    <a:lnTo>
                      <a:pt x="42" y="202"/>
                    </a:lnTo>
                    <a:lnTo>
                      <a:pt x="46" y="202"/>
                    </a:lnTo>
                    <a:lnTo>
                      <a:pt x="52" y="202"/>
                    </a:lnTo>
                    <a:lnTo>
                      <a:pt x="56" y="202"/>
                    </a:lnTo>
                    <a:lnTo>
                      <a:pt x="66" y="204"/>
                    </a:lnTo>
                    <a:lnTo>
                      <a:pt x="76" y="204"/>
                    </a:lnTo>
                    <a:lnTo>
                      <a:pt x="82" y="204"/>
                    </a:lnTo>
                    <a:lnTo>
                      <a:pt x="88" y="204"/>
                    </a:lnTo>
                    <a:lnTo>
                      <a:pt x="92" y="202"/>
                    </a:lnTo>
                    <a:lnTo>
                      <a:pt x="98" y="202"/>
                    </a:lnTo>
                    <a:lnTo>
                      <a:pt x="104" y="202"/>
                    </a:lnTo>
                    <a:lnTo>
                      <a:pt x="110" y="200"/>
                    </a:lnTo>
                    <a:lnTo>
                      <a:pt x="114" y="198"/>
                    </a:lnTo>
                    <a:lnTo>
                      <a:pt x="116" y="198"/>
                    </a:lnTo>
                    <a:lnTo>
                      <a:pt x="120" y="198"/>
                    </a:lnTo>
                    <a:lnTo>
                      <a:pt x="122" y="196"/>
                    </a:lnTo>
                    <a:lnTo>
                      <a:pt x="124" y="196"/>
                    </a:lnTo>
                    <a:lnTo>
                      <a:pt x="126" y="194"/>
                    </a:lnTo>
                    <a:lnTo>
                      <a:pt x="128" y="192"/>
                    </a:lnTo>
                    <a:lnTo>
                      <a:pt x="132" y="190"/>
                    </a:lnTo>
                    <a:lnTo>
                      <a:pt x="134" y="186"/>
                    </a:lnTo>
                    <a:lnTo>
                      <a:pt x="136" y="184"/>
                    </a:lnTo>
                    <a:lnTo>
                      <a:pt x="138" y="182"/>
                    </a:lnTo>
                    <a:lnTo>
                      <a:pt x="138" y="180"/>
                    </a:lnTo>
                    <a:lnTo>
                      <a:pt x="140" y="180"/>
                    </a:lnTo>
                    <a:lnTo>
                      <a:pt x="140" y="178"/>
                    </a:lnTo>
                    <a:lnTo>
                      <a:pt x="140" y="176"/>
                    </a:lnTo>
                    <a:lnTo>
                      <a:pt x="140" y="176"/>
                    </a:lnTo>
                    <a:lnTo>
                      <a:pt x="140" y="174"/>
                    </a:lnTo>
                    <a:lnTo>
                      <a:pt x="140" y="174"/>
                    </a:lnTo>
                    <a:lnTo>
                      <a:pt x="140" y="174"/>
                    </a:lnTo>
                    <a:lnTo>
                      <a:pt x="140" y="172"/>
                    </a:lnTo>
                    <a:lnTo>
                      <a:pt x="138" y="170"/>
                    </a:lnTo>
                    <a:lnTo>
                      <a:pt x="136" y="170"/>
                    </a:lnTo>
                    <a:lnTo>
                      <a:pt x="136" y="168"/>
                    </a:lnTo>
                    <a:lnTo>
                      <a:pt x="132" y="166"/>
                    </a:lnTo>
                    <a:lnTo>
                      <a:pt x="130" y="162"/>
                    </a:lnTo>
                    <a:lnTo>
                      <a:pt x="128" y="162"/>
                    </a:lnTo>
                    <a:lnTo>
                      <a:pt x="128" y="160"/>
                    </a:lnTo>
                    <a:lnTo>
                      <a:pt x="126" y="158"/>
                    </a:lnTo>
                    <a:lnTo>
                      <a:pt x="126" y="158"/>
                    </a:lnTo>
                    <a:lnTo>
                      <a:pt x="126" y="156"/>
                    </a:lnTo>
                    <a:lnTo>
                      <a:pt x="126" y="156"/>
                    </a:lnTo>
                    <a:lnTo>
                      <a:pt x="126" y="156"/>
                    </a:lnTo>
                    <a:lnTo>
                      <a:pt x="126" y="154"/>
                    </a:lnTo>
                    <a:lnTo>
                      <a:pt x="126" y="154"/>
                    </a:lnTo>
                    <a:lnTo>
                      <a:pt x="128" y="154"/>
                    </a:lnTo>
                    <a:lnTo>
                      <a:pt x="128" y="154"/>
                    </a:lnTo>
                    <a:lnTo>
                      <a:pt x="130" y="152"/>
                    </a:lnTo>
                    <a:lnTo>
                      <a:pt x="132" y="152"/>
                    </a:lnTo>
                    <a:lnTo>
                      <a:pt x="136" y="152"/>
                    </a:lnTo>
                    <a:lnTo>
                      <a:pt x="140" y="150"/>
                    </a:lnTo>
                    <a:lnTo>
                      <a:pt x="140" y="150"/>
                    </a:lnTo>
                    <a:lnTo>
                      <a:pt x="144" y="150"/>
                    </a:lnTo>
                    <a:lnTo>
                      <a:pt x="150" y="148"/>
                    </a:lnTo>
                    <a:lnTo>
                      <a:pt x="152" y="148"/>
                    </a:lnTo>
                    <a:lnTo>
                      <a:pt x="154" y="146"/>
                    </a:lnTo>
                    <a:lnTo>
                      <a:pt x="156" y="146"/>
                    </a:lnTo>
                    <a:lnTo>
                      <a:pt x="158" y="146"/>
                    </a:lnTo>
                    <a:lnTo>
                      <a:pt x="160" y="144"/>
                    </a:lnTo>
                    <a:lnTo>
                      <a:pt x="162" y="144"/>
                    </a:lnTo>
                    <a:lnTo>
                      <a:pt x="164" y="140"/>
                    </a:lnTo>
                    <a:lnTo>
                      <a:pt x="168" y="138"/>
                    </a:lnTo>
                    <a:lnTo>
                      <a:pt x="172" y="134"/>
                    </a:lnTo>
                    <a:lnTo>
                      <a:pt x="176" y="130"/>
                    </a:lnTo>
                    <a:lnTo>
                      <a:pt x="178" y="126"/>
                    </a:lnTo>
                    <a:lnTo>
                      <a:pt x="182" y="124"/>
                    </a:lnTo>
                    <a:lnTo>
                      <a:pt x="184" y="120"/>
                    </a:lnTo>
                    <a:lnTo>
                      <a:pt x="184" y="118"/>
                    </a:lnTo>
                    <a:lnTo>
                      <a:pt x="186" y="118"/>
                    </a:lnTo>
                    <a:lnTo>
                      <a:pt x="188" y="114"/>
                    </a:lnTo>
                    <a:lnTo>
                      <a:pt x="190" y="110"/>
                    </a:lnTo>
                    <a:lnTo>
                      <a:pt x="190" y="108"/>
                    </a:lnTo>
                    <a:lnTo>
                      <a:pt x="192" y="108"/>
                    </a:lnTo>
                    <a:lnTo>
                      <a:pt x="192" y="106"/>
                    </a:lnTo>
                    <a:lnTo>
                      <a:pt x="196" y="104"/>
                    </a:lnTo>
                    <a:lnTo>
                      <a:pt x="198" y="102"/>
                    </a:lnTo>
                    <a:lnTo>
                      <a:pt x="200" y="100"/>
                    </a:lnTo>
                    <a:lnTo>
                      <a:pt x="204" y="98"/>
                    </a:lnTo>
                    <a:lnTo>
                      <a:pt x="206" y="96"/>
                    </a:lnTo>
                    <a:lnTo>
                      <a:pt x="208" y="96"/>
                    </a:lnTo>
                    <a:lnTo>
                      <a:pt x="210" y="96"/>
                    </a:lnTo>
                    <a:lnTo>
                      <a:pt x="212" y="94"/>
                    </a:lnTo>
                    <a:lnTo>
                      <a:pt x="212" y="94"/>
                    </a:lnTo>
                    <a:lnTo>
                      <a:pt x="214" y="94"/>
                    </a:lnTo>
                    <a:lnTo>
                      <a:pt x="216" y="96"/>
                    </a:lnTo>
                    <a:lnTo>
                      <a:pt x="218" y="96"/>
                    </a:lnTo>
                    <a:lnTo>
                      <a:pt x="222" y="98"/>
                    </a:lnTo>
                    <a:lnTo>
                      <a:pt x="226" y="98"/>
                    </a:lnTo>
                    <a:lnTo>
                      <a:pt x="230" y="100"/>
                    </a:lnTo>
                    <a:lnTo>
                      <a:pt x="232" y="102"/>
                    </a:lnTo>
                    <a:lnTo>
                      <a:pt x="234" y="102"/>
                    </a:lnTo>
                    <a:lnTo>
                      <a:pt x="236" y="102"/>
                    </a:lnTo>
                    <a:lnTo>
                      <a:pt x="238" y="102"/>
                    </a:lnTo>
                    <a:lnTo>
                      <a:pt x="238" y="102"/>
                    </a:lnTo>
                    <a:lnTo>
                      <a:pt x="242" y="102"/>
                    </a:lnTo>
                    <a:lnTo>
                      <a:pt x="246" y="100"/>
                    </a:lnTo>
                    <a:lnTo>
                      <a:pt x="250" y="98"/>
                    </a:lnTo>
                    <a:lnTo>
                      <a:pt x="254" y="96"/>
                    </a:lnTo>
                    <a:lnTo>
                      <a:pt x="258" y="94"/>
                    </a:lnTo>
                    <a:lnTo>
                      <a:pt x="262" y="92"/>
                    </a:lnTo>
                    <a:lnTo>
                      <a:pt x="266" y="88"/>
                    </a:lnTo>
                    <a:lnTo>
                      <a:pt x="270" y="86"/>
                    </a:lnTo>
                    <a:lnTo>
                      <a:pt x="272" y="82"/>
                    </a:lnTo>
                    <a:lnTo>
                      <a:pt x="276" y="80"/>
                    </a:lnTo>
                    <a:lnTo>
                      <a:pt x="280" y="76"/>
                    </a:lnTo>
                    <a:lnTo>
                      <a:pt x="282" y="72"/>
                    </a:lnTo>
                    <a:lnTo>
                      <a:pt x="286" y="70"/>
                    </a:lnTo>
                    <a:lnTo>
                      <a:pt x="286" y="68"/>
                    </a:lnTo>
                    <a:lnTo>
                      <a:pt x="286" y="66"/>
                    </a:lnTo>
                    <a:lnTo>
                      <a:pt x="288" y="64"/>
                    </a:lnTo>
                    <a:lnTo>
                      <a:pt x="288" y="62"/>
                    </a:lnTo>
                    <a:lnTo>
                      <a:pt x="288" y="62"/>
                    </a:lnTo>
                    <a:lnTo>
                      <a:pt x="290" y="60"/>
                    </a:lnTo>
                    <a:lnTo>
                      <a:pt x="290" y="58"/>
                    </a:lnTo>
                    <a:lnTo>
                      <a:pt x="290" y="58"/>
                    </a:lnTo>
                    <a:lnTo>
                      <a:pt x="288" y="56"/>
                    </a:lnTo>
                    <a:lnTo>
                      <a:pt x="288" y="56"/>
                    </a:lnTo>
                    <a:lnTo>
                      <a:pt x="286" y="54"/>
                    </a:lnTo>
                    <a:lnTo>
                      <a:pt x="284" y="50"/>
                    </a:lnTo>
                    <a:lnTo>
                      <a:pt x="282" y="48"/>
                    </a:lnTo>
                    <a:lnTo>
                      <a:pt x="280" y="48"/>
                    </a:lnTo>
                    <a:lnTo>
                      <a:pt x="280" y="46"/>
                    </a:lnTo>
                    <a:lnTo>
                      <a:pt x="280" y="44"/>
                    </a:lnTo>
                    <a:lnTo>
                      <a:pt x="280" y="44"/>
                    </a:lnTo>
                    <a:lnTo>
                      <a:pt x="280" y="44"/>
                    </a:lnTo>
                    <a:lnTo>
                      <a:pt x="280" y="42"/>
                    </a:lnTo>
                    <a:lnTo>
                      <a:pt x="280" y="42"/>
                    </a:lnTo>
                    <a:lnTo>
                      <a:pt x="280" y="40"/>
                    </a:lnTo>
                    <a:lnTo>
                      <a:pt x="282" y="40"/>
                    </a:lnTo>
                    <a:lnTo>
                      <a:pt x="282" y="38"/>
                    </a:lnTo>
                    <a:lnTo>
                      <a:pt x="284" y="38"/>
                    </a:lnTo>
                    <a:lnTo>
                      <a:pt x="284" y="38"/>
                    </a:lnTo>
                    <a:lnTo>
                      <a:pt x="286" y="38"/>
                    </a:lnTo>
                    <a:lnTo>
                      <a:pt x="290" y="36"/>
                    </a:lnTo>
                    <a:lnTo>
                      <a:pt x="292" y="36"/>
                    </a:lnTo>
                    <a:lnTo>
                      <a:pt x="296" y="36"/>
                    </a:lnTo>
                    <a:lnTo>
                      <a:pt x="300" y="36"/>
                    </a:lnTo>
                    <a:lnTo>
                      <a:pt x="306" y="36"/>
                    </a:lnTo>
                    <a:lnTo>
                      <a:pt x="314" y="36"/>
                    </a:lnTo>
                    <a:lnTo>
                      <a:pt x="316" y="36"/>
                    </a:lnTo>
                    <a:lnTo>
                      <a:pt x="320" y="36"/>
                    </a:lnTo>
                    <a:lnTo>
                      <a:pt x="322" y="36"/>
                    </a:lnTo>
                    <a:lnTo>
                      <a:pt x="324" y="34"/>
                    </a:lnTo>
                    <a:lnTo>
                      <a:pt x="328" y="34"/>
                    </a:lnTo>
                    <a:lnTo>
                      <a:pt x="332" y="32"/>
                    </a:lnTo>
                    <a:lnTo>
                      <a:pt x="338" y="32"/>
                    </a:lnTo>
                    <a:lnTo>
                      <a:pt x="342" y="30"/>
                    </a:lnTo>
                    <a:lnTo>
                      <a:pt x="344" y="30"/>
                    </a:lnTo>
                    <a:lnTo>
                      <a:pt x="346" y="28"/>
                    </a:lnTo>
                    <a:lnTo>
                      <a:pt x="348" y="28"/>
                    </a:lnTo>
                    <a:lnTo>
                      <a:pt x="350" y="26"/>
                    </a:lnTo>
                    <a:lnTo>
                      <a:pt x="352" y="26"/>
                    </a:lnTo>
                    <a:lnTo>
                      <a:pt x="354" y="24"/>
                    </a:lnTo>
                    <a:lnTo>
                      <a:pt x="354" y="24"/>
                    </a:lnTo>
                    <a:lnTo>
                      <a:pt x="354" y="24"/>
                    </a:lnTo>
                    <a:lnTo>
                      <a:pt x="354" y="22"/>
                    </a:lnTo>
                    <a:lnTo>
                      <a:pt x="354" y="22"/>
                    </a:lnTo>
                    <a:lnTo>
                      <a:pt x="354" y="20"/>
                    </a:lnTo>
                    <a:lnTo>
                      <a:pt x="354" y="20"/>
                    </a:lnTo>
                    <a:lnTo>
                      <a:pt x="354" y="18"/>
                    </a:lnTo>
                    <a:lnTo>
                      <a:pt x="354" y="16"/>
                    </a:lnTo>
                    <a:lnTo>
                      <a:pt x="352" y="16"/>
                    </a:lnTo>
                    <a:lnTo>
                      <a:pt x="352" y="14"/>
                    </a:lnTo>
                    <a:lnTo>
                      <a:pt x="350" y="14"/>
                    </a:lnTo>
                    <a:lnTo>
                      <a:pt x="348" y="12"/>
                    </a:lnTo>
                    <a:lnTo>
                      <a:pt x="346" y="10"/>
                    </a:lnTo>
                    <a:lnTo>
                      <a:pt x="342" y="8"/>
                    </a:lnTo>
                    <a:lnTo>
                      <a:pt x="340" y="6"/>
                    </a:lnTo>
                    <a:lnTo>
                      <a:pt x="338" y="4"/>
                    </a:lnTo>
                    <a:lnTo>
                      <a:pt x="336" y="4"/>
                    </a:lnTo>
                    <a:lnTo>
                      <a:pt x="334" y="4"/>
                    </a:lnTo>
                    <a:lnTo>
                      <a:pt x="332" y="4"/>
                    </a:lnTo>
                    <a:lnTo>
                      <a:pt x="330" y="4"/>
                    </a:lnTo>
                    <a:lnTo>
                      <a:pt x="326" y="4"/>
                    </a:lnTo>
                    <a:lnTo>
                      <a:pt x="322" y="4"/>
                    </a:lnTo>
                    <a:lnTo>
                      <a:pt x="314" y="4"/>
                    </a:lnTo>
                    <a:lnTo>
                      <a:pt x="310" y="4"/>
                    </a:lnTo>
                    <a:lnTo>
                      <a:pt x="306" y="4"/>
                    </a:lnTo>
                    <a:lnTo>
                      <a:pt x="304" y="4"/>
                    </a:lnTo>
                    <a:lnTo>
                      <a:pt x="298" y="4"/>
                    </a:lnTo>
                    <a:lnTo>
                      <a:pt x="290" y="4"/>
                    </a:lnTo>
                    <a:lnTo>
                      <a:pt x="280" y="2"/>
                    </a:lnTo>
                    <a:lnTo>
                      <a:pt x="268" y="0"/>
                    </a:lnTo>
                    <a:lnTo>
                      <a:pt x="264" y="0"/>
                    </a:lnTo>
                    <a:lnTo>
                      <a:pt x="258" y="0"/>
                    </a:lnTo>
                    <a:lnTo>
                      <a:pt x="252" y="0"/>
                    </a:lnTo>
                    <a:lnTo>
                      <a:pt x="248" y="0"/>
                    </a:lnTo>
                    <a:lnTo>
                      <a:pt x="244" y="0"/>
                    </a:lnTo>
                    <a:lnTo>
                      <a:pt x="238" y="0"/>
                    </a:lnTo>
                    <a:lnTo>
                      <a:pt x="236" y="0"/>
                    </a:lnTo>
                    <a:lnTo>
                      <a:pt x="234" y="2"/>
                    </a:lnTo>
                    <a:lnTo>
                      <a:pt x="232" y="2"/>
                    </a:lnTo>
                    <a:lnTo>
                      <a:pt x="230" y="2"/>
                    </a:lnTo>
                    <a:lnTo>
                      <a:pt x="228" y="4"/>
                    </a:lnTo>
                    <a:lnTo>
                      <a:pt x="226" y="4"/>
                    </a:lnTo>
                    <a:lnTo>
                      <a:pt x="226" y="6"/>
                    </a:lnTo>
                    <a:lnTo>
                      <a:pt x="222" y="10"/>
                    </a:lnTo>
                    <a:lnTo>
                      <a:pt x="220" y="12"/>
                    </a:lnTo>
                    <a:lnTo>
                      <a:pt x="216" y="16"/>
                    </a:lnTo>
                    <a:lnTo>
                      <a:pt x="214" y="18"/>
                    </a:lnTo>
                    <a:lnTo>
                      <a:pt x="212" y="20"/>
                    </a:lnTo>
                    <a:lnTo>
                      <a:pt x="210" y="20"/>
                    </a:lnTo>
                    <a:lnTo>
                      <a:pt x="210" y="22"/>
                    </a:lnTo>
                    <a:lnTo>
                      <a:pt x="208" y="22"/>
                    </a:lnTo>
                    <a:lnTo>
                      <a:pt x="208" y="22"/>
                    </a:lnTo>
                    <a:lnTo>
                      <a:pt x="206" y="22"/>
                    </a:lnTo>
                    <a:lnTo>
                      <a:pt x="206" y="22"/>
                    </a:lnTo>
                    <a:lnTo>
                      <a:pt x="204" y="22"/>
                    </a:lnTo>
                    <a:lnTo>
                      <a:pt x="204" y="22"/>
                    </a:lnTo>
                    <a:lnTo>
                      <a:pt x="202" y="20"/>
                    </a:lnTo>
                    <a:lnTo>
                      <a:pt x="200" y="18"/>
                    </a:lnTo>
                    <a:lnTo>
                      <a:pt x="198" y="16"/>
                    </a:lnTo>
                    <a:lnTo>
                      <a:pt x="198" y="16"/>
                    </a:lnTo>
                    <a:lnTo>
                      <a:pt x="194" y="12"/>
                    </a:lnTo>
                    <a:lnTo>
                      <a:pt x="192" y="8"/>
                    </a:lnTo>
                    <a:lnTo>
                      <a:pt x="190" y="6"/>
                    </a:lnTo>
                    <a:lnTo>
                      <a:pt x="190" y="4"/>
                    </a:lnTo>
                    <a:lnTo>
                      <a:pt x="188" y="2"/>
                    </a:lnTo>
                    <a:lnTo>
                      <a:pt x="186" y="2"/>
                    </a:lnTo>
                    <a:lnTo>
                      <a:pt x="186" y="2"/>
                    </a:lnTo>
                    <a:lnTo>
                      <a:pt x="184" y="2"/>
                    </a:lnTo>
                    <a:lnTo>
                      <a:pt x="184" y="2"/>
                    </a:lnTo>
                    <a:lnTo>
                      <a:pt x="184" y="2"/>
                    </a:lnTo>
                    <a:lnTo>
                      <a:pt x="184" y="2"/>
                    </a:lnTo>
                    <a:lnTo>
                      <a:pt x="182" y="2"/>
                    </a:lnTo>
                    <a:lnTo>
                      <a:pt x="182" y="2"/>
                    </a:lnTo>
                    <a:lnTo>
                      <a:pt x="182" y="4"/>
                    </a:lnTo>
                    <a:lnTo>
                      <a:pt x="182" y="4"/>
                    </a:lnTo>
                    <a:lnTo>
                      <a:pt x="182" y="6"/>
                    </a:lnTo>
                    <a:lnTo>
                      <a:pt x="182" y="8"/>
                    </a:lnTo>
                    <a:lnTo>
                      <a:pt x="182" y="10"/>
                    </a:lnTo>
                    <a:lnTo>
                      <a:pt x="182" y="12"/>
                    </a:lnTo>
                    <a:lnTo>
                      <a:pt x="182" y="12"/>
                    </a:lnTo>
                    <a:lnTo>
                      <a:pt x="180" y="12"/>
                    </a:lnTo>
                    <a:lnTo>
                      <a:pt x="180" y="12"/>
                    </a:lnTo>
                    <a:lnTo>
                      <a:pt x="180" y="12"/>
                    </a:lnTo>
                    <a:lnTo>
                      <a:pt x="178" y="14"/>
                    </a:lnTo>
                    <a:lnTo>
                      <a:pt x="178" y="14"/>
                    </a:lnTo>
                    <a:lnTo>
                      <a:pt x="174" y="14"/>
                    </a:lnTo>
                    <a:lnTo>
                      <a:pt x="172" y="14"/>
                    </a:lnTo>
                    <a:lnTo>
                      <a:pt x="170" y="14"/>
                    </a:lnTo>
                    <a:lnTo>
                      <a:pt x="166" y="12"/>
                    </a:lnTo>
                    <a:lnTo>
                      <a:pt x="160" y="12"/>
                    </a:lnTo>
                    <a:lnTo>
                      <a:pt x="154" y="10"/>
                    </a:lnTo>
                    <a:lnTo>
                      <a:pt x="150" y="10"/>
                    </a:lnTo>
                    <a:lnTo>
                      <a:pt x="148" y="10"/>
                    </a:lnTo>
                    <a:lnTo>
                      <a:pt x="146" y="8"/>
                    </a:lnTo>
                    <a:lnTo>
                      <a:pt x="142" y="8"/>
                    </a:lnTo>
                    <a:lnTo>
                      <a:pt x="140" y="8"/>
                    </a:lnTo>
                    <a:lnTo>
                      <a:pt x="140" y="10"/>
                    </a:lnTo>
                    <a:lnTo>
                      <a:pt x="138" y="10"/>
                    </a:lnTo>
                    <a:lnTo>
                      <a:pt x="136" y="10"/>
                    </a:lnTo>
                    <a:lnTo>
                      <a:pt x="136" y="12"/>
                    </a:lnTo>
                    <a:lnTo>
                      <a:pt x="134" y="12"/>
                    </a:lnTo>
                    <a:lnTo>
                      <a:pt x="134" y="14"/>
                    </a:lnTo>
                    <a:lnTo>
                      <a:pt x="130" y="16"/>
                    </a:lnTo>
                    <a:lnTo>
                      <a:pt x="128" y="20"/>
                    </a:lnTo>
                    <a:lnTo>
                      <a:pt x="126" y="24"/>
                    </a:lnTo>
                    <a:lnTo>
                      <a:pt x="124" y="28"/>
                    </a:lnTo>
                    <a:lnTo>
                      <a:pt x="122" y="28"/>
                    </a:lnTo>
                    <a:lnTo>
                      <a:pt x="120" y="30"/>
                    </a:lnTo>
                    <a:lnTo>
                      <a:pt x="120" y="32"/>
                    </a:lnTo>
                    <a:lnTo>
                      <a:pt x="118" y="32"/>
                    </a:lnTo>
                    <a:lnTo>
                      <a:pt x="116" y="32"/>
                    </a:lnTo>
                    <a:lnTo>
                      <a:pt x="114" y="34"/>
                    </a:lnTo>
                    <a:lnTo>
                      <a:pt x="110" y="34"/>
                    </a:lnTo>
                    <a:lnTo>
                      <a:pt x="108" y="34"/>
                    </a:lnTo>
                    <a:lnTo>
                      <a:pt x="106" y="34"/>
                    </a:lnTo>
                    <a:lnTo>
                      <a:pt x="102" y="34"/>
                    </a:lnTo>
                    <a:lnTo>
                      <a:pt x="100" y="32"/>
                    </a:lnTo>
                    <a:lnTo>
                      <a:pt x="98" y="32"/>
                    </a:lnTo>
                    <a:lnTo>
                      <a:pt x="98" y="32"/>
                    </a:lnTo>
                    <a:lnTo>
                      <a:pt x="98" y="32"/>
                    </a:lnTo>
                    <a:lnTo>
                      <a:pt x="96" y="32"/>
                    </a:lnTo>
                    <a:lnTo>
                      <a:pt x="96" y="30"/>
                    </a:lnTo>
                    <a:lnTo>
                      <a:pt x="94" y="28"/>
                    </a:lnTo>
                    <a:lnTo>
                      <a:pt x="94" y="26"/>
                    </a:lnTo>
                    <a:lnTo>
                      <a:pt x="92" y="24"/>
                    </a:lnTo>
                    <a:lnTo>
                      <a:pt x="90" y="22"/>
                    </a:lnTo>
                    <a:lnTo>
                      <a:pt x="90" y="22"/>
                    </a:lnTo>
                    <a:lnTo>
                      <a:pt x="90" y="20"/>
                    </a:lnTo>
                    <a:lnTo>
                      <a:pt x="88" y="20"/>
                    </a:lnTo>
                    <a:lnTo>
                      <a:pt x="88" y="20"/>
                    </a:lnTo>
                    <a:lnTo>
                      <a:pt x="86" y="20"/>
                    </a:lnTo>
                    <a:lnTo>
                      <a:pt x="86" y="18"/>
                    </a:lnTo>
                    <a:lnTo>
                      <a:pt x="84" y="18"/>
                    </a:lnTo>
                    <a:lnTo>
                      <a:pt x="82" y="18"/>
                    </a:lnTo>
                    <a:lnTo>
                      <a:pt x="80" y="20"/>
                    </a:lnTo>
                    <a:lnTo>
                      <a:pt x="76" y="20"/>
                    </a:lnTo>
                    <a:lnTo>
                      <a:pt x="72" y="20"/>
                    </a:lnTo>
                    <a:lnTo>
                      <a:pt x="70" y="22"/>
                    </a:lnTo>
                    <a:lnTo>
                      <a:pt x="68" y="24"/>
                    </a:lnTo>
                    <a:lnTo>
                      <a:pt x="66" y="24"/>
                    </a:lnTo>
                    <a:lnTo>
                      <a:pt x="66" y="24"/>
                    </a:lnTo>
                    <a:lnTo>
                      <a:pt x="64" y="24"/>
                    </a:lnTo>
                    <a:lnTo>
                      <a:pt x="64" y="26"/>
                    </a:lnTo>
                    <a:lnTo>
                      <a:pt x="64" y="26"/>
                    </a:lnTo>
                    <a:lnTo>
                      <a:pt x="64" y="28"/>
                    </a:lnTo>
                    <a:lnTo>
                      <a:pt x="62" y="30"/>
                    </a:lnTo>
                    <a:lnTo>
                      <a:pt x="62" y="32"/>
                    </a:lnTo>
                    <a:lnTo>
                      <a:pt x="62" y="32"/>
                    </a:lnTo>
                    <a:lnTo>
                      <a:pt x="60" y="34"/>
                    </a:lnTo>
                    <a:lnTo>
                      <a:pt x="60" y="34"/>
                    </a:lnTo>
                    <a:lnTo>
                      <a:pt x="60" y="34"/>
                    </a:lnTo>
                    <a:lnTo>
                      <a:pt x="60" y="34"/>
                    </a:lnTo>
                    <a:lnTo>
                      <a:pt x="58" y="36"/>
                    </a:lnTo>
                    <a:lnTo>
                      <a:pt x="58" y="36"/>
                    </a:lnTo>
                    <a:lnTo>
                      <a:pt x="54" y="36"/>
                    </a:lnTo>
                    <a:lnTo>
                      <a:pt x="52" y="36"/>
                    </a:lnTo>
                    <a:lnTo>
                      <a:pt x="50" y="36"/>
                    </a:lnTo>
                    <a:lnTo>
                      <a:pt x="48" y="36"/>
                    </a:lnTo>
                    <a:lnTo>
                      <a:pt x="42" y="36"/>
                    </a:lnTo>
                    <a:lnTo>
                      <a:pt x="38" y="36"/>
                    </a:lnTo>
                    <a:lnTo>
                      <a:pt x="36" y="36"/>
                    </a:lnTo>
                    <a:lnTo>
                      <a:pt x="34" y="36"/>
                    </a:lnTo>
                    <a:lnTo>
                      <a:pt x="32" y="36"/>
                    </a:lnTo>
                    <a:lnTo>
                      <a:pt x="30" y="38"/>
                    </a:lnTo>
                    <a:lnTo>
                      <a:pt x="30" y="38"/>
                    </a:lnTo>
                    <a:lnTo>
                      <a:pt x="28" y="38"/>
                    </a:lnTo>
                    <a:lnTo>
                      <a:pt x="28" y="38"/>
                    </a:lnTo>
                    <a:lnTo>
                      <a:pt x="28" y="4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23" name="Freeform 581">
                <a:extLst>
                  <a:ext uri="{FF2B5EF4-FFF2-40B4-BE49-F238E27FC236}">
                    <a16:creationId xmlns:a16="http://schemas.microsoft.com/office/drawing/2014/main" id="{FF900535-9182-4AAA-921E-AB24FDF4EBA2}"/>
                  </a:ext>
                </a:extLst>
              </p:cNvPr>
              <p:cNvSpPr>
                <a:spLocks/>
              </p:cNvSpPr>
              <p:nvPr/>
            </p:nvSpPr>
            <p:spPr bwMode="auto">
              <a:xfrm>
                <a:off x="2497428" y="2387767"/>
                <a:ext cx="260350" cy="120650"/>
              </a:xfrm>
              <a:custGeom>
                <a:avLst/>
                <a:gdLst>
                  <a:gd name="T0" fmla="*/ 18 w 164"/>
                  <a:gd name="T1" fmla="*/ 2 h 76"/>
                  <a:gd name="T2" fmla="*/ 8 w 164"/>
                  <a:gd name="T3" fmla="*/ 8 h 76"/>
                  <a:gd name="T4" fmla="*/ 4 w 164"/>
                  <a:gd name="T5" fmla="*/ 12 h 76"/>
                  <a:gd name="T6" fmla="*/ 2 w 164"/>
                  <a:gd name="T7" fmla="*/ 16 h 76"/>
                  <a:gd name="T8" fmla="*/ 0 w 164"/>
                  <a:gd name="T9" fmla="*/ 20 h 76"/>
                  <a:gd name="T10" fmla="*/ 2 w 164"/>
                  <a:gd name="T11" fmla="*/ 24 h 76"/>
                  <a:gd name="T12" fmla="*/ 6 w 164"/>
                  <a:gd name="T13" fmla="*/ 28 h 76"/>
                  <a:gd name="T14" fmla="*/ 12 w 164"/>
                  <a:gd name="T15" fmla="*/ 34 h 76"/>
                  <a:gd name="T16" fmla="*/ 24 w 164"/>
                  <a:gd name="T17" fmla="*/ 50 h 76"/>
                  <a:gd name="T18" fmla="*/ 32 w 164"/>
                  <a:gd name="T19" fmla="*/ 60 h 76"/>
                  <a:gd name="T20" fmla="*/ 38 w 164"/>
                  <a:gd name="T21" fmla="*/ 64 h 76"/>
                  <a:gd name="T22" fmla="*/ 46 w 164"/>
                  <a:gd name="T23" fmla="*/ 68 h 76"/>
                  <a:gd name="T24" fmla="*/ 56 w 164"/>
                  <a:gd name="T25" fmla="*/ 70 h 76"/>
                  <a:gd name="T26" fmla="*/ 66 w 164"/>
                  <a:gd name="T27" fmla="*/ 72 h 76"/>
                  <a:gd name="T28" fmla="*/ 78 w 164"/>
                  <a:gd name="T29" fmla="*/ 70 h 76"/>
                  <a:gd name="T30" fmla="*/ 100 w 164"/>
                  <a:gd name="T31" fmla="*/ 66 h 76"/>
                  <a:gd name="T32" fmla="*/ 116 w 164"/>
                  <a:gd name="T33" fmla="*/ 64 h 76"/>
                  <a:gd name="T34" fmla="*/ 126 w 164"/>
                  <a:gd name="T35" fmla="*/ 64 h 76"/>
                  <a:gd name="T36" fmla="*/ 132 w 164"/>
                  <a:gd name="T37" fmla="*/ 66 h 76"/>
                  <a:gd name="T38" fmla="*/ 146 w 164"/>
                  <a:gd name="T39" fmla="*/ 74 h 76"/>
                  <a:gd name="T40" fmla="*/ 154 w 164"/>
                  <a:gd name="T41" fmla="*/ 76 h 76"/>
                  <a:gd name="T42" fmla="*/ 158 w 164"/>
                  <a:gd name="T43" fmla="*/ 76 h 76"/>
                  <a:gd name="T44" fmla="*/ 160 w 164"/>
                  <a:gd name="T45" fmla="*/ 74 h 76"/>
                  <a:gd name="T46" fmla="*/ 162 w 164"/>
                  <a:gd name="T47" fmla="*/ 72 h 76"/>
                  <a:gd name="T48" fmla="*/ 164 w 164"/>
                  <a:gd name="T49" fmla="*/ 66 h 76"/>
                  <a:gd name="T50" fmla="*/ 162 w 164"/>
                  <a:gd name="T51" fmla="*/ 60 h 76"/>
                  <a:gd name="T52" fmla="*/ 160 w 164"/>
                  <a:gd name="T53" fmla="*/ 54 h 76"/>
                  <a:gd name="T54" fmla="*/ 158 w 164"/>
                  <a:gd name="T55" fmla="*/ 48 h 76"/>
                  <a:gd name="T56" fmla="*/ 156 w 164"/>
                  <a:gd name="T57" fmla="*/ 46 h 76"/>
                  <a:gd name="T58" fmla="*/ 152 w 164"/>
                  <a:gd name="T59" fmla="*/ 44 h 76"/>
                  <a:gd name="T60" fmla="*/ 146 w 164"/>
                  <a:gd name="T61" fmla="*/ 42 h 76"/>
                  <a:gd name="T62" fmla="*/ 134 w 164"/>
                  <a:gd name="T63" fmla="*/ 42 h 76"/>
                  <a:gd name="T64" fmla="*/ 116 w 164"/>
                  <a:gd name="T65" fmla="*/ 44 h 76"/>
                  <a:gd name="T66" fmla="*/ 106 w 164"/>
                  <a:gd name="T67" fmla="*/ 44 h 76"/>
                  <a:gd name="T68" fmla="*/ 86 w 164"/>
                  <a:gd name="T69" fmla="*/ 42 h 76"/>
                  <a:gd name="T70" fmla="*/ 72 w 164"/>
                  <a:gd name="T71" fmla="*/ 38 h 76"/>
                  <a:gd name="T72" fmla="*/ 62 w 164"/>
                  <a:gd name="T73" fmla="*/ 36 h 76"/>
                  <a:gd name="T74" fmla="*/ 56 w 164"/>
                  <a:gd name="T75" fmla="*/ 32 h 76"/>
                  <a:gd name="T76" fmla="*/ 54 w 164"/>
                  <a:gd name="T77" fmla="*/ 30 h 76"/>
                  <a:gd name="T78" fmla="*/ 52 w 164"/>
                  <a:gd name="T79" fmla="*/ 24 h 76"/>
                  <a:gd name="T80" fmla="*/ 52 w 164"/>
                  <a:gd name="T81" fmla="*/ 14 h 76"/>
                  <a:gd name="T82" fmla="*/ 50 w 164"/>
                  <a:gd name="T83" fmla="*/ 8 h 76"/>
                  <a:gd name="T84" fmla="*/ 48 w 164"/>
                  <a:gd name="T85" fmla="*/ 4 h 76"/>
                  <a:gd name="T86" fmla="*/ 44 w 164"/>
                  <a:gd name="T87" fmla="*/ 2 h 76"/>
                  <a:gd name="T88" fmla="*/ 38 w 164"/>
                  <a:gd name="T89" fmla="*/ 0 h 76"/>
                  <a:gd name="T90" fmla="*/ 26 w 164"/>
                  <a:gd name="T91" fmla="*/ 0 h 76"/>
                  <a:gd name="T92" fmla="*/ 20 w 164"/>
                  <a:gd name="T93" fmla="*/ 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4" h="76">
                    <a:moveTo>
                      <a:pt x="20" y="2"/>
                    </a:moveTo>
                    <a:lnTo>
                      <a:pt x="20" y="2"/>
                    </a:lnTo>
                    <a:lnTo>
                      <a:pt x="18" y="2"/>
                    </a:lnTo>
                    <a:lnTo>
                      <a:pt x="14" y="4"/>
                    </a:lnTo>
                    <a:lnTo>
                      <a:pt x="12" y="6"/>
                    </a:lnTo>
                    <a:lnTo>
                      <a:pt x="8" y="8"/>
                    </a:lnTo>
                    <a:lnTo>
                      <a:pt x="6" y="10"/>
                    </a:lnTo>
                    <a:lnTo>
                      <a:pt x="6" y="12"/>
                    </a:lnTo>
                    <a:lnTo>
                      <a:pt x="4" y="12"/>
                    </a:lnTo>
                    <a:lnTo>
                      <a:pt x="4" y="14"/>
                    </a:lnTo>
                    <a:lnTo>
                      <a:pt x="2" y="16"/>
                    </a:lnTo>
                    <a:lnTo>
                      <a:pt x="2" y="16"/>
                    </a:lnTo>
                    <a:lnTo>
                      <a:pt x="0" y="18"/>
                    </a:lnTo>
                    <a:lnTo>
                      <a:pt x="0" y="20"/>
                    </a:lnTo>
                    <a:lnTo>
                      <a:pt x="0" y="20"/>
                    </a:lnTo>
                    <a:lnTo>
                      <a:pt x="0" y="22"/>
                    </a:lnTo>
                    <a:lnTo>
                      <a:pt x="0" y="22"/>
                    </a:lnTo>
                    <a:lnTo>
                      <a:pt x="2" y="24"/>
                    </a:lnTo>
                    <a:lnTo>
                      <a:pt x="2" y="24"/>
                    </a:lnTo>
                    <a:lnTo>
                      <a:pt x="4" y="26"/>
                    </a:lnTo>
                    <a:lnTo>
                      <a:pt x="6" y="28"/>
                    </a:lnTo>
                    <a:lnTo>
                      <a:pt x="8" y="30"/>
                    </a:lnTo>
                    <a:lnTo>
                      <a:pt x="10" y="32"/>
                    </a:lnTo>
                    <a:lnTo>
                      <a:pt x="12" y="34"/>
                    </a:lnTo>
                    <a:lnTo>
                      <a:pt x="12" y="36"/>
                    </a:lnTo>
                    <a:lnTo>
                      <a:pt x="18" y="42"/>
                    </a:lnTo>
                    <a:lnTo>
                      <a:pt x="24" y="50"/>
                    </a:lnTo>
                    <a:lnTo>
                      <a:pt x="26" y="54"/>
                    </a:lnTo>
                    <a:lnTo>
                      <a:pt x="30" y="56"/>
                    </a:lnTo>
                    <a:lnTo>
                      <a:pt x="32" y="60"/>
                    </a:lnTo>
                    <a:lnTo>
                      <a:pt x="34" y="60"/>
                    </a:lnTo>
                    <a:lnTo>
                      <a:pt x="36" y="62"/>
                    </a:lnTo>
                    <a:lnTo>
                      <a:pt x="38" y="64"/>
                    </a:lnTo>
                    <a:lnTo>
                      <a:pt x="40" y="64"/>
                    </a:lnTo>
                    <a:lnTo>
                      <a:pt x="44" y="66"/>
                    </a:lnTo>
                    <a:lnTo>
                      <a:pt x="46" y="68"/>
                    </a:lnTo>
                    <a:lnTo>
                      <a:pt x="50" y="70"/>
                    </a:lnTo>
                    <a:lnTo>
                      <a:pt x="52" y="70"/>
                    </a:lnTo>
                    <a:lnTo>
                      <a:pt x="56" y="70"/>
                    </a:lnTo>
                    <a:lnTo>
                      <a:pt x="58" y="72"/>
                    </a:lnTo>
                    <a:lnTo>
                      <a:pt x="62" y="72"/>
                    </a:lnTo>
                    <a:lnTo>
                      <a:pt x="66" y="72"/>
                    </a:lnTo>
                    <a:lnTo>
                      <a:pt x="68" y="72"/>
                    </a:lnTo>
                    <a:lnTo>
                      <a:pt x="74" y="72"/>
                    </a:lnTo>
                    <a:lnTo>
                      <a:pt x="78" y="70"/>
                    </a:lnTo>
                    <a:lnTo>
                      <a:pt x="82" y="70"/>
                    </a:lnTo>
                    <a:lnTo>
                      <a:pt x="90" y="68"/>
                    </a:lnTo>
                    <a:lnTo>
                      <a:pt x="100" y="66"/>
                    </a:lnTo>
                    <a:lnTo>
                      <a:pt x="108" y="66"/>
                    </a:lnTo>
                    <a:lnTo>
                      <a:pt x="112" y="64"/>
                    </a:lnTo>
                    <a:lnTo>
                      <a:pt x="116" y="64"/>
                    </a:lnTo>
                    <a:lnTo>
                      <a:pt x="120" y="64"/>
                    </a:lnTo>
                    <a:lnTo>
                      <a:pt x="124" y="64"/>
                    </a:lnTo>
                    <a:lnTo>
                      <a:pt x="126" y="64"/>
                    </a:lnTo>
                    <a:lnTo>
                      <a:pt x="128" y="66"/>
                    </a:lnTo>
                    <a:lnTo>
                      <a:pt x="130" y="66"/>
                    </a:lnTo>
                    <a:lnTo>
                      <a:pt x="132" y="66"/>
                    </a:lnTo>
                    <a:lnTo>
                      <a:pt x="138" y="70"/>
                    </a:lnTo>
                    <a:lnTo>
                      <a:pt x="144" y="72"/>
                    </a:lnTo>
                    <a:lnTo>
                      <a:pt x="146" y="74"/>
                    </a:lnTo>
                    <a:lnTo>
                      <a:pt x="148" y="74"/>
                    </a:lnTo>
                    <a:lnTo>
                      <a:pt x="152" y="74"/>
                    </a:lnTo>
                    <a:lnTo>
                      <a:pt x="154" y="76"/>
                    </a:lnTo>
                    <a:lnTo>
                      <a:pt x="156" y="76"/>
                    </a:lnTo>
                    <a:lnTo>
                      <a:pt x="156" y="76"/>
                    </a:lnTo>
                    <a:lnTo>
                      <a:pt x="158" y="76"/>
                    </a:lnTo>
                    <a:lnTo>
                      <a:pt x="158" y="76"/>
                    </a:lnTo>
                    <a:lnTo>
                      <a:pt x="160" y="74"/>
                    </a:lnTo>
                    <a:lnTo>
                      <a:pt x="160" y="74"/>
                    </a:lnTo>
                    <a:lnTo>
                      <a:pt x="162" y="74"/>
                    </a:lnTo>
                    <a:lnTo>
                      <a:pt x="162" y="74"/>
                    </a:lnTo>
                    <a:lnTo>
                      <a:pt x="162" y="72"/>
                    </a:lnTo>
                    <a:lnTo>
                      <a:pt x="164" y="70"/>
                    </a:lnTo>
                    <a:lnTo>
                      <a:pt x="164" y="68"/>
                    </a:lnTo>
                    <a:lnTo>
                      <a:pt x="164" y="66"/>
                    </a:lnTo>
                    <a:lnTo>
                      <a:pt x="164" y="64"/>
                    </a:lnTo>
                    <a:lnTo>
                      <a:pt x="164" y="62"/>
                    </a:lnTo>
                    <a:lnTo>
                      <a:pt x="162" y="60"/>
                    </a:lnTo>
                    <a:lnTo>
                      <a:pt x="162" y="58"/>
                    </a:lnTo>
                    <a:lnTo>
                      <a:pt x="162" y="56"/>
                    </a:lnTo>
                    <a:lnTo>
                      <a:pt x="160" y="54"/>
                    </a:lnTo>
                    <a:lnTo>
                      <a:pt x="160" y="52"/>
                    </a:lnTo>
                    <a:lnTo>
                      <a:pt x="160" y="50"/>
                    </a:lnTo>
                    <a:lnTo>
                      <a:pt x="158" y="48"/>
                    </a:lnTo>
                    <a:lnTo>
                      <a:pt x="158" y="48"/>
                    </a:lnTo>
                    <a:lnTo>
                      <a:pt x="156" y="46"/>
                    </a:lnTo>
                    <a:lnTo>
                      <a:pt x="156" y="46"/>
                    </a:lnTo>
                    <a:lnTo>
                      <a:pt x="154" y="46"/>
                    </a:lnTo>
                    <a:lnTo>
                      <a:pt x="152" y="44"/>
                    </a:lnTo>
                    <a:lnTo>
                      <a:pt x="152" y="44"/>
                    </a:lnTo>
                    <a:lnTo>
                      <a:pt x="150" y="44"/>
                    </a:lnTo>
                    <a:lnTo>
                      <a:pt x="148" y="44"/>
                    </a:lnTo>
                    <a:lnTo>
                      <a:pt x="146" y="42"/>
                    </a:lnTo>
                    <a:lnTo>
                      <a:pt x="142" y="42"/>
                    </a:lnTo>
                    <a:lnTo>
                      <a:pt x="138" y="42"/>
                    </a:lnTo>
                    <a:lnTo>
                      <a:pt x="134" y="42"/>
                    </a:lnTo>
                    <a:lnTo>
                      <a:pt x="132" y="42"/>
                    </a:lnTo>
                    <a:lnTo>
                      <a:pt x="124" y="44"/>
                    </a:lnTo>
                    <a:lnTo>
                      <a:pt x="116" y="44"/>
                    </a:lnTo>
                    <a:lnTo>
                      <a:pt x="112" y="44"/>
                    </a:lnTo>
                    <a:lnTo>
                      <a:pt x="110" y="44"/>
                    </a:lnTo>
                    <a:lnTo>
                      <a:pt x="106" y="44"/>
                    </a:lnTo>
                    <a:lnTo>
                      <a:pt x="104" y="44"/>
                    </a:lnTo>
                    <a:lnTo>
                      <a:pt x="92" y="42"/>
                    </a:lnTo>
                    <a:lnTo>
                      <a:pt x="86" y="42"/>
                    </a:lnTo>
                    <a:lnTo>
                      <a:pt x="78" y="40"/>
                    </a:lnTo>
                    <a:lnTo>
                      <a:pt x="74" y="40"/>
                    </a:lnTo>
                    <a:lnTo>
                      <a:pt x="72" y="38"/>
                    </a:lnTo>
                    <a:lnTo>
                      <a:pt x="68" y="38"/>
                    </a:lnTo>
                    <a:lnTo>
                      <a:pt x="66" y="36"/>
                    </a:lnTo>
                    <a:lnTo>
                      <a:pt x="62" y="36"/>
                    </a:lnTo>
                    <a:lnTo>
                      <a:pt x="60" y="34"/>
                    </a:lnTo>
                    <a:lnTo>
                      <a:pt x="58" y="34"/>
                    </a:lnTo>
                    <a:lnTo>
                      <a:pt x="56" y="32"/>
                    </a:lnTo>
                    <a:lnTo>
                      <a:pt x="56" y="32"/>
                    </a:lnTo>
                    <a:lnTo>
                      <a:pt x="54" y="30"/>
                    </a:lnTo>
                    <a:lnTo>
                      <a:pt x="54" y="30"/>
                    </a:lnTo>
                    <a:lnTo>
                      <a:pt x="54" y="28"/>
                    </a:lnTo>
                    <a:lnTo>
                      <a:pt x="54" y="26"/>
                    </a:lnTo>
                    <a:lnTo>
                      <a:pt x="52" y="24"/>
                    </a:lnTo>
                    <a:lnTo>
                      <a:pt x="52" y="22"/>
                    </a:lnTo>
                    <a:lnTo>
                      <a:pt x="52" y="18"/>
                    </a:lnTo>
                    <a:lnTo>
                      <a:pt x="52" y="14"/>
                    </a:lnTo>
                    <a:lnTo>
                      <a:pt x="52" y="12"/>
                    </a:lnTo>
                    <a:lnTo>
                      <a:pt x="50" y="10"/>
                    </a:lnTo>
                    <a:lnTo>
                      <a:pt x="50" y="8"/>
                    </a:lnTo>
                    <a:lnTo>
                      <a:pt x="50" y="6"/>
                    </a:lnTo>
                    <a:lnTo>
                      <a:pt x="50" y="6"/>
                    </a:lnTo>
                    <a:lnTo>
                      <a:pt x="48" y="4"/>
                    </a:lnTo>
                    <a:lnTo>
                      <a:pt x="48" y="4"/>
                    </a:lnTo>
                    <a:lnTo>
                      <a:pt x="46" y="2"/>
                    </a:lnTo>
                    <a:lnTo>
                      <a:pt x="44" y="2"/>
                    </a:lnTo>
                    <a:lnTo>
                      <a:pt x="42" y="2"/>
                    </a:lnTo>
                    <a:lnTo>
                      <a:pt x="40" y="2"/>
                    </a:lnTo>
                    <a:lnTo>
                      <a:pt x="38" y="0"/>
                    </a:lnTo>
                    <a:lnTo>
                      <a:pt x="34" y="0"/>
                    </a:lnTo>
                    <a:lnTo>
                      <a:pt x="30" y="0"/>
                    </a:lnTo>
                    <a:lnTo>
                      <a:pt x="26" y="0"/>
                    </a:lnTo>
                    <a:lnTo>
                      <a:pt x="24" y="0"/>
                    </a:lnTo>
                    <a:lnTo>
                      <a:pt x="22" y="2"/>
                    </a:lnTo>
                    <a:lnTo>
                      <a:pt x="20"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24" name="Freeform 583">
                <a:extLst>
                  <a:ext uri="{FF2B5EF4-FFF2-40B4-BE49-F238E27FC236}">
                    <a16:creationId xmlns:a16="http://schemas.microsoft.com/office/drawing/2014/main" id="{239E89EE-DF87-47EF-88A8-CFD8935A93AA}"/>
                  </a:ext>
                </a:extLst>
              </p:cNvPr>
              <p:cNvSpPr>
                <a:spLocks/>
              </p:cNvSpPr>
              <p:nvPr/>
            </p:nvSpPr>
            <p:spPr bwMode="auto">
              <a:xfrm>
                <a:off x="2443453" y="2457617"/>
                <a:ext cx="53975" cy="34925"/>
              </a:xfrm>
              <a:custGeom>
                <a:avLst/>
                <a:gdLst>
                  <a:gd name="T0" fmla="*/ 12 w 34"/>
                  <a:gd name="T1" fmla="*/ 0 h 22"/>
                  <a:gd name="T2" fmla="*/ 12 w 34"/>
                  <a:gd name="T3" fmla="*/ 0 h 22"/>
                  <a:gd name="T4" fmla="*/ 10 w 34"/>
                  <a:gd name="T5" fmla="*/ 2 h 22"/>
                  <a:gd name="T6" fmla="*/ 8 w 34"/>
                  <a:gd name="T7" fmla="*/ 2 h 22"/>
                  <a:gd name="T8" fmla="*/ 6 w 34"/>
                  <a:gd name="T9" fmla="*/ 4 h 22"/>
                  <a:gd name="T10" fmla="*/ 4 w 34"/>
                  <a:gd name="T11" fmla="*/ 6 h 22"/>
                  <a:gd name="T12" fmla="*/ 2 w 34"/>
                  <a:gd name="T13" fmla="*/ 8 h 22"/>
                  <a:gd name="T14" fmla="*/ 2 w 34"/>
                  <a:gd name="T15" fmla="*/ 10 h 22"/>
                  <a:gd name="T16" fmla="*/ 0 w 34"/>
                  <a:gd name="T17" fmla="*/ 10 h 22"/>
                  <a:gd name="T18" fmla="*/ 0 w 34"/>
                  <a:gd name="T19" fmla="*/ 12 h 22"/>
                  <a:gd name="T20" fmla="*/ 0 w 34"/>
                  <a:gd name="T21" fmla="*/ 12 h 22"/>
                  <a:gd name="T22" fmla="*/ 0 w 34"/>
                  <a:gd name="T23" fmla="*/ 14 h 22"/>
                  <a:gd name="T24" fmla="*/ 0 w 34"/>
                  <a:gd name="T25" fmla="*/ 14 h 22"/>
                  <a:gd name="T26" fmla="*/ 0 w 34"/>
                  <a:gd name="T27" fmla="*/ 16 h 22"/>
                  <a:gd name="T28" fmla="*/ 0 w 34"/>
                  <a:gd name="T29" fmla="*/ 16 h 22"/>
                  <a:gd name="T30" fmla="*/ 2 w 34"/>
                  <a:gd name="T31" fmla="*/ 18 h 22"/>
                  <a:gd name="T32" fmla="*/ 2 w 34"/>
                  <a:gd name="T33" fmla="*/ 18 h 22"/>
                  <a:gd name="T34" fmla="*/ 4 w 34"/>
                  <a:gd name="T35" fmla="*/ 18 h 22"/>
                  <a:gd name="T36" fmla="*/ 4 w 34"/>
                  <a:gd name="T37" fmla="*/ 20 h 22"/>
                  <a:gd name="T38" fmla="*/ 8 w 34"/>
                  <a:gd name="T39" fmla="*/ 20 h 22"/>
                  <a:gd name="T40" fmla="*/ 10 w 34"/>
                  <a:gd name="T41" fmla="*/ 22 h 22"/>
                  <a:gd name="T42" fmla="*/ 12 w 34"/>
                  <a:gd name="T43" fmla="*/ 22 h 22"/>
                  <a:gd name="T44" fmla="*/ 16 w 34"/>
                  <a:gd name="T45" fmla="*/ 22 h 22"/>
                  <a:gd name="T46" fmla="*/ 18 w 34"/>
                  <a:gd name="T47" fmla="*/ 22 h 22"/>
                  <a:gd name="T48" fmla="*/ 20 w 34"/>
                  <a:gd name="T49" fmla="*/ 22 h 22"/>
                  <a:gd name="T50" fmla="*/ 22 w 34"/>
                  <a:gd name="T51" fmla="*/ 22 h 22"/>
                  <a:gd name="T52" fmla="*/ 24 w 34"/>
                  <a:gd name="T53" fmla="*/ 20 h 22"/>
                  <a:gd name="T54" fmla="*/ 26 w 34"/>
                  <a:gd name="T55" fmla="*/ 20 h 22"/>
                  <a:gd name="T56" fmla="*/ 28 w 34"/>
                  <a:gd name="T57" fmla="*/ 18 h 22"/>
                  <a:gd name="T58" fmla="*/ 30 w 34"/>
                  <a:gd name="T59" fmla="*/ 18 h 22"/>
                  <a:gd name="T60" fmla="*/ 32 w 34"/>
                  <a:gd name="T61" fmla="*/ 16 h 22"/>
                  <a:gd name="T62" fmla="*/ 32 w 34"/>
                  <a:gd name="T63" fmla="*/ 16 h 22"/>
                  <a:gd name="T64" fmla="*/ 32 w 34"/>
                  <a:gd name="T65" fmla="*/ 14 h 22"/>
                  <a:gd name="T66" fmla="*/ 32 w 34"/>
                  <a:gd name="T67" fmla="*/ 14 h 22"/>
                  <a:gd name="T68" fmla="*/ 34 w 34"/>
                  <a:gd name="T69" fmla="*/ 12 h 22"/>
                  <a:gd name="T70" fmla="*/ 32 w 34"/>
                  <a:gd name="T71" fmla="*/ 10 h 22"/>
                  <a:gd name="T72" fmla="*/ 32 w 34"/>
                  <a:gd name="T73" fmla="*/ 8 h 22"/>
                  <a:gd name="T74" fmla="*/ 32 w 34"/>
                  <a:gd name="T75" fmla="*/ 6 h 22"/>
                  <a:gd name="T76" fmla="*/ 32 w 34"/>
                  <a:gd name="T77" fmla="*/ 6 h 22"/>
                  <a:gd name="T78" fmla="*/ 30 w 34"/>
                  <a:gd name="T79" fmla="*/ 4 h 22"/>
                  <a:gd name="T80" fmla="*/ 30 w 34"/>
                  <a:gd name="T81" fmla="*/ 2 h 22"/>
                  <a:gd name="T82" fmla="*/ 30 w 34"/>
                  <a:gd name="T83" fmla="*/ 2 h 22"/>
                  <a:gd name="T84" fmla="*/ 28 w 34"/>
                  <a:gd name="T85" fmla="*/ 2 h 22"/>
                  <a:gd name="T86" fmla="*/ 26 w 34"/>
                  <a:gd name="T87" fmla="*/ 0 h 22"/>
                  <a:gd name="T88" fmla="*/ 24 w 34"/>
                  <a:gd name="T89" fmla="*/ 0 h 22"/>
                  <a:gd name="T90" fmla="*/ 22 w 34"/>
                  <a:gd name="T91" fmla="*/ 0 h 22"/>
                  <a:gd name="T92" fmla="*/ 18 w 34"/>
                  <a:gd name="T93" fmla="*/ 0 h 22"/>
                  <a:gd name="T94" fmla="*/ 16 w 34"/>
                  <a:gd name="T95" fmla="*/ 0 h 22"/>
                  <a:gd name="T96" fmla="*/ 14 w 34"/>
                  <a:gd name="T97" fmla="*/ 0 h 22"/>
                  <a:gd name="T98" fmla="*/ 12 w 34"/>
                  <a:gd name="T9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22">
                    <a:moveTo>
                      <a:pt x="12" y="0"/>
                    </a:moveTo>
                    <a:lnTo>
                      <a:pt x="12" y="0"/>
                    </a:lnTo>
                    <a:lnTo>
                      <a:pt x="10" y="2"/>
                    </a:lnTo>
                    <a:lnTo>
                      <a:pt x="8" y="2"/>
                    </a:lnTo>
                    <a:lnTo>
                      <a:pt x="6" y="4"/>
                    </a:lnTo>
                    <a:lnTo>
                      <a:pt x="4" y="6"/>
                    </a:lnTo>
                    <a:lnTo>
                      <a:pt x="2" y="8"/>
                    </a:lnTo>
                    <a:lnTo>
                      <a:pt x="2" y="10"/>
                    </a:lnTo>
                    <a:lnTo>
                      <a:pt x="0" y="10"/>
                    </a:lnTo>
                    <a:lnTo>
                      <a:pt x="0" y="12"/>
                    </a:lnTo>
                    <a:lnTo>
                      <a:pt x="0" y="12"/>
                    </a:lnTo>
                    <a:lnTo>
                      <a:pt x="0" y="14"/>
                    </a:lnTo>
                    <a:lnTo>
                      <a:pt x="0" y="14"/>
                    </a:lnTo>
                    <a:lnTo>
                      <a:pt x="0" y="16"/>
                    </a:lnTo>
                    <a:lnTo>
                      <a:pt x="0" y="16"/>
                    </a:lnTo>
                    <a:lnTo>
                      <a:pt x="2" y="18"/>
                    </a:lnTo>
                    <a:lnTo>
                      <a:pt x="2" y="18"/>
                    </a:lnTo>
                    <a:lnTo>
                      <a:pt x="4" y="18"/>
                    </a:lnTo>
                    <a:lnTo>
                      <a:pt x="4" y="20"/>
                    </a:lnTo>
                    <a:lnTo>
                      <a:pt x="8" y="20"/>
                    </a:lnTo>
                    <a:lnTo>
                      <a:pt x="10" y="22"/>
                    </a:lnTo>
                    <a:lnTo>
                      <a:pt x="12" y="22"/>
                    </a:lnTo>
                    <a:lnTo>
                      <a:pt x="16" y="22"/>
                    </a:lnTo>
                    <a:lnTo>
                      <a:pt x="18" y="22"/>
                    </a:lnTo>
                    <a:lnTo>
                      <a:pt x="20" y="22"/>
                    </a:lnTo>
                    <a:lnTo>
                      <a:pt x="22" y="22"/>
                    </a:lnTo>
                    <a:lnTo>
                      <a:pt x="24" y="20"/>
                    </a:lnTo>
                    <a:lnTo>
                      <a:pt x="26" y="20"/>
                    </a:lnTo>
                    <a:lnTo>
                      <a:pt x="28" y="18"/>
                    </a:lnTo>
                    <a:lnTo>
                      <a:pt x="30" y="18"/>
                    </a:lnTo>
                    <a:lnTo>
                      <a:pt x="32" y="16"/>
                    </a:lnTo>
                    <a:lnTo>
                      <a:pt x="32" y="16"/>
                    </a:lnTo>
                    <a:lnTo>
                      <a:pt x="32" y="14"/>
                    </a:lnTo>
                    <a:lnTo>
                      <a:pt x="32" y="14"/>
                    </a:lnTo>
                    <a:lnTo>
                      <a:pt x="34" y="12"/>
                    </a:lnTo>
                    <a:lnTo>
                      <a:pt x="32" y="10"/>
                    </a:lnTo>
                    <a:lnTo>
                      <a:pt x="32" y="8"/>
                    </a:lnTo>
                    <a:lnTo>
                      <a:pt x="32" y="6"/>
                    </a:lnTo>
                    <a:lnTo>
                      <a:pt x="32" y="6"/>
                    </a:lnTo>
                    <a:lnTo>
                      <a:pt x="30" y="4"/>
                    </a:lnTo>
                    <a:lnTo>
                      <a:pt x="30" y="2"/>
                    </a:lnTo>
                    <a:lnTo>
                      <a:pt x="30" y="2"/>
                    </a:lnTo>
                    <a:lnTo>
                      <a:pt x="28" y="2"/>
                    </a:lnTo>
                    <a:lnTo>
                      <a:pt x="26" y="0"/>
                    </a:lnTo>
                    <a:lnTo>
                      <a:pt x="24" y="0"/>
                    </a:lnTo>
                    <a:lnTo>
                      <a:pt x="22" y="0"/>
                    </a:lnTo>
                    <a:lnTo>
                      <a:pt x="18" y="0"/>
                    </a:lnTo>
                    <a:lnTo>
                      <a:pt x="16" y="0"/>
                    </a:lnTo>
                    <a:lnTo>
                      <a:pt x="14" y="0"/>
                    </a:lnTo>
                    <a:lnTo>
                      <a:pt x="12"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47" name="Gruppieren 679">
              <a:extLst>
                <a:ext uri="{FF2B5EF4-FFF2-40B4-BE49-F238E27FC236}">
                  <a16:creationId xmlns:a16="http://schemas.microsoft.com/office/drawing/2014/main" id="{9F6ABBE2-3F95-447E-824E-A2992FAFD46F}"/>
                </a:ext>
              </a:extLst>
            </p:cNvPr>
            <p:cNvGrpSpPr/>
            <p:nvPr/>
          </p:nvGrpSpPr>
          <p:grpSpPr>
            <a:xfrm>
              <a:off x="4899687" y="1802144"/>
              <a:ext cx="3637358" cy="1551939"/>
              <a:chOff x="4888203" y="2184567"/>
              <a:chExt cx="3333750" cy="1422400"/>
            </a:xfrm>
            <a:grpFill/>
          </p:grpSpPr>
          <p:sp>
            <p:nvSpPr>
              <p:cNvPr id="486" name="Freeform 160">
                <a:extLst>
                  <a:ext uri="{FF2B5EF4-FFF2-40B4-BE49-F238E27FC236}">
                    <a16:creationId xmlns:a16="http://schemas.microsoft.com/office/drawing/2014/main" id="{982024A5-7C1E-481A-9CC6-AA70CB688DDB}"/>
                  </a:ext>
                </a:extLst>
              </p:cNvPr>
              <p:cNvSpPr>
                <a:spLocks/>
              </p:cNvSpPr>
              <p:nvPr/>
            </p:nvSpPr>
            <p:spPr bwMode="auto">
              <a:xfrm>
                <a:off x="5275553" y="2692567"/>
                <a:ext cx="34925" cy="38100"/>
              </a:xfrm>
              <a:custGeom>
                <a:avLst/>
                <a:gdLst>
                  <a:gd name="T0" fmla="*/ 10 w 22"/>
                  <a:gd name="T1" fmla="*/ 0 h 24"/>
                  <a:gd name="T2" fmla="*/ 10 w 22"/>
                  <a:gd name="T3" fmla="*/ 0 h 24"/>
                  <a:gd name="T4" fmla="*/ 10 w 22"/>
                  <a:gd name="T5" fmla="*/ 2 h 24"/>
                  <a:gd name="T6" fmla="*/ 10 w 22"/>
                  <a:gd name="T7" fmla="*/ 2 h 24"/>
                  <a:gd name="T8" fmla="*/ 8 w 22"/>
                  <a:gd name="T9" fmla="*/ 2 h 24"/>
                  <a:gd name="T10" fmla="*/ 8 w 22"/>
                  <a:gd name="T11" fmla="*/ 2 h 24"/>
                  <a:gd name="T12" fmla="*/ 6 w 22"/>
                  <a:gd name="T13" fmla="*/ 4 h 24"/>
                  <a:gd name="T14" fmla="*/ 4 w 22"/>
                  <a:gd name="T15" fmla="*/ 6 h 24"/>
                  <a:gd name="T16" fmla="*/ 2 w 22"/>
                  <a:gd name="T17" fmla="*/ 8 h 24"/>
                  <a:gd name="T18" fmla="*/ 0 w 22"/>
                  <a:gd name="T19" fmla="*/ 10 h 24"/>
                  <a:gd name="T20" fmla="*/ 0 w 22"/>
                  <a:gd name="T21" fmla="*/ 12 h 24"/>
                  <a:gd name="T22" fmla="*/ 0 w 22"/>
                  <a:gd name="T23" fmla="*/ 12 h 24"/>
                  <a:gd name="T24" fmla="*/ 0 w 22"/>
                  <a:gd name="T25" fmla="*/ 14 h 24"/>
                  <a:gd name="T26" fmla="*/ 0 w 22"/>
                  <a:gd name="T27" fmla="*/ 14 h 24"/>
                  <a:gd name="T28" fmla="*/ 0 w 22"/>
                  <a:gd name="T29" fmla="*/ 16 h 24"/>
                  <a:gd name="T30" fmla="*/ 0 w 22"/>
                  <a:gd name="T31" fmla="*/ 18 h 24"/>
                  <a:gd name="T32" fmla="*/ 0 w 22"/>
                  <a:gd name="T33" fmla="*/ 20 h 24"/>
                  <a:gd name="T34" fmla="*/ 2 w 22"/>
                  <a:gd name="T35" fmla="*/ 20 h 24"/>
                  <a:gd name="T36" fmla="*/ 2 w 22"/>
                  <a:gd name="T37" fmla="*/ 22 h 24"/>
                  <a:gd name="T38" fmla="*/ 4 w 22"/>
                  <a:gd name="T39" fmla="*/ 22 h 24"/>
                  <a:gd name="T40" fmla="*/ 4 w 22"/>
                  <a:gd name="T41" fmla="*/ 24 h 24"/>
                  <a:gd name="T42" fmla="*/ 6 w 22"/>
                  <a:gd name="T43" fmla="*/ 24 h 24"/>
                  <a:gd name="T44" fmla="*/ 6 w 22"/>
                  <a:gd name="T45" fmla="*/ 24 h 24"/>
                  <a:gd name="T46" fmla="*/ 8 w 22"/>
                  <a:gd name="T47" fmla="*/ 24 h 24"/>
                  <a:gd name="T48" fmla="*/ 8 w 22"/>
                  <a:gd name="T49" fmla="*/ 24 h 24"/>
                  <a:gd name="T50" fmla="*/ 10 w 22"/>
                  <a:gd name="T51" fmla="*/ 24 h 24"/>
                  <a:gd name="T52" fmla="*/ 12 w 22"/>
                  <a:gd name="T53" fmla="*/ 24 h 24"/>
                  <a:gd name="T54" fmla="*/ 12 w 22"/>
                  <a:gd name="T55" fmla="*/ 22 h 24"/>
                  <a:gd name="T56" fmla="*/ 14 w 22"/>
                  <a:gd name="T57" fmla="*/ 22 h 24"/>
                  <a:gd name="T58" fmla="*/ 14 w 22"/>
                  <a:gd name="T59" fmla="*/ 22 h 24"/>
                  <a:gd name="T60" fmla="*/ 16 w 22"/>
                  <a:gd name="T61" fmla="*/ 20 h 24"/>
                  <a:gd name="T62" fmla="*/ 18 w 22"/>
                  <a:gd name="T63" fmla="*/ 18 h 24"/>
                  <a:gd name="T64" fmla="*/ 20 w 22"/>
                  <a:gd name="T65" fmla="*/ 16 h 24"/>
                  <a:gd name="T66" fmla="*/ 20 w 22"/>
                  <a:gd name="T67" fmla="*/ 14 h 24"/>
                  <a:gd name="T68" fmla="*/ 22 w 22"/>
                  <a:gd name="T69" fmla="*/ 14 h 24"/>
                  <a:gd name="T70" fmla="*/ 22 w 22"/>
                  <a:gd name="T71" fmla="*/ 12 h 24"/>
                  <a:gd name="T72" fmla="*/ 22 w 22"/>
                  <a:gd name="T73" fmla="*/ 12 h 24"/>
                  <a:gd name="T74" fmla="*/ 22 w 22"/>
                  <a:gd name="T75" fmla="*/ 10 h 24"/>
                  <a:gd name="T76" fmla="*/ 22 w 22"/>
                  <a:gd name="T77" fmla="*/ 10 h 24"/>
                  <a:gd name="T78" fmla="*/ 22 w 22"/>
                  <a:gd name="T79" fmla="*/ 10 h 24"/>
                  <a:gd name="T80" fmla="*/ 22 w 22"/>
                  <a:gd name="T81" fmla="*/ 8 h 24"/>
                  <a:gd name="T82" fmla="*/ 20 w 22"/>
                  <a:gd name="T83" fmla="*/ 6 h 24"/>
                  <a:gd name="T84" fmla="*/ 20 w 22"/>
                  <a:gd name="T85" fmla="*/ 6 h 24"/>
                  <a:gd name="T86" fmla="*/ 18 w 22"/>
                  <a:gd name="T87" fmla="*/ 4 h 24"/>
                  <a:gd name="T88" fmla="*/ 16 w 22"/>
                  <a:gd name="T89" fmla="*/ 2 h 24"/>
                  <a:gd name="T90" fmla="*/ 14 w 22"/>
                  <a:gd name="T91" fmla="*/ 2 h 24"/>
                  <a:gd name="T92" fmla="*/ 12 w 22"/>
                  <a:gd name="T93" fmla="*/ 2 h 24"/>
                  <a:gd name="T94" fmla="*/ 12 w 22"/>
                  <a:gd name="T95" fmla="*/ 0 h 24"/>
                  <a:gd name="T96" fmla="*/ 10 w 22"/>
                  <a:gd name="T9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 h="24">
                    <a:moveTo>
                      <a:pt x="10" y="0"/>
                    </a:moveTo>
                    <a:lnTo>
                      <a:pt x="10" y="0"/>
                    </a:lnTo>
                    <a:lnTo>
                      <a:pt x="10" y="2"/>
                    </a:lnTo>
                    <a:lnTo>
                      <a:pt x="10" y="2"/>
                    </a:lnTo>
                    <a:lnTo>
                      <a:pt x="8" y="2"/>
                    </a:lnTo>
                    <a:lnTo>
                      <a:pt x="8" y="2"/>
                    </a:lnTo>
                    <a:lnTo>
                      <a:pt x="6" y="4"/>
                    </a:lnTo>
                    <a:lnTo>
                      <a:pt x="4" y="6"/>
                    </a:lnTo>
                    <a:lnTo>
                      <a:pt x="2" y="8"/>
                    </a:lnTo>
                    <a:lnTo>
                      <a:pt x="0" y="10"/>
                    </a:lnTo>
                    <a:lnTo>
                      <a:pt x="0" y="12"/>
                    </a:lnTo>
                    <a:lnTo>
                      <a:pt x="0" y="12"/>
                    </a:lnTo>
                    <a:lnTo>
                      <a:pt x="0" y="14"/>
                    </a:lnTo>
                    <a:lnTo>
                      <a:pt x="0" y="14"/>
                    </a:lnTo>
                    <a:lnTo>
                      <a:pt x="0" y="16"/>
                    </a:lnTo>
                    <a:lnTo>
                      <a:pt x="0" y="18"/>
                    </a:lnTo>
                    <a:lnTo>
                      <a:pt x="0" y="20"/>
                    </a:lnTo>
                    <a:lnTo>
                      <a:pt x="2" y="20"/>
                    </a:lnTo>
                    <a:lnTo>
                      <a:pt x="2" y="22"/>
                    </a:lnTo>
                    <a:lnTo>
                      <a:pt x="4" y="22"/>
                    </a:lnTo>
                    <a:lnTo>
                      <a:pt x="4" y="24"/>
                    </a:lnTo>
                    <a:lnTo>
                      <a:pt x="6" y="24"/>
                    </a:lnTo>
                    <a:lnTo>
                      <a:pt x="6" y="24"/>
                    </a:lnTo>
                    <a:lnTo>
                      <a:pt x="8" y="24"/>
                    </a:lnTo>
                    <a:lnTo>
                      <a:pt x="8" y="24"/>
                    </a:lnTo>
                    <a:lnTo>
                      <a:pt x="10" y="24"/>
                    </a:lnTo>
                    <a:lnTo>
                      <a:pt x="12" y="24"/>
                    </a:lnTo>
                    <a:lnTo>
                      <a:pt x="12" y="22"/>
                    </a:lnTo>
                    <a:lnTo>
                      <a:pt x="14" y="22"/>
                    </a:lnTo>
                    <a:lnTo>
                      <a:pt x="14" y="22"/>
                    </a:lnTo>
                    <a:lnTo>
                      <a:pt x="16" y="20"/>
                    </a:lnTo>
                    <a:lnTo>
                      <a:pt x="18" y="18"/>
                    </a:lnTo>
                    <a:lnTo>
                      <a:pt x="20" y="16"/>
                    </a:lnTo>
                    <a:lnTo>
                      <a:pt x="20" y="14"/>
                    </a:lnTo>
                    <a:lnTo>
                      <a:pt x="22" y="14"/>
                    </a:lnTo>
                    <a:lnTo>
                      <a:pt x="22" y="12"/>
                    </a:lnTo>
                    <a:lnTo>
                      <a:pt x="22" y="12"/>
                    </a:lnTo>
                    <a:lnTo>
                      <a:pt x="22" y="10"/>
                    </a:lnTo>
                    <a:lnTo>
                      <a:pt x="22" y="10"/>
                    </a:lnTo>
                    <a:lnTo>
                      <a:pt x="22" y="10"/>
                    </a:lnTo>
                    <a:lnTo>
                      <a:pt x="22" y="8"/>
                    </a:lnTo>
                    <a:lnTo>
                      <a:pt x="20" y="6"/>
                    </a:lnTo>
                    <a:lnTo>
                      <a:pt x="20" y="6"/>
                    </a:lnTo>
                    <a:lnTo>
                      <a:pt x="18" y="4"/>
                    </a:lnTo>
                    <a:lnTo>
                      <a:pt x="16" y="2"/>
                    </a:lnTo>
                    <a:lnTo>
                      <a:pt x="14" y="2"/>
                    </a:lnTo>
                    <a:lnTo>
                      <a:pt x="12" y="2"/>
                    </a:lnTo>
                    <a:lnTo>
                      <a:pt x="12" y="0"/>
                    </a:lnTo>
                    <a:lnTo>
                      <a:pt x="10"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7" name="Freeform 162">
                <a:extLst>
                  <a:ext uri="{FF2B5EF4-FFF2-40B4-BE49-F238E27FC236}">
                    <a16:creationId xmlns:a16="http://schemas.microsoft.com/office/drawing/2014/main" id="{35C3A430-4B0F-4C9F-B18F-01BF82477CA8}"/>
                  </a:ext>
                </a:extLst>
              </p:cNvPr>
              <p:cNvSpPr>
                <a:spLocks/>
              </p:cNvSpPr>
              <p:nvPr/>
            </p:nvSpPr>
            <p:spPr bwMode="auto">
              <a:xfrm>
                <a:off x="5453353" y="2660817"/>
                <a:ext cx="50800" cy="25400"/>
              </a:xfrm>
              <a:custGeom>
                <a:avLst/>
                <a:gdLst>
                  <a:gd name="T0" fmla="*/ 28 w 32"/>
                  <a:gd name="T1" fmla="*/ 4 h 16"/>
                  <a:gd name="T2" fmla="*/ 28 w 32"/>
                  <a:gd name="T3" fmla="*/ 4 h 16"/>
                  <a:gd name="T4" fmla="*/ 26 w 32"/>
                  <a:gd name="T5" fmla="*/ 4 h 16"/>
                  <a:gd name="T6" fmla="*/ 24 w 32"/>
                  <a:gd name="T7" fmla="*/ 2 h 16"/>
                  <a:gd name="T8" fmla="*/ 24 w 32"/>
                  <a:gd name="T9" fmla="*/ 2 h 16"/>
                  <a:gd name="T10" fmla="*/ 22 w 32"/>
                  <a:gd name="T11" fmla="*/ 0 h 16"/>
                  <a:gd name="T12" fmla="*/ 20 w 32"/>
                  <a:gd name="T13" fmla="*/ 0 h 16"/>
                  <a:gd name="T14" fmla="*/ 18 w 32"/>
                  <a:gd name="T15" fmla="*/ 0 h 16"/>
                  <a:gd name="T16" fmla="*/ 16 w 32"/>
                  <a:gd name="T17" fmla="*/ 0 h 16"/>
                  <a:gd name="T18" fmla="*/ 14 w 32"/>
                  <a:gd name="T19" fmla="*/ 0 h 16"/>
                  <a:gd name="T20" fmla="*/ 14 w 32"/>
                  <a:gd name="T21" fmla="*/ 0 h 16"/>
                  <a:gd name="T22" fmla="*/ 12 w 32"/>
                  <a:gd name="T23" fmla="*/ 0 h 16"/>
                  <a:gd name="T24" fmla="*/ 10 w 32"/>
                  <a:gd name="T25" fmla="*/ 2 h 16"/>
                  <a:gd name="T26" fmla="*/ 8 w 32"/>
                  <a:gd name="T27" fmla="*/ 2 h 16"/>
                  <a:gd name="T28" fmla="*/ 6 w 32"/>
                  <a:gd name="T29" fmla="*/ 4 h 16"/>
                  <a:gd name="T30" fmla="*/ 4 w 32"/>
                  <a:gd name="T31" fmla="*/ 6 h 16"/>
                  <a:gd name="T32" fmla="*/ 2 w 32"/>
                  <a:gd name="T33" fmla="*/ 8 h 16"/>
                  <a:gd name="T34" fmla="*/ 2 w 32"/>
                  <a:gd name="T35" fmla="*/ 8 h 16"/>
                  <a:gd name="T36" fmla="*/ 2 w 32"/>
                  <a:gd name="T37" fmla="*/ 8 h 16"/>
                  <a:gd name="T38" fmla="*/ 0 w 32"/>
                  <a:gd name="T39" fmla="*/ 10 h 16"/>
                  <a:gd name="T40" fmla="*/ 0 w 32"/>
                  <a:gd name="T41" fmla="*/ 10 h 16"/>
                  <a:gd name="T42" fmla="*/ 0 w 32"/>
                  <a:gd name="T43" fmla="*/ 12 h 16"/>
                  <a:gd name="T44" fmla="*/ 2 w 32"/>
                  <a:gd name="T45" fmla="*/ 12 h 16"/>
                  <a:gd name="T46" fmla="*/ 2 w 32"/>
                  <a:gd name="T47" fmla="*/ 12 h 16"/>
                  <a:gd name="T48" fmla="*/ 2 w 32"/>
                  <a:gd name="T49" fmla="*/ 12 h 16"/>
                  <a:gd name="T50" fmla="*/ 2 w 32"/>
                  <a:gd name="T51" fmla="*/ 12 h 16"/>
                  <a:gd name="T52" fmla="*/ 4 w 32"/>
                  <a:gd name="T53" fmla="*/ 12 h 16"/>
                  <a:gd name="T54" fmla="*/ 4 w 32"/>
                  <a:gd name="T55" fmla="*/ 14 h 16"/>
                  <a:gd name="T56" fmla="*/ 8 w 32"/>
                  <a:gd name="T57" fmla="*/ 12 h 16"/>
                  <a:gd name="T58" fmla="*/ 10 w 32"/>
                  <a:gd name="T59" fmla="*/ 12 h 16"/>
                  <a:gd name="T60" fmla="*/ 10 w 32"/>
                  <a:gd name="T61" fmla="*/ 12 h 16"/>
                  <a:gd name="T62" fmla="*/ 12 w 32"/>
                  <a:gd name="T63" fmla="*/ 14 h 16"/>
                  <a:gd name="T64" fmla="*/ 16 w 32"/>
                  <a:gd name="T65" fmla="*/ 14 h 16"/>
                  <a:gd name="T66" fmla="*/ 18 w 32"/>
                  <a:gd name="T67" fmla="*/ 16 h 16"/>
                  <a:gd name="T68" fmla="*/ 22 w 32"/>
                  <a:gd name="T69" fmla="*/ 16 h 16"/>
                  <a:gd name="T70" fmla="*/ 26 w 32"/>
                  <a:gd name="T71" fmla="*/ 16 h 16"/>
                  <a:gd name="T72" fmla="*/ 28 w 32"/>
                  <a:gd name="T73" fmla="*/ 16 h 16"/>
                  <a:gd name="T74" fmla="*/ 28 w 32"/>
                  <a:gd name="T75" fmla="*/ 16 h 16"/>
                  <a:gd name="T76" fmla="*/ 30 w 32"/>
                  <a:gd name="T77" fmla="*/ 16 h 16"/>
                  <a:gd name="T78" fmla="*/ 30 w 32"/>
                  <a:gd name="T79" fmla="*/ 16 h 16"/>
                  <a:gd name="T80" fmla="*/ 32 w 32"/>
                  <a:gd name="T81" fmla="*/ 16 h 16"/>
                  <a:gd name="T82" fmla="*/ 32 w 32"/>
                  <a:gd name="T83" fmla="*/ 16 h 16"/>
                  <a:gd name="T84" fmla="*/ 32 w 32"/>
                  <a:gd name="T85" fmla="*/ 14 h 16"/>
                  <a:gd name="T86" fmla="*/ 32 w 32"/>
                  <a:gd name="T87" fmla="*/ 14 h 16"/>
                  <a:gd name="T88" fmla="*/ 32 w 32"/>
                  <a:gd name="T89" fmla="*/ 14 h 16"/>
                  <a:gd name="T90" fmla="*/ 32 w 32"/>
                  <a:gd name="T91" fmla="*/ 12 h 16"/>
                  <a:gd name="T92" fmla="*/ 32 w 32"/>
                  <a:gd name="T93" fmla="*/ 12 h 16"/>
                  <a:gd name="T94" fmla="*/ 32 w 32"/>
                  <a:gd name="T95" fmla="*/ 10 h 16"/>
                  <a:gd name="T96" fmla="*/ 30 w 32"/>
                  <a:gd name="T97" fmla="*/ 8 h 16"/>
                  <a:gd name="T98" fmla="*/ 30 w 32"/>
                  <a:gd name="T99" fmla="*/ 6 h 16"/>
                  <a:gd name="T100" fmla="*/ 28 w 32"/>
                  <a:gd name="T101" fmla="*/ 6 h 16"/>
                  <a:gd name="T102" fmla="*/ 28 w 32"/>
                  <a:gd name="T103"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16">
                    <a:moveTo>
                      <a:pt x="28" y="4"/>
                    </a:moveTo>
                    <a:lnTo>
                      <a:pt x="28" y="4"/>
                    </a:lnTo>
                    <a:lnTo>
                      <a:pt x="26" y="4"/>
                    </a:lnTo>
                    <a:lnTo>
                      <a:pt x="24" y="2"/>
                    </a:lnTo>
                    <a:lnTo>
                      <a:pt x="24" y="2"/>
                    </a:lnTo>
                    <a:lnTo>
                      <a:pt x="22" y="0"/>
                    </a:lnTo>
                    <a:lnTo>
                      <a:pt x="20" y="0"/>
                    </a:lnTo>
                    <a:lnTo>
                      <a:pt x="18" y="0"/>
                    </a:lnTo>
                    <a:lnTo>
                      <a:pt x="16" y="0"/>
                    </a:lnTo>
                    <a:lnTo>
                      <a:pt x="14" y="0"/>
                    </a:lnTo>
                    <a:lnTo>
                      <a:pt x="14" y="0"/>
                    </a:lnTo>
                    <a:lnTo>
                      <a:pt x="12" y="0"/>
                    </a:lnTo>
                    <a:lnTo>
                      <a:pt x="10" y="2"/>
                    </a:lnTo>
                    <a:lnTo>
                      <a:pt x="8" y="2"/>
                    </a:lnTo>
                    <a:lnTo>
                      <a:pt x="6" y="4"/>
                    </a:lnTo>
                    <a:lnTo>
                      <a:pt x="4" y="6"/>
                    </a:lnTo>
                    <a:lnTo>
                      <a:pt x="2" y="8"/>
                    </a:lnTo>
                    <a:lnTo>
                      <a:pt x="2" y="8"/>
                    </a:lnTo>
                    <a:lnTo>
                      <a:pt x="2" y="8"/>
                    </a:lnTo>
                    <a:lnTo>
                      <a:pt x="0" y="10"/>
                    </a:lnTo>
                    <a:lnTo>
                      <a:pt x="0" y="10"/>
                    </a:lnTo>
                    <a:lnTo>
                      <a:pt x="0" y="12"/>
                    </a:lnTo>
                    <a:lnTo>
                      <a:pt x="2" y="12"/>
                    </a:lnTo>
                    <a:lnTo>
                      <a:pt x="2" y="12"/>
                    </a:lnTo>
                    <a:lnTo>
                      <a:pt x="2" y="12"/>
                    </a:lnTo>
                    <a:lnTo>
                      <a:pt x="2" y="12"/>
                    </a:lnTo>
                    <a:lnTo>
                      <a:pt x="4" y="12"/>
                    </a:lnTo>
                    <a:lnTo>
                      <a:pt x="4" y="14"/>
                    </a:lnTo>
                    <a:lnTo>
                      <a:pt x="8" y="12"/>
                    </a:lnTo>
                    <a:lnTo>
                      <a:pt x="10" y="12"/>
                    </a:lnTo>
                    <a:lnTo>
                      <a:pt x="10" y="12"/>
                    </a:lnTo>
                    <a:lnTo>
                      <a:pt x="12" y="14"/>
                    </a:lnTo>
                    <a:lnTo>
                      <a:pt x="16" y="14"/>
                    </a:lnTo>
                    <a:lnTo>
                      <a:pt x="18" y="16"/>
                    </a:lnTo>
                    <a:lnTo>
                      <a:pt x="22" y="16"/>
                    </a:lnTo>
                    <a:lnTo>
                      <a:pt x="26" y="16"/>
                    </a:lnTo>
                    <a:lnTo>
                      <a:pt x="28" y="16"/>
                    </a:lnTo>
                    <a:lnTo>
                      <a:pt x="28" y="16"/>
                    </a:lnTo>
                    <a:lnTo>
                      <a:pt x="30" y="16"/>
                    </a:lnTo>
                    <a:lnTo>
                      <a:pt x="30" y="16"/>
                    </a:lnTo>
                    <a:lnTo>
                      <a:pt x="32" y="16"/>
                    </a:lnTo>
                    <a:lnTo>
                      <a:pt x="32" y="16"/>
                    </a:lnTo>
                    <a:lnTo>
                      <a:pt x="32" y="14"/>
                    </a:lnTo>
                    <a:lnTo>
                      <a:pt x="32" y="14"/>
                    </a:lnTo>
                    <a:lnTo>
                      <a:pt x="32" y="14"/>
                    </a:lnTo>
                    <a:lnTo>
                      <a:pt x="32" y="12"/>
                    </a:lnTo>
                    <a:lnTo>
                      <a:pt x="32" y="12"/>
                    </a:lnTo>
                    <a:lnTo>
                      <a:pt x="32" y="10"/>
                    </a:lnTo>
                    <a:lnTo>
                      <a:pt x="30" y="8"/>
                    </a:lnTo>
                    <a:lnTo>
                      <a:pt x="30" y="6"/>
                    </a:lnTo>
                    <a:lnTo>
                      <a:pt x="28" y="6"/>
                    </a:lnTo>
                    <a:lnTo>
                      <a:pt x="28" y="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8" name="Freeform 164">
                <a:extLst>
                  <a:ext uri="{FF2B5EF4-FFF2-40B4-BE49-F238E27FC236}">
                    <a16:creationId xmlns:a16="http://schemas.microsoft.com/office/drawing/2014/main" id="{19DC5845-FC99-4EC3-ACC9-210AC2145272}"/>
                  </a:ext>
                </a:extLst>
              </p:cNvPr>
              <p:cNvSpPr>
                <a:spLocks/>
              </p:cNvSpPr>
              <p:nvPr/>
            </p:nvSpPr>
            <p:spPr bwMode="auto">
              <a:xfrm>
                <a:off x="5339053" y="2390942"/>
                <a:ext cx="311150" cy="269875"/>
              </a:xfrm>
              <a:custGeom>
                <a:avLst/>
                <a:gdLst>
                  <a:gd name="T0" fmla="*/ 50 w 196"/>
                  <a:gd name="T1" fmla="*/ 96 h 170"/>
                  <a:gd name="T2" fmla="*/ 60 w 196"/>
                  <a:gd name="T3" fmla="*/ 88 h 170"/>
                  <a:gd name="T4" fmla="*/ 66 w 196"/>
                  <a:gd name="T5" fmla="*/ 80 h 170"/>
                  <a:gd name="T6" fmla="*/ 86 w 196"/>
                  <a:gd name="T7" fmla="*/ 66 h 170"/>
                  <a:gd name="T8" fmla="*/ 106 w 196"/>
                  <a:gd name="T9" fmla="*/ 52 h 170"/>
                  <a:gd name="T10" fmla="*/ 126 w 196"/>
                  <a:gd name="T11" fmla="*/ 40 h 170"/>
                  <a:gd name="T12" fmla="*/ 160 w 196"/>
                  <a:gd name="T13" fmla="*/ 28 h 170"/>
                  <a:gd name="T14" fmla="*/ 184 w 196"/>
                  <a:gd name="T15" fmla="*/ 20 h 170"/>
                  <a:gd name="T16" fmla="*/ 194 w 196"/>
                  <a:gd name="T17" fmla="*/ 16 h 170"/>
                  <a:gd name="T18" fmla="*/ 196 w 196"/>
                  <a:gd name="T19" fmla="*/ 12 h 170"/>
                  <a:gd name="T20" fmla="*/ 192 w 196"/>
                  <a:gd name="T21" fmla="*/ 6 h 170"/>
                  <a:gd name="T22" fmla="*/ 184 w 196"/>
                  <a:gd name="T23" fmla="*/ 2 h 170"/>
                  <a:gd name="T24" fmla="*/ 170 w 196"/>
                  <a:gd name="T25" fmla="*/ 2 h 170"/>
                  <a:gd name="T26" fmla="*/ 160 w 196"/>
                  <a:gd name="T27" fmla="*/ 4 h 170"/>
                  <a:gd name="T28" fmla="*/ 150 w 196"/>
                  <a:gd name="T29" fmla="*/ 14 h 170"/>
                  <a:gd name="T30" fmla="*/ 136 w 196"/>
                  <a:gd name="T31" fmla="*/ 18 h 170"/>
                  <a:gd name="T32" fmla="*/ 110 w 196"/>
                  <a:gd name="T33" fmla="*/ 22 h 170"/>
                  <a:gd name="T34" fmla="*/ 98 w 196"/>
                  <a:gd name="T35" fmla="*/ 22 h 170"/>
                  <a:gd name="T36" fmla="*/ 92 w 196"/>
                  <a:gd name="T37" fmla="*/ 26 h 170"/>
                  <a:gd name="T38" fmla="*/ 84 w 196"/>
                  <a:gd name="T39" fmla="*/ 34 h 170"/>
                  <a:gd name="T40" fmla="*/ 76 w 196"/>
                  <a:gd name="T41" fmla="*/ 36 h 170"/>
                  <a:gd name="T42" fmla="*/ 68 w 196"/>
                  <a:gd name="T43" fmla="*/ 34 h 170"/>
                  <a:gd name="T44" fmla="*/ 64 w 196"/>
                  <a:gd name="T45" fmla="*/ 40 h 170"/>
                  <a:gd name="T46" fmla="*/ 60 w 196"/>
                  <a:gd name="T47" fmla="*/ 46 h 170"/>
                  <a:gd name="T48" fmla="*/ 54 w 196"/>
                  <a:gd name="T49" fmla="*/ 48 h 170"/>
                  <a:gd name="T50" fmla="*/ 38 w 196"/>
                  <a:gd name="T51" fmla="*/ 50 h 170"/>
                  <a:gd name="T52" fmla="*/ 32 w 196"/>
                  <a:gd name="T53" fmla="*/ 54 h 170"/>
                  <a:gd name="T54" fmla="*/ 30 w 196"/>
                  <a:gd name="T55" fmla="*/ 66 h 170"/>
                  <a:gd name="T56" fmla="*/ 30 w 196"/>
                  <a:gd name="T57" fmla="*/ 76 h 170"/>
                  <a:gd name="T58" fmla="*/ 28 w 196"/>
                  <a:gd name="T59" fmla="*/ 80 h 170"/>
                  <a:gd name="T60" fmla="*/ 24 w 196"/>
                  <a:gd name="T61" fmla="*/ 80 h 170"/>
                  <a:gd name="T62" fmla="*/ 18 w 196"/>
                  <a:gd name="T63" fmla="*/ 78 h 170"/>
                  <a:gd name="T64" fmla="*/ 16 w 196"/>
                  <a:gd name="T65" fmla="*/ 82 h 170"/>
                  <a:gd name="T66" fmla="*/ 18 w 196"/>
                  <a:gd name="T67" fmla="*/ 88 h 170"/>
                  <a:gd name="T68" fmla="*/ 16 w 196"/>
                  <a:gd name="T69" fmla="*/ 94 h 170"/>
                  <a:gd name="T70" fmla="*/ 8 w 196"/>
                  <a:gd name="T71" fmla="*/ 100 h 170"/>
                  <a:gd name="T72" fmla="*/ 4 w 196"/>
                  <a:gd name="T73" fmla="*/ 106 h 170"/>
                  <a:gd name="T74" fmla="*/ 2 w 196"/>
                  <a:gd name="T75" fmla="*/ 122 h 170"/>
                  <a:gd name="T76" fmla="*/ 0 w 196"/>
                  <a:gd name="T77" fmla="*/ 136 h 170"/>
                  <a:gd name="T78" fmla="*/ 2 w 196"/>
                  <a:gd name="T79" fmla="*/ 140 h 170"/>
                  <a:gd name="T80" fmla="*/ 12 w 196"/>
                  <a:gd name="T81" fmla="*/ 144 h 170"/>
                  <a:gd name="T82" fmla="*/ 16 w 196"/>
                  <a:gd name="T83" fmla="*/ 150 h 170"/>
                  <a:gd name="T84" fmla="*/ 22 w 196"/>
                  <a:gd name="T85" fmla="*/ 164 h 170"/>
                  <a:gd name="T86" fmla="*/ 26 w 196"/>
                  <a:gd name="T87" fmla="*/ 168 h 170"/>
                  <a:gd name="T88" fmla="*/ 40 w 196"/>
                  <a:gd name="T89" fmla="*/ 170 h 170"/>
                  <a:gd name="T90" fmla="*/ 60 w 196"/>
                  <a:gd name="T91" fmla="*/ 170 h 170"/>
                  <a:gd name="T92" fmla="*/ 68 w 196"/>
                  <a:gd name="T93" fmla="*/ 168 h 170"/>
                  <a:gd name="T94" fmla="*/ 70 w 196"/>
                  <a:gd name="T95" fmla="*/ 162 h 170"/>
                  <a:gd name="T96" fmla="*/ 70 w 196"/>
                  <a:gd name="T97" fmla="*/ 156 h 170"/>
                  <a:gd name="T98" fmla="*/ 58 w 196"/>
                  <a:gd name="T99" fmla="*/ 152 h 170"/>
                  <a:gd name="T100" fmla="*/ 48 w 196"/>
                  <a:gd name="T101" fmla="*/ 144 h 170"/>
                  <a:gd name="T102" fmla="*/ 44 w 196"/>
                  <a:gd name="T103" fmla="*/ 138 h 170"/>
                  <a:gd name="T104" fmla="*/ 44 w 196"/>
                  <a:gd name="T105" fmla="*/ 118 h 170"/>
                  <a:gd name="T106" fmla="*/ 48 w 196"/>
                  <a:gd name="T107" fmla="*/ 104 h 170"/>
                  <a:gd name="T108" fmla="*/ 48 w 196"/>
                  <a:gd name="T109" fmla="*/ 9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6" h="170">
                    <a:moveTo>
                      <a:pt x="48" y="98"/>
                    </a:moveTo>
                    <a:lnTo>
                      <a:pt x="48" y="98"/>
                    </a:lnTo>
                    <a:lnTo>
                      <a:pt x="48" y="98"/>
                    </a:lnTo>
                    <a:lnTo>
                      <a:pt x="50" y="98"/>
                    </a:lnTo>
                    <a:lnTo>
                      <a:pt x="50" y="96"/>
                    </a:lnTo>
                    <a:lnTo>
                      <a:pt x="52" y="94"/>
                    </a:lnTo>
                    <a:lnTo>
                      <a:pt x="54" y="94"/>
                    </a:lnTo>
                    <a:lnTo>
                      <a:pt x="58" y="90"/>
                    </a:lnTo>
                    <a:lnTo>
                      <a:pt x="58" y="90"/>
                    </a:lnTo>
                    <a:lnTo>
                      <a:pt x="60" y="88"/>
                    </a:lnTo>
                    <a:lnTo>
                      <a:pt x="62" y="86"/>
                    </a:lnTo>
                    <a:lnTo>
                      <a:pt x="62" y="86"/>
                    </a:lnTo>
                    <a:lnTo>
                      <a:pt x="64" y="84"/>
                    </a:lnTo>
                    <a:lnTo>
                      <a:pt x="66" y="82"/>
                    </a:lnTo>
                    <a:lnTo>
                      <a:pt x="66" y="80"/>
                    </a:lnTo>
                    <a:lnTo>
                      <a:pt x="68" y="78"/>
                    </a:lnTo>
                    <a:lnTo>
                      <a:pt x="74" y="74"/>
                    </a:lnTo>
                    <a:lnTo>
                      <a:pt x="78" y="72"/>
                    </a:lnTo>
                    <a:lnTo>
                      <a:pt x="82" y="68"/>
                    </a:lnTo>
                    <a:lnTo>
                      <a:pt x="86" y="66"/>
                    </a:lnTo>
                    <a:lnTo>
                      <a:pt x="92" y="62"/>
                    </a:lnTo>
                    <a:lnTo>
                      <a:pt x="98" y="60"/>
                    </a:lnTo>
                    <a:lnTo>
                      <a:pt x="102" y="56"/>
                    </a:lnTo>
                    <a:lnTo>
                      <a:pt x="104" y="54"/>
                    </a:lnTo>
                    <a:lnTo>
                      <a:pt x="106" y="52"/>
                    </a:lnTo>
                    <a:lnTo>
                      <a:pt x="112" y="48"/>
                    </a:lnTo>
                    <a:lnTo>
                      <a:pt x="120" y="44"/>
                    </a:lnTo>
                    <a:lnTo>
                      <a:pt x="122" y="42"/>
                    </a:lnTo>
                    <a:lnTo>
                      <a:pt x="124" y="40"/>
                    </a:lnTo>
                    <a:lnTo>
                      <a:pt x="126" y="40"/>
                    </a:lnTo>
                    <a:lnTo>
                      <a:pt x="128" y="38"/>
                    </a:lnTo>
                    <a:lnTo>
                      <a:pt x="132" y="38"/>
                    </a:lnTo>
                    <a:lnTo>
                      <a:pt x="138" y="36"/>
                    </a:lnTo>
                    <a:lnTo>
                      <a:pt x="152" y="30"/>
                    </a:lnTo>
                    <a:lnTo>
                      <a:pt x="160" y="28"/>
                    </a:lnTo>
                    <a:lnTo>
                      <a:pt x="166" y="26"/>
                    </a:lnTo>
                    <a:lnTo>
                      <a:pt x="170" y="24"/>
                    </a:lnTo>
                    <a:lnTo>
                      <a:pt x="176" y="22"/>
                    </a:lnTo>
                    <a:lnTo>
                      <a:pt x="182" y="20"/>
                    </a:lnTo>
                    <a:lnTo>
                      <a:pt x="184" y="20"/>
                    </a:lnTo>
                    <a:lnTo>
                      <a:pt x="186" y="18"/>
                    </a:lnTo>
                    <a:lnTo>
                      <a:pt x="188" y="18"/>
                    </a:lnTo>
                    <a:lnTo>
                      <a:pt x="192" y="16"/>
                    </a:lnTo>
                    <a:lnTo>
                      <a:pt x="192" y="16"/>
                    </a:lnTo>
                    <a:lnTo>
                      <a:pt x="194" y="16"/>
                    </a:lnTo>
                    <a:lnTo>
                      <a:pt x="194" y="14"/>
                    </a:lnTo>
                    <a:lnTo>
                      <a:pt x="196" y="14"/>
                    </a:lnTo>
                    <a:lnTo>
                      <a:pt x="196" y="14"/>
                    </a:lnTo>
                    <a:lnTo>
                      <a:pt x="196" y="14"/>
                    </a:lnTo>
                    <a:lnTo>
                      <a:pt x="196" y="12"/>
                    </a:lnTo>
                    <a:lnTo>
                      <a:pt x="194" y="12"/>
                    </a:lnTo>
                    <a:lnTo>
                      <a:pt x="194" y="10"/>
                    </a:lnTo>
                    <a:lnTo>
                      <a:pt x="194" y="8"/>
                    </a:lnTo>
                    <a:lnTo>
                      <a:pt x="192" y="6"/>
                    </a:lnTo>
                    <a:lnTo>
                      <a:pt x="192" y="6"/>
                    </a:lnTo>
                    <a:lnTo>
                      <a:pt x="190" y="4"/>
                    </a:lnTo>
                    <a:lnTo>
                      <a:pt x="188" y="4"/>
                    </a:lnTo>
                    <a:lnTo>
                      <a:pt x="188" y="2"/>
                    </a:lnTo>
                    <a:lnTo>
                      <a:pt x="186" y="2"/>
                    </a:lnTo>
                    <a:lnTo>
                      <a:pt x="184" y="2"/>
                    </a:lnTo>
                    <a:lnTo>
                      <a:pt x="184" y="2"/>
                    </a:lnTo>
                    <a:lnTo>
                      <a:pt x="180" y="2"/>
                    </a:lnTo>
                    <a:lnTo>
                      <a:pt x="176" y="0"/>
                    </a:lnTo>
                    <a:lnTo>
                      <a:pt x="172" y="0"/>
                    </a:lnTo>
                    <a:lnTo>
                      <a:pt x="170" y="2"/>
                    </a:lnTo>
                    <a:lnTo>
                      <a:pt x="166" y="2"/>
                    </a:lnTo>
                    <a:lnTo>
                      <a:pt x="164" y="2"/>
                    </a:lnTo>
                    <a:lnTo>
                      <a:pt x="162" y="2"/>
                    </a:lnTo>
                    <a:lnTo>
                      <a:pt x="162" y="4"/>
                    </a:lnTo>
                    <a:lnTo>
                      <a:pt x="160" y="4"/>
                    </a:lnTo>
                    <a:lnTo>
                      <a:pt x="158" y="6"/>
                    </a:lnTo>
                    <a:lnTo>
                      <a:pt x="156" y="8"/>
                    </a:lnTo>
                    <a:lnTo>
                      <a:pt x="152" y="12"/>
                    </a:lnTo>
                    <a:lnTo>
                      <a:pt x="150" y="14"/>
                    </a:lnTo>
                    <a:lnTo>
                      <a:pt x="150" y="14"/>
                    </a:lnTo>
                    <a:lnTo>
                      <a:pt x="148" y="14"/>
                    </a:lnTo>
                    <a:lnTo>
                      <a:pt x="146" y="16"/>
                    </a:lnTo>
                    <a:lnTo>
                      <a:pt x="144" y="18"/>
                    </a:lnTo>
                    <a:lnTo>
                      <a:pt x="140" y="18"/>
                    </a:lnTo>
                    <a:lnTo>
                      <a:pt x="136" y="18"/>
                    </a:lnTo>
                    <a:lnTo>
                      <a:pt x="130" y="20"/>
                    </a:lnTo>
                    <a:lnTo>
                      <a:pt x="124" y="22"/>
                    </a:lnTo>
                    <a:lnTo>
                      <a:pt x="122" y="22"/>
                    </a:lnTo>
                    <a:lnTo>
                      <a:pt x="118" y="22"/>
                    </a:lnTo>
                    <a:lnTo>
                      <a:pt x="110" y="22"/>
                    </a:lnTo>
                    <a:lnTo>
                      <a:pt x="106" y="22"/>
                    </a:lnTo>
                    <a:lnTo>
                      <a:pt x="102" y="22"/>
                    </a:lnTo>
                    <a:lnTo>
                      <a:pt x="102" y="22"/>
                    </a:lnTo>
                    <a:lnTo>
                      <a:pt x="100" y="22"/>
                    </a:lnTo>
                    <a:lnTo>
                      <a:pt x="98" y="22"/>
                    </a:lnTo>
                    <a:lnTo>
                      <a:pt x="96" y="22"/>
                    </a:lnTo>
                    <a:lnTo>
                      <a:pt x="96" y="22"/>
                    </a:lnTo>
                    <a:lnTo>
                      <a:pt x="96" y="24"/>
                    </a:lnTo>
                    <a:lnTo>
                      <a:pt x="94" y="24"/>
                    </a:lnTo>
                    <a:lnTo>
                      <a:pt x="92" y="26"/>
                    </a:lnTo>
                    <a:lnTo>
                      <a:pt x="90" y="28"/>
                    </a:lnTo>
                    <a:lnTo>
                      <a:pt x="88" y="30"/>
                    </a:lnTo>
                    <a:lnTo>
                      <a:pt x="86" y="32"/>
                    </a:lnTo>
                    <a:lnTo>
                      <a:pt x="84" y="34"/>
                    </a:lnTo>
                    <a:lnTo>
                      <a:pt x="84" y="34"/>
                    </a:lnTo>
                    <a:lnTo>
                      <a:pt x="82" y="36"/>
                    </a:lnTo>
                    <a:lnTo>
                      <a:pt x="82" y="36"/>
                    </a:lnTo>
                    <a:lnTo>
                      <a:pt x="82" y="36"/>
                    </a:lnTo>
                    <a:lnTo>
                      <a:pt x="78" y="36"/>
                    </a:lnTo>
                    <a:lnTo>
                      <a:pt x="76" y="36"/>
                    </a:lnTo>
                    <a:lnTo>
                      <a:pt x="74" y="34"/>
                    </a:lnTo>
                    <a:lnTo>
                      <a:pt x="72" y="34"/>
                    </a:lnTo>
                    <a:lnTo>
                      <a:pt x="70" y="34"/>
                    </a:lnTo>
                    <a:lnTo>
                      <a:pt x="68" y="34"/>
                    </a:lnTo>
                    <a:lnTo>
                      <a:pt x="68" y="34"/>
                    </a:lnTo>
                    <a:lnTo>
                      <a:pt x="66" y="36"/>
                    </a:lnTo>
                    <a:lnTo>
                      <a:pt x="66" y="36"/>
                    </a:lnTo>
                    <a:lnTo>
                      <a:pt x="66" y="36"/>
                    </a:lnTo>
                    <a:lnTo>
                      <a:pt x="64" y="38"/>
                    </a:lnTo>
                    <a:lnTo>
                      <a:pt x="64" y="40"/>
                    </a:lnTo>
                    <a:lnTo>
                      <a:pt x="62" y="40"/>
                    </a:lnTo>
                    <a:lnTo>
                      <a:pt x="62" y="42"/>
                    </a:lnTo>
                    <a:lnTo>
                      <a:pt x="60" y="44"/>
                    </a:lnTo>
                    <a:lnTo>
                      <a:pt x="60" y="46"/>
                    </a:lnTo>
                    <a:lnTo>
                      <a:pt x="60" y="46"/>
                    </a:lnTo>
                    <a:lnTo>
                      <a:pt x="58" y="46"/>
                    </a:lnTo>
                    <a:lnTo>
                      <a:pt x="58" y="48"/>
                    </a:lnTo>
                    <a:lnTo>
                      <a:pt x="56" y="48"/>
                    </a:lnTo>
                    <a:lnTo>
                      <a:pt x="54" y="48"/>
                    </a:lnTo>
                    <a:lnTo>
                      <a:pt x="54" y="48"/>
                    </a:lnTo>
                    <a:lnTo>
                      <a:pt x="50" y="48"/>
                    </a:lnTo>
                    <a:lnTo>
                      <a:pt x="46" y="48"/>
                    </a:lnTo>
                    <a:lnTo>
                      <a:pt x="42" y="48"/>
                    </a:lnTo>
                    <a:lnTo>
                      <a:pt x="38" y="50"/>
                    </a:lnTo>
                    <a:lnTo>
                      <a:pt x="38" y="50"/>
                    </a:lnTo>
                    <a:lnTo>
                      <a:pt x="36" y="50"/>
                    </a:lnTo>
                    <a:lnTo>
                      <a:pt x="34" y="50"/>
                    </a:lnTo>
                    <a:lnTo>
                      <a:pt x="34" y="52"/>
                    </a:lnTo>
                    <a:lnTo>
                      <a:pt x="32" y="52"/>
                    </a:lnTo>
                    <a:lnTo>
                      <a:pt x="32" y="54"/>
                    </a:lnTo>
                    <a:lnTo>
                      <a:pt x="32" y="54"/>
                    </a:lnTo>
                    <a:lnTo>
                      <a:pt x="32" y="56"/>
                    </a:lnTo>
                    <a:lnTo>
                      <a:pt x="30" y="58"/>
                    </a:lnTo>
                    <a:lnTo>
                      <a:pt x="30" y="60"/>
                    </a:lnTo>
                    <a:lnTo>
                      <a:pt x="30" y="66"/>
                    </a:lnTo>
                    <a:lnTo>
                      <a:pt x="30" y="68"/>
                    </a:lnTo>
                    <a:lnTo>
                      <a:pt x="30" y="70"/>
                    </a:lnTo>
                    <a:lnTo>
                      <a:pt x="30" y="72"/>
                    </a:lnTo>
                    <a:lnTo>
                      <a:pt x="30" y="72"/>
                    </a:lnTo>
                    <a:lnTo>
                      <a:pt x="30" y="76"/>
                    </a:lnTo>
                    <a:lnTo>
                      <a:pt x="30" y="78"/>
                    </a:lnTo>
                    <a:lnTo>
                      <a:pt x="30" y="78"/>
                    </a:lnTo>
                    <a:lnTo>
                      <a:pt x="28" y="80"/>
                    </a:lnTo>
                    <a:lnTo>
                      <a:pt x="28" y="80"/>
                    </a:lnTo>
                    <a:lnTo>
                      <a:pt x="28" y="80"/>
                    </a:lnTo>
                    <a:lnTo>
                      <a:pt x="28" y="82"/>
                    </a:lnTo>
                    <a:lnTo>
                      <a:pt x="28" y="82"/>
                    </a:lnTo>
                    <a:lnTo>
                      <a:pt x="26" y="82"/>
                    </a:lnTo>
                    <a:lnTo>
                      <a:pt x="26" y="82"/>
                    </a:lnTo>
                    <a:lnTo>
                      <a:pt x="24" y="80"/>
                    </a:lnTo>
                    <a:lnTo>
                      <a:pt x="22" y="80"/>
                    </a:lnTo>
                    <a:lnTo>
                      <a:pt x="20" y="80"/>
                    </a:lnTo>
                    <a:lnTo>
                      <a:pt x="20" y="80"/>
                    </a:lnTo>
                    <a:lnTo>
                      <a:pt x="18" y="78"/>
                    </a:lnTo>
                    <a:lnTo>
                      <a:pt x="18" y="78"/>
                    </a:lnTo>
                    <a:lnTo>
                      <a:pt x="18" y="80"/>
                    </a:lnTo>
                    <a:lnTo>
                      <a:pt x="18" y="80"/>
                    </a:lnTo>
                    <a:lnTo>
                      <a:pt x="16" y="80"/>
                    </a:lnTo>
                    <a:lnTo>
                      <a:pt x="16" y="80"/>
                    </a:lnTo>
                    <a:lnTo>
                      <a:pt x="16" y="82"/>
                    </a:lnTo>
                    <a:lnTo>
                      <a:pt x="18" y="84"/>
                    </a:lnTo>
                    <a:lnTo>
                      <a:pt x="18" y="84"/>
                    </a:lnTo>
                    <a:lnTo>
                      <a:pt x="18" y="86"/>
                    </a:lnTo>
                    <a:lnTo>
                      <a:pt x="18" y="88"/>
                    </a:lnTo>
                    <a:lnTo>
                      <a:pt x="18" y="88"/>
                    </a:lnTo>
                    <a:lnTo>
                      <a:pt x="18" y="88"/>
                    </a:lnTo>
                    <a:lnTo>
                      <a:pt x="18" y="90"/>
                    </a:lnTo>
                    <a:lnTo>
                      <a:pt x="18" y="90"/>
                    </a:lnTo>
                    <a:lnTo>
                      <a:pt x="16" y="92"/>
                    </a:lnTo>
                    <a:lnTo>
                      <a:pt x="16" y="94"/>
                    </a:lnTo>
                    <a:lnTo>
                      <a:pt x="14" y="96"/>
                    </a:lnTo>
                    <a:lnTo>
                      <a:pt x="14" y="96"/>
                    </a:lnTo>
                    <a:lnTo>
                      <a:pt x="12" y="98"/>
                    </a:lnTo>
                    <a:lnTo>
                      <a:pt x="10" y="98"/>
                    </a:lnTo>
                    <a:lnTo>
                      <a:pt x="8" y="100"/>
                    </a:lnTo>
                    <a:lnTo>
                      <a:pt x="8" y="100"/>
                    </a:lnTo>
                    <a:lnTo>
                      <a:pt x="6" y="100"/>
                    </a:lnTo>
                    <a:lnTo>
                      <a:pt x="6" y="102"/>
                    </a:lnTo>
                    <a:lnTo>
                      <a:pt x="6" y="104"/>
                    </a:lnTo>
                    <a:lnTo>
                      <a:pt x="4" y="106"/>
                    </a:lnTo>
                    <a:lnTo>
                      <a:pt x="4" y="110"/>
                    </a:lnTo>
                    <a:lnTo>
                      <a:pt x="4" y="114"/>
                    </a:lnTo>
                    <a:lnTo>
                      <a:pt x="4" y="118"/>
                    </a:lnTo>
                    <a:lnTo>
                      <a:pt x="2" y="120"/>
                    </a:lnTo>
                    <a:lnTo>
                      <a:pt x="2" y="122"/>
                    </a:lnTo>
                    <a:lnTo>
                      <a:pt x="0" y="128"/>
                    </a:lnTo>
                    <a:lnTo>
                      <a:pt x="0" y="130"/>
                    </a:lnTo>
                    <a:lnTo>
                      <a:pt x="0" y="134"/>
                    </a:lnTo>
                    <a:lnTo>
                      <a:pt x="0" y="134"/>
                    </a:lnTo>
                    <a:lnTo>
                      <a:pt x="0" y="136"/>
                    </a:lnTo>
                    <a:lnTo>
                      <a:pt x="0" y="136"/>
                    </a:lnTo>
                    <a:lnTo>
                      <a:pt x="0" y="138"/>
                    </a:lnTo>
                    <a:lnTo>
                      <a:pt x="0" y="138"/>
                    </a:lnTo>
                    <a:lnTo>
                      <a:pt x="2" y="138"/>
                    </a:lnTo>
                    <a:lnTo>
                      <a:pt x="2" y="140"/>
                    </a:lnTo>
                    <a:lnTo>
                      <a:pt x="4" y="140"/>
                    </a:lnTo>
                    <a:lnTo>
                      <a:pt x="6" y="142"/>
                    </a:lnTo>
                    <a:lnTo>
                      <a:pt x="10" y="142"/>
                    </a:lnTo>
                    <a:lnTo>
                      <a:pt x="12" y="144"/>
                    </a:lnTo>
                    <a:lnTo>
                      <a:pt x="12" y="144"/>
                    </a:lnTo>
                    <a:lnTo>
                      <a:pt x="14" y="144"/>
                    </a:lnTo>
                    <a:lnTo>
                      <a:pt x="14" y="146"/>
                    </a:lnTo>
                    <a:lnTo>
                      <a:pt x="14" y="146"/>
                    </a:lnTo>
                    <a:lnTo>
                      <a:pt x="16" y="148"/>
                    </a:lnTo>
                    <a:lnTo>
                      <a:pt x="16" y="150"/>
                    </a:lnTo>
                    <a:lnTo>
                      <a:pt x="18" y="152"/>
                    </a:lnTo>
                    <a:lnTo>
                      <a:pt x="18" y="156"/>
                    </a:lnTo>
                    <a:lnTo>
                      <a:pt x="20" y="160"/>
                    </a:lnTo>
                    <a:lnTo>
                      <a:pt x="22" y="164"/>
                    </a:lnTo>
                    <a:lnTo>
                      <a:pt x="22" y="164"/>
                    </a:lnTo>
                    <a:lnTo>
                      <a:pt x="22" y="166"/>
                    </a:lnTo>
                    <a:lnTo>
                      <a:pt x="24" y="168"/>
                    </a:lnTo>
                    <a:lnTo>
                      <a:pt x="24" y="168"/>
                    </a:lnTo>
                    <a:lnTo>
                      <a:pt x="26" y="168"/>
                    </a:lnTo>
                    <a:lnTo>
                      <a:pt x="26" y="168"/>
                    </a:lnTo>
                    <a:lnTo>
                      <a:pt x="28" y="170"/>
                    </a:lnTo>
                    <a:lnTo>
                      <a:pt x="32" y="170"/>
                    </a:lnTo>
                    <a:lnTo>
                      <a:pt x="34" y="170"/>
                    </a:lnTo>
                    <a:lnTo>
                      <a:pt x="36" y="170"/>
                    </a:lnTo>
                    <a:lnTo>
                      <a:pt x="40" y="170"/>
                    </a:lnTo>
                    <a:lnTo>
                      <a:pt x="44" y="170"/>
                    </a:lnTo>
                    <a:lnTo>
                      <a:pt x="50" y="170"/>
                    </a:lnTo>
                    <a:lnTo>
                      <a:pt x="52" y="170"/>
                    </a:lnTo>
                    <a:lnTo>
                      <a:pt x="56" y="170"/>
                    </a:lnTo>
                    <a:lnTo>
                      <a:pt x="60" y="170"/>
                    </a:lnTo>
                    <a:lnTo>
                      <a:pt x="62" y="170"/>
                    </a:lnTo>
                    <a:lnTo>
                      <a:pt x="64" y="170"/>
                    </a:lnTo>
                    <a:lnTo>
                      <a:pt x="66" y="170"/>
                    </a:lnTo>
                    <a:lnTo>
                      <a:pt x="66" y="168"/>
                    </a:lnTo>
                    <a:lnTo>
                      <a:pt x="68" y="168"/>
                    </a:lnTo>
                    <a:lnTo>
                      <a:pt x="68" y="168"/>
                    </a:lnTo>
                    <a:lnTo>
                      <a:pt x="68" y="166"/>
                    </a:lnTo>
                    <a:lnTo>
                      <a:pt x="70" y="164"/>
                    </a:lnTo>
                    <a:lnTo>
                      <a:pt x="70" y="164"/>
                    </a:lnTo>
                    <a:lnTo>
                      <a:pt x="70" y="162"/>
                    </a:lnTo>
                    <a:lnTo>
                      <a:pt x="70" y="160"/>
                    </a:lnTo>
                    <a:lnTo>
                      <a:pt x="70" y="160"/>
                    </a:lnTo>
                    <a:lnTo>
                      <a:pt x="70" y="158"/>
                    </a:lnTo>
                    <a:lnTo>
                      <a:pt x="70" y="158"/>
                    </a:lnTo>
                    <a:lnTo>
                      <a:pt x="70" y="156"/>
                    </a:lnTo>
                    <a:lnTo>
                      <a:pt x="68" y="156"/>
                    </a:lnTo>
                    <a:lnTo>
                      <a:pt x="68" y="156"/>
                    </a:lnTo>
                    <a:lnTo>
                      <a:pt x="66" y="154"/>
                    </a:lnTo>
                    <a:lnTo>
                      <a:pt x="64" y="152"/>
                    </a:lnTo>
                    <a:lnTo>
                      <a:pt x="58" y="152"/>
                    </a:lnTo>
                    <a:lnTo>
                      <a:pt x="56" y="150"/>
                    </a:lnTo>
                    <a:lnTo>
                      <a:pt x="54" y="148"/>
                    </a:lnTo>
                    <a:lnTo>
                      <a:pt x="52" y="148"/>
                    </a:lnTo>
                    <a:lnTo>
                      <a:pt x="50" y="144"/>
                    </a:lnTo>
                    <a:lnTo>
                      <a:pt x="48" y="144"/>
                    </a:lnTo>
                    <a:lnTo>
                      <a:pt x="46" y="142"/>
                    </a:lnTo>
                    <a:lnTo>
                      <a:pt x="46" y="140"/>
                    </a:lnTo>
                    <a:lnTo>
                      <a:pt x="44" y="138"/>
                    </a:lnTo>
                    <a:lnTo>
                      <a:pt x="44" y="138"/>
                    </a:lnTo>
                    <a:lnTo>
                      <a:pt x="44" y="138"/>
                    </a:lnTo>
                    <a:lnTo>
                      <a:pt x="44" y="134"/>
                    </a:lnTo>
                    <a:lnTo>
                      <a:pt x="44" y="132"/>
                    </a:lnTo>
                    <a:lnTo>
                      <a:pt x="44" y="128"/>
                    </a:lnTo>
                    <a:lnTo>
                      <a:pt x="44" y="124"/>
                    </a:lnTo>
                    <a:lnTo>
                      <a:pt x="44" y="118"/>
                    </a:lnTo>
                    <a:lnTo>
                      <a:pt x="46" y="116"/>
                    </a:lnTo>
                    <a:lnTo>
                      <a:pt x="46" y="116"/>
                    </a:lnTo>
                    <a:lnTo>
                      <a:pt x="46" y="110"/>
                    </a:lnTo>
                    <a:lnTo>
                      <a:pt x="48" y="106"/>
                    </a:lnTo>
                    <a:lnTo>
                      <a:pt x="48" y="104"/>
                    </a:lnTo>
                    <a:lnTo>
                      <a:pt x="48" y="102"/>
                    </a:lnTo>
                    <a:lnTo>
                      <a:pt x="48" y="102"/>
                    </a:lnTo>
                    <a:lnTo>
                      <a:pt x="48" y="100"/>
                    </a:lnTo>
                    <a:lnTo>
                      <a:pt x="48" y="100"/>
                    </a:lnTo>
                    <a:lnTo>
                      <a:pt x="48" y="9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9" name="Freeform 166">
                <a:extLst>
                  <a:ext uri="{FF2B5EF4-FFF2-40B4-BE49-F238E27FC236}">
                    <a16:creationId xmlns:a16="http://schemas.microsoft.com/office/drawing/2014/main" id="{F0DCA68F-611C-4039-A8C8-3E3091B40AAB}"/>
                  </a:ext>
                </a:extLst>
              </p:cNvPr>
              <p:cNvSpPr>
                <a:spLocks/>
              </p:cNvSpPr>
              <p:nvPr/>
            </p:nvSpPr>
            <p:spPr bwMode="auto">
              <a:xfrm>
                <a:off x="5688303" y="2489367"/>
                <a:ext cx="15875" cy="28575"/>
              </a:xfrm>
              <a:custGeom>
                <a:avLst/>
                <a:gdLst>
                  <a:gd name="T0" fmla="*/ 6 w 10"/>
                  <a:gd name="T1" fmla="*/ 18 h 18"/>
                  <a:gd name="T2" fmla="*/ 6 w 10"/>
                  <a:gd name="T3" fmla="*/ 18 h 18"/>
                  <a:gd name="T4" fmla="*/ 6 w 10"/>
                  <a:gd name="T5" fmla="*/ 16 h 18"/>
                  <a:gd name="T6" fmla="*/ 8 w 10"/>
                  <a:gd name="T7" fmla="*/ 16 h 18"/>
                  <a:gd name="T8" fmla="*/ 8 w 10"/>
                  <a:gd name="T9" fmla="*/ 16 h 18"/>
                  <a:gd name="T10" fmla="*/ 8 w 10"/>
                  <a:gd name="T11" fmla="*/ 14 h 18"/>
                  <a:gd name="T12" fmla="*/ 10 w 10"/>
                  <a:gd name="T13" fmla="*/ 14 h 18"/>
                  <a:gd name="T14" fmla="*/ 10 w 10"/>
                  <a:gd name="T15" fmla="*/ 12 h 18"/>
                  <a:gd name="T16" fmla="*/ 10 w 10"/>
                  <a:gd name="T17" fmla="*/ 10 h 18"/>
                  <a:gd name="T18" fmla="*/ 10 w 10"/>
                  <a:gd name="T19" fmla="*/ 10 h 18"/>
                  <a:gd name="T20" fmla="*/ 10 w 10"/>
                  <a:gd name="T21" fmla="*/ 8 h 18"/>
                  <a:gd name="T22" fmla="*/ 10 w 10"/>
                  <a:gd name="T23" fmla="*/ 6 h 18"/>
                  <a:gd name="T24" fmla="*/ 10 w 10"/>
                  <a:gd name="T25" fmla="*/ 4 h 18"/>
                  <a:gd name="T26" fmla="*/ 8 w 10"/>
                  <a:gd name="T27" fmla="*/ 4 h 18"/>
                  <a:gd name="T28" fmla="*/ 8 w 10"/>
                  <a:gd name="T29" fmla="*/ 2 h 18"/>
                  <a:gd name="T30" fmla="*/ 8 w 10"/>
                  <a:gd name="T31" fmla="*/ 2 h 18"/>
                  <a:gd name="T32" fmla="*/ 6 w 10"/>
                  <a:gd name="T33" fmla="*/ 2 h 18"/>
                  <a:gd name="T34" fmla="*/ 6 w 10"/>
                  <a:gd name="T35" fmla="*/ 0 h 18"/>
                  <a:gd name="T36" fmla="*/ 4 w 10"/>
                  <a:gd name="T37" fmla="*/ 2 h 18"/>
                  <a:gd name="T38" fmla="*/ 4 w 10"/>
                  <a:gd name="T39" fmla="*/ 2 h 18"/>
                  <a:gd name="T40" fmla="*/ 2 w 10"/>
                  <a:gd name="T41" fmla="*/ 2 h 18"/>
                  <a:gd name="T42" fmla="*/ 2 w 10"/>
                  <a:gd name="T43" fmla="*/ 4 h 18"/>
                  <a:gd name="T44" fmla="*/ 2 w 10"/>
                  <a:gd name="T45" fmla="*/ 4 h 18"/>
                  <a:gd name="T46" fmla="*/ 2 w 10"/>
                  <a:gd name="T47" fmla="*/ 6 h 18"/>
                  <a:gd name="T48" fmla="*/ 0 w 10"/>
                  <a:gd name="T49" fmla="*/ 8 h 18"/>
                  <a:gd name="T50" fmla="*/ 0 w 10"/>
                  <a:gd name="T51" fmla="*/ 10 h 18"/>
                  <a:gd name="T52" fmla="*/ 0 w 10"/>
                  <a:gd name="T53" fmla="*/ 10 h 18"/>
                  <a:gd name="T54" fmla="*/ 2 w 10"/>
                  <a:gd name="T55" fmla="*/ 12 h 18"/>
                  <a:gd name="T56" fmla="*/ 2 w 10"/>
                  <a:gd name="T57" fmla="*/ 14 h 18"/>
                  <a:gd name="T58" fmla="*/ 2 w 10"/>
                  <a:gd name="T59" fmla="*/ 14 h 18"/>
                  <a:gd name="T60" fmla="*/ 2 w 10"/>
                  <a:gd name="T61" fmla="*/ 16 h 18"/>
                  <a:gd name="T62" fmla="*/ 4 w 10"/>
                  <a:gd name="T63" fmla="*/ 16 h 18"/>
                  <a:gd name="T64" fmla="*/ 4 w 10"/>
                  <a:gd name="T65" fmla="*/ 16 h 18"/>
                  <a:gd name="T66" fmla="*/ 6 w 10"/>
                  <a:gd name="T6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 h="18">
                    <a:moveTo>
                      <a:pt x="6" y="18"/>
                    </a:moveTo>
                    <a:lnTo>
                      <a:pt x="6" y="18"/>
                    </a:lnTo>
                    <a:lnTo>
                      <a:pt x="6" y="16"/>
                    </a:lnTo>
                    <a:lnTo>
                      <a:pt x="8" y="16"/>
                    </a:lnTo>
                    <a:lnTo>
                      <a:pt x="8" y="16"/>
                    </a:lnTo>
                    <a:lnTo>
                      <a:pt x="8" y="14"/>
                    </a:lnTo>
                    <a:lnTo>
                      <a:pt x="10" y="14"/>
                    </a:lnTo>
                    <a:lnTo>
                      <a:pt x="10" y="12"/>
                    </a:lnTo>
                    <a:lnTo>
                      <a:pt x="10" y="10"/>
                    </a:lnTo>
                    <a:lnTo>
                      <a:pt x="10" y="10"/>
                    </a:lnTo>
                    <a:lnTo>
                      <a:pt x="10" y="8"/>
                    </a:lnTo>
                    <a:lnTo>
                      <a:pt x="10" y="6"/>
                    </a:lnTo>
                    <a:lnTo>
                      <a:pt x="10" y="4"/>
                    </a:lnTo>
                    <a:lnTo>
                      <a:pt x="8" y="4"/>
                    </a:lnTo>
                    <a:lnTo>
                      <a:pt x="8" y="2"/>
                    </a:lnTo>
                    <a:lnTo>
                      <a:pt x="8" y="2"/>
                    </a:lnTo>
                    <a:lnTo>
                      <a:pt x="6" y="2"/>
                    </a:lnTo>
                    <a:lnTo>
                      <a:pt x="6" y="0"/>
                    </a:lnTo>
                    <a:lnTo>
                      <a:pt x="4" y="2"/>
                    </a:lnTo>
                    <a:lnTo>
                      <a:pt x="4" y="2"/>
                    </a:lnTo>
                    <a:lnTo>
                      <a:pt x="2" y="2"/>
                    </a:lnTo>
                    <a:lnTo>
                      <a:pt x="2" y="4"/>
                    </a:lnTo>
                    <a:lnTo>
                      <a:pt x="2" y="4"/>
                    </a:lnTo>
                    <a:lnTo>
                      <a:pt x="2" y="6"/>
                    </a:lnTo>
                    <a:lnTo>
                      <a:pt x="0" y="8"/>
                    </a:lnTo>
                    <a:lnTo>
                      <a:pt x="0" y="10"/>
                    </a:lnTo>
                    <a:lnTo>
                      <a:pt x="0" y="10"/>
                    </a:lnTo>
                    <a:lnTo>
                      <a:pt x="2" y="12"/>
                    </a:lnTo>
                    <a:lnTo>
                      <a:pt x="2" y="14"/>
                    </a:lnTo>
                    <a:lnTo>
                      <a:pt x="2" y="14"/>
                    </a:lnTo>
                    <a:lnTo>
                      <a:pt x="2" y="16"/>
                    </a:lnTo>
                    <a:lnTo>
                      <a:pt x="4" y="16"/>
                    </a:lnTo>
                    <a:lnTo>
                      <a:pt x="4" y="16"/>
                    </a:lnTo>
                    <a:lnTo>
                      <a:pt x="6" y="1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0" name="Freeform 168">
                <a:extLst>
                  <a:ext uri="{FF2B5EF4-FFF2-40B4-BE49-F238E27FC236}">
                    <a16:creationId xmlns:a16="http://schemas.microsoft.com/office/drawing/2014/main" id="{14F48EA5-88FC-409D-99E4-427BE22CDB8A}"/>
                  </a:ext>
                </a:extLst>
              </p:cNvPr>
              <p:cNvSpPr>
                <a:spLocks/>
              </p:cNvSpPr>
              <p:nvPr/>
            </p:nvSpPr>
            <p:spPr bwMode="auto">
              <a:xfrm>
                <a:off x="6037553" y="2184567"/>
                <a:ext cx="107950" cy="82550"/>
              </a:xfrm>
              <a:custGeom>
                <a:avLst/>
                <a:gdLst>
                  <a:gd name="T0" fmla="*/ 34 w 68"/>
                  <a:gd name="T1" fmla="*/ 8 h 52"/>
                  <a:gd name="T2" fmla="*/ 30 w 68"/>
                  <a:gd name="T3" fmla="*/ 10 h 52"/>
                  <a:gd name="T4" fmla="*/ 26 w 68"/>
                  <a:gd name="T5" fmla="*/ 14 h 52"/>
                  <a:gd name="T6" fmla="*/ 24 w 68"/>
                  <a:gd name="T7" fmla="*/ 16 h 52"/>
                  <a:gd name="T8" fmla="*/ 20 w 68"/>
                  <a:gd name="T9" fmla="*/ 18 h 52"/>
                  <a:gd name="T10" fmla="*/ 16 w 68"/>
                  <a:gd name="T11" fmla="*/ 18 h 52"/>
                  <a:gd name="T12" fmla="*/ 12 w 68"/>
                  <a:gd name="T13" fmla="*/ 18 h 52"/>
                  <a:gd name="T14" fmla="*/ 8 w 68"/>
                  <a:gd name="T15" fmla="*/ 20 h 52"/>
                  <a:gd name="T16" fmla="*/ 4 w 68"/>
                  <a:gd name="T17" fmla="*/ 22 h 52"/>
                  <a:gd name="T18" fmla="*/ 0 w 68"/>
                  <a:gd name="T19" fmla="*/ 26 h 52"/>
                  <a:gd name="T20" fmla="*/ 0 w 68"/>
                  <a:gd name="T21" fmla="*/ 26 h 52"/>
                  <a:gd name="T22" fmla="*/ 0 w 68"/>
                  <a:gd name="T23" fmla="*/ 28 h 52"/>
                  <a:gd name="T24" fmla="*/ 0 w 68"/>
                  <a:gd name="T25" fmla="*/ 30 h 52"/>
                  <a:gd name="T26" fmla="*/ 0 w 68"/>
                  <a:gd name="T27" fmla="*/ 30 h 52"/>
                  <a:gd name="T28" fmla="*/ 2 w 68"/>
                  <a:gd name="T29" fmla="*/ 34 h 52"/>
                  <a:gd name="T30" fmla="*/ 6 w 68"/>
                  <a:gd name="T31" fmla="*/ 38 h 52"/>
                  <a:gd name="T32" fmla="*/ 12 w 68"/>
                  <a:gd name="T33" fmla="*/ 44 h 52"/>
                  <a:gd name="T34" fmla="*/ 16 w 68"/>
                  <a:gd name="T35" fmla="*/ 48 h 52"/>
                  <a:gd name="T36" fmla="*/ 22 w 68"/>
                  <a:gd name="T37" fmla="*/ 50 h 52"/>
                  <a:gd name="T38" fmla="*/ 24 w 68"/>
                  <a:gd name="T39" fmla="*/ 52 h 52"/>
                  <a:gd name="T40" fmla="*/ 26 w 68"/>
                  <a:gd name="T41" fmla="*/ 52 h 52"/>
                  <a:gd name="T42" fmla="*/ 30 w 68"/>
                  <a:gd name="T43" fmla="*/ 52 h 52"/>
                  <a:gd name="T44" fmla="*/ 34 w 68"/>
                  <a:gd name="T45" fmla="*/ 50 h 52"/>
                  <a:gd name="T46" fmla="*/ 44 w 68"/>
                  <a:gd name="T47" fmla="*/ 44 h 52"/>
                  <a:gd name="T48" fmla="*/ 48 w 68"/>
                  <a:gd name="T49" fmla="*/ 42 h 52"/>
                  <a:gd name="T50" fmla="*/ 52 w 68"/>
                  <a:gd name="T51" fmla="*/ 40 h 52"/>
                  <a:gd name="T52" fmla="*/ 62 w 68"/>
                  <a:gd name="T53" fmla="*/ 38 h 52"/>
                  <a:gd name="T54" fmla="*/ 64 w 68"/>
                  <a:gd name="T55" fmla="*/ 36 h 52"/>
                  <a:gd name="T56" fmla="*/ 66 w 68"/>
                  <a:gd name="T57" fmla="*/ 34 h 52"/>
                  <a:gd name="T58" fmla="*/ 68 w 68"/>
                  <a:gd name="T59" fmla="*/ 32 h 52"/>
                  <a:gd name="T60" fmla="*/ 68 w 68"/>
                  <a:gd name="T61" fmla="*/ 30 h 52"/>
                  <a:gd name="T62" fmla="*/ 68 w 68"/>
                  <a:gd name="T63" fmla="*/ 26 h 52"/>
                  <a:gd name="T64" fmla="*/ 66 w 68"/>
                  <a:gd name="T65" fmla="*/ 18 h 52"/>
                  <a:gd name="T66" fmla="*/ 64 w 68"/>
                  <a:gd name="T67" fmla="*/ 14 h 52"/>
                  <a:gd name="T68" fmla="*/ 62 w 68"/>
                  <a:gd name="T69" fmla="*/ 10 h 52"/>
                  <a:gd name="T70" fmla="*/ 58 w 68"/>
                  <a:gd name="T71" fmla="*/ 6 h 52"/>
                  <a:gd name="T72" fmla="*/ 52 w 68"/>
                  <a:gd name="T73" fmla="*/ 2 h 52"/>
                  <a:gd name="T74" fmla="*/ 48 w 68"/>
                  <a:gd name="T75" fmla="*/ 0 h 52"/>
                  <a:gd name="T76" fmla="*/ 46 w 68"/>
                  <a:gd name="T77" fmla="*/ 0 h 52"/>
                  <a:gd name="T78" fmla="*/ 44 w 68"/>
                  <a:gd name="T79" fmla="*/ 0 h 52"/>
                  <a:gd name="T80" fmla="*/ 42 w 68"/>
                  <a:gd name="T81" fmla="*/ 2 h 52"/>
                  <a:gd name="T82" fmla="*/ 38 w 68"/>
                  <a:gd name="T83" fmla="*/ 4 h 52"/>
                  <a:gd name="T84" fmla="*/ 34 w 68"/>
                  <a:gd name="T8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52">
                    <a:moveTo>
                      <a:pt x="34" y="8"/>
                    </a:moveTo>
                    <a:lnTo>
                      <a:pt x="34" y="8"/>
                    </a:lnTo>
                    <a:lnTo>
                      <a:pt x="32" y="8"/>
                    </a:lnTo>
                    <a:lnTo>
                      <a:pt x="30" y="10"/>
                    </a:lnTo>
                    <a:lnTo>
                      <a:pt x="28" y="14"/>
                    </a:lnTo>
                    <a:lnTo>
                      <a:pt x="26" y="14"/>
                    </a:lnTo>
                    <a:lnTo>
                      <a:pt x="24" y="16"/>
                    </a:lnTo>
                    <a:lnTo>
                      <a:pt x="24" y="16"/>
                    </a:lnTo>
                    <a:lnTo>
                      <a:pt x="22" y="18"/>
                    </a:lnTo>
                    <a:lnTo>
                      <a:pt x="20" y="18"/>
                    </a:lnTo>
                    <a:lnTo>
                      <a:pt x="20" y="18"/>
                    </a:lnTo>
                    <a:lnTo>
                      <a:pt x="16" y="18"/>
                    </a:lnTo>
                    <a:lnTo>
                      <a:pt x="12" y="18"/>
                    </a:lnTo>
                    <a:lnTo>
                      <a:pt x="12" y="18"/>
                    </a:lnTo>
                    <a:lnTo>
                      <a:pt x="10" y="20"/>
                    </a:lnTo>
                    <a:lnTo>
                      <a:pt x="8" y="20"/>
                    </a:lnTo>
                    <a:lnTo>
                      <a:pt x="6" y="22"/>
                    </a:lnTo>
                    <a:lnTo>
                      <a:pt x="4" y="22"/>
                    </a:lnTo>
                    <a:lnTo>
                      <a:pt x="2" y="24"/>
                    </a:lnTo>
                    <a:lnTo>
                      <a:pt x="0" y="26"/>
                    </a:lnTo>
                    <a:lnTo>
                      <a:pt x="0" y="26"/>
                    </a:lnTo>
                    <a:lnTo>
                      <a:pt x="0" y="26"/>
                    </a:lnTo>
                    <a:lnTo>
                      <a:pt x="0" y="28"/>
                    </a:lnTo>
                    <a:lnTo>
                      <a:pt x="0" y="28"/>
                    </a:lnTo>
                    <a:lnTo>
                      <a:pt x="0" y="28"/>
                    </a:lnTo>
                    <a:lnTo>
                      <a:pt x="0" y="30"/>
                    </a:lnTo>
                    <a:lnTo>
                      <a:pt x="0" y="30"/>
                    </a:lnTo>
                    <a:lnTo>
                      <a:pt x="0" y="30"/>
                    </a:lnTo>
                    <a:lnTo>
                      <a:pt x="2" y="32"/>
                    </a:lnTo>
                    <a:lnTo>
                      <a:pt x="2" y="34"/>
                    </a:lnTo>
                    <a:lnTo>
                      <a:pt x="4" y="36"/>
                    </a:lnTo>
                    <a:lnTo>
                      <a:pt x="6" y="38"/>
                    </a:lnTo>
                    <a:lnTo>
                      <a:pt x="8" y="40"/>
                    </a:lnTo>
                    <a:lnTo>
                      <a:pt x="12" y="44"/>
                    </a:lnTo>
                    <a:lnTo>
                      <a:pt x="14" y="46"/>
                    </a:lnTo>
                    <a:lnTo>
                      <a:pt x="16" y="48"/>
                    </a:lnTo>
                    <a:lnTo>
                      <a:pt x="18" y="48"/>
                    </a:lnTo>
                    <a:lnTo>
                      <a:pt x="22" y="50"/>
                    </a:lnTo>
                    <a:lnTo>
                      <a:pt x="24" y="52"/>
                    </a:lnTo>
                    <a:lnTo>
                      <a:pt x="24" y="52"/>
                    </a:lnTo>
                    <a:lnTo>
                      <a:pt x="26" y="52"/>
                    </a:lnTo>
                    <a:lnTo>
                      <a:pt x="26" y="52"/>
                    </a:lnTo>
                    <a:lnTo>
                      <a:pt x="28" y="52"/>
                    </a:lnTo>
                    <a:lnTo>
                      <a:pt x="30" y="52"/>
                    </a:lnTo>
                    <a:lnTo>
                      <a:pt x="30" y="50"/>
                    </a:lnTo>
                    <a:lnTo>
                      <a:pt x="34" y="50"/>
                    </a:lnTo>
                    <a:lnTo>
                      <a:pt x="38" y="48"/>
                    </a:lnTo>
                    <a:lnTo>
                      <a:pt x="44" y="44"/>
                    </a:lnTo>
                    <a:lnTo>
                      <a:pt x="46" y="42"/>
                    </a:lnTo>
                    <a:lnTo>
                      <a:pt x="48" y="42"/>
                    </a:lnTo>
                    <a:lnTo>
                      <a:pt x="50" y="40"/>
                    </a:lnTo>
                    <a:lnTo>
                      <a:pt x="52" y="40"/>
                    </a:lnTo>
                    <a:lnTo>
                      <a:pt x="58" y="38"/>
                    </a:lnTo>
                    <a:lnTo>
                      <a:pt x="62" y="38"/>
                    </a:lnTo>
                    <a:lnTo>
                      <a:pt x="64" y="36"/>
                    </a:lnTo>
                    <a:lnTo>
                      <a:pt x="64" y="36"/>
                    </a:lnTo>
                    <a:lnTo>
                      <a:pt x="66" y="34"/>
                    </a:lnTo>
                    <a:lnTo>
                      <a:pt x="66" y="34"/>
                    </a:lnTo>
                    <a:lnTo>
                      <a:pt x="68" y="32"/>
                    </a:lnTo>
                    <a:lnTo>
                      <a:pt x="68" y="32"/>
                    </a:lnTo>
                    <a:lnTo>
                      <a:pt x="68" y="30"/>
                    </a:lnTo>
                    <a:lnTo>
                      <a:pt x="68" y="30"/>
                    </a:lnTo>
                    <a:lnTo>
                      <a:pt x="68" y="28"/>
                    </a:lnTo>
                    <a:lnTo>
                      <a:pt x="68" y="26"/>
                    </a:lnTo>
                    <a:lnTo>
                      <a:pt x="68" y="22"/>
                    </a:lnTo>
                    <a:lnTo>
                      <a:pt x="66" y="18"/>
                    </a:lnTo>
                    <a:lnTo>
                      <a:pt x="66" y="16"/>
                    </a:lnTo>
                    <a:lnTo>
                      <a:pt x="64" y="14"/>
                    </a:lnTo>
                    <a:lnTo>
                      <a:pt x="64" y="12"/>
                    </a:lnTo>
                    <a:lnTo>
                      <a:pt x="62" y="10"/>
                    </a:lnTo>
                    <a:lnTo>
                      <a:pt x="60" y="8"/>
                    </a:lnTo>
                    <a:lnTo>
                      <a:pt x="58" y="6"/>
                    </a:lnTo>
                    <a:lnTo>
                      <a:pt x="54" y="4"/>
                    </a:lnTo>
                    <a:lnTo>
                      <a:pt x="52" y="2"/>
                    </a:lnTo>
                    <a:lnTo>
                      <a:pt x="50" y="2"/>
                    </a:lnTo>
                    <a:lnTo>
                      <a:pt x="48" y="0"/>
                    </a:lnTo>
                    <a:lnTo>
                      <a:pt x="46" y="0"/>
                    </a:lnTo>
                    <a:lnTo>
                      <a:pt x="46" y="0"/>
                    </a:lnTo>
                    <a:lnTo>
                      <a:pt x="44" y="0"/>
                    </a:lnTo>
                    <a:lnTo>
                      <a:pt x="44" y="0"/>
                    </a:lnTo>
                    <a:lnTo>
                      <a:pt x="44" y="0"/>
                    </a:lnTo>
                    <a:lnTo>
                      <a:pt x="42" y="2"/>
                    </a:lnTo>
                    <a:lnTo>
                      <a:pt x="40" y="2"/>
                    </a:lnTo>
                    <a:lnTo>
                      <a:pt x="38" y="4"/>
                    </a:lnTo>
                    <a:lnTo>
                      <a:pt x="36" y="6"/>
                    </a:lnTo>
                    <a:lnTo>
                      <a:pt x="34" y="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1" name="Freeform 170">
                <a:extLst>
                  <a:ext uri="{FF2B5EF4-FFF2-40B4-BE49-F238E27FC236}">
                    <a16:creationId xmlns:a16="http://schemas.microsoft.com/office/drawing/2014/main" id="{2CFDF2E7-DE5C-4D2A-97E5-166518181040}"/>
                  </a:ext>
                </a:extLst>
              </p:cNvPr>
              <p:cNvSpPr>
                <a:spLocks/>
              </p:cNvSpPr>
              <p:nvPr/>
            </p:nvSpPr>
            <p:spPr bwMode="auto">
              <a:xfrm>
                <a:off x="6107403" y="2244892"/>
                <a:ext cx="107950" cy="69850"/>
              </a:xfrm>
              <a:custGeom>
                <a:avLst/>
                <a:gdLst>
                  <a:gd name="T0" fmla="*/ 20 w 68"/>
                  <a:gd name="T1" fmla="*/ 16 h 44"/>
                  <a:gd name="T2" fmla="*/ 20 w 68"/>
                  <a:gd name="T3" fmla="*/ 14 h 44"/>
                  <a:gd name="T4" fmla="*/ 22 w 68"/>
                  <a:gd name="T5" fmla="*/ 10 h 44"/>
                  <a:gd name="T6" fmla="*/ 24 w 68"/>
                  <a:gd name="T7" fmla="*/ 6 h 44"/>
                  <a:gd name="T8" fmla="*/ 26 w 68"/>
                  <a:gd name="T9" fmla="*/ 4 h 44"/>
                  <a:gd name="T10" fmla="*/ 26 w 68"/>
                  <a:gd name="T11" fmla="*/ 2 h 44"/>
                  <a:gd name="T12" fmla="*/ 30 w 68"/>
                  <a:gd name="T13" fmla="*/ 2 h 44"/>
                  <a:gd name="T14" fmla="*/ 32 w 68"/>
                  <a:gd name="T15" fmla="*/ 0 h 44"/>
                  <a:gd name="T16" fmla="*/ 38 w 68"/>
                  <a:gd name="T17" fmla="*/ 0 h 44"/>
                  <a:gd name="T18" fmla="*/ 40 w 68"/>
                  <a:gd name="T19" fmla="*/ 0 h 44"/>
                  <a:gd name="T20" fmla="*/ 46 w 68"/>
                  <a:gd name="T21" fmla="*/ 2 h 44"/>
                  <a:gd name="T22" fmla="*/ 48 w 68"/>
                  <a:gd name="T23" fmla="*/ 4 h 44"/>
                  <a:gd name="T24" fmla="*/ 50 w 68"/>
                  <a:gd name="T25" fmla="*/ 4 h 44"/>
                  <a:gd name="T26" fmla="*/ 54 w 68"/>
                  <a:gd name="T27" fmla="*/ 8 h 44"/>
                  <a:gd name="T28" fmla="*/ 56 w 68"/>
                  <a:gd name="T29" fmla="*/ 12 h 44"/>
                  <a:gd name="T30" fmla="*/ 58 w 68"/>
                  <a:gd name="T31" fmla="*/ 16 h 44"/>
                  <a:gd name="T32" fmla="*/ 58 w 68"/>
                  <a:gd name="T33" fmla="*/ 18 h 44"/>
                  <a:gd name="T34" fmla="*/ 58 w 68"/>
                  <a:gd name="T35" fmla="*/ 24 h 44"/>
                  <a:gd name="T36" fmla="*/ 58 w 68"/>
                  <a:gd name="T37" fmla="*/ 26 h 44"/>
                  <a:gd name="T38" fmla="*/ 58 w 68"/>
                  <a:gd name="T39" fmla="*/ 28 h 44"/>
                  <a:gd name="T40" fmla="*/ 58 w 68"/>
                  <a:gd name="T41" fmla="*/ 28 h 44"/>
                  <a:gd name="T42" fmla="*/ 60 w 68"/>
                  <a:gd name="T43" fmla="*/ 28 h 44"/>
                  <a:gd name="T44" fmla="*/ 62 w 68"/>
                  <a:gd name="T45" fmla="*/ 28 h 44"/>
                  <a:gd name="T46" fmla="*/ 64 w 68"/>
                  <a:gd name="T47" fmla="*/ 26 h 44"/>
                  <a:gd name="T48" fmla="*/ 66 w 68"/>
                  <a:gd name="T49" fmla="*/ 26 h 44"/>
                  <a:gd name="T50" fmla="*/ 66 w 68"/>
                  <a:gd name="T51" fmla="*/ 26 h 44"/>
                  <a:gd name="T52" fmla="*/ 68 w 68"/>
                  <a:gd name="T53" fmla="*/ 28 h 44"/>
                  <a:gd name="T54" fmla="*/ 68 w 68"/>
                  <a:gd name="T55" fmla="*/ 32 h 44"/>
                  <a:gd name="T56" fmla="*/ 68 w 68"/>
                  <a:gd name="T57" fmla="*/ 34 h 44"/>
                  <a:gd name="T58" fmla="*/ 68 w 68"/>
                  <a:gd name="T59" fmla="*/ 36 h 44"/>
                  <a:gd name="T60" fmla="*/ 66 w 68"/>
                  <a:gd name="T61" fmla="*/ 38 h 44"/>
                  <a:gd name="T62" fmla="*/ 64 w 68"/>
                  <a:gd name="T63" fmla="*/ 40 h 44"/>
                  <a:gd name="T64" fmla="*/ 60 w 68"/>
                  <a:gd name="T65" fmla="*/ 40 h 44"/>
                  <a:gd name="T66" fmla="*/ 54 w 68"/>
                  <a:gd name="T67" fmla="*/ 42 h 44"/>
                  <a:gd name="T68" fmla="*/ 48 w 68"/>
                  <a:gd name="T69" fmla="*/ 44 h 44"/>
                  <a:gd name="T70" fmla="*/ 44 w 68"/>
                  <a:gd name="T71" fmla="*/ 42 h 44"/>
                  <a:gd name="T72" fmla="*/ 40 w 68"/>
                  <a:gd name="T73" fmla="*/ 42 h 44"/>
                  <a:gd name="T74" fmla="*/ 34 w 68"/>
                  <a:gd name="T75" fmla="*/ 40 h 44"/>
                  <a:gd name="T76" fmla="*/ 26 w 68"/>
                  <a:gd name="T77" fmla="*/ 36 h 44"/>
                  <a:gd name="T78" fmla="*/ 20 w 68"/>
                  <a:gd name="T79" fmla="*/ 34 h 44"/>
                  <a:gd name="T80" fmla="*/ 10 w 68"/>
                  <a:gd name="T81" fmla="*/ 32 h 44"/>
                  <a:gd name="T82" fmla="*/ 6 w 68"/>
                  <a:gd name="T83" fmla="*/ 30 h 44"/>
                  <a:gd name="T84" fmla="*/ 4 w 68"/>
                  <a:gd name="T85" fmla="*/ 30 h 44"/>
                  <a:gd name="T86" fmla="*/ 2 w 68"/>
                  <a:gd name="T87" fmla="*/ 28 h 44"/>
                  <a:gd name="T88" fmla="*/ 2 w 68"/>
                  <a:gd name="T89" fmla="*/ 26 h 44"/>
                  <a:gd name="T90" fmla="*/ 0 w 68"/>
                  <a:gd name="T91" fmla="*/ 24 h 44"/>
                  <a:gd name="T92" fmla="*/ 2 w 68"/>
                  <a:gd name="T93" fmla="*/ 22 h 44"/>
                  <a:gd name="T94" fmla="*/ 4 w 68"/>
                  <a:gd name="T95" fmla="*/ 18 h 44"/>
                  <a:gd name="T96" fmla="*/ 6 w 68"/>
                  <a:gd name="T97" fmla="*/ 16 h 44"/>
                  <a:gd name="T98" fmla="*/ 6 w 68"/>
                  <a:gd name="T99" fmla="*/ 16 h 44"/>
                  <a:gd name="T100" fmla="*/ 10 w 68"/>
                  <a:gd name="T101" fmla="*/ 16 h 44"/>
                  <a:gd name="T102" fmla="*/ 14 w 68"/>
                  <a:gd name="T103" fmla="*/ 16 h 44"/>
                  <a:gd name="T104" fmla="*/ 18 w 68"/>
                  <a:gd name="T105" fmla="*/ 16 h 44"/>
                  <a:gd name="T106" fmla="*/ 20 w 68"/>
                  <a:gd name="T107"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44">
                    <a:moveTo>
                      <a:pt x="20" y="16"/>
                    </a:moveTo>
                    <a:lnTo>
                      <a:pt x="20" y="16"/>
                    </a:lnTo>
                    <a:lnTo>
                      <a:pt x="20" y="14"/>
                    </a:lnTo>
                    <a:lnTo>
                      <a:pt x="20" y="14"/>
                    </a:lnTo>
                    <a:lnTo>
                      <a:pt x="22" y="12"/>
                    </a:lnTo>
                    <a:lnTo>
                      <a:pt x="22" y="10"/>
                    </a:lnTo>
                    <a:lnTo>
                      <a:pt x="22" y="8"/>
                    </a:lnTo>
                    <a:lnTo>
                      <a:pt x="24" y="6"/>
                    </a:lnTo>
                    <a:lnTo>
                      <a:pt x="24" y="6"/>
                    </a:lnTo>
                    <a:lnTo>
                      <a:pt x="26" y="4"/>
                    </a:lnTo>
                    <a:lnTo>
                      <a:pt x="26" y="4"/>
                    </a:lnTo>
                    <a:lnTo>
                      <a:pt x="26" y="2"/>
                    </a:lnTo>
                    <a:lnTo>
                      <a:pt x="28" y="2"/>
                    </a:lnTo>
                    <a:lnTo>
                      <a:pt x="30" y="2"/>
                    </a:lnTo>
                    <a:lnTo>
                      <a:pt x="30" y="0"/>
                    </a:lnTo>
                    <a:lnTo>
                      <a:pt x="32" y="0"/>
                    </a:lnTo>
                    <a:lnTo>
                      <a:pt x="36" y="0"/>
                    </a:lnTo>
                    <a:lnTo>
                      <a:pt x="38" y="0"/>
                    </a:lnTo>
                    <a:lnTo>
                      <a:pt x="40" y="0"/>
                    </a:lnTo>
                    <a:lnTo>
                      <a:pt x="40" y="0"/>
                    </a:lnTo>
                    <a:lnTo>
                      <a:pt x="44" y="2"/>
                    </a:lnTo>
                    <a:lnTo>
                      <a:pt x="46" y="2"/>
                    </a:lnTo>
                    <a:lnTo>
                      <a:pt x="48" y="2"/>
                    </a:lnTo>
                    <a:lnTo>
                      <a:pt x="48" y="4"/>
                    </a:lnTo>
                    <a:lnTo>
                      <a:pt x="50" y="4"/>
                    </a:lnTo>
                    <a:lnTo>
                      <a:pt x="50" y="4"/>
                    </a:lnTo>
                    <a:lnTo>
                      <a:pt x="52" y="6"/>
                    </a:lnTo>
                    <a:lnTo>
                      <a:pt x="54" y="8"/>
                    </a:lnTo>
                    <a:lnTo>
                      <a:pt x="54" y="10"/>
                    </a:lnTo>
                    <a:lnTo>
                      <a:pt x="56" y="12"/>
                    </a:lnTo>
                    <a:lnTo>
                      <a:pt x="58" y="14"/>
                    </a:lnTo>
                    <a:lnTo>
                      <a:pt x="58" y="16"/>
                    </a:lnTo>
                    <a:lnTo>
                      <a:pt x="58" y="18"/>
                    </a:lnTo>
                    <a:lnTo>
                      <a:pt x="58" y="18"/>
                    </a:lnTo>
                    <a:lnTo>
                      <a:pt x="58" y="20"/>
                    </a:lnTo>
                    <a:lnTo>
                      <a:pt x="58" y="24"/>
                    </a:lnTo>
                    <a:lnTo>
                      <a:pt x="58" y="24"/>
                    </a:lnTo>
                    <a:lnTo>
                      <a:pt x="58" y="26"/>
                    </a:lnTo>
                    <a:lnTo>
                      <a:pt x="58" y="28"/>
                    </a:lnTo>
                    <a:lnTo>
                      <a:pt x="58" y="28"/>
                    </a:lnTo>
                    <a:lnTo>
                      <a:pt x="58" y="28"/>
                    </a:lnTo>
                    <a:lnTo>
                      <a:pt x="58" y="28"/>
                    </a:lnTo>
                    <a:lnTo>
                      <a:pt x="60" y="28"/>
                    </a:lnTo>
                    <a:lnTo>
                      <a:pt x="60" y="28"/>
                    </a:lnTo>
                    <a:lnTo>
                      <a:pt x="62" y="28"/>
                    </a:lnTo>
                    <a:lnTo>
                      <a:pt x="62" y="28"/>
                    </a:lnTo>
                    <a:lnTo>
                      <a:pt x="64" y="26"/>
                    </a:lnTo>
                    <a:lnTo>
                      <a:pt x="64" y="26"/>
                    </a:lnTo>
                    <a:lnTo>
                      <a:pt x="66" y="26"/>
                    </a:lnTo>
                    <a:lnTo>
                      <a:pt x="66" y="26"/>
                    </a:lnTo>
                    <a:lnTo>
                      <a:pt x="66" y="26"/>
                    </a:lnTo>
                    <a:lnTo>
                      <a:pt x="66" y="26"/>
                    </a:lnTo>
                    <a:lnTo>
                      <a:pt x="66" y="28"/>
                    </a:lnTo>
                    <a:lnTo>
                      <a:pt x="68" y="28"/>
                    </a:lnTo>
                    <a:lnTo>
                      <a:pt x="68" y="30"/>
                    </a:lnTo>
                    <a:lnTo>
                      <a:pt x="68" y="32"/>
                    </a:lnTo>
                    <a:lnTo>
                      <a:pt x="68" y="32"/>
                    </a:lnTo>
                    <a:lnTo>
                      <a:pt x="68" y="34"/>
                    </a:lnTo>
                    <a:lnTo>
                      <a:pt x="68" y="36"/>
                    </a:lnTo>
                    <a:lnTo>
                      <a:pt x="68" y="36"/>
                    </a:lnTo>
                    <a:lnTo>
                      <a:pt x="66" y="38"/>
                    </a:lnTo>
                    <a:lnTo>
                      <a:pt x="66" y="38"/>
                    </a:lnTo>
                    <a:lnTo>
                      <a:pt x="64" y="40"/>
                    </a:lnTo>
                    <a:lnTo>
                      <a:pt x="64" y="40"/>
                    </a:lnTo>
                    <a:lnTo>
                      <a:pt x="62" y="40"/>
                    </a:lnTo>
                    <a:lnTo>
                      <a:pt x="60" y="40"/>
                    </a:lnTo>
                    <a:lnTo>
                      <a:pt x="58" y="42"/>
                    </a:lnTo>
                    <a:lnTo>
                      <a:pt x="54" y="42"/>
                    </a:lnTo>
                    <a:lnTo>
                      <a:pt x="50" y="42"/>
                    </a:lnTo>
                    <a:lnTo>
                      <a:pt x="48" y="44"/>
                    </a:lnTo>
                    <a:lnTo>
                      <a:pt x="44" y="44"/>
                    </a:lnTo>
                    <a:lnTo>
                      <a:pt x="44" y="42"/>
                    </a:lnTo>
                    <a:lnTo>
                      <a:pt x="42" y="42"/>
                    </a:lnTo>
                    <a:lnTo>
                      <a:pt x="40" y="42"/>
                    </a:lnTo>
                    <a:lnTo>
                      <a:pt x="36" y="40"/>
                    </a:lnTo>
                    <a:lnTo>
                      <a:pt x="34" y="40"/>
                    </a:lnTo>
                    <a:lnTo>
                      <a:pt x="28" y="36"/>
                    </a:lnTo>
                    <a:lnTo>
                      <a:pt x="26" y="36"/>
                    </a:lnTo>
                    <a:lnTo>
                      <a:pt x="22" y="34"/>
                    </a:lnTo>
                    <a:lnTo>
                      <a:pt x="20" y="34"/>
                    </a:lnTo>
                    <a:lnTo>
                      <a:pt x="18" y="32"/>
                    </a:lnTo>
                    <a:lnTo>
                      <a:pt x="10" y="32"/>
                    </a:lnTo>
                    <a:lnTo>
                      <a:pt x="8" y="30"/>
                    </a:lnTo>
                    <a:lnTo>
                      <a:pt x="6" y="30"/>
                    </a:lnTo>
                    <a:lnTo>
                      <a:pt x="4" y="30"/>
                    </a:lnTo>
                    <a:lnTo>
                      <a:pt x="4" y="30"/>
                    </a:lnTo>
                    <a:lnTo>
                      <a:pt x="2" y="28"/>
                    </a:lnTo>
                    <a:lnTo>
                      <a:pt x="2" y="28"/>
                    </a:lnTo>
                    <a:lnTo>
                      <a:pt x="2" y="26"/>
                    </a:lnTo>
                    <a:lnTo>
                      <a:pt x="2" y="26"/>
                    </a:lnTo>
                    <a:lnTo>
                      <a:pt x="0" y="26"/>
                    </a:lnTo>
                    <a:lnTo>
                      <a:pt x="0" y="24"/>
                    </a:lnTo>
                    <a:lnTo>
                      <a:pt x="2" y="22"/>
                    </a:lnTo>
                    <a:lnTo>
                      <a:pt x="2" y="22"/>
                    </a:lnTo>
                    <a:lnTo>
                      <a:pt x="2" y="20"/>
                    </a:lnTo>
                    <a:lnTo>
                      <a:pt x="4" y="18"/>
                    </a:lnTo>
                    <a:lnTo>
                      <a:pt x="4" y="18"/>
                    </a:lnTo>
                    <a:lnTo>
                      <a:pt x="6" y="16"/>
                    </a:lnTo>
                    <a:lnTo>
                      <a:pt x="6" y="16"/>
                    </a:lnTo>
                    <a:lnTo>
                      <a:pt x="6" y="16"/>
                    </a:lnTo>
                    <a:lnTo>
                      <a:pt x="8" y="16"/>
                    </a:lnTo>
                    <a:lnTo>
                      <a:pt x="10" y="16"/>
                    </a:lnTo>
                    <a:lnTo>
                      <a:pt x="12" y="16"/>
                    </a:lnTo>
                    <a:lnTo>
                      <a:pt x="14" y="16"/>
                    </a:lnTo>
                    <a:lnTo>
                      <a:pt x="16" y="16"/>
                    </a:lnTo>
                    <a:lnTo>
                      <a:pt x="18" y="16"/>
                    </a:lnTo>
                    <a:lnTo>
                      <a:pt x="18" y="16"/>
                    </a:lnTo>
                    <a:lnTo>
                      <a:pt x="20" y="1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2" name="Freeform 172">
                <a:extLst>
                  <a:ext uri="{FF2B5EF4-FFF2-40B4-BE49-F238E27FC236}">
                    <a16:creationId xmlns:a16="http://schemas.microsoft.com/office/drawing/2014/main" id="{D05A605C-8995-4320-B8F5-D401E702BD22}"/>
                  </a:ext>
                </a:extLst>
              </p:cNvPr>
              <p:cNvSpPr>
                <a:spLocks/>
              </p:cNvSpPr>
              <p:nvPr/>
            </p:nvSpPr>
            <p:spPr bwMode="auto">
              <a:xfrm>
                <a:off x="6228053" y="2273467"/>
                <a:ext cx="82550" cy="66675"/>
              </a:xfrm>
              <a:custGeom>
                <a:avLst/>
                <a:gdLst>
                  <a:gd name="T0" fmla="*/ 6 w 52"/>
                  <a:gd name="T1" fmla="*/ 18 h 42"/>
                  <a:gd name="T2" fmla="*/ 10 w 52"/>
                  <a:gd name="T3" fmla="*/ 10 h 42"/>
                  <a:gd name="T4" fmla="*/ 12 w 52"/>
                  <a:gd name="T5" fmla="*/ 8 h 42"/>
                  <a:gd name="T6" fmla="*/ 16 w 52"/>
                  <a:gd name="T7" fmla="*/ 4 h 42"/>
                  <a:gd name="T8" fmla="*/ 18 w 52"/>
                  <a:gd name="T9" fmla="*/ 2 h 42"/>
                  <a:gd name="T10" fmla="*/ 20 w 52"/>
                  <a:gd name="T11" fmla="*/ 2 h 42"/>
                  <a:gd name="T12" fmla="*/ 22 w 52"/>
                  <a:gd name="T13" fmla="*/ 0 h 42"/>
                  <a:gd name="T14" fmla="*/ 24 w 52"/>
                  <a:gd name="T15" fmla="*/ 2 h 42"/>
                  <a:gd name="T16" fmla="*/ 24 w 52"/>
                  <a:gd name="T17" fmla="*/ 2 h 42"/>
                  <a:gd name="T18" fmla="*/ 24 w 52"/>
                  <a:gd name="T19" fmla="*/ 4 h 42"/>
                  <a:gd name="T20" fmla="*/ 26 w 52"/>
                  <a:gd name="T21" fmla="*/ 8 h 42"/>
                  <a:gd name="T22" fmla="*/ 28 w 52"/>
                  <a:gd name="T23" fmla="*/ 10 h 42"/>
                  <a:gd name="T24" fmla="*/ 30 w 52"/>
                  <a:gd name="T25" fmla="*/ 10 h 42"/>
                  <a:gd name="T26" fmla="*/ 32 w 52"/>
                  <a:gd name="T27" fmla="*/ 12 h 42"/>
                  <a:gd name="T28" fmla="*/ 36 w 52"/>
                  <a:gd name="T29" fmla="*/ 12 h 42"/>
                  <a:gd name="T30" fmla="*/ 40 w 52"/>
                  <a:gd name="T31" fmla="*/ 12 h 42"/>
                  <a:gd name="T32" fmla="*/ 46 w 52"/>
                  <a:gd name="T33" fmla="*/ 12 h 42"/>
                  <a:gd name="T34" fmla="*/ 48 w 52"/>
                  <a:gd name="T35" fmla="*/ 14 h 42"/>
                  <a:gd name="T36" fmla="*/ 50 w 52"/>
                  <a:gd name="T37" fmla="*/ 14 h 42"/>
                  <a:gd name="T38" fmla="*/ 52 w 52"/>
                  <a:gd name="T39" fmla="*/ 18 h 42"/>
                  <a:gd name="T40" fmla="*/ 52 w 52"/>
                  <a:gd name="T41" fmla="*/ 20 h 42"/>
                  <a:gd name="T42" fmla="*/ 52 w 52"/>
                  <a:gd name="T43" fmla="*/ 24 h 42"/>
                  <a:gd name="T44" fmla="*/ 52 w 52"/>
                  <a:gd name="T45" fmla="*/ 28 h 42"/>
                  <a:gd name="T46" fmla="*/ 52 w 52"/>
                  <a:gd name="T47" fmla="*/ 30 h 42"/>
                  <a:gd name="T48" fmla="*/ 50 w 52"/>
                  <a:gd name="T49" fmla="*/ 34 h 42"/>
                  <a:gd name="T50" fmla="*/ 48 w 52"/>
                  <a:gd name="T51" fmla="*/ 36 h 42"/>
                  <a:gd name="T52" fmla="*/ 46 w 52"/>
                  <a:gd name="T53" fmla="*/ 38 h 42"/>
                  <a:gd name="T54" fmla="*/ 44 w 52"/>
                  <a:gd name="T55" fmla="*/ 40 h 42"/>
                  <a:gd name="T56" fmla="*/ 40 w 52"/>
                  <a:gd name="T57" fmla="*/ 42 h 42"/>
                  <a:gd name="T58" fmla="*/ 34 w 52"/>
                  <a:gd name="T59" fmla="*/ 42 h 42"/>
                  <a:gd name="T60" fmla="*/ 28 w 52"/>
                  <a:gd name="T61" fmla="*/ 42 h 42"/>
                  <a:gd name="T62" fmla="*/ 20 w 52"/>
                  <a:gd name="T63" fmla="*/ 42 h 42"/>
                  <a:gd name="T64" fmla="*/ 14 w 52"/>
                  <a:gd name="T65" fmla="*/ 42 h 42"/>
                  <a:gd name="T66" fmla="*/ 8 w 52"/>
                  <a:gd name="T67" fmla="*/ 40 h 42"/>
                  <a:gd name="T68" fmla="*/ 6 w 52"/>
                  <a:gd name="T69" fmla="*/ 40 h 42"/>
                  <a:gd name="T70" fmla="*/ 4 w 52"/>
                  <a:gd name="T71" fmla="*/ 38 h 42"/>
                  <a:gd name="T72" fmla="*/ 2 w 52"/>
                  <a:gd name="T73" fmla="*/ 36 h 42"/>
                  <a:gd name="T74" fmla="*/ 0 w 52"/>
                  <a:gd name="T75" fmla="*/ 34 h 42"/>
                  <a:gd name="T76" fmla="*/ 0 w 52"/>
                  <a:gd name="T77" fmla="*/ 32 h 42"/>
                  <a:gd name="T78" fmla="*/ 0 w 52"/>
                  <a:gd name="T79" fmla="*/ 30 h 42"/>
                  <a:gd name="T80" fmla="*/ 0 w 52"/>
                  <a:gd name="T81" fmla="*/ 28 h 42"/>
                  <a:gd name="T82" fmla="*/ 4 w 52"/>
                  <a:gd name="T83"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 h="42">
                    <a:moveTo>
                      <a:pt x="6" y="18"/>
                    </a:moveTo>
                    <a:lnTo>
                      <a:pt x="6" y="18"/>
                    </a:lnTo>
                    <a:lnTo>
                      <a:pt x="8" y="14"/>
                    </a:lnTo>
                    <a:lnTo>
                      <a:pt x="10" y="10"/>
                    </a:lnTo>
                    <a:lnTo>
                      <a:pt x="10" y="10"/>
                    </a:lnTo>
                    <a:lnTo>
                      <a:pt x="12" y="8"/>
                    </a:lnTo>
                    <a:lnTo>
                      <a:pt x="14" y="6"/>
                    </a:lnTo>
                    <a:lnTo>
                      <a:pt x="16" y="4"/>
                    </a:lnTo>
                    <a:lnTo>
                      <a:pt x="16" y="4"/>
                    </a:lnTo>
                    <a:lnTo>
                      <a:pt x="18" y="2"/>
                    </a:lnTo>
                    <a:lnTo>
                      <a:pt x="20" y="2"/>
                    </a:lnTo>
                    <a:lnTo>
                      <a:pt x="20" y="2"/>
                    </a:lnTo>
                    <a:lnTo>
                      <a:pt x="22" y="2"/>
                    </a:lnTo>
                    <a:lnTo>
                      <a:pt x="22" y="0"/>
                    </a:lnTo>
                    <a:lnTo>
                      <a:pt x="22" y="2"/>
                    </a:lnTo>
                    <a:lnTo>
                      <a:pt x="24" y="2"/>
                    </a:lnTo>
                    <a:lnTo>
                      <a:pt x="24" y="2"/>
                    </a:lnTo>
                    <a:lnTo>
                      <a:pt x="24" y="2"/>
                    </a:lnTo>
                    <a:lnTo>
                      <a:pt x="24" y="4"/>
                    </a:lnTo>
                    <a:lnTo>
                      <a:pt x="24" y="4"/>
                    </a:lnTo>
                    <a:lnTo>
                      <a:pt x="26" y="6"/>
                    </a:lnTo>
                    <a:lnTo>
                      <a:pt x="26" y="8"/>
                    </a:lnTo>
                    <a:lnTo>
                      <a:pt x="26" y="8"/>
                    </a:lnTo>
                    <a:lnTo>
                      <a:pt x="28" y="10"/>
                    </a:lnTo>
                    <a:lnTo>
                      <a:pt x="28" y="10"/>
                    </a:lnTo>
                    <a:lnTo>
                      <a:pt x="30" y="10"/>
                    </a:lnTo>
                    <a:lnTo>
                      <a:pt x="32" y="10"/>
                    </a:lnTo>
                    <a:lnTo>
                      <a:pt x="32" y="12"/>
                    </a:lnTo>
                    <a:lnTo>
                      <a:pt x="34" y="12"/>
                    </a:lnTo>
                    <a:lnTo>
                      <a:pt x="36" y="12"/>
                    </a:lnTo>
                    <a:lnTo>
                      <a:pt x="38" y="10"/>
                    </a:lnTo>
                    <a:lnTo>
                      <a:pt x="40" y="12"/>
                    </a:lnTo>
                    <a:lnTo>
                      <a:pt x="42" y="12"/>
                    </a:lnTo>
                    <a:lnTo>
                      <a:pt x="46" y="12"/>
                    </a:lnTo>
                    <a:lnTo>
                      <a:pt x="48" y="12"/>
                    </a:lnTo>
                    <a:lnTo>
                      <a:pt x="48" y="14"/>
                    </a:lnTo>
                    <a:lnTo>
                      <a:pt x="50" y="14"/>
                    </a:lnTo>
                    <a:lnTo>
                      <a:pt x="50" y="14"/>
                    </a:lnTo>
                    <a:lnTo>
                      <a:pt x="50" y="16"/>
                    </a:lnTo>
                    <a:lnTo>
                      <a:pt x="52" y="18"/>
                    </a:lnTo>
                    <a:lnTo>
                      <a:pt x="52" y="20"/>
                    </a:lnTo>
                    <a:lnTo>
                      <a:pt x="52" y="20"/>
                    </a:lnTo>
                    <a:lnTo>
                      <a:pt x="52" y="22"/>
                    </a:lnTo>
                    <a:lnTo>
                      <a:pt x="52" y="24"/>
                    </a:lnTo>
                    <a:lnTo>
                      <a:pt x="52" y="26"/>
                    </a:lnTo>
                    <a:lnTo>
                      <a:pt x="52" y="28"/>
                    </a:lnTo>
                    <a:lnTo>
                      <a:pt x="52" y="28"/>
                    </a:lnTo>
                    <a:lnTo>
                      <a:pt x="52" y="30"/>
                    </a:lnTo>
                    <a:lnTo>
                      <a:pt x="52" y="32"/>
                    </a:lnTo>
                    <a:lnTo>
                      <a:pt x="50" y="34"/>
                    </a:lnTo>
                    <a:lnTo>
                      <a:pt x="50" y="36"/>
                    </a:lnTo>
                    <a:lnTo>
                      <a:pt x="48" y="36"/>
                    </a:lnTo>
                    <a:lnTo>
                      <a:pt x="48" y="38"/>
                    </a:lnTo>
                    <a:lnTo>
                      <a:pt x="46" y="38"/>
                    </a:lnTo>
                    <a:lnTo>
                      <a:pt x="46" y="40"/>
                    </a:lnTo>
                    <a:lnTo>
                      <a:pt x="44" y="40"/>
                    </a:lnTo>
                    <a:lnTo>
                      <a:pt x="42" y="40"/>
                    </a:lnTo>
                    <a:lnTo>
                      <a:pt x="40" y="42"/>
                    </a:lnTo>
                    <a:lnTo>
                      <a:pt x="38" y="42"/>
                    </a:lnTo>
                    <a:lnTo>
                      <a:pt x="34" y="42"/>
                    </a:lnTo>
                    <a:lnTo>
                      <a:pt x="32" y="42"/>
                    </a:lnTo>
                    <a:lnTo>
                      <a:pt x="28" y="42"/>
                    </a:lnTo>
                    <a:lnTo>
                      <a:pt x="22" y="42"/>
                    </a:lnTo>
                    <a:lnTo>
                      <a:pt x="20" y="42"/>
                    </a:lnTo>
                    <a:lnTo>
                      <a:pt x="16" y="42"/>
                    </a:lnTo>
                    <a:lnTo>
                      <a:pt x="14" y="42"/>
                    </a:lnTo>
                    <a:lnTo>
                      <a:pt x="10" y="42"/>
                    </a:lnTo>
                    <a:lnTo>
                      <a:pt x="8" y="40"/>
                    </a:lnTo>
                    <a:lnTo>
                      <a:pt x="6" y="40"/>
                    </a:lnTo>
                    <a:lnTo>
                      <a:pt x="6" y="40"/>
                    </a:lnTo>
                    <a:lnTo>
                      <a:pt x="4" y="40"/>
                    </a:lnTo>
                    <a:lnTo>
                      <a:pt x="4" y="38"/>
                    </a:lnTo>
                    <a:lnTo>
                      <a:pt x="2" y="38"/>
                    </a:lnTo>
                    <a:lnTo>
                      <a:pt x="2" y="36"/>
                    </a:lnTo>
                    <a:lnTo>
                      <a:pt x="0" y="36"/>
                    </a:lnTo>
                    <a:lnTo>
                      <a:pt x="0" y="34"/>
                    </a:lnTo>
                    <a:lnTo>
                      <a:pt x="0" y="34"/>
                    </a:lnTo>
                    <a:lnTo>
                      <a:pt x="0" y="32"/>
                    </a:lnTo>
                    <a:lnTo>
                      <a:pt x="0" y="32"/>
                    </a:lnTo>
                    <a:lnTo>
                      <a:pt x="0" y="30"/>
                    </a:lnTo>
                    <a:lnTo>
                      <a:pt x="0" y="30"/>
                    </a:lnTo>
                    <a:lnTo>
                      <a:pt x="0" y="28"/>
                    </a:lnTo>
                    <a:lnTo>
                      <a:pt x="2" y="26"/>
                    </a:lnTo>
                    <a:lnTo>
                      <a:pt x="4" y="22"/>
                    </a:lnTo>
                    <a:lnTo>
                      <a:pt x="6" y="1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3" name="Freeform 174">
                <a:extLst>
                  <a:ext uri="{FF2B5EF4-FFF2-40B4-BE49-F238E27FC236}">
                    <a16:creationId xmlns:a16="http://schemas.microsoft.com/office/drawing/2014/main" id="{BC5F30BB-08A3-493E-A110-B37C15225091}"/>
                  </a:ext>
                </a:extLst>
              </p:cNvPr>
              <p:cNvSpPr>
                <a:spLocks/>
              </p:cNvSpPr>
              <p:nvPr/>
            </p:nvSpPr>
            <p:spPr bwMode="auto">
              <a:xfrm>
                <a:off x="6977353" y="2419517"/>
                <a:ext cx="152400" cy="69850"/>
              </a:xfrm>
              <a:custGeom>
                <a:avLst/>
                <a:gdLst>
                  <a:gd name="T0" fmla="*/ 52 w 96"/>
                  <a:gd name="T1" fmla="*/ 4 h 44"/>
                  <a:gd name="T2" fmla="*/ 52 w 96"/>
                  <a:gd name="T3" fmla="*/ 8 h 44"/>
                  <a:gd name="T4" fmla="*/ 52 w 96"/>
                  <a:gd name="T5" fmla="*/ 14 h 44"/>
                  <a:gd name="T6" fmla="*/ 50 w 96"/>
                  <a:gd name="T7" fmla="*/ 16 h 44"/>
                  <a:gd name="T8" fmla="*/ 48 w 96"/>
                  <a:gd name="T9" fmla="*/ 16 h 44"/>
                  <a:gd name="T10" fmla="*/ 42 w 96"/>
                  <a:gd name="T11" fmla="*/ 16 h 44"/>
                  <a:gd name="T12" fmla="*/ 36 w 96"/>
                  <a:gd name="T13" fmla="*/ 16 h 44"/>
                  <a:gd name="T14" fmla="*/ 32 w 96"/>
                  <a:gd name="T15" fmla="*/ 14 h 44"/>
                  <a:gd name="T16" fmla="*/ 30 w 96"/>
                  <a:gd name="T17" fmla="*/ 8 h 44"/>
                  <a:gd name="T18" fmla="*/ 24 w 96"/>
                  <a:gd name="T19" fmla="*/ 4 h 44"/>
                  <a:gd name="T20" fmla="*/ 18 w 96"/>
                  <a:gd name="T21" fmla="*/ 2 h 44"/>
                  <a:gd name="T22" fmla="*/ 14 w 96"/>
                  <a:gd name="T23" fmla="*/ 0 h 44"/>
                  <a:gd name="T24" fmla="*/ 8 w 96"/>
                  <a:gd name="T25" fmla="*/ 2 h 44"/>
                  <a:gd name="T26" fmla="*/ 4 w 96"/>
                  <a:gd name="T27" fmla="*/ 6 h 44"/>
                  <a:gd name="T28" fmla="*/ 2 w 96"/>
                  <a:gd name="T29" fmla="*/ 10 h 44"/>
                  <a:gd name="T30" fmla="*/ 0 w 96"/>
                  <a:gd name="T31" fmla="*/ 14 h 44"/>
                  <a:gd name="T32" fmla="*/ 0 w 96"/>
                  <a:gd name="T33" fmla="*/ 22 h 44"/>
                  <a:gd name="T34" fmla="*/ 2 w 96"/>
                  <a:gd name="T35" fmla="*/ 28 h 44"/>
                  <a:gd name="T36" fmla="*/ 4 w 96"/>
                  <a:gd name="T37" fmla="*/ 30 h 44"/>
                  <a:gd name="T38" fmla="*/ 12 w 96"/>
                  <a:gd name="T39" fmla="*/ 36 h 44"/>
                  <a:gd name="T40" fmla="*/ 20 w 96"/>
                  <a:gd name="T41" fmla="*/ 40 h 44"/>
                  <a:gd name="T42" fmla="*/ 28 w 96"/>
                  <a:gd name="T43" fmla="*/ 42 h 44"/>
                  <a:gd name="T44" fmla="*/ 38 w 96"/>
                  <a:gd name="T45" fmla="*/ 44 h 44"/>
                  <a:gd name="T46" fmla="*/ 44 w 96"/>
                  <a:gd name="T47" fmla="*/ 42 h 44"/>
                  <a:gd name="T48" fmla="*/ 46 w 96"/>
                  <a:gd name="T49" fmla="*/ 42 h 44"/>
                  <a:gd name="T50" fmla="*/ 50 w 96"/>
                  <a:gd name="T51" fmla="*/ 36 h 44"/>
                  <a:gd name="T52" fmla="*/ 54 w 96"/>
                  <a:gd name="T53" fmla="*/ 34 h 44"/>
                  <a:gd name="T54" fmla="*/ 56 w 96"/>
                  <a:gd name="T55" fmla="*/ 34 h 44"/>
                  <a:gd name="T56" fmla="*/ 60 w 96"/>
                  <a:gd name="T57" fmla="*/ 36 h 44"/>
                  <a:gd name="T58" fmla="*/ 68 w 96"/>
                  <a:gd name="T59" fmla="*/ 40 h 44"/>
                  <a:gd name="T60" fmla="*/ 72 w 96"/>
                  <a:gd name="T61" fmla="*/ 40 h 44"/>
                  <a:gd name="T62" fmla="*/ 78 w 96"/>
                  <a:gd name="T63" fmla="*/ 40 h 44"/>
                  <a:gd name="T64" fmla="*/ 86 w 96"/>
                  <a:gd name="T65" fmla="*/ 40 h 44"/>
                  <a:gd name="T66" fmla="*/ 90 w 96"/>
                  <a:gd name="T67" fmla="*/ 38 h 44"/>
                  <a:gd name="T68" fmla="*/ 94 w 96"/>
                  <a:gd name="T69" fmla="*/ 34 h 44"/>
                  <a:gd name="T70" fmla="*/ 96 w 96"/>
                  <a:gd name="T71" fmla="*/ 30 h 44"/>
                  <a:gd name="T72" fmla="*/ 96 w 96"/>
                  <a:gd name="T73" fmla="*/ 28 h 44"/>
                  <a:gd name="T74" fmla="*/ 94 w 96"/>
                  <a:gd name="T75" fmla="*/ 26 h 44"/>
                  <a:gd name="T76" fmla="*/ 88 w 96"/>
                  <a:gd name="T77" fmla="*/ 26 h 44"/>
                  <a:gd name="T78" fmla="*/ 82 w 96"/>
                  <a:gd name="T79" fmla="*/ 24 h 44"/>
                  <a:gd name="T80" fmla="*/ 80 w 96"/>
                  <a:gd name="T81" fmla="*/ 22 h 44"/>
                  <a:gd name="T82" fmla="*/ 78 w 96"/>
                  <a:gd name="T83" fmla="*/ 18 h 44"/>
                  <a:gd name="T84" fmla="*/ 76 w 96"/>
                  <a:gd name="T85" fmla="*/ 12 h 44"/>
                  <a:gd name="T86" fmla="*/ 74 w 96"/>
                  <a:gd name="T87" fmla="*/ 8 h 44"/>
                  <a:gd name="T88" fmla="*/ 68 w 96"/>
                  <a:gd name="T89" fmla="*/ 6 h 44"/>
                  <a:gd name="T90" fmla="*/ 62 w 96"/>
                  <a:gd name="T91" fmla="*/ 2 h 44"/>
                  <a:gd name="T92" fmla="*/ 58 w 96"/>
                  <a:gd name="T93" fmla="*/ 2 h 44"/>
                  <a:gd name="T94" fmla="*/ 54 w 96"/>
                  <a:gd name="T95"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6" h="44">
                    <a:moveTo>
                      <a:pt x="54" y="4"/>
                    </a:moveTo>
                    <a:lnTo>
                      <a:pt x="54" y="4"/>
                    </a:lnTo>
                    <a:lnTo>
                      <a:pt x="52" y="4"/>
                    </a:lnTo>
                    <a:lnTo>
                      <a:pt x="52" y="6"/>
                    </a:lnTo>
                    <a:lnTo>
                      <a:pt x="52" y="6"/>
                    </a:lnTo>
                    <a:lnTo>
                      <a:pt x="52" y="8"/>
                    </a:lnTo>
                    <a:lnTo>
                      <a:pt x="52" y="10"/>
                    </a:lnTo>
                    <a:lnTo>
                      <a:pt x="52" y="12"/>
                    </a:lnTo>
                    <a:lnTo>
                      <a:pt x="52" y="14"/>
                    </a:lnTo>
                    <a:lnTo>
                      <a:pt x="52" y="16"/>
                    </a:lnTo>
                    <a:lnTo>
                      <a:pt x="50" y="16"/>
                    </a:lnTo>
                    <a:lnTo>
                      <a:pt x="50" y="16"/>
                    </a:lnTo>
                    <a:lnTo>
                      <a:pt x="50" y="16"/>
                    </a:lnTo>
                    <a:lnTo>
                      <a:pt x="48" y="16"/>
                    </a:lnTo>
                    <a:lnTo>
                      <a:pt x="48" y="16"/>
                    </a:lnTo>
                    <a:lnTo>
                      <a:pt x="48" y="16"/>
                    </a:lnTo>
                    <a:lnTo>
                      <a:pt x="44" y="16"/>
                    </a:lnTo>
                    <a:lnTo>
                      <a:pt x="42" y="16"/>
                    </a:lnTo>
                    <a:lnTo>
                      <a:pt x="40" y="16"/>
                    </a:lnTo>
                    <a:lnTo>
                      <a:pt x="38" y="16"/>
                    </a:lnTo>
                    <a:lnTo>
                      <a:pt x="36" y="16"/>
                    </a:lnTo>
                    <a:lnTo>
                      <a:pt x="34" y="14"/>
                    </a:lnTo>
                    <a:lnTo>
                      <a:pt x="34" y="14"/>
                    </a:lnTo>
                    <a:lnTo>
                      <a:pt x="32" y="14"/>
                    </a:lnTo>
                    <a:lnTo>
                      <a:pt x="32" y="12"/>
                    </a:lnTo>
                    <a:lnTo>
                      <a:pt x="30" y="10"/>
                    </a:lnTo>
                    <a:lnTo>
                      <a:pt x="30" y="8"/>
                    </a:lnTo>
                    <a:lnTo>
                      <a:pt x="30" y="8"/>
                    </a:lnTo>
                    <a:lnTo>
                      <a:pt x="26" y="6"/>
                    </a:lnTo>
                    <a:lnTo>
                      <a:pt x="24" y="4"/>
                    </a:lnTo>
                    <a:lnTo>
                      <a:pt x="22" y="4"/>
                    </a:lnTo>
                    <a:lnTo>
                      <a:pt x="20" y="2"/>
                    </a:lnTo>
                    <a:lnTo>
                      <a:pt x="18" y="2"/>
                    </a:lnTo>
                    <a:lnTo>
                      <a:pt x="16" y="0"/>
                    </a:lnTo>
                    <a:lnTo>
                      <a:pt x="14" y="0"/>
                    </a:lnTo>
                    <a:lnTo>
                      <a:pt x="14" y="0"/>
                    </a:lnTo>
                    <a:lnTo>
                      <a:pt x="12" y="0"/>
                    </a:lnTo>
                    <a:lnTo>
                      <a:pt x="10" y="2"/>
                    </a:lnTo>
                    <a:lnTo>
                      <a:pt x="8" y="2"/>
                    </a:lnTo>
                    <a:lnTo>
                      <a:pt x="8" y="4"/>
                    </a:lnTo>
                    <a:lnTo>
                      <a:pt x="6" y="4"/>
                    </a:lnTo>
                    <a:lnTo>
                      <a:pt x="4" y="6"/>
                    </a:lnTo>
                    <a:lnTo>
                      <a:pt x="2" y="6"/>
                    </a:lnTo>
                    <a:lnTo>
                      <a:pt x="2" y="8"/>
                    </a:lnTo>
                    <a:lnTo>
                      <a:pt x="2" y="10"/>
                    </a:lnTo>
                    <a:lnTo>
                      <a:pt x="0" y="10"/>
                    </a:lnTo>
                    <a:lnTo>
                      <a:pt x="0" y="12"/>
                    </a:lnTo>
                    <a:lnTo>
                      <a:pt x="0" y="14"/>
                    </a:lnTo>
                    <a:lnTo>
                      <a:pt x="0" y="16"/>
                    </a:lnTo>
                    <a:lnTo>
                      <a:pt x="0" y="20"/>
                    </a:lnTo>
                    <a:lnTo>
                      <a:pt x="0" y="22"/>
                    </a:lnTo>
                    <a:lnTo>
                      <a:pt x="0" y="24"/>
                    </a:lnTo>
                    <a:lnTo>
                      <a:pt x="2" y="26"/>
                    </a:lnTo>
                    <a:lnTo>
                      <a:pt x="2" y="28"/>
                    </a:lnTo>
                    <a:lnTo>
                      <a:pt x="2" y="28"/>
                    </a:lnTo>
                    <a:lnTo>
                      <a:pt x="4" y="30"/>
                    </a:lnTo>
                    <a:lnTo>
                      <a:pt x="4" y="30"/>
                    </a:lnTo>
                    <a:lnTo>
                      <a:pt x="8" y="32"/>
                    </a:lnTo>
                    <a:lnTo>
                      <a:pt x="10" y="34"/>
                    </a:lnTo>
                    <a:lnTo>
                      <a:pt x="12" y="36"/>
                    </a:lnTo>
                    <a:lnTo>
                      <a:pt x="16" y="38"/>
                    </a:lnTo>
                    <a:lnTo>
                      <a:pt x="18" y="40"/>
                    </a:lnTo>
                    <a:lnTo>
                      <a:pt x="20" y="40"/>
                    </a:lnTo>
                    <a:lnTo>
                      <a:pt x="22" y="42"/>
                    </a:lnTo>
                    <a:lnTo>
                      <a:pt x="26" y="42"/>
                    </a:lnTo>
                    <a:lnTo>
                      <a:pt x="28" y="42"/>
                    </a:lnTo>
                    <a:lnTo>
                      <a:pt x="32" y="42"/>
                    </a:lnTo>
                    <a:lnTo>
                      <a:pt x="36" y="44"/>
                    </a:lnTo>
                    <a:lnTo>
                      <a:pt x="38" y="44"/>
                    </a:lnTo>
                    <a:lnTo>
                      <a:pt x="42" y="44"/>
                    </a:lnTo>
                    <a:lnTo>
                      <a:pt x="42" y="44"/>
                    </a:lnTo>
                    <a:lnTo>
                      <a:pt x="44" y="42"/>
                    </a:lnTo>
                    <a:lnTo>
                      <a:pt x="44" y="42"/>
                    </a:lnTo>
                    <a:lnTo>
                      <a:pt x="46" y="42"/>
                    </a:lnTo>
                    <a:lnTo>
                      <a:pt x="46" y="42"/>
                    </a:lnTo>
                    <a:lnTo>
                      <a:pt x="48" y="40"/>
                    </a:lnTo>
                    <a:lnTo>
                      <a:pt x="50" y="38"/>
                    </a:lnTo>
                    <a:lnTo>
                      <a:pt x="50" y="36"/>
                    </a:lnTo>
                    <a:lnTo>
                      <a:pt x="52" y="36"/>
                    </a:lnTo>
                    <a:lnTo>
                      <a:pt x="54" y="34"/>
                    </a:lnTo>
                    <a:lnTo>
                      <a:pt x="54" y="34"/>
                    </a:lnTo>
                    <a:lnTo>
                      <a:pt x="54" y="34"/>
                    </a:lnTo>
                    <a:lnTo>
                      <a:pt x="54" y="34"/>
                    </a:lnTo>
                    <a:lnTo>
                      <a:pt x="56" y="34"/>
                    </a:lnTo>
                    <a:lnTo>
                      <a:pt x="56" y="34"/>
                    </a:lnTo>
                    <a:lnTo>
                      <a:pt x="58" y="34"/>
                    </a:lnTo>
                    <a:lnTo>
                      <a:pt x="60" y="36"/>
                    </a:lnTo>
                    <a:lnTo>
                      <a:pt x="62" y="36"/>
                    </a:lnTo>
                    <a:lnTo>
                      <a:pt x="66" y="38"/>
                    </a:lnTo>
                    <a:lnTo>
                      <a:pt x="68" y="40"/>
                    </a:lnTo>
                    <a:lnTo>
                      <a:pt x="68" y="40"/>
                    </a:lnTo>
                    <a:lnTo>
                      <a:pt x="70" y="40"/>
                    </a:lnTo>
                    <a:lnTo>
                      <a:pt x="72" y="40"/>
                    </a:lnTo>
                    <a:lnTo>
                      <a:pt x="74" y="40"/>
                    </a:lnTo>
                    <a:lnTo>
                      <a:pt x="76" y="40"/>
                    </a:lnTo>
                    <a:lnTo>
                      <a:pt x="78" y="40"/>
                    </a:lnTo>
                    <a:lnTo>
                      <a:pt x="82" y="40"/>
                    </a:lnTo>
                    <a:lnTo>
                      <a:pt x="84" y="40"/>
                    </a:lnTo>
                    <a:lnTo>
                      <a:pt x="86" y="40"/>
                    </a:lnTo>
                    <a:lnTo>
                      <a:pt x="88" y="40"/>
                    </a:lnTo>
                    <a:lnTo>
                      <a:pt x="88" y="40"/>
                    </a:lnTo>
                    <a:lnTo>
                      <a:pt x="90" y="38"/>
                    </a:lnTo>
                    <a:lnTo>
                      <a:pt x="90" y="38"/>
                    </a:lnTo>
                    <a:lnTo>
                      <a:pt x="92" y="36"/>
                    </a:lnTo>
                    <a:lnTo>
                      <a:pt x="94" y="34"/>
                    </a:lnTo>
                    <a:lnTo>
                      <a:pt x="94" y="32"/>
                    </a:lnTo>
                    <a:lnTo>
                      <a:pt x="96" y="32"/>
                    </a:lnTo>
                    <a:lnTo>
                      <a:pt x="96" y="30"/>
                    </a:lnTo>
                    <a:lnTo>
                      <a:pt x="96" y="30"/>
                    </a:lnTo>
                    <a:lnTo>
                      <a:pt x="96" y="30"/>
                    </a:lnTo>
                    <a:lnTo>
                      <a:pt x="96" y="28"/>
                    </a:lnTo>
                    <a:lnTo>
                      <a:pt x="96" y="28"/>
                    </a:lnTo>
                    <a:lnTo>
                      <a:pt x="94" y="28"/>
                    </a:lnTo>
                    <a:lnTo>
                      <a:pt x="94" y="26"/>
                    </a:lnTo>
                    <a:lnTo>
                      <a:pt x="92" y="26"/>
                    </a:lnTo>
                    <a:lnTo>
                      <a:pt x="92" y="26"/>
                    </a:lnTo>
                    <a:lnTo>
                      <a:pt x="88" y="26"/>
                    </a:lnTo>
                    <a:lnTo>
                      <a:pt x="86" y="26"/>
                    </a:lnTo>
                    <a:lnTo>
                      <a:pt x="84" y="24"/>
                    </a:lnTo>
                    <a:lnTo>
                      <a:pt x="82" y="24"/>
                    </a:lnTo>
                    <a:lnTo>
                      <a:pt x="82" y="24"/>
                    </a:lnTo>
                    <a:lnTo>
                      <a:pt x="80" y="24"/>
                    </a:lnTo>
                    <a:lnTo>
                      <a:pt x="80" y="22"/>
                    </a:lnTo>
                    <a:lnTo>
                      <a:pt x="80" y="22"/>
                    </a:lnTo>
                    <a:lnTo>
                      <a:pt x="78" y="20"/>
                    </a:lnTo>
                    <a:lnTo>
                      <a:pt x="78" y="18"/>
                    </a:lnTo>
                    <a:lnTo>
                      <a:pt x="76" y="16"/>
                    </a:lnTo>
                    <a:lnTo>
                      <a:pt x="76" y="14"/>
                    </a:lnTo>
                    <a:lnTo>
                      <a:pt x="76" y="12"/>
                    </a:lnTo>
                    <a:lnTo>
                      <a:pt x="74" y="10"/>
                    </a:lnTo>
                    <a:lnTo>
                      <a:pt x="74" y="8"/>
                    </a:lnTo>
                    <a:lnTo>
                      <a:pt x="74" y="8"/>
                    </a:lnTo>
                    <a:lnTo>
                      <a:pt x="72" y="8"/>
                    </a:lnTo>
                    <a:lnTo>
                      <a:pt x="70" y="6"/>
                    </a:lnTo>
                    <a:lnTo>
                      <a:pt x="68" y="6"/>
                    </a:lnTo>
                    <a:lnTo>
                      <a:pt x="66" y="4"/>
                    </a:lnTo>
                    <a:lnTo>
                      <a:pt x="64" y="4"/>
                    </a:lnTo>
                    <a:lnTo>
                      <a:pt x="62" y="2"/>
                    </a:lnTo>
                    <a:lnTo>
                      <a:pt x="60" y="2"/>
                    </a:lnTo>
                    <a:lnTo>
                      <a:pt x="60" y="2"/>
                    </a:lnTo>
                    <a:lnTo>
                      <a:pt x="58" y="2"/>
                    </a:lnTo>
                    <a:lnTo>
                      <a:pt x="58" y="2"/>
                    </a:lnTo>
                    <a:lnTo>
                      <a:pt x="56" y="2"/>
                    </a:lnTo>
                    <a:lnTo>
                      <a:pt x="54" y="4"/>
                    </a:lnTo>
                    <a:lnTo>
                      <a:pt x="54" y="4"/>
                    </a:lnTo>
                    <a:lnTo>
                      <a:pt x="54" y="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4" name="Freeform 176">
                <a:extLst>
                  <a:ext uri="{FF2B5EF4-FFF2-40B4-BE49-F238E27FC236}">
                    <a16:creationId xmlns:a16="http://schemas.microsoft.com/office/drawing/2014/main" id="{86213498-2262-47AD-AB0D-C8460F97FA79}"/>
                  </a:ext>
                </a:extLst>
              </p:cNvPr>
              <p:cNvSpPr>
                <a:spLocks/>
              </p:cNvSpPr>
              <p:nvPr/>
            </p:nvSpPr>
            <p:spPr bwMode="auto">
              <a:xfrm>
                <a:off x="7164678" y="2444917"/>
                <a:ext cx="92075" cy="34925"/>
              </a:xfrm>
              <a:custGeom>
                <a:avLst/>
                <a:gdLst>
                  <a:gd name="T0" fmla="*/ 2 w 58"/>
                  <a:gd name="T1" fmla="*/ 0 h 22"/>
                  <a:gd name="T2" fmla="*/ 4 w 58"/>
                  <a:gd name="T3" fmla="*/ 0 h 22"/>
                  <a:gd name="T4" fmla="*/ 4 w 58"/>
                  <a:gd name="T5" fmla="*/ 0 h 22"/>
                  <a:gd name="T6" fmla="*/ 6 w 58"/>
                  <a:gd name="T7" fmla="*/ 2 h 22"/>
                  <a:gd name="T8" fmla="*/ 8 w 58"/>
                  <a:gd name="T9" fmla="*/ 4 h 22"/>
                  <a:gd name="T10" fmla="*/ 10 w 58"/>
                  <a:gd name="T11" fmla="*/ 6 h 22"/>
                  <a:gd name="T12" fmla="*/ 14 w 58"/>
                  <a:gd name="T13" fmla="*/ 6 h 22"/>
                  <a:gd name="T14" fmla="*/ 20 w 58"/>
                  <a:gd name="T15" fmla="*/ 6 h 22"/>
                  <a:gd name="T16" fmla="*/ 28 w 58"/>
                  <a:gd name="T17" fmla="*/ 6 h 22"/>
                  <a:gd name="T18" fmla="*/ 34 w 58"/>
                  <a:gd name="T19" fmla="*/ 6 h 22"/>
                  <a:gd name="T20" fmla="*/ 40 w 58"/>
                  <a:gd name="T21" fmla="*/ 4 h 22"/>
                  <a:gd name="T22" fmla="*/ 46 w 58"/>
                  <a:gd name="T23" fmla="*/ 4 h 22"/>
                  <a:gd name="T24" fmla="*/ 50 w 58"/>
                  <a:gd name="T25" fmla="*/ 4 h 22"/>
                  <a:gd name="T26" fmla="*/ 52 w 58"/>
                  <a:gd name="T27" fmla="*/ 4 h 22"/>
                  <a:gd name="T28" fmla="*/ 56 w 58"/>
                  <a:gd name="T29" fmla="*/ 6 h 22"/>
                  <a:gd name="T30" fmla="*/ 56 w 58"/>
                  <a:gd name="T31" fmla="*/ 6 h 22"/>
                  <a:gd name="T32" fmla="*/ 58 w 58"/>
                  <a:gd name="T33" fmla="*/ 10 h 22"/>
                  <a:gd name="T34" fmla="*/ 58 w 58"/>
                  <a:gd name="T35" fmla="*/ 14 h 22"/>
                  <a:gd name="T36" fmla="*/ 58 w 58"/>
                  <a:gd name="T37" fmla="*/ 16 h 22"/>
                  <a:gd name="T38" fmla="*/ 58 w 58"/>
                  <a:gd name="T39" fmla="*/ 18 h 22"/>
                  <a:gd name="T40" fmla="*/ 56 w 58"/>
                  <a:gd name="T41" fmla="*/ 20 h 22"/>
                  <a:gd name="T42" fmla="*/ 54 w 58"/>
                  <a:gd name="T43" fmla="*/ 22 h 22"/>
                  <a:gd name="T44" fmla="*/ 50 w 58"/>
                  <a:gd name="T45" fmla="*/ 22 h 22"/>
                  <a:gd name="T46" fmla="*/ 46 w 58"/>
                  <a:gd name="T47" fmla="*/ 22 h 22"/>
                  <a:gd name="T48" fmla="*/ 40 w 58"/>
                  <a:gd name="T49" fmla="*/ 22 h 22"/>
                  <a:gd name="T50" fmla="*/ 28 w 58"/>
                  <a:gd name="T51" fmla="*/ 22 h 22"/>
                  <a:gd name="T52" fmla="*/ 18 w 58"/>
                  <a:gd name="T53" fmla="*/ 20 h 22"/>
                  <a:gd name="T54" fmla="*/ 14 w 58"/>
                  <a:gd name="T55" fmla="*/ 18 h 22"/>
                  <a:gd name="T56" fmla="*/ 10 w 58"/>
                  <a:gd name="T57" fmla="*/ 16 h 22"/>
                  <a:gd name="T58" fmla="*/ 8 w 58"/>
                  <a:gd name="T59" fmla="*/ 14 h 22"/>
                  <a:gd name="T60" fmla="*/ 4 w 58"/>
                  <a:gd name="T61" fmla="*/ 12 h 22"/>
                  <a:gd name="T62" fmla="*/ 2 w 58"/>
                  <a:gd name="T63" fmla="*/ 10 h 22"/>
                  <a:gd name="T64" fmla="*/ 2 w 58"/>
                  <a:gd name="T65" fmla="*/ 6 h 22"/>
                  <a:gd name="T66" fmla="*/ 0 w 58"/>
                  <a:gd name="T67" fmla="*/ 4 h 22"/>
                  <a:gd name="T68" fmla="*/ 2 w 58"/>
                  <a:gd name="T69" fmla="*/ 2 h 22"/>
                  <a:gd name="T70" fmla="*/ 2 w 58"/>
                  <a:gd name="T71" fmla="*/ 0 h 22"/>
                  <a:gd name="T72" fmla="*/ 2 w 58"/>
                  <a:gd name="T7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8" h="22">
                    <a:moveTo>
                      <a:pt x="2" y="0"/>
                    </a:moveTo>
                    <a:lnTo>
                      <a:pt x="2" y="0"/>
                    </a:lnTo>
                    <a:lnTo>
                      <a:pt x="2" y="0"/>
                    </a:lnTo>
                    <a:lnTo>
                      <a:pt x="4" y="0"/>
                    </a:lnTo>
                    <a:lnTo>
                      <a:pt x="4" y="0"/>
                    </a:lnTo>
                    <a:lnTo>
                      <a:pt x="4" y="0"/>
                    </a:lnTo>
                    <a:lnTo>
                      <a:pt x="6" y="0"/>
                    </a:lnTo>
                    <a:lnTo>
                      <a:pt x="6" y="2"/>
                    </a:lnTo>
                    <a:lnTo>
                      <a:pt x="8" y="4"/>
                    </a:lnTo>
                    <a:lnTo>
                      <a:pt x="8" y="4"/>
                    </a:lnTo>
                    <a:lnTo>
                      <a:pt x="10" y="6"/>
                    </a:lnTo>
                    <a:lnTo>
                      <a:pt x="10" y="6"/>
                    </a:lnTo>
                    <a:lnTo>
                      <a:pt x="12" y="6"/>
                    </a:lnTo>
                    <a:lnTo>
                      <a:pt x="14" y="6"/>
                    </a:lnTo>
                    <a:lnTo>
                      <a:pt x="18" y="6"/>
                    </a:lnTo>
                    <a:lnTo>
                      <a:pt x="20" y="6"/>
                    </a:lnTo>
                    <a:lnTo>
                      <a:pt x="26" y="6"/>
                    </a:lnTo>
                    <a:lnTo>
                      <a:pt x="28" y="6"/>
                    </a:lnTo>
                    <a:lnTo>
                      <a:pt x="32" y="6"/>
                    </a:lnTo>
                    <a:lnTo>
                      <a:pt x="34" y="6"/>
                    </a:lnTo>
                    <a:lnTo>
                      <a:pt x="36" y="4"/>
                    </a:lnTo>
                    <a:lnTo>
                      <a:pt x="40" y="4"/>
                    </a:lnTo>
                    <a:lnTo>
                      <a:pt x="44" y="4"/>
                    </a:lnTo>
                    <a:lnTo>
                      <a:pt x="46" y="4"/>
                    </a:lnTo>
                    <a:lnTo>
                      <a:pt x="48" y="4"/>
                    </a:lnTo>
                    <a:lnTo>
                      <a:pt x="50" y="4"/>
                    </a:lnTo>
                    <a:lnTo>
                      <a:pt x="52" y="4"/>
                    </a:lnTo>
                    <a:lnTo>
                      <a:pt x="52" y="4"/>
                    </a:lnTo>
                    <a:lnTo>
                      <a:pt x="54" y="4"/>
                    </a:lnTo>
                    <a:lnTo>
                      <a:pt x="56" y="6"/>
                    </a:lnTo>
                    <a:lnTo>
                      <a:pt x="56" y="6"/>
                    </a:lnTo>
                    <a:lnTo>
                      <a:pt x="56" y="6"/>
                    </a:lnTo>
                    <a:lnTo>
                      <a:pt x="56" y="8"/>
                    </a:lnTo>
                    <a:lnTo>
                      <a:pt x="58" y="10"/>
                    </a:lnTo>
                    <a:lnTo>
                      <a:pt x="58" y="12"/>
                    </a:lnTo>
                    <a:lnTo>
                      <a:pt x="58" y="14"/>
                    </a:lnTo>
                    <a:lnTo>
                      <a:pt x="58" y="16"/>
                    </a:lnTo>
                    <a:lnTo>
                      <a:pt x="58" y="16"/>
                    </a:lnTo>
                    <a:lnTo>
                      <a:pt x="58" y="18"/>
                    </a:lnTo>
                    <a:lnTo>
                      <a:pt x="58" y="18"/>
                    </a:lnTo>
                    <a:lnTo>
                      <a:pt x="58" y="18"/>
                    </a:lnTo>
                    <a:lnTo>
                      <a:pt x="56" y="20"/>
                    </a:lnTo>
                    <a:lnTo>
                      <a:pt x="56" y="20"/>
                    </a:lnTo>
                    <a:lnTo>
                      <a:pt x="54" y="22"/>
                    </a:lnTo>
                    <a:lnTo>
                      <a:pt x="52" y="22"/>
                    </a:lnTo>
                    <a:lnTo>
                      <a:pt x="50" y="22"/>
                    </a:lnTo>
                    <a:lnTo>
                      <a:pt x="48" y="22"/>
                    </a:lnTo>
                    <a:lnTo>
                      <a:pt x="46" y="22"/>
                    </a:lnTo>
                    <a:lnTo>
                      <a:pt x="44" y="22"/>
                    </a:lnTo>
                    <a:lnTo>
                      <a:pt x="40" y="22"/>
                    </a:lnTo>
                    <a:lnTo>
                      <a:pt x="34" y="22"/>
                    </a:lnTo>
                    <a:lnTo>
                      <a:pt x="28" y="22"/>
                    </a:lnTo>
                    <a:lnTo>
                      <a:pt x="24" y="20"/>
                    </a:lnTo>
                    <a:lnTo>
                      <a:pt x="18" y="20"/>
                    </a:lnTo>
                    <a:lnTo>
                      <a:pt x="16" y="18"/>
                    </a:lnTo>
                    <a:lnTo>
                      <a:pt x="14" y="18"/>
                    </a:lnTo>
                    <a:lnTo>
                      <a:pt x="12" y="18"/>
                    </a:lnTo>
                    <a:lnTo>
                      <a:pt x="10" y="16"/>
                    </a:lnTo>
                    <a:lnTo>
                      <a:pt x="8" y="16"/>
                    </a:lnTo>
                    <a:lnTo>
                      <a:pt x="8" y="14"/>
                    </a:lnTo>
                    <a:lnTo>
                      <a:pt x="6" y="14"/>
                    </a:lnTo>
                    <a:lnTo>
                      <a:pt x="4" y="12"/>
                    </a:lnTo>
                    <a:lnTo>
                      <a:pt x="4" y="10"/>
                    </a:lnTo>
                    <a:lnTo>
                      <a:pt x="2" y="10"/>
                    </a:lnTo>
                    <a:lnTo>
                      <a:pt x="2" y="8"/>
                    </a:lnTo>
                    <a:lnTo>
                      <a:pt x="2" y="6"/>
                    </a:lnTo>
                    <a:lnTo>
                      <a:pt x="0" y="4"/>
                    </a:lnTo>
                    <a:lnTo>
                      <a:pt x="0" y="4"/>
                    </a:lnTo>
                    <a:lnTo>
                      <a:pt x="0" y="2"/>
                    </a:lnTo>
                    <a:lnTo>
                      <a:pt x="2" y="2"/>
                    </a:lnTo>
                    <a:lnTo>
                      <a:pt x="2" y="0"/>
                    </a:lnTo>
                    <a:lnTo>
                      <a:pt x="2" y="0"/>
                    </a:lnTo>
                    <a:lnTo>
                      <a:pt x="2" y="0"/>
                    </a:lnTo>
                    <a:lnTo>
                      <a:pt x="2"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5" name="Freeform 178">
                <a:extLst>
                  <a:ext uri="{FF2B5EF4-FFF2-40B4-BE49-F238E27FC236}">
                    <a16:creationId xmlns:a16="http://schemas.microsoft.com/office/drawing/2014/main" id="{AD731108-7A7B-4D81-A11F-B2483803E42D}"/>
                  </a:ext>
                </a:extLst>
              </p:cNvPr>
              <p:cNvSpPr>
                <a:spLocks/>
              </p:cNvSpPr>
              <p:nvPr/>
            </p:nvSpPr>
            <p:spPr bwMode="auto">
              <a:xfrm>
                <a:off x="7891753" y="2603667"/>
                <a:ext cx="66675" cy="44450"/>
              </a:xfrm>
              <a:custGeom>
                <a:avLst/>
                <a:gdLst>
                  <a:gd name="T0" fmla="*/ 16 w 42"/>
                  <a:gd name="T1" fmla="*/ 2 h 28"/>
                  <a:gd name="T2" fmla="*/ 16 w 42"/>
                  <a:gd name="T3" fmla="*/ 2 h 28"/>
                  <a:gd name="T4" fmla="*/ 14 w 42"/>
                  <a:gd name="T5" fmla="*/ 4 h 28"/>
                  <a:gd name="T6" fmla="*/ 14 w 42"/>
                  <a:gd name="T7" fmla="*/ 4 h 28"/>
                  <a:gd name="T8" fmla="*/ 10 w 42"/>
                  <a:gd name="T9" fmla="*/ 8 h 28"/>
                  <a:gd name="T10" fmla="*/ 8 w 42"/>
                  <a:gd name="T11" fmla="*/ 8 h 28"/>
                  <a:gd name="T12" fmla="*/ 6 w 42"/>
                  <a:gd name="T13" fmla="*/ 10 h 28"/>
                  <a:gd name="T14" fmla="*/ 4 w 42"/>
                  <a:gd name="T15" fmla="*/ 12 h 28"/>
                  <a:gd name="T16" fmla="*/ 4 w 42"/>
                  <a:gd name="T17" fmla="*/ 14 h 28"/>
                  <a:gd name="T18" fmla="*/ 4 w 42"/>
                  <a:gd name="T19" fmla="*/ 14 h 28"/>
                  <a:gd name="T20" fmla="*/ 2 w 42"/>
                  <a:gd name="T21" fmla="*/ 16 h 28"/>
                  <a:gd name="T22" fmla="*/ 2 w 42"/>
                  <a:gd name="T23" fmla="*/ 18 h 28"/>
                  <a:gd name="T24" fmla="*/ 0 w 42"/>
                  <a:gd name="T25" fmla="*/ 20 h 28"/>
                  <a:gd name="T26" fmla="*/ 0 w 42"/>
                  <a:gd name="T27" fmla="*/ 22 h 28"/>
                  <a:gd name="T28" fmla="*/ 0 w 42"/>
                  <a:gd name="T29" fmla="*/ 24 h 28"/>
                  <a:gd name="T30" fmla="*/ 0 w 42"/>
                  <a:gd name="T31" fmla="*/ 24 h 28"/>
                  <a:gd name="T32" fmla="*/ 0 w 42"/>
                  <a:gd name="T33" fmla="*/ 26 h 28"/>
                  <a:gd name="T34" fmla="*/ 0 w 42"/>
                  <a:gd name="T35" fmla="*/ 26 h 28"/>
                  <a:gd name="T36" fmla="*/ 0 w 42"/>
                  <a:gd name="T37" fmla="*/ 28 h 28"/>
                  <a:gd name="T38" fmla="*/ 0 w 42"/>
                  <a:gd name="T39" fmla="*/ 28 h 28"/>
                  <a:gd name="T40" fmla="*/ 2 w 42"/>
                  <a:gd name="T41" fmla="*/ 28 h 28"/>
                  <a:gd name="T42" fmla="*/ 2 w 42"/>
                  <a:gd name="T43" fmla="*/ 28 h 28"/>
                  <a:gd name="T44" fmla="*/ 4 w 42"/>
                  <a:gd name="T45" fmla="*/ 28 h 28"/>
                  <a:gd name="T46" fmla="*/ 6 w 42"/>
                  <a:gd name="T47" fmla="*/ 28 h 28"/>
                  <a:gd name="T48" fmla="*/ 8 w 42"/>
                  <a:gd name="T49" fmla="*/ 28 h 28"/>
                  <a:gd name="T50" fmla="*/ 10 w 42"/>
                  <a:gd name="T51" fmla="*/ 28 h 28"/>
                  <a:gd name="T52" fmla="*/ 14 w 42"/>
                  <a:gd name="T53" fmla="*/ 28 h 28"/>
                  <a:gd name="T54" fmla="*/ 16 w 42"/>
                  <a:gd name="T55" fmla="*/ 26 h 28"/>
                  <a:gd name="T56" fmla="*/ 20 w 42"/>
                  <a:gd name="T57" fmla="*/ 26 h 28"/>
                  <a:gd name="T58" fmla="*/ 22 w 42"/>
                  <a:gd name="T59" fmla="*/ 26 h 28"/>
                  <a:gd name="T60" fmla="*/ 24 w 42"/>
                  <a:gd name="T61" fmla="*/ 26 h 28"/>
                  <a:gd name="T62" fmla="*/ 26 w 42"/>
                  <a:gd name="T63" fmla="*/ 26 h 28"/>
                  <a:gd name="T64" fmla="*/ 30 w 42"/>
                  <a:gd name="T65" fmla="*/ 26 h 28"/>
                  <a:gd name="T66" fmla="*/ 32 w 42"/>
                  <a:gd name="T67" fmla="*/ 26 h 28"/>
                  <a:gd name="T68" fmla="*/ 34 w 42"/>
                  <a:gd name="T69" fmla="*/ 26 h 28"/>
                  <a:gd name="T70" fmla="*/ 36 w 42"/>
                  <a:gd name="T71" fmla="*/ 26 h 28"/>
                  <a:gd name="T72" fmla="*/ 36 w 42"/>
                  <a:gd name="T73" fmla="*/ 24 h 28"/>
                  <a:gd name="T74" fmla="*/ 36 w 42"/>
                  <a:gd name="T75" fmla="*/ 24 h 28"/>
                  <a:gd name="T76" fmla="*/ 38 w 42"/>
                  <a:gd name="T77" fmla="*/ 24 h 28"/>
                  <a:gd name="T78" fmla="*/ 38 w 42"/>
                  <a:gd name="T79" fmla="*/ 24 h 28"/>
                  <a:gd name="T80" fmla="*/ 38 w 42"/>
                  <a:gd name="T81" fmla="*/ 22 h 28"/>
                  <a:gd name="T82" fmla="*/ 40 w 42"/>
                  <a:gd name="T83" fmla="*/ 20 h 28"/>
                  <a:gd name="T84" fmla="*/ 40 w 42"/>
                  <a:gd name="T85" fmla="*/ 18 h 28"/>
                  <a:gd name="T86" fmla="*/ 40 w 42"/>
                  <a:gd name="T87" fmla="*/ 16 h 28"/>
                  <a:gd name="T88" fmla="*/ 42 w 42"/>
                  <a:gd name="T89" fmla="*/ 12 h 28"/>
                  <a:gd name="T90" fmla="*/ 40 w 42"/>
                  <a:gd name="T91" fmla="*/ 10 h 28"/>
                  <a:gd name="T92" fmla="*/ 40 w 42"/>
                  <a:gd name="T93" fmla="*/ 10 h 28"/>
                  <a:gd name="T94" fmla="*/ 40 w 42"/>
                  <a:gd name="T95" fmla="*/ 10 h 28"/>
                  <a:gd name="T96" fmla="*/ 40 w 42"/>
                  <a:gd name="T97" fmla="*/ 8 h 28"/>
                  <a:gd name="T98" fmla="*/ 40 w 42"/>
                  <a:gd name="T99" fmla="*/ 8 h 28"/>
                  <a:gd name="T100" fmla="*/ 38 w 42"/>
                  <a:gd name="T101" fmla="*/ 6 h 28"/>
                  <a:gd name="T102" fmla="*/ 36 w 42"/>
                  <a:gd name="T103" fmla="*/ 4 h 28"/>
                  <a:gd name="T104" fmla="*/ 34 w 42"/>
                  <a:gd name="T105" fmla="*/ 4 h 28"/>
                  <a:gd name="T106" fmla="*/ 32 w 42"/>
                  <a:gd name="T107" fmla="*/ 2 h 28"/>
                  <a:gd name="T108" fmla="*/ 30 w 42"/>
                  <a:gd name="T109" fmla="*/ 2 h 28"/>
                  <a:gd name="T110" fmla="*/ 28 w 42"/>
                  <a:gd name="T111" fmla="*/ 0 h 28"/>
                  <a:gd name="T112" fmla="*/ 26 w 42"/>
                  <a:gd name="T113" fmla="*/ 0 h 28"/>
                  <a:gd name="T114" fmla="*/ 26 w 42"/>
                  <a:gd name="T115" fmla="*/ 0 h 28"/>
                  <a:gd name="T116" fmla="*/ 24 w 42"/>
                  <a:gd name="T117" fmla="*/ 0 h 28"/>
                  <a:gd name="T118" fmla="*/ 22 w 42"/>
                  <a:gd name="T119" fmla="*/ 2 h 28"/>
                  <a:gd name="T120" fmla="*/ 18 w 42"/>
                  <a:gd name="T121" fmla="*/ 2 h 28"/>
                  <a:gd name="T122" fmla="*/ 16 w 42"/>
                  <a:gd name="T123"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 h="28">
                    <a:moveTo>
                      <a:pt x="16" y="2"/>
                    </a:moveTo>
                    <a:lnTo>
                      <a:pt x="16" y="2"/>
                    </a:lnTo>
                    <a:lnTo>
                      <a:pt x="14" y="4"/>
                    </a:lnTo>
                    <a:lnTo>
                      <a:pt x="14" y="4"/>
                    </a:lnTo>
                    <a:lnTo>
                      <a:pt x="10" y="8"/>
                    </a:lnTo>
                    <a:lnTo>
                      <a:pt x="8" y="8"/>
                    </a:lnTo>
                    <a:lnTo>
                      <a:pt x="6" y="10"/>
                    </a:lnTo>
                    <a:lnTo>
                      <a:pt x="4" y="12"/>
                    </a:lnTo>
                    <a:lnTo>
                      <a:pt x="4" y="14"/>
                    </a:lnTo>
                    <a:lnTo>
                      <a:pt x="4" y="14"/>
                    </a:lnTo>
                    <a:lnTo>
                      <a:pt x="2" y="16"/>
                    </a:lnTo>
                    <a:lnTo>
                      <a:pt x="2" y="18"/>
                    </a:lnTo>
                    <a:lnTo>
                      <a:pt x="0" y="20"/>
                    </a:lnTo>
                    <a:lnTo>
                      <a:pt x="0" y="22"/>
                    </a:lnTo>
                    <a:lnTo>
                      <a:pt x="0" y="24"/>
                    </a:lnTo>
                    <a:lnTo>
                      <a:pt x="0" y="24"/>
                    </a:lnTo>
                    <a:lnTo>
                      <a:pt x="0" y="26"/>
                    </a:lnTo>
                    <a:lnTo>
                      <a:pt x="0" y="26"/>
                    </a:lnTo>
                    <a:lnTo>
                      <a:pt x="0" y="28"/>
                    </a:lnTo>
                    <a:lnTo>
                      <a:pt x="0" y="28"/>
                    </a:lnTo>
                    <a:lnTo>
                      <a:pt x="2" y="28"/>
                    </a:lnTo>
                    <a:lnTo>
                      <a:pt x="2" y="28"/>
                    </a:lnTo>
                    <a:lnTo>
                      <a:pt x="4" y="28"/>
                    </a:lnTo>
                    <a:lnTo>
                      <a:pt x="6" y="28"/>
                    </a:lnTo>
                    <a:lnTo>
                      <a:pt x="8" y="28"/>
                    </a:lnTo>
                    <a:lnTo>
                      <a:pt x="10" y="28"/>
                    </a:lnTo>
                    <a:lnTo>
                      <a:pt x="14" y="28"/>
                    </a:lnTo>
                    <a:lnTo>
                      <a:pt x="16" y="26"/>
                    </a:lnTo>
                    <a:lnTo>
                      <a:pt x="20" y="26"/>
                    </a:lnTo>
                    <a:lnTo>
                      <a:pt x="22" y="26"/>
                    </a:lnTo>
                    <a:lnTo>
                      <a:pt x="24" y="26"/>
                    </a:lnTo>
                    <a:lnTo>
                      <a:pt x="26" y="26"/>
                    </a:lnTo>
                    <a:lnTo>
                      <a:pt x="30" y="26"/>
                    </a:lnTo>
                    <a:lnTo>
                      <a:pt x="32" y="26"/>
                    </a:lnTo>
                    <a:lnTo>
                      <a:pt x="34" y="26"/>
                    </a:lnTo>
                    <a:lnTo>
                      <a:pt x="36" y="26"/>
                    </a:lnTo>
                    <a:lnTo>
                      <a:pt x="36" y="24"/>
                    </a:lnTo>
                    <a:lnTo>
                      <a:pt x="36" y="24"/>
                    </a:lnTo>
                    <a:lnTo>
                      <a:pt x="38" y="24"/>
                    </a:lnTo>
                    <a:lnTo>
                      <a:pt x="38" y="24"/>
                    </a:lnTo>
                    <a:lnTo>
                      <a:pt x="38" y="22"/>
                    </a:lnTo>
                    <a:lnTo>
                      <a:pt x="40" y="20"/>
                    </a:lnTo>
                    <a:lnTo>
                      <a:pt x="40" y="18"/>
                    </a:lnTo>
                    <a:lnTo>
                      <a:pt x="40" y="16"/>
                    </a:lnTo>
                    <a:lnTo>
                      <a:pt x="42" y="12"/>
                    </a:lnTo>
                    <a:lnTo>
                      <a:pt x="40" y="10"/>
                    </a:lnTo>
                    <a:lnTo>
                      <a:pt x="40" y="10"/>
                    </a:lnTo>
                    <a:lnTo>
                      <a:pt x="40" y="10"/>
                    </a:lnTo>
                    <a:lnTo>
                      <a:pt x="40" y="8"/>
                    </a:lnTo>
                    <a:lnTo>
                      <a:pt x="40" y="8"/>
                    </a:lnTo>
                    <a:lnTo>
                      <a:pt x="38" y="6"/>
                    </a:lnTo>
                    <a:lnTo>
                      <a:pt x="36" y="4"/>
                    </a:lnTo>
                    <a:lnTo>
                      <a:pt x="34" y="4"/>
                    </a:lnTo>
                    <a:lnTo>
                      <a:pt x="32" y="2"/>
                    </a:lnTo>
                    <a:lnTo>
                      <a:pt x="30" y="2"/>
                    </a:lnTo>
                    <a:lnTo>
                      <a:pt x="28" y="0"/>
                    </a:lnTo>
                    <a:lnTo>
                      <a:pt x="26" y="0"/>
                    </a:lnTo>
                    <a:lnTo>
                      <a:pt x="26" y="0"/>
                    </a:lnTo>
                    <a:lnTo>
                      <a:pt x="24" y="0"/>
                    </a:lnTo>
                    <a:lnTo>
                      <a:pt x="22" y="2"/>
                    </a:lnTo>
                    <a:lnTo>
                      <a:pt x="18" y="2"/>
                    </a:lnTo>
                    <a:lnTo>
                      <a:pt x="16"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6" name="Freeform 180">
                <a:extLst>
                  <a:ext uri="{FF2B5EF4-FFF2-40B4-BE49-F238E27FC236}">
                    <a16:creationId xmlns:a16="http://schemas.microsoft.com/office/drawing/2014/main" id="{27E01BBC-A00A-489D-BE60-5A9FF1465EEF}"/>
                  </a:ext>
                </a:extLst>
              </p:cNvPr>
              <p:cNvSpPr>
                <a:spLocks/>
              </p:cNvSpPr>
              <p:nvPr/>
            </p:nvSpPr>
            <p:spPr bwMode="auto">
              <a:xfrm>
                <a:off x="7361528" y="3248192"/>
                <a:ext cx="88900" cy="174625"/>
              </a:xfrm>
              <a:custGeom>
                <a:avLst/>
                <a:gdLst>
                  <a:gd name="T0" fmla="*/ 6 w 56"/>
                  <a:gd name="T1" fmla="*/ 12 h 110"/>
                  <a:gd name="T2" fmla="*/ 4 w 56"/>
                  <a:gd name="T3" fmla="*/ 20 h 110"/>
                  <a:gd name="T4" fmla="*/ 6 w 56"/>
                  <a:gd name="T5" fmla="*/ 26 h 110"/>
                  <a:gd name="T6" fmla="*/ 12 w 56"/>
                  <a:gd name="T7" fmla="*/ 46 h 110"/>
                  <a:gd name="T8" fmla="*/ 14 w 56"/>
                  <a:gd name="T9" fmla="*/ 58 h 110"/>
                  <a:gd name="T10" fmla="*/ 18 w 56"/>
                  <a:gd name="T11" fmla="*/ 70 h 110"/>
                  <a:gd name="T12" fmla="*/ 20 w 56"/>
                  <a:gd name="T13" fmla="*/ 76 h 110"/>
                  <a:gd name="T14" fmla="*/ 24 w 56"/>
                  <a:gd name="T15" fmla="*/ 80 h 110"/>
                  <a:gd name="T16" fmla="*/ 28 w 56"/>
                  <a:gd name="T17" fmla="*/ 82 h 110"/>
                  <a:gd name="T18" fmla="*/ 28 w 56"/>
                  <a:gd name="T19" fmla="*/ 84 h 110"/>
                  <a:gd name="T20" fmla="*/ 26 w 56"/>
                  <a:gd name="T21" fmla="*/ 90 h 110"/>
                  <a:gd name="T22" fmla="*/ 22 w 56"/>
                  <a:gd name="T23" fmla="*/ 96 h 110"/>
                  <a:gd name="T24" fmla="*/ 22 w 56"/>
                  <a:gd name="T25" fmla="*/ 98 h 110"/>
                  <a:gd name="T26" fmla="*/ 24 w 56"/>
                  <a:gd name="T27" fmla="*/ 102 h 110"/>
                  <a:gd name="T28" fmla="*/ 26 w 56"/>
                  <a:gd name="T29" fmla="*/ 104 h 110"/>
                  <a:gd name="T30" fmla="*/ 30 w 56"/>
                  <a:gd name="T31" fmla="*/ 104 h 110"/>
                  <a:gd name="T32" fmla="*/ 32 w 56"/>
                  <a:gd name="T33" fmla="*/ 104 h 110"/>
                  <a:gd name="T34" fmla="*/ 40 w 56"/>
                  <a:gd name="T35" fmla="*/ 108 h 110"/>
                  <a:gd name="T36" fmla="*/ 44 w 56"/>
                  <a:gd name="T37" fmla="*/ 110 h 110"/>
                  <a:gd name="T38" fmla="*/ 48 w 56"/>
                  <a:gd name="T39" fmla="*/ 110 h 110"/>
                  <a:gd name="T40" fmla="*/ 52 w 56"/>
                  <a:gd name="T41" fmla="*/ 108 h 110"/>
                  <a:gd name="T42" fmla="*/ 56 w 56"/>
                  <a:gd name="T43" fmla="*/ 106 h 110"/>
                  <a:gd name="T44" fmla="*/ 56 w 56"/>
                  <a:gd name="T45" fmla="*/ 102 h 110"/>
                  <a:gd name="T46" fmla="*/ 54 w 56"/>
                  <a:gd name="T47" fmla="*/ 98 h 110"/>
                  <a:gd name="T48" fmla="*/ 48 w 56"/>
                  <a:gd name="T49" fmla="*/ 88 h 110"/>
                  <a:gd name="T50" fmla="*/ 46 w 56"/>
                  <a:gd name="T51" fmla="*/ 82 h 110"/>
                  <a:gd name="T52" fmla="*/ 40 w 56"/>
                  <a:gd name="T53" fmla="*/ 70 h 110"/>
                  <a:gd name="T54" fmla="*/ 36 w 56"/>
                  <a:gd name="T55" fmla="*/ 64 h 110"/>
                  <a:gd name="T56" fmla="*/ 34 w 56"/>
                  <a:gd name="T57" fmla="*/ 60 h 110"/>
                  <a:gd name="T58" fmla="*/ 36 w 56"/>
                  <a:gd name="T59" fmla="*/ 58 h 110"/>
                  <a:gd name="T60" fmla="*/ 36 w 56"/>
                  <a:gd name="T61" fmla="*/ 56 h 110"/>
                  <a:gd name="T62" fmla="*/ 40 w 56"/>
                  <a:gd name="T63" fmla="*/ 58 h 110"/>
                  <a:gd name="T64" fmla="*/ 44 w 56"/>
                  <a:gd name="T65" fmla="*/ 60 h 110"/>
                  <a:gd name="T66" fmla="*/ 46 w 56"/>
                  <a:gd name="T67" fmla="*/ 60 h 110"/>
                  <a:gd name="T68" fmla="*/ 46 w 56"/>
                  <a:gd name="T69" fmla="*/ 58 h 110"/>
                  <a:gd name="T70" fmla="*/ 46 w 56"/>
                  <a:gd name="T71" fmla="*/ 54 h 110"/>
                  <a:gd name="T72" fmla="*/ 42 w 56"/>
                  <a:gd name="T73" fmla="*/ 50 h 110"/>
                  <a:gd name="T74" fmla="*/ 34 w 56"/>
                  <a:gd name="T75" fmla="*/ 42 h 110"/>
                  <a:gd name="T76" fmla="*/ 26 w 56"/>
                  <a:gd name="T77" fmla="*/ 32 h 110"/>
                  <a:gd name="T78" fmla="*/ 22 w 56"/>
                  <a:gd name="T79" fmla="*/ 26 h 110"/>
                  <a:gd name="T80" fmla="*/ 20 w 56"/>
                  <a:gd name="T81" fmla="*/ 20 h 110"/>
                  <a:gd name="T82" fmla="*/ 20 w 56"/>
                  <a:gd name="T83" fmla="*/ 8 h 110"/>
                  <a:gd name="T84" fmla="*/ 18 w 56"/>
                  <a:gd name="T85" fmla="*/ 6 h 110"/>
                  <a:gd name="T86" fmla="*/ 16 w 56"/>
                  <a:gd name="T87" fmla="*/ 4 h 110"/>
                  <a:gd name="T88" fmla="*/ 10 w 56"/>
                  <a:gd name="T89" fmla="*/ 0 h 110"/>
                  <a:gd name="T90" fmla="*/ 4 w 56"/>
                  <a:gd name="T91" fmla="*/ 0 h 110"/>
                  <a:gd name="T92" fmla="*/ 2 w 56"/>
                  <a:gd name="T93" fmla="*/ 0 h 110"/>
                  <a:gd name="T94" fmla="*/ 0 w 56"/>
                  <a:gd name="T95" fmla="*/ 2 h 110"/>
                  <a:gd name="T96" fmla="*/ 2 w 56"/>
                  <a:gd name="T97" fmla="*/ 4 h 110"/>
                  <a:gd name="T98" fmla="*/ 4 w 56"/>
                  <a:gd name="T99" fmla="*/ 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6" h="110">
                    <a:moveTo>
                      <a:pt x="4" y="12"/>
                    </a:moveTo>
                    <a:lnTo>
                      <a:pt x="4" y="12"/>
                    </a:lnTo>
                    <a:lnTo>
                      <a:pt x="6" y="12"/>
                    </a:lnTo>
                    <a:lnTo>
                      <a:pt x="6" y="14"/>
                    </a:lnTo>
                    <a:lnTo>
                      <a:pt x="4" y="16"/>
                    </a:lnTo>
                    <a:lnTo>
                      <a:pt x="4" y="20"/>
                    </a:lnTo>
                    <a:lnTo>
                      <a:pt x="4" y="22"/>
                    </a:lnTo>
                    <a:lnTo>
                      <a:pt x="4" y="22"/>
                    </a:lnTo>
                    <a:lnTo>
                      <a:pt x="6" y="26"/>
                    </a:lnTo>
                    <a:lnTo>
                      <a:pt x="6" y="30"/>
                    </a:lnTo>
                    <a:lnTo>
                      <a:pt x="8" y="36"/>
                    </a:lnTo>
                    <a:lnTo>
                      <a:pt x="12" y="46"/>
                    </a:lnTo>
                    <a:lnTo>
                      <a:pt x="14" y="54"/>
                    </a:lnTo>
                    <a:lnTo>
                      <a:pt x="14" y="56"/>
                    </a:lnTo>
                    <a:lnTo>
                      <a:pt x="14" y="58"/>
                    </a:lnTo>
                    <a:lnTo>
                      <a:pt x="16" y="64"/>
                    </a:lnTo>
                    <a:lnTo>
                      <a:pt x="16" y="68"/>
                    </a:lnTo>
                    <a:lnTo>
                      <a:pt x="18" y="70"/>
                    </a:lnTo>
                    <a:lnTo>
                      <a:pt x="18" y="72"/>
                    </a:lnTo>
                    <a:lnTo>
                      <a:pt x="18" y="74"/>
                    </a:lnTo>
                    <a:lnTo>
                      <a:pt x="20" y="76"/>
                    </a:lnTo>
                    <a:lnTo>
                      <a:pt x="20" y="76"/>
                    </a:lnTo>
                    <a:lnTo>
                      <a:pt x="24" y="78"/>
                    </a:lnTo>
                    <a:lnTo>
                      <a:pt x="24" y="80"/>
                    </a:lnTo>
                    <a:lnTo>
                      <a:pt x="26" y="80"/>
                    </a:lnTo>
                    <a:lnTo>
                      <a:pt x="28" y="82"/>
                    </a:lnTo>
                    <a:lnTo>
                      <a:pt x="28" y="82"/>
                    </a:lnTo>
                    <a:lnTo>
                      <a:pt x="28" y="84"/>
                    </a:lnTo>
                    <a:lnTo>
                      <a:pt x="28" y="84"/>
                    </a:lnTo>
                    <a:lnTo>
                      <a:pt x="28" y="84"/>
                    </a:lnTo>
                    <a:lnTo>
                      <a:pt x="28" y="86"/>
                    </a:lnTo>
                    <a:lnTo>
                      <a:pt x="26" y="88"/>
                    </a:lnTo>
                    <a:lnTo>
                      <a:pt x="26" y="90"/>
                    </a:lnTo>
                    <a:lnTo>
                      <a:pt x="24" y="92"/>
                    </a:lnTo>
                    <a:lnTo>
                      <a:pt x="24" y="94"/>
                    </a:lnTo>
                    <a:lnTo>
                      <a:pt x="22" y="96"/>
                    </a:lnTo>
                    <a:lnTo>
                      <a:pt x="22" y="96"/>
                    </a:lnTo>
                    <a:lnTo>
                      <a:pt x="22" y="98"/>
                    </a:lnTo>
                    <a:lnTo>
                      <a:pt x="22" y="98"/>
                    </a:lnTo>
                    <a:lnTo>
                      <a:pt x="24" y="100"/>
                    </a:lnTo>
                    <a:lnTo>
                      <a:pt x="24" y="102"/>
                    </a:lnTo>
                    <a:lnTo>
                      <a:pt x="24" y="102"/>
                    </a:lnTo>
                    <a:lnTo>
                      <a:pt x="24" y="104"/>
                    </a:lnTo>
                    <a:lnTo>
                      <a:pt x="24" y="104"/>
                    </a:lnTo>
                    <a:lnTo>
                      <a:pt x="26" y="104"/>
                    </a:lnTo>
                    <a:lnTo>
                      <a:pt x="26" y="104"/>
                    </a:lnTo>
                    <a:lnTo>
                      <a:pt x="28" y="104"/>
                    </a:lnTo>
                    <a:lnTo>
                      <a:pt x="30" y="104"/>
                    </a:lnTo>
                    <a:lnTo>
                      <a:pt x="30" y="104"/>
                    </a:lnTo>
                    <a:lnTo>
                      <a:pt x="32" y="104"/>
                    </a:lnTo>
                    <a:lnTo>
                      <a:pt x="32" y="104"/>
                    </a:lnTo>
                    <a:lnTo>
                      <a:pt x="34" y="104"/>
                    </a:lnTo>
                    <a:lnTo>
                      <a:pt x="34" y="104"/>
                    </a:lnTo>
                    <a:lnTo>
                      <a:pt x="40" y="108"/>
                    </a:lnTo>
                    <a:lnTo>
                      <a:pt x="40" y="108"/>
                    </a:lnTo>
                    <a:lnTo>
                      <a:pt x="44" y="110"/>
                    </a:lnTo>
                    <a:lnTo>
                      <a:pt x="44" y="110"/>
                    </a:lnTo>
                    <a:lnTo>
                      <a:pt x="46" y="110"/>
                    </a:lnTo>
                    <a:lnTo>
                      <a:pt x="46" y="110"/>
                    </a:lnTo>
                    <a:lnTo>
                      <a:pt x="48" y="110"/>
                    </a:lnTo>
                    <a:lnTo>
                      <a:pt x="48" y="110"/>
                    </a:lnTo>
                    <a:lnTo>
                      <a:pt x="50" y="110"/>
                    </a:lnTo>
                    <a:lnTo>
                      <a:pt x="52" y="108"/>
                    </a:lnTo>
                    <a:lnTo>
                      <a:pt x="54" y="108"/>
                    </a:lnTo>
                    <a:lnTo>
                      <a:pt x="54" y="106"/>
                    </a:lnTo>
                    <a:lnTo>
                      <a:pt x="56" y="106"/>
                    </a:lnTo>
                    <a:lnTo>
                      <a:pt x="56" y="104"/>
                    </a:lnTo>
                    <a:lnTo>
                      <a:pt x="56" y="104"/>
                    </a:lnTo>
                    <a:lnTo>
                      <a:pt x="56" y="102"/>
                    </a:lnTo>
                    <a:lnTo>
                      <a:pt x="56" y="102"/>
                    </a:lnTo>
                    <a:lnTo>
                      <a:pt x="56" y="100"/>
                    </a:lnTo>
                    <a:lnTo>
                      <a:pt x="54" y="98"/>
                    </a:lnTo>
                    <a:lnTo>
                      <a:pt x="54" y="94"/>
                    </a:lnTo>
                    <a:lnTo>
                      <a:pt x="50" y="90"/>
                    </a:lnTo>
                    <a:lnTo>
                      <a:pt x="48" y="88"/>
                    </a:lnTo>
                    <a:lnTo>
                      <a:pt x="48" y="86"/>
                    </a:lnTo>
                    <a:lnTo>
                      <a:pt x="48" y="84"/>
                    </a:lnTo>
                    <a:lnTo>
                      <a:pt x="46" y="82"/>
                    </a:lnTo>
                    <a:lnTo>
                      <a:pt x="44" y="78"/>
                    </a:lnTo>
                    <a:lnTo>
                      <a:pt x="42" y="76"/>
                    </a:lnTo>
                    <a:lnTo>
                      <a:pt x="40" y="70"/>
                    </a:lnTo>
                    <a:lnTo>
                      <a:pt x="38" y="68"/>
                    </a:lnTo>
                    <a:lnTo>
                      <a:pt x="36" y="66"/>
                    </a:lnTo>
                    <a:lnTo>
                      <a:pt x="36" y="64"/>
                    </a:lnTo>
                    <a:lnTo>
                      <a:pt x="36" y="64"/>
                    </a:lnTo>
                    <a:lnTo>
                      <a:pt x="34" y="62"/>
                    </a:lnTo>
                    <a:lnTo>
                      <a:pt x="34" y="60"/>
                    </a:lnTo>
                    <a:lnTo>
                      <a:pt x="34" y="58"/>
                    </a:lnTo>
                    <a:lnTo>
                      <a:pt x="36" y="58"/>
                    </a:lnTo>
                    <a:lnTo>
                      <a:pt x="36" y="58"/>
                    </a:lnTo>
                    <a:lnTo>
                      <a:pt x="36" y="56"/>
                    </a:lnTo>
                    <a:lnTo>
                      <a:pt x="36" y="56"/>
                    </a:lnTo>
                    <a:lnTo>
                      <a:pt x="36" y="56"/>
                    </a:lnTo>
                    <a:lnTo>
                      <a:pt x="38" y="56"/>
                    </a:lnTo>
                    <a:lnTo>
                      <a:pt x="38" y="56"/>
                    </a:lnTo>
                    <a:lnTo>
                      <a:pt x="40" y="58"/>
                    </a:lnTo>
                    <a:lnTo>
                      <a:pt x="42" y="58"/>
                    </a:lnTo>
                    <a:lnTo>
                      <a:pt x="42" y="58"/>
                    </a:lnTo>
                    <a:lnTo>
                      <a:pt x="44" y="60"/>
                    </a:lnTo>
                    <a:lnTo>
                      <a:pt x="44" y="60"/>
                    </a:lnTo>
                    <a:lnTo>
                      <a:pt x="46" y="60"/>
                    </a:lnTo>
                    <a:lnTo>
                      <a:pt x="46" y="60"/>
                    </a:lnTo>
                    <a:lnTo>
                      <a:pt x="46" y="58"/>
                    </a:lnTo>
                    <a:lnTo>
                      <a:pt x="46" y="58"/>
                    </a:lnTo>
                    <a:lnTo>
                      <a:pt x="46" y="58"/>
                    </a:lnTo>
                    <a:lnTo>
                      <a:pt x="46" y="56"/>
                    </a:lnTo>
                    <a:lnTo>
                      <a:pt x="46" y="56"/>
                    </a:lnTo>
                    <a:lnTo>
                      <a:pt x="46" y="54"/>
                    </a:lnTo>
                    <a:lnTo>
                      <a:pt x="46" y="54"/>
                    </a:lnTo>
                    <a:lnTo>
                      <a:pt x="44" y="52"/>
                    </a:lnTo>
                    <a:lnTo>
                      <a:pt x="42" y="50"/>
                    </a:lnTo>
                    <a:lnTo>
                      <a:pt x="40" y="46"/>
                    </a:lnTo>
                    <a:lnTo>
                      <a:pt x="36" y="44"/>
                    </a:lnTo>
                    <a:lnTo>
                      <a:pt x="34" y="42"/>
                    </a:lnTo>
                    <a:lnTo>
                      <a:pt x="32" y="40"/>
                    </a:lnTo>
                    <a:lnTo>
                      <a:pt x="30" y="36"/>
                    </a:lnTo>
                    <a:lnTo>
                      <a:pt x="26" y="32"/>
                    </a:lnTo>
                    <a:lnTo>
                      <a:pt x="24" y="28"/>
                    </a:lnTo>
                    <a:lnTo>
                      <a:pt x="22" y="26"/>
                    </a:lnTo>
                    <a:lnTo>
                      <a:pt x="22" y="26"/>
                    </a:lnTo>
                    <a:lnTo>
                      <a:pt x="22" y="24"/>
                    </a:lnTo>
                    <a:lnTo>
                      <a:pt x="20" y="22"/>
                    </a:lnTo>
                    <a:lnTo>
                      <a:pt x="20" y="20"/>
                    </a:lnTo>
                    <a:lnTo>
                      <a:pt x="20" y="14"/>
                    </a:lnTo>
                    <a:lnTo>
                      <a:pt x="20" y="12"/>
                    </a:lnTo>
                    <a:lnTo>
                      <a:pt x="20" y="8"/>
                    </a:lnTo>
                    <a:lnTo>
                      <a:pt x="18" y="8"/>
                    </a:lnTo>
                    <a:lnTo>
                      <a:pt x="18" y="6"/>
                    </a:lnTo>
                    <a:lnTo>
                      <a:pt x="18" y="6"/>
                    </a:lnTo>
                    <a:lnTo>
                      <a:pt x="18" y="4"/>
                    </a:lnTo>
                    <a:lnTo>
                      <a:pt x="16" y="4"/>
                    </a:lnTo>
                    <a:lnTo>
                      <a:pt x="16" y="4"/>
                    </a:lnTo>
                    <a:lnTo>
                      <a:pt x="14" y="2"/>
                    </a:lnTo>
                    <a:lnTo>
                      <a:pt x="12" y="2"/>
                    </a:lnTo>
                    <a:lnTo>
                      <a:pt x="10" y="0"/>
                    </a:lnTo>
                    <a:lnTo>
                      <a:pt x="6" y="0"/>
                    </a:lnTo>
                    <a:lnTo>
                      <a:pt x="6" y="0"/>
                    </a:lnTo>
                    <a:lnTo>
                      <a:pt x="4" y="0"/>
                    </a:lnTo>
                    <a:lnTo>
                      <a:pt x="4" y="0"/>
                    </a:lnTo>
                    <a:lnTo>
                      <a:pt x="2" y="0"/>
                    </a:lnTo>
                    <a:lnTo>
                      <a:pt x="2" y="0"/>
                    </a:lnTo>
                    <a:lnTo>
                      <a:pt x="2" y="2"/>
                    </a:lnTo>
                    <a:lnTo>
                      <a:pt x="0" y="2"/>
                    </a:lnTo>
                    <a:lnTo>
                      <a:pt x="0" y="2"/>
                    </a:lnTo>
                    <a:lnTo>
                      <a:pt x="0" y="2"/>
                    </a:lnTo>
                    <a:lnTo>
                      <a:pt x="0" y="4"/>
                    </a:lnTo>
                    <a:lnTo>
                      <a:pt x="2" y="4"/>
                    </a:lnTo>
                    <a:lnTo>
                      <a:pt x="2" y="6"/>
                    </a:lnTo>
                    <a:lnTo>
                      <a:pt x="4" y="8"/>
                    </a:lnTo>
                    <a:lnTo>
                      <a:pt x="4" y="10"/>
                    </a:lnTo>
                    <a:lnTo>
                      <a:pt x="4" y="1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7" name="Freeform 182">
                <a:extLst>
                  <a:ext uri="{FF2B5EF4-FFF2-40B4-BE49-F238E27FC236}">
                    <a16:creationId xmlns:a16="http://schemas.microsoft.com/office/drawing/2014/main" id="{F4433FFF-0A9D-42E4-BE2D-4BCCD7DE44EE}"/>
                  </a:ext>
                </a:extLst>
              </p:cNvPr>
              <p:cNvSpPr>
                <a:spLocks/>
              </p:cNvSpPr>
              <p:nvPr/>
            </p:nvSpPr>
            <p:spPr bwMode="auto">
              <a:xfrm>
                <a:off x="4888203" y="2356017"/>
                <a:ext cx="3333750" cy="1250950"/>
              </a:xfrm>
              <a:custGeom>
                <a:avLst/>
                <a:gdLst>
                  <a:gd name="T0" fmla="*/ 330 w 2100"/>
                  <a:gd name="T1" fmla="*/ 590 h 788"/>
                  <a:gd name="T2" fmla="*/ 432 w 2100"/>
                  <a:gd name="T3" fmla="*/ 580 h 788"/>
                  <a:gd name="T4" fmla="*/ 550 w 2100"/>
                  <a:gd name="T5" fmla="*/ 636 h 788"/>
                  <a:gd name="T6" fmla="*/ 590 w 2100"/>
                  <a:gd name="T7" fmla="*/ 570 h 788"/>
                  <a:gd name="T8" fmla="*/ 746 w 2100"/>
                  <a:gd name="T9" fmla="*/ 584 h 788"/>
                  <a:gd name="T10" fmla="*/ 838 w 2100"/>
                  <a:gd name="T11" fmla="*/ 658 h 788"/>
                  <a:gd name="T12" fmla="*/ 970 w 2100"/>
                  <a:gd name="T13" fmla="*/ 680 h 788"/>
                  <a:gd name="T14" fmla="*/ 976 w 2100"/>
                  <a:gd name="T15" fmla="*/ 602 h 788"/>
                  <a:gd name="T16" fmla="*/ 1120 w 2100"/>
                  <a:gd name="T17" fmla="*/ 654 h 788"/>
                  <a:gd name="T18" fmla="*/ 1196 w 2100"/>
                  <a:gd name="T19" fmla="*/ 644 h 788"/>
                  <a:gd name="T20" fmla="*/ 1270 w 2100"/>
                  <a:gd name="T21" fmla="*/ 620 h 788"/>
                  <a:gd name="T22" fmla="*/ 1372 w 2100"/>
                  <a:gd name="T23" fmla="*/ 646 h 788"/>
                  <a:gd name="T24" fmla="*/ 1482 w 2100"/>
                  <a:gd name="T25" fmla="*/ 694 h 788"/>
                  <a:gd name="T26" fmla="*/ 1452 w 2100"/>
                  <a:gd name="T27" fmla="*/ 774 h 788"/>
                  <a:gd name="T28" fmla="*/ 1548 w 2100"/>
                  <a:gd name="T29" fmla="*/ 644 h 788"/>
                  <a:gd name="T30" fmla="*/ 1492 w 2100"/>
                  <a:gd name="T31" fmla="*/ 576 h 788"/>
                  <a:gd name="T32" fmla="*/ 1540 w 2100"/>
                  <a:gd name="T33" fmla="*/ 456 h 788"/>
                  <a:gd name="T34" fmla="*/ 1658 w 2100"/>
                  <a:gd name="T35" fmla="*/ 462 h 788"/>
                  <a:gd name="T36" fmla="*/ 1758 w 2100"/>
                  <a:gd name="T37" fmla="*/ 416 h 788"/>
                  <a:gd name="T38" fmla="*/ 1748 w 2100"/>
                  <a:gd name="T39" fmla="*/ 468 h 788"/>
                  <a:gd name="T40" fmla="*/ 1784 w 2100"/>
                  <a:gd name="T41" fmla="*/ 608 h 788"/>
                  <a:gd name="T42" fmla="*/ 1826 w 2100"/>
                  <a:gd name="T43" fmla="*/ 514 h 788"/>
                  <a:gd name="T44" fmla="*/ 1858 w 2100"/>
                  <a:gd name="T45" fmla="*/ 420 h 788"/>
                  <a:gd name="T46" fmla="*/ 1924 w 2100"/>
                  <a:gd name="T47" fmla="*/ 394 h 788"/>
                  <a:gd name="T48" fmla="*/ 1946 w 2100"/>
                  <a:gd name="T49" fmla="*/ 340 h 788"/>
                  <a:gd name="T50" fmla="*/ 1986 w 2100"/>
                  <a:gd name="T51" fmla="*/ 300 h 788"/>
                  <a:gd name="T52" fmla="*/ 2070 w 2100"/>
                  <a:gd name="T53" fmla="*/ 348 h 788"/>
                  <a:gd name="T54" fmla="*/ 2096 w 2100"/>
                  <a:gd name="T55" fmla="*/ 282 h 788"/>
                  <a:gd name="T56" fmla="*/ 2000 w 2100"/>
                  <a:gd name="T57" fmla="*/ 260 h 788"/>
                  <a:gd name="T58" fmla="*/ 1884 w 2100"/>
                  <a:gd name="T59" fmla="*/ 206 h 788"/>
                  <a:gd name="T60" fmla="*/ 1772 w 2100"/>
                  <a:gd name="T61" fmla="*/ 206 h 788"/>
                  <a:gd name="T62" fmla="*/ 1650 w 2100"/>
                  <a:gd name="T63" fmla="*/ 186 h 788"/>
                  <a:gd name="T64" fmla="*/ 1490 w 2100"/>
                  <a:gd name="T65" fmla="*/ 144 h 788"/>
                  <a:gd name="T66" fmla="*/ 1384 w 2100"/>
                  <a:gd name="T67" fmla="*/ 138 h 788"/>
                  <a:gd name="T68" fmla="*/ 1300 w 2100"/>
                  <a:gd name="T69" fmla="*/ 150 h 788"/>
                  <a:gd name="T70" fmla="*/ 1238 w 2100"/>
                  <a:gd name="T71" fmla="*/ 140 h 788"/>
                  <a:gd name="T72" fmla="*/ 1142 w 2100"/>
                  <a:gd name="T73" fmla="*/ 126 h 788"/>
                  <a:gd name="T74" fmla="*/ 970 w 2100"/>
                  <a:gd name="T75" fmla="*/ 110 h 788"/>
                  <a:gd name="T76" fmla="*/ 970 w 2100"/>
                  <a:gd name="T77" fmla="*/ 22 h 788"/>
                  <a:gd name="T78" fmla="*/ 870 w 2100"/>
                  <a:gd name="T79" fmla="*/ 28 h 788"/>
                  <a:gd name="T80" fmla="*/ 808 w 2100"/>
                  <a:gd name="T81" fmla="*/ 50 h 788"/>
                  <a:gd name="T82" fmla="*/ 714 w 2100"/>
                  <a:gd name="T83" fmla="*/ 68 h 788"/>
                  <a:gd name="T84" fmla="*/ 650 w 2100"/>
                  <a:gd name="T85" fmla="*/ 110 h 788"/>
                  <a:gd name="T86" fmla="*/ 670 w 2100"/>
                  <a:gd name="T87" fmla="*/ 184 h 788"/>
                  <a:gd name="T88" fmla="*/ 612 w 2100"/>
                  <a:gd name="T89" fmla="*/ 180 h 788"/>
                  <a:gd name="T90" fmla="*/ 558 w 2100"/>
                  <a:gd name="T91" fmla="*/ 162 h 788"/>
                  <a:gd name="T92" fmla="*/ 608 w 2100"/>
                  <a:gd name="T93" fmla="*/ 218 h 788"/>
                  <a:gd name="T94" fmla="*/ 602 w 2100"/>
                  <a:gd name="T95" fmla="*/ 234 h 788"/>
                  <a:gd name="T96" fmla="*/ 546 w 2100"/>
                  <a:gd name="T97" fmla="*/ 272 h 788"/>
                  <a:gd name="T98" fmla="*/ 516 w 2100"/>
                  <a:gd name="T99" fmla="*/ 108 h 788"/>
                  <a:gd name="T100" fmla="*/ 502 w 2100"/>
                  <a:gd name="T101" fmla="*/ 230 h 788"/>
                  <a:gd name="T102" fmla="*/ 396 w 2100"/>
                  <a:gd name="T103" fmla="*/ 216 h 788"/>
                  <a:gd name="T104" fmla="*/ 360 w 2100"/>
                  <a:gd name="T105" fmla="*/ 240 h 788"/>
                  <a:gd name="T106" fmla="*/ 238 w 2100"/>
                  <a:gd name="T107" fmla="*/ 278 h 788"/>
                  <a:gd name="T108" fmla="*/ 206 w 2100"/>
                  <a:gd name="T109" fmla="*/ 290 h 788"/>
                  <a:gd name="T110" fmla="*/ 156 w 2100"/>
                  <a:gd name="T111" fmla="*/ 324 h 788"/>
                  <a:gd name="T112" fmla="*/ 110 w 2100"/>
                  <a:gd name="T113" fmla="*/ 336 h 788"/>
                  <a:gd name="T114" fmla="*/ 74 w 2100"/>
                  <a:gd name="T115" fmla="*/ 282 h 788"/>
                  <a:gd name="T116" fmla="*/ 46 w 2100"/>
                  <a:gd name="T117" fmla="*/ 214 h 788"/>
                  <a:gd name="T118" fmla="*/ 10 w 2100"/>
                  <a:gd name="T119" fmla="*/ 420 h 788"/>
                  <a:gd name="T120" fmla="*/ 104 w 2100"/>
                  <a:gd name="T121" fmla="*/ 586 h 788"/>
                  <a:gd name="T122" fmla="*/ 170 w 2100"/>
                  <a:gd name="T123" fmla="*/ 708 h 788"/>
                  <a:gd name="T124" fmla="*/ 228 w 2100"/>
                  <a:gd name="T125" fmla="*/ 75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00" h="788">
                    <a:moveTo>
                      <a:pt x="306" y="726"/>
                    </a:moveTo>
                    <a:lnTo>
                      <a:pt x="306" y="726"/>
                    </a:lnTo>
                    <a:lnTo>
                      <a:pt x="314" y="720"/>
                    </a:lnTo>
                    <a:lnTo>
                      <a:pt x="318" y="716"/>
                    </a:lnTo>
                    <a:lnTo>
                      <a:pt x="318" y="712"/>
                    </a:lnTo>
                    <a:lnTo>
                      <a:pt x="320" y="704"/>
                    </a:lnTo>
                    <a:lnTo>
                      <a:pt x="320" y="700"/>
                    </a:lnTo>
                    <a:lnTo>
                      <a:pt x="322" y="696"/>
                    </a:lnTo>
                    <a:lnTo>
                      <a:pt x="322" y="692"/>
                    </a:lnTo>
                    <a:lnTo>
                      <a:pt x="324" y="690"/>
                    </a:lnTo>
                    <a:lnTo>
                      <a:pt x="324" y="688"/>
                    </a:lnTo>
                    <a:lnTo>
                      <a:pt x="324" y="688"/>
                    </a:lnTo>
                    <a:lnTo>
                      <a:pt x="324" y="686"/>
                    </a:lnTo>
                    <a:lnTo>
                      <a:pt x="326" y="686"/>
                    </a:lnTo>
                    <a:lnTo>
                      <a:pt x="328" y="684"/>
                    </a:lnTo>
                    <a:lnTo>
                      <a:pt x="330" y="682"/>
                    </a:lnTo>
                    <a:lnTo>
                      <a:pt x="332" y="680"/>
                    </a:lnTo>
                    <a:lnTo>
                      <a:pt x="334" y="678"/>
                    </a:lnTo>
                    <a:lnTo>
                      <a:pt x="336" y="676"/>
                    </a:lnTo>
                    <a:lnTo>
                      <a:pt x="336" y="674"/>
                    </a:lnTo>
                    <a:lnTo>
                      <a:pt x="338" y="674"/>
                    </a:lnTo>
                    <a:lnTo>
                      <a:pt x="338" y="672"/>
                    </a:lnTo>
                    <a:lnTo>
                      <a:pt x="338" y="670"/>
                    </a:lnTo>
                    <a:lnTo>
                      <a:pt x="338" y="668"/>
                    </a:lnTo>
                    <a:lnTo>
                      <a:pt x="338" y="664"/>
                    </a:lnTo>
                    <a:lnTo>
                      <a:pt x="338" y="662"/>
                    </a:lnTo>
                    <a:lnTo>
                      <a:pt x="338" y="658"/>
                    </a:lnTo>
                    <a:lnTo>
                      <a:pt x="336" y="656"/>
                    </a:lnTo>
                    <a:lnTo>
                      <a:pt x="336" y="656"/>
                    </a:lnTo>
                    <a:lnTo>
                      <a:pt x="336" y="654"/>
                    </a:lnTo>
                    <a:lnTo>
                      <a:pt x="336" y="654"/>
                    </a:lnTo>
                    <a:lnTo>
                      <a:pt x="334" y="654"/>
                    </a:lnTo>
                    <a:lnTo>
                      <a:pt x="334" y="652"/>
                    </a:lnTo>
                    <a:lnTo>
                      <a:pt x="332" y="652"/>
                    </a:lnTo>
                    <a:lnTo>
                      <a:pt x="330" y="650"/>
                    </a:lnTo>
                    <a:lnTo>
                      <a:pt x="328" y="650"/>
                    </a:lnTo>
                    <a:lnTo>
                      <a:pt x="326" y="648"/>
                    </a:lnTo>
                    <a:lnTo>
                      <a:pt x="322" y="646"/>
                    </a:lnTo>
                    <a:lnTo>
                      <a:pt x="320" y="646"/>
                    </a:lnTo>
                    <a:lnTo>
                      <a:pt x="320" y="644"/>
                    </a:lnTo>
                    <a:lnTo>
                      <a:pt x="318" y="644"/>
                    </a:lnTo>
                    <a:lnTo>
                      <a:pt x="318" y="642"/>
                    </a:lnTo>
                    <a:lnTo>
                      <a:pt x="316" y="640"/>
                    </a:lnTo>
                    <a:lnTo>
                      <a:pt x="316" y="638"/>
                    </a:lnTo>
                    <a:lnTo>
                      <a:pt x="314" y="636"/>
                    </a:lnTo>
                    <a:lnTo>
                      <a:pt x="312" y="634"/>
                    </a:lnTo>
                    <a:lnTo>
                      <a:pt x="312" y="632"/>
                    </a:lnTo>
                    <a:lnTo>
                      <a:pt x="312" y="630"/>
                    </a:lnTo>
                    <a:lnTo>
                      <a:pt x="312" y="630"/>
                    </a:lnTo>
                    <a:lnTo>
                      <a:pt x="312" y="628"/>
                    </a:lnTo>
                    <a:lnTo>
                      <a:pt x="312" y="626"/>
                    </a:lnTo>
                    <a:lnTo>
                      <a:pt x="312" y="624"/>
                    </a:lnTo>
                    <a:lnTo>
                      <a:pt x="312" y="622"/>
                    </a:lnTo>
                    <a:lnTo>
                      <a:pt x="314" y="616"/>
                    </a:lnTo>
                    <a:lnTo>
                      <a:pt x="316" y="612"/>
                    </a:lnTo>
                    <a:lnTo>
                      <a:pt x="318" y="608"/>
                    </a:lnTo>
                    <a:lnTo>
                      <a:pt x="320" y="604"/>
                    </a:lnTo>
                    <a:lnTo>
                      <a:pt x="322" y="600"/>
                    </a:lnTo>
                    <a:lnTo>
                      <a:pt x="326" y="594"/>
                    </a:lnTo>
                    <a:lnTo>
                      <a:pt x="330" y="590"/>
                    </a:lnTo>
                    <a:lnTo>
                      <a:pt x="330" y="588"/>
                    </a:lnTo>
                    <a:lnTo>
                      <a:pt x="332" y="588"/>
                    </a:lnTo>
                    <a:lnTo>
                      <a:pt x="334" y="586"/>
                    </a:lnTo>
                    <a:lnTo>
                      <a:pt x="336" y="584"/>
                    </a:lnTo>
                    <a:lnTo>
                      <a:pt x="338" y="582"/>
                    </a:lnTo>
                    <a:lnTo>
                      <a:pt x="340" y="580"/>
                    </a:lnTo>
                    <a:lnTo>
                      <a:pt x="342" y="580"/>
                    </a:lnTo>
                    <a:lnTo>
                      <a:pt x="344" y="578"/>
                    </a:lnTo>
                    <a:lnTo>
                      <a:pt x="346" y="578"/>
                    </a:lnTo>
                    <a:lnTo>
                      <a:pt x="348" y="576"/>
                    </a:lnTo>
                    <a:lnTo>
                      <a:pt x="350" y="576"/>
                    </a:lnTo>
                    <a:lnTo>
                      <a:pt x="352" y="576"/>
                    </a:lnTo>
                    <a:lnTo>
                      <a:pt x="354" y="576"/>
                    </a:lnTo>
                    <a:lnTo>
                      <a:pt x="356" y="576"/>
                    </a:lnTo>
                    <a:lnTo>
                      <a:pt x="356" y="576"/>
                    </a:lnTo>
                    <a:lnTo>
                      <a:pt x="358" y="576"/>
                    </a:lnTo>
                    <a:lnTo>
                      <a:pt x="358" y="576"/>
                    </a:lnTo>
                    <a:lnTo>
                      <a:pt x="360" y="578"/>
                    </a:lnTo>
                    <a:lnTo>
                      <a:pt x="360" y="578"/>
                    </a:lnTo>
                    <a:lnTo>
                      <a:pt x="362" y="580"/>
                    </a:lnTo>
                    <a:lnTo>
                      <a:pt x="362" y="582"/>
                    </a:lnTo>
                    <a:lnTo>
                      <a:pt x="364" y="584"/>
                    </a:lnTo>
                    <a:lnTo>
                      <a:pt x="366" y="588"/>
                    </a:lnTo>
                    <a:lnTo>
                      <a:pt x="366" y="590"/>
                    </a:lnTo>
                    <a:lnTo>
                      <a:pt x="368" y="590"/>
                    </a:lnTo>
                    <a:lnTo>
                      <a:pt x="368" y="592"/>
                    </a:lnTo>
                    <a:lnTo>
                      <a:pt x="370" y="592"/>
                    </a:lnTo>
                    <a:lnTo>
                      <a:pt x="370" y="594"/>
                    </a:lnTo>
                    <a:lnTo>
                      <a:pt x="372" y="594"/>
                    </a:lnTo>
                    <a:lnTo>
                      <a:pt x="372" y="594"/>
                    </a:lnTo>
                    <a:lnTo>
                      <a:pt x="372" y="594"/>
                    </a:lnTo>
                    <a:lnTo>
                      <a:pt x="374" y="592"/>
                    </a:lnTo>
                    <a:lnTo>
                      <a:pt x="374" y="592"/>
                    </a:lnTo>
                    <a:lnTo>
                      <a:pt x="374" y="592"/>
                    </a:lnTo>
                    <a:lnTo>
                      <a:pt x="374" y="590"/>
                    </a:lnTo>
                    <a:lnTo>
                      <a:pt x="376" y="588"/>
                    </a:lnTo>
                    <a:lnTo>
                      <a:pt x="376" y="586"/>
                    </a:lnTo>
                    <a:lnTo>
                      <a:pt x="376" y="584"/>
                    </a:lnTo>
                    <a:lnTo>
                      <a:pt x="378" y="582"/>
                    </a:lnTo>
                    <a:lnTo>
                      <a:pt x="378" y="582"/>
                    </a:lnTo>
                    <a:lnTo>
                      <a:pt x="378" y="582"/>
                    </a:lnTo>
                    <a:lnTo>
                      <a:pt x="378" y="580"/>
                    </a:lnTo>
                    <a:lnTo>
                      <a:pt x="380" y="580"/>
                    </a:lnTo>
                    <a:lnTo>
                      <a:pt x="382" y="580"/>
                    </a:lnTo>
                    <a:lnTo>
                      <a:pt x="384" y="578"/>
                    </a:lnTo>
                    <a:lnTo>
                      <a:pt x="388" y="578"/>
                    </a:lnTo>
                    <a:lnTo>
                      <a:pt x="390" y="578"/>
                    </a:lnTo>
                    <a:lnTo>
                      <a:pt x="392" y="576"/>
                    </a:lnTo>
                    <a:lnTo>
                      <a:pt x="396" y="576"/>
                    </a:lnTo>
                    <a:lnTo>
                      <a:pt x="398" y="576"/>
                    </a:lnTo>
                    <a:lnTo>
                      <a:pt x="398" y="576"/>
                    </a:lnTo>
                    <a:lnTo>
                      <a:pt x="402" y="576"/>
                    </a:lnTo>
                    <a:lnTo>
                      <a:pt x="406" y="578"/>
                    </a:lnTo>
                    <a:lnTo>
                      <a:pt x="410" y="578"/>
                    </a:lnTo>
                    <a:lnTo>
                      <a:pt x="412" y="580"/>
                    </a:lnTo>
                    <a:lnTo>
                      <a:pt x="414" y="580"/>
                    </a:lnTo>
                    <a:lnTo>
                      <a:pt x="416" y="580"/>
                    </a:lnTo>
                    <a:lnTo>
                      <a:pt x="420" y="580"/>
                    </a:lnTo>
                    <a:lnTo>
                      <a:pt x="428" y="580"/>
                    </a:lnTo>
                    <a:lnTo>
                      <a:pt x="432" y="580"/>
                    </a:lnTo>
                    <a:lnTo>
                      <a:pt x="436" y="580"/>
                    </a:lnTo>
                    <a:lnTo>
                      <a:pt x="438" y="580"/>
                    </a:lnTo>
                    <a:lnTo>
                      <a:pt x="440" y="580"/>
                    </a:lnTo>
                    <a:lnTo>
                      <a:pt x="442" y="582"/>
                    </a:lnTo>
                    <a:lnTo>
                      <a:pt x="446" y="582"/>
                    </a:lnTo>
                    <a:lnTo>
                      <a:pt x="452" y="584"/>
                    </a:lnTo>
                    <a:lnTo>
                      <a:pt x="456" y="588"/>
                    </a:lnTo>
                    <a:lnTo>
                      <a:pt x="462" y="590"/>
                    </a:lnTo>
                    <a:lnTo>
                      <a:pt x="464" y="592"/>
                    </a:lnTo>
                    <a:lnTo>
                      <a:pt x="468" y="594"/>
                    </a:lnTo>
                    <a:lnTo>
                      <a:pt x="470" y="596"/>
                    </a:lnTo>
                    <a:lnTo>
                      <a:pt x="472" y="596"/>
                    </a:lnTo>
                    <a:lnTo>
                      <a:pt x="474" y="598"/>
                    </a:lnTo>
                    <a:lnTo>
                      <a:pt x="476" y="600"/>
                    </a:lnTo>
                    <a:lnTo>
                      <a:pt x="476" y="602"/>
                    </a:lnTo>
                    <a:lnTo>
                      <a:pt x="478" y="604"/>
                    </a:lnTo>
                    <a:lnTo>
                      <a:pt x="478" y="604"/>
                    </a:lnTo>
                    <a:lnTo>
                      <a:pt x="478" y="606"/>
                    </a:lnTo>
                    <a:lnTo>
                      <a:pt x="478" y="606"/>
                    </a:lnTo>
                    <a:lnTo>
                      <a:pt x="478" y="608"/>
                    </a:lnTo>
                    <a:lnTo>
                      <a:pt x="478" y="610"/>
                    </a:lnTo>
                    <a:lnTo>
                      <a:pt x="476" y="610"/>
                    </a:lnTo>
                    <a:lnTo>
                      <a:pt x="476" y="612"/>
                    </a:lnTo>
                    <a:lnTo>
                      <a:pt x="476" y="612"/>
                    </a:lnTo>
                    <a:lnTo>
                      <a:pt x="476" y="614"/>
                    </a:lnTo>
                    <a:lnTo>
                      <a:pt x="476" y="614"/>
                    </a:lnTo>
                    <a:lnTo>
                      <a:pt x="478" y="614"/>
                    </a:lnTo>
                    <a:lnTo>
                      <a:pt x="478" y="614"/>
                    </a:lnTo>
                    <a:lnTo>
                      <a:pt x="480" y="616"/>
                    </a:lnTo>
                    <a:lnTo>
                      <a:pt x="480" y="616"/>
                    </a:lnTo>
                    <a:lnTo>
                      <a:pt x="482" y="618"/>
                    </a:lnTo>
                    <a:lnTo>
                      <a:pt x="484" y="618"/>
                    </a:lnTo>
                    <a:lnTo>
                      <a:pt x="486" y="618"/>
                    </a:lnTo>
                    <a:lnTo>
                      <a:pt x="490" y="618"/>
                    </a:lnTo>
                    <a:lnTo>
                      <a:pt x="492" y="618"/>
                    </a:lnTo>
                    <a:lnTo>
                      <a:pt x="492" y="618"/>
                    </a:lnTo>
                    <a:lnTo>
                      <a:pt x="494" y="618"/>
                    </a:lnTo>
                    <a:lnTo>
                      <a:pt x="500" y="618"/>
                    </a:lnTo>
                    <a:lnTo>
                      <a:pt x="502" y="616"/>
                    </a:lnTo>
                    <a:lnTo>
                      <a:pt x="504" y="616"/>
                    </a:lnTo>
                    <a:lnTo>
                      <a:pt x="508" y="616"/>
                    </a:lnTo>
                    <a:lnTo>
                      <a:pt x="508" y="616"/>
                    </a:lnTo>
                    <a:lnTo>
                      <a:pt x="510" y="616"/>
                    </a:lnTo>
                    <a:lnTo>
                      <a:pt x="510" y="616"/>
                    </a:lnTo>
                    <a:lnTo>
                      <a:pt x="512" y="618"/>
                    </a:lnTo>
                    <a:lnTo>
                      <a:pt x="514" y="618"/>
                    </a:lnTo>
                    <a:lnTo>
                      <a:pt x="516" y="618"/>
                    </a:lnTo>
                    <a:lnTo>
                      <a:pt x="520" y="622"/>
                    </a:lnTo>
                    <a:lnTo>
                      <a:pt x="522" y="624"/>
                    </a:lnTo>
                    <a:lnTo>
                      <a:pt x="530" y="628"/>
                    </a:lnTo>
                    <a:lnTo>
                      <a:pt x="532" y="630"/>
                    </a:lnTo>
                    <a:lnTo>
                      <a:pt x="536" y="632"/>
                    </a:lnTo>
                    <a:lnTo>
                      <a:pt x="538" y="634"/>
                    </a:lnTo>
                    <a:lnTo>
                      <a:pt x="542" y="636"/>
                    </a:lnTo>
                    <a:lnTo>
                      <a:pt x="544" y="636"/>
                    </a:lnTo>
                    <a:lnTo>
                      <a:pt x="546" y="636"/>
                    </a:lnTo>
                    <a:lnTo>
                      <a:pt x="548" y="636"/>
                    </a:lnTo>
                    <a:lnTo>
                      <a:pt x="548" y="636"/>
                    </a:lnTo>
                    <a:lnTo>
                      <a:pt x="548" y="636"/>
                    </a:lnTo>
                    <a:lnTo>
                      <a:pt x="550" y="636"/>
                    </a:lnTo>
                    <a:lnTo>
                      <a:pt x="552" y="636"/>
                    </a:lnTo>
                    <a:lnTo>
                      <a:pt x="552" y="634"/>
                    </a:lnTo>
                    <a:lnTo>
                      <a:pt x="554" y="634"/>
                    </a:lnTo>
                    <a:lnTo>
                      <a:pt x="556" y="632"/>
                    </a:lnTo>
                    <a:lnTo>
                      <a:pt x="556" y="630"/>
                    </a:lnTo>
                    <a:lnTo>
                      <a:pt x="558" y="630"/>
                    </a:lnTo>
                    <a:lnTo>
                      <a:pt x="558" y="628"/>
                    </a:lnTo>
                    <a:lnTo>
                      <a:pt x="558" y="628"/>
                    </a:lnTo>
                    <a:lnTo>
                      <a:pt x="558" y="626"/>
                    </a:lnTo>
                    <a:lnTo>
                      <a:pt x="556" y="626"/>
                    </a:lnTo>
                    <a:lnTo>
                      <a:pt x="556" y="624"/>
                    </a:lnTo>
                    <a:lnTo>
                      <a:pt x="554" y="622"/>
                    </a:lnTo>
                    <a:lnTo>
                      <a:pt x="552" y="618"/>
                    </a:lnTo>
                    <a:lnTo>
                      <a:pt x="550" y="616"/>
                    </a:lnTo>
                    <a:lnTo>
                      <a:pt x="548" y="614"/>
                    </a:lnTo>
                    <a:lnTo>
                      <a:pt x="548" y="612"/>
                    </a:lnTo>
                    <a:lnTo>
                      <a:pt x="546" y="612"/>
                    </a:lnTo>
                    <a:lnTo>
                      <a:pt x="546" y="610"/>
                    </a:lnTo>
                    <a:lnTo>
                      <a:pt x="546" y="610"/>
                    </a:lnTo>
                    <a:lnTo>
                      <a:pt x="548" y="608"/>
                    </a:lnTo>
                    <a:lnTo>
                      <a:pt x="548" y="608"/>
                    </a:lnTo>
                    <a:lnTo>
                      <a:pt x="548" y="608"/>
                    </a:lnTo>
                    <a:lnTo>
                      <a:pt x="550" y="606"/>
                    </a:lnTo>
                    <a:lnTo>
                      <a:pt x="550" y="606"/>
                    </a:lnTo>
                    <a:lnTo>
                      <a:pt x="552" y="606"/>
                    </a:lnTo>
                    <a:lnTo>
                      <a:pt x="556" y="604"/>
                    </a:lnTo>
                    <a:lnTo>
                      <a:pt x="558" y="604"/>
                    </a:lnTo>
                    <a:lnTo>
                      <a:pt x="562" y="604"/>
                    </a:lnTo>
                    <a:lnTo>
                      <a:pt x="564" y="602"/>
                    </a:lnTo>
                    <a:lnTo>
                      <a:pt x="564" y="602"/>
                    </a:lnTo>
                    <a:lnTo>
                      <a:pt x="566" y="602"/>
                    </a:lnTo>
                    <a:lnTo>
                      <a:pt x="568" y="600"/>
                    </a:lnTo>
                    <a:lnTo>
                      <a:pt x="570" y="600"/>
                    </a:lnTo>
                    <a:lnTo>
                      <a:pt x="576" y="598"/>
                    </a:lnTo>
                    <a:lnTo>
                      <a:pt x="578" y="598"/>
                    </a:lnTo>
                    <a:lnTo>
                      <a:pt x="580" y="596"/>
                    </a:lnTo>
                    <a:lnTo>
                      <a:pt x="580" y="596"/>
                    </a:lnTo>
                    <a:lnTo>
                      <a:pt x="582" y="594"/>
                    </a:lnTo>
                    <a:lnTo>
                      <a:pt x="582" y="594"/>
                    </a:lnTo>
                    <a:lnTo>
                      <a:pt x="582" y="594"/>
                    </a:lnTo>
                    <a:lnTo>
                      <a:pt x="584" y="592"/>
                    </a:lnTo>
                    <a:lnTo>
                      <a:pt x="584" y="592"/>
                    </a:lnTo>
                    <a:lnTo>
                      <a:pt x="584" y="590"/>
                    </a:lnTo>
                    <a:lnTo>
                      <a:pt x="582" y="588"/>
                    </a:lnTo>
                    <a:lnTo>
                      <a:pt x="582" y="586"/>
                    </a:lnTo>
                    <a:lnTo>
                      <a:pt x="580" y="582"/>
                    </a:lnTo>
                    <a:lnTo>
                      <a:pt x="580" y="580"/>
                    </a:lnTo>
                    <a:lnTo>
                      <a:pt x="578" y="578"/>
                    </a:lnTo>
                    <a:lnTo>
                      <a:pt x="578" y="576"/>
                    </a:lnTo>
                    <a:lnTo>
                      <a:pt x="578" y="574"/>
                    </a:lnTo>
                    <a:lnTo>
                      <a:pt x="578" y="574"/>
                    </a:lnTo>
                    <a:lnTo>
                      <a:pt x="580" y="572"/>
                    </a:lnTo>
                    <a:lnTo>
                      <a:pt x="580" y="572"/>
                    </a:lnTo>
                    <a:lnTo>
                      <a:pt x="580" y="572"/>
                    </a:lnTo>
                    <a:lnTo>
                      <a:pt x="580" y="572"/>
                    </a:lnTo>
                    <a:lnTo>
                      <a:pt x="582" y="572"/>
                    </a:lnTo>
                    <a:lnTo>
                      <a:pt x="584" y="570"/>
                    </a:lnTo>
                    <a:lnTo>
                      <a:pt x="586" y="570"/>
                    </a:lnTo>
                    <a:lnTo>
                      <a:pt x="588" y="570"/>
                    </a:lnTo>
                    <a:lnTo>
                      <a:pt x="590" y="570"/>
                    </a:lnTo>
                    <a:lnTo>
                      <a:pt x="594" y="572"/>
                    </a:lnTo>
                    <a:lnTo>
                      <a:pt x="596" y="572"/>
                    </a:lnTo>
                    <a:lnTo>
                      <a:pt x="598" y="572"/>
                    </a:lnTo>
                    <a:lnTo>
                      <a:pt x="604" y="574"/>
                    </a:lnTo>
                    <a:lnTo>
                      <a:pt x="606" y="574"/>
                    </a:lnTo>
                    <a:lnTo>
                      <a:pt x="608" y="576"/>
                    </a:lnTo>
                    <a:lnTo>
                      <a:pt x="616" y="576"/>
                    </a:lnTo>
                    <a:lnTo>
                      <a:pt x="626" y="578"/>
                    </a:lnTo>
                    <a:lnTo>
                      <a:pt x="632" y="578"/>
                    </a:lnTo>
                    <a:lnTo>
                      <a:pt x="636" y="578"/>
                    </a:lnTo>
                    <a:lnTo>
                      <a:pt x="640" y="578"/>
                    </a:lnTo>
                    <a:lnTo>
                      <a:pt x="644" y="578"/>
                    </a:lnTo>
                    <a:lnTo>
                      <a:pt x="646" y="578"/>
                    </a:lnTo>
                    <a:lnTo>
                      <a:pt x="650" y="578"/>
                    </a:lnTo>
                    <a:lnTo>
                      <a:pt x="656" y="576"/>
                    </a:lnTo>
                    <a:lnTo>
                      <a:pt x="660" y="576"/>
                    </a:lnTo>
                    <a:lnTo>
                      <a:pt x="666" y="574"/>
                    </a:lnTo>
                    <a:lnTo>
                      <a:pt x="668" y="574"/>
                    </a:lnTo>
                    <a:lnTo>
                      <a:pt x="672" y="572"/>
                    </a:lnTo>
                    <a:lnTo>
                      <a:pt x="680" y="570"/>
                    </a:lnTo>
                    <a:lnTo>
                      <a:pt x="684" y="570"/>
                    </a:lnTo>
                    <a:lnTo>
                      <a:pt x="688" y="568"/>
                    </a:lnTo>
                    <a:lnTo>
                      <a:pt x="690" y="568"/>
                    </a:lnTo>
                    <a:lnTo>
                      <a:pt x="690" y="568"/>
                    </a:lnTo>
                    <a:lnTo>
                      <a:pt x="692" y="568"/>
                    </a:lnTo>
                    <a:lnTo>
                      <a:pt x="694" y="570"/>
                    </a:lnTo>
                    <a:lnTo>
                      <a:pt x="696" y="570"/>
                    </a:lnTo>
                    <a:lnTo>
                      <a:pt x="696" y="570"/>
                    </a:lnTo>
                    <a:lnTo>
                      <a:pt x="698" y="572"/>
                    </a:lnTo>
                    <a:lnTo>
                      <a:pt x="700" y="574"/>
                    </a:lnTo>
                    <a:lnTo>
                      <a:pt x="702" y="576"/>
                    </a:lnTo>
                    <a:lnTo>
                      <a:pt x="704" y="578"/>
                    </a:lnTo>
                    <a:lnTo>
                      <a:pt x="704" y="578"/>
                    </a:lnTo>
                    <a:lnTo>
                      <a:pt x="706" y="580"/>
                    </a:lnTo>
                    <a:lnTo>
                      <a:pt x="706" y="580"/>
                    </a:lnTo>
                    <a:lnTo>
                      <a:pt x="706" y="582"/>
                    </a:lnTo>
                    <a:lnTo>
                      <a:pt x="706" y="582"/>
                    </a:lnTo>
                    <a:lnTo>
                      <a:pt x="706" y="586"/>
                    </a:lnTo>
                    <a:lnTo>
                      <a:pt x="706" y="588"/>
                    </a:lnTo>
                    <a:lnTo>
                      <a:pt x="706" y="590"/>
                    </a:lnTo>
                    <a:lnTo>
                      <a:pt x="706" y="592"/>
                    </a:lnTo>
                    <a:lnTo>
                      <a:pt x="706" y="592"/>
                    </a:lnTo>
                    <a:lnTo>
                      <a:pt x="706" y="592"/>
                    </a:lnTo>
                    <a:lnTo>
                      <a:pt x="708" y="592"/>
                    </a:lnTo>
                    <a:lnTo>
                      <a:pt x="708" y="594"/>
                    </a:lnTo>
                    <a:lnTo>
                      <a:pt x="710" y="594"/>
                    </a:lnTo>
                    <a:lnTo>
                      <a:pt x="710" y="594"/>
                    </a:lnTo>
                    <a:lnTo>
                      <a:pt x="712" y="594"/>
                    </a:lnTo>
                    <a:lnTo>
                      <a:pt x="714" y="594"/>
                    </a:lnTo>
                    <a:lnTo>
                      <a:pt x="716" y="594"/>
                    </a:lnTo>
                    <a:lnTo>
                      <a:pt x="718" y="594"/>
                    </a:lnTo>
                    <a:lnTo>
                      <a:pt x="722" y="594"/>
                    </a:lnTo>
                    <a:lnTo>
                      <a:pt x="724" y="594"/>
                    </a:lnTo>
                    <a:lnTo>
                      <a:pt x="724" y="592"/>
                    </a:lnTo>
                    <a:lnTo>
                      <a:pt x="728" y="592"/>
                    </a:lnTo>
                    <a:lnTo>
                      <a:pt x="730" y="590"/>
                    </a:lnTo>
                    <a:lnTo>
                      <a:pt x="734" y="590"/>
                    </a:lnTo>
                    <a:lnTo>
                      <a:pt x="740" y="586"/>
                    </a:lnTo>
                    <a:lnTo>
                      <a:pt x="742" y="586"/>
                    </a:lnTo>
                    <a:lnTo>
                      <a:pt x="746" y="584"/>
                    </a:lnTo>
                    <a:lnTo>
                      <a:pt x="750" y="584"/>
                    </a:lnTo>
                    <a:lnTo>
                      <a:pt x="752" y="584"/>
                    </a:lnTo>
                    <a:lnTo>
                      <a:pt x="756" y="584"/>
                    </a:lnTo>
                    <a:lnTo>
                      <a:pt x="758" y="584"/>
                    </a:lnTo>
                    <a:lnTo>
                      <a:pt x="760" y="584"/>
                    </a:lnTo>
                    <a:lnTo>
                      <a:pt x="762" y="584"/>
                    </a:lnTo>
                    <a:lnTo>
                      <a:pt x="764" y="584"/>
                    </a:lnTo>
                    <a:lnTo>
                      <a:pt x="764" y="584"/>
                    </a:lnTo>
                    <a:lnTo>
                      <a:pt x="766" y="586"/>
                    </a:lnTo>
                    <a:lnTo>
                      <a:pt x="766" y="586"/>
                    </a:lnTo>
                    <a:lnTo>
                      <a:pt x="768" y="588"/>
                    </a:lnTo>
                    <a:lnTo>
                      <a:pt x="768" y="588"/>
                    </a:lnTo>
                    <a:lnTo>
                      <a:pt x="770" y="590"/>
                    </a:lnTo>
                    <a:lnTo>
                      <a:pt x="770" y="592"/>
                    </a:lnTo>
                    <a:lnTo>
                      <a:pt x="772" y="596"/>
                    </a:lnTo>
                    <a:lnTo>
                      <a:pt x="774" y="598"/>
                    </a:lnTo>
                    <a:lnTo>
                      <a:pt x="776" y="606"/>
                    </a:lnTo>
                    <a:lnTo>
                      <a:pt x="778" y="612"/>
                    </a:lnTo>
                    <a:lnTo>
                      <a:pt x="780" y="614"/>
                    </a:lnTo>
                    <a:lnTo>
                      <a:pt x="780" y="618"/>
                    </a:lnTo>
                    <a:lnTo>
                      <a:pt x="782" y="620"/>
                    </a:lnTo>
                    <a:lnTo>
                      <a:pt x="784" y="622"/>
                    </a:lnTo>
                    <a:lnTo>
                      <a:pt x="784" y="624"/>
                    </a:lnTo>
                    <a:lnTo>
                      <a:pt x="784" y="624"/>
                    </a:lnTo>
                    <a:lnTo>
                      <a:pt x="786" y="626"/>
                    </a:lnTo>
                    <a:lnTo>
                      <a:pt x="786" y="626"/>
                    </a:lnTo>
                    <a:lnTo>
                      <a:pt x="788" y="626"/>
                    </a:lnTo>
                    <a:lnTo>
                      <a:pt x="788" y="626"/>
                    </a:lnTo>
                    <a:lnTo>
                      <a:pt x="790" y="626"/>
                    </a:lnTo>
                    <a:lnTo>
                      <a:pt x="792" y="626"/>
                    </a:lnTo>
                    <a:lnTo>
                      <a:pt x="794" y="626"/>
                    </a:lnTo>
                    <a:lnTo>
                      <a:pt x="796" y="626"/>
                    </a:lnTo>
                    <a:lnTo>
                      <a:pt x="798" y="626"/>
                    </a:lnTo>
                    <a:lnTo>
                      <a:pt x="800" y="626"/>
                    </a:lnTo>
                    <a:lnTo>
                      <a:pt x="800" y="626"/>
                    </a:lnTo>
                    <a:lnTo>
                      <a:pt x="800" y="626"/>
                    </a:lnTo>
                    <a:lnTo>
                      <a:pt x="802" y="628"/>
                    </a:lnTo>
                    <a:lnTo>
                      <a:pt x="802" y="628"/>
                    </a:lnTo>
                    <a:lnTo>
                      <a:pt x="804" y="630"/>
                    </a:lnTo>
                    <a:lnTo>
                      <a:pt x="804" y="630"/>
                    </a:lnTo>
                    <a:lnTo>
                      <a:pt x="806" y="632"/>
                    </a:lnTo>
                    <a:lnTo>
                      <a:pt x="808" y="636"/>
                    </a:lnTo>
                    <a:lnTo>
                      <a:pt x="808" y="636"/>
                    </a:lnTo>
                    <a:lnTo>
                      <a:pt x="810" y="638"/>
                    </a:lnTo>
                    <a:lnTo>
                      <a:pt x="810" y="638"/>
                    </a:lnTo>
                    <a:lnTo>
                      <a:pt x="812" y="640"/>
                    </a:lnTo>
                    <a:lnTo>
                      <a:pt x="814" y="640"/>
                    </a:lnTo>
                    <a:lnTo>
                      <a:pt x="818" y="642"/>
                    </a:lnTo>
                    <a:lnTo>
                      <a:pt x="820" y="642"/>
                    </a:lnTo>
                    <a:lnTo>
                      <a:pt x="824" y="644"/>
                    </a:lnTo>
                    <a:lnTo>
                      <a:pt x="828" y="644"/>
                    </a:lnTo>
                    <a:lnTo>
                      <a:pt x="828" y="646"/>
                    </a:lnTo>
                    <a:lnTo>
                      <a:pt x="830" y="646"/>
                    </a:lnTo>
                    <a:lnTo>
                      <a:pt x="832" y="646"/>
                    </a:lnTo>
                    <a:lnTo>
                      <a:pt x="832" y="648"/>
                    </a:lnTo>
                    <a:lnTo>
                      <a:pt x="834" y="648"/>
                    </a:lnTo>
                    <a:lnTo>
                      <a:pt x="834" y="652"/>
                    </a:lnTo>
                    <a:lnTo>
                      <a:pt x="836" y="654"/>
                    </a:lnTo>
                    <a:lnTo>
                      <a:pt x="836" y="656"/>
                    </a:lnTo>
                    <a:lnTo>
                      <a:pt x="838" y="658"/>
                    </a:lnTo>
                    <a:lnTo>
                      <a:pt x="840" y="662"/>
                    </a:lnTo>
                    <a:lnTo>
                      <a:pt x="842" y="668"/>
                    </a:lnTo>
                    <a:lnTo>
                      <a:pt x="842" y="674"/>
                    </a:lnTo>
                    <a:lnTo>
                      <a:pt x="844" y="678"/>
                    </a:lnTo>
                    <a:lnTo>
                      <a:pt x="846" y="682"/>
                    </a:lnTo>
                    <a:lnTo>
                      <a:pt x="848" y="680"/>
                    </a:lnTo>
                    <a:lnTo>
                      <a:pt x="852" y="678"/>
                    </a:lnTo>
                    <a:lnTo>
                      <a:pt x="852" y="676"/>
                    </a:lnTo>
                    <a:lnTo>
                      <a:pt x="854" y="676"/>
                    </a:lnTo>
                    <a:lnTo>
                      <a:pt x="856" y="674"/>
                    </a:lnTo>
                    <a:lnTo>
                      <a:pt x="858" y="674"/>
                    </a:lnTo>
                    <a:lnTo>
                      <a:pt x="860" y="674"/>
                    </a:lnTo>
                    <a:lnTo>
                      <a:pt x="864" y="672"/>
                    </a:lnTo>
                    <a:lnTo>
                      <a:pt x="868" y="672"/>
                    </a:lnTo>
                    <a:lnTo>
                      <a:pt x="872" y="670"/>
                    </a:lnTo>
                    <a:lnTo>
                      <a:pt x="878" y="670"/>
                    </a:lnTo>
                    <a:lnTo>
                      <a:pt x="882" y="668"/>
                    </a:lnTo>
                    <a:lnTo>
                      <a:pt x="888" y="668"/>
                    </a:lnTo>
                    <a:lnTo>
                      <a:pt x="894" y="666"/>
                    </a:lnTo>
                    <a:lnTo>
                      <a:pt x="900" y="666"/>
                    </a:lnTo>
                    <a:lnTo>
                      <a:pt x="904" y="666"/>
                    </a:lnTo>
                    <a:lnTo>
                      <a:pt x="906" y="666"/>
                    </a:lnTo>
                    <a:lnTo>
                      <a:pt x="910" y="666"/>
                    </a:lnTo>
                    <a:lnTo>
                      <a:pt x="912" y="666"/>
                    </a:lnTo>
                    <a:lnTo>
                      <a:pt x="914" y="666"/>
                    </a:lnTo>
                    <a:lnTo>
                      <a:pt x="916" y="666"/>
                    </a:lnTo>
                    <a:lnTo>
                      <a:pt x="916" y="668"/>
                    </a:lnTo>
                    <a:lnTo>
                      <a:pt x="918" y="668"/>
                    </a:lnTo>
                    <a:lnTo>
                      <a:pt x="918" y="670"/>
                    </a:lnTo>
                    <a:lnTo>
                      <a:pt x="920" y="672"/>
                    </a:lnTo>
                    <a:lnTo>
                      <a:pt x="920" y="672"/>
                    </a:lnTo>
                    <a:lnTo>
                      <a:pt x="920" y="672"/>
                    </a:lnTo>
                    <a:lnTo>
                      <a:pt x="922" y="674"/>
                    </a:lnTo>
                    <a:lnTo>
                      <a:pt x="922" y="674"/>
                    </a:lnTo>
                    <a:lnTo>
                      <a:pt x="924" y="674"/>
                    </a:lnTo>
                    <a:lnTo>
                      <a:pt x="926" y="674"/>
                    </a:lnTo>
                    <a:lnTo>
                      <a:pt x="928" y="674"/>
                    </a:lnTo>
                    <a:lnTo>
                      <a:pt x="930" y="674"/>
                    </a:lnTo>
                    <a:lnTo>
                      <a:pt x="932" y="674"/>
                    </a:lnTo>
                    <a:lnTo>
                      <a:pt x="934" y="674"/>
                    </a:lnTo>
                    <a:lnTo>
                      <a:pt x="936" y="676"/>
                    </a:lnTo>
                    <a:lnTo>
                      <a:pt x="936" y="676"/>
                    </a:lnTo>
                    <a:lnTo>
                      <a:pt x="936" y="676"/>
                    </a:lnTo>
                    <a:lnTo>
                      <a:pt x="938" y="676"/>
                    </a:lnTo>
                    <a:lnTo>
                      <a:pt x="938" y="678"/>
                    </a:lnTo>
                    <a:lnTo>
                      <a:pt x="940" y="680"/>
                    </a:lnTo>
                    <a:lnTo>
                      <a:pt x="942" y="682"/>
                    </a:lnTo>
                    <a:lnTo>
                      <a:pt x="942" y="682"/>
                    </a:lnTo>
                    <a:lnTo>
                      <a:pt x="944" y="682"/>
                    </a:lnTo>
                    <a:lnTo>
                      <a:pt x="946" y="682"/>
                    </a:lnTo>
                    <a:lnTo>
                      <a:pt x="950" y="684"/>
                    </a:lnTo>
                    <a:lnTo>
                      <a:pt x="954" y="684"/>
                    </a:lnTo>
                    <a:lnTo>
                      <a:pt x="956" y="684"/>
                    </a:lnTo>
                    <a:lnTo>
                      <a:pt x="958" y="684"/>
                    </a:lnTo>
                    <a:lnTo>
                      <a:pt x="960" y="682"/>
                    </a:lnTo>
                    <a:lnTo>
                      <a:pt x="964" y="682"/>
                    </a:lnTo>
                    <a:lnTo>
                      <a:pt x="966" y="682"/>
                    </a:lnTo>
                    <a:lnTo>
                      <a:pt x="968" y="682"/>
                    </a:lnTo>
                    <a:lnTo>
                      <a:pt x="968" y="680"/>
                    </a:lnTo>
                    <a:lnTo>
                      <a:pt x="970" y="680"/>
                    </a:lnTo>
                    <a:lnTo>
                      <a:pt x="972" y="680"/>
                    </a:lnTo>
                    <a:lnTo>
                      <a:pt x="972" y="678"/>
                    </a:lnTo>
                    <a:lnTo>
                      <a:pt x="972" y="678"/>
                    </a:lnTo>
                    <a:lnTo>
                      <a:pt x="972" y="678"/>
                    </a:lnTo>
                    <a:lnTo>
                      <a:pt x="972" y="676"/>
                    </a:lnTo>
                    <a:lnTo>
                      <a:pt x="972" y="676"/>
                    </a:lnTo>
                    <a:lnTo>
                      <a:pt x="972" y="674"/>
                    </a:lnTo>
                    <a:lnTo>
                      <a:pt x="972" y="674"/>
                    </a:lnTo>
                    <a:lnTo>
                      <a:pt x="972" y="672"/>
                    </a:lnTo>
                    <a:lnTo>
                      <a:pt x="970" y="670"/>
                    </a:lnTo>
                    <a:lnTo>
                      <a:pt x="968" y="668"/>
                    </a:lnTo>
                    <a:lnTo>
                      <a:pt x="968" y="666"/>
                    </a:lnTo>
                    <a:lnTo>
                      <a:pt x="966" y="664"/>
                    </a:lnTo>
                    <a:lnTo>
                      <a:pt x="964" y="662"/>
                    </a:lnTo>
                    <a:lnTo>
                      <a:pt x="964" y="660"/>
                    </a:lnTo>
                    <a:lnTo>
                      <a:pt x="964" y="660"/>
                    </a:lnTo>
                    <a:lnTo>
                      <a:pt x="962" y="658"/>
                    </a:lnTo>
                    <a:lnTo>
                      <a:pt x="960" y="656"/>
                    </a:lnTo>
                    <a:lnTo>
                      <a:pt x="960" y="656"/>
                    </a:lnTo>
                    <a:lnTo>
                      <a:pt x="960" y="654"/>
                    </a:lnTo>
                    <a:lnTo>
                      <a:pt x="960" y="654"/>
                    </a:lnTo>
                    <a:lnTo>
                      <a:pt x="960" y="654"/>
                    </a:lnTo>
                    <a:lnTo>
                      <a:pt x="960" y="654"/>
                    </a:lnTo>
                    <a:lnTo>
                      <a:pt x="960" y="654"/>
                    </a:lnTo>
                    <a:lnTo>
                      <a:pt x="962" y="654"/>
                    </a:lnTo>
                    <a:lnTo>
                      <a:pt x="962" y="652"/>
                    </a:lnTo>
                    <a:lnTo>
                      <a:pt x="964" y="652"/>
                    </a:lnTo>
                    <a:lnTo>
                      <a:pt x="966" y="654"/>
                    </a:lnTo>
                    <a:lnTo>
                      <a:pt x="968" y="654"/>
                    </a:lnTo>
                    <a:lnTo>
                      <a:pt x="970" y="654"/>
                    </a:lnTo>
                    <a:lnTo>
                      <a:pt x="970" y="654"/>
                    </a:lnTo>
                    <a:lnTo>
                      <a:pt x="972" y="654"/>
                    </a:lnTo>
                    <a:lnTo>
                      <a:pt x="972" y="654"/>
                    </a:lnTo>
                    <a:lnTo>
                      <a:pt x="972" y="652"/>
                    </a:lnTo>
                    <a:lnTo>
                      <a:pt x="974" y="652"/>
                    </a:lnTo>
                    <a:lnTo>
                      <a:pt x="974" y="650"/>
                    </a:lnTo>
                    <a:lnTo>
                      <a:pt x="974" y="650"/>
                    </a:lnTo>
                    <a:lnTo>
                      <a:pt x="974" y="648"/>
                    </a:lnTo>
                    <a:lnTo>
                      <a:pt x="974" y="646"/>
                    </a:lnTo>
                    <a:lnTo>
                      <a:pt x="974" y="644"/>
                    </a:lnTo>
                    <a:lnTo>
                      <a:pt x="974" y="640"/>
                    </a:lnTo>
                    <a:lnTo>
                      <a:pt x="974" y="638"/>
                    </a:lnTo>
                    <a:lnTo>
                      <a:pt x="972" y="634"/>
                    </a:lnTo>
                    <a:lnTo>
                      <a:pt x="972" y="630"/>
                    </a:lnTo>
                    <a:lnTo>
                      <a:pt x="972" y="628"/>
                    </a:lnTo>
                    <a:lnTo>
                      <a:pt x="972" y="624"/>
                    </a:lnTo>
                    <a:lnTo>
                      <a:pt x="972" y="622"/>
                    </a:lnTo>
                    <a:lnTo>
                      <a:pt x="972" y="618"/>
                    </a:lnTo>
                    <a:lnTo>
                      <a:pt x="970" y="614"/>
                    </a:lnTo>
                    <a:lnTo>
                      <a:pt x="970" y="610"/>
                    </a:lnTo>
                    <a:lnTo>
                      <a:pt x="970" y="608"/>
                    </a:lnTo>
                    <a:lnTo>
                      <a:pt x="970" y="606"/>
                    </a:lnTo>
                    <a:lnTo>
                      <a:pt x="970" y="604"/>
                    </a:lnTo>
                    <a:lnTo>
                      <a:pt x="970" y="604"/>
                    </a:lnTo>
                    <a:lnTo>
                      <a:pt x="972" y="602"/>
                    </a:lnTo>
                    <a:lnTo>
                      <a:pt x="972" y="602"/>
                    </a:lnTo>
                    <a:lnTo>
                      <a:pt x="972" y="602"/>
                    </a:lnTo>
                    <a:lnTo>
                      <a:pt x="974" y="602"/>
                    </a:lnTo>
                    <a:lnTo>
                      <a:pt x="974" y="602"/>
                    </a:lnTo>
                    <a:lnTo>
                      <a:pt x="976" y="602"/>
                    </a:lnTo>
                    <a:lnTo>
                      <a:pt x="978" y="602"/>
                    </a:lnTo>
                    <a:lnTo>
                      <a:pt x="980" y="602"/>
                    </a:lnTo>
                    <a:lnTo>
                      <a:pt x="982" y="602"/>
                    </a:lnTo>
                    <a:lnTo>
                      <a:pt x="986" y="604"/>
                    </a:lnTo>
                    <a:lnTo>
                      <a:pt x="992" y="610"/>
                    </a:lnTo>
                    <a:lnTo>
                      <a:pt x="996" y="610"/>
                    </a:lnTo>
                    <a:lnTo>
                      <a:pt x="998" y="612"/>
                    </a:lnTo>
                    <a:lnTo>
                      <a:pt x="998" y="612"/>
                    </a:lnTo>
                    <a:lnTo>
                      <a:pt x="1000" y="612"/>
                    </a:lnTo>
                    <a:lnTo>
                      <a:pt x="1002" y="612"/>
                    </a:lnTo>
                    <a:lnTo>
                      <a:pt x="1008" y="612"/>
                    </a:lnTo>
                    <a:lnTo>
                      <a:pt x="1010" y="612"/>
                    </a:lnTo>
                    <a:lnTo>
                      <a:pt x="1012" y="612"/>
                    </a:lnTo>
                    <a:lnTo>
                      <a:pt x="1014" y="612"/>
                    </a:lnTo>
                    <a:lnTo>
                      <a:pt x="1016" y="612"/>
                    </a:lnTo>
                    <a:lnTo>
                      <a:pt x="1016" y="614"/>
                    </a:lnTo>
                    <a:lnTo>
                      <a:pt x="1018" y="614"/>
                    </a:lnTo>
                    <a:lnTo>
                      <a:pt x="1020" y="616"/>
                    </a:lnTo>
                    <a:lnTo>
                      <a:pt x="1022" y="618"/>
                    </a:lnTo>
                    <a:lnTo>
                      <a:pt x="1024" y="618"/>
                    </a:lnTo>
                    <a:lnTo>
                      <a:pt x="1026" y="622"/>
                    </a:lnTo>
                    <a:lnTo>
                      <a:pt x="1028" y="626"/>
                    </a:lnTo>
                    <a:lnTo>
                      <a:pt x="1030" y="628"/>
                    </a:lnTo>
                    <a:lnTo>
                      <a:pt x="1030" y="628"/>
                    </a:lnTo>
                    <a:lnTo>
                      <a:pt x="1032" y="632"/>
                    </a:lnTo>
                    <a:lnTo>
                      <a:pt x="1032" y="634"/>
                    </a:lnTo>
                    <a:lnTo>
                      <a:pt x="1034" y="636"/>
                    </a:lnTo>
                    <a:lnTo>
                      <a:pt x="1034" y="638"/>
                    </a:lnTo>
                    <a:lnTo>
                      <a:pt x="1034" y="638"/>
                    </a:lnTo>
                    <a:lnTo>
                      <a:pt x="1036" y="638"/>
                    </a:lnTo>
                    <a:lnTo>
                      <a:pt x="1036" y="638"/>
                    </a:lnTo>
                    <a:lnTo>
                      <a:pt x="1038" y="640"/>
                    </a:lnTo>
                    <a:lnTo>
                      <a:pt x="1038" y="640"/>
                    </a:lnTo>
                    <a:lnTo>
                      <a:pt x="1040" y="640"/>
                    </a:lnTo>
                    <a:lnTo>
                      <a:pt x="1042" y="640"/>
                    </a:lnTo>
                    <a:lnTo>
                      <a:pt x="1046" y="640"/>
                    </a:lnTo>
                    <a:lnTo>
                      <a:pt x="1052" y="638"/>
                    </a:lnTo>
                    <a:lnTo>
                      <a:pt x="1054" y="638"/>
                    </a:lnTo>
                    <a:lnTo>
                      <a:pt x="1056" y="638"/>
                    </a:lnTo>
                    <a:lnTo>
                      <a:pt x="1064" y="638"/>
                    </a:lnTo>
                    <a:lnTo>
                      <a:pt x="1072" y="638"/>
                    </a:lnTo>
                    <a:lnTo>
                      <a:pt x="1078" y="640"/>
                    </a:lnTo>
                    <a:lnTo>
                      <a:pt x="1082" y="640"/>
                    </a:lnTo>
                    <a:lnTo>
                      <a:pt x="1084" y="640"/>
                    </a:lnTo>
                    <a:lnTo>
                      <a:pt x="1086" y="640"/>
                    </a:lnTo>
                    <a:lnTo>
                      <a:pt x="1088" y="642"/>
                    </a:lnTo>
                    <a:lnTo>
                      <a:pt x="1090" y="642"/>
                    </a:lnTo>
                    <a:lnTo>
                      <a:pt x="1092" y="642"/>
                    </a:lnTo>
                    <a:lnTo>
                      <a:pt x="1094" y="644"/>
                    </a:lnTo>
                    <a:lnTo>
                      <a:pt x="1098" y="646"/>
                    </a:lnTo>
                    <a:lnTo>
                      <a:pt x="1102" y="648"/>
                    </a:lnTo>
                    <a:lnTo>
                      <a:pt x="1104" y="650"/>
                    </a:lnTo>
                    <a:lnTo>
                      <a:pt x="1106" y="652"/>
                    </a:lnTo>
                    <a:lnTo>
                      <a:pt x="1108" y="652"/>
                    </a:lnTo>
                    <a:lnTo>
                      <a:pt x="1110" y="652"/>
                    </a:lnTo>
                    <a:lnTo>
                      <a:pt x="1112" y="652"/>
                    </a:lnTo>
                    <a:lnTo>
                      <a:pt x="1116" y="652"/>
                    </a:lnTo>
                    <a:lnTo>
                      <a:pt x="1116" y="654"/>
                    </a:lnTo>
                    <a:lnTo>
                      <a:pt x="1118" y="654"/>
                    </a:lnTo>
                    <a:lnTo>
                      <a:pt x="1120" y="654"/>
                    </a:lnTo>
                    <a:lnTo>
                      <a:pt x="1120" y="654"/>
                    </a:lnTo>
                    <a:lnTo>
                      <a:pt x="1120" y="656"/>
                    </a:lnTo>
                    <a:lnTo>
                      <a:pt x="1120" y="656"/>
                    </a:lnTo>
                    <a:lnTo>
                      <a:pt x="1120" y="658"/>
                    </a:lnTo>
                    <a:lnTo>
                      <a:pt x="1122" y="658"/>
                    </a:lnTo>
                    <a:lnTo>
                      <a:pt x="1122" y="660"/>
                    </a:lnTo>
                    <a:lnTo>
                      <a:pt x="1122" y="662"/>
                    </a:lnTo>
                    <a:lnTo>
                      <a:pt x="1122" y="664"/>
                    </a:lnTo>
                    <a:lnTo>
                      <a:pt x="1122" y="666"/>
                    </a:lnTo>
                    <a:lnTo>
                      <a:pt x="1124" y="666"/>
                    </a:lnTo>
                    <a:lnTo>
                      <a:pt x="1124" y="666"/>
                    </a:lnTo>
                    <a:lnTo>
                      <a:pt x="1126" y="666"/>
                    </a:lnTo>
                    <a:lnTo>
                      <a:pt x="1128" y="668"/>
                    </a:lnTo>
                    <a:lnTo>
                      <a:pt x="1130" y="668"/>
                    </a:lnTo>
                    <a:lnTo>
                      <a:pt x="1132" y="668"/>
                    </a:lnTo>
                    <a:lnTo>
                      <a:pt x="1134" y="668"/>
                    </a:lnTo>
                    <a:lnTo>
                      <a:pt x="1136" y="668"/>
                    </a:lnTo>
                    <a:lnTo>
                      <a:pt x="1140" y="668"/>
                    </a:lnTo>
                    <a:lnTo>
                      <a:pt x="1142" y="668"/>
                    </a:lnTo>
                    <a:lnTo>
                      <a:pt x="1146" y="666"/>
                    </a:lnTo>
                    <a:lnTo>
                      <a:pt x="1148" y="666"/>
                    </a:lnTo>
                    <a:lnTo>
                      <a:pt x="1150" y="666"/>
                    </a:lnTo>
                    <a:lnTo>
                      <a:pt x="1154" y="664"/>
                    </a:lnTo>
                    <a:lnTo>
                      <a:pt x="1156" y="664"/>
                    </a:lnTo>
                    <a:lnTo>
                      <a:pt x="1158" y="664"/>
                    </a:lnTo>
                    <a:lnTo>
                      <a:pt x="1160" y="662"/>
                    </a:lnTo>
                    <a:lnTo>
                      <a:pt x="1162" y="662"/>
                    </a:lnTo>
                    <a:lnTo>
                      <a:pt x="1162" y="660"/>
                    </a:lnTo>
                    <a:lnTo>
                      <a:pt x="1162" y="660"/>
                    </a:lnTo>
                    <a:lnTo>
                      <a:pt x="1162" y="658"/>
                    </a:lnTo>
                    <a:lnTo>
                      <a:pt x="1164" y="658"/>
                    </a:lnTo>
                    <a:lnTo>
                      <a:pt x="1164" y="656"/>
                    </a:lnTo>
                    <a:lnTo>
                      <a:pt x="1164" y="654"/>
                    </a:lnTo>
                    <a:lnTo>
                      <a:pt x="1166" y="652"/>
                    </a:lnTo>
                    <a:lnTo>
                      <a:pt x="1166" y="652"/>
                    </a:lnTo>
                    <a:lnTo>
                      <a:pt x="1166" y="652"/>
                    </a:lnTo>
                    <a:lnTo>
                      <a:pt x="1166" y="652"/>
                    </a:lnTo>
                    <a:lnTo>
                      <a:pt x="1168" y="652"/>
                    </a:lnTo>
                    <a:lnTo>
                      <a:pt x="1168" y="650"/>
                    </a:lnTo>
                    <a:lnTo>
                      <a:pt x="1168" y="652"/>
                    </a:lnTo>
                    <a:lnTo>
                      <a:pt x="1170" y="652"/>
                    </a:lnTo>
                    <a:lnTo>
                      <a:pt x="1170" y="652"/>
                    </a:lnTo>
                    <a:lnTo>
                      <a:pt x="1172" y="654"/>
                    </a:lnTo>
                    <a:lnTo>
                      <a:pt x="1174" y="654"/>
                    </a:lnTo>
                    <a:lnTo>
                      <a:pt x="1176" y="656"/>
                    </a:lnTo>
                    <a:lnTo>
                      <a:pt x="1178" y="658"/>
                    </a:lnTo>
                    <a:lnTo>
                      <a:pt x="1178" y="658"/>
                    </a:lnTo>
                    <a:lnTo>
                      <a:pt x="1178" y="658"/>
                    </a:lnTo>
                    <a:lnTo>
                      <a:pt x="1180" y="658"/>
                    </a:lnTo>
                    <a:lnTo>
                      <a:pt x="1180" y="658"/>
                    </a:lnTo>
                    <a:lnTo>
                      <a:pt x="1182" y="658"/>
                    </a:lnTo>
                    <a:lnTo>
                      <a:pt x="1182" y="658"/>
                    </a:lnTo>
                    <a:lnTo>
                      <a:pt x="1184" y="658"/>
                    </a:lnTo>
                    <a:lnTo>
                      <a:pt x="1184" y="656"/>
                    </a:lnTo>
                    <a:lnTo>
                      <a:pt x="1186" y="654"/>
                    </a:lnTo>
                    <a:lnTo>
                      <a:pt x="1190" y="652"/>
                    </a:lnTo>
                    <a:lnTo>
                      <a:pt x="1192" y="648"/>
                    </a:lnTo>
                    <a:lnTo>
                      <a:pt x="1194" y="646"/>
                    </a:lnTo>
                    <a:lnTo>
                      <a:pt x="1194" y="646"/>
                    </a:lnTo>
                    <a:lnTo>
                      <a:pt x="1196" y="644"/>
                    </a:lnTo>
                    <a:lnTo>
                      <a:pt x="1196" y="644"/>
                    </a:lnTo>
                    <a:lnTo>
                      <a:pt x="1198" y="644"/>
                    </a:lnTo>
                    <a:lnTo>
                      <a:pt x="1200" y="644"/>
                    </a:lnTo>
                    <a:lnTo>
                      <a:pt x="1200" y="642"/>
                    </a:lnTo>
                    <a:lnTo>
                      <a:pt x="1202" y="642"/>
                    </a:lnTo>
                    <a:lnTo>
                      <a:pt x="1204" y="642"/>
                    </a:lnTo>
                    <a:lnTo>
                      <a:pt x="1206" y="642"/>
                    </a:lnTo>
                    <a:lnTo>
                      <a:pt x="1208" y="642"/>
                    </a:lnTo>
                    <a:lnTo>
                      <a:pt x="1210" y="642"/>
                    </a:lnTo>
                    <a:lnTo>
                      <a:pt x="1212" y="642"/>
                    </a:lnTo>
                    <a:lnTo>
                      <a:pt x="1214" y="642"/>
                    </a:lnTo>
                    <a:lnTo>
                      <a:pt x="1216" y="644"/>
                    </a:lnTo>
                    <a:lnTo>
                      <a:pt x="1218" y="644"/>
                    </a:lnTo>
                    <a:lnTo>
                      <a:pt x="1220" y="646"/>
                    </a:lnTo>
                    <a:lnTo>
                      <a:pt x="1222" y="648"/>
                    </a:lnTo>
                    <a:lnTo>
                      <a:pt x="1224" y="650"/>
                    </a:lnTo>
                    <a:lnTo>
                      <a:pt x="1226" y="652"/>
                    </a:lnTo>
                    <a:lnTo>
                      <a:pt x="1228" y="654"/>
                    </a:lnTo>
                    <a:lnTo>
                      <a:pt x="1230" y="656"/>
                    </a:lnTo>
                    <a:lnTo>
                      <a:pt x="1232" y="658"/>
                    </a:lnTo>
                    <a:lnTo>
                      <a:pt x="1234" y="660"/>
                    </a:lnTo>
                    <a:lnTo>
                      <a:pt x="1234" y="660"/>
                    </a:lnTo>
                    <a:lnTo>
                      <a:pt x="1236" y="662"/>
                    </a:lnTo>
                    <a:lnTo>
                      <a:pt x="1238" y="662"/>
                    </a:lnTo>
                    <a:lnTo>
                      <a:pt x="1240" y="662"/>
                    </a:lnTo>
                    <a:lnTo>
                      <a:pt x="1242" y="662"/>
                    </a:lnTo>
                    <a:lnTo>
                      <a:pt x="1246" y="662"/>
                    </a:lnTo>
                    <a:lnTo>
                      <a:pt x="1248" y="662"/>
                    </a:lnTo>
                    <a:lnTo>
                      <a:pt x="1250" y="662"/>
                    </a:lnTo>
                    <a:lnTo>
                      <a:pt x="1252" y="662"/>
                    </a:lnTo>
                    <a:lnTo>
                      <a:pt x="1252" y="662"/>
                    </a:lnTo>
                    <a:lnTo>
                      <a:pt x="1254" y="662"/>
                    </a:lnTo>
                    <a:lnTo>
                      <a:pt x="1254" y="662"/>
                    </a:lnTo>
                    <a:lnTo>
                      <a:pt x="1256" y="660"/>
                    </a:lnTo>
                    <a:lnTo>
                      <a:pt x="1256" y="658"/>
                    </a:lnTo>
                    <a:lnTo>
                      <a:pt x="1256" y="658"/>
                    </a:lnTo>
                    <a:lnTo>
                      <a:pt x="1256" y="656"/>
                    </a:lnTo>
                    <a:lnTo>
                      <a:pt x="1256" y="654"/>
                    </a:lnTo>
                    <a:lnTo>
                      <a:pt x="1258" y="652"/>
                    </a:lnTo>
                    <a:lnTo>
                      <a:pt x="1258" y="648"/>
                    </a:lnTo>
                    <a:lnTo>
                      <a:pt x="1256" y="644"/>
                    </a:lnTo>
                    <a:lnTo>
                      <a:pt x="1256" y="640"/>
                    </a:lnTo>
                    <a:lnTo>
                      <a:pt x="1258" y="638"/>
                    </a:lnTo>
                    <a:lnTo>
                      <a:pt x="1258" y="636"/>
                    </a:lnTo>
                    <a:lnTo>
                      <a:pt x="1258" y="634"/>
                    </a:lnTo>
                    <a:lnTo>
                      <a:pt x="1258" y="634"/>
                    </a:lnTo>
                    <a:lnTo>
                      <a:pt x="1258" y="632"/>
                    </a:lnTo>
                    <a:lnTo>
                      <a:pt x="1260" y="632"/>
                    </a:lnTo>
                    <a:lnTo>
                      <a:pt x="1260" y="630"/>
                    </a:lnTo>
                    <a:lnTo>
                      <a:pt x="1262" y="630"/>
                    </a:lnTo>
                    <a:lnTo>
                      <a:pt x="1264" y="628"/>
                    </a:lnTo>
                    <a:lnTo>
                      <a:pt x="1266" y="628"/>
                    </a:lnTo>
                    <a:lnTo>
                      <a:pt x="1268" y="626"/>
                    </a:lnTo>
                    <a:lnTo>
                      <a:pt x="1268" y="626"/>
                    </a:lnTo>
                    <a:lnTo>
                      <a:pt x="1268" y="624"/>
                    </a:lnTo>
                    <a:lnTo>
                      <a:pt x="1270" y="624"/>
                    </a:lnTo>
                    <a:lnTo>
                      <a:pt x="1270" y="624"/>
                    </a:lnTo>
                    <a:lnTo>
                      <a:pt x="1270" y="622"/>
                    </a:lnTo>
                    <a:lnTo>
                      <a:pt x="1270" y="620"/>
                    </a:lnTo>
                    <a:lnTo>
                      <a:pt x="1270" y="620"/>
                    </a:lnTo>
                    <a:lnTo>
                      <a:pt x="1268" y="618"/>
                    </a:lnTo>
                    <a:lnTo>
                      <a:pt x="1268" y="616"/>
                    </a:lnTo>
                    <a:lnTo>
                      <a:pt x="1266" y="614"/>
                    </a:lnTo>
                    <a:lnTo>
                      <a:pt x="1264" y="610"/>
                    </a:lnTo>
                    <a:lnTo>
                      <a:pt x="1262" y="608"/>
                    </a:lnTo>
                    <a:lnTo>
                      <a:pt x="1262" y="604"/>
                    </a:lnTo>
                    <a:lnTo>
                      <a:pt x="1260" y="602"/>
                    </a:lnTo>
                    <a:lnTo>
                      <a:pt x="1260" y="600"/>
                    </a:lnTo>
                    <a:lnTo>
                      <a:pt x="1260" y="600"/>
                    </a:lnTo>
                    <a:lnTo>
                      <a:pt x="1260" y="598"/>
                    </a:lnTo>
                    <a:lnTo>
                      <a:pt x="1260" y="596"/>
                    </a:lnTo>
                    <a:lnTo>
                      <a:pt x="1260" y="594"/>
                    </a:lnTo>
                    <a:lnTo>
                      <a:pt x="1260" y="592"/>
                    </a:lnTo>
                    <a:lnTo>
                      <a:pt x="1262" y="590"/>
                    </a:lnTo>
                    <a:lnTo>
                      <a:pt x="1262" y="588"/>
                    </a:lnTo>
                    <a:lnTo>
                      <a:pt x="1264" y="586"/>
                    </a:lnTo>
                    <a:lnTo>
                      <a:pt x="1266" y="584"/>
                    </a:lnTo>
                    <a:lnTo>
                      <a:pt x="1266" y="584"/>
                    </a:lnTo>
                    <a:lnTo>
                      <a:pt x="1266" y="582"/>
                    </a:lnTo>
                    <a:lnTo>
                      <a:pt x="1268" y="582"/>
                    </a:lnTo>
                    <a:lnTo>
                      <a:pt x="1270" y="582"/>
                    </a:lnTo>
                    <a:lnTo>
                      <a:pt x="1272" y="580"/>
                    </a:lnTo>
                    <a:lnTo>
                      <a:pt x="1276" y="580"/>
                    </a:lnTo>
                    <a:lnTo>
                      <a:pt x="1280" y="578"/>
                    </a:lnTo>
                    <a:lnTo>
                      <a:pt x="1284" y="578"/>
                    </a:lnTo>
                    <a:lnTo>
                      <a:pt x="1288" y="578"/>
                    </a:lnTo>
                    <a:lnTo>
                      <a:pt x="1294" y="578"/>
                    </a:lnTo>
                    <a:lnTo>
                      <a:pt x="1298" y="578"/>
                    </a:lnTo>
                    <a:lnTo>
                      <a:pt x="1302" y="578"/>
                    </a:lnTo>
                    <a:lnTo>
                      <a:pt x="1306" y="580"/>
                    </a:lnTo>
                    <a:lnTo>
                      <a:pt x="1310" y="580"/>
                    </a:lnTo>
                    <a:lnTo>
                      <a:pt x="1314" y="580"/>
                    </a:lnTo>
                    <a:lnTo>
                      <a:pt x="1318" y="582"/>
                    </a:lnTo>
                    <a:lnTo>
                      <a:pt x="1322" y="582"/>
                    </a:lnTo>
                    <a:lnTo>
                      <a:pt x="1326" y="584"/>
                    </a:lnTo>
                    <a:lnTo>
                      <a:pt x="1328" y="584"/>
                    </a:lnTo>
                    <a:lnTo>
                      <a:pt x="1330" y="584"/>
                    </a:lnTo>
                    <a:lnTo>
                      <a:pt x="1330" y="586"/>
                    </a:lnTo>
                    <a:lnTo>
                      <a:pt x="1332" y="588"/>
                    </a:lnTo>
                    <a:lnTo>
                      <a:pt x="1334" y="590"/>
                    </a:lnTo>
                    <a:lnTo>
                      <a:pt x="1336" y="592"/>
                    </a:lnTo>
                    <a:lnTo>
                      <a:pt x="1340" y="596"/>
                    </a:lnTo>
                    <a:lnTo>
                      <a:pt x="1342" y="598"/>
                    </a:lnTo>
                    <a:lnTo>
                      <a:pt x="1344" y="600"/>
                    </a:lnTo>
                    <a:lnTo>
                      <a:pt x="1346" y="604"/>
                    </a:lnTo>
                    <a:lnTo>
                      <a:pt x="1350" y="606"/>
                    </a:lnTo>
                    <a:lnTo>
                      <a:pt x="1354" y="610"/>
                    </a:lnTo>
                    <a:lnTo>
                      <a:pt x="1358" y="614"/>
                    </a:lnTo>
                    <a:lnTo>
                      <a:pt x="1360" y="616"/>
                    </a:lnTo>
                    <a:lnTo>
                      <a:pt x="1364" y="620"/>
                    </a:lnTo>
                    <a:lnTo>
                      <a:pt x="1366" y="622"/>
                    </a:lnTo>
                    <a:lnTo>
                      <a:pt x="1366" y="624"/>
                    </a:lnTo>
                    <a:lnTo>
                      <a:pt x="1368" y="626"/>
                    </a:lnTo>
                    <a:lnTo>
                      <a:pt x="1368" y="628"/>
                    </a:lnTo>
                    <a:lnTo>
                      <a:pt x="1368" y="630"/>
                    </a:lnTo>
                    <a:lnTo>
                      <a:pt x="1370" y="634"/>
                    </a:lnTo>
                    <a:lnTo>
                      <a:pt x="1370" y="640"/>
                    </a:lnTo>
                    <a:lnTo>
                      <a:pt x="1370" y="642"/>
                    </a:lnTo>
                    <a:lnTo>
                      <a:pt x="1372" y="644"/>
                    </a:lnTo>
                    <a:lnTo>
                      <a:pt x="1372" y="646"/>
                    </a:lnTo>
                    <a:lnTo>
                      <a:pt x="1374" y="646"/>
                    </a:lnTo>
                    <a:lnTo>
                      <a:pt x="1374" y="648"/>
                    </a:lnTo>
                    <a:lnTo>
                      <a:pt x="1376" y="652"/>
                    </a:lnTo>
                    <a:lnTo>
                      <a:pt x="1378" y="652"/>
                    </a:lnTo>
                    <a:lnTo>
                      <a:pt x="1380" y="654"/>
                    </a:lnTo>
                    <a:lnTo>
                      <a:pt x="1382" y="656"/>
                    </a:lnTo>
                    <a:lnTo>
                      <a:pt x="1382" y="658"/>
                    </a:lnTo>
                    <a:lnTo>
                      <a:pt x="1384" y="658"/>
                    </a:lnTo>
                    <a:lnTo>
                      <a:pt x="1386" y="658"/>
                    </a:lnTo>
                    <a:lnTo>
                      <a:pt x="1386" y="658"/>
                    </a:lnTo>
                    <a:lnTo>
                      <a:pt x="1388" y="660"/>
                    </a:lnTo>
                    <a:lnTo>
                      <a:pt x="1392" y="660"/>
                    </a:lnTo>
                    <a:lnTo>
                      <a:pt x="1396" y="660"/>
                    </a:lnTo>
                    <a:lnTo>
                      <a:pt x="1398" y="660"/>
                    </a:lnTo>
                    <a:lnTo>
                      <a:pt x="1402" y="660"/>
                    </a:lnTo>
                    <a:lnTo>
                      <a:pt x="1406" y="662"/>
                    </a:lnTo>
                    <a:lnTo>
                      <a:pt x="1406" y="662"/>
                    </a:lnTo>
                    <a:lnTo>
                      <a:pt x="1408" y="662"/>
                    </a:lnTo>
                    <a:lnTo>
                      <a:pt x="1410" y="664"/>
                    </a:lnTo>
                    <a:lnTo>
                      <a:pt x="1410" y="664"/>
                    </a:lnTo>
                    <a:lnTo>
                      <a:pt x="1414" y="668"/>
                    </a:lnTo>
                    <a:lnTo>
                      <a:pt x="1416" y="670"/>
                    </a:lnTo>
                    <a:lnTo>
                      <a:pt x="1418" y="672"/>
                    </a:lnTo>
                    <a:lnTo>
                      <a:pt x="1420" y="672"/>
                    </a:lnTo>
                    <a:lnTo>
                      <a:pt x="1422" y="674"/>
                    </a:lnTo>
                    <a:lnTo>
                      <a:pt x="1426" y="676"/>
                    </a:lnTo>
                    <a:lnTo>
                      <a:pt x="1430" y="680"/>
                    </a:lnTo>
                    <a:lnTo>
                      <a:pt x="1430" y="680"/>
                    </a:lnTo>
                    <a:lnTo>
                      <a:pt x="1432" y="682"/>
                    </a:lnTo>
                    <a:lnTo>
                      <a:pt x="1432" y="682"/>
                    </a:lnTo>
                    <a:lnTo>
                      <a:pt x="1434" y="684"/>
                    </a:lnTo>
                    <a:lnTo>
                      <a:pt x="1434" y="686"/>
                    </a:lnTo>
                    <a:lnTo>
                      <a:pt x="1434" y="688"/>
                    </a:lnTo>
                    <a:lnTo>
                      <a:pt x="1436" y="688"/>
                    </a:lnTo>
                    <a:lnTo>
                      <a:pt x="1436" y="690"/>
                    </a:lnTo>
                    <a:lnTo>
                      <a:pt x="1436" y="690"/>
                    </a:lnTo>
                    <a:lnTo>
                      <a:pt x="1438" y="690"/>
                    </a:lnTo>
                    <a:lnTo>
                      <a:pt x="1438" y="690"/>
                    </a:lnTo>
                    <a:lnTo>
                      <a:pt x="1440" y="692"/>
                    </a:lnTo>
                    <a:lnTo>
                      <a:pt x="1442" y="692"/>
                    </a:lnTo>
                    <a:lnTo>
                      <a:pt x="1444" y="692"/>
                    </a:lnTo>
                    <a:lnTo>
                      <a:pt x="1448" y="692"/>
                    </a:lnTo>
                    <a:lnTo>
                      <a:pt x="1452" y="692"/>
                    </a:lnTo>
                    <a:lnTo>
                      <a:pt x="1454" y="692"/>
                    </a:lnTo>
                    <a:lnTo>
                      <a:pt x="1454" y="690"/>
                    </a:lnTo>
                    <a:lnTo>
                      <a:pt x="1458" y="690"/>
                    </a:lnTo>
                    <a:lnTo>
                      <a:pt x="1464" y="688"/>
                    </a:lnTo>
                    <a:lnTo>
                      <a:pt x="1468" y="686"/>
                    </a:lnTo>
                    <a:lnTo>
                      <a:pt x="1470" y="686"/>
                    </a:lnTo>
                    <a:lnTo>
                      <a:pt x="1472" y="686"/>
                    </a:lnTo>
                    <a:lnTo>
                      <a:pt x="1474" y="686"/>
                    </a:lnTo>
                    <a:lnTo>
                      <a:pt x="1474" y="686"/>
                    </a:lnTo>
                    <a:lnTo>
                      <a:pt x="1476" y="686"/>
                    </a:lnTo>
                    <a:lnTo>
                      <a:pt x="1478" y="686"/>
                    </a:lnTo>
                    <a:lnTo>
                      <a:pt x="1478" y="686"/>
                    </a:lnTo>
                    <a:lnTo>
                      <a:pt x="1478" y="688"/>
                    </a:lnTo>
                    <a:lnTo>
                      <a:pt x="1480" y="688"/>
                    </a:lnTo>
                    <a:lnTo>
                      <a:pt x="1480" y="690"/>
                    </a:lnTo>
                    <a:lnTo>
                      <a:pt x="1482" y="692"/>
                    </a:lnTo>
                    <a:lnTo>
                      <a:pt x="1482" y="694"/>
                    </a:lnTo>
                    <a:lnTo>
                      <a:pt x="1484" y="696"/>
                    </a:lnTo>
                    <a:lnTo>
                      <a:pt x="1484" y="700"/>
                    </a:lnTo>
                    <a:lnTo>
                      <a:pt x="1484" y="702"/>
                    </a:lnTo>
                    <a:lnTo>
                      <a:pt x="1486" y="704"/>
                    </a:lnTo>
                    <a:lnTo>
                      <a:pt x="1486" y="706"/>
                    </a:lnTo>
                    <a:lnTo>
                      <a:pt x="1484" y="706"/>
                    </a:lnTo>
                    <a:lnTo>
                      <a:pt x="1484" y="706"/>
                    </a:lnTo>
                    <a:lnTo>
                      <a:pt x="1484" y="708"/>
                    </a:lnTo>
                    <a:lnTo>
                      <a:pt x="1482" y="708"/>
                    </a:lnTo>
                    <a:lnTo>
                      <a:pt x="1482" y="710"/>
                    </a:lnTo>
                    <a:lnTo>
                      <a:pt x="1480" y="710"/>
                    </a:lnTo>
                    <a:lnTo>
                      <a:pt x="1478" y="712"/>
                    </a:lnTo>
                    <a:lnTo>
                      <a:pt x="1476" y="712"/>
                    </a:lnTo>
                    <a:lnTo>
                      <a:pt x="1476" y="714"/>
                    </a:lnTo>
                    <a:lnTo>
                      <a:pt x="1476" y="714"/>
                    </a:lnTo>
                    <a:lnTo>
                      <a:pt x="1474" y="714"/>
                    </a:lnTo>
                    <a:lnTo>
                      <a:pt x="1474" y="714"/>
                    </a:lnTo>
                    <a:lnTo>
                      <a:pt x="1474" y="716"/>
                    </a:lnTo>
                    <a:lnTo>
                      <a:pt x="1474" y="718"/>
                    </a:lnTo>
                    <a:lnTo>
                      <a:pt x="1474" y="720"/>
                    </a:lnTo>
                    <a:lnTo>
                      <a:pt x="1474" y="722"/>
                    </a:lnTo>
                    <a:lnTo>
                      <a:pt x="1474" y="724"/>
                    </a:lnTo>
                    <a:lnTo>
                      <a:pt x="1474" y="728"/>
                    </a:lnTo>
                    <a:lnTo>
                      <a:pt x="1476" y="734"/>
                    </a:lnTo>
                    <a:lnTo>
                      <a:pt x="1476" y="738"/>
                    </a:lnTo>
                    <a:lnTo>
                      <a:pt x="1476" y="742"/>
                    </a:lnTo>
                    <a:lnTo>
                      <a:pt x="1476" y="744"/>
                    </a:lnTo>
                    <a:lnTo>
                      <a:pt x="1476" y="746"/>
                    </a:lnTo>
                    <a:lnTo>
                      <a:pt x="1476" y="748"/>
                    </a:lnTo>
                    <a:lnTo>
                      <a:pt x="1476" y="748"/>
                    </a:lnTo>
                    <a:lnTo>
                      <a:pt x="1474" y="750"/>
                    </a:lnTo>
                    <a:lnTo>
                      <a:pt x="1474" y="750"/>
                    </a:lnTo>
                    <a:lnTo>
                      <a:pt x="1474" y="750"/>
                    </a:lnTo>
                    <a:lnTo>
                      <a:pt x="1472" y="750"/>
                    </a:lnTo>
                    <a:lnTo>
                      <a:pt x="1472" y="750"/>
                    </a:lnTo>
                    <a:lnTo>
                      <a:pt x="1472" y="750"/>
                    </a:lnTo>
                    <a:lnTo>
                      <a:pt x="1470" y="750"/>
                    </a:lnTo>
                    <a:lnTo>
                      <a:pt x="1468" y="750"/>
                    </a:lnTo>
                    <a:lnTo>
                      <a:pt x="1466" y="750"/>
                    </a:lnTo>
                    <a:lnTo>
                      <a:pt x="1464" y="748"/>
                    </a:lnTo>
                    <a:lnTo>
                      <a:pt x="1462" y="748"/>
                    </a:lnTo>
                    <a:lnTo>
                      <a:pt x="1462" y="748"/>
                    </a:lnTo>
                    <a:lnTo>
                      <a:pt x="1460" y="748"/>
                    </a:lnTo>
                    <a:lnTo>
                      <a:pt x="1460" y="748"/>
                    </a:lnTo>
                    <a:lnTo>
                      <a:pt x="1460" y="748"/>
                    </a:lnTo>
                    <a:lnTo>
                      <a:pt x="1458" y="748"/>
                    </a:lnTo>
                    <a:lnTo>
                      <a:pt x="1458" y="748"/>
                    </a:lnTo>
                    <a:lnTo>
                      <a:pt x="1458" y="750"/>
                    </a:lnTo>
                    <a:lnTo>
                      <a:pt x="1456" y="750"/>
                    </a:lnTo>
                    <a:lnTo>
                      <a:pt x="1456" y="752"/>
                    </a:lnTo>
                    <a:lnTo>
                      <a:pt x="1454" y="754"/>
                    </a:lnTo>
                    <a:lnTo>
                      <a:pt x="1454" y="758"/>
                    </a:lnTo>
                    <a:lnTo>
                      <a:pt x="1454" y="760"/>
                    </a:lnTo>
                    <a:lnTo>
                      <a:pt x="1452" y="762"/>
                    </a:lnTo>
                    <a:lnTo>
                      <a:pt x="1452" y="764"/>
                    </a:lnTo>
                    <a:lnTo>
                      <a:pt x="1452" y="764"/>
                    </a:lnTo>
                    <a:lnTo>
                      <a:pt x="1452" y="766"/>
                    </a:lnTo>
                    <a:lnTo>
                      <a:pt x="1452" y="770"/>
                    </a:lnTo>
                    <a:lnTo>
                      <a:pt x="1452" y="772"/>
                    </a:lnTo>
                    <a:lnTo>
                      <a:pt x="1452" y="774"/>
                    </a:lnTo>
                    <a:lnTo>
                      <a:pt x="1452" y="776"/>
                    </a:lnTo>
                    <a:lnTo>
                      <a:pt x="1452" y="778"/>
                    </a:lnTo>
                    <a:lnTo>
                      <a:pt x="1452" y="778"/>
                    </a:lnTo>
                    <a:lnTo>
                      <a:pt x="1452" y="778"/>
                    </a:lnTo>
                    <a:lnTo>
                      <a:pt x="1454" y="780"/>
                    </a:lnTo>
                    <a:lnTo>
                      <a:pt x="1454" y="780"/>
                    </a:lnTo>
                    <a:lnTo>
                      <a:pt x="1454" y="780"/>
                    </a:lnTo>
                    <a:lnTo>
                      <a:pt x="1456" y="780"/>
                    </a:lnTo>
                    <a:lnTo>
                      <a:pt x="1458" y="780"/>
                    </a:lnTo>
                    <a:lnTo>
                      <a:pt x="1460" y="782"/>
                    </a:lnTo>
                    <a:lnTo>
                      <a:pt x="1464" y="782"/>
                    </a:lnTo>
                    <a:lnTo>
                      <a:pt x="1466" y="782"/>
                    </a:lnTo>
                    <a:lnTo>
                      <a:pt x="1468" y="782"/>
                    </a:lnTo>
                    <a:lnTo>
                      <a:pt x="1470" y="782"/>
                    </a:lnTo>
                    <a:lnTo>
                      <a:pt x="1472" y="784"/>
                    </a:lnTo>
                    <a:lnTo>
                      <a:pt x="1476" y="786"/>
                    </a:lnTo>
                    <a:lnTo>
                      <a:pt x="1478" y="786"/>
                    </a:lnTo>
                    <a:lnTo>
                      <a:pt x="1480" y="788"/>
                    </a:lnTo>
                    <a:lnTo>
                      <a:pt x="1482" y="788"/>
                    </a:lnTo>
                    <a:lnTo>
                      <a:pt x="1484" y="788"/>
                    </a:lnTo>
                    <a:lnTo>
                      <a:pt x="1484" y="788"/>
                    </a:lnTo>
                    <a:lnTo>
                      <a:pt x="1486" y="788"/>
                    </a:lnTo>
                    <a:lnTo>
                      <a:pt x="1488" y="788"/>
                    </a:lnTo>
                    <a:lnTo>
                      <a:pt x="1490" y="786"/>
                    </a:lnTo>
                    <a:lnTo>
                      <a:pt x="1490" y="786"/>
                    </a:lnTo>
                    <a:lnTo>
                      <a:pt x="1494" y="784"/>
                    </a:lnTo>
                    <a:lnTo>
                      <a:pt x="1498" y="780"/>
                    </a:lnTo>
                    <a:lnTo>
                      <a:pt x="1500" y="778"/>
                    </a:lnTo>
                    <a:lnTo>
                      <a:pt x="1504" y="776"/>
                    </a:lnTo>
                    <a:lnTo>
                      <a:pt x="1506" y="772"/>
                    </a:lnTo>
                    <a:lnTo>
                      <a:pt x="1508" y="770"/>
                    </a:lnTo>
                    <a:lnTo>
                      <a:pt x="1510" y="770"/>
                    </a:lnTo>
                    <a:lnTo>
                      <a:pt x="1510" y="768"/>
                    </a:lnTo>
                    <a:lnTo>
                      <a:pt x="1514" y="764"/>
                    </a:lnTo>
                    <a:lnTo>
                      <a:pt x="1516" y="760"/>
                    </a:lnTo>
                    <a:lnTo>
                      <a:pt x="1518" y="756"/>
                    </a:lnTo>
                    <a:lnTo>
                      <a:pt x="1522" y="748"/>
                    </a:lnTo>
                    <a:lnTo>
                      <a:pt x="1526" y="740"/>
                    </a:lnTo>
                    <a:lnTo>
                      <a:pt x="1530" y="732"/>
                    </a:lnTo>
                    <a:lnTo>
                      <a:pt x="1534" y="724"/>
                    </a:lnTo>
                    <a:lnTo>
                      <a:pt x="1540" y="714"/>
                    </a:lnTo>
                    <a:lnTo>
                      <a:pt x="1542" y="706"/>
                    </a:lnTo>
                    <a:lnTo>
                      <a:pt x="1546" y="700"/>
                    </a:lnTo>
                    <a:lnTo>
                      <a:pt x="1550" y="690"/>
                    </a:lnTo>
                    <a:lnTo>
                      <a:pt x="1552" y="686"/>
                    </a:lnTo>
                    <a:lnTo>
                      <a:pt x="1554" y="682"/>
                    </a:lnTo>
                    <a:lnTo>
                      <a:pt x="1554" y="680"/>
                    </a:lnTo>
                    <a:lnTo>
                      <a:pt x="1554" y="678"/>
                    </a:lnTo>
                    <a:lnTo>
                      <a:pt x="1554" y="676"/>
                    </a:lnTo>
                    <a:lnTo>
                      <a:pt x="1556" y="674"/>
                    </a:lnTo>
                    <a:lnTo>
                      <a:pt x="1556" y="672"/>
                    </a:lnTo>
                    <a:lnTo>
                      <a:pt x="1556" y="670"/>
                    </a:lnTo>
                    <a:lnTo>
                      <a:pt x="1554" y="668"/>
                    </a:lnTo>
                    <a:lnTo>
                      <a:pt x="1554" y="666"/>
                    </a:lnTo>
                    <a:lnTo>
                      <a:pt x="1554" y="662"/>
                    </a:lnTo>
                    <a:lnTo>
                      <a:pt x="1552" y="656"/>
                    </a:lnTo>
                    <a:lnTo>
                      <a:pt x="1550" y="652"/>
                    </a:lnTo>
                    <a:lnTo>
                      <a:pt x="1548" y="648"/>
                    </a:lnTo>
                    <a:lnTo>
                      <a:pt x="1548" y="646"/>
                    </a:lnTo>
                    <a:lnTo>
                      <a:pt x="1548" y="644"/>
                    </a:lnTo>
                    <a:lnTo>
                      <a:pt x="1548" y="642"/>
                    </a:lnTo>
                    <a:lnTo>
                      <a:pt x="1548" y="640"/>
                    </a:lnTo>
                    <a:lnTo>
                      <a:pt x="1548" y="638"/>
                    </a:lnTo>
                    <a:lnTo>
                      <a:pt x="1548" y="638"/>
                    </a:lnTo>
                    <a:lnTo>
                      <a:pt x="1550" y="634"/>
                    </a:lnTo>
                    <a:lnTo>
                      <a:pt x="1552" y="632"/>
                    </a:lnTo>
                    <a:lnTo>
                      <a:pt x="1552" y="630"/>
                    </a:lnTo>
                    <a:lnTo>
                      <a:pt x="1552" y="630"/>
                    </a:lnTo>
                    <a:lnTo>
                      <a:pt x="1554" y="628"/>
                    </a:lnTo>
                    <a:lnTo>
                      <a:pt x="1554" y="626"/>
                    </a:lnTo>
                    <a:lnTo>
                      <a:pt x="1554" y="622"/>
                    </a:lnTo>
                    <a:lnTo>
                      <a:pt x="1554" y="616"/>
                    </a:lnTo>
                    <a:lnTo>
                      <a:pt x="1552" y="612"/>
                    </a:lnTo>
                    <a:lnTo>
                      <a:pt x="1552" y="606"/>
                    </a:lnTo>
                    <a:lnTo>
                      <a:pt x="1552" y="602"/>
                    </a:lnTo>
                    <a:lnTo>
                      <a:pt x="1550" y="596"/>
                    </a:lnTo>
                    <a:lnTo>
                      <a:pt x="1548" y="594"/>
                    </a:lnTo>
                    <a:lnTo>
                      <a:pt x="1548" y="590"/>
                    </a:lnTo>
                    <a:lnTo>
                      <a:pt x="1546" y="588"/>
                    </a:lnTo>
                    <a:lnTo>
                      <a:pt x="1544" y="584"/>
                    </a:lnTo>
                    <a:lnTo>
                      <a:pt x="1542" y="580"/>
                    </a:lnTo>
                    <a:lnTo>
                      <a:pt x="1540" y="578"/>
                    </a:lnTo>
                    <a:lnTo>
                      <a:pt x="1538" y="574"/>
                    </a:lnTo>
                    <a:lnTo>
                      <a:pt x="1536" y="572"/>
                    </a:lnTo>
                    <a:lnTo>
                      <a:pt x="1534" y="572"/>
                    </a:lnTo>
                    <a:lnTo>
                      <a:pt x="1534" y="570"/>
                    </a:lnTo>
                    <a:lnTo>
                      <a:pt x="1532" y="568"/>
                    </a:lnTo>
                    <a:lnTo>
                      <a:pt x="1528" y="568"/>
                    </a:lnTo>
                    <a:lnTo>
                      <a:pt x="1526" y="566"/>
                    </a:lnTo>
                    <a:lnTo>
                      <a:pt x="1522" y="564"/>
                    </a:lnTo>
                    <a:lnTo>
                      <a:pt x="1518" y="564"/>
                    </a:lnTo>
                    <a:lnTo>
                      <a:pt x="1518" y="562"/>
                    </a:lnTo>
                    <a:lnTo>
                      <a:pt x="1516" y="562"/>
                    </a:lnTo>
                    <a:lnTo>
                      <a:pt x="1514" y="562"/>
                    </a:lnTo>
                    <a:lnTo>
                      <a:pt x="1512" y="562"/>
                    </a:lnTo>
                    <a:lnTo>
                      <a:pt x="1512" y="562"/>
                    </a:lnTo>
                    <a:lnTo>
                      <a:pt x="1510" y="562"/>
                    </a:lnTo>
                    <a:lnTo>
                      <a:pt x="1510" y="564"/>
                    </a:lnTo>
                    <a:lnTo>
                      <a:pt x="1508" y="564"/>
                    </a:lnTo>
                    <a:lnTo>
                      <a:pt x="1508" y="564"/>
                    </a:lnTo>
                    <a:lnTo>
                      <a:pt x="1508" y="566"/>
                    </a:lnTo>
                    <a:lnTo>
                      <a:pt x="1506" y="568"/>
                    </a:lnTo>
                    <a:lnTo>
                      <a:pt x="1506" y="570"/>
                    </a:lnTo>
                    <a:lnTo>
                      <a:pt x="1506" y="572"/>
                    </a:lnTo>
                    <a:lnTo>
                      <a:pt x="1504" y="574"/>
                    </a:lnTo>
                    <a:lnTo>
                      <a:pt x="1504" y="576"/>
                    </a:lnTo>
                    <a:lnTo>
                      <a:pt x="1504" y="576"/>
                    </a:lnTo>
                    <a:lnTo>
                      <a:pt x="1502" y="576"/>
                    </a:lnTo>
                    <a:lnTo>
                      <a:pt x="1502" y="578"/>
                    </a:lnTo>
                    <a:lnTo>
                      <a:pt x="1500" y="578"/>
                    </a:lnTo>
                    <a:lnTo>
                      <a:pt x="1498" y="578"/>
                    </a:lnTo>
                    <a:lnTo>
                      <a:pt x="1498" y="578"/>
                    </a:lnTo>
                    <a:lnTo>
                      <a:pt x="1496" y="578"/>
                    </a:lnTo>
                    <a:lnTo>
                      <a:pt x="1494" y="578"/>
                    </a:lnTo>
                    <a:lnTo>
                      <a:pt x="1494" y="578"/>
                    </a:lnTo>
                    <a:lnTo>
                      <a:pt x="1492" y="578"/>
                    </a:lnTo>
                    <a:lnTo>
                      <a:pt x="1492" y="578"/>
                    </a:lnTo>
                    <a:lnTo>
                      <a:pt x="1492" y="576"/>
                    </a:lnTo>
                    <a:lnTo>
                      <a:pt x="1492" y="576"/>
                    </a:lnTo>
                    <a:lnTo>
                      <a:pt x="1492" y="576"/>
                    </a:lnTo>
                    <a:lnTo>
                      <a:pt x="1490" y="574"/>
                    </a:lnTo>
                    <a:lnTo>
                      <a:pt x="1490" y="572"/>
                    </a:lnTo>
                    <a:lnTo>
                      <a:pt x="1490" y="570"/>
                    </a:lnTo>
                    <a:lnTo>
                      <a:pt x="1490" y="568"/>
                    </a:lnTo>
                    <a:lnTo>
                      <a:pt x="1490" y="566"/>
                    </a:lnTo>
                    <a:lnTo>
                      <a:pt x="1490" y="564"/>
                    </a:lnTo>
                    <a:lnTo>
                      <a:pt x="1490" y="564"/>
                    </a:lnTo>
                    <a:lnTo>
                      <a:pt x="1488" y="564"/>
                    </a:lnTo>
                    <a:lnTo>
                      <a:pt x="1488" y="562"/>
                    </a:lnTo>
                    <a:lnTo>
                      <a:pt x="1486" y="562"/>
                    </a:lnTo>
                    <a:lnTo>
                      <a:pt x="1486" y="560"/>
                    </a:lnTo>
                    <a:lnTo>
                      <a:pt x="1482" y="560"/>
                    </a:lnTo>
                    <a:lnTo>
                      <a:pt x="1478" y="558"/>
                    </a:lnTo>
                    <a:lnTo>
                      <a:pt x="1476" y="558"/>
                    </a:lnTo>
                    <a:lnTo>
                      <a:pt x="1472" y="556"/>
                    </a:lnTo>
                    <a:lnTo>
                      <a:pt x="1470" y="556"/>
                    </a:lnTo>
                    <a:lnTo>
                      <a:pt x="1470" y="554"/>
                    </a:lnTo>
                    <a:lnTo>
                      <a:pt x="1468" y="554"/>
                    </a:lnTo>
                    <a:lnTo>
                      <a:pt x="1468" y="552"/>
                    </a:lnTo>
                    <a:lnTo>
                      <a:pt x="1466" y="552"/>
                    </a:lnTo>
                    <a:lnTo>
                      <a:pt x="1466" y="550"/>
                    </a:lnTo>
                    <a:lnTo>
                      <a:pt x="1464" y="550"/>
                    </a:lnTo>
                    <a:lnTo>
                      <a:pt x="1464" y="548"/>
                    </a:lnTo>
                    <a:lnTo>
                      <a:pt x="1464" y="546"/>
                    </a:lnTo>
                    <a:lnTo>
                      <a:pt x="1464" y="544"/>
                    </a:lnTo>
                    <a:lnTo>
                      <a:pt x="1464" y="542"/>
                    </a:lnTo>
                    <a:lnTo>
                      <a:pt x="1464" y="542"/>
                    </a:lnTo>
                    <a:lnTo>
                      <a:pt x="1464" y="540"/>
                    </a:lnTo>
                    <a:lnTo>
                      <a:pt x="1464" y="540"/>
                    </a:lnTo>
                    <a:lnTo>
                      <a:pt x="1464" y="538"/>
                    </a:lnTo>
                    <a:lnTo>
                      <a:pt x="1466" y="538"/>
                    </a:lnTo>
                    <a:lnTo>
                      <a:pt x="1468" y="536"/>
                    </a:lnTo>
                    <a:lnTo>
                      <a:pt x="1470" y="534"/>
                    </a:lnTo>
                    <a:lnTo>
                      <a:pt x="1474" y="530"/>
                    </a:lnTo>
                    <a:lnTo>
                      <a:pt x="1476" y="530"/>
                    </a:lnTo>
                    <a:lnTo>
                      <a:pt x="1478" y="528"/>
                    </a:lnTo>
                    <a:lnTo>
                      <a:pt x="1480" y="524"/>
                    </a:lnTo>
                    <a:lnTo>
                      <a:pt x="1482" y="522"/>
                    </a:lnTo>
                    <a:lnTo>
                      <a:pt x="1486" y="514"/>
                    </a:lnTo>
                    <a:lnTo>
                      <a:pt x="1490" y="508"/>
                    </a:lnTo>
                    <a:lnTo>
                      <a:pt x="1494" y="502"/>
                    </a:lnTo>
                    <a:lnTo>
                      <a:pt x="1496" y="496"/>
                    </a:lnTo>
                    <a:lnTo>
                      <a:pt x="1498" y="492"/>
                    </a:lnTo>
                    <a:lnTo>
                      <a:pt x="1500" y="486"/>
                    </a:lnTo>
                    <a:lnTo>
                      <a:pt x="1502" y="482"/>
                    </a:lnTo>
                    <a:lnTo>
                      <a:pt x="1504" y="478"/>
                    </a:lnTo>
                    <a:lnTo>
                      <a:pt x="1508" y="472"/>
                    </a:lnTo>
                    <a:lnTo>
                      <a:pt x="1508" y="470"/>
                    </a:lnTo>
                    <a:lnTo>
                      <a:pt x="1510" y="468"/>
                    </a:lnTo>
                    <a:lnTo>
                      <a:pt x="1512" y="466"/>
                    </a:lnTo>
                    <a:lnTo>
                      <a:pt x="1512" y="466"/>
                    </a:lnTo>
                    <a:lnTo>
                      <a:pt x="1514" y="464"/>
                    </a:lnTo>
                    <a:lnTo>
                      <a:pt x="1516" y="464"/>
                    </a:lnTo>
                    <a:lnTo>
                      <a:pt x="1516" y="462"/>
                    </a:lnTo>
                    <a:lnTo>
                      <a:pt x="1518" y="462"/>
                    </a:lnTo>
                    <a:lnTo>
                      <a:pt x="1520" y="462"/>
                    </a:lnTo>
                    <a:lnTo>
                      <a:pt x="1526" y="460"/>
                    </a:lnTo>
                    <a:lnTo>
                      <a:pt x="1530" y="458"/>
                    </a:lnTo>
                    <a:lnTo>
                      <a:pt x="1536" y="458"/>
                    </a:lnTo>
                    <a:lnTo>
                      <a:pt x="1540" y="456"/>
                    </a:lnTo>
                    <a:lnTo>
                      <a:pt x="1548" y="456"/>
                    </a:lnTo>
                    <a:lnTo>
                      <a:pt x="1550" y="456"/>
                    </a:lnTo>
                    <a:lnTo>
                      <a:pt x="1554" y="456"/>
                    </a:lnTo>
                    <a:lnTo>
                      <a:pt x="1562" y="454"/>
                    </a:lnTo>
                    <a:lnTo>
                      <a:pt x="1570" y="454"/>
                    </a:lnTo>
                    <a:lnTo>
                      <a:pt x="1576" y="454"/>
                    </a:lnTo>
                    <a:lnTo>
                      <a:pt x="1578" y="454"/>
                    </a:lnTo>
                    <a:lnTo>
                      <a:pt x="1580" y="456"/>
                    </a:lnTo>
                    <a:lnTo>
                      <a:pt x="1584" y="456"/>
                    </a:lnTo>
                    <a:lnTo>
                      <a:pt x="1594" y="458"/>
                    </a:lnTo>
                    <a:lnTo>
                      <a:pt x="1600" y="460"/>
                    </a:lnTo>
                    <a:lnTo>
                      <a:pt x="1602" y="460"/>
                    </a:lnTo>
                    <a:lnTo>
                      <a:pt x="1604" y="460"/>
                    </a:lnTo>
                    <a:lnTo>
                      <a:pt x="1608" y="460"/>
                    </a:lnTo>
                    <a:lnTo>
                      <a:pt x="1610" y="460"/>
                    </a:lnTo>
                    <a:lnTo>
                      <a:pt x="1612" y="460"/>
                    </a:lnTo>
                    <a:lnTo>
                      <a:pt x="1614" y="458"/>
                    </a:lnTo>
                    <a:lnTo>
                      <a:pt x="1614" y="458"/>
                    </a:lnTo>
                    <a:lnTo>
                      <a:pt x="1614" y="458"/>
                    </a:lnTo>
                    <a:lnTo>
                      <a:pt x="1616" y="456"/>
                    </a:lnTo>
                    <a:lnTo>
                      <a:pt x="1616" y="456"/>
                    </a:lnTo>
                    <a:lnTo>
                      <a:pt x="1616" y="454"/>
                    </a:lnTo>
                    <a:lnTo>
                      <a:pt x="1618" y="450"/>
                    </a:lnTo>
                    <a:lnTo>
                      <a:pt x="1618" y="448"/>
                    </a:lnTo>
                    <a:lnTo>
                      <a:pt x="1620" y="446"/>
                    </a:lnTo>
                    <a:lnTo>
                      <a:pt x="1620" y="446"/>
                    </a:lnTo>
                    <a:lnTo>
                      <a:pt x="1620" y="444"/>
                    </a:lnTo>
                    <a:lnTo>
                      <a:pt x="1622" y="444"/>
                    </a:lnTo>
                    <a:lnTo>
                      <a:pt x="1622" y="444"/>
                    </a:lnTo>
                    <a:lnTo>
                      <a:pt x="1624" y="442"/>
                    </a:lnTo>
                    <a:lnTo>
                      <a:pt x="1624" y="442"/>
                    </a:lnTo>
                    <a:lnTo>
                      <a:pt x="1626" y="442"/>
                    </a:lnTo>
                    <a:lnTo>
                      <a:pt x="1628" y="442"/>
                    </a:lnTo>
                    <a:lnTo>
                      <a:pt x="1630" y="442"/>
                    </a:lnTo>
                    <a:lnTo>
                      <a:pt x="1632" y="442"/>
                    </a:lnTo>
                    <a:lnTo>
                      <a:pt x="1634" y="442"/>
                    </a:lnTo>
                    <a:lnTo>
                      <a:pt x="1636" y="444"/>
                    </a:lnTo>
                    <a:lnTo>
                      <a:pt x="1638" y="444"/>
                    </a:lnTo>
                    <a:lnTo>
                      <a:pt x="1640" y="444"/>
                    </a:lnTo>
                    <a:lnTo>
                      <a:pt x="1642" y="446"/>
                    </a:lnTo>
                    <a:lnTo>
                      <a:pt x="1644" y="446"/>
                    </a:lnTo>
                    <a:lnTo>
                      <a:pt x="1646" y="446"/>
                    </a:lnTo>
                    <a:lnTo>
                      <a:pt x="1648" y="448"/>
                    </a:lnTo>
                    <a:lnTo>
                      <a:pt x="1648" y="448"/>
                    </a:lnTo>
                    <a:lnTo>
                      <a:pt x="1650" y="450"/>
                    </a:lnTo>
                    <a:lnTo>
                      <a:pt x="1650" y="450"/>
                    </a:lnTo>
                    <a:lnTo>
                      <a:pt x="1650" y="450"/>
                    </a:lnTo>
                    <a:lnTo>
                      <a:pt x="1650" y="452"/>
                    </a:lnTo>
                    <a:lnTo>
                      <a:pt x="1650" y="454"/>
                    </a:lnTo>
                    <a:lnTo>
                      <a:pt x="1650" y="454"/>
                    </a:lnTo>
                    <a:lnTo>
                      <a:pt x="1650" y="456"/>
                    </a:lnTo>
                    <a:lnTo>
                      <a:pt x="1650" y="458"/>
                    </a:lnTo>
                    <a:lnTo>
                      <a:pt x="1650" y="458"/>
                    </a:lnTo>
                    <a:lnTo>
                      <a:pt x="1650" y="460"/>
                    </a:lnTo>
                    <a:lnTo>
                      <a:pt x="1650" y="460"/>
                    </a:lnTo>
                    <a:lnTo>
                      <a:pt x="1650" y="460"/>
                    </a:lnTo>
                    <a:lnTo>
                      <a:pt x="1652" y="460"/>
                    </a:lnTo>
                    <a:lnTo>
                      <a:pt x="1652" y="462"/>
                    </a:lnTo>
                    <a:lnTo>
                      <a:pt x="1656" y="462"/>
                    </a:lnTo>
                    <a:lnTo>
                      <a:pt x="1658" y="462"/>
                    </a:lnTo>
                    <a:lnTo>
                      <a:pt x="1660" y="462"/>
                    </a:lnTo>
                    <a:lnTo>
                      <a:pt x="1662" y="462"/>
                    </a:lnTo>
                    <a:lnTo>
                      <a:pt x="1666" y="462"/>
                    </a:lnTo>
                    <a:lnTo>
                      <a:pt x="1668" y="462"/>
                    </a:lnTo>
                    <a:lnTo>
                      <a:pt x="1672" y="460"/>
                    </a:lnTo>
                    <a:lnTo>
                      <a:pt x="1674" y="460"/>
                    </a:lnTo>
                    <a:lnTo>
                      <a:pt x="1676" y="458"/>
                    </a:lnTo>
                    <a:lnTo>
                      <a:pt x="1678" y="458"/>
                    </a:lnTo>
                    <a:lnTo>
                      <a:pt x="1682" y="456"/>
                    </a:lnTo>
                    <a:lnTo>
                      <a:pt x="1684" y="456"/>
                    </a:lnTo>
                    <a:lnTo>
                      <a:pt x="1684" y="454"/>
                    </a:lnTo>
                    <a:lnTo>
                      <a:pt x="1686" y="454"/>
                    </a:lnTo>
                    <a:lnTo>
                      <a:pt x="1686" y="452"/>
                    </a:lnTo>
                    <a:lnTo>
                      <a:pt x="1688" y="452"/>
                    </a:lnTo>
                    <a:lnTo>
                      <a:pt x="1688" y="450"/>
                    </a:lnTo>
                    <a:lnTo>
                      <a:pt x="1688" y="450"/>
                    </a:lnTo>
                    <a:lnTo>
                      <a:pt x="1688" y="448"/>
                    </a:lnTo>
                    <a:lnTo>
                      <a:pt x="1688" y="446"/>
                    </a:lnTo>
                    <a:lnTo>
                      <a:pt x="1688" y="440"/>
                    </a:lnTo>
                    <a:lnTo>
                      <a:pt x="1688" y="438"/>
                    </a:lnTo>
                    <a:lnTo>
                      <a:pt x="1688" y="436"/>
                    </a:lnTo>
                    <a:lnTo>
                      <a:pt x="1690" y="430"/>
                    </a:lnTo>
                    <a:lnTo>
                      <a:pt x="1692" y="424"/>
                    </a:lnTo>
                    <a:lnTo>
                      <a:pt x="1694" y="418"/>
                    </a:lnTo>
                    <a:lnTo>
                      <a:pt x="1694" y="414"/>
                    </a:lnTo>
                    <a:lnTo>
                      <a:pt x="1696" y="412"/>
                    </a:lnTo>
                    <a:lnTo>
                      <a:pt x="1696" y="408"/>
                    </a:lnTo>
                    <a:lnTo>
                      <a:pt x="1698" y="404"/>
                    </a:lnTo>
                    <a:lnTo>
                      <a:pt x="1698" y="402"/>
                    </a:lnTo>
                    <a:lnTo>
                      <a:pt x="1700" y="400"/>
                    </a:lnTo>
                    <a:lnTo>
                      <a:pt x="1702" y="398"/>
                    </a:lnTo>
                    <a:lnTo>
                      <a:pt x="1702" y="398"/>
                    </a:lnTo>
                    <a:lnTo>
                      <a:pt x="1702" y="398"/>
                    </a:lnTo>
                    <a:lnTo>
                      <a:pt x="1704" y="398"/>
                    </a:lnTo>
                    <a:lnTo>
                      <a:pt x="1706" y="396"/>
                    </a:lnTo>
                    <a:lnTo>
                      <a:pt x="1708" y="396"/>
                    </a:lnTo>
                    <a:lnTo>
                      <a:pt x="1710" y="396"/>
                    </a:lnTo>
                    <a:lnTo>
                      <a:pt x="1714" y="396"/>
                    </a:lnTo>
                    <a:lnTo>
                      <a:pt x="1716" y="394"/>
                    </a:lnTo>
                    <a:lnTo>
                      <a:pt x="1718" y="394"/>
                    </a:lnTo>
                    <a:lnTo>
                      <a:pt x="1722" y="394"/>
                    </a:lnTo>
                    <a:lnTo>
                      <a:pt x="1724" y="394"/>
                    </a:lnTo>
                    <a:lnTo>
                      <a:pt x="1726" y="396"/>
                    </a:lnTo>
                    <a:lnTo>
                      <a:pt x="1730" y="396"/>
                    </a:lnTo>
                    <a:lnTo>
                      <a:pt x="1732" y="396"/>
                    </a:lnTo>
                    <a:lnTo>
                      <a:pt x="1734" y="396"/>
                    </a:lnTo>
                    <a:lnTo>
                      <a:pt x="1736" y="396"/>
                    </a:lnTo>
                    <a:lnTo>
                      <a:pt x="1738" y="398"/>
                    </a:lnTo>
                    <a:lnTo>
                      <a:pt x="1740" y="398"/>
                    </a:lnTo>
                    <a:lnTo>
                      <a:pt x="1742" y="398"/>
                    </a:lnTo>
                    <a:lnTo>
                      <a:pt x="1742" y="400"/>
                    </a:lnTo>
                    <a:lnTo>
                      <a:pt x="1744" y="400"/>
                    </a:lnTo>
                    <a:lnTo>
                      <a:pt x="1746" y="402"/>
                    </a:lnTo>
                    <a:lnTo>
                      <a:pt x="1746" y="406"/>
                    </a:lnTo>
                    <a:lnTo>
                      <a:pt x="1750" y="410"/>
                    </a:lnTo>
                    <a:lnTo>
                      <a:pt x="1752" y="412"/>
                    </a:lnTo>
                    <a:lnTo>
                      <a:pt x="1752" y="412"/>
                    </a:lnTo>
                    <a:lnTo>
                      <a:pt x="1752" y="412"/>
                    </a:lnTo>
                    <a:lnTo>
                      <a:pt x="1754" y="414"/>
                    </a:lnTo>
                    <a:lnTo>
                      <a:pt x="1758" y="416"/>
                    </a:lnTo>
                    <a:lnTo>
                      <a:pt x="1758" y="416"/>
                    </a:lnTo>
                    <a:lnTo>
                      <a:pt x="1760" y="416"/>
                    </a:lnTo>
                    <a:lnTo>
                      <a:pt x="1760" y="418"/>
                    </a:lnTo>
                    <a:lnTo>
                      <a:pt x="1762" y="416"/>
                    </a:lnTo>
                    <a:lnTo>
                      <a:pt x="1762" y="416"/>
                    </a:lnTo>
                    <a:lnTo>
                      <a:pt x="1764" y="416"/>
                    </a:lnTo>
                    <a:lnTo>
                      <a:pt x="1764" y="414"/>
                    </a:lnTo>
                    <a:lnTo>
                      <a:pt x="1766" y="412"/>
                    </a:lnTo>
                    <a:lnTo>
                      <a:pt x="1766" y="412"/>
                    </a:lnTo>
                    <a:lnTo>
                      <a:pt x="1768" y="410"/>
                    </a:lnTo>
                    <a:lnTo>
                      <a:pt x="1768" y="406"/>
                    </a:lnTo>
                    <a:lnTo>
                      <a:pt x="1770" y="402"/>
                    </a:lnTo>
                    <a:lnTo>
                      <a:pt x="1772" y="400"/>
                    </a:lnTo>
                    <a:lnTo>
                      <a:pt x="1772" y="398"/>
                    </a:lnTo>
                    <a:lnTo>
                      <a:pt x="1772" y="396"/>
                    </a:lnTo>
                    <a:lnTo>
                      <a:pt x="1774" y="396"/>
                    </a:lnTo>
                    <a:lnTo>
                      <a:pt x="1774" y="394"/>
                    </a:lnTo>
                    <a:lnTo>
                      <a:pt x="1776" y="394"/>
                    </a:lnTo>
                    <a:lnTo>
                      <a:pt x="1776" y="392"/>
                    </a:lnTo>
                    <a:lnTo>
                      <a:pt x="1778" y="392"/>
                    </a:lnTo>
                    <a:lnTo>
                      <a:pt x="1780" y="392"/>
                    </a:lnTo>
                    <a:lnTo>
                      <a:pt x="1780" y="390"/>
                    </a:lnTo>
                    <a:lnTo>
                      <a:pt x="1782" y="390"/>
                    </a:lnTo>
                    <a:lnTo>
                      <a:pt x="1784" y="390"/>
                    </a:lnTo>
                    <a:lnTo>
                      <a:pt x="1784" y="390"/>
                    </a:lnTo>
                    <a:lnTo>
                      <a:pt x="1784" y="390"/>
                    </a:lnTo>
                    <a:lnTo>
                      <a:pt x="1786" y="390"/>
                    </a:lnTo>
                    <a:lnTo>
                      <a:pt x="1786" y="392"/>
                    </a:lnTo>
                    <a:lnTo>
                      <a:pt x="1786" y="392"/>
                    </a:lnTo>
                    <a:lnTo>
                      <a:pt x="1788" y="394"/>
                    </a:lnTo>
                    <a:lnTo>
                      <a:pt x="1790" y="396"/>
                    </a:lnTo>
                    <a:lnTo>
                      <a:pt x="1790" y="398"/>
                    </a:lnTo>
                    <a:lnTo>
                      <a:pt x="1792" y="400"/>
                    </a:lnTo>
                    <a:lnTo>
                      <a:pt x="1792" y="404"/>
                    </a:lnTo>
                    <a:lnTo>
                      <a:pt x="1794" y="406"/>
                    </a:lnTo>
                    <a:lnTo>
                      <a:pt x="1794" y="408"/>
                    </a:lnTo>
                    <a:lnTo>
                      <a:pt x="1794" y="408"/>
                    </a:lnTo>
                    <a:lnTo>
                      <a:pt x="1794" y="410"/>
                    </a:lnTo>
                    <a:lnTo>
                      <a:pt x="1792" y="412"/>
                    </a:lnTo>
                    <a:lnTo>
                      <a:pt x="1792" y="414"/>
                    </a:lnTo>
                    <a:lnTo>
                      <a:pt x="1790" y="416"/>
                    </a:lnTo>
                    <a:lnTo>
                      <a:pt x="1790" y="418"/>
                    </a:lnTo>
                    <a:lnTo>
                      <a:pt x="1788" y="420"/>
                    </a:lnTo>
                    <a:lnTo>
                      <a:pt x="1786" y="422"/>
                    </a:lnTo>
                    <a:lnTo>
                      <a:pt x="1786" y="424"/>
                    </a:lnTo>
                    <a:lnTo>
                      <a:pt x="1784" y="426"/>
                    </a:lnTo>
                    <a:lnTo>
                      <a:pt x="1784" y="426"/>
                    </a:lnTo>
                    <a:lnTo>
                      <a:pt x="1782" y="428"/>
                    </a:lnTo>
                    <a:lnTo>
                      <a:pt x="1778" y="430"/>
                    </a:lnTo>
                    <a:lnTo>
                      <a:pt x="1776" y="432"/>
                    </a:lnTo>
                    <a:lnTo>
                      <a:pt x="1770" y="436"/>
                    </a:lnTo>
                    <a:lnTo>
                      <a:pt x="1768" y="438"/>
                    </a:lnTo>
                    <a:lnTo>
                      <a:pt x="1766" y="440"/>
                    </a:lnTo>
                    <a:lnTo>
                      <a:pt x="1764" y="444"/>
                    </a:lnTo>
                    <a:lnTo>
                      <a:pt x="1762" y="446"/>
                    </a:lnTo>
                    <a:lnTo>
                      <a:pt x="1758" y="450"/>
                    </a:lnTo>
                    <a:lnTo>
                      <a:pt x="1756" y="454"/>
                    </a:lnTo>
                    <a:lnTo>
                      <a:pt x="1752" y="462"/>
                    </a:lnTo>
                    <a:lnTo>
                      <a:pt x="1750" y="464"/>
                    </a:lnTo>
                    <a:lnTo>
                      <a:pt x="1748" y="468"/>
                    </a:lnTo>
                    <a:lnTo>
                      <a:pt x="1746" y="470"/>
                    </a:lnTo>
                    <a:lnTo>
                      <a:pt x="1744" y="472"/>
                    </a:lnTo>
                    <a:lnTo>
                      <a:pt x="1740" y="478"/>
                    </a:lnTo>
                    <a:lnTo>
                      <a:pt x="1738" y="480"/>
                    </a:lnTo>
                    <a:lnTo>
                      <a:pt x="1736" y="482"/>
                    </a:lnTo>
                    <a:lnTo>
                      <a:pt x="1734" y="484"/>
                    </a:lnTo>
                    <a:lnTo>
                      <a:pt x="1734" y="486"/>
                    </a:lnTo>
                    <a:lnTo>
                      <a:pt x="1732" y="488"/>
                    </a:lnTo>
                    <a:lnTo>
                      <a:pt x="1732" y="488"/>
                    </a:lnTo>
                    <a:lnTo>
                      <a:pt x="1732" y="490"/>
                    </a:lnTo>
                    <a:lnTo>
                      <a:pt x="1732" y="494"/>
                    </a:lnTo>
                    <a:lnTo>
                      <a:pt x="1730" y="498"/>
                    </a:lnTo>
                    <a:lnTo>
                      <a:pt x="1730" y="502"/>
                    </a:lnTo>
                    <a:lnTo>
                      <a:pt x="1730" y="506"/>
                    </a:lnTo>
                    <a:lnTo>
                      <a:pt x="1730" y="510"/>
                    </a:lnTo>
                    <a:lnTo>
                      <a:pt x="1730" y="516"/>
                    </a:lnTo>
                    <a:lnTo>
                      <a:pt x="1730" y="524"/>
                    </a:lnTo>
                    <a:lnTo>
                      <a:pt x="1730" y="528"/>
                    </a:lnTo>
                    <a:lnTo>
                      <a:pt x="1732" y="532"/>
                    </a:lnTo>
                    <a:lnTo>
                      <a:pt x="1732" y="536"/>
                    </a:lnTo>
                    <a:lnTo>
                      <a:pt x="1732" y="540"/>
                    </a:lnTo>
                    <a:lnTo>
                      <a:pt x="1734" y="544"/>
                    </a:lnTo>
                    <a:lnTo>
                      <a:pt x="1734" y="548"/>
                    </a:lnTo>
                    <a:lnTo>
                      <a:pt x="1736" y="550"/>
                    </a:lnTo>
                    <a:lnTo>
                      <a:pt x="1736" y="552"/>
                    </a:lnTo>
                    <a:lnTo>
                      <a:pt x="1738" y="556"/>
                    </a:lnTo>
                    <a:lnTo>
                      <a:pt x="1740" y="558"/>
                    </a:lnTo>
                    <a:lnTo>
                      <a:pt x="1744" y="564"/>
                    </a:lnTo>
                    <a:lnTo>
                      <a:pt x="1746" y="566"/>
                    </a:lnTo>
                    <a:lnTo>
                      <a:pt x="1746" y="570"/>
                    </a:lnTo>
                    <a:lnTo>
                      <a:pt x="1748" y="572"/>
                    </a:lnTo>
                    <a:lnTo>
                      <a:pt x="1748" y="574"/>
                    </a:lnTo>
                    <a:lnTo>
                      <a:pt x="1750" y="582"/>
                    </a:lnTo>
                    <a:lnTo>
                      <a:pt x="1750" y="586"/>
                    </a:lnTo>
                    <a:lnTo>
                      <a:pt x="1752" y="588"/>
                    </a:lnTo>
                    <a:lnTo>
                      <a:pt x="1752" y="592"/>
                    </a:lnTo>
                    <a:lnTo>
                      <a:pt x="1752" y="594"/>
                    </a:lnTo>
                    <a:lnTo>
                      <a:pt x="1754" y="596"/>
                    </a:lnTo>
                    <a:lnTo>
                      <a:pt x="1754" y="598"/>
                    </a:lnTo>
                    <a:lnTo>
                      <a:pt x="1758" y="602"/>
                    </a:lnTo>
                    <a:lnTo>
                      <a:pt x="1758" y="604"/>
                    </a:lnTo>
                    <a:lnTo>
                      <a:pt x="1760" y="606"/>
                    </a:lnTo>
                    <a:lnTo>
                      <a:pt x="1762" y="608"/>
                    </a:lnTo>
                    <a:lnTo>
                      <a:pt x="1762" y="610"/>
                    </a:lnTo>
                    <a:lnTo>
                      <a:pt x="1766" y="612"/>
                    </a:lnTo>
                    <a:lnTo>
                      <a:pt x="1768" y="614"/>
                    </a:lnTo>
                    <a:lnTo>
                      <a:pt x="1768" y="614"/>
                    </a:lnTo>
                    <a:lnTo>
                      <a:pt x="1770" y="616"/>
                    </a:lnTo>
                    <a:lnTo>
                      <a:pt x="1772" y="616"/>
                    </a:lnTo>
                    <a:lnTo>
                      <a:pt x="1774" y="616"/>
                    </a:lnTo>
                    <a:lnTo>
                      <a:pt x="1774" y="618"/>
                    </a:lnTo>
                    <a:lnTo>
                      <a:pt x="1774" y="618"/>
                    </a:lnTo>
                    <a:lnTo>
                      <a:pt x="1776" y="616"/>
                    </a:lnTo>
                    <a:lnTo>
                      <a:pt x="1776" y="616"/>
                    </a:lnTo>
                    <a:lnTo>
                      <a:pt x="1778" y="616"/>
                    </a:lnTo>
                    <a:lnTo>
                      <a:pt x="1780" y="614"/>
                    </a:lnTo>
                    <a:lnTo>
                      <a:pt x="1780" y="614"/>
                    </a:lnTo>
                    <a:lnTo>
                      <a:pt x="1780" y="612"/>
                    </a:lnTo>
                    <a:lnTo>
                      <a:pt x="1782" y="610"/>
                    </a:lnTo>
                    <a:lnTo>
                      <a:pt x="1784" y="608"/>
                    </a:lnTo>
                    <a:lnTo>
                      <a:pt x="1786" y="604"/>
                    </a:lnTo>
                    <a:lnTo>
                      <a:pt x="1786" y="600"/>
                    </a:lnTo>
                    <a:lnTo>
                      <a:pt x="1788" y="596"/>
                    </a:lnTo>
                    <a:lnTo>
                      <a:pt x="1790" y="594"/>
                    </a:lnTo>
                    <a:lnTo>
                      <a:pt x="1792" y="588"/>
                    </a:lnTo>
                    <a:lnTo>
                      <a:pt x="1798" y="580"/>
                    </a:lnTo>
                    <a:lnTo>
                      <a:pt x="1800" y="578"/>
                    </a:lnTo>
                    <a:lnTo>
                      <a:pt x="1800" y="574"/>
                    </a:lnTo>
                    <a:lnTo>
                      <a:pt x="1802" y="570"/>
                    </a:lnTo>
                    <a:lnTo>
                      <a:pt x="1802" y="568"/>
                    </a:lnTo>
                    <a:lnTo>
                      <a:pt x="1804" y="566"/>
                    </a:lnTo>
                    <a:lnTo>
                      <a:pt x="1804" y="566"/>
                    </a:lnTo>
                    <a:lnTo>
                      <a:pt x="1804" y="564"/>
                    </a:lnTo>
                    <a:lnTo>
                      <a:pt x="1804" y="562"/>
                    </a:lnTo>
                    <a:lnTo>
                      <a:pt x="1802" y="558"/>
                    </a:lnTo>
                    <a:lnTo>
                      <a:pt x="1802" y="556"/>
                    </a:lnTo>
                    <a:lnTo>
                      <a:pt x="1802" y="554"/>
                    </a:lnTo>
                    <a:lnTo>
                      <a:pt x="1802" y="552"/>
                    </a:lnTo>
                    <a:lnTo>
                      <a:pt x="1802" y="552"/>
                    </a:lnTo>
                    <a:lnTo>
                      <a:pt x="1802" y="550"/>
                    </a:lnTo>
                    <a:lnTo>
                      <a:pt x="1804" y="550"/>
                    </a:lnTo>
                    <a:lnTo>
                      <a:pt x="1804" y="550"/>
                    </a:lnTo>
                    <a:lnTo>
                      <a:pt x="1804" y="550"/>
                    </a:lnTo>
                    <a:lnTo>
                      <a:pt x="1806" y="550"/>
                    </a:lnTo>
                    <a:lnTo>
                      <a:pt x="1806" y="550"/>
                    </a:lnTo>
                    <a:lnTo>
                      <a:pt x="1808" y="550"/>
                    </a:lnTo>
                    <a:lnTo>
                      <a:pt x="1810" y="550"/>
                    </a:lnTo>
                    <a:lnTo>
                      <a:pt x="1814" y="550"/>
                    </a:lnTo>
                    <a:lnTo>
                      <a:pt x="1816" y="552"/>
                    </a:lnTo>
                    <a:lnTo>
                      <a:pt x="1816" y="552"/>
                    </a:lnTo>
                    <a:lnTo>
                      <a:pt x="1818" y="550"/>
                    </a:lnTo>
                    <a:lnTo>
                      <a:pt x="1818" y="550"/>
                    </a:lnTo>
                    <a:lnTo>
                      <a:pt x="1818" y="550"/>
                    </a:lnTo>
                    <a:lnTo>
                      <a:pt x="1818" y="550"/>
                    </a:lnTo>
                    <a:lnTo>
                      <a:pt x="1820" y="548"/>
                    </a:lnTo>
                    <a:lnTo>
                      <a:pt x="1820" y="548"/>
                    </a:lnTo>
                    <a:lnTo>
                      <a:pt x="1820" y="546"/>
                    </a:lnTo>
                    <a:lnTo>
                      <a:pt x="1820" y="544"/>
                    </a:lnTo>
                    <a:lnTo>
                      <a:pt x="1818" y="544"/>
                    </a:lnTo>
                    <a:lnTo>
                      <a:pt x="1818" y="540"/>
                    </a:lnTo>
                    <a:lnTo>
                      <a:pt x="1816" y="534"/>
                    </a:lnTo>
                    <a:lnTo>
                      <a:pt x="1816" y="532"/>
                    </a:lnTo>
                    <a:lnTo>
                      <a:pt x="1816" y="532"/>
                    </a:lnTo>
                    <a:lnTo>
                      <a:pt x="1816" y="530"/>
                    </a:lnTo>
                    <a:lnTo>
                      <a:pt x="1816" y="526"/>
                    </a:lnTo>
                    <a:lnTo>
                      <a:pt x="1816" y="524"/>
                    </a:lnTo>
                    <a:lnTo>
                      <a:pt x="1816" y="522"/>
                    </a:lnTo>
                    <a:lnTo>
                      <a:pt x="1816" y="520"/>
                    </a:lnTo>
                    <a:lnTo>
                      <a:pt x="1816" y="518"/>
                    </a:lnTo>
                    <a:lnTo>
                      <a:pt x="1818" y="516"/>
                    </a:lnTo>
                    <a:lnTo>
                      <a:pt x="1818" y="516"/>
                    </a:lnTo>
                    <a:lnTo>
                      <a:pt x="1818" y="516"/>
                    </a:lnTo>
                    <a:lnTo>
                      <a:pt x="1818" y="514"/>
                    </a:lnTo>
                    <a:lnTo>
                      <a:pt x="1820" y="514"/>
                    </a:lnTo>
                    <a:lnTo>
                      <a:pt x="1820" y="514"/>
                    </a:lnTo>
                    <a:lnTo>
                      <a:pt x="1822" y="514"/>
                    </a:lnTo>
                    <a:lnTo>
                      <a:pt x="1824" y="514"/>
                    </a:lnTo>
                    <a:lnTo>
                      <a:pt x="1824" y="514"/>
                    </a:lnTo>
                    <a:lnTo>
                      <a:pt x="1826" y="514"/>
                    </a:lnTo>
                    <a:lnTo>
                      <a:pt x="1826" y="514"/>
                    </a:lnTo>
                    <a:lnTo>
                      <a:pt x="1828" y="514"/>
                    </a:lnTo>
                    <a:lnTo>
                      <a:pt x="1828" y="514"/>
                    </a:lnTo>
                    <a:lnTo>
                      <a:pt x="1828" y="514"/>
                    </a:lnTo>
                    <a:lnTo>
                      <a:pt x="1828" y="512"/>
                    </a:lnTo>
                    <a:lnTo>
                      <a:pt x="1828" y="512"/>
                    </a:lnTo>
                    <a:lnTo>
                      <a:pt x="1828" y="512"/>
                    </a:lnTo>
                    <a:lnTo>
                      <a:pt x="1826" y="510"/>
                    </a:lnTo>
                    <a:lnTo>
                      <a:pt x="1826" y="508"/>
                    </a:lnTo>
                    <a:lnTo>
                      <a:pt x="1822" y="504"/>
                    </a:lnTo>
                    <a:lnTo>
                      <a:pt x="1820" y="502"/>
                    </a:lnTo>
                    <a:lnTo>
                      <a:pt x="1818" y="498"/>
                    </a:lnTo>
                    <a:lnTo>
                      <a:pt x="1816" y="496"/>
                    </a:lnTo>
                    <a:lnTo>
                      <a:pt x="1814" y="492"/>
                    </a:lnTo>
                    <a:lnTo>
                      <a:pt x="1812" y="490"/>
                    </a:lnTo>
                    <a:lnTo>
                      <a:pt x="1808" y="488"/>
                    </a:lnTo>
                    <a:lnTo>
                      <a:pt x="1806" y="486"/>
                    </a:lnTo>
                    <a:lnTo>
                      <a:pt x="1806" y="486"/>
                    </a:lnTo>
                    <a:lnTo>
                      <a:pt x="1804" y="484"/>
                    </a:lnTo>
                    <a:lnTo>
                      <a:pt x="1804" y="484"/>
                    </a:lnTo>
                    <a:lnTo>
                      <a:pt x="1802" y="484"/>
                    </a:lnTo>
                    <a:lnTo>
                      <a:pt x="1800" y="484"/>
                    </a:lnTo>
                    <a:lnTo>
                      <a:pt x="1800" y="482"/>
                    </a:lnTo>
                    <a:lnTo>
                      <a:pt x="1798" y="482"/>
                    </a:lnTo>
                    <a:lnTo>
                      <a:pt x="1798" y="482"/>
                    </a:lnTo>
                    <a:lnTo>
                      <a:pt x="1796" y="480"/>
                    </a:lnTo>
                    <a:lnTo>
                      <a:pt x="1796" y="480"/>
                    </a:lnTo>
                    <a:lnTo>
                      <a:pt x="1796" y="480"/>
                    </a:lnTo>
                    <a:lnTo>
                      <a:pt x="1796" y="478"/>
                    </a:lnTo>
                    <a:lnTo>
                      <a:pt x="1796" y="478"/>
                    </a:lnTo>
                    <a:lnTo>
                      <a:pt x="1796" y="474"/>
                    </a:lnTo>
                    <a:lnTo>
                      <a:pt x="1796" y="472"/>
                    </a:lnTo>
                    <a:lnTo>
                      <a:pt x="1796" y="468"/>
                    </a:lnTo>
                    <a:lnTo>
                      <a:pt x="1798" y="466"/>
                    </a:lnTo>
                    <a:lnTo>
                      <a:pt x="1798" y="462"/>
                    </a:lnTo>
                    <a:lnTo>
                      <a:pt x="1798" y="460"/>
                    </a:lnTo>
                    <a:lnTo>
                      <a:pt x="1800" y="456"/>
                    </a:lnTo>
                    <a:lnTo>
                      <a:pt x="1800" y="454"/>
                    </a:lnTo>
                    <a:lnTo>
                      <a:pt x="1802" y="452"/>
                    </a:lnTo>
                    <a:lnTo>
                      <a:pt x="1804" y="448"/>
                    </a:lnTo>
                    <a:lnTo>
                      <a:pt x="1808" y="446"/>
                    </a:lnTo>
                    <a:lnTo>
                      <a:pt x="1808" y="444"/>
                    </a:lnTo>
                    <a:lnTo>
                      <a:pt x="1810" y="444"/>
                    </a:lnTo>
                    <a:lnTo>
                      <a:pt x="1810" y="442"/>
                    </a:lnTo>
                    <a:lnTo>
                      <a:pt x="1812" y="442"/>
                    </a:lnTo>
                    <a:lnTo>
                      <a:pt x="1814" y="440"/>
                    </a:lnTo>
                    <a:lnTo>
                      <a:pt x="1818" y="438"/>
                    </a:lnTo>
                    <a:lnTo>
                      <a:pt x="1822" y="438"/>
                    </a:lnTo>
                    <a:lnTo>
                      <a:pt x="1828" y="434"/>
                    </a:lnTo>
                    <a:lnTo>
                      <a:pt x="1832" y="434"/>
                    </a:lnTo>
                    <a:lnTo>
                      <a:pt x="1834" y="432"/>
                    </a:lnTo>
                    <a:lnTo>
                      <a:pt x="1834" y="432"/>
                    </a:lnTo>
                    <a:lnTo>
                      <a:pt x="1836" y="430"/>
                    </a:lnTo>
                    <a:lnTo>
                      <a:pt x="1840" y="428"/>
                    </a:lnTo>
                    <a:lnTo>
                      <a:pt x="1844" y="424"/>
                    </a:lnTo>
                    <a:lnTo>
                      <a:pt x="1844" y="424"/>
                    </a:lnTo>
                    <a:lnTo>
                      <a:pt x="1846" y="424"/>
                    </a:lnTo>
                    <a:lnTo>
                      <a:pt x="1848" y="422"/>
                    </a:lnTo>
                    <a:lnTo>
                      <a:pt x="1850" y="422"/>
                    </a:lnTo>
                    <a:lnTo>
                      <a:pt x="1854" y="420"/>
                    </a:lnTo>
                    <a:lnTo>
                      <a:pt x="1858" y="420"/>
                    </a:lnTo>
                    <a:lnTo>
                      <a:pt x="1860" y="420"/>
                    </a:lnTo>
                    <a:lnTo>
                      <a:pt x="1862" y="420"/>
                    </a:lnTo>
                    <a:lnTo>
                      <a:pt x="1864" y="420"/>
                    </a:lnTo>
                    <a:lnTo>
                      <a:pt x="1864" y="420"/>
                    </a:lnTo>
                    <a:lnTo>
                      <a:pt x="1866" y="420"/>
                    </a:lnTo>
                    <a:lnTo>
                      <a:pt x="1870" y="420"/>
                    </a:lnTo>
                    <a:lnTo>
                      <a:pt x="1872" y="422"/>
                    </a:lnTo>
                    <a:lnTo>
                      <a:pt x="1874" y="422"/>
                    </a:lnTo>
                    <a:lnTo>
                      <a:pt x="1874" y="424"/>
                    </a:lnTo>
                    <a:lnTo>
                      <a:pt x="1876" y="424"/>
                    </a:lnTo>
                    <a:lnTo>
                      <a:pt x="1878" y="426"/>
                    </a:lnTo>
                    <a:lnTo>
                      <a:pt x="1878" y="428"/>
                    </a:lnTo>
                    <a:lnTo>
                      <a:pt x="1880" y="430"/>
                    </a:lnTo>
                    <a:lnTo>
                      <a:pt x="1882" y="432"/>
                    </a:lnTo>
                    <a:lnTo>
                      <a:pt x="1884" y="434"/>
                    </a:lnTo>
                    <a:lnTo>
                      <a:pt x="1886" y="436"/>
                    </a:lnTo>
                    <a:lnTo>
                      <a:pt x="1886" y="438"/>
                    </a:lnTo>
                    <a:lnTo>
                      <a:pt x="1888" y="440"/>
                    </a:lnTo>
                    <a:lnTo>
                      <a:pt x="1890" y="440"/>
                    </a:lnTo>
                    <a:lnTo>
                      <a:pt x="1890" y="442"/>
                    </a:lnTo>
                    <a:lnTo>
                      <a:pt x="1892" y="442"/>
                    </a:lnTo>
                    <a:lnTo>
                      <a:pt x="1892" y="442"/>
                    </a:lnTo>
                    <a:lnTo>
                      <a:pt x="1892" y="442"/>
                    </a:lnTo>
                    <a:lnTo>
                      <a:pt x="1894" y="442"/>
                    </a:lnTo>
                    <a:lnTo>
                      <a:pt x="1894" y="442"/>
                    </a:lnTo>
                    <a:lnTo>
                      <a:pt x="1894" y="440"/>
                    </a:lnTo>
                    <a:lnTo>
                      <a:pt x="1896" y="440"/>
                    </a:lnTo>
                    <a:lnTo>
                      <a:pt x="1896" y="438"/>
                    </a:lnTo>
                    <a:lnTo>
                      <a:pt x="1896" y="436"/>
                    </a:lnTo>
                    <a:lnTo>
                      <a:pt x="1898" y="434"/>
                    </a:lnTo>
                    <a:lnTo>
                      <a:pt x="1898" y="430"/>
                    </a:lnTo>
                    <a:lnTo>
                      <a:pt x="1898" y="426"/>
                    </a:lnTo>
                    <a:lnTo>
                      <a:pt x="1900" y="422"/>
                    </a:lnTo>
                    <a:lnTo>
                      <a:pt x="1900" y="420"/>
                    </a:lnTo>
                    <a:lnTo>
                      <a:pt x="1900" y="418"/>
                    </a:lnTo>
                    <a:lnTo>
                      <a:pt x="1900" y="416"/>
                    </a:lnTo>
                    <a:lnTo>
                      <a:pt x="1902" y="416"/>
                    </a:lnTo>
                    <a:lnTo>
                      <a:pt x="1902" y="414"/>
                    </a:lnTo>
                    <a:lnTo>
                      <a:pt x="1904" y="414"/>
                    </a:lnTo>
                    <a:lnTo>
                      <a:pt x="1906" y="412"/>
                    </a:lnTo>
                    <a:lnTo>
                      <a:pt x="1908" y="410"/>
                    </a:lnTo>
                    <a:lnTo>
                      <a:pt x="1908" y="408"/>
                    </a:lnTo>
                    <a:lnTo>
                      <a:pt x="1910" y="408"/>
                    </a:lnTo>
                    <a:lnTo>
                      <a:pt x="1910" y="408"/>
                    </a:lnTo>
                    <a:lnTo>
                      <a:pt x="1910" y="406"/>
                    </a:lnTo>
                    <a:lnTo>
                      <a:pt x="1910" y="404"/>
                    </a:lnTo>
                    <a:lnTo>
                      <a:pt x="1910" y="400"/>
                    </a:lnTo>
                    <a:lnTo>
                      <a:pt x="1910" y="398"/>
                    </a:lnTo>
                    <a:lnTo>
                      <a:pt x="1910" y="396"/>
                    </a:lnTo>
                    <a:lnTo>
                      <a:pt x="1910" y="396"/>
                    </a:lnTo>
                    <a:lnTo>
                      <a:pt x="1910" y="396"/>
                    </a:lnTo>
                    <a:lnTo>
                      <a:pt x="1912" y="394"/>
                    </a:lnTo>
                    <a:lnTo>
                      <a:pt x="1912" y="394"/>
                    </a:lnTo>
                    <a:lnTo>
                      <a:pt x="1912" y="394"/>
                    </a:lnTo>
                    <a:lnTo>
                      <a:pt x="1914" y="394"/>
                    </a:lnTo>
                    <a:lnTo>
                      <a:pt x="1914" y="394"/>
                    </a:lnTo>
                    <a:lnTo>
                      <a:pt x="1916" y="394"/>
                    </a:lnTo>
                    <a:lnTo>
                      <a:pt x="1918" y="394"/>
                    </a:lnTo>
                    <a:lnTo>
                      <a:pt x="1922" y="394"/>
                    </a:lnTo>
                    <a:lnTo>
                      <a:pt x="1924" y="394"/>
                    </a:lnTo>
                    <a:lnTo>
                      <a:pt x="1928" y="396"/>
                    </a:lnTo>
                    <a:lnTo>
                      <a:pt x="1928" y="396"/>
                    </a:lnTo>
                    <a:lnTo>
                      <a:pt x="1930" y="396"/>
                    </a:lnTo>
                    <a:lnTo>
                      <a:pt x="1930" y="396"/>
                    </a:lnTo>
                    <a:lnTo>
                      <a:pt x="1932" y="396"/>
                    </a:lnTo>
                    <a:lnTo>
                      <a:pt x="1932" y="396"/>
                    </a:lnTo>
                    <a:lnTo>
                      <a:pt x="1934" y="394"/>
                    </a:lnTo>
                    <a:lnTo>
                      <a:pt x="1936" y="392"/>
                    </a:lnTo>
                    <a:lnTo>
                      <a:pt x="1938" y="390"/>
                    </a:lnTo>
                    <a:lnTo>
                      <a:pt x="1942" y="388"/>
                    </a:lnTo>
                    <a:lnTo>
                      <a:pt x="1944" y="386"/>
                    </a:lnTo>
                    <a:lnTo>
                      <a:pt x="1946" y="384"/>
                    </a:lnTo>
                    <a:lnTo>
                      <a:pt x="1948" y="382"/>
                    </a:lnTo>
                    <a:lnTo>
                      <a:pt x="1950" y="382"/>
                    </a:lnTo>
                    <a:lnTo>
                      <a:pt x="1950" y="382"/>
                    </a:lnTo>
                    <a:lnTo>
                      <a:pt x="1954" y="380"/>
                    </a:lnTo>
                    <a:lnTo>
                      <a:pt x="1956" y="380"/>
                    </a:lnTo>
                    <a:lnTo>
                      <a:pt x="1960" y="380"/>
                    </a:lnTo>
                    <a:lnTo>
                      <a:pt x="1960" y="380"/>
                    </a:lnTo>
                    <a:lnTo>
                      <a:pt x="1962" y="380"/>
                    </a:lnTo>
                    <a:lnTo>
                      <a:pt x="1962" y="380"/>
                    </a:lnTo>
                    <a:lnTo>
                      <a:pt x="1964" y="380"/>
                    </a:lnTo>
                    <a:lnTo>
                      <a:pt x="1966" y="380"/>
                    </a:lnTo>
                    <a:lnTo>
                      <a:pt x="1968" y="380"/>
                    </a:lnTo>
                    <a:lnTo>
                      <a:pt x="1970" y="382"/>
                    </a:lnTo>
                    <a:lnTo>
                      <a:pt x="1972" y="384"/>
                    </a:lnTo>
                    <a:lnTo>
                      <a:pt x="1976" y="386"/>
                    </a:lnTo>
                    <a:lnTo>
                      <a:pt x="1978" y="386"/>
                    </a:lnTo>
                    <a:lnTo>
                      <a:pt x="1978" y="388"/>
                    </a:lnTo>
                    <a:lnTo>
                      <a:pt x="1980" y="388"/>
                    </a:lnTo>
                    <a:lnTo>
                      <a:pt x="1982" y="388"/>
                    </a:lnTo>
                    <a:lnTo>
                      <a:pt x="1982" y="388"/>
                    </a:lnTo>
                    <a:lnTo>
                      <a:pt x="1984" y="388"/>
                    </a:lnTo>
                    <a:lnTo>
                      <a:pt x="1984" y="388"/>
                    </a:lnTo>
                    <a:lnTo>
                      <a:pt x="1984" y="388"/>
                    </a:lnTo>
                    <a:lnTo>
                      <a:pt x="1986" y="386"/>
                    </a:lnTo>
                    <a:lnTo>
                      <a:pt x="1986" y="384"/>
                    </a:lnTo>
                    <a:lnTo>
                      <a:pt x="1988" y="382"/>
                    </a:lnTo>
                    <a:lnTo>
                      <a:pt x="1988" y="382"/>
                    </a:lnTo>
                    <a:lnTo>
                      <a:pt x="1988" y="380"/>
                    </a:lnTo>
                    <a:lnTo>
                      <a:pt x="1988" y="378"/>
                    </a:lnTo>
                    <a:lnTo>
                      <a:pt x="1988" y="376"/>
                    </a:lnTo>
                    <a:lnTo>
                      <a:pt x="1988" y="376"/>
                    </a:lnTo>
                    <a:lnTo>
                      <a:pt x="1988" y="374"/>
                    </a:lnTo>
                    <a:lnTo>
                      <a:pt x="1986" y="372"/>
                    </a:lnTo>
                    <a:lnTo>
                      <a:pt x="1986" y="370"/>
                    </a:lnTo>
                    <a:lnTo>
                      <a:pt x="1984" y="368"/>
                    </a:lnTo>
                    <a:lnTo>
                      <a:pt x="1984" y="368"/>
                    </a:lnTo>
                    <a:lnTo>
                      <a:pt x="1980" y="364"/>
                    </a:lnTo>
                    <a:lnTo>
                      <a:pt x="1978" y="360"/>
                    </a:lnTo>
                    <a:lnTo>
                      <a:pt x="1974" y="358"/>
                    </a:lnTo>
                    <a:lnTo>
                      <a:pt x="1970" y="352"/>
                    </a:lnTo>
                    <a:lnTo>
                      <a:pt x="1968" y="352"/>
                    </a:lnTo>
                    <a:lnTo>
                      <a:pt x="1966" y="350"/>
                    </a:lnTo>
                    <a:lnTo>
                      <a:pt x="1964" y="350"/>
                    </a:lnTo>
                    <a:lnTo>
                      <a:pt x="1962" y="348"/>
                    </a:lnTo>
                    <a:lnTo>
                      <a:pt x="1954" y="344"/>
                    </a:lnTo>
                    <a:lnTo>
                      <a:pt x="1950" y="342"/>
                    </a:lnTo>
                    <a:lnTo>
                      <a:pt x="1948" y="342"/>
                    </a:lnTo>
                    <a:lnTo>
                      <a:pt x="1946" y="340"/>
                    </a:lnTo>
                    <a:lnTo>
                      <a:pt x="1946" y="340"/>
                    </a:lnTo>
                    <a:lnTo>
                      <a:pt x="1944" y="338"/>
                    </a:lnTo>
                    <a:lnTo>
                      <a:pt x="1944" y="338"/>
                    </a:lnTo>
                    <a:lnTo>
                      <a:pt x="1944" y="336"/>
                    </a:lnTo>
                    <a:lnTo>
                      <a:pt x="1944" y="336"/>
                    </a:lnTo>
                    <a:lnTo>
                      <a:pt x="1944" y="336"/>
                    </a:lnTo>
                    <a:lnTo>
                      <a:pt x="1944" y="334"/>
                    </a:lnTo>
                    <a:lnTo>
                      <a:pt x="1944" y="334"/>
                    </a:lnTo>
                    <a:lnTo>
                      <a:pt x="1944" y="334"/>
                    </a:lnTo>
                    <a:lnTo>
                      <a:pt x="1944" y="332"/>
                    </a:lnTo>
                    <a:lnTo>
                      <a:pt x="1946" y="332"/>
                    </a:lnTo>
                    <a:lnTo>
                      <a:pt x="1946" y="330"/>
                    </a:lnTo>
                    <a:lnTo>
                      <a:pt x="1950" y="328"/>
                    </a:lnTo>
                    <a:lnTo>
                      <a:pt x="1954" y="326"/>
                    </a:lnTo>
                    <a:lnTo>
                      <a:pt x="1956" y="324"/>
                    </a:lnTo>
                    <a:lnTo>
                      <a:pt x="1958" y="324"/>
                    </a:lnTo>
                    <a:lnTo>
                      <a:pt x="1962" y="322"/>
                    </a:lnTo>
                    <a:lnTo>
                      <a:pt x="1966" y="320"/>
                    </a:lnTo>
                    <a:lnTo>
                      <a:pt x="1968" y="318"/>
                    </a:lnTo>
                    <a:lnTo>
                      <a:pt x="1968" y="318"/>
                    </a:lnTo>
                    <a:lnTo>
                      <a:pt x="1968" y="318"/>
                    </a:lnTo>
                    <a:lnTo>
                      <a:pt x="1970" y="316"/>
                    </a:lnTo>
                    <a:lnTo>
                      <a:pt x="1970" y="316"/>
                    </a:lnTo>
                    <a:lnTo>
                      <a:pt x="1970" y="314"/>
                    </a:lnTo>
                    <a:lnTo>
                      <a:pt x="1970" y="314"/>
                    </a:lnTo>
                    <a:lnTo>
                      <a:pt x="1970" y="314"/>
                    </a:lnTo>
                    <a:lnTo>
                      <a:pt x="1970" y="312"/>
                    </a:lnTo>
                    <a:lnTo>
                      <a:pt x="1970" y="312"/>
                    </a:lnTo>
                    <a:lnTo>
                      <a:pt x="1968" y="310"/>
                    </a:lnTo>
                    <a:lnTo>
                      <a:pt x="1966" y="308"/>
                    </a:lnTo>
                    <a:lnTo>
                      <a:pt x="1964" y="306"/>
                    </a:lnTo>
                    <a:lnTo>
                      <a:pt x="1964" y="304"/>
                    </a:lnTo>
                    <a:lnTo>
                      <a:pt x="1964" y="304"/>
                    </a:lnTo>
                    <a:lnTo>
                      <a:pt x="1964" y="300"/>
                    </a:lnTo>
                    <a:lnTo>
                      <a:pt x="1964" y="298"/>
                    </a:lnTo>
                    <a:lnTo>
                      <a:pt x="1962" y="296"/>
                    </a:lnTo>
                    <a:lnTo>
                      <a:pt x="1962" y="294"/>
                    </a:lnTo>
                    <a:lnTo>
                      <a:pt x="1964" y="292"/>
                    </a:lnTo>
                    <a:lnTo>
                      <a:pt x="1964" y="290"/>
                    </a:lnTo>
                    <a:lnTo>
                      <a:pt x="1964" y="290"/>
                    </a:lnTo>
                    <a:lnTo>
                      <a:pt x="1964" y="288"/>
                    </a:lnTo>
                    <a:lnTo>
                      <a:pt x="1964" y="288"/>
                    </a:lnTo>
                    <a:lnTo>
                      <a:pt x="1966" y="288"/>
                    </a:lnTo>
                    <a:lnTo>
                      <a:pt x="1968" y="286"/>
                    </a:lnTo>
                    <a:lnTo>
                      <a:pt x="1970" y="284"/>
                    </a:lnTo>
                    <a:lnTo>
                      <a:pt x="1972" y="284"/>
                    </a:lnTo>
                    <a:lnTo>
                      <a:pt x="1974" y="284"/>
                    </a:lnTo>
                    <a:lnTo>
                      <a:pt x="1978" y="282"/>
                    </a:lnTo>
                    <a:lnTo>
                      <a:pt x="1978" y="282"/>
                    </a:lnTo>
                    <a:lnTo>
                      <a:pt x="1978" y="282"/>
                    </a:lnTo>
                    <a:lnTo>
                      <a:pt x="1980" y="284"/>
                    </a:lnTo>
                    <a:lnTo>
                      <a:pt x="1980" y="284"/>
                    </a:lnTo>
                    <a:lnTo>
                      <a:pt x="1982" y="284"/>
                    </a:lnTo>
                    <a:lnTo>
                      <a:pt x="1982" y="284"/>
                    </a:lnTo>
                    <a:lnTo>
                      <a:pt x="1982" y="286"/>
                    </a:lnTo>
                    <a:lnTo>
                      <a:pt x="1984" y="286"/>
                    </a:lnTo>
                    <a:lnTo>
                      <a:pt x="1984" y="288"/>
                    </a:lnTo>
                    <a:lnTo>
                      <a:pt x="1984" y="292"/>
                    </a:lnTo>
                    <a:lnTo>
                      <a:pt x="1986" y="296"/>
                    </a:lnTo>
                    <a:lnTo>
                      <a:pt x="1986" y="300"/>
                    </a:lnTo>
                    <a:lnTo>
                      <a:pt x="1988" y="300"/>
                    </a:lnTo>
                    <a:lnTo>
                      <a:pt x="1988" y="302"/>
                    </a:lnTo>
                    <a:lnTo>
                      <a:pt x="1988" y="304"/>
                    </a:lnTo>
                    <a:lnTo>
                      <a:pt x="1990" y="308"/>
                    </a:lnTo>
                    <a:lnTo>
                      <a:pt x="1990" y="310"/>
                    </a:lnTo>
                    <a:lnTo>
                      <a:pt x="1990" y="312"/>
                    </a:lnTo>
                    <a:lnTo>
                      <a:pt x="1992" y="314"/>
                    </a:lnTo>
                    <a:lnTo>
                      <a:pt x="1992" y="314"/>
                    </a:lnTo>
                    <a:lnTo>
                      <a:pt x="1992" y="314"/>
                    </a:lnTo>
                    <a:lnTo>
                      <a:pt x="1994" y="316"/>
                    </a:lnTo>
                    <a:lnTo>
                      <a:pt x="1994" y="316"/>
                    </a:lnTo>
                    <a:lnTo>
                      <a:pt x="1996" y="316"/>
                    </a:lnTo>
                    <a:lnTo>
                      <a:pt x="1998" y="316"/>
                    </a:lnTo>
                    <a:lnTo>
                      <a:pt x="2000" y="316"/>
                    </a:lnTo>
                    <a:lnTo>
                      <a:pt x="2002" y="316"/>
                    </a:lnTo>
                    <a:lnTo>
                      <a:pt x="2006" y="316"/>
                    </a:lnTo>
                    <a:lnTo>
                      <a:pt x="2010" y="316"/>
                    </a:lnTo>
                    <a:lnTo>
                      <a:pt x="2014" y="316"/>
                    </a:lnTo>
                    <a:lnTo>
                      <a:pt x="2016" y="316"/>
                    </a:lnTo>
                    <a:lnTo>
                      <a:pt x="2018" y="316"/>
                    </a:lnTo>
                    <a:lnTo>
                      <a:pt x="2018" y="316"/>
                    </a:lnTo>
                    <a:lnTo>
                      <a:pt x="2020" y="316"/>
                    </a:lnTo>
                    <a:lnTo>
                      <a:pt x="2020" y="316"/>
                    </a:lnTo>
                    <a:lnTo>
                      <a:pt x="2022" y="318"/>
                    </a:lnTo>
                    <a:lnTo>
                      <a:pt x="2022" y="318"/>
                    </a:lnTo>
                    <a:lnTo>
                      <a:pt x="2024" y="320"/>
                    </a:lnTo>
                    <a:lnTo>
                      <a:pt x="2026" y="322"/>
                    </a:lnTo>
                    <a:lnTo>
                      <a:pt x="2026" y="324"/>
                    </a:lnTo>
                    <a:lnTo>
                      <a:pt x="2028" y="326"/>
                    </a:lnTo>
                    <a:lnTo>
                      <a:pt x="2030" y="326"/>
                    </a:lnTo>
                    <a:lnTo>
                      <a:pt x="2030" y="328"/>
                    </a:lnTo>
                    <a:lnTo>
                      <a:pt x="2032" y="328"/>
                    </a:lnTo>
                    <a:lnTo>
                      <a:pt x="2032" y="328"/>
                    </a:lnTo>
                    <a:lnTo>
                      <a:pt x="2034" y="328"/>
                    </a:lnTo>
                    <a:lnTo>
                      <a:pt x="2036" y="328"/>
                    </a:lnTo>
                    <a:lnTo>
                      <a:pt x="2038" y="328"/>
                    </a:lnTo>
                    <a:lnTo>
                      <a:pt x="2040" y="328"/>
                    </a:lnTo>
                    <a:lnTo>
                      <a:pt x="2044" y="328"/>
                    </a:lnTo>
                    <a:lnTo>
                      <a:pt x="2046" y="328"/>
                    </a:lnTo>
                    <a:lnTo>
                      <a:pt x="2048" y="328"/>
                    </a:lnTo>
                    <a:lnTo>
                      <a:pt x="2048" y="328"/>
                    </a:lnTo>
                    <a:lnTo>
                      <a:pt x="2050" y="328"/>
                    </a:lnTo>
                    <a:lnTo>
                      <a:pt x="2050" y="328"/>
                    </a:lnTo>
                    <a:lnTo>
                      <a:pt x="2050" y="330"/>
                    </a:lnTo>
                    <a:lnTo>
                      <a:pt x="2052" y="330"/>
                    </a:lnTo>
                    <a:lnTo>
                      <a:pt x="2052" y="332"/>
                    </a:lnTo>
                    <a:lnTo>
                      <a:pt x="2054" y="334"/>
                    </a:lnTo>
                    <a:lnTo>
                      <a:pt x="2056" y="336"/>
                    </a:lnTo>
                    <a:lnTo>
                      <a:pt x="2056" y="338"/>
                    </a:lnTo>
                    <a:lnTo>
                      <a:pt x="2058" y="340"/>
                    </a:lnTo>
                    <a:lnTo>
                      <a:pt x="2058" y="342"/>
                    </a:lnTo>
                    <a:lnTo>
                      <a:pt x="2060" y="344"/>
                    </a:lnTo>
                    <a:lnTo>
                      <a:pt x="2060" y="344"/>
                    </a:lnTo>
                    <a:lnTo>
                      <a:pt x="2062" y="346"/>
                    </a:lnTo>
                    <a:lnTo>
                      <a:pt x="2064" y="346"/>
                    </a:lnTo>
                    <a:lnTo>
                      <a:pt x="2064" y="346"/>
                    </a:lnTo>
                    <a:lnTo>
                      <a:pt x="2066" y="346"/>
                    </a:lnTo>
                    <a:lnTo>
                      <a:pt x="2068" y="348"/>
                    </a:lnTo>
                    <a:lnTo>
                      <a:pt x="2070" y="348"/>
                    </a:lnTo>
                    <a:lnTo>
                      <a:pt x="2070" y="348"/>
                    </a:lnTo>
                    <a:lnTo>
                      <a:pt x="2072" y="348"/>
                    </a:lnTo>
                    <a:lnTo>
                      <a:pt x="2072" y="346"/>
                    </a:lnTo>
                    <a:lnTo>
                      <a:pt x="2074" y="346"/>
                    </a:lnTo>
                    <a:lnTo>
                      <a:pt x="2076" y="344"/>
                    </a:lnTo>
                    <a:lnTo>
                      <a:pt x="2078" y="342"/>
                    </a:lnTo>
                    <a:lnTo>
                      <a:pt x="2080" y="340"/>
                    </a:lnTo>
                    <a:lnTo>
                      <a:pt x="2082" y="338"/>
                    </a:lnTo>
                    <a:lnTo>
                      <a:pt x="2082" y="338"/>
                    </a:lnTo>
                    <a:lnTo>
                      <a:pt x="2082" y="336"/>
                    </a:lnTo>
                    <a:lnTo>
                      <a:pt x="2082" y="336"/>
                    </a:lnTo>
                    <a:lnTo>
                      <a:pt x="2082" y="336"/>
                    </a:lnTo>
                    <a:lnTo>
                      <a:pt x="2082" y="334"/>
                    </a:lnTo>
                    <a:lnTo>
                      <a:pt x="2082" y="334"/>
                    </a:lnTo>
                    <a:lnTo>
                      <a:pt x="2082" y="332"/>
                    </a:lnTo>
                    <a:lnTo>
                      <a:pt x="2080" y="332"/>
                    </a:lnTo>
                    <a:lnTo>
                      <a:pt x="2080" y="330"/>
                    </a:lnTo>
                    <a:lnTo>
                      <a:pt x="2076" y="328"/>
                    </a:lnTo>
                    <a:lnTo>
                      <a:pt x="2074" y="326"/>
                    </a:lnTo>
                    <a:lnTo>
                      <a:pt x="2072" y="324"/>
                    </a:lnTo>
                    <a:lnTo>
                      <a:pt x="2072" y="322"/>
                    </a:lnTo>
                    <a:lnTo>
                      <a:pt x="2072" y="322"/>
                    </a:lnTo>
                    <a:lnTo>
                      <a:pt x="2070" y="320"/>
                    </a:lnTo>
                    <a:lnTo>
                      <a:pt x="2070" y="320"/>
                    </a:lnTo>
                    <a:lnTo>
                      <a:pt x="2070" y="318"/>
                    </a:lnTo>
                    <a:lnTo>
                      <a:pt x="2070" y="318"/>
                    </a:lnTo>
                    <a:lnTo>
                      <a:pt x="2070" y="316"/>
                    </a:lnTo>
                    <a:lnTo>
                      <a:pt x="2070" y="314"/>
                    </a:lnTo>
                    <a:lnTo>
                      <a:pt x="2072" y="312"/>
                    </a:lnTo>
                    <a:lnTo>
                      <a:pt x="2072" y="310"/>
                    </a:lnTo>
                    <a:lnTo>
                      <a:pt x="2074" y="310"/>
                    </a:lnTo>
                    <a:lnTo>
                      <a:pt x="2074" y="308"/>
                    </a:lnTo>
                    <a:lnTo>
                      <a:pt x="2074" y="308"/>
                    </a:lnTo>
                    <a:lnTo>
                      <a:pt x="2074" y="308"/>
                    </a:lnTo>
                    <a:lnTo>
                      <a:pt x="2076" y="308"/>
                    </a:lnTo>
                    <a:lnTo>
                      <a:pt x="2078" y="308"/>
                    </a:lnTo>
                    <a:lnTo>
                      <a:pt x="2080" y="308"/>
                    </a:lnTo>
                    <a:lnTo>
                      <a:pt x="2082" y="308"/>
                    </a:lnTo>
                    <a:lnTo>
                      <a:pt x="2084" y="308"/>
                    </a:lnTo>
                    <a:lnTo>
                      <a:pt x="2086" y="308"/>
                    </a:lnTo>
                    <a:lnTo>
                      <a:pt x="2088" y="308"/>
                    </a:lnTo>
                    <a:lnTo>
                      <a:pt x="2090" y="306"/>
                    </a:lnTo>
                    <a:lnTo>
                      <a:pt x="2092" y="306"/>
                    </a:lnTo>
                    <a:lnTo>
                      <a:pt x="2094" y="306"/>
                    </a:lnTo>
                    <a:lnTo>
                      <a:pt x="2094" y="304"/>
                    </a:lnTo>
                    <a:lnTo>
                      <a:pt x="2096" y="304"/>
                    </a:lnTo>
                    <a:lnTo>
                      <a:pt x="2096" y="302"/>
                    </a:lnTo>
                    <a:lnTo>
                      <a:pt x="2098" y="300"/>
                    </a:lnTo>
                    <a:lnTo>
                      <a:pt x="2098" y="296"/>
                    </a:lnTo>
                    <a:lnTo>
                      <a:pt x="2100" y="294"/>
                    </a:lnTo>
                    <a:lnTo>
                      <a:pt x="2100" y="292"/>
                    </a:lnTo>
                    <a:lnTo>
                      <a:pt x="2100" y="290"/>
                    </a:lnTo>
                    <a:lnTo>
                      <a:pt x="2100" y="288"/>
                    </a:lnTo>
                    <a:lnTo>
                      <a:pt x="2100" y="288"/>
                    </a:lnTo>
                    <a:lnTo>
                      <a:pt x="2100" y="286"/>
                    </a:lnTo>
                    <a:lnTo>
                      <a:pt x="2100" y="286"/>
                    </a:lnTo>
                    <a:lnTo>
                      <a:pt x="2100" y="284"/>
                    </a:lnTo>
                    <a:lnTo>
                      <a:pt x="2098" y="284"/>
                    </a:lnTo>
                    <a:lnTo>
                      <a:pt x="2098" y="284"/>
                    </a:lnTo>
                    <a:lnTo>
                      <a:pt x="2096" y="284"/>
                    </a:lnTo>
                    <a:lnTo>
                      <a:pt x="2096" y="282"/>
                    </a:lnTo>
                    <a:lnTo>
                      <a:pt x="2094" y="282"/>
                    </a:lnTo>
                    <a:lnTo>
                      <a:pt x="2092" y="282"/>
                    </a:lnTo>
                    <a:lnTo>
                      <a:pt x="2090" y="282"/>
                    </a:lnTo>
                    <a:lnTo>
                      <a:pt x="2086" y="284"/>
                    </a:lnTo>
                    <a:lnTo>
                      <a:pt x="2082" y="284"/>
                    </a:lnTo>
                    <a:lnTo>
                      <a:pt x="2078" y="284"/>
                    </a:lnTo>
                    <a:lnTo>
                      <a:pt x="2076" y="284"/>
                    </a:lnTo>
                    <a:lnTo>
                      <a:pt x="2074" y="284"/>
                    </a:lnTo>
                    <a:lnTo>
                      <a:pt x="2072" y="284"/>
                    </a:lnTo>
                    <a:lnTo>
                      <a:pt x="2072" y="284"/>
                    </a:lnTo>
                    <a:lnTo>
                      <a:pt x="2070" y="284"/>
                    </a:lnTo>
                    <a:lnTo>
                      <a:pt x="2070" y="284"/>
                    </a:lnTo>
                    <a:lnTo>
                      <a:pt x="2068" y="282"/>
                    </a:lnTo>
                    <a:lnTo>
                      <a:pt x="2066" y="282"/>
                    </a:lnTo>
                    <a:lnTo>
                      <a:pt x="2064" y="280"/>
                    </a:lnTo>
                    <a:lnTo>
                      <a:pt x="2062" y="278"/>
                    </a:lnTo>
                    <a:lnTo>
                      <a:pt x="2058" y="276"/>
                    </a:lnTo>
                    <a:lnTo>
                      <a:pt x="2056" y="276"/>
                    </a:lnTo>
                    <a:lnTo>
                      <a:pt x="2056" y="274"/>
                    </a:lnTo>
                    <a:lnTo>
                      <a:pt x="2056" y="274"/>
                    </a:lnTo>
                    <a:lnTo>
                      <a:pt x="2052" y="274"/>
                    </a:lnTo>
                    <a:lnTo>
                      <a:pt x="2050" y="274"/>
                    </a:lnTo>
                    <a:lnTo>
                      <a:pt x="2046" y="274"/>
                    </a:lnTo>
                    <a:lnTo>
                      <a:pt x="2044" y="274"/>
                    </a:lnTo>
                    <a:lnTo>
                      <a:pt x="2040" y="274"/>
                    </a:lnTo>
                    <a:lnTo>
                      <a:pt x="2038" y="276"/>
                    </a:lnTo>
                    <a:lnTo>
                      <a:pt x="2034" y="276"/>
                    </a:lnTo>
                    <a:lnTo>
                      <a:pt x="2034" y="276"/>
                    </a:lnTo>
                    <a:lnTo>
                      <a:pt x="2032" y="278"/>
                    </a:lnTo>
                    <a:lnTo>
                      <a:pt x="2032" y="278"/>
                    </a:lnTo>
                    <a:lnTo>
                      <a:pt x="2032" y="278"/>
                    </a:lnTo>
                    <a:lnTo>
                      <a:pt x="2030" y="280"/>
                    </a:lnTo>
                    <a:lnTo>
                      <a:pt x="2030" y="280"/>
                    </a:lnTo>
                    <a:lnTo>
                      <a:pt x="2030" y="282"/>
                    </a:lnTo>
                    <a:lnTo>
                      <a:pt x="2028" y="284"/>
                    </a:lnTo>
                    <a:lnTo>
                      <a:pt x="2028" y="286"/>
                    </a:lnTo>
                    <a:lnTo>
                      <a:pt x="2028" y="286"/>
                    </a:lnTo>
                    <a:lnTo>
                      <a:pt x="2028" y="286"/>
                    </a:lnTo>
                    <a:lnTo>
                      <a:pt x="2026" y="288"/>
                    </a:lnTo>
                    <a:lnTo>
                      <a:pt x="2026" y="288"/>
                    </a:lnTo>
                    <a:lnTo>
                      <a:pt x="2026" y="286"/>
                    </a:lnTo>
                    <a:lnTo>
                      <a:pt x="2024" y="286"/>
                    </a:lnTo>
                    <a:lnTo>
                      <a:pt x="2024" y="286"/>
                    </a:lnTo>
                    <a:lnTo>
                      <a:pt x="2024" y="286"/>
                    </a:lnTo>
                    <a:lnTo>
                      <a:pt x="2022" y="284"/>
                    </a:lnTo>
                    <a:lnTo>
                      <a:pt x="2022" y="282"/>
                    </a:lnTo>
                    <a:lnTo>
                      <a:pt x="2020" y="280"/>
                    </a:lnTo>
                    <a:lnTo>
                      <a:pt x="2018" y="274"/>
                    </a:lnTo>
                    <a:lnTo>
                      <a:pt x="2018" y="272"/>
                    </a:lnTo>
                    <a:lnTo>
                      <a:pt x="2018" y="270"/>
                    </a:lnTo>
                    <a:lnTo>
                      <a:pt x="2014" y="266"/>
                    </a:lnTo>
                    <a:lnTo>
                      <a:pt x="2012" y="264"/>
                    </a:lnTo>
                    <a:lnTo>
                      <a:pt x="2012" y="262"/>
                    </a:lnTo>
                    <a:lnTo>
                      <a:pt x="2012" y="262"/>
                    </a:lnTo>
                    <a:lnTo>
                      <a:pt x="2010" y="262"/>
                    </a:lnTo>
                    <a:lnTo>
                      <a:pt x="2008" y="262"/>
                    </a:lnTo>
                    <a:lnTo>
                      <a:pt x="2008" y="260"/>
                    </a:lnTo>
                    <a:lnTo>
                      <a:pt x="2006" y="260"/>
                    </a:lnTo>
                    <a:lnTo>
                      <a:pt x="2004" y="260"/>
                    </a:lnTo>
                    <a:lnTo>
                      <a:pt x="2000" y="260"/>
                    </a:lnTo>
                    <a:lnTo>
                      <a:pt x="1996" y="260"/>
                    </a:lnTo>
                    <a:lnTo>
                      <a:pt x="1994" y="258"/>
                    </a:lnTo>
                    <a:lnTo>
                      <a:pt x="1992" y="258"/>
                    </a:lnTo>
                    <a:lnTo>
                      <a:pt x="1992" y="258"/>
                    </a:lnTo>
                    <a:lnTo>
                      <a:pt x="1990" y="258"/>
                    </a:lnTo>
                    <a:lnTo>
                      <a:pt x="1990" y="256"/>
                    </a:lnTo>
                    <a:lnTo>
                      <a:pt x="1990" y="256"/>
                    </a:lnTo>
                    <a:lnTo>
                      <a:pt x="1990" y="256"/>
                    </a:lnTo>
                    <a:lnTo>
                      <a:pt x="1988" y="254"/>
                    </a:lnTo>
                    <a:lnTo>
                      <a:pt x="1988" y="252"/>
                    </a:lnTo>
                    <a:lnTo>
                      <a:pt x="1988" y="250"/>
                    </a:lnTo>
                    <a:lnTo>
                      <a:pt x="1988" y="248"/>
                    </a:lnTo>
                    <a:lnTo>
                      <a:pt x="1988" y="246"/>
                    </a:lnTo>
                    <a:lnTo>
                      <a:pt x="1988" y="246"/>
                    </a:lnTo>
                    <a:lnTo>
                      <a:pt x="1988" y="246"/>
                    </a:lnTo>
                    <a:lnTo>
                      <a:pt x="1988" y="244"/>
                    </a:lnTo>
                    <a:lnTo>
                      <a:pt x="1988" y="244"/>
                    </a:lnTo>
                    <a:lnTo>
                      <a:pt x="1986" y="244"/>
                    </a:lnTo>
                    <a:lnTo>
                      <a:pt x="1984" y="244"/>
                    </a:lnTo>
                    <a:lnTo>
                      <a:pt x="1982" y="242"/>
                    </a:lnTo>
                    <a:lnTo>
                      <a:pt x="1982" y="242"/>
                    </a:lnTo>
                    <a:lnTo>
                      <a:pt x="1980" y="242"/>
                    </a:lnTo>
                    <a:lnTo>
                      <a:pt x="1978" y="244"/>
                    </a:lnTo>
                    <a:lnTo>
                      <a:pt x="1972" y="244"/>
                    </a:lnTo>
                    <a:lnTo>
                      <a:pt x="1968" y="244"/>
                    </a:lnTo>
                    <a:lnTo>
                      <a:pt x="1964" y="244"/>
                    </a:lnTo>
                    <a:lnTo>
                      <a:pt x="1962" y="246"/>
                    </a:lnTo>
                    <a:lnTo>
                      <a:pt x="1962" y="244"/>
                    </a:lnTo>
                    <a:lnTo>
                      <a:pt x="1960" y="244"/>
                    </a:lnTo>
                    <a:lnTo>
                      <a:pt x="1958" y="244"/>
                    </a:lnTo>
                    <a:lnTo>
                      <a:pt x="1958" y="244"/>
                    </a:lnTo>
                    <a:lnTo>
                      <a:pt x="1956" y="244"/>
                    </a:lnTo>
                    <a:lnTo>
                      <a:pt x="1954" y="242"/>
                    </a:lnTo>
                    <a:lnTo>
                      <a:pt x="1954" y="240"/>
                    </a:lnTo>
                    <a:lnTo>
                      <a:pt x="1952" y="238"/>
                    </a:lnTo>
                    <a:lnTo>
                      <a:pt x="1948" y="232"/>
                    </a:lnTo>
                    <a:lnTo>
                      <a:pt x="1946" y="230"/>
                    </a:lnTo>
                    <a:lnTo>
                      <a:pt x="1946" y="230"/>
                    </a:lnTo>
                    <a:lnTo>
                      <a:pt x="1946" y="230"/>
                    </a:lnTo>
                    <a:lnTo>
                      <a:pt x="1944" y="228"/>
                    </a:lnTo>
                    <a:lnTo>
                      <a:pt x="1942" y="226"/>
                    </a:lnTo>
                    <a:lnTo>
                      <a:pt x="1938" y="226"/>
                    </a:lnTo>
                    <a:lnTo>
                      <a:pt x="1936" y="224"/>
                    </a:lnTo>
                    <a:lnTo>
                      <a:pt x="1930" y="220"/>
                    </a:lnTo>
                    <a:lnTo>
                      <a:pt x="1928" y="220"/>
                    </a:lnTo>
                    <a:lnTo>
                      <a:pt x="1926" y="220"/>
                    </a:lnTo>
                    <a:lnTo>
                      <a:pt x="1924" y="218"/>
                    </a:lnTo>
                    <a:lnTo>
                      <a:pt x="1922" y="218"/>
                    </a:lnTo>
                    <a:lnTo>
                      <a:pt x="1916" y="218"/>
                    </a:lnTo>
                    <a:lnTo>
                      <a:pt x="1912" y="218"/>
                    </a:lnTo>
                    <a:lnTo>
                      <a:pt x="1910" y="216"/>
                    </a:lnTo>
                    <a:lnTo>
                      <a:pt x="1908" y="216"/>
                    </a:lnTo>
                    <a:lnTo>
                      <a:pt x="1904" y="216"/>
                    </a:lnTo>
                    <a:lnTo>
                      <a:pt x="1898" y="214"/>
                    </a:lnTo>
                    <a:lnTo>
                      <a:pt x="1892" y="212"/>
                    </a:lnTo>
                    <a:lnTo>
                      <a:pt x="1890" y="210"/>
                    </a:lnTo>
                    <a:lnTo>
                      <a:pt x="1888" y="210"/>
                    </a:lnTo>
                    <a:lnTo>
                      <a:pt x="1886" y="208"/>
                    </a:lnTo>
                    <a:lnTo>
                      <a:pt x="1886" y="208"/>
                    </a:lnTo>
                    <a:lnTo>
                      <a:pt x="1884" y="206"/>
                    </a:lnTo>
                    <a:lnTo>
                      <a:pt x="1880" y="204"/>
                    </a:lnTo>
                    <a:lnTo>
                      <a:pt x="1880" y="204"/>
                    </a:lnTo>
                    <a:lnTo>
                      <a:pt x="1878" y="202"/>
                    </a:lnTo>
                    <a:lnTo>
                      <a:pt x="1876" y="202"/>
                    </a:lnTo>
                    <a:lnTo>
                      <a:pt x="1874" y="200"/>
                    </a:lnTo>
                    <a:lnTo>
                      <a:pt x="1868" y="200"/>
                    </a:lnTo>
                    <a:lnTo>
                      <a:pt x="1864" y="198"/>
                    </a:lnTo>
                    <a:lnTo>
                      <a:pt x="1860" y="196"/>
                    </a:lnTo>
                    <a:lnTo>
                      <a:pt x="1858" y="196"/>
                    </a:lnTo>
                    <a:lnTo>
                      <a:pt x="1856" y="196"/>
                    </a:lnTo>
                    <a:lnTo>
                      <a:pt x="1852" y="196"/>
                    </a:lnTo>
                    <a:lnTo>
                      <a:pt x="1846" y="196"/>
                    </a:lnTo>
                    <a:lnTo>
                      <a:pt x="1838" y="196"/>
                    </a:lnTo>
                    <a:lnTo>
                      <a:pt x="1834" y="196"/>
                    </a:lnTo>
                    <a:lnTo>
                      <a:pt x="1832" y="196"/>
                    </a:lnTo>
                    <a:lnTo>
                      <a:pt x="1830" y="196"/>
                    </a:lnTo>
                    <a:lnTo>
                      <a:pt x="1828" y="196"/>
                    </a:lnTo>
                    <a:lnTo>
                      <a:pt x="1824" y="194"/>
                    </a:lnTo>
                    <a:lnTo>
                      <a:pt x="1820" y="194"/>
                    </a:lnTo>
                    <a:lnTo>
                      <a:pt x="1816" y="192"/>
                    </a:lnTo>
                    <a:lnTo>
                      <a:pt x="1810" y="192"/>
                    </a:lnTo>
                    <a:lnTo>
                      <a:pt x="1808" y="192"/>
                    </a:lnTo>
                    <a:lnTo>
                      <a:pt x="1806" y="192"/>
                    </a:lnTo>
                    <a:lnTo>
                      <a:pt x="1804" y="192"/>
                    </a:lnTo>
                    <a:lnTo>
                      <a:pt x="1802" y="192"/>
                    </a:lnTo>
                    <a:lnTo>
                      <a:pt x="1800" y="192"/>
                    </a:lnTo>
                    <a:lnTo>
                      <a:pt x="1800" y="192"/>
                    </a:lnTo>
                    <a:lnTo>
                      <a:pt x="1800" y="192"/>
                    </a:lnTo>
                    <a:lnTo>
                      <a:pt x="1798" y="194"/>
                    </a:lnTo>
                    <a:lnTo>
                      <a:pt x="1798" y="194"/>
                    </a:lnTo>
                    <a:lnTo>
                      <a:pt x="1798" y="196"/>
                    </a:lnTo>
                    <a:lnTo>
                      <a:pt x="1798" y="196"/>
                    </a:lnTo>
                    <a:lnTo>
                      <a:pt x="1798" y="200"/>
                    </a:lnTo>
                    <a:lnTo>
                      <a:pt x="1798" y="202"/>
                    </a:lnTo>
                    <a:lnTo>
                      <a:pt x="1798" y="206"/>
                    </a:lnTo>
                    <a:lnTo>
                      <a:pt x="1798" y="208"/>
                    </a:lnTo>
                    <a:lnTo>
                      <a:pt x="1798" y="210"/>
                    </a:lnTo>
                    <a:lnTo>
                      <a:pt x="1796" y="212"/>
                    </a:lnTo>
                    <a:lnTo>
                      <a:pt x="1796" y="212"/>
                    </a:lnTo>
                    <a:lnTo>
                      <a:pt x="1796" y="212"/>
                    </a:lnTo>
                    <a:lnTo>
                      <a:pt x="1796" y="214"/>
                    </a:lnTo>
                    <a:lnTo>
                      <a:pt x="1794" y="214"/>
                    </a:lnTo>
                    <a:lnTo>
                      <a:pt x="1792" y="214"/>
                    </a:lnTo>
                    <a:lnTo>
                      <a:pt x="1790" y="216"/>
                    </a:lnTo>
                    <a:lnTo>
                      <a:pt x="1788" y="216"/>
                    </a:lnTo>
                    <a:lnTo>
                      <a:pt x="1786" y="216"/>
                    </a:lnTo>
                    <a:lnTo>
                      <a:pt x="1784" y="216"/>
                    </a:lnTo>
                    <a:lnTo>
                      <a:pt x="1782" y="216"/>
                    </a:lnTo>
                    <a:lnTo>
                      <a:pt x="1780" y="216"/>
                    </a:lnTo>
                    <a:lnTo>
                      <a:pt x="1780" y="216"/>
                    </a:lnTo>
                    <a:lnTo>
                      <a:pt x="1780" y="214"/>
                    </a:lnTo>
                    <a:lnTo>
                      <a:pt x="1778" y="214"/>
                    </a:lnTo>
                    <a:lnTo>
                      <a:pt x="1778" y="212"/>
                    </a:lnTo>
                    <a:lnTo>
                      <a:pt x="1776" y="210"/>
                    </a:lnTo>
                    <a:lnTo>
                      <a:pt x="1776" y="208"/>
                    </a:lnTo>
                    <a:lnTo>
                      <a:pt x="1774" y="208"/>
                    </a:lnTo>
                    <a:lnTo>
                      <a:pt x="1772" y="206"/>
                    </a:lnTo>
                    <a:lnTo>
                      <a:pt x="1772" y="206"/>
                    </a:lnTo>
                    <a:lnTo>
                      <a:pt x="1772" y="206"/>
                    </a:lnTo>
                    <a:lnTo>
                      <a:pt x="1772" y="206"/>
                    </a:lnTo>
                    <a:lnTo>
                      <a:pt x="1770" y="206"/>
                    </a:lnTo>
                    <a:lnTo>
                      <a:pt x="1770" y="206"/>
                    </a:lnTo>
                    <a:lnTo>
                      <a:pt x="1768" y="206"/>
                    </a:lnTo>
                    <a:lnTo>
                      <a:pt x="1766" y="206"/>
                    </a:lnTo>
                    <a:lnTo>
                      <a:pt x="1764" y="206"/>
                    </a:lnTo>
                    <a:lnTo>
                      <a:pt x="1760" y="208"/>
                    </a:lnTo>
                    <a:lnTo>
                      <a:pt x="1758" y="208"/>
                    </a:lnTo>
                    <a:lnTo>
                      <a:pt x="1756" y="210"/>
                    </a:lnTo>
                    <a:lnTo>
                      <a:pt x="1756" y="210"/>
                    </a:lnTo>
                    <a:lnTo>
                      <a:pt x="1754" y="208"/>
                    </a:lnTo>
                    <a:lnTo>
                      <a:pt x="1754" y="208"/>
                    </a:lnTo>
                    <a:lnTo>
                      <a:pt x="1750" y="208"/>
                    </a:lnTo>
                    <a:lnTo>
                      <a:pt x="1748" y="206"/>
                    </a:lnTo>
                    <a:lnTo>
                      <a:pt x="1744" y="206"/>
                    </a:lnTo>
                    <a:lnTo>
                      <a:pt x="1742" y="204"/>
                    </a:lnTo>
                    <a:lnTo>
                      <a:pt x="1738" y="204"/>
                    </a:lnTo>
                    <a:lnTo>
                      <a:pt x="1736" y="202"/>
                    </a:lnTo>
                    <a:lnTo>
                      <a:pt x="1736" y="202"/>
                    </a:lnTo>
                    <a:lnTo>
                      <a:pt x="1734" y="202"/>
                    </a:lnTo>
                    <a:lnTo>
                      <a:pt x="1730" y="202"/>
                    </a:lnTo>
                    <a:lnTo>
                      <a:pt x="1726" y="200"/>
                    </a:lnTo>
                    <a:lnTo>
                      <a:pt x="1722" y="200"/>
                    </a:lnTo>
                    <a:lnTo>
                      <a:pt x="1716" y="202"/>
                    </a:lnTo>
                    <a:lnTo>
                      <a:pt x="1710" y="202"/>
                    </a:lnTo>
                    <a:lnTo>
                      <a:pt x="1708" y="202"/>
                    </a:lnTo>
                    <a:lnTo>
                      <a:pt x="1706" y="202"/>
                    </a:lnTo>
                    <a:lnTo>
                      <a:pt x="1704" y="204"/>
                    </a:lnTo>
                    <a:lnTo>
                      <a:pt x="1702" y="204"/>
                    </a:lnTo>
                    <a:lnTo>
                      <a:pt x="1700" y="204"/>
                    </a:lnTo>
                    <a:lnTo>
                      <a:pt x="1698" y="206"/>
                    </a:lnTo>
                    <a:lnTo>
                      <a:pt x="1698" y="206"/>
                    </a:lnTo>
                    <a:lnTo>
                      <a:pt x="1698" y="206"/>
                    </a:lnTo>
                    <a:lnTo>
                      <a:pt x="1696" y="208"/>
                    </a:lnTo>
                    <a:lnTo>
                      <a:pt x="1696" y="210"/>
                    </a:lnTo>
                    <a:lnTo>
                      <a:pt x="1696" y="212"/>
                    </a:lnTo>
                    <a:lnTo>
                      <a:pt x="1694" y="214"/>
                    </a:lnTo>
                    <a:lnTo>
                      <a:pt x="1694" y="216"/>
                    </a:lnTo>
                    <a:lnTo>
                      <a:pt x="1692" y="216"/>
                    </a:lnTo>
                    <a:lnTo>
                      <a:pt x="1692" y="216"/>
                    </a:lnTo>
                    <a:lnTo>
                      <a:pt x="1692" y="218"/>
                    </a:lnTo>
                    <a:lnTo>
                      <a:pt x="1692" y="218"/>
                    </a:lnTo>
                    <a:lnTo>
                      <a:pt x="1690" y="218"/>
                    </a:lnTo>
                    <a:lnTo>
                      <a:pt x="1690" y="218"/>
                    </a:lnTo>
                    <a:lnTo>
                      <a:pt x="1688" y="218"/>
                    </a:lnTo>
                    <a:lnTo>
                      <a:pt x="1686" y="218"/>
                    </a:lnTo>
                    <a:lnTo>
                      <a:pt x="1684" y="216"/>
                    </a:lnTo>
                    <a:lnTo>
                      <a:pt x="1684" y="216"/>
                    </a:lnTo>
                    <a:lnTo>
                      <a:pt x="1682" y="216"/>
                    </a:lnTo>
                    <a:lnTo>
                      <a:pt x="1678" y="214"/>
                    </a:lnTo>
                    <a:lnTo>
                      <a:pt x="1676" y="212"/>
                    </a:lnTo>
                    <a:lnTo>
                      <a:pt x="1674" y="212"/>
                    </a:lnTo>
                    <a:lnTo>
                      <a:pt x="1672" y="210"/>
                    </a:lnTo>
                    <a:lnTo>
                      <a:pt x="1670" y="208"/>
                    </a:lnTo>
                    <a:lnTo>
                      <a:pt x="1666" y="204"/>
                    </a:lnTo>
                    <a:lnTo>
                      <a:pt x="1662" y="200"/>
                    </a:lnTo>
                    <a:lnTo>
                      <a:pt x="1660" y="198"/>
                    </a:lnTo>
                    <a:lnTo>
                      <a:pt x="1658" y="196"/>
                    </a:lnTo>
                    <a:lnTo>
                      <a:pt x="1654" y="192"/>
                    </a:lnTo>
                    <a:lnTo>
                      <a:pt x="1652" y="188"/>
                    </a:lnTo>
                    <a:lnTo>
                      <a:pt x="1650" y="186"/>
                    </a:lnTo>
                    <a:lnTo>
                      <a:pt x="1648" y="184"/>
                    </a:lnTo>
                    <a:lnTo>
                      <a:pt x="1646" y="184"/>
                    </a:lnTo>
                    <a:lnTo>
                      <a:pt x="1646" y="182"/>
                    </a:lnTo>
                    <a:lnTo>
                      <a:pt x="1644" y="182"/>
                    </a:lnTo>
                    <a:lnTo>
                      <a:pt x="1642" y="180"/>
                    </a:lnTo>
                    <a:lnTo>
                      <a:pt x="1640" y="180"/>
                    </a:lnTo>
                    <a:lnTo>
                      <a:pt x="1638" y="180"/>
                    </a:lnTo>
                    <a:lnTo>
                      <a:pt x="1632" y="178"/>
                    </a:lnTo>
                    <a:lnTo>
                      <a:pt x="1626" y="176"/>
                    </a:lnTo>
                    <a:lnTo>
                      <a:pt x="1620" y="176"/>
                    </a:lnTo>
                    <a:lnTo>
                      <a:pt x="1616" y="174"/>
                    </a:lnTo>
                    <a:lnTo>
                      <a:pt x="1610" y="174"/>
                    </a:lnTo>
                    <a:lnTo>
                      <a:pt x="1606" y="174"/>
                    </a:lnTo>
                    <a:lnTo>
                      <a:pt x="1604" y="174"/>
                    </a:lnTo>
                    <a:lnTo>
                      <a:pt x="1602" y="174"/>
                    </a:lnTo>
                    <a:lnTo>
                      <a:pt x="1598" y="176"/>
                    </a:lnTo>
                    <a:lnTo>
                      <a:pt x="1594" y="176"/>
                    </a:lnTo>
                    <a:lnTo>
                      <a:pt x="1592" y="178"/>
                    </a:lnTo>
                    <a:lnTo>
                      <a:pt x="1590" y="178"/>
                    </a:lnTo>
                    <a:lnTo>
                      <a:pt x="1588" y="180"/>
                    </a:lnTo>
                    <a:lnTo>
                      <a:pt x="1586" y="180"/>
                    </a:lnTo>
                    <a:lnTo>
                      <a:pt x="1584" y="182"/>
                    </a:lnTo>
                    <a:lnTo>
                      <a:pt x="1582" y="182"/>
                    </a:lnTo>
                    <a:lnTo>
                      <a:pt x="1580" y="182"/>
                    </a:lnTo>
                    <a:lnTo>
                      <a:pt x="1578" y="182"/>
                    </a:lnTo>
                    <a:lnTo>
                      <a:pt x="1574" y="182"/>
                    </a:lnTo>
                    <a:lnTo>
                      <a:pt x="1572" y="182"/>
                    </a:lnTo>
                    <a:lnTo>
                      <a:pt x="1568" y="180"/>
                    </a:lnTo>
                    <a:lnTo>
                      <a:pt x="1566" y="180"/>
                    </a:lnTo>
                    <a:lnTo>
                      <a:pt x="1562" y="180"/>
                    </a:lnTo>
                    <a:lnTo>
                      <a:pt x="1560" y="178"/>
                    </a:lnTo>
                    <a:lnTo>
                      <a:pt x="1558" y="178"/>
                    </a:lnTo>
                    <a:lnTo>
                      <a:pt x="1554" y="176"/>
                    </a:lnTo>
                    <a:lnTo>
                      <a:pt x="1550" y="174"/>
                    </a:lnTo>
                    <a:lnTo>
                      <a:pt x="1546" y="172"/>
                    </a:lnTo>
                    <a:lnTo>
                      <a:pt x="1538" y="168"/>
                    </a:lnTo>
                    <a:lnTo>
                      <a:pt x="1536" y="166"/>
                    </a:lnTo>
                    <a:lnTo>
                      <a:pt x="1532" y="164"/>
                    </a:lnTo>
                    <a:lnTo>
                      <a:pt x="1530" y="162"/>
                    </a:lnTo>
                    <a:lnTo>
                      <a:pt x="1528" y="162"/>
                    </a:lnTo>
                    <a:lnTo>
                      <a:pt x="1524" y="160"/>
                    </a:lnTo>
                    <a:lnTo>
                      <a:pt x="1520" y="158"/>
                    </a:lnTo>
                    <a:lnTo>
                      <a:pt x="1518" y="158"/>
                    </a:lnTo>
                    <a:lnTo>
                      <a:pt x="1516" y="156"/>
                    </a:lnTo>
                    <a:lnTo>
                      <a:pt x="1514" y="154"/>
                    </a:lnTo>
                    <a:lnTo>
                      <a:pt x="1514" y="154"/>
                    </a:lnTo>
                    <a:lnTo>
                      <a:pt x="1514" y="154"/>
                    </a:lnTo>
                    <a:lnTo>
                      <a:pt x="1514" y="150"/>
                    </a:lnTo>
                    <a:lnTo>
                      <a:pt x="1512" y="150"/>
                    </a:lnTo>
                    <a:lnTo>
                      <a:pt x="1512" y="148"/>
                    </a:lnTo>
                    <a:lnTo>
                      <a:pt x="1512" y="148"/>
                    </a:lnTo>
                    <a:lnTo>
                      <a:pt x="1512" y="148"/>
                    </a:lnTo>
                    <a:lnTo>
                      <a:pt x="1510" y="146"/>
                    </a:lnTo>
                    <a:lnTo>
                      <a:pt x="1508" y="146"/>
                    </a:lnTo>
                    <a:lnTo>
                      <a:pt x="1504" y="146"/>
                    </a:lnTo>
                    <a:lnTo>
                      <a:pt x="1502" y="144"/>
                    </a:lnTo>
                    <a:lnTo>
                      <a:pt x="1500" y="144"/>
                    </a:lnTo>
                    <a:lnTo>
                      <a:pt x="1496" y="144"/>
                    </a:lnTo>
                    <a:lnTo>
                      <a:pt x="1494" y="144"/>
                    </a:lnTo>
                    <a:lnTo>
                      <a:pt x="1490" y="144"/>
                    </a:lnTo>
                    <a:lnTo>
                      <a:pt x="1484" y="144"/>
                    </a:lnTo>
                    <a:lnTo>
                      <a:pt x="1478" y="146"/>
                    </a:lnTo>
                    <a:lnTo>
                      <a:pt x="1472" y="146"/>
                    </a:lnTo>
                    <a:lnTo>
                      <a:pt x="1468" y="148"/>
                    </a:lnTo>
                    <a:lnTo>
                      <a:pt x="1468" y="148"/>
                    </a:lnTo>
                    <a:lnTo>
                      <a:pt x="1466" y="148"/>
                    </a:lnTo>
                    <a:lnTo>
                      <a:pt x="1462" y="150"/>
                    </a:lnTo>
                    <a:lnTo>
                      <a:pt x="1460" y="152"/>
                    </a:lnTo>
                    <a:lnTo>
                      <a:pt x="1458" y="152"/>
                    </a:lnTo>
                    <a:lnTo>
                      <a:pt x="1458" y="152"/>
                    </a:lnTo>
                    <a:lnTo>
                      <a:pt x="1456" y="152"/>
                    </a:lnTo>
                    <a:lnTo>
                      <a:pt x="1456" y="152"/>
                    </a:lnTo>
                    <a:lnTo>
                      <a:pt x="1454" y="152"/>
                    </a:lnTo>
                    <a:lnTo>
                      <a:pt x="1454" y="152"/>
                    </a:lnTo>
                    <a:lnTo>
                      <a:pt x="1454" y="150"/>
                    </a:lnTo>
                    <a:lnTo>
                      <a:pt x="1452" y="150"/>
                    </a:lnTo>
                    <a:lnTo>
                      <a:pt x="1450" y="148"/>
                    </a:lnTo>
                    <a:lnTo>
                      <a:pt x="1450" y="146"/>
                    </a:lnTo>
                    <a:lnTo>
                      <a:pt x="1448" y="142"/>
                    </a:lnTo>
                    <a:lnTo>
                      <a:pt x="1446" y="140"/>
                    </a:lnTo>
                    <a:lnTo>
                      <a:pt x="1446" y="140"/>
                    </a:lnTo>
                    <a:lnTo>
                      <a:pt x="1444" y="138"/>
                    </a:lnTo>
                    <a:lnTo>
                      <a:pt x="1444" y="138"/>
                    </a:lnTo>
                    <a:lnTo>
                      <a:pt x="1444" y="138"/>
                    </a:lnTo>
                    <a:lnTo>
                      <a:pt x="1442" y="138"/>
                    </a:lnTo>
                    <a:lnTo>
                      <a:pt x="1440" y="136"/>
                    </a:lnTo>
                    <a:lnTo>
                      <a:pt x="1440" y="136"/>
                    </a:lnTo>
                    <a:lnTo>
                      <a:pt x="1438" y="136"/>
                    </a:lnTo>
                    <a:lnTo>
                      <a:pt x="1434" y="136"/>
                    </a:lnTo>
                    <a:lnTo>
                      <a:pt x="1432" y="138"/>
                    </a:lnTo>
                    <a:lnTo>
                      <a:pt x="1428" y="138"/>
                    </a:lnTo>
                    <a:lnTo>
                      <a:pt x="1424" y="138"/>
                    </a:lnTo>
                    <a:lnTo>
                      <a:pt x="1424" y="138"/>
                    </a:lnTo>
                    <a:lnTo>
                      <a:pt x="1422" y="138"/>
                    </a:lnTo>
                    <a:lnTo>
                      <a:pt x="1420" y="138"/>
                    </a:lnTo>
                    <a:lnTo>
                      <a:pt x="1420" y="138"/>
                    </a:lnTo>
                    <a:lnTo>
                      <a:pt x="1418" y="138"/>
                    </a:lnTo>
                    <a:lnTo>
                      <a:pt x="1418" y="136"/>
                    </a:lnTo>
                    <a:lnTo>
                      <a:pt x="1416" y="134"/>
                    </a:lnTo>
                    <a:lnTo>
                      <a:pt x="1416" y="132"/>
                    </a:lnTo>
                    <a:lnTo>
                      <a:pt x="1414" y="130"/>
                    </a:lnTo>
                    <a:lnTo>
                      <a:pt x="1414" y="128"/>
                    </a:lnTo>
                    <a:lnTo>
                      <a:pt x="1412" y="126"/>
                    </a:lnTo>
                    <a:lnTo>
                      <a:pt x="1412" y="126"/>
                    </a:lnTo>
                    <a:lnTo>
                      <a:pt x="1410" y="126"/>
                    </a:lnTo>
                    <a:lnTo>
                      <a:pt x="1410" y="126"/>
                    </a:lnTo>
                    <a:lnTo>
                      <a:pt x="1410" y="124"/>
                    </a:lnTo>
                    <a:lnTo>
                      <a:pt x="1408" y="124"/>
                    </a:lnTo>
                    <a:lnTo>
                      <a:pt x="1408" y="124"/>
                    </a:lnTo>
                    <a:lnTo>
                      <a:pt x="1406" y="126"/>
                    </a:lnTo>
                    <a:lnTo>
                      <a:pt x="1406" y="126"/>
                    </a:lnTo>
                    <a:lnTo>
                      <a:pt x="1404" y="126"/>
                    </a:lnTo>
                    <a:lnTo>
                      <a:pt x="1402" y="128"/>
                    </a:lnTo>
                    <a:lnTo>
                      <a:pt x="1398" y="130"/>
                    </a:lnTo>
                    <a:lnTo>
                      <a:pt x="1396" y="132"/>
                    </a:lnTo>
                    <a:lnTo>
                      <a:pt x="1396" y="132"/>
                    </a:lnTo>
                    <a:lnTo>
                      <a:pt x="1392" y="134"/>
                    </a:lnTo>
                    <a:lnTo>
                      <a:pt x="1388" y="136"/>
                    </a:lnTo>
                    <a:lnTo>
                      <a:pt x="1386" y="138"/>
                    </a:lnTo>
                    <a:lnTo>
                      <a:pt x="1384" y="138"/>
                    </a:lnTo>
                    <a:lnTo>
                      <a:pt x="1384" y="138"/>
                    </a:lnTo>
                    <a:lnTo>
                      <a:pt x="1384" y="140"/>
                    </a:lnTo>
                    <a:lnTo>
                      <a:pt x="1384" y="140"/>
                    </a:lnTo>
                    <a:lnTo>
                      <a:pt x="1382" y="142"/>
                    </a:lnTo>
                    <a:lnTo>
                      <a:pt x="1382" y="142"/>
                    </a:lnTo>
                    <a:lnTo>
                      <a:pt x="1382" y="144"/>
                    </a:lnTo>
                    <a:lnTo>
                      <a:pt x="1384" y="144"/>
                    </a:lnTo>
                    <a:lnTo>
                      <a:pt x="1384" y="146"/>
                    </a:lnTo>
                    <a:lnTo>
                      <a:pt x="1386" y="148"/>
                    </a:lnTo>
                    <a:lnTo>
                      <a:pt x="1388" y="152"/>
                    </a:lnTo>
                    <a:lnTo>
                      <a:pt x="1390" y="154"/>
                    </a:lnTo>
                    <a:lnTo>
                      <a:pt x="1390" y="156"/>
                    </a:lnTo>
                    <a:lnTo>
                      <a:pt x="1392" y="156"/>
                    </a:lnTo>
                    <a:lnTo>
                      <a:pt x="1392" y="158"/>
                    </a:lnTo>
                    <a:lnTo>
                      <a:pt x="1392" y="160"/>
                    </a:lnTo>
                    <a:lnTo>
                      <a:pt x="1392" y="160"/>
                    </a:lnTo>
                    <a:lnTo>
                      <a:pt x="1392" y="162"/>
                    </a:lnTo>
                    <a:lnTo>
                      <a:pt x="1392" y="162"/>
                    </a:lnTo>
                    <a:lnTo>
                      <a:pt x="1390" y="162"/>
                    </a:lnTo>
                    <a:lnTo>
                      <a:pt x="1390" y="164"/>
                    </a:lnTo>
                    <a:lnTo>
                      <a:pt x="1388" y="164"/>
                    </a:lnTo>
                    <a:lnTo>
                      <a:pt x="1388" y="164"/>
                    </a:lnTo>
                    <a:lnTo>
                      <a:pt x="1386" y="164"/>
                    </a:lnTo>
                    <a:lnTo>
                      <a:pt x="1384" y="164"/>
                    </a:lnTo>
                    <a:lnTo>
                      <a:pt x="1380" y="164"/>
                    </a:lnTo>
                    <a:lnTo>
                      <a:pt x="1378" y="164"/>
                    </a:lnTo>
                    <a:lnTo>
                      <a:pt x="1372" y="164"/>
                    </a:lnTo>
                    <a:lnTo>
                      <a:pt x="1370" y="164"/>
                    </a:lnTo>
                    <a:lnTo>
                      <a:pt x="1368" y="164"/>
                    </a:lnTo>
                    <a:lnTo>
                      <a:pt x="1362" y="164"/>
                    </a:lnTo>
                    <a:lnTo>
                      <a:pt x="1356" y="162"/>
                    </a:lnTo>
                    <a:lnTo>
                      <a:pt x="1352" y="162"/>
                    </a:lnTo>
                    <a:lnTo>
                      <a:pt x="1350" y="162"/>
                    </a:lnTo>
                    <a:lnTo>
                      <a:pt x="1346" y="160"/>
                    </a:lnTo>
                    <a:lnTo>
                      <a:pt x="1342" y="160"/>
                    </a:lnTo>
                    <a:lnTo>
                      <a:pt x="1338" y="160"/>
                    </a:lnTo>
                    <a:lnTo>
                      <a:pt x="1336" y="160"/>
                    </a:lnTo>
                    <a:lnTo>
                      <a:pt x="1334" y="160"/>
                    </a:lnTo>
                    <a:lnTo>
                      <a:pt x="1332" y="160"/>
                    </a:lnTo>
                    <a:lnTo>
                      <a:pt x="1332" y="160"/>
                    </a:lnTo>
                    <a:lnTo>
                      <a:pt x="1330" y="162"/>
                    </a:lnTo>
                    <a:lnTo>
                      <a:pt x="1326" y="164"/>
                    </a:lnTo>
                    <a:lnTo>
                      <a:pt x="1326" y="164"/>
                    </a:lnTo>
                    <a:lnTo>
                      <a:pt x="1324" y="166"/>
                    </a:lnTo>
                    <a:lnTo>
                      <a:pt x="1322" y="166"/>
                    </a:lnTo>
                    <a:lnTo>
                      <a:pt x="1322" y="166"/>
                    </a:lnTo>
                    <a:lnTo>
                      <a:pt x="1322" y="166"/>
                    </a:lnTo>
                    <a:lnTo>
                      <a:pt x="1320" y="166"/>
                    </a:lnTo>
                    <a:lnTo>
                      <a:pt x="1320" y="166"/>
                    </a:lnTo>
                    <a:lnTo>
                      <a:pt x="1318" y="166"/>
                    </a:lnTo>
                    <a:lnTo>
                      <a:pt x="1314" y="164"/>
                    </a:lnTo>
                    <a:lnTo>
                      <a:pt x="1312" y="164"/>
                    </a:lnTo>
                    <a:lnTo>
                      <a:pt x="1310" y="162"/>
                    </a:lnTo>
                    <a:lnTo>
                      <a:pt x="1308" y="162"/>
                    </a:lnTo>
                    <a:lnTo>
                      <a:pt x="1304" y="158"/>
                    </a:lnTo>
                    <a:lnTo>
                      <a:pt x="1304" y="158"/>
                    </a:lnTo>
                    <a:lnTo>
                      <a:pt x="1304" y="158"/>
                    </a:lnTo>
                    <a:lnTo>
                      <a:pt x="1302" y="156"/>
                    </a:lnTo>
                    <a:lnTo>
                      <a:pt x="1300" y="152"/>
                    </a:lnTo>
                    <a:lnTo>
                      <a:pt x="1300" y="150"/>
                    </a:lnTo>
                    <a:lnTo>
                      <a:pt x="1298" y="150"/>
                    </a:lnTo>
                    <a:lnTo>
                      <a:pt x="1298" y="150"/>
                    </a:lnTo>
                    <a:lnTo>
                      <a:pt x="1298" y="148"/>
                    </a:lnTo>
                    <a:lnTo>
                      <a:pt x="1296" y="148"/>
                    </a:lnTo>
                    <a:lnTo>
                      <a:pt x="1296" y="148"/>
                    </a:lnTo>
                    <a:lnTo>
                      <a:pt x="1296" y="148"/>
                    </a:lnTo>
                    <a:lnTo>
                      <a:pt x="1294" y="150"/>
                    </a:lnTo>
                    <a:lnTo>
                      <a:pt x="1294" y="150"/>
                    </a:lnTo>
                    <a:lnTo>
                      <a:pt x="1294" y="152"/>
                    </a:lnTo>
                    <a:lnTo>
                      <a:pt x="1294" y="152"/>
                    </a:lnTo>
                    <a:lnTo>
                      <a:pt x="1294" y="154"/>
                    </a:lnTo>
                    <a:lnTo>
                      <a:pt x="1294" y="156"/>
                    </a:lnTo>
                    <a:lnTo>
                      <a:pt x="1294" y="158"/>
                    </a:lnTo>
                    <a:lnTo>
                      <a:pt x="1294" y="162"/>
                    </a:lnTo>
                    <a:lnTo>
                      <a:pt x="1294" y="162"/>
                    </a:lnTo>
                    <a:lnTo>
                      <a:pt x="1294" y="164"/>
                    </a:lnTo>
                    <a:lnTo>
                      <a:pt x="1294" y="164"/>
                    </a:lnTo>
                    <a:lnTo>
                      <a:pt x="1294" y="164"/>
                    </a:lnTo>
                    <a:lnTo>
                      <a:pt x="1292" y="166"/>
                    </a:lnTo>
                    <a:lnTo>
                      <a:pt x="1292" y="166"/>
                    </a:lnTo>
                    <a:lnTo>
                      <a:pt x="1290" y="166"/>
                    </a:lnTo>
                    <a:lnTo>
                      <a:pt x="1288" y="168"/>
                    </a:lnTo>
                    <a:lnTo>
                      <a:pt x="1286" y="168"/>
                    </a:lnTo>
                    <a:lnTo>
                      <a:pt x="1282" y="168"/>
                    </a:lnTo>
                    <a:lnTo>
                      <a:pt x="1280" y="168"/>
                    </a:lnTo>
                    <a:lnTo>
                      <a:pt x="1276" y="168"/>
                    </a:lnTo>
                    <a:lnTo>
                      <a:pt x="1274" y="168"/>
                    </a:lnTo>
                    <a:lnTo>
                      <a:pt x="1270" y="168"/>
                    </a:lnTo>
                    <a:lnTo>
                      <a:pt x="1270" y="168"/>
                    </a:lnTo>
                    <a:lnTo>
                      <a:pt x="1268" y="166"/>
                    </a:lnTo>
                    <a:lnTo>
                      <a:pt x="1264" y="166"/>
                    </a:lnTo>
                    <a:lnTo>
                      <a:pt x="1260" y="164"/>
                    </a:lnTo>
                    <a:lnTo>
                      <a:pt x="1256" y="164"/>
                    </a:lnTo>
                    <a:lnTo>
                      <a:pt x="1248" y="160"/>
                    </a:lnTo>
                    <a:lnTo>
                      <a:pt x="1242" y="158"/>
                    </a:lnTo>
                    <a:lnTo>
                      <a:pt x="1240" y="156"/>
                    </a:lnTo>
                    <a:lnTo>
                      <a:pt x="1238" y="156"/>
                    </a:lnTo>
                    <a:lnTo>
                      <a:pt x="1232" y="156"/>
                    </a:lnTo>
                    <a:lnTo>
                      <a:pt x="1230" y="154"/>
                    </a:lnTo>
                    <a:lnTo>
                      <a:pt x="1228" y="154"/>
                    </a:lnTo>
                    <a:lnTo>
                      <a:pt x="1228" y="154"/>
                    </a:lnTo>
                    <a:lnTo>
                      <a:pt x="1226" y="154"/>
                    </a:lnTo>
                    <a:lnTo>
                      <a:pt x="1226" y="152"/>
                    </a:lnTo>
                    <a:lnTo>
                      <a:pt x="1224" y="152"/>
                    </a:lnTo>
                    <a:lnTo>
                      <a:pt x="1224" y="152"/>
                    </a:lnTo>
                    <a:lnTo>
                      <a:pt x="1224" y="150"/>
                    </a:lnTo>
                    <a:lnTo>
                      <a:pt x="1224" y="150"/>
                    </a:lnTo>
                    <a:lnTo>
                      <a:pt x="1224" y="148"/>
                    </a:lnTo>
                    <a:lnTo>
                      <a:pt x="1224" y="148"/>
                    </a:lnTo>
                    <a:lnTo>
                      <a:pt x="1226" y="146"/>
                    </a:lnTo>
                    <a:lnTo>
                      <a:pt x="1226" y="144"/>
                    </a:lnTo>
                    <a:lnTo>
                      <a:pt x="1228" y="144"/>
                    </a:lnTo>
                    <a:lnTo>
                      <a:pt x="1228" y="142"/>
                    </a:lnTo>
                    <a:lnTo>
                      <a:pt x="1230" y="142"/>
                    </a:lnTo>
                    <a:lnTo>
                      <a:pt x="1230" y="140"/>
                    </a:lnTo>
                    <a:lnTo>
                      <a:pt x="1230" y="140"/>
                    </a:lnTo>
                    <a:lnTo>
                      <a:pt x="1232" y="140"/>
                    </a:lnTo>
                    <a:lnTo>
                      <a:pt x="1234" y="140"/>
                    </a:lnTo>
                    <a:lnTo>
                      <a:pt x="1236" y="140"/>
                    </a:lnTo>
                    <a:lnTo>
                      <a:pt x="1238" y="140"/>
                    </a:lnTo>
                    <a:lnTo>
                      <a:pt x="1240" y="138"/>
                    </a:lnTo>
                    <a:lnTo>
                      <a:pt x="1240" y="138"/>
                    </a:lnTo>
                    <a:lnTo>
                      <a:pt x="1240" y="138"/>
                    </a:lnTo>
                    <a:lnTo>
                      <a:pt x="1242" y="138"/>
                    </a:lnTo>
                    <a:lnTo>
                      <a:pt x="1242" y="138"/>
                    </a:lnTo>
                    <a:lnTo>
                      <a:pt x="1242" y="136"/>
                    </a:lnTo>
                    <a:lnTo>
                      <a:pt x="1242" y="136"/>
                    </a:lnTo>
                    <a:lnTo>
                      <a:pt x="1242" y="134"/>
                    </a:lnTo>
                    <a:lnTo>
                      <a:pt x="1242" y="132"/>
                    </a:lnTo>
                    <a:lnTo>
                      <a:pt x="1242" y="132"/>
                    </a:lnTo>
                    <a:lnTo>
                      <a:pt x="1240" y="130"/>
                    </a:lnTo>
                    <a:lnTo>
                      <a:pt x="1240" y="126"/>
                    </a:lnTo>
                    <a:lnTo>
                      <a:pt x="1238" y="124"/>
                    </a:lnTo>
                    <a:lnTo>
                      <a:pt x="1236" y="122"/>
                    </a:lnTo>
                    <a:lnTo>
                      <a:pt x="1234" y="118"/>
                    </a:lnTo>
                    <a:lnTo>
                      <a:pt x="1232" y="118"/>
                    </a:lnTo>
                    <a:lnTo>
                      <a:pt x="1230" y="116"/>
                    </a:lnTo>
                    <a:lnTo>
                      <a:pt x="1230" y="116"/>
                    </a:lnTo>
                    <a:lnTo>
                      <a:pt x="1226" y="114"/>
                    </a:lnTo>
                    <a:lnTo>
                      <a:pt x="1224" y="112"/>
                    </a:lnTo>
                    <a:lnTo>
                      <a:pt x="1220" y="112"/>
                    </a:lnTo>
                    <a:lnTo>
                      <a:pt x="1216" y="110"/>
                    </a:lnTo>
                    <a:lnTo>
                      <a:pt x="1214" y="110"/>
                    </a:lnTo>
                    <a:lnTo>
                      <a:pt x="1210" y="108"/>
                    </a:lnTo>
                    <a:lnTo>
                      <a:pt x="1208" y="108"/>
                    </a:lnTo>
                    <a:lnTo>
                      <a:pt x="1204" y="108"/>
                    </a:lnTo>
                    <a:lnTo>
                      <a:pt x="1200" y="108"/>
                    </a:lnTo>
                    <a:lnTo>
                      <a:pt x="1196" y="108"/>
                    </a:lnTo>
                    <a:lnTo>
                      <a:pt x="1192" y="108"/>
                    </a:lnTo>
                    <a:lnTo>
                      <a:pt x="1188" y="108"/>
                    </a:lnTo>
                    <a:lnTo>
                      <a:pt x="1184" y="108"/>
                    </a:lnTo>
                    <a:lnTo>
                      <a:pt x="1182" y="108"/>
                    </a:lnTo>
                    <a:lnTo>
                      <a:pt x="1180" y="108"/>
                    </a:lnTo>
                    <a:lnTo>
                      <a:pt x="1180" y="110"/>
                    </a:lnTo>
                    <a:lnTo>
                      <a:pt x="1178" y="110"/>
                    </a:lnTo>
                    <a:lnTo>
                      <a:pt x="1176" y="110"/>
                    </a:lnTo>
                    <a:lnTo>
                      <a:pt x="1176" y="112"/>
                    </a:lnTo>
                    <a:lnTo>
                      <a:pt x="1174" y="112"/>
                    </a:lnTo>
                    <a:lnTo>
                      <a:pt x="1174" y="114"/>
                    </a:lnTo>
                    <a:lnTo>
                      <a:pt x="1174" y="116"/>
                    </a:lnTo>
                    <a:lnTo>
                      <a:pt x="1172" y="120"/>
                    </a:lnTo>
                    <a:lnTo>
                      <a:pt x="1172" y="124"/>
                    </a:lnTo>
                    <a:lnTo>
                      <a:pt x="1170" y="128"/>
                    </a:lnTo>
                    <a:lnTo>
                      <a:pt x="1170" y="128"/>
                    </a:lnTo>
                    <a:lnTo>
                      <a:pt x="1170" y="130"/>
                    </a:lnTo>
                    <a:lnTo>
                      <a:pt x="1168" y="132"/>
                    </a:lnTo>
                    <a:lnTo>
                      <a:pt x="1168" y="134"/>
                    </a:lnTo>
                    <a:lnTo>
                      <a:pt x="1168" y="134"/>
                    </a:lnTo>
                    <a:lnTo>
                      <a:pt x="1166" y="134"/>
                    </a:lnTo>
                    <a:lnTo>
                      <a:pt x="1166" y="136"/>
                    </a:lnTo>
                    <a:lnTo>
                      <a:pt x="1164" y="136"/>
                    </a:lnTo>
                    <a:lnTo>
                      <a:pt x="1162" y="136"/>
                    </a:lnTo>
                    <a:lnTo>
                      <a:pt x="1160" y="134"/>
                    </a:lnTo>
                    <a:lnTo>
                      <a:pt x="1160" y="134"/>
                    </a:lnTo>
                    <a:lnTo>
                      <a:pt x="1158" y="134"/>
                    </a:lnTo>
                    <a:lnTo>
                      <a:pt x="1154" y="132"/>
                    </a:lnTo>
                    <a:lnTo>
                      <a:pt x="1150" y="130"/>
                    </a:lnTo>
                    <a:lnTo>
                      <a:pt x="1148" y="128"/>
                    </a:lnTo>
                    <a:lnTo>
                      <a:pt x="1144" y="128"/>
                    </a:lnTo>
                    <a:lnTo>
                      <a:pt x="1142" y="126"/>
                    </a:lnTo>
                    <a:lnTo>
                      <a:pt x="1138" y="124"/>
                    </a:lnTo>
                    <a:lnTo>
                      <a:pt x="1132" y="120"/>
                    </a:lnTo>
                    <a:lnTo>
                      <a:pt x="1126" y="118"/>
                    </a:lnTo>
                    <a:lnTo>
                      <a:pt x="1124" y="116"/>
                    </a:lnTo>
                    <a:lnTo>
                      <a:pt x="1120" y="116"/>
                    </a:lnTo>
                    <a:lnTo>
                      <a:pt x="1118" y="114"/>
                    </a:lnTo>
                    <a:lnTo>
                      <a:pt x="1114" y="114"/>
                    </a:lnTo>
                    <a:lnTo>
                      <a:pt x="1104" y="112"/>
                    </a:lnTo>
                    <a:lnTo>
                      <a:pt x="1096" y="110"/>
                    </a:lnTo>
                    <a:lnTo>
                      <a:pt x="1092" y="108"/>
                    </a:lnTo>
                    <a:lnTo>
                      <a:pt x="1088" y="108"/>
                    </a:lnTo>
                    <a:lnTo>
                      <a:pt x="1086" y="108"/>
                    </a:lnTo>
                    <a:lnTo>
                      <a:pt x="1082" y="108"/>
                    </a:lnTo>
                    <a:lnTo>
                      <a:pt x="1074" y="108"/>
                    </a:lnTo>
                    <a:lnTo>
                      <a:pt x="1066" y="108"/>
                    </a:lnTo>
                    <a:lnTo>
                      <a:pt x="1058" y="108"/>
                    </a:lnTo>
                    <a:lnTo>
                      <a:pt x="1042" y="108"/>
                    </a:lnTo>
                    <a:lnTo>
                      <a:pt x="1034" y="108"/>
                    </a:lnTo>
                    <a:lnTo>
                      <a:pt x="1028" y="108"/>
                    </a:lnTo>
                    <a:lnTo>
                      <a:pt x="1022" y="108"/>
                    </a:lnTo>
                    <a:lnTo>
                      <a:pt x="1018" y="108"/>
                    </a:lnTo>
                    <a:lnTo>
                      <a:pt x="1014" y="108"/>
                    </a:lnTo>
                    <a:lnTo>
                      <a:pt x="1012" y="108"/>
                    </a:lnTo>
                    <a:lnTo>
                      <a:pt x="1008" y="108"/>
                    </a:lnTo>
                    <a:lnTo>
                      <a:pt x="1006" y="108"/>
                    </a:lnTo>
                    <a:lnTo>
                      <a:pt x="1004" y="110"/>
                    </a:lnTo>
                    <a:lnTo>
                      <a:pt x="1002" y="110"/>
                    </a:lnTo>
                    <a:lnTo>
                      <a:pt x="998" y="112"/>
                    </a:lnTo>
                    <a:lnTo>
                      <a:pt x="996" y="112"/>
                    </a:lnTo>
                    <a:lnTo>
                      <a:pt x="990" y="116"/>
                    </a:lnTo>
                    <a:lnTo>
                      <a:pt x="988" y="116"/>
                    </a:lnTo>
                    <a:lnTo>
                      <a:pt x="984" y="118"/>
                    </a:lnTo>
                    <a:lnTo>
                      <a:pt x="984" y="118"/>
                    </a:lnTo>
                    <a:lnTo>
                      <a:pt x="982" y="118"/>
                    </a:lnTo>
                    <a:lnTo>
                      <a:pt x="978" y="120"/>
                    </a:lnTo>
                    <a:lnTo>
                      <a:pt x="974" y="124"/>
                    </a:lnTo>
                    <a:lnTo>
                      <a:pt x="968" y="126"/>
                    </a:lnTo>
                    <a:lnTo>
                      <a:pt x="966" y="126"/>
                    </a:lnTo>
                    <a:lnTo>
                      <a:pt x="964" y="128"/>
                    </a:lnTo>
                    <a:lnTo>
                      <a:pt x="962" y="128"/>
                    </a:lnTo>
                    <a:lnTo>
                      <a:pt x="960" y="128"/>
                    </a:lnTo>
                    <a:lnTo>
                      <a:pt x="958" y="128"/>
                    </a:lnTo>
                    <a:lnTo>
                      <a:pt x="958" y="128"/>
                    </a:lnTo>
                    <a:lnTo>
                      <a:pt x="956" y="128"/>
                    </a:lnTo>
                    <a:lnTo>
                      <a:pt x="956" y="128"/>
                    </a:lnTo>
                    <a:lnTo>
                      <a:pt x="956" y="128"/>
                    </a:lnTo>
                    <a:lnTo>
                      <a:pt x="956" y="128"/>
                    </a:lnTo>
                    <a:lnTo>
                      <a:pt x="954" y="128"/>
                    </a:lnTo>
                    <a:lnTo>
                      <a:pt x="954" y="126"/>
                    </a:lnTo>
                    <a:lnTo>
                      <a:pt x="954" y="126"/>
                    </a:lnTo>
                    <a:lnTo>
                      <a:pt x="954" y="126"/>
                    </a:lnTo>
                    <a:lnTo>
                      <a:pt x="954" y="124"/>
                    </a:lnTo>
                    <a:lnTo>
                      <a:pt x="956" y="122"/>
                    </a:lnTo>
                    <a:lnTo>
                      <a:pt x="956" y="122"/>
                    </a:lnTo>
                    <a:lnTo>
                      <a:pt x="956" y="120"/>
                    </a:lnTo>
                    <a:lnTo>
                      <a:pt x="958" y="120"/>
                    </a:lnTo>
                    <a:lnTo>
                      <a:pt x="960" y="118"/>
                    </a:lnTo>
                    <a:lnTo>
                      <a:pt x="962" y="116"/>
                    </a:lnTo>
                    <a:lnTo>
                      <a:pt x="966" y="114"/>
                    </a:lnTo>
                    <a:lnTo>
                      <a:pt x="970" y="110"/>
                    </a:lnTo>
                    <a:lnTo>
                      <a:pt x="972" y="108"/>
                    </a:lnTo>
                    <a:lnTo>
                      <a:pt x="972" y="108"/>
                    </a:lnTo>
                    <a:lnTo>
                      <a:pt x="976" y="106"/>
                    </a:lnTo>
                    <a:lnTo>
                      <a:pt x="980" y="104"/>
                    </a:lnTo>
                    <a:lnTo>
                      <a:pt x="984" y="102"/>
                    </a:lnTo>
                    <a:lnTo>
                      <a:pt x="994" y="98"/>
                    </a:lnTo>
                    <a:lnTo>
                      <a:pt x="996" y="96"/>
                    </a:lnTo>
                    <a:lnTo>
                      <a:pt x="1000" y="94"/>
                    </a:lnTo>
                    <a:lnTo>
                      <a:pt x="1006" y="92"/>
                    </a:lnTo>
                    <a:lnTo>
                      <a:pt x="1010" y="90"/>
                    </a:lnTo>
                    <a:lnTo>
                      <a:pt x="1012" y="88"/>
                    </a:lnTo>
                    <a:lnTo>
                      <a:pt x="1012" y="88"/>
                    </a:lnTo>
                    <a:lnTo>
                      <a:pt x="1016" y="86"/>
                    </a:lnTo>
                    <a:lnTo>
                      <a:pt x="1018" y="84"/>
                    </a:lnTo>
                    <a:lnTo>
                      <a:pt x="1022" y="82"/>
                    </a:lnTo>
                    <a:lnTo>
                      <a:pt x="1022" y="80"/>
                    </a:lnTo>
                    <a:lnTo>
                      <a:pt x="1026" y="78"/>
                    </a:lnTo>
                    <a:lnTo>
                      <a:pt x="1026" y="76"/>
                    </a:lnTo>
                    <a:lnTo>
                      <a:pt x="1028" y="74"/>
                    </a:lnTo>
                    <a:lnTo>
                      <a:pt x="1028" y="72"/>
                    </a:lnTo>
                    <a:lnTo>
                      <a:pt x="1030" y="68"/>
                    </a:lnTo>
                    <a:lnTo>
                      <a:pt x="1030" y="66"/>
                    </a:lnTo>
                    <a:lnTo>
                      <a:pt x="1030" y="62"/>
                    </a:lnTo>
                    <a:lnTo>
                      <a:pt x="1032" y="60"/>
                    </a:lnTo>
                    <a:lnTo>
                      <a:pt x="1032" y="56"/>
                    </a:lnTo>
                    <a:lnTo>
                      <a:pt x="1032" y="56"/>
                    </a:lnTo>
                    <a:lnTo>
                      <a:pt x="1032" y="54"/>
                    </a:lnTo>
                    <a:lnTo>
                      <a:pt x="1030" y="52"/>
                    </a:lnTo>
                    <a:lnTo>
                      <a:pt x="1030" y="52"/>
                    </a:lnTo>
                    <a:lnTo>
                      <a:pt x="1030" y="50"/>
                    </a:lnTo>
                    <a:lnTo>
                      <a:pt x="1028" y="50"/>
                    </a:lnTo>
                    <a:lnTo>
                      <a:pt x="1028" y="50"/>
                    </a:lnTo>
                    <a:lnTo>
                      <a:pt x="1026" y="48"/>
                    </a:lnTo>
                    <a:lnTo>
                      <a:pt x="1024" y="48"/>
                    </a:lnTo>
                    <a:lnTo>
                      <a:pt x="1020" y="46"/>
                    </a:lnTo>
                    <a:lnTo>
                      <a:pt x="1018" y="46"/>
                    </a:lnTo>
                    <a:lnTo>
                      <a:pt x="1014" y="46"/>
                    </a:lnTo>
                    <a:lnTo>
                      <a:pt x="1012" y="44"/>
                    </a:lnTo>
                    <a:lnTo>
                      <a:pt x="1012" y="44"/>
                    </a:lnTo>
                    <a:lnTo>
                      <a:pt x="1010" y="44"/>
                    </a:lnTo>
                    <a:lnTo>
                      <a:pt x="1010" y="42"/>
                    </a:lnTo>
                    <a:lnTo>
                      <a:pt x="1010" y="42"/>
                    </a:lnTo>
                    <a:lnTo>
                      <a:pt x="1008" y="40"/>
                    </a:lnTo>
                    <a:lnTo>
                      <a:pt x="1006" y="38"/>
                    </a:lnTo>
                    <a:lnTo>
                      <a:pt x="1006" y="36"/>
                    </a:lnTo>
                    <a:lnTo>
                      <a:pt x="1004" y="34"/>
                    </a:lnTo>
                    <a:lnTo>
                      <a:pt x="1004" y="32"/>
                    </a:lnTo>
                    <a:lnTo>
                      <a:pt x="1002" y="30"/>
                    </a:lnTo>
                    <a:lnTo>
                      <a:pt x="1002" y="30"/>
                    </a:lnTo>
                    <a:lnTo>
                      <a:pt x="1002" y="30"/>
                    </a:lnTo>
                    <a:lnTo>
                      <a:pt x="1000" y="28"/>
                    </a:lnTo>
                    <a:lnTo>
                      <a:pt x="996" y="28"/>
                    </a:lnTo>
                    <a:lnTo>
                      <a:pt x="994" y="26"/>
                    </a:lnTo>
                    <a:lnTo>
                      <a:pt x="992" y="26"/>
                    </a:lnTo>
                    <a:lnTo>
                      <a:pt x="988" y="24"/>
                    </a:lnTo>
                    <a:lnTo>
                      <a:pt x="984" y="24"/>
                    </a:lnTo>
                    <a:lnTo>
                      <a:pt x="982" y="24"/>
                    </a:lnTo>
                    <a:lnTo>
                      <a:pt x="978" y="24"/>
                    </a:lnTo>
                    <a:lnTo>
                      <a:pt x="974" y="22"/>
                    </a:lnTo>
                    <a:lnTo>
                      <a:pt x="970" y="22"/>
                    </a:lnTo>
                    <a:lnTo>
                      <a:pt x="968" y="22"/>
                    </a:lnTo>
                    <a:lnTo>
                      <a:pt x="964" y="24"/>
                    </a:lnTo>
                    <a:lnTo>
                      <a:pt x="962" y="24"/>
                    </a:lnTo>
                    <a:lnTo>
                      <a:pt x="958" y="24"/>
                    </a:lnTo>
                    <a:lnTo>
                      <a:pt x="956" y="24"/>
                    </a:lnTo>
                    <a:lnTo>
                      <a:pt x="954" y="26"/>
                    </a:lnTo>
                    <a:lnTo>
                      <a:pt x="952" y="26"/>
                    </a:lnTo>
                    <a:lnTo>
                      <a:pt x="952" y="26"/>
                    </a:lnTo>
                    <a:lnTo>
                      <a:pt x="952" y="28"/>
                    </a:lnTo>
                    <a:lnTo>
                      <a:pt x="950" y="28"/>
                    </a:lnTo>
                    <a:lnTo>
                      <a:pt x="950" y="30"/>
                    </a:lnTo>
                    <a:lnTo>
                      <a:pt x="948" y="32"/>
                    </a:lnTo>
                    <a:lnTo>
                      <a:pt x="946" y="34"/>
                    </a:lnTo>
                    <a:lnTo>
                      <a:pt x="946" y="34"/>
                    </a:lnTo>
                    <a:lnTo>
                      <a:pt x="946" y="36"/>
                    </a:lnTo>
                    <a:lnTo>
                      <a:pt x="944" y="36"/>
                    </a:lnTo>
                    <a:lnTo>
                      <a:pt x="944" y="36"/>
                    </a:lnTo>
                    <a:lnTo>
                      <a:pt x="942" y="36"/>
                    </a:lnTo>
                    <a:lnTo>
                      <a:pt x="942" y="36"/>
                    </a:lnTo>
                    <a:lnTo>
                      <a:pt x="940" y="34"/>
                    </a:lnTo>
                    <a:lnTo>
                      <a:pt x="938" y="34"/>
                    </a:lnTo>
                    <a:lnTo>
                      <a:pt x="936" y="32"/>
                    </a:lnTo>
                    <a:lnTo>
                      <a:pt x="934" y="32"/>
                    </a:lnTo>
                    <a:lnTo>
                      <a:pt x="932" y="30"/>
                    </a:lnTo>
                    <a:lnTo>
                      <a:pt x="930" y="28"/>
                    </a:lnTo>
                    <a:lnTo>
                      <a:pt x="928" y="28"/>
                    </a:lnTo>
                    <a:lnTo>
                      <a:pt x="928" y="26"/>
                    </a:lnTo>
                    <a:lnTo>
                      <a:pt x="926" y="26"/>
                    </a:lnTo>
                    <a:lnTo>
                      <a:pt x="926" y="22"/>
                    </a:lnTo>
                    <a:lnTo>
                      <a:pt x="924" y="18"/>
                    </a:lnTo>
                    <a:lnTo>
                      <a:pt x="922" y="18"/>
                    </a:lnTo>
                    <a:lnTo>
                      <a:pt x="922" y="16"/>
                    </a:lnTo>
                    <a:lnTo>
                      <a:pt x="920" y="16"/>
                    </a:lnTo>
                    <a:lnTo>
                      <a:pt x="920" y="14"/>
                    </a:lnTo>
                    <a:lnTo>
                      <a:pt x="916" y="10"/>
                    </a:lnTo>
                    <a:lnTo>
                      <a:pt x="912" y="8"/>
                    </a:lnTo>
                    <a:lnTo>
                      <a:pt x="910" y="6"/>
                    </a:lnTo>
                    <a:lnTo>
                      <a:pt x="906" y="4"/>
                    </a:lnTo>
                    <a:lnTo>
                      <a:pt x="904" y="2"/>
                    </a:lnTo>
                    <a:lnTo>
                      <a:pt x="902" y="2"/>
                    </a:lnTo>
                    <a:lnTo>
                      <a:pt x="900" y="0"/>
                    </a:lnTo>
                    <a:lnTo>
                      <a:pt x="900" y="0"/>
                    </a:lnTo>
                    <a:lnTo>
                      <a:pt x="898" y="0"/>
                    </a:lnTo>
                    <a:lnTo>
                      <a:pt x="896" y="0"/>
                    </a:lnTo>
                    <a:lnTo>
                      <a:pt x="896" y="0"/>
                    </a:lnTo>
                    <a:lnTo>
                      <a:pt x="892" y="0"/>
                    </a:lnTo>
                    <a:lnTo>
                      <a:pt x="888" y="2"/>
                    </a:lnTo>
                    <a:lnTo>
                      <a:pt x="886" y="4"/>
                    </a:lnTo>
                    <a:lnTo>
                      <a:pt x="882" y="4"/>
                    </a:lnTo>
                    <a:lnTo>
                      <a:pt x="878" y="6"/>
                    </a:lnTo>
                    <a:lnTo>
                      <a:pt x="876" y="8"/>
                    </a:lnTo>
                    <a:lnTo>
                      <a:pt x="876" y="10"/>
                    </a:lnTo>
                    <a:lnTo>
                      <a:pt x="874" y="10"/>
                    </a:lnTo>
                    <a:lnTo>
                      <a:pt x="874" y="10"/>
                    </a:lnTo>
                    <a:lnTo>
                      <a:pt x="874" y="12"/>
                    </a:lnTo>
                    <a:lnTo>
                      <a:pt x="872" y="14"/>
                    </a:lnTo>
                    <a:lnTo>
                      <a:pt x="872" y="16"/>
                    </a:lnTo>
                    <a:lnTo>
                      <a:pt x="872" y="20"/>
                    </a:lnTo>
                    <a:lnTo>
                      <a:pt x="870" y="24"/>
                    </a:lnTo>
                    <a:lnTo>
                      <a:pt x="870" y="28"/>
                    </a:lnTo>
                    <a:lnTo>
                      <a:pt x="870" y="30"/>
                    </a:lnTo>
                    <a:lnTo>
                      <a:pt x="868" y="30"/>
                    </a:lnTo>
                    <a:lnTo>
                      <a:pt x="868" y="30"/>
                    </a:lnTo>
                    <a:lnTo>
                      <a:pt x="866" y="32"/>
                    </a:lnTo>
                    <a:lnTo>
                      <a:pt x="866" y="34"/>
                    </a:lnTo>
                    <a:lnTo>
                      <a:pt x="864" y="34"/>
                    </a:lnTo>
                    <a:lnTo>
                      <a:pt x="864" y="36"/>
                    </a:lnTo>
                    <a:lnTo>
                      <a:pt x="864" y="36"/>
                    </a:lnTo>
                    <a:lnTo>
                      <a:pt x="864" y="36"/>
                    </a:lnTo>
                    <a:lnTo>
                      <a:pt x="864" y="38"/>
                    </a:lnTo>
                    <a:lnTo>
                      <a:pt x="864" y="38"/>
                    </a:lnTo>
                    <a:lnTo>
                      <a:pt x="866" y="38"/>
                    </a:lnTo>
                    <a:lnTo>
                      <a:pt x="866" y="38"/>
                    </a:lnTo>
                    <a:lnTo>
                      <a:pt x="868" y="38"/>
                    </a:lnTo>
                    <a:lnTo>
                      <a:pt x="870" y="38"/>
                    </a:lnTo>
                    <a:lnTo>
                      <a:pt x="872" y="38"/>
                    </a:lnTo>
                    <a:lnTo>
                      <a:pt x="874" y="38"/>
                    </a:lnTo>
                    <a:lnTo>
                      <a:pt x="874" y="40"/>
                    </a:lnTo>
                    <a:lnTo>
                      <a:pt x="874" y="40"/>
                    </a:lnTo>
                    <a:lnTo>
                      <a:pt x="876" y="40"/>
                    </a:lnTo>
                    <a:lnTo>
                      <a:pt x="876" y="40"/>
                    </a:lnTo>
                    <a:lnTo>
                      <a:pt x="876" y="42"/>
                    </a:lnTo>
                    <a:lnTo>
                      <a:pt x="876" y="42"/>
                    </a:lnTo>
                    <a:lnTo>
                      <a:pt x="874" y="42"/>
                    </a:lnTo>
                    <a:lnTo>
                      <a:pt x="874" y="44"/>
                    </a:lnTo>
                    <a:lnTo>
                      <a:pt x="872" y="44"/>
                    </a:lnTo>
                    <a:lnTo>
                      <a:pt x="872" y="44"/>
                    </a:lnTo>
                    <a:lnTo>
                      <a:pt x="870" y="46"/>
                    </a:lnTo>
                    <a:lnTo>
                      <a:pt x="866" y="48"/>
                    </a:lnTo>
                    <a:lnTo>
                      <a:pt x="864" y="48"/>
                    </a:lnTo>
                    <a:lnTo>
                      <a:pt x="862" y="48"/>
                    </a:lnTo>
                    <a:lnTo>
                      <a:pt x="860" y="50"/>
                    </a:lnTo>
                    <a:lnTo>
                      <a:pt x="858" y="50"/>
                    </a:lnTo>
                    <a:lnTo>
                      <a:pt x="856" y="50"/>
                    </a:lnTo>
                    <a:lnTo>
                      <a:pt x="854" y="48"/>
                    </a:lnTo>
                    <a:lnTo>
                      <a:pt x="850" y="48"/>
                    </a:lnTo>
                    <a:lnTo>
                      <a:pt x="848" y="48"/>
                    </a:lnTo>
                    <a:lnTo>
                      <a:pt x="840" y="46"/>
                    </a:lnTo>
                    <a:lnTo>
                      <a:pt x="838" y="44"/>
                    </a:lnTo>
                    <a:lnTo>
                      <a:pt x="836" y="44"/>
                    </a:lnTo>
                    <a:lnTo>
                      <a:pt x="836" y="44"/>
                    </a:lnTo>
                    <a:lnTo>
                      <a:pt x="832" y="44"/>
                    </a:lnTo>
                    <a:lnTo>
                      <a:pt x="826" y="44"/>
                    </a:lnTo>
                    <a:lnTo>
                      <a:pt x="824" y="44"/>
                    </a:lnTo>
                    <a:lnTo>
                      <a:pt x="822" y="46"/>
                    </a:lnTo>
                    <a:lnTo>
                      <a:pt x="820" y="46"/>
                    </a:lnTo>
                    <a:lnTo>
                      <a:pt x="818" y="46"/>
                    </a:lnTo>
                    <a:lnTo>
                      <a:pt x="818" y="48"/>
                    </a:lnTo>
                    <a:lnTo>
                      <a:pt x="816" y="48"/>
                    </a:lnTo>
                    <a:lnTo>
                      <a:pt x="816" y="50"/>
                    </a:lnTo>
                    <a:lnTo>
                      <a:pt x="814" y="52"/>
                    </a:lnTo>
                    <a:lnTo>
                      <a:pt x="814" y="54"/>
                    </a:lnTo>
                    <a:lnTo>
                      <a:pt x="812" y="54"/>
                    </a:lnTo>
                    <a:lnTo>
                      <a:pt x="812" y="54"/>
                    </a:lnTo>
                    <a:lnTo>
                      <a:pt x="812" y="54"/>
                    </a:lnTo>
                    <a:lnTo>
                      <a:pt x="810" y="54"/>
                    </a:lnTo>
                    <a:lnTo>
                      <a:pt x="810" y="54"/>
                    </a:lnTo>
                    <a:lnTo>
                      <a:pt x="810" y="54"/>
                    </a:lnTo>
                    <a:lnTo>
                      <a:pt x="808" y="52"/>
                    </a:lnTo>
                    <a:lnTo>
                      <a:pt x="808" y="50"/>
                    </a:lnTo>
                    <a:lnTo>
                      <a:pt x="806" y="48"/>
                    </a:lnTo>
                    <a:lnTo>
                      <a:pt x="804" y="46"/>
                    </a:lnTo>
                    <a:lnTo>
                      <a:pt x="804" y="44"/>
                    </a:lnTo>
                    <a:lnTo>
                      <a:pt x="804" y="44"/>
                    </a:lnTo>
                    <a:lnTo>
                      <a:pt x="802" y="42"/>
                    </a:lnTo>
                    <a:lnTo>
                      <a:pt x="802" y="42"/>
                    </a:lnTo>
                    <a:lnTo>
                      <a:pt x="802" y="42"/>
                    </a:lnTo>
                    <a:lnTo>
                      <a:pt x="800" y="42"/>
                    </a:lnTo>
                    <a:lnTo>
                      <a:pt x="800" y="42"/>
                    </a:lnTo>
                    <a:lnTo>
                      <a:pt x="798" y="42"/>
                    </a:lnTo>
                    <a:lnTo>
                      <a:pt x="798" y="42"/>
                    </a:lnTo>
                    <a:lnTo>
                      <a:pt x="796" y="44"/>
                    </a:lnTo>
                    <a:lnTo>
                      <a:pt x="794" y="44"/>
                    </a:lnTo>
                    <a:lnTo>
                      <a:pt x="792" y="46"/>
                    </a:lnTo>
                    <a:lnTo>
                      <a:pt x="790" y="46"/>
                    </a:lnTo>
                    <a:lnTo>
                      <a:pt x="788" y="48"/>
                    </a:lnTo>
                    <a:lnTo>
                      <a:pt x="788" y="48"/>
                    </a:lnTo>
                    <a:lnTo>
                      <a:pt x="788" y="48"/>
                    </a:lnTo>
                    <a:lnTo>
                      <a:pt x="786" y="48"/>
                    </a:lnTo>
                    <a:lnTo>
                      <a:pt x="786" y="48"/>
                    </a:lnTo>
                    <a:lnTo>
                      <a:pt x="784" y="48"/>
                    </a:lnTo>
                    <a:lnTo>
                      <a:pt x="780" y="46"/>
                    </a:lnTo>
                    <a:lnTo>
                      <a:pt x="780" y="44"/>
                    </a:lnTo>
                    <a:lnTo>
                      <a:pt x="778" y="44"/>
                    </a:lnTo>
                    <a:lnTo>
                      <a:pt x="776" y="44"/>
                    </a:lnTo>
                    <a:lnTo>
                      <a:pt x="776" y="44"/>
                    </a:lnTo>
                    <a:lnTo>
                      <a:pt x="776" y="44"/>
                    </a:lnTo>
                    <a:lnTo>
                      <a:pt x="774" y="44"/>
                    </a:lnTo>
                    <a:lnTo>
                      <a:pt x="774" y="44"/>
                    </a:lnTo>
                    <a:lnTo>
                      <a:pt x="774" y="46"/>
                    </a:lnTo>
                    <a:lnTo>
                      <a:pt x="774" y="46"/>
                    </a:lnTo>
                    <a:lnTo>
                      <a:pt x="774" y="46"/>
                    </a:lnTo>
                    <a:lnTo>
                      <a:pt x="774" y="48"/>
                    </a:lnTo>
                    <a:lnTo>
                      <a:pt x="774" y="50"/>
                    </a:lnTo>
                    <a:lnTo>
                      <a:pt x="774" y="52"/>
                    </a:lnTo>
                    <a:lnTo>
                      <a:pt x="774" y="54"/>
                    </a:lnTo>
                    <a:lnTo>
                      <a:pt x="774" y="54"/>
                    </a:lnTo>
                    <a:lnTo>
                      <a:pt x="774" y="56"/>
                    </a:lnTo>
                    <a:lnTo>
                      <a:pt x="774" y="56"/>
                    </a:lnTo>
                    <a:lnTo>
                      <a:pt x="774" y="56"/>
                    </a:lnTo>
                    <a:lnTo>
                      <a:pt x="772" y="58"/>
                    </a:lnTo>
                    <a:lnTo>
                      <a:pt x="772" y="58"/>
                    </a:lnTo>
                    <a:lnTo>
                      <a:pt x="770" y="58"/>
                    </a:lnTo>
                    <a:lnTo>
                      <a:pt x="768" y="58"/>
                    </a:lnTo>
                    <a:lnTo>
                      <a:pt x="766" y="58"/>
                    </a:lnTo>
                    <a:lnTo>
                      <a:pt x="766" y="60"/>
                    </a:lnTo>
                    <a:lnTo>
                      <a:pt x="762" y="58"/>
                    </a:lnTo>
                    <a:lnTo>
                      <a:pt x="754" y="58"/>
                    </a:lnTo>
                    <a:lnTo>
                      <a:pt x="752" y="58"/>
                    </a:lnTo>
                    <a:lnTo>
                      <a:pt x="748" y="58"/>
                    </a:lnTo>
                    <a:lnTo>
                      <a:pt x="744" y="58"/>
                    </a:lnTo>
                    <a:lnTo>
                      <a:pt x="736" y="58"/>
                    </a:lnTo>
                    <a:lnTo>
                      <a:pt x="734" y="60"/>
                    </a:lnTo>
                    <a:lnTo>
                      <a:pt x="730" y="60"/>
                    </a:lnTo>
                    <a:lnTo>
                      <a:pt x="728" y="60"/>
                    </a:lnTo>
                    <a:lnTo>
                      <a:pt x="726" y="60"/>
                    </a:lnTo>
                    <a:lnTo>
                      <a:pt x="724" y="62"/>
                    </a:lnTo>
                    <a:lnTo>
                      <a:pt x="722" y="62"/>
                    </a:lnTo>
                    <a:lnTo>
                      <a:pt x="718" y="64"/>
                    </a:lnTo>
                    <a:lnTo>
                      <a:pt x="714" y="68"/>
                    </a:lnTo>
                    <a:lnTo>
                      <a:pt x="712" y="68"/>
                    </a:lnTo>
                    <a:lnTo>
                      <a:pt x="710" y="70"/>
                    </a:lnTo>
                    <a:lnTo>
                      <a:pt x="708" y="70"/>
                    </a:lnTo>
                    <a:lnTo>
                      <a:pt x="706" y="70"/>
                    </a:lnTo>
                    <a:lnTo>
                      <a:pt x="702" y="72"/>
                    </a:lnTo>
                    <a:lnTo>
                      <a:pt x="700" y="72"/>
                    </a:lnTo>
                    <a:lnTo>
                      <a:pt x="698" y="74"/>
                    </a:lnTo>
                    <a:lnTo>
                      <a:pt x="696" y="74"/>
                    </a:lnTo>
                    <a:lnTo>
                      <a:pt x="696" y="74"/>
                    </a:lnTo>
                    <a:lnTo>
                      <a:pt x="694" y="76"/>
                    </a:lnTo>
                    <a:lnTo>
                      <a:pt x="694" y="76"/>
                    </a:lnTo>
                    <a:lnTo>
                      <a:pt x="694" y="76"/>
                    </a:lnTo>
                    <a:lnTo>
                      <a:pt x="694" y="78"/>
                    </a:lnTo>
                    <a:lnTo>
                      <a:pt x="692" y="80"/>
                    </a:lnTo>
                    <a:lnTo>
                      <a:pt x="692" y="82"/>
                    </a:lnTo>
                    <a:lnTo>
                      <a:pt x="692" y="84"/>
                    </a:lnTo>
                    <a:lnTo>
                      <a:pt x="694" y="86"/>
                    </a:lnTo>
                    <a:lnTo>
                      <a:pt x="694" y="88"/>
                    </a:lnTo>
                    <a:lnTo>
                      <a:pt x="694" y="88"/>
                    </a:lnTo>
                    <a:lnTo>
                      <a:pt x="694" y="88"/>
                    </a:lnTo>
                    <a:lnTo>
                      <a:pt x="696" y="88"/>
                    </a:lnTo>
                    <a:lnTo>
                      <a:pt x="696" y="90"/>
                    </a:lnTo>
                    <a:lnTo>
                      <a:pt x="698" y="90"/>
                    </a:lnTo>
                    <a:lnTo>
                      <a:pt x="700" y="90"/>
                    </a:lnTo>
                    <a:lnTo>
                      <a:pt x="702" y="90"/>
                    </a:lnTo>
                    <a:lnTo>
                      <a:pt x="704" y="90"/>
                    </a:lnTo>
                    <a:lnTo>
                      <a:pt x="706" y="92"/>
                    </a:lnTo>
                    <a:lnTo>
                      <a:pt x="706" y="92"/>
                    </a:lnTo>
                    <a:lnTo>
                      <a:pt x="706" y="92"/>
                    </a:lnTo>
                    <a:lnTo>
                      <a:pt x="708" y="94"/>
                    </a:lnTo>
                    <a:lnTo>
                      <a:pt x="708" y="96"/>
                    </a:lnTo>
                    <a:lnTo>
                      <a:pt x="710" y="98"/>
                    </a:lnTo>
                    <a:lnTo>
                      <a:pt x="710" y="100"/>
                    </a:lnTo>
                    <a:lnTo>
                      <a:pt x="712" y="102"/>
                    </a:lnTo>
                    <a:lnTo>
                      <a:pt x="712" y="104"/>
                    </a:lnTo>
                    <a:lnTo>
                      <a:pt x="712" y="104"/>
                    </a:lnTo>
                    <a:lnTo>
                      <a:pt x="712" y="106"/>
                    </a:lnTo>
                    <a:lnTo>
                      <a:pt x="712" y="106"/>
                    </a:lnTo>
                    <a:lnTo>
                      <a:pt x="710" y="108"/>
                    </a:lnTo>
                    <a:lnTo>
                      <a:pt x="710" y="108"/>
                    </a:lnTo>
                    <a:lnTo>
                      <a:pt x="710" y="110"/>
                    </a:lnTo>
                    <a:lnTo>
                      <a:pt x="708" y="110"/>
                    </a:lnTo>
                    <a:lnTo>
                      <a:pt x="708" y="110"/>
                    </a:lnTo>
                    <a:lnTo>
                      <a:pt x="706" y="110"/>
                    </a:lnTo>
                    <a:lnTo>
                      <a:pt x="704" y="110"/>
                    </a:lnTo>
                    <a:lnTo>
                      <a:pt x="704" y="110"/>
                    </a:lnTo>
                    <a:lnTo>
                      <a:pt x="700" y="108"/>
                    </a:lnTo>
                    <a:lnTo>
                      <a:pt x="694" y="106"/>
                    </a:lnTo>
                    <a:lnTo>
                      <a:pt x="690" y="106"/>
                    </a:lnTo>
                    <a:lnTo>
                      <a:pt x="688" y="106"/>
                    </a:lnTo>
                    <a:lnTo>
                      <a:pt x="688" y="106"/>
                    </a:lnTo>
                    <a:lnTo>
                      <a:pt x="682" y="106"/>
                    </a:lnTo>
                    <a:lnTo>
                      <a:pt x="674" y="106"/>
                    </a:lnTo>
                    <a:lnTo>
                      <a:pt x="670" y="106"/>
                    </a:lnTo>
                    <a:lnTo>
                      <a:pt x="666" y="106"/>
                    </a:lnTo>
                    <a:lnTo>
                      <a:pt x="662" y="106"/>
                    </a:lnTo>
                    <a:lnTo>
                      <a:pt x="658" y="108"/>
                    </a:lnTo>
                    <a:lnTo>
                      <a:pt x="654" y="108"/>
                    </a:lnTo>
                    <a:lnTo>
                      <a:pt x="652" y="108"/>
                    </a:lnTo>
                    <a:lnTo>
                      <a:pt x="650" y="110"/>
                    </a:lnTo>
                    <a:lnTo>
                      <a:pt x="648" y="110"/>
                    </a:lnTo>
                    <a:lnTo>
                      <a:pt x="646" y="112"/>
                    </a:lnTo>
                    <a:lnTo>
                      <a:pt x="644" y="112"/>
                    </a:lnTo>
                    <a:lnTo>
                      <a:pt x="644" y="112"/>
                    </a:lnTo>
                    <a:lnTo>
                      <a:pt x="642" y="114"/>
                    </a:lnTo>
                    <a:lnTo>
                      <a:pt x="642" y="114"/>
                    </a:lnTo>
                    <a:lnTo>
                      <a:pt x="642" y="114"/>
                    </a:lnTo>
                    <a:lnTo>
                      <a:pt x="640" y="116"/>
                    </a:lnTo>
                    <a:lnTo>
                      <a:pt x="640" y="118"/>
                    </a:lnTo>
                    <a:lnTo>
                      <a:pt x="640" y="122"/>
                    </a:lnTo>
                    <a:lnTo>
                      <a:pt x="638" y="124"/>
                    </a:lnTo>
                    <a:lnTo>
                      <a:pt x="638" y="126"/>
                    </a:lnTo>
                    <a:lnTo>
                      <a:pt x="638" y="128"/>
                    </a:lnTo>
                    <a:lnTo>
                      <a:pt x="638" y="130"/>
                    </a:lnTo>
                    <a:lnTo>
                      <a:pt x="640" y="132"/>
                    </a:lnTo>
                    <a:lnTo>
                      <a:pt x="640" y="134"/>
                    </a:lnTo>
                    <a:lnTo>
                      <a:pt x="640" y="136"/>
                    </a:lnTo>
                    <a:lnTo>
                      <a:pt x="642" y="138"/>
                    </a:lnTo>
                    <a:lnTo>
                      <a:pt x="642" y="140"/>
                    </a:lnTo>
                    <a:lnTo>
                      <a:pt x="644" y="142"/>
                    </a:lnTo>
                    <a:lnTo>
                      <a:pt x="646" y="142"/>
                    </a:lnTo>
                    <a:lnTo>
                      <a:pt x="646" y="144"/>
                    </a:lnTo>
                    <a:lnTo>
                      <a:pt x="646" y="144"/>
                    </a:lnTo>
                    <a:lnTo>
                      <a:pt x="648" y="144"/>
                    </a:lnTo>
                    <a:lnTo>
                      <a:pt x="648" y="144"/>
                    </a:lnTo>
                    <a:lnTo>
                      <a:pt x="650" y="144"/>
                    </a:lnTo>
                    <a:lnTo>
                      <a:pt x="652" y="144"/>
                    </a:lnTo>
                    <a:lnTo>
                      <a:pt x="654" y="144"/>
                    </a:lnTo>
                    <a:lnTo>
                      <a:pt x="656" y="144"/>
                    </a:lnTo>
                    <a:lnTo>
                      <a:pt x="658" y="144"/>
                    </a:lnTo>
                    <a:lnTo>
                      <a:pt x="658" y="144"/>
                    </a:lnTo>
                    <a:lnTo>
                      <a:pt x="658" y="144"/>
                    </a:lnTo>
                    <a:lnTo>
                      <a:pt x="660" y="146"/>
                    </a:lnTo>
                    <a:lnTo>
                      <a:pt x="662" y="148"/>
                    </a:lnTo>
                    <a:lnTo>
                      <a:pt x="664" y="148"/>
                    </a:lnTo>
                    <a:lnTo>
                      <a:pt x="664" y="150"/>
                    </a:lnTo>
                    <a:lnTo>
                      <a:pt x="666" y="154"/>
                    </a:lnTo>
                    <a:lnTo>
                      <a:pt x="670" y="158"/>
                    </a:lnTo>
                    <a:lnTo>
                      <a:pt x="672" y="162"/>
                    </a:lnTo>
                    <a:lnTo>
                      <a:pt x="674" y="166"/>
                    </a:lnTo>
                    <a:lnTo>
                      <a:pt x="676" y="168"/>
                    </a:lnTo>
                    <a:lnTo>
                      <a:pt x="676" y="170"/>
                    </a:lnTo>
                    <a:lnTo>
                      <a:pt x="678" y="172"/>
                    </a:lnTo>
                    <a:lnTo>
                      <a:pt x="678" y="174"/>
                    </a:lnTo>
                    <a:lnTo>
                      <a:pt x="678" y="176"/>
                    </a:lnTo>
                    <a:lnTo>
                      <a:pt x="678" y="178"/>
                    </a:lnTo>
                    <a:lnTo>
                      <a:pt x="678" y="180"/>
                    </a:lnTo>
                    <a:lnTo>
                      <a:pt x="678" y="182"/>
                    </a:lnTo>
                    <a:lnTo>
                      <a:pt x="678" y="184"/>
                    </a:lnTo>
                    <a:lnTo>
                      <a:pt x="678" y="186"/>
                    </a:lnTo>
                    <a:lnTo>
                      <a:pt x="678" y="186"/>
                    </a:lnTo>
                    <a:lnTo>
                      <a:pt x="676" y="186"/>
                    </a:lnTo>
                    <a:lnTo>
                      <a:pt x="676" y="186"/>
                    </a:lnTo>
                    <a:lnTo>
                      <a:pt x="676" y="186"/>
                    </a:lnTo>
                    <a:lnTo>
                      <a:pt x="676" y="186"/>
                    </a:lnTo>
                    <a:lnTo>
                      <a:pt x="674" y="186"/>
                    </a:lnTo>
                    <a:lnTo>
                      <a:pt x="674" y="186"/>
                    </a:lnTo>
                    <a:lnTo>
                      <a:pt x="672" y="186"/>
                    </a:lnTo>
                    <a:lnTo>
                      <a:pt x="670" y="184"/>
                    </a:lnTo>
                    <a:lnTo>
                      <a:pt x="670" y="184"/>
                    </a:lnTo>
                    <a:lnTo>
                      <a:pt x="668" y="182"/>
                    </a:lnTo>
                    <a:lnTo>
                      <a:pt x="666" y="178"/>
                    </a:lnTo>
                    <a:lnTo>
                      <a:pt x="662" y="174"/>
                    </a:lnTo>
                    <a:lnTo>
                      <a:pt x="660" y="170"/>
                    </a:lnTo>
                    <a:lnTo>
                      <a:pt x="658" y="168"/>
                    </a:lnTo>
                    <a:lnTo>
                      <a:pt x="658" y="168"/>
                    </a:lnTo>
                    <a:lnTo>
                      <a:pt x="656" y="166"/>
                    </a:lnTo>
                    <a:lnTo>
                      <a:pt x="656" y="164"/>
                    </a:lnTo>
                    <a:lnTo>
                      <a:pt x="654" y="164"/>
                    </a:lnTo>
                    <a:lnTo>
                      <a:pt x="654" y="164"/>
                    </a:lnTo>
                    <a:lnTo>
                      <a:pt x="650" y="164"/>
                    </a:lnTo>
                    <a:lnTo>
                      <a:pt x="648" y="162"/>
                    </a:lnTo>
                    <a:lnTo>
                      <a:pt x="644" y="162"/>
                    </a:lnTo>
                    <a:lnTo>
                      <a:pt x="642" y="162"/>
                    </a:lnTo>
                    <a:lnTo>
                      <a:pt x="638" y="160"/>
                    </a:lnTo>
                    <a:lnTo>
                      <a:pt x="636" y="160"/>
                    </a:lnTo>
                    <a:lnTo>
                      <a:pt x="634" y="160"/>
                    </a:lnTo>
                    <a:lnTo>
                      <a:pt x="634" y="158"/>
                    </a:lnTo>
                    <a:lnTo>
                      <a:pt x="634" y="158"/>
                    </a:lnTo>
                    <a:lnTo>
                      <a:pt x="632" y="158"/>
                    </a:lnTo>
                    <a:lnTo>
                      <a:pt x="632" y="156"/>
                    </a:lnTo>
                    <a:lnTo>
                      <a:pt x="630" y="154"/>
                    </a:lnTo>
                    <a:lnTo>
                      <a:pt x="628" y="152"/>
                    </a:lnTo>
                    <a:lnTo>
                      <a:pt x="628" y="150"/>
                    </a:lnTo>
                    <a:lnTo>
                      <a:pt x="626" y="148"/>
                    </a:lnTo>
                    <a:lnTo>
                      <a:pt x="626" y="146"/>
                    </a:lnTo>
                    <a:lnTo>
                      <a:pt x="626" y="146"/>
                    </a:lnTo>
                    <a:lnTo>
                      <a:pt x="624" y="146"/>
                    </a:lnTo>
                    <a:lnTo>
                      <a:pt x="624" y="144"/>
                    </a:lnTo>
                    <a:lnTo>
                      <a:pt x="622" y="144"/>
                    </a:lnTo>
                    <a:lnTo>
                      <a:pt x="620" y="144"/>
                    </a:lnTo>
                    <a:lnTo>
                      <a:pt x="620" y="144"/>
                    </a:lnTo>
                    <a:lnTo>
                      <a:pt x="618" y="144"/>
                    </a:lnTo>
                    <a:lnTo>
                      <a:pt x="616" y="144"/>
                    </a:lnTo>
                    <a:lnTo>
                      <a:pt x="614" y="144"/>
                    </a:lnTo>
                    <a:lnTo>
                      <a:pt x="612" y="146"/>
                    </a:lnTo>
                    <a:lnTo>
                      <a:pt x="612" y="146"/>
                    </a:lnTo>
                    <a:lnTo>
                      <a:pt x="610" y="146"/>
                    </a:lnTo>
                    <a:lnTo>
                      <a:pt x="610" y="148"/>
                    </a:lnTo>
                    <a:lnTo>
                      <a:pt x="608" y="150"/>
                    </a:lnTo>
                    <a:lnTo>
                      <a:pt x="608" y="152"/>
                    </a:lnTo>
                    <a:lnTo>
                      <a:pt x="606" y="154"/>
                    </a:lnTo>
                    <a:lnTo>
                      <a:pt x="606" y="156"/>
                    </a:lnTo>
                    <a:lnTo>
                      <a:pt x="604" y="158"/>
                    </a:lnTo>
                    <a:lnTo>
                      <a:pt x="604" y="160"/>
                    </a:lnTo>
                    <a:lnTo>
                      <a:pt x="604" y="162"/>
                    </a:lnTo>
                    <a:lnTo>
                      <a:pt x="606" y="164"/>
                    </a:lnTo>
                    <a:lnTo>
                      <a:pt x="606" y="164"/>
                    </a:lnTo>
                    <a:lnTo>
                      <a:pt x="606" y="166"/>
                    </a:lnTo>
                    <a:lnTo>
                      <a:pt x="608" y="166"/>
                    </a:lnTo>
                    <a:lnTo>
                      <a:pt x="610" y="170"/>
                    </a:lnTo>
                    <a:lnTo>
                      <a:pt x="610" y="170"/>
                    </a:lnTo>
                    <a:lnTo>
                      <a:pt x="612" y="172"/>
                    </a:lnTo>
                    <a:lnTo>
                      <a:pt x="612" y="174"/>
                    </a:lnTo>
                    <a:lnTo>
                      <a:pt x="612" y="176"/>
                    </a:lnTo>
                    <a:lnTo>
                      <a:pt x="612" y="178"/>
                    </a:lnTo>
                    <a:lnTo>
                      <a:pt x="614" y="178"/>
                    </a:lnTo>
                    <a:lnTo>
                      <a:pt x="612" y="180"/>
                    </a:lnTo>
                    <a:lnTo>
                      <a:pt x="612" y="180"/>
                    </a:lnTo>
                    <a:lnTo>
                      <a:pt x="612" y="180"/>
                    </a:lnTo>
                    <a:lnTo>
                      <a:pt x="612" y="180"/>
                    </a:lnTo>
                    <a:lnTo>
                      <a:pt x="610" y="180"/>
                    </a:lnTo>
                    <a:lnTo>
                      <a:pt x="610" y="180"/>
                    </a:lnTo>
                    <a:lnTo>
                      <a:pt x="608" y="180"/>
                    </a:lnTo>
                    <a:lnTo>
                      <a:pt x="608" y="180"/>
                    </a:lnTo>
                    <a:lnTo>
                      <a:pt x="606" y="180"/>
                    </a:lnTo>
                    <a:lnTo>
                      <a:pt x="604" y="178"/>
                    </a:lnTo>
                    <a:lnTo>
                      <a:pt x="602" y="178"/>
                    </a:lnTo>
                    <a:lnTo>
                      <a:pt x="598" y="176"/>
                    </a:lnTo>
                    <a:lnTo>
                      <a:pt x="594" y="174"/>
                    </a:lnTo>
                    <a:lnTo>
                      <a:pt x="592" y="172"/>
                    </a:lnTo>
                    <a:lnTo>
                      <a:pt x="590" y="170"/>
                    </a:lnTo>
                    <a:lnTo>
                      <a:pt x="588" y="170"/>
                    </a:lnTo>
                    <a:lnTo>
                      <a:pt x="586" y="168"/>
                    </a:lnTo>
                    <a:lnTo>
                      <a:pt x="582" y="164"/>
                    </a:lnTo>
                    <a:lnTo>
                      <a:pt x="580" y="162"/>
                    </a:lnTo>
                    <a:lnTo>
                      <a:pt x="578" y="160"/>
                    </a:lnTo>
                    <a:lnTo>
                      <a:pt x="578" y="160"/>
                    </a:lnTo>
                    <a:lnTo>
                      <a:pt x="578" y="158"/>
                    </a:lnTo>
                    <a:lnTo>
                      <a:pt x="576" y="158"/>
                    </a:lnTo>
                    <a:lnTo>
                      <a:pt x="576" y="156"/>
                    </a:lnTo>
                    <a:lnTo>
                      <a:pt x="576" y="154"/>
                    </a:lnTo>
                    <a:lnTo>
                      <a:pt x="576" y="152"/>
                    </a:lnTo>
                    <a:lnTo>
                      <a:pt x="576" y="150"/>
                    </a:lnTo>
                    <a:lnTo>
                      <a:pt x="576" y="144"/>
                    </a:lnTo>
                    <a:lnTo>
                      <a:pt x="576" y="142"/>
                    </a:lnTo>
                    <a:lnTo>
                      <a:pt x="574" y="140"/>
                    </a:lnTo>
                    <a:lnTo>
                      <a:pt x="574" y="140"/>
                    </a:lnTo>
                    <a:lnTo>
                      <a:pt x="574" y="136"/>
                    </a:lnTo>
                    <a:lnTo>
                      <a:pt x="572" y="134"/>
                    </a:lnTo>
                    <a:lnTo>
                      <a:pt x="572" y="134"/>
                    </a:lnTo>
                    <a:lnTo>
                      <a:pt x="570" y="132"/>
                    </a:lnTo>
                    <a:lnTo>
                      <a:pt x="570" y="130"/>
                    </a:lnTo>
                    <a:lnTo>
                      <a:pt x="568" y="130"/>
                    </a:lnTo>
                    <a:lnTo>
                      <a:pt x="568" y="128"/>
                    </a:lnTo>
                    <a:lnTo>
                      <a:pt x="568" y="128"/>
                    </a:lnTo>
                    <a:lnTo>
                      <a:pt x="566" y="128"/>
                    </a:lnTo>
                    <a:lnTo>
                      <a:pt x="566" y="128"/>
                    </a:lnTo>
                    <a:lnTo>
                      <a:pt x="566" y="128"/>
                    </a:lnTo>
                    <a:lnTo>
                      <a:pt x="564" y="130"/>
                    </a:lnTo>
                    <a:lnTo>
                      <a:pt x="564" y="130"/>
                    </a:lnTo>
                    <a:lnTo>
                      <a:pt x="564" y="130"/>
                    </a:lnTo>
                    <a:lnTo>
                      <a:pt x="562" y="132"/>
                    </a:lnTo>
                    <a:lnTo>
                      <a:pt x="560" y="134"/>
                    </a:lnTo>
                    <a:lnTo>
                      <a:pt x="560" y="136"/>
                    </a:lnTo>
                    <a:lnTo>
                      <a:pt x="558" y="138"/>
                    </a:lnTo>
                    <a:lnTo>
                      <a:pt x="558" y="138"/>
                    </a:lnTo>
                    <a:lnTo>
                      <a:pt x="558" y="140"/>
                    </a:lnTo>
                    <a:lnTo>
                      <a:pt x="558" y="140"/>
                    </a:lnTo>
                    <a:lnTo>
                      <a:pt x="558" y="142"/>
                    </a:lnTo>
                    <a:lnTo>
                      <a:pt x="558" y="144"/>
                    </a:lnTo>
                    <a:lnTo>
                      <a:pt x="558" y="146"/>
                    </a:lnTo>
                    <a:lnTo>
                      <a:pt x="560" y="150"/>
                    </a:lnTo>
                    <a:lnTo>
                      <a:pt x="560" y="152"/>
                    </a:lnTo>
                    <a:lnTo>
                      <a:pt x="560" y="154"/>
                    </a:lnTo>
                    <a:lnTo>
                      <a:pt x="560" y="154"/>
                    </a:lnTo>
                    <a:lnTo>
                      <a:pt x="560" y="156"/>
                    </a:lnTo>
                    <a:lnTo>
                      <a:pt x="560" y="158"/>
                    </a:lnTo>
                    <a:lnTo>
                      <a:pt x="558" y="162"/>
                    </a:lnTo>
                    <a:lnTo>
                      <a:pt x="558" y="162"/>
                    </a:lnTo>
                    <a:lnTo>
                      <a:pt x="558" y="164"/>
                    </a:lnTo>
                    <a:lnTo>
                      <a:pt x="558" y="166"/>
                    </a:lnTo>
                    <a:lnTo>
                      <a:pt x="558" y="170"/>
                    </a:lnTo>
                    <a:lnTo>
                      <a:pt x="558" y="170"/>
                    </a:lnTo>
                    <a:lnTo>
                      <a:pt x="560" y="172"/>
                    </a:lnTo>
                    <a:lnTo>
                      <a:pt x="560" y="172"/>
                    </a:lnTo>
                    <a:lnTo>
                      <a:pt x="560" y="174"/>
                    </a:lnTo>
                    <a:lnTo>
                      <a:pt x="562" y="174"/>
                    </a:lnTo>
                    <a:lnTo>
                      <a:pt x="562" y="174"/>
                    </a:lnTo>
                    <a:lnTo>
                      <a:pt x="564" y="176"/>
                    </a:lnTo>
                    <a:lnTo>
                      <a:pt x="566" y="176"/>
                    </a:lnTo>
                    <a:lnTo>
                      <a:pt x="568" y="176"/>
                    </a:lnTo>
                    <a:lnTo>
                      <a:pt x="568" y="176"/>
                    </a:lnTo>
                    <a:lnTo>
                      <a:pt x="570" y="178"/>
                    </a:lnTo>
                    <a:lnTo>
                      <a:pt x="570" y="178"/>
                    </a:lnTo>
                    <a:lnTo>
                      <a:pt x="570" y="180"/>
                    </a:lnTo>
                    <a:lnTo>
                      <a:pt x="570" y="182"/>
                    </a:lnTo>
                    <a:lnTo>
                      <a:pt x="570" y="184"/>
                    </a:lnTo>
                    <a:lnTo>
                      <a:pt x="570" y="186"/>
                    </a:lnTo>
                    <a:lnTo>
                      <a:pt x="570" y="190"/>
                    </a:lnTo>
                    <a:lnTo>
                      <a:pt x="570" y="198"/>
                    </a:lnTo>
                    <a:lnTo>
                      <a:pt x="570" y="202"/>
                    </a:lnTo>
                    <a:lnTo>
                      <a:pt x="570" y="204"/>
                    </a:lnTo>
                    <a:lnTo>
                      <a:pt x="570" y="208"/>
                    </a:lnTo>
                    <a:lnTo>
                      <a:pt x="572" y="212"/>
                    </a:lnTo>
                    <a:lnTo>
                      <a:pt x="572" y="214"/>
                    </a:lnTo>
                    <a:lnTo>
                      <a:pt x="572" y="216"/>
                    </a:lnTo>
                    <a:lnTo>
                      <a:pt x="572" y="216"/>
                    </a:lnTo>
                    <a:lnTo>
                      <a:pt x="572" y="218"/>
                    </a:lnTo>
                    <a:lnTo>
                      <a:pt x="574" y="218"/>
                    </a:lnTo>
                    <a:lnTo>
                      <a:pt x="574" y="218"/>
                    </a:lnTo>
                    <a:lnTo>
                      <a:pt x="576" y="220"/>
                    </a:lnTo>
                    <a:lnTo>
                      <a:pt x="578" y="220"/>
                    </a:lnTo>
                    <a:lnTo>
                      <a:pt x="580" y="220"/>
                    </a:lnTo>
                    <a:lnTo>
                      <a:pt x="582" y="222"/>
                    </a:lnTo>
                    <a:lnTo>
                      <a:pt x="586" y="222"/>
                    </a:lnTo>
                    <a:lnTo>
                      <a:pt x="588" y="222"/>
                    </a:lnTo>
                    <a:lnTo>
                      <a:pt x="590" y="222"/>
                    </a:lnTo>
                    <a:lnTo>
                      <a:pt x="590" y="222"/>
                    </a:lnTo>
                    <a:lnTo>
                      <a:pt x="592" y="220"/>
                    </a:lnTo>
                    <a:lnTo>
                      <a:pt x="592" y="220"/>
                    </a:lnTo>
                    <a:lnTo>
                      <a:pt x="592" y="220"/>
                    </a:lnTo>
                    <a:lnTo>
                      <a:pt x="592" y="220"/>
                    </a:lnTo>
                    <a:lnTo>
                      <a:pt x="592" y="218"/>
                    </a:lnTo>
                    <a:lnTo>
                      <a:pt x="594" y="218"/>
                    </a:lnTo>
                    <a:lnTo>
                      <a:pt x="594" y="216"/>
                    </a:lnTo>
                    <a:lnTo>
                      <a:pt x="594" y="216"/>
                    </a:lnTo>
                    <a:lnTo>
                      <a:pt x="594" y="214"/>
                    </a:lnTo>
                    <a:lnTo>
                      <a:pt x="594" y="214"/>
                    </a:lnTo>
                    <a:lnTo>
                      <a:pt x="594" y="214"/>
                    </a:lnTo>
                    <a:lnTo>
                      <a:pt x="594" y="212"/>
                    </a:lnTo>
                    <a:lnTo>
                      <a:pt x="596" y="212"/>
                    </a:lnTo>
                    <a:lnTo>
                      <a:pt x="596" y="212"/>
                    </a:lnTo>
                    <a:lnTo>
                      <a:pt x="598" y="212"/>
                    </a:lnTo>
                    <a:lnTo>
                      <a:pt x="598" y="212"/>
                    </a:lnTo>
                    <a:lnTo>
                      <a:pt x="600" y="214"/>
                    </a:lnTo>
                    <a:lnTo>
                      <a:pt x="602" y="214"/>
                    </a:lnTo>
                    <a:lnTo>
                      <a:pt x="606" y="216"/>
                    </a:lnTo>
                    <a:lnTo>
                      <a:pt x="608" y="218"/>
                    </a:lnTo>
                    <a:lnTo>
                      <a:pt x="608" y="218"/>
                    </a:lnTo>
                    <a:lnTo>
                      <a:pt x="614" y="220"/>
                    </a:lnTo>
                    <a:lnTo>
                      <a:pt x="616" y="220"/>
                    </a:lnTo>
                    <a:lnTo>
                      <a:pt x="616" y="222"/>
                    </a:lnTo>
                    <a:lnTo>
                      <a:pt x="618" y="222"/>
                    </a:lnTo>
                    <a:lnTo>
                      <a:pt x="618" y="222"/>
                    </a:lnTo>
                    <a:lnTo>
                      <a:pt x="620" y="224"/>
                    </a:lnTo>
                    <a:lnTo>
                      <a:pt x="620" y="226"/>
                    </a:lnTo>
                    <a:lnTo>
                      <a:pt x="622" y="228"/>
                    </a:lnTo>
                    <a:lnTo>
                      <a:pt x="624" y="230"/>
                    </a:lnTo>
                    <a:lnTo>
                      <a:pt x="624" y="232"/>
                    </a:lnTo>
                    <a:lnTo>
                      <a:pt x="624" y="234"/>
                    </a:lnTo>
                    <a:lnTo>
                      <a:pt x="626" y="238"/>
                    </a:lnTo>
                    <a:lnTo>
                      <a:pt x="626" y="240"/>
                    </a:lnTo>
                    <a:lnTo>
                      <a:pt x="626" y="242"/>
                    </a:lnTo>
                    <a:lnTo>
                      <a:pt x="626" y="242"/>
                    </a:lnTo>
                    <a:lnTo>
                      <a:pt x="628" y="244"/>
                    </a:lnTo>
                    <a:lnTo>
                      <a:pt x="628" y="246"/>
                    </a:lnTo>
                    <a:lnTo>
                      <a:pt x="628" y="246"/>
                    </a:lnTo>
                    <a:lnTo>
                      <a:pt x="630" y="248"/>
                    </a:lnTo>
                    <a:lnTo>
                      <a:pt x="634" y="250"/>
                    </a:lnTo>
                    <a:lnTo>
                      <a:pt x="636" y="250"/>
                    </a:lnTo>
                    <a:lnTo>
                      <a:pt x="636" y="252"/>
                    </a:lnTo>
                    <a:lnTo>
                      <a:pt x="636" y="252"/>
                    </a:lnTo>
                    <a:lnTo>
                      <a:pt x="640" y="252"/>
                    </a:lnTo>
                    <a:lnTo>
                      <a:pt x="642" y="254"/>
                    </a:lnTo>
                    <a:lnTo>
                      <a:pt x="642" y="254"/>
                    </a:lnTo>
                    <a:lnTo>
                      <a:pt x="644" y="254"/>
                    </a:lnTo>
                    <a:lnTo>
                      <a:pt x="644" y="256"/>
                    </a:lnTo>
                    <a:lnTo>
                      <a:pt x="644" y="256"/>
                    </a:lnTo>
                    <a:lnTo>
                      <a:pt x="644" y="258"/>
                    </a:lnTo>
                    <a:lnTo>
                      <a:pt x="644" y="260"/>
                    </a:lnTo>
                    <a:lnTo>
                      <a:pt x="646" y="262"/>
                    </a:lnTo>
                    <a:lnTo>
                      <a:pt x="646" y="262"/>
                    </a:lnTo>
                    <a:lnTo>
                      <a:pt x="644" y="264"/>
                    </a:lnTo>
                    <a:lnTo>
                      <a:pt x="644" y="266"/>
                    </a:lnTo>
                    <a:lnTo>
                      <a:pt x="644" y="266"/>
                    </a:lnTo>
                    <a:lnTo>
                      <a:pt x="644" y="266"/>
                    </a:lnTo>
                    <a:lnTo>
                      <a:pt x="644" y="266"/>
                    </a:lnTo>
                    <a:lnTo>
                      <a:pt x="642" y="266"/>
                    </a:lnTo>
                    <a:lnTo>
                      <a:pt x="642" y="266"/>
                    </a:lnTo>
                    <a:lnTo>
                      <a:pt x="640" y="266"/>
                    </a:lnTo>
                    <a:lnTo>
                      <a:pt x="640" y="264"/>
                    </a:lnTo>
                    <a:lnTo>
                      <a:pt x="638" y="264"/>
                    </a:lnTo>
                    <a:lnTo>
                      <a:pt x="636" y="262"/>
                    </a:lnTo>
                    <a:lnTo>
                      <a:pt x="634" y="260"/>
                    </a:lnTo>
                    <a:lnTo>
                      <a:pt x="632" y="258"/>
                    </a:lnTo>
                    <a:lnTo>
                      <a:pt x="630" y="258"/>
                    </a:lnTo>
                    <a:lnTo>
                      <a:pt x="628" y="256"/>
                    </a:lnTo>
                    <a:lnTo>
                      <a:pt x="626" y="252"/>
                    </a:lnTo>
                    <a:lnTo>
                      <a:pt x="624" y="250"/>
                    </a:lnTo>
                    <a:lnTo>
                      <a:pt x="622" y="248"/>
                    </a:lnTo>
                    <a:lnTo>
                      <a:pt x="622" y="246"/>
                    </a:lnTo>
                    <a:lnTo>
                      <a:pt x="618" y="244"/>
                    </a:lnTo>
                    <a:lnTo>
                      <a:pt x="614" y="240"/>
                    </a:lnTo>
                    <a:lnTo>
                      <a:pt x="612" y="238"/>
                    </a:lnTo>
                    <a:lnTo>
                      <a:pt x="610" y="238"/>
                    </a:lnTo>
                    <a:lnTo>
                      <a:pt x="608" y="236"/>
                    </a:lnTo>
                    <a:lnTo>
                      <a:pt x="606" y="236"/>
                    </a:lnTo>
                    <a:lnTo>
                      <a:pt x="604" y="236"/>
                    </a:lnTo>
                    <a:lnTo>
                      <a:pt x="602" y="234"/>
                    </a:lnTo>
                    <a:lnTo>
                      <a:pt x="600" y="234"/>
                    </a:lnTo>
                    <a:lnTo>
                      <a:pt x="598" y="234"/>
                    </a:lnTo>
                    <a:lnTo>
                      <a:pt x="596" y="234"/>
                    </a:lnTo>
                    <a:lnTo>
                      <a:pt x="594" y="234"/>
                    </a:lnTo>
                    <a:lnTo>
                      <a:pt x="592" y="234"/>
                    </a:lnTo>
                    <a:lnTo>
                      <a:pt x="592" y="236"/>
                    </a:lnTo>
                    <a:lnTo>
                      <a:pt x="592" y="236"/>
                    </a:lnTo>
                    <a:lnTo>
                      <a:pt x="590" y="236"/>
                    </a:lnTo>
                    <a:lnTo>
                      <a:pt x="590" y="236"/>
                    </a:lnTo>
                    <a:lnTo>
                      <a:pt x="590" y="238"/>
                    </a:lnTo>
                    <a:lnTo>
                      <a:pt x="588" y="240"/>
                    </a:lnTo>
                    <a:lnTo>
                      <a:pt x="588" y="244"/>
                    </a:lnTo>
                    <a:lnTo>
                      <a:pt x="586" y="246"/>
                    </a:lnTo>
                    <a:lnTo>
                      <a:pt x="586" y="250"/>
                    </a:lnTo>
                    <a:lnTo>
                      <a:pt x="586" y="252"/>
                    </a:lnTo>
                    <a:lnTo>
                      <a:pt x="584" y="256"/>
                    </a:lnTo>
                    <a:lnTo>
                      <a:pt x="582" y="260"/>
                    </a:lnTo>
                    <a:lnTo>
                      <a:pt x="578" y="268"/>
                    </a:lnTo>
                    <a:lnTo>
                      <a:pt x="576" y="272"/>
                    </a:lnTo>
                    <a:lnTo>
                      <a:pt x="574" y="278"/>
                    </a:lnTo>
                    <a:lnTo>
                      <a:pt x="572" y="280"/>
                    </a:lnTo>
                    <a:lnTo>
                      <a:pt x="572" y="284"/>
                    </a:lnTo>
                    <a:lnTo>
                      <a:pt x="570" y="286"/>
                    </a:lnTo>
                    <a:lnTo>
                      <a:pt x="570" y="286"/>
                    </a:lnTo>
                    <a:lnTo>
                      <a:pt x="568" y="288"/>
                    </a:lnTo>
                    <a:lnTo>
                      <a:pt x="566" y="288"/>
                    </a:lnTo>
                    <a:lnTo>
                      <a:pt x="564" y="290"/>
                    </a:lnTo>
                    <a:lnTo>
                      <a:pt x="562" y="290"/>
                    </a:lnTo>
                    <a:lnTo>
                      <a:pt x="560" y="292"/>
                    </a:lnTo>
                    <a:lnTo>
                      <a:pt x="558" y="292"/>
                    </a:lnTo>
                    <a:lnTo>
                      <a:pt x="556" y="292"/>
                    </a:lnTo>
                    <a:lnTo>
                      <a:pt x="554" y="294"/>
                    </a:lnTo>
                    <a:lnTo>
                      <a:pt x="552" y="294"/>
                    </a:lnTo>
                    <a:lnTo>
                      <a:pt x="550" y="294"/>
                    </a:lnTo>
                    <a:lnTo>
                      <a:pt x="546" y="294"/>
                    </a:lnTo>
                    <a:lnTo>
                      <a:pt x="542" y="292"/>
                    </a:lnTo>
                    <a:lnTo>
                      <a:pt x="538" y="292"/>
                    </a:lnTo>
                    <a:lnTo>
                      <a:pt x="536" y="290"/>
                    </a:lnTo>
                    <a:lnTo>
                      <a:pt x="534" y="290"/>
                    </a:lnTo>
                    <a:lnTo>
                      <a:pt x="532" y="290"/>
                    </a:lnTo>
                    <a:lnTo>
                      <a:pt x="530" y="288"/>
                    </a:lnTo>
                    <a:lnTo>
                      <a:pt x="530" y="288"/>
                    </a:lnTo>
                    <a:lnTo>
                      <a:pt x="528" y="286"/>
                    </a:lnTo>
                    <a:lnTo>
                      <a:pt x="528" y="286"/>
                    </a:lnTo>
                    <a:lnTo>
                      <a:pt x="528" y="286"/>
                    </a:lnTo>
                    <a:lnTo>
                      <a:pt x="528" y="284"/>
                    </a:lnTo>
                    <a:lnTo>
                      <a:pt x="528" y="284"/>
                    </a:lnTo>
                    <a:lnTo>
                      <a:pt x="528" y="282"/>
                    </a:lnTo>
                    <a:lnTo>
                      <a:pt x="528" y="282"/>
                    </a:lnTo>
                    <a:lnTo>
                      <a:pt x="530" y="280"/>
                    </a:lnTo>
                    <a:lnTo>
                      <a:pt x="530" y="278"/>
                    </a:lnTo>
                    <a:lnTo>
                      <a:pt x="532" y="278"/>
                    </a:lnTo>
                    <a:lnTo>
                      <a:pt x="532" y="278"/>
                    </a:lnTo>
                    <a:lnTo>
                      <a:pt x="532" y="276"/>
                    </a:lnTo>
                    <a:lnTo>
                      <a:pt x="534" y="276"/>
                    </a:lnTo>
                    <a:lnTo>
                      <a:pt x="534" y="276"/>
                    </a:lnTo>
                    <a:lnTo>
                      <a:pt x="536" y="274"/>
                    </a:lnTo>
                    <a:lnTo>
                      <a:pt x="540" y="274"/>
                    </a:lnTo>
                    <a:lnTo>
                      <a:pt x="544" y="274"/>
                    </a:lnTo>
                    <a:lnTo>
                      <a:pt x="546" y="272"/>
                    </a:lnTo>
                    <a:lnTo>
                      <a:pt x="546" y="272"/>
                    </a:lnTo>
                    <a:lnTo>
                      <a:pt x="550" y="270"/>
                    </a:lnTo>
                    <a:lnTo>
                      <a:pt x="554" y="268"/>
                    </a:lnTo>
                    <a:lnTo>
                      <a:pt x="556" y="268"/>
                    </a:lnTo>
                    <a:lnTo>
                      <a:pt x="558" y="266"/>
                    </a:lnTo>
                    <a:lnTo>
                      <a:pt x="560" y="266"/>
                    </a:lnTo>
                    <a:lnTo>
                      <a:pt x="560" y="264"/>
                    </a:lnTo>
                    <a:lnTo>
                      <a:pt x="562" y="264"/>
                    </a:lnTo>
                    <a:lnTo>
                      <a:pt x="562" y="262"/>
                    </a:lnTo>
                    <a:lnTo>
                      <a:pt x="564" y="260"/>
                    </a:lnTo>
                    <a:lnTo>
                      <a:pt x="564" y="256"/>
                    </a:lnTo>
                    <a:lnTo>
                      <a:pt x="564" y="254"/>
                    </a:lnTo>
                    <a:lnTo>
                      <a:pt x="566" y="252"/>
                    </a:lnTo>
                    <a:lnTo>
                      <a:pt x="566" y="250"/>
                    </a:lnTo>
                    <a:lnTo>
                      <a:pt x="566" y="248"/>
                    </a:lnTo>
                    <a:lnTo>
                      <a:pt x="566" y="248"/>
                    </a:lnTo>
                    <a:lnTo>
                      <a:pt x="566" y="246"/>
                    </a:lnTo>
                    <a:lnTo>
                      <a:pt x="564" y="244"/>
                    </a:lnTo>
                    <a:lnTo>
                      <a:pt x="564" y="240"/>
                    </a:lnTo>
                    <a:lnTo>
                      <a:pt x="562" y="236"/>
                    </a:lnTo>
                    <a:lnTo>
                      <a:pt x="560" y="230"/>
                    </a:lnTo>
                    <a:lnTo>
                      <a:pt x="558" y="226"/>
                    </a:lnTo>
                    <a:lnTo>
                      <a:pt x="556" y="218"/>
                    </a:lnTo>
                    <a:lnTo>
                      <a:pt x="554" y="214"/>
                    </a:lnTo>
                    <a:lnTo>
                      <a:pt x="554" y="214"/>
                    </a:lnTo>
                    <a:lnTo>
                      <a:pt x="554" y="212"/>
                    </a:lnTo>
                    <a:lnTo>
                      <a:pt x="554" y="210"/>
                    </a:lnTo>
                    <a:lnTo>
                      <a:pt x="552" y="208"/>
                    </a:lnTo>
                    <a:lnTo>
                      <a:pt x="554" y="206"/>
                    </a:lnTo>
                    <a:lnTo>
                      <a:pt x="554" y="202"/>
                    </a:lnTo>
                    <a:lnTo>
                      <a:pt x="554" y="202"/>
                    </a:lnTo>
                    <a:lnTo>
                      <a:pt x="554" y="200"/>
                    </a:lnTo>
                    <a:lnTo>
                      <a:pt x="552" y="198"/>
                    </a:lnTo>
                    <a:lnTo>
                      <a:pt x="552" y="198"/>
                    </a:lnTo>
                    <a:lnTo>
                      <a:pt x="550" y="194"/>
                    </a:lnTo>
                    <a:lnTo>
                      <a:pt x="550" y="190"/>
                    </a:lnTo>
                    <a:lnTo>
                      <a:pt x="548" y="186"/>
                    </a:lnTo>
                    <a:lnTo>
                      <a:pt x="548" y="182"/>
                    </a:lnTo>
                    <a:lnTo>
                      <a:pt x="546" y="178"/>
                    </a:lnTo>
                    <a:lnTo>
                      <a:pt x="544" y="168"/>
                    </a:lnTo>
                    <a:lnTo>
                      <a:pt x="542" y="156"/>
                    </a:lnTo>
                    <a:lnTo>
                      <a:pt x="538" y="144"/>
                    </a:lnTo>
                    <a:lnTo>
                      <a:pt x="536" y="140"/>
                    </a:lnTo>
                    <a:lnTo>
                      <a:pt x="536" y="134"/>
                    </a:lnTo>
                    <a:lnTo>
                      <a:pt x="536" y="132"/>
                    </a:lnTo>
                    <a:lnTo>
                      <a:pt x="534" y="128"/>
                    </a:lnTo>
                    <a:lnTo>
                      <a:pt x="534" y="126"/>
                    </a:lnTo>
                    <a:lnTo>
                      <a:pt x="532" y="124"/>
                    </a:lnTo>
                    <a:lnTo>
                      <a:pt x="532" y="122"/>
                    </a:lnTo>
                    <a:lnTo>
                      <a:pt x="530" y="120"/>
                    </a:lnTo>
                    <a:lnTo>
                      <a:pt x="530" y="118"/>
                    </a:lnTo>
                    <a:lnTo>
                      <a:pt x="528" y="116"/>
                    </a:lnTo>
                    <a:lnTo>
                      <a:pt x="526" y="114"/>
                    </a:lnTo>
                    <a:lnTo>
                      <a:pt x="524" y="112"/>
                    </a:lnTo>
                    <a:lnTo>
                      <a:pt x="522" y="110"/>
                    </a:lnTo>
                    <a:lnTo>
                      <a:pt x="522" y="110"/>
                    </a:lnTo>
                    <a:lnTo>
                      <a:pt x="520" y="110"/>
                    </a:lnTo>
                    <a:lnTo>
                      <a:pt x="520" y="110"/>
                    </a:lnTo>
                    <a:lnTo>
                      <a:pt x="518" y="110"/>
                    </a:lnTo>
                    <a:lnTo>
                      <a:pt x="516" y="108"/>
                    </a:lnTo>
                    <a:lnTo>
                      <a:pt x="514" y="108"/>
                    </a:lnTo>
                    <a:lnTo>
                      <a:pt x="510" y="110"/>
                    </a:lnTo>
                    <a:lnTo>
                      <a:pt x="508" y="110"/>
                    </a:lnTo>
                    <a:lnTo>
                      <a:pt x="506" y="110"/>
                    </a:lnTo>
                    <a:lnTo>
                      <a:pt x="504" y="112"/>
                    </a:lnTo>
                    <a:lnTo>
                      <a:pt x="502" y="112"/>
                    </a:lnTo>
                    <a:lnTo>
                      <a:pt x="502" y="112"/>
                    </a:lnTo>
                    <a:lnTo>
                      <a:pt x="500" y="112"/>
                    </a:lnTo>
                    <a:lnTo>
                      <a:pt x="500" y="114"/>
                    </a:lnTo>
                    <a:lnTo>
                      <a:pt x="498" y="116"/>
                    </a:lnTo>
                    <a:lnTo>
                      <a:pt x="498" y="116"/>
                    </a:lnTo>
                    <a:lnTo>
                      <a:pt x="496" y="120"/>
                    </a:lnTo>
                    <a:lnTo>
                      <a:pt x="496" y="124"/>
                    </a:lnTo>
                    <a:lnTo>
                      <a:pt x="494" y="126"/>
                    </a:lnTo>
                    <a:lnTo>
                      <a:pt x="492" y="130"/>
                    </a:lnTo>
                    <a:lnTo>
                      <a:pt x="492" y="136"/>
                    </a:lnTo>
                    <a:lnTo>
                      <a:pt x="492" y="138"/>
                    </a:lnTo>
                    <a:lnTo>
                      <a:pt x="492" y="138"/>
                    </a:lnTo>
                    <a:lnTo>
                      <a:pt x="490" y="142"/>
                    </a:lnTo>
                    <a:lnTo>
                      <a:pt x="490" y="148"/>
                    </a:lnTo>
                    <a:lnTo>
                      <a:pt x="490" y="152"/>
                    </a:lnTo>
                    <a:lnTo>
                      <a:pt x="490" y="156"/>
                    </a:lnTo>
                    <a:lnTo>
                      <a:pt x="490" y="158"/>
                    </a:lnTo>
                    <a:lnTo>
                      <a:pt x="488" y="158"/>
                    </a:lnTo>
                    <a:lnTo>
                      <a:pt x="488" y="160"/>
                    </a:lnTo>
                    <a:lnTo>
                      <a:pt x="488" y="162"/>
                    </a:lnTo>
                    <a:lnTo>
                      <a:pt x="488" y="162"/>
                    </a:lnTo>
                    <a:lnTo>
                      <a:pt x="486" y="162"/>
                    </a:lnTo>
                    <a:lnTo>
                      <a:pt x="486" y="164"/>
                    </a:lnTo>
                    <a:lnTo>
                      <a:pt x="484" y="164"/>
                    </a:lnTo>
                    <a:lnTo>
                      <a:pt x="482" y="166"/>
                    </a:lnTo>
                    <a:lnTo>
                      <a:pt x="480" y="166"/>
                    </a:lnTo>
                    <a:lnTo>
                      <a:pt x="476" y="168"/>
                    </a:lnTo>
                    <a:lnTo>
                      <a:pt x="474" y="168"/>
                    </a:lnTo>
                    <a:lnTo>
                      <a:pt x="474" y="170"/>
                    </a:lnTo>
                    <a:lnTo>
                      <a:pt x="472" y="170"/>
                    </a:lnTo>
                    <a:lnTo>
                      <a:pt x="472" y="170"/>
                    </a:lnTo>
                    <a:lnTo>
                      <a:pt x="472" y="172"/>
                    </a:lnTo>
                    <a:lnTo>
                      <a:pt x="470" y="172"/>
                    </a:lnTo>
                    <a:lnTo>
                      <a:pt x="470" y="172"/>
                    </a:lnTo>
                    <a:lnTo>
                      <a:pt x="470" y="174"/>
                    </a:lnTo>
                    <a:lnTo>
                      <a:pt x="470" y="178"/>
                    </a:lnTo>
                    <a:lnTo>
                      <a:pt x="470" y="180"/>
                    </a:lnTo>
                    <a:lnTo>
                      <a:pt x="472" y="182"/>
                    </a:lnTo>
                    <a:lnTo>
                      <a:pt x="472" y="184"/>
                    </a:lnTo>
                    <a:lnTo>
                      <a:pt x="472" y="186"/>
                    </a:lnTo>
                    <a:lnTo>
                      <a:pt x="472" y="188"/>
                    </a:lnTo>
                    <a:lnTo>
                      <a:pt x="474" y="190"/>
                    </a:lnTo>
                    <a:lnTo>
                      <a:pt x="474" y="192"/>
                    </a:lnTo>
                    <a:lnTo>
                      <a:pt x="476" y="194"/>
                    </a:lnTo>
                    <a:lnTo>
                      <a:pt x="478" y="196"/>
                    </a:lnTo>
                    <a:lnTo>
                      <a:pt x="480" y="200"/>
                    </a:lnTo>
                    <a:lnTo>
                      <a:pt x="482" y="202"/>
                    </a:lnTo>
                    <a:lnTo>
                      <a:pt x="488" y="212"/>
                    </a:lnTo>
                    <a:lnTo>
                      <a:pt x="494" y="220"/>
                    </a:lnTo>
                    <a:lnTo>
                      <a:pt x="496" y="222"/>
                    </a:lnTo>
                    <a:lnTo>
                      <a:pt x="498" y="224"/>
                    </a:lnTo>
                    <a:lnTo>
                      <a:pt x="502" y="228"/>
                    </a:lnTo>
                    <a:lnTo>
                      <a:pt x="502" y="230"/>
                    </a:lnTo>
                    <a:lnTo>
                      <a:pt x="502" y="230"/>
                    </a:lnTo>
                    <a:lnTo>
                      <a:pt x="504" y="234"/>
                    </a:lnTo>
                    <a:lnTo>
                      <a:pt x="506" y="236"/>
                    </a:lnTo>
                    <a:lnTo>
                      <a:pt x="506" y="238"/>
                    </a:lnTo>
                    <a:lnTo>
                      <a:pt x="506" y="240"/>
                    </a:lnTo>
                    <a:lnTo>
                      <a:pt x="506" y="240"/>
                    </a:lnTo>
                    <a:lnTo>
                      <a:pt x="506" y="242"/>
                    </a:lnTo>
                    <a:lnTo>
                      <a:pt x="506" y="242"/>
                    </a:lnTo>
                    <a:lnTo>
                      <a:pt x="506" y="242"/>
                    </a:lnTo>
                    <a:lnTo>
                      <a:pt x="506" y="244"/>
                    </a:lnTo>
                    <a:lnTo>
                      <a:pt x="504" y="244"/>
                    </a:lnTo>
                    <a:lnTo>
                      <a:pt x="502" y="246"/>
                    </a:lnTo>
                    <a:lnTo>
                      <a:pt x="500" y="246"/>
                    </a:lnTo>
                    <a:lnTo>
                      <a:pt x="498" y="246"/>
                    </a:lnTo>
                    <a:lnTo>
                      <a:pt x="496" y="248"/>
                    </a:lnTo>
                    <a:lnTo>
                      <a:pt x="494" y="248"/>
                    </a:lnTo>
                    <a:lnTo>
                      <a:pt x="494" y="248"/>
                    </a:lnTo>
                    <a:lnTo>
                      <a:pt x="492" y="246"/>
                    </a:lnTo>
                    <a:lnTo>
                      <a:pt x="492" y="246"/>
                    </a:lnTo>
                    <a:lnTo>
                      <a:pt x="490" y="246"/>
                    </a:lnTo>
                    <a:lnTo>
                      <a:pt x="490" y="244"/>
                    </a:lnTo>
                    <a:lnTo>
                      <a:pt x="488" y="244"/>
                    </a:lnTo>
                    <a:lnTo>
                      <a:pt x="488" y="242"/>
                    </a:lnTo>
                    <a:lnTo>
                      <a:pt x="486" y="238"/>
                    </a:lnTo>
                    <a:lnTo>
                      <a:pt x="482" y="232"/>
                    </a:lnTo>
                    <a:lnTo>
                      <a:pt x="480" y="230"/>
                    </a:lnTo>
                    <a:lnTo>
                      <a:pt x="480" y="228"/>
                    </a:lnTo>
                    <a:lnTo>
                      <a:pt x="478" y="228"/>
                    </a:lnTo>
                    <a:lnTo>
                      <a:pt x="476" y="226"/>
                    </a:lnTo>
                    <a:lnTo>
                      <a:pt x="474" y="224"/>
                    </a:lnTo>
                    <a:lnTo>
                      <a:pt x="470" y="222"/>
                    </a:lnTo>
                    <a:lnTo>
                      <a:pt x="468" y="220"/>
                    </a:lnTo>
                    <a:lnTo>
                      <a:pt x="464" y="218"/>
                    </a:lnTo>
                    <a:lnTo>
                      <a:pt x="460" y="216"/>
                    </a:lnTo>
                    <a:lnTo>
                      <a:pt x="458" y="216"/>
                    </a:lnTo>
                    <a:lnTo>
                      <a:pt x="454" y="214"/>
                    </a:lnTo>
                    <a:lnTo>
                      <a:pt x="452" y="214"/>
                    </a:lnTo>
                    <a:lnTo>
                      <a:pt x="448" y="212"/>
                    </a:lnTo>
                    <a:lnTo>
                      <a:pt x="444" y="210"/>
                    </a:lnTo>
                    <a:lnTo>
                      <a:pt x="440" y="210"/>
                    </a:lnTo>
                    <a:lnTo>
                      <a:pt x="432" y="208"/>
                    </a:lnTo>
                    <a:lnTo>
                      <a:pt x="426" y="206"/>
                    </a:lnTo>
                    <a:lnTo>
                      <a:pt x="420" y="206"/>
                    </a:lnTo>
                    <a:lnTo>
                      <a:pt x="418" y="206"/>
                    </a:lnTo>
                    <a:lnTo>
                      <a:pt x="414" y="204"/>
                    </a:lnTo>
                    <a:lnTo>
                      <a:pt x="410" y="204"/>
                    </a:lnTo>
                    <a:lnTo>
                      <a:pt x="408" y="204"/>
                    </a:lnTo>
                    <a:lnTo>
                      <a:pt x="406" y="204"/>
                    </a:lnTo>
                    <a:lnTo>
                      <a:pt x="404" y="204"/>
                    </a:lnTo>
                    <a:lnTo>
                      <a:pt x="404" y="204"/>
                    </a:lnTo>
                    <a:lnTo>
                      <a:pt x="402" y="206"/>
                    </a:lnTo>
                    <a:lnTo>
                      <a:pt x="402" y="206"/>
                    </a:lnTo>
                    <a:lnTo>
                      <a:pt x="400" y="208"/>
                    </a:lnTo>
                    <a:lnTo>
                      <a:pt x="398" y="208"/>
                    </a:lnTo>
                    <a:lnTo>
                      <a:pt x="398" y="210"/>
                    </a:lnTo>
                    <a:lnTo>
                      <a:pt x="396" y="212"/>
                    </a:lnTo>
                    <a:lnTo>
                      <a:pt x="396" y="212"/>
                    </a:lnTo>
                    <a:lnTo>
                      <a:pt x="396" y="214"/>
                    </a:lnTo>
                    <a:lnTo>
                      <a:pt x="396" y="214"/>
                    </a:lnTo>
                    <a:lnTo>
                      <a:pt x="396" y="216"/>
                    </a:lnTo>
                    <a:lnTo>
                      <a:pt x="396" y="216"/>
                    </a:lnTo>
                    <a:lnTo>
                      <a:pt x="396" y="216"/>
                    </a:lnTo>
                    <a:lnTo>
                      <a:pt x="396" y="216"/>
                    </a:lnTo>
                    <a:lnTo>
                      <a:pt x="398" y="218"/>
                    </a:lnTo>
                    <a:lnTo>
                      <a:pt x="400" y="218"/>
                    </a:lnTo>
                    <a:lnTo>
                      <a:pt x="402" y="220"/>
                    </a:lnTo>
                    <a:lnTo>
                      <a:pt x="402" y="220"/>
                    </a:lnTo>
                    <a:lnTo>
                      <a:pt x="404" y="220"/>
                    </a:lnTo>
                    <a:lnTo>
                      <a:pt x="404" y="220"/>
                    </a:lnTo>
                    <a:lnTo>
                      <a:pt x="404" y="222"/>
                    </a:lnTo>
                    <a:lnTo>
                      <a:pt x="404" y="222"/>
                    </a:lnTo>
                    <a:lnTo>
                      <a:pt x="404" y="224"/>
                    </a:lnTo>
                    <a:lnTo>
                      <a:pt x="404" y="228"/>
                    </a:lnTo>
                    <a:lnTo>
                      <a:pt x="404" y="230"/>
                    </a:lnTo>
                    <a:lnTo>
                      <a:pt x="404" y="232"/>
                    </a:lnTo>
                    <a:lnTo>
                      <a:pt x="404" y="236"/>
                    </a:lnTo>
                    <a:lnTo>
                      <a:pt x="404" y="238"/>
                    </a:lnTo>
                    <a:lnTo>
                      <a:pt x="402" y="238"/>
                    </a:lnTo>
                    <a:lnTo>
                      <a:pt x="402" y="240"/>
                    </a:lnTo>
                    <a:lnTo>
                      <a:pt x="402" y="240"/>
                    </a:lnTo>
                    <a:lnTo>
                      <a:pt x="400" y="242"/>
                    </a:lnTo>
                    <a:lnTo>
                      <a:pt x="398" y="242"/>
                    </a:lnTo>
                    <a:lnTo>
                      <a:pt x="396" y="242"/>
                    </a:lnTo>
                    <a:lnTo>
                      <a:pt x="394" y="244"/>
                    </a:lnTo>
                    <a:lnTo>
                      <a:pt x="392" y="244"/>
                    </a:lnTo>
                    <a:lnTo>
                      <a:pt x="390" y="244"/>
                    </a:lnTo>
                    <a:lnTo>
                      <a:pt x="390" y="244"/>
                    </a:lnTo>
                    <a:lnTo>
                      <a:pt x="390" y="244"/>
                    </a:lnTo>
                    <a:lnTo>
                      <a:pt x="388" y="242"/>
                    </a:lnTo>
                    <a:lnTo>
                      <a:pt x="388" y="242"/>
                    </a:lnTo>
                    <a:lnTo>
                      <a:pt x="388" y="242"/>
                    </a:lnTo>
                    <a:lnTo>
                      <a:pt x="388" y="240"/>
                    </a:lnTo>
                    <a:lnTo>
                      <a:pt x="388" y="238"/>
                    </a:lnTo>
                    <a:lnTo>
                      <a:pt x="388" y="236"/>
                    </a:lnTo>
                    <a:lnTo>
                      <a:pt x="388" y="232"/>
                    </a:lnTo>
                    <a:lnTo>
                      <a:pt x="388" y="230"/>
                    </a:lnTo>
                    <a:lnTo>
                      <a:pt x="386" y="230"/>
                    </a:lnTo>
                    <a:lnTo>
                      <a:pt x="386" y="228"/>
                    </a:lnTo>
                    <a:lnTo>
                      <a:pt x="386" y="228"/>
                    </a:lnTo>
                    <a:lnTo>
                      <a:pt x="386" y="226"/>
                    </a:lnTo>
                    <a:lnTo>
                      <a:pt x="384" y="226"/>
                    </a:lnTo>
                    <a:lnTo>
                      <a:pt x="384" y="226"/>
                    </a:lnTo>
                    <a:lnTo>
                      <a:pt x="382" y="226"/>
                    </a:lnTo>
                    <a:lnTo>
                      <a:pt x="380" y="226"/>
                    </a:lnTo>
                    <a:lnTo>
                      <a:pt x="380" y="226"/>
                    </a:lnTo>
                    <a:lnTo>
                      <a:pt x="378" y="226"/>
                    </a:lnTo>
                    <a:lnTo>
                      <a:pt x="376" y="226"/>
                    </a:lnTo>
                    <a:lnTo>
                      <a:pt x="376" y="226"/>
                    </a:lnTo>
                    <a:lnTo>
                      <a:pt x="374" y="226"/>
                    </a:lnTo>
                    <a:lnTo>
                      <a:pt x="374" y="226"/>
                    </a:lnTo>
                    <a:lnTo>
                      <a:pt x="374" y="228"/>
                    </a:lnTo>
                    <a:lnTo>
                      <a:pt x="372" y="230"/>
                    </a:lnTo>
                    <a:lnTo>
                      <a:pt x="370" y="232"/>
                    </a:lnTo>
                    <a:lnTo>
                      <a:pt x="370" y="234"/>
                    </a:lnTo>
                    <a:lnTo>
                      <a:pt x="368" y="236"/>
                    </a:lnTo>
                    <a:lnTo>
                      <a:pt x="366" y="238"/>
                    </a:lnTo>
                    <a:lnTo>
                      <a:pt x="366" y="238"/>
                    </a:lnTo>
                    <a:lnTo>
                      <a:pt x="366" y="238"/>
                    </a:lnTo>
                    <a:lnTo>
                      <a:pt x="364" y="238"/>
                    </a:lnTo>
                    <a:lnTo>
                      <a:pt x="362" y="238"/>
                    </a:lnTo>
                    <a:lnTo>
                      <a:pt x="360" y="240"/>
                    </a:lnTo>
                    <a:lnTo>
                      <a:pt x="358" y="240"/>
                    </a:lnTo>
                    <a:lnTo>
                      <a:pt x="354" y="238"/>
                    </a:lnTo>
                    <a:lnTo>
                      <a:pt x="350" y="238"/>
                    </a:lnTo>
                    <a:lnTo>
                      <a:pt x="346" y="238"/>
                    </a:lnTo>
                    <a:lnTo>
                      <a:pt x="342" y="238"/>
                    </a:lnTo>
                    <a:lnTo>
                      <a:pt x="340" y="238"/>
                    </a:lnTo>
                    <a:lnTo>
                      <a:pt x="338" y="238"/>
                    </a:lnTo>
                    <a:lnTo>
                      <a:pt x="336" y="238"/>
                    </a:lnTo>
                    <a:lnTo>
                      <a:pt x="336" y="238"/>
                    </a:lnTo>
                    <a:lnTo>
                      <a:pt x="334" y="238"/>
                    </a:lnTo>
                    <a:lnTo>
                      <a:pt x="334" y="240"/>
                    </a:lnTo>
                    <a:lnTo>
                      <a:pt x="334" y="240"/>
                    </a:lnTo>
                    <a:lnTo>
                      <a:pt x="332" y="240"/>
                    </a:lnTo>
                    <a:lnTo>
                      <a:pt x="332" y="242"/>
                    </a:lnTo>
                    <a:lnTo>
                      <a:pt x="330" y="246"/>
                    </a:lnTo>
                    <a:lnTo>
                      <a:pt x="328" y="248"/>
                    </a:lnTo>
                    <a:lnTo>
                      <a:pt x="328" y="250"/>
                    </a:lnTo>
                    <a:lnTo>
                      <a:pt x="326" y="250"/>
                    </a:lnTo>
                    <a:lnTo>
                      <a:pt x="326" y="250"/>
                    </a:lnTo>
                    <a:lnTo>
                      <a:pt x="324" y="250"/>
                    </a:lnTo>
                    <a:lnTo>
                      <a:pt x="324" y="250"/>
                    </a:lnTo>
                    <a:lnTo>
                      <a:pt x="324" y="250"/>
                    </a:lnTo>
                    <a:lnTo>
                      <a:pt x="322" y="250"/>
                    </a:lnTo>
                    <a:lnTo>
                      <a:pt x="322" y="250"/>
                    </a:lnTo>
                    <a:lnTo>
                      <a:pt x="322" y="248"/>
                    </a:lnTo>
                    <a:lnTo>
                      <a:pt x="320" y="246"/>
                    </a:lnTo>
                    <a:lnTo>
                      <a:pt x="320" y="244"/>
                    </a:lnTo>
                    <a:lnTo>
                      <a:pt x="318" y="240"/>
                    </a:lnTo>
                    <a:lnTo>
                      <a:pt x="318" y="238"/>
                    </a:lnTo>
                    <a:lnTo>
                      <a:pt x="318" y="238"/>
                    </a:lnTo>
                    <a:lnTo>
                      <a:pt x="316" y="236"/>
                    </a:lnTo>
                    <a:lnTo>
                      <a:pt x="316" y="236"/>
                    </a:lnTo>
                    <a:lnTo>
                      <a:pt x="316" y="236"/>
                    </a:lnTo>
                    <a:lnTo>
                      <a:pt x="314" y="236"/>
                    </a:lnTo>
                    <a:lnTo>
                      <a:pt x="312" y="236"/>
                    </a:lnTo>
                    <a:lnTo>
                      <a:pt x="312" y="236"/>
                    </a:lnTo>
                    <a:lnTo>
                      <a:pt x="310" y="236"/>
                    </a:lnTo>
                    <a:lnTo>
                      <a:pt x="308" y="238"/>
                    </a:lnTo>
                    <a:lnTo>
                      <a:pt x="306" y="238"/>
                    </a:lnTo>
                    <a:lnTo>
                      <a:pt x="302" y="240"/>
                    </a:lnTo>
                    <a:lnTo>
                      <a:pt x="296" y="242"/>
                    </a:lnTo>
                    <a:lnTo>
                      <a:pt x="292" y="244"/>
                    </a:lnTo>
                    <a:lnTo>
                      <a:pt x="288" y="246"/>
                    </a:lnTo>
                    <a:lnTo>
                      <a:pt x="284" y="248"/>
                    </a:lnTo>
                    <a:lnTo>
                      <a:pt x="280" y="248"/>
                    </a:lnTo>
                    <a:lnTo>
                      <a:pt x="276" y="250"/>
                    </a:lnTo>
                    <a:lnTo>
                      <a:pt x="274" y="252"/>
                    </a:lnTo>
                    <a:lnTo>
                      <a:pt x="272" y="252"/>
                    </a:lnTo>
                    <a:lnTo>
                      <a:pt x="270" y="254"/>
                    </a:lnTo>
                    <a:lnTo>
                      <a:pt x="268" y="256"/>
                    </a:lnTo>
                    <a:lnTo>
                      <a:pt x="266" y="258"/>
                    </a:lnTo>
                    <a:lnTo>
                      <a:pt x="262" y="260"/>
                    </a:lnTo>
                    <a:lnTo>
                      <a:pt x="256" y="266"/>
                    </a:lnTo>
                    <a:lnTo>
                      <a:pt x="254" y="268"/>
                    </a:lnTo>
                    <a:lnTo>
                      <a:pt x="252" y="270"/>
                    </a:lnTo>
                    <a:lnTo>
                      <a:pt x="248" y="272"/>
                    </a:lnTo>
                    <a:lnTo>
                      <a:pt x="244" y="274"/>
                    </a:lnTo>
                    <a:lnTo>
                      <a:pt x="242" y="276"/>
                    </a:lnTo>
                    <a:lnTo>
                      <a:pt x="238" y="278"/>
                    </a:lnTo>
                    <a:lnTo>
                      <a:pt x="238" y="278"/>
                    </a:lnTo>
                    <a:lnTo>
                      <a:pt x="236" y="280"/>
                    </a:lnTo>
                    <a:lnTo>
                      <a:pt x="234" y="280"/>
                    </a:lnTo>
                    <a:lnTo>
                      <a:pt x="234" y="280"/>
                    </a:lnTo>
                    <a:lnTo>
                      <a:pt x="232" y="280"/>
                    </a:lnTo>
                    <a:lnTo>
                      <a:pt x="230" y="280"/>
                    </a:lnTo>
                    <a:lnTo>
                      <a:pt x="230" y="280"/>
                    </a:lnTo>
                    <a:lnTo>
                      <a:pt x="230" y="278"/>
                    </a:lnTo>
                    <a:lnTo>
                      <a:pt x="228" y="278"/>
                    </a:lnTo>
                    <a:lnTo>
                      <a:pt x="228" y="278"/>
                    </a:lnTo>
                    <a:lnTo>
                      <a:pt x="228" y="276"/>
                    </a:lnTo>
                    <a:lnTo>
                      <a:pt x="226" y="274"/>
                    </a:lnTo>
                    <a:lnTo>
                      <a:pt x="226" y="272"/>
                    </a:lnTo>
                    <a:lnTo>
                      <a:pt x="224" y="270"/>
                    </a:lnTo>
                    <a:lnTo>
                      <a:pt x="224" y="266"/>
                    </a:lnTo>
                    <a:lnTo>
                      <a:pt x="224" y="264"/>
                    </a:lnTo>
                    <a:lnTo>
                      <a:pt x="224" y="264"/>
                    </a:lnTo>
                    <a:lnTo>
                      <a:pt x="224" y="260"/>
                    </a:lnTo>
                    <a:lnTo>
                      <a:pt x="224" y="256"/>
                    </a:lnTo>
                    <a:lnTo>
                      <a:pt x="224" y="256"/>
                    </a:lnTo>
                    <a:lnTo>
                      <a:pt x="224" y="254"/>
                    </a:lnTo>
                    <a:lnTo>
                      <a:pt x="222" y="252"/>
                    </a:lnTo>
                    <a:lnTo>
                      <a:pt x="222" y="250"/>
                    </a:lnTo>
                    <a:lnTo>
                      <a:pt x="220" y="248"/>
                    </a:lnTo>
                    <a:lnTo>
                      <a:pt x="218" y="246"/>
                    </a:lnTo>
                    <a:lnTo>
                      <a:pt x="216" y="244"/>
                    </a:lnTo>
                    <a:lnTo>
                      <a:pt x="214" y="242"/>
                    </a:lnTo>
                    <a:lnTo>
                      <a:pt x="212" y="240"/>
                    </a:lnTo>
                    <a:lnTo>
                      <a:pt x="210" y="240"/>
                    </a:lnTo>
                    <a:lnTo>
                      <a:pt x="210" y="240"/>
                    </a:lnTo>
                    <a:lnTo>
                      <a:pt x="208" y="238"/>
                    </a:lnTo>
                    <a:lnTo>
                      <a:pt x="204" y="238"/>
                    </a:lnTo>
                    <a:lnTo>
                      <a:pt x="202" y="238"/>
                    </a:lnTo>
                    <a:lnTo>
                      <a:pt x="198" y="238"/>
                    </a:lnTo>
                    <a:lnTo>
                      <a:pt x="194" y="238"/>
                    </a:lnTo>
                    <a:lnTo>
                      <a:pt x="194" y="238"/>
                    </a:lnTo>
                    <a:lnTo>
                      <a:pt x="192" y="240"/>
                    </a:lnTo>
                    <a:lnTo>
                      <a:pt x="190" y="240"/>
                    </a:lnTo>
                    <a:lnTo>
                      <a:pt x="190" y="240"/>
                    </a:lnTo>
                    <a:lnTo>
                      <a:pt x="188" y="242"/>
                    </a:lnTo>
                    <a:lnTo>
                      <a:pt x="188" y="242"/>
                    </a:lnTo>
                    <a:lnTo>
                      <a:pt x="188" y="242"/>
                    </a:lnTo>
                    <a:lnTo>
                      <a:pt x="188" y="244"/>
                    </a:lnTo>
                    <a:lnTo>
                      <a:pt x="188" y="244"/>
                    </a:lnTo>
                    <a:lnTo>
                      <a:pt x="188" y="244"/>
                    </a:lnTo>
                    <a:lnTo>
                      <a:pt x="188" y="246"/>
                    </a:lnTo>
                    <a:lnTo>
                      <a:pt x="190" y="248"/>
                    </a:lnTo>
                    <a:lnTo>
                      <a:pt x="192" y="252"/>
                    </a:lnTo>
                    <a:lnTo>
                      <a:pt x="192" y="252"/>
                    </a:lnTo>
                    <a:lnTo>
                      <a:pt x="194" y="254"/>
                    </a:lnTo>
                    <a:lnTo>
                      <a:pt x="194" y="258"/>
                    </a:lnTo>
                    <a:lnTo>
                      <a:pt x="196" y="262"/>
                    </a:lnTo>
                    <a:lnTo>
                      <a:pt x="196" y="266"/>
                    </a:lnTo>
                    <a:lnTo>
                      <a:pt x="198" y="270"/>
                    </a:lnTo>
                    <a:lnTo>
                      <a:pt x="200" y="272"/>
                    </a:lnTo>
                    <a:lnTo>
                      <a:pt x="202" y="276"/>
                    </a:lnTo>
                    <a:lnTo>
                      <a:pt x="204" y="280"/>
                    </a:lnTo>
                    <a:lnTo>
                      <a:pt x="204" y="282"/>
                    </a:lnTo>
                    <a:lnTo>
                      <a:pt x="204" y="284"/>
                    </a:lnTo>
                    <a:lnTo>
                      <a:pt x="206" y="288"/>
                    </a:lnTo>
                    <a:lnTo>
                      <a:pt x="206" y="290"/>
                    </a:lnTo>
                    <a:lnTo>
                      <a:pt x="206" y="292"/>
                    </a:lnTo>
                    <a:lnTo>
                      <a:pt x="208" y="296"/>
                    </a:lnTo>
                    <a:lnTo>
                      <a:pt x="208" y="296"/>
                    </a:lnTo>
                    <a:lnTo>
                      <a:pt x="208" y="298"/>
                    </a:lnTo>
                    <a:lnTo>
                      <a:pt x="206" y="298"/>
                    </a:lnTo>
                    <a:lnTo>
                      <a:pt x="206" y="300"/>
                    </a:lnTo>
                    <a:lnTo>
                      <a:pt x="206" y="300"/>
                    </a:lnTo>
                    <a:lnTo>
                      <a:pt x="206" y="300"/>
                    </a:lnTo>
                    <a:lnTo>
                      <a:pt x="206" y="302"/>
                    </a:lnTo>
                    <a:lnTo>
                      <a:pt x="204" y="302"/>
                    </a:lnTo>
                    <a:lnTo>
                      <a:pt x="204" y="302"/>
                    </a:lnTo>
                    <a:lnTo>
                      <a:pt x="202" y="300"/>
                    </a:lnTo>
                    <a:lnTo>
                      <a:pt x="202" y="300"/>
                    </a:lnTo>
                    <a:lnTo>
                      <a:pt x="200" y="300"/>
                    </a:lnTo>
                    <a:lnTo>
                      <a:pt x="198" y="298"/>
                    </a:lnTo>
                    <a:lnTo>
                      <a:pt x="194" y="296"/>
                    </a:lnTo>
                    <a:lnTo>
                      <a:pt x="192" y="294"/>
                    </a:lnTo>
                    <a:lnTo>
                      <a:pt x="192" y="294"/>
                    </a:lnTo>
                    <a:lnTo>
                      <a:pt x="190" y="294"/>
                    </a:lnTo>
                    <a:lnTo>
                      <a:pt x="188" y="292"/>
                    </a:lnTo>
                    <a:lnTo>
                      <a:pt x="184" y="292"/>
                    </a:lnTo>
                    <a:lnTo>
                      <a:pt x="180" y="290"/>
                    </a:lnTo>
                    <a:lnTo>
                      <a:pt x="178" y="290"/>
                    </a:lnTo>
                    <a:lnTo>
                      <a:pt x="178" y="290"/>
                    </a:lnTo>
                    <a:lnTo>
                      <a:pt x="176" y="290"/>
                    </a:lnTo>
                    <a:lnTo>
                      <a:pt x="176" y="290"/>
                    </a:lnTo>
                    <a:lnTo>
                      <a:pt x="174" y="292"/>
                    </a:lnTo>
                    <a:lnTo>
                      <a:pt x="174" y="292"/>
                    </a:lnTo>
                    <a:lnTo>
                      <a:pt x="174" y="292"/>
                    </a:lnTo>
                    <a:lnTo>
                      <a:pt x="172" y="294"/>
                    </a:lnTo>
                    <a:lnTo>
                      <a:pt x="172" y="296"/>
                    </a:lnTo>
                    <a:lnTo>
                      <a:pt x="168" y="298"/>
                    </a:lnTo>
                    <a:lnTo>
                      <a:pt x="168" y="300"/>
                    </a:lnTo>
                    <a:lnTo>
                      <a:pt x="166" y="300"/>
                    </a:lnTo>
                    <a:lnTo>
                      <a:pt x="166" y="302"/>
                    </a:lnTo>
                    <a:lnTo>
                      <a:pt x="164" y="302"/>
                    </a:lnTo>
                    <a:lnTo>
                      <a:pt x="162" y="302"/>
                    </a:lnTo>
                    <a:lnTo>
                      <a:pt x="160" y="302"/>
                    </a:lnTo>
                    <a:lnTo>
                      <a:pt x="156" y="304"/>
                    </a:lnTo>
                    <a:lnTo>
                      <a:pt x="154" y="304"/>
                    </a:lnTo>
                    <a:lnTo>
                      <a:pt x="152" y="304"/>
                    </a:lnTo>
                    <a:lnTo>
                      <a:pt x="150" y="304"/>
                    </a:lnTo>
                    <a:lnTo>
                      <a:pt x="150" y="304"/>
                    </a:lnTo>
                    <a:lnTo>
                      <a:pt x="148" y="306"/>
                    </a:lnTo>
                    <a:lnTo>
                      <a:pt x="148" y="306"/>
                    </a:lnTo>
                    <a:lnTo>
                      <a:pt x="148" y="308"/>
                    </a:lnTo>
                    <a:lnTo>
                      <a:pt x="146" y="308"/>
                    </a:lnTo>
                    <a:lnTo>
                      <a:pt x="146" y="310"/>
                    </a:lnTo>
                    <a:lnTo>
                      <a:pt x="146" y="312"/>
                    </a:lnTo>
                    <a:lnTo>
                      <a:pt x="146" y="314"/>
                    </a:lnTo>
                    <a:lnTo>
                      <a:pt x="146" y="316"/>
                    </a:lnTo>
                    <a:lnTo>
                      <a:pt x="146" y="318"/>
                    </a:lnTo>
                    <a:lnTo>
                      <a:pt x="146" y="318"/>
                    </a:lnTo>
                    <a:lnTo>
                      <a:pt x="146" y="320"/>
                    </a:lnTo>
                    <a:lnTo>
                      <a:pt x="148" y="320"/>
                    </a:lnTo>
                    <a:lnTo>
                      <a:pt x="148" y="320"/>
                    </a:lnTo>
                    <a:lnTo>
                      <a:pt x="150" y="322"/>
                    </a:lnTo>
                    <a:lnTo>
                      <a:pt x="152" y="322"/>
                    </a:lnTo>
                    <a:lnTo>
                      <a:pt x="154" y="322"/>
                    </a:lnTo>
                    <a:lnTo>
                      <a:pt x="156" y="324"/>
                    </a:lnTo>
                    <a:lnTo>
                      <a:pt x="156" y="324"/>
                    </a:lnTo>
                    <a:lnTo>
                      <a:pt x="156" y="324"/>
                    </a:lnTo>
                    <a:lnTo>
                      <a:pt x="158" y="324"/>
                    </a:lnTo>
                    <a:lnTo>
                      <a:pt x="158" y="324"/>
                    </a:lnTo>
                    <a:lnTo>
                      <a:pt x="158" y="326"/>
                    </a:lnTo>
                    <a:lnTo>
                      <a:pt x="158" y="326"/>
                    </a:lnTo>
                    <a:lnTo>
                      <a:pt x="158" y="328"/>
                    </a:lnTo>
                    <a:lnTo>
                      <a:pt x="158" y="332"/>
                    </a:lnTo>
                    <a:lnTo>
                      <a:pt x="158" y="334"/>
                    </a:lnTo>
                    <a:lnTo>
                      <a:pt x="156" y="336"/>
                    </a:lnTo>
                    <a:lnTo>
                      <a:pt x="156" y="338"/>
                    </a:lnTo>
                    <a:lnTo>
                      <a:pt x="154" y="340"/>
                    </a:lnTo>
                    <a:lnTo>
                      <a:pt x="154" y="340"/>
                    </a:lnTo>
                    <a:lnTo>
                      <a:pt x="152" y="342"/>
                    </a:lnTo>
                    <a:lnTo>
                      <a:pt x="152" y="342"/>
                    </a:lnTo>
                    <a:lnTo>
                      <a:pt x="150" y="342"/>
                    </a:lnTo>
                    <a:lnTo>
                      <a:pt x="148" y="342"/>
                    </a:lnTo>
                    <a:lnTo>
                      <a:pt x="146" y="342"/>
                    </a:lnTo>
                    <a:lnTo>
                      <a:pt x="144" y="342"/>
                    </a:lnTo>
                    <a:lnTo>
                      <a:pt x="142" y="342"/>
                    </a:lnTo>
                    <a:lnTo>
                      <a:pt x="140" y="342"/>
                    </a:lnTo>
                    <a:lnTo>
                      <a:pt x="140" y="342"/>
                    </a:lnTo>
                    <a:lnTo>
                      <a:pt x="138" y="342"/>
                    </a:lnTo>
                    <a:lnTo>
                      <a:pt x="138" y="340"/>
                    </a:lnTo>
                    <a:lnTo>
                      <a:pt x="138" y="340"/>
                    </a:lnTo>
                    <a:lnTo>
                      <a:pt x="138" y="340"/>
                    </a:lnTo>
                    <a:lnTo>
                      <a:pt x="138" y="338"/>
                    </a:lnTo>
                    <a:lnTo>
                      <a:pt x="138" y="336"/>
                    </a:lnTo>
                    <a:lnTo>
                      <a:pt x="138" y="334"/>
                    </a:lnTo>
                    <a:lnTo>
                      <a:pt x="140" y="330"/>
                    </a:lnTo>
                    <a:lnTo>
                      <a:pt x="140" y="328"/>
                    </a:lnTo>
                    <a:lnTo>
                      <a:pt x="140" y="328"/>
                    </a:lnTo>
                    <a:lnTo>
                      <a:pt x="140" y="326"/>
                    </a:lnTo>
                    <a:lnTo>
                      <a:pt x="140" y="326"/>
                    </a:lnTo>
                    <a:lnTo>
                      <a:pt x="138" y="324"/>
                    </a:lnTo>
                    <a:lnTo>
                      <a:pt x="138" y="324"/>
                    </a:lnTo>
                    <a:lnTo>
                      <a:pt x="138" y="324"/>
                    </a:lnTo>
                    <a:lnTo>
                      <a:pt x="136" y="322"/>
                    </a:lnTo>
                    <a:lnTo>
                      <a:pt x="134" y="322"/>
                    </a:lnTo>
                    <a:lnTo>
                      <a:pt x="132" y="320"/>
                    </a:lnTo>
                    <a:lnTo>
                      <a:pt x="130" y="320"/>
                    </a:lnTo>
                    <a:lnTo>
                      <a:pt x="128" y="318"/>
                    </a:lnTo>
                    <a:lnTo>
                      <a:pt x="126" y="318"/>
                    </a:lnTo>
                    <a:lnTo>
                      <a:pt x="124" y="318"/>
                    </a:lnTo>
                    <a:lnTo>
                      <a:pt x="122" y="318"/>
                    </a:lnTo>
                    <a:lnTo>
                      <a:pt x="120" y="320"/>
                    </a:lnTo>
                    <a:lnTo>
                      <a:pt x="118" y="320"/>
                    </a:lnTo>
                    <a:lnTo>
                      <a:pt x="116" y="320"/>
                    </a:lnTo>
                    <a:lnTo>
                      <a:pt x="114" y="322"/>
                    </a:lnTo>
                    <a:lnTo>
                      <a:pt x="112" y="322"/>
                    </a:lnTo>
                    <a:lnTo>
                      <a:pt x="110" y="324"/>
                    </a:lnTo>
                    <a:lnTo>
                      <a:pt x="110" y="324"/>
                    </a:lnTo>
                    <a:lnTo>
                      <a:pt x="110" y="324"/>
                    </a:lnTo>
                    <a:lnTo>
                      <a:pt x="110" y="326"/>
                    </a:lnTo>
                    <a:lnTo>
                      <a:pt x="110" y="328"/>
                    </a:lnTo>
                    <a:lnTo>
                      <a:pt x="110" y="330"/>
                    </a:lnTo>
                    <a:lnTo>
                      <a:pt x="110" y="332"/>
                    </a:lnTo>
                    <a:lnTo>
                      <a:pt x="110" y="334"/>
                    </a:lnTo>
                    <a:lnTo>
                      <a:pt x="110" y="334"/>
                    </a:lnTo>
                    <a:lnTo>
                      <a:pt x="110" y="336"/>
                    </a:lnTo>
                    <a:lnTo>
                      <a:pt x="112" y="338"/>
                    </a:lnTo>
                    <a:lnTo>
                      <a:pt x="112" y="338"/>
                    </a:lnTo>
                    <a:lnTo>
                      <a:pt x="112" y="338"/>
                    </a:lnTo>
                    <a:lnTo>
                      <a:pt x="114" y="338"/>
                    </a:lnTo>
                    <a:lnTo>
                      <a:pt x="114" y="340"/>
                    </a:lnTo>
                    <a:lnTo>
                      <a:pt x="116" y="340"/>
                    </a:lnTo>
                    <a:lnTo>
                      <a:pt x="120" y="340"/>
                    </a:lnTo>
                    <a:lnTo>
                      <a:pt x="120" y="340"/>
                    </a:lnTo>
                    <a:lnTo>
                      <a:pt x="122" y="342"/>
                    </a:lnTo>
                    <a:lnTo>
                      <a:pt x="122" y="342"/>
                    </a:lnTo>
                    <a:lnTo>
                      <a:pt x="124" y="344"/>
                    </a:lnTo>
                    <a:lnTo>
                      <a:pt x="124" y="346"/>
                    </a:lnTo>
                    <a:lnTo>
                      <a:pt x="124" y="346"/>
                    </a:lnTo>
                    <a:lnTo>
                      <a:pt x="126" y="346"/>
                    </a:lnTo>
                    <a:lnTo>
                      <a:pt x="126" y="348"/>
                    </a:lnTo>
                    <a:lnTo>
                      <a:pt x="124" y="348"/>
                    </a:lnTo>
                    <a:lnTo>
                      <a:pt x="124" y="350"/>
                    </a:lnTo>
                    <a:lnTo>
                      <a:pt x="124" y="352"/>
                    </a:lnTo>
                    <a:lnTo>
                      <a:pt x="122" y="352"/>
                    </a:lnTo>
                    <a:lnTo>
                      <a:pt x="122" y="354"/>
                    </a:lnTo>
                    <a:lnTo>
                      <a:pt x="120" y="354"/>
                    </a:lnTo>
                    <a:lnTo>
                      <a:pt x="118" y="354"/>
                    </a:lnTo>
                    <a:lnTo>
                      <a:pt x="118" y="356"/>
                    </a:lnTo>
                    <a:lnTo>
                      <a:pt x="116" y="356"/>
                    </a:lnTo>
                    <a:lnTo>
                      <a:pt x="116" y="354"/>
                    </a:lnTo>
                    <a:lnTo>
                      <a:pt x="114" y="354"/>
                    </a:lnTo>
                    <a:lnTo>
                      <a:pt x="114" y="354"/>
                    </a:lnTo>
                    <a:lnTo>
                      <a:pt x="112" y="352"/>
                    </a:lnTo>
                    <a:lnTo>
                      <a:pt x="110" y="350"/>
                    </a:lnTo>
                    <a:lnTo>
                      <a:pt x="108" y="348"/>
                    </a:lnTo>
                    <a:lnTo>
                      <a:pt x="106" y="346"/>
                    </a:lnTo>
                    <a:lnTo>
                      <a:pt x="102" y="344"/>
                    </a:lnTo>
                    <a:lnTo>
                      <a:pt x="100" y="342"/>
                    </a:lnTo>
                    <a:lnTo>
                      <a:pt x="100" y="340"/>
                    </a:lnTo>
                    <a:lnTo>
                      <a:pt x="96" y="336"/>
                    </a:lnTo>
                    <a:lnTo>
                      <a:pt x="94" y="332"/>
                    </a:lnTo>
                    <a:lnTo>
                      <a:pt x="92" y="328"/>
                    </a:lnTo>
                    <a:lnTo>
                      <a:pt x="90" y="326"/>
                    </a:lnTo>
                    <a:lnTo>
                      <a:pt x="88" y="322"/>
                    </a:lnTo>
                    <a:lnTo>
                      <a:pt x="84" y="318"/>
                    </a:lnTo>
                    <a:lnTo>
                      <a:pt x="84" y="316"/>
                    </a:lnTo>
                    <a:lnTo>
                      <a:pt x="84" y="314"/>
                    </a:lnTo>
                    <a:lnTo>
                      <a:pt x="84" y="312"/>
                    </a:lnTo>
                    <a:lnTo>
                      <a:pt x="82" y="308"/>
                    </a:lnTo>
                    <a:lnTo>
                      <a:pt x="82" y="302"/>
                    </a:lnTo>
                    <a:lnTo>
                      <a:pt x="82" y="300"/>
                    </a:lnTo>
                    <a:lnTo>
                      <a:pt x="82" y="296"/>
                    </a:lnTo>
                    <a:lnTo>
                      <a:pt x="80" y="294"/>
                    </a:lnTo>
                    <a:lnTo>
                      <a:pt x="80" y="292"/>
                    </a:lnTo>
                    <a:lnTo>
                      <a:pt x="80" y="292"/>
                    </a:lnTo>
                    <a:lnTo>
                      <a:pt x="78" y="290"/>
                    </a:lnTo>
                    <a:lnTo>
                      <a:pt x="76" y="288"/>
                    </a:lnTo>
                    <a:lnTo>
                      <a:pt x="74" y="286"/>
                    </a:lnTo>
                    <a:lnTo>
                      <a:pt x="74" y="286"/>
                    </a:lnTo>
                    <a:lnTo>
                      <a:pt x="74" y="284"/>
                    </a:lnTo>
                    <a:lnTo>
                      <a:pt x="74" y="284"/>
                    </a:lnTo>
                    <a:lnTo>
                      <a:pt x="74" y="284"/>
                    </a:lnTo>
                    <a:lnTo>
                      <a:pt x="74" y="284"/>
                    </a:lnTo>
                    <a:lnTo>
                      <a:pt x="74" y="282"/>
                    </a:lnTo>
                    <a:lnTo>
                      <a:pt x="74" y="282"/>
                    </a:lnTo>
                    <a:lnTo>
                      <a:pt x="76" y="282"/>
                    </a:lnTo>
                    <a:lnTo>
                      <a:pt x="76" y="282"/>
                    </a:lnTo>
                    <a:lnTo>
                      <a:pt x="78" y="282"/>
                    </a:lnTo>
                    <a:lnTo>
                      <a:pt x="78" y="284"/>
                    </a:lnTo>
                    <a:lnTo>
                      <a:pt x="82" y="284"/>
                    </a:lnTo>
                    <a:lnTo>
                      <a:pt x="86" y="286"/>
                    </a:lnTo>
                    <a:lnTo>
                      <a:pt x="88" y="288"/>
                    </a:lnTo>
                    <a:lnTo>
                      <a:pt x="90" y="288"/>
                    </a:lnTo>
                    <a:lnTo>
                      <a:pt x="92" y="290"/>
                    </a:lnTo>
                    <a:lnTo>
                      <a:pt x="96" y="290"/>
                    </a:lnTo>
                    <a:lnTo>
                      <a:pt x="102" y="292"/>
                    </a:lnTo>
                    <a:lnTo>
                      <a:pt x="106" y="294"/>
                    </a:lnTo>
                    <a:lnTo>
                      <a:pt x="110" y="296"/>
                    </a:lnTo>
                    <a:lnTo>
                      <a:pt x="112" y="296"/>
                    </a:lnTo>
                    <a:lnTo>
                      <a:pt x="114" y="296"/>
                    </a:lnTo>
                    <a:lnTo>
                      <a:pt x="116" y="296"/>
                    </a:lnTo>
                    <a:lnTo>
                      <a:pt x="118" y="296"/>
                    </a:lnTo>
                    <a:lnTo>
                      <a:pt x="120" y="296"/>
                    </a:lnTo>
                    <a:lnTo>
                      <a:pt x="124" y="294"/>
                    </a:lnTo>
                    <a:lnTo>
                      <a:pt x="128" y="294"/>
                    </a:lnTo>
                    <a:lnTo>
                      <a:pt x="130" y="294"/>
                    </a:lnTo>
                    <a:lnTo>
                      <a:pt x="134" y="292"/>
                    </a:lnTo>
                    <a:lnTo>
                      <a:pt x="136" y="290"/>
                    </a:lnTo>
                    <a:lnTo>
                      <a:pt x="138" y="290"/>
                    </a:lnTo>
                    <a:lnTo>
                      <a:pt x="140" y="288"/>
                    </a:lnTo>
                    <a:lnTo>
                      <a:pt x="142" y="288"/>
                    </a:lnTo>
                    <a:lnTo>
                      <a:pt x="144" y="286"/>
                    </a:lnTo>
                    <a:lnTo>
                      <a:pt x="146" y="282"/>
                    </a:lnTo>
                    <a:lnTo>
                      <a:pt x="150" y="280"/>
                    </a:lnTo>
                    <a:lnTo>
                      <a:pt x="150" y="278"/>
                    </a:lnTo>
                    <a:lnTo>
                      <a:pt x="154" y="274"/>
                    </a:lnTo>
                    <a:lnTo>
                      <a:pt x="154" y="272"/>
                    </a:lnTo>
                    <a:lnTo>
                      <a:pt x="156" y="272"/>
                    </a:lnTo>
                    <a:lnTo>
                      <a:pt x="156" y="270"/>
                    </a:lnTo>
                    <a:lnTo>
                      <a:pt x="156" y="268"/>
                    </a:lnTo>
                    <a:lnTo>
                      <a:pt x="156" y="268"/>
                    </a:lnTo>
                    <a:lnTo>
                      <a:pt x="154" y="266"/>
                    </a:lnTo>
                    <a:lnTo>
                      <a:pt x="154" y="266"/>
                    </a:lnTo>
                    <a:lnTo>
                      <a:pt x="152" y="264"/>
                    </a:lnTo>
                    <a:lnTo>
                      <a:pt x="152" y="262"/>
                    </a:lnTo>
                    <a:lnTo>
                      <a:pt x="150" y="262"/>
                    </a:lnTo>
                    <a:lnTo>
                      <a:pt x="148" y="260"/>
                    </a:lnTo>
                    <a:lnTo>
                      <a:pt x="144" y="258"/>
                    </a:lnTo>
                    <a:lnTo>
                      <a:pt x="140" y="256"/>
                    </a:lnTo>
                    <a:lnTo>
                      <a:pt x="136" y="252"/>
                    </a:lnTo>
                    <a:lnTo>
                      <a:pt x="134" y="250"/>
                    </a:lnTo>
                    <a:lnTo>
                      <a:pt x="130" y="250"/>
                    </a:lnTo>
                    <a:lnTo>
                      <a:pt x="128" y="248"/>
                    </a:lnTo>
                    <a:lnTo>
                      <a:pt x="124" y="246"/>
                    </a:lnTo>
                    <a:lnTo>
                      <a:pt x="116" y="242"/>
                    </a:lnTo>
                    <a:lnTo>
                      <a:pt x="106" y="238"/>
                    </a:lnTo>
                    <a:lnTo>
                      <a:pt x="104" y="236"/>
                    </a:lnTo>
                    <a:lnTo>
                      <a:pt x="100" y="236"/>
                    </a:lnTo>
                    <a:lnTo>
                      <a:pt x="92" y="232"/>
                    </a:lnTo>
                    <a:lnTo>
                      <a:pt x="84" y="226"/>
                    </a:lnTo>
                    <a:lnTo>
                      <a:pt x="76" y="222"/>
                    </a:lnTo>
                    <a:lnTo>
                      <a:pt x="68" y="218"/>
                    </a:lnTo>
                    <a:lnTo>
                      <a:pt x="60" y="214"/>
                    </a:lnTo>
                    <a:lnTo>
                      <a:pt x="54" y="210"/>
                    </a:lnTo>
                    <a:lnTo>
                      <a:pt x="46" y="214"/>
                    </a:lnTo>
                    <a:lnTo>
                      <a:pt x="40" y="218"/>
                    </a:lnTo>
                    <a:lnTo>
                      <a:pt x="38" y="220"/>
                    </a:lnTo>
                    <a:lnTo>
                      <a:pt x="36" y="222"/>
                    </a:lnTo>
                    <a:lnTo>
                      <a:pt x="32" y="226"/>
                    </a:lnTo>
                    <a:lnTo>
                      <a:pt x="28" y="230"/>
                    </a:lnTo>
                    <a:lnTo>
                      <a:pt x="26" y="232"/>
                    </a:lnTo>
                    <a:lnTo>
                      <a:pt x="24" y="234"/>
                    </a:lnTo>
                    <a:lnTo>
                      <a:pt x="22" y="236"/>
                    </a:lnTo>
                    <a:lnTo>
                      <a:pt x="20" y="238"/>
                    </a:lnTo>
                    <a:lnTo>
                      <a:pt x="18" y="240"/>
                    </a:lnTo>
                    <a:lnTo>
                      <a:pt x="18" y="242"/>
                    </a:lnTo>
                    <a:lnTo>
                      <a:pt x="16" y="248"/>
                    </a:lnTo>
                    <a:lnTo>
                      <a:pt x="14" y="254"/>
                    </a:lnTo>
                    <a:lnTo>
                      <a:pt x="14" y="262"/>
                    </a:lnTo>
                    <a:lnTo>
                      <a:pt x="14" y="266"/>
                    </a:lnTo>
                    <a:lnTo>
                      <a:pt x="14" y="268"/>
                    </a:lnTo>
                    <a:lnTo>
                      <a:pt x="14" y="270"/>
                    </a:lnTo>
                    <a:lnTo>
                      <a:pt x="14" y="272"/>
                    </a:lnTo>
                    <a:lnTo>
                      <a:pt x="14" y="274"/>
                    </a:lnTo>
                    <a:lnTo>
                      <a:pt x="16" y="280"/>
                    </a:lnTo>
                    <a:lnTo>
                      <a:pt x="18" y="286"/>
                    </a:lnTo>
                    <a:lnTo>
                      <a:pt x="18" y="288"/>
                    </a:lnTo>
                    <a:lnTo>
                      <a:pt x="18" y="290"/>
                    </a:lnTo>
                    <a:lnTo>
                      <a:pt x="18" y="294"/>
                    </a:lnTo>
                    <a:lnTo>
                      <a:pt x="18" y="296"/>
                    </a:lnTo>
                    <a:lnTo>
                      <a:pt x="20" y="302"/>
                    </a:lnTo>
                    <a:lnTo>
                      <a:pt x="20" y="310"/>
                    </a:lnTo>
                    <a:lnTo>
                      <a:pt x="20" y="312"/>
                    </a:lnTo>
                    <a:lnTo>
                      <a:pt x="20" y="314"/>
                    </a:lnTo>
                    <a:lnTo>
                      <a:pt x="20" y="316"/>
                    </a:lnTo>
                    <a:lnTo>
                      <a:pt x="20" y="318"/>
                    </a:lnTo>
                    <a:lnTo>
                      <a:pt x="22" y="324"/>
                    </a:lnTo>
                    <a:lnTo>
                      <a:pt x="26" y="334"/>
                    </a:lnTo>
                    <a:lnTo>
                      <a:pt x="28" y="340"/>
                    </a:lnTo>
                    <a:lnTo>
                      <a:pt x="30" y="346"/>
                    </a:lnTo>
                    <a:lnTo>
                      <a:pt x="30" y="350"/>
                    </a:lnTo>
                    <a:lnTo>
                      <a:pt x="32" y="352"/>
                    </a:lnTo>
                    <a:lnTo>
                      <a:pt x="32" y="356"/>
                    </a:lnTo>
                    <a:lnTo>
                      <a:pt x="34" y="358"/>
                    </a:lnTo>
                    <a:lnTo>
                      <a:pt x="34" y="358"/>
                    </a:lnTo>
                    <a:lnTo>
                      <a:pt x="36" y="360"/>
                    </a:lnTo>
                    <a:lnTo>
                      <a:pt x="38" y="362"/>
                    </a:lnTo>
                    <a:lnTo>
                      <a:pt x="40" y="364"/>
                    </a:lnTo>
                    <a:lnTo>
                      <a:pt x="42" y="366"/>
                    </a:lnTo>
                    <a:lnTo>
                      <a:pt x="44" y="368"/>
                    </a:lnTo>
                    <a:lnTo>
                      <a:pt x="48" y="372"/>
                    </a:lnTo>
                    <a:lnTo>
                      <a:pt x="52" y="374"/>
                    </a:lnTo>
                    <a:lnTo>
                      <a:pt x="46" y="378"/>
                    </a:lnTo>
                    <a:lnTo>
                      <a:pt x="44" y="382"/>
                    </a:lnTo>
                    <a:lnTo>
                      <a:pt x="40" y="384"/>
                    </a:lnTo>
                    <a:lnTo>
                      <a:pt x="36" y="388"/>
                    </a:lnTo>
                    <a:lnTo>
                      <a:pt x="32" y="392"/>
                    </a:lnTo>
                    <a:lnTo>
                      <a:pt x="26" y="402"/>
                    </a:lnTo>
                    <a:lnTo>
                      <a:pt x="18" y="408"/>
                    </a:lnTo>
                    <a:lnTo>
                      <a:pt x="16" y="412"/>
                    </a:lnTo>
                    <a:lnTo>
                      <a:pt x="14" y="414"/>
                    </a:lnTo>
                    <a:lnTo>
                      <a:pt x="12" y="416"/>
                    </a:lnTo>
                    <a:lnTo>
                      <a:pt x="12" y="418"/>
                    </a:lnTo>
                    <a:lnTo>
                      <a:pt x="10" y="418"/>
                    </a:lnTo>
                    <a:lnTo>
                      <a:pt x="10" y="420"/>
                    </a:lnTo>
                    <a:lnTo>
                      <a:pt x="8" y="424"/>
                    </a:lnTo>
                    <a:lnTo>
                      <a:pt x="8" y="428"/>
                    </a:lnTo>
                    <a:lnTo>
                      <a:pt x="8" y="432"/>
                    </a:lnTo>
                    <a:lnTo>
                      <a:pt x="8" y="434"/>
                    </a:lnTo>
                    <a:lnTo>
                      <a:pt x="8" y="436"/>
                    </a:lnTo>
                    <a:lnTo>
                      <a:pt x="8" y="440"/>
                    </a:lnTo>
                    <a:lnTo>
                      <a:pt x="8" y="448"/>
                    </a:lnTo>
                    <a:lnTo>
                      <a:pt x="0" y="452"/>
                    </a:lnTo>
                    <a:lnTo>
                      <a:pt x="16" y="474"/>
                    </a:lnTo>
                    <a:lnTo>
                      <a:pt x="38" y="494"/>
                    </a:lnTo>
                    <a:lnTo>
                      <a:pt x="44" y="496"/>
                    </a:lnTo>
                    <a:lnTo>
                      <a:pt x="50" y="498"/>
                    </a:lnTo>
                    <a:lnTo>
                      <a:pt x="56" y="500"/>
                    </a:lnTo>
                    <a:lnTo>
                      <a:pt x="60" y="500"/>
                    </a:lnTo>
                    <a:lnTo>
                      <a:pt x="62" y="502"/>
                    </a:lnTo>
                    <a:lnTo>
                      <a:pt x="66" y="502"/>
                    </a:lnTo>
                    <a:lnTo>
                      <a:pt x="70" y="504"/>
                    </a:lnTo>
                    <a:lnTo>
                      <a:pt x="72" y="506"/>
                    </a:lnTo>
                    <a:lnTo>
                      <a:pt x="74" y="508"/>
                    </a:lnTo>
                    <a:lnTo>
                      <a:pt x="76" y="508"/>
                    </a:lnTo>
                    <a:lnTo>
                      <a:pt x="78" y="510"/>
                    </a:lnTo>
                    <a:lnTo>
                      <a:pt x="78" y="510"/>
                    </a:lnTo>
                    <a:lnTo>
                      <a:pt x="80" y="512"/>
                    </a:lnTo>
                    <a:lnTo>
                      <a:pt x="80" y="516"/>
                    </a:lnTo>
                    <a:lnTo>
                      <a:pt x="82" y="518"/>
                    </a:lnTo>
                    <a:lnTo>
                      <a:pt x="82" y="522"/>
                    </a:lnTo>
                    <a:lnTo>
                      <a:pt x="84" y="524"/>
                    </a:lnTo>
                    <a:lnTo>
                      <a:pt x="84" y="528"/>
                    </a:lnTo>
                    <a:lnTo>
                      <a:pt x="84" y="532"/>
                    </a:lnTo>
                    <a:lnTo>
                      <a:pt x="84" y="536"/>
                    </a:lnTo>
                    <a:lnTo>
                      <a:pt x="84" y="540"/>
                    </a:lnTo>
                    <a:lnTo>
                      <a:pt x="84" y="544"/>
                    </a:lnTo>
                    <a:lnTo>
                      <a:pt x="84" y="548"/>
                    </a:lnTo>
                    <a:lnTo>
                      <a:pt x="84" y="550"/>
                    </a:lnTo>
                    <a:lnTo>
                      <a:pt x="84" y="554"/>
                    </a:lnTo>
                    <a:lnTo>
                      <a:pt x="82" y="558"/>
                    </a:lnTo>
                    <a:lnTo>
                      <a:pt x="82" y="560"/>
                    </a:lnTo>
                    <a:lnTo>
                      <a:pt x="82" y="562"/>
                    </a:lnTo>
                    <a:lnTo>
                      <a:pt x="80" y="564"/>
                    </a:lnTo>
                    <a:lnTo>
                      <a:pt x="80" y="564"/>
                    </a:lnTo>
                    <a:lnTo>
                      <a:pt x="78" y="566"/>
                    </a:lnTo>
                    <a:lnTo>
                      <a:pt x="76" y="568"/>
                    </a:lnTo>
                    <a:lnTo>
                      <a:pt x="76" y="568"/>
                    </a:lnTo>
                    <a:lnTo>
                      <a:pt x="76" y="568"/>
                    </a:lnTo>
                    <a:lnTo>
                      <a:pt x="74" y="570"/>
                    </a:lnTo>
                    <a:lnTo>
                      <a:pt x="72" y="574"/>
                    </a:lnTo>
                    <a:lnTo>
                      <a:pt x="72" y="578"/>
                    </a:lnTo>
                    <a:lnTo>
                      <a:pt x="70" y="580"/>
                    </a:lnTo>
                    <a:lnTo>
                      <a:pt x="70" y="586"/>
                    </a:lnTo>
                    <a:lnTo>
                      <a:pt x="68" y="590"/>
                    </a:lnTo>
                    <a:lnTo>
                      <a:pt x="74" y="588"/>
                    </a:lnTo>
                    <a:lnTo>
                      <a:pt x="78" y="588"/>
                    </a:lnTo>
                    <a:lnTo>
                      <a:pt x="84" y="586"/>
                    </a:lnTo>
                    <a:lnTo>
                      <a:pt x="88" y="586"/>
                    </a:lnTo>
                    <a:lnTo>
                      <a:pt x="90" y="586"/>
                    </a:lnTo>
                    <a:lnTo>
                      <a:pt x="94" y="586"/>
                    </a:lnTo>
                    <a:lnTo>
                      <a:pt x="96" y="586"/>
                    </a:lnTo>
                    <a:lnTo>
                      <a:pt x="100" y="586"/>
                    </a:lnTo>
                    <a:lnTo>
                      <a:pt x="102" y="586"/>
                    </a:lnTo>
                    <a:lnTo>
                      <a:pt x="104" y="586"/>
                    </a:lnTo>
                    <a:lnTo>
                      <a:pt x="106" y="586"/>
                    </a:lnTo>
                    <a:lnTo>
                      <a:pt x="106" y="588"/>
                    </a:lnTo>
                    <a:lnTo>
                      <a:pt x="108" y="588"/>
                    </a:lnTo>
                    <a:lnTo>
                      <a:pt x="108" y="588"/>
                    </a:lnTo>
                    <a:lnTo>
                      <a:pt x="108" y="590"/>
                    </a:lnTo>
                    <a:lnTo>
                      <a:pt x="110" y="592"/>
                    </a:lnTo>
                    <a:lnTo>
                      <a:pt x="110" y="594"/>
                    </a:lnTo>
                    <a:lnTo>
                      <a:pt x="110" y="598"/>
                    </a:lnTo>
                    <a:lnTo>
                      <a:pt x="112" y="600"/>
                    </a:lnTo>
                    <a:lnTo>
                      <a:pt x="112" y="604"/>
                    </a:lnTo>
                    <a:lnTo>
                      <a:pt x="114" y="606"/>
                    </a:lnTo>
                    <a:lnTo>
                      <a:pt x="114" y="608"/>
                    </a:lnTo>
                    <a:lnTo>
                      <a:pt x="114" y="608"/>
                    </a:lnTo>
                    <a:lnTo>
                      <a:pt x="116" y="610"/>
                    </a:lnTo>
                    <a:lnTo>
                      <a:pt x="116" y="612"/>
                    </a:lnTo>
                    <a:lnTo>
                      <a:pt x="118" y="614"/>
                    </a:lnTo>
                    <a:lnTo>
                      <a:pt x="120" y="614"/>
                    </a:lnTo>
                    <a:lnTo>
                      <a:pt x="124" y="618"/>
                    </a:lnTo>
                    <a:lnTo>
                      <a:pt x="128" y="620"/>
                    </a:lnTo>
                    <a:lnTo>
                      <a:pt x="132" y="624"/>
                    </a:lnTo>
                    <a:lnTo>
                      <a:pt x="136" y="626"/>
                    </a:lnTo>
                    <a:lnTo>
                      <a:pt x="144" y="632"/>
                    </a:lnTo>
                    <a:lnTo>
                      <a:pt x="150" y="636"/>
                    </a:lnTo>
                    <a:lnTo>
                      <a:pt x="154" y="638"/>
                    </a:lnTo>
                    <a:lnTo>
                      <a:pt x="158" y="642"/>
                    </a:lnTo>
                    <a:lnTo>
                      <a:pt x="162" y="644"/>
                    </a:lnTo>
                    <a:lnTo>
                      <a:pt x="166" y="648"/>
                    </a:lnTo>
                    <a:lnTo>
                      <a:pt x="166" y="648"/>
                    </a:lnTo>
                    <a:lnTo>
                      <a:pt x="168" y="650"/>
                    </a:lnTo>
                    <a:lnTo>
                      <a:pt x="170" y="652"/>
                    </a:lnTo>
                    <a:lnTo>
                      <a:pt x="170" y="654"/>
                    </a:lnTo>
                    <a:lnTo>
                      <a:pt x="172" y="656"/>
                    </a:lnTo>
                    <a:lnTo>
                      <a:pt x="172" y="658"/>
                    </a:lnTo>
                    <a:lnTo>
                      <a:pt x="172" y="658"/>
                    </a:lnTo>
                    <a:lnTo>
                      <a:pt x="172" y="660"/>
                    </a:lnTo>
                    <a:lnTo>
                      <a:pt x="172" y="660"/>
                    </a:lnTo>
                    <a:lnTo>
                      <a:pt x="172" y="662"/>
                    </a:lnTo>
                    <a:lnTo>
                      <a:pt x="172" y="664"/>
                    </a:lnTo>
                    <a:lnTo>
                      <a:pt x="172" y="666"/>
                    </a:lnTo>
                    <a:lnTo>
                      <a:pt x="170" y="670"/>
                    </a:lnTo>
                    <a:lnTo>
                      <a:pt x="170" y="672"/>
                    </a:lnTo>
                    <a:lnTo>
                      <a:pt x="168" y="680"/>
                    </a:lnTo>
                    <a:lnTo>
                      <a:pt x="166" y="686"/>
                    </a:lnTo>
                    <a:lnTo>
                      <a:pt x="164" y="688"/>
                    </a:lnTo>
                    <a:lnTo>
                      <a:pt x="164" y="692"/>
                    </a:lnTo>
                    <a:lnTo>
                      <a:pt x="162" y="694"/>
                    </a:lnTo>
                    <a:lnTo>
                      <a:pt x="162" y="696"/>
                    </a:lnTo>
                    <a:lnTo>
                      <a:pt x="162" y="700"/>
                    </a:lnTo>
                    <a:lnTo>
                      <a:pt x="162" y="700"/>
                    </a:lnTo>
                    <a:lnTo>
                      <a:pt x="162" y="702"/>
                    </a:lnTo>
                    <a:lnTo>
                      <a:pt x="164" y="702"/>
                    </a:lnTo>
                    <a:lnTo>
                      <a:pt x="164" y="702"/>
                    </a:lnTo>
                    <a:lnTo>
                      <a:pt x="164" y="704"/>
                    </a:lnTo>
                    <a:lnTo>
                      <a:pt x="166" y="704"/>
                    </a:lnTo>
                    <a:lnTo>
                      <a:pt x="166" y="706"/>
                    </a:lnTo>
                    <a:lnTo>
                      <a:pt x="168" y="706"/>
                    </a:lnTo>
                    <a:lnTo>
                      <a:pt x="170" y="708"/>
                    </a:lnTo>
                    <a:lnTo>
                      <a:pt x="170" y="708"/>
                    </a:lnTo>
                    <a:lnTo>
                      <a:pt x="170" y="708"/>
                    </a:lnTo>
                    <a:lnTo>
                      <a:pt x="170" y="708"/>
                    </a:lnTo>
                    <a:lnTo>
                      <a:pt x="170" y="710"/>
                    </a:lnTo>
                    <a:lnTo>
                      <a:pt x="170" y="710"/>
                    </a:lnTo>
                    <a:lnTo>
                      <a:pt x="170" y="712"/>
                    </a:lnTo>
                    <a:lnTo>
                      <a:pt x="168" y="712"/>
                    </a:lnTo>
                    <a:lnTo>
                      <a:pt x="168" y="714"/>
                    </a:lnTo>
                    <a:lnTo>
                      <a:pt x="166" y="714"/>
                    </a:lnTo>
                    <a:lnTo>
                      <a:pt x="164" y="716"/>
                    </a:lnTo>
                    <a:lnTo>
                      <a:pt x="160" y="720"/>
                    </a:lnTo>
                    <a:lnTo>
                      <a:pt x="156" y="722"/>
                    </a:lnTo>
                    <a:lnTo>
                      <a:pt x="156" y="722"/>
                    </a:lnTo>
                    <a:lnTo>
                      <a:pt x="148" y="728"/>
                    </a:lnTo>
                    <a:lnTo>
                      <a:pt x="146" y="732"/>
                    </a:lnTo>
                    <a:lnTo>
                      <a:pt x="144" y="734"/>
                    </a:lnTo>
                    <a:lnTo>
                      <a:pt x="142" y="736"/>
                    </a:lnTo>
                    <a:lnTo>
                      <a:pt x="142" y="738"/>
                    </a:lnTo>
                    <a:lnTo>
                      <a:pt x="140" y="740"/>
                    </a:lnTo>
                    <a:lnTo>
                      <a:pt x="140" y="742"/>
                    </a:lnTo>
                    <a:lnTo>
                      <a:pt x="138" y="742"/>
                    </a:lnTo>
                    <a:lnTo>
                      <a:pt x="138" y="744"/>
                    </a:lnTo>
                    <a:lnTo>
                      <a:pt x="138" y="744"/>
                    </a:lnTo>
                    <a:lnTo>
                      <a:pt x="138" y="746"/>
                    </a:lnTo>
                    <a:lnTo>
                      <a:pt x="140" y="746"/>
                    </a:lnTo>
                    <a:lnTo>
                      <a:pt x="140" y="748"/>
                    </a:lnTo>
                    <a:lnTo>
                      <a:pt x="140" y="748"/>
                    </a:lnTo>
                    <a:lnTo>
                      <a:pt x="142" y="748"/>
                    </a:lnTo>
                    <a:lnTo>
                      <a:pt x="144" y="750"/>
                    </a:lnTo>
                    <a:lnTo>
                      <a:pt x="148" y="752"/>
                    </a:lnTo>
                    <a:lnTo>
                      <a:pt x="154" y="754"/>
                    </a:lnTo>
                    <a:lnTo>
                      <a:pt x="156" y="754"/>
                    </a:lnTo>
                    <a:lnTo>
                      <a:pt x="156" y="754"/>
                    </a:lnTo>
                    <a:lnTo>
                      <a:pt x="158" y="756"/>
                    </a:lnTo>
                    <a:lnTo>
                      <a:pt x="160" y="756"/>
                    </a:lnTo>
                    <a:lnTo>
                      <a:pt x="160" y="758"/>
                    </a:lnTo>
                    <a:lnTo>
                      <a:pt x="164" y="762"/>
                    </a:lnTo>
                    <a:lnTo>
                      <a:pt x="168" y="766"/>
                    </a:lnTo>
                    <a:lnTo>
                      <a:pt x="172" y="764"/>
                    </a:lnTo>
                    <a:lnTo>
                      <a:pt x="176" y="762"/>
                    </a:lnTo>
                    <a:lnTo>
                      <a:pt x="180" y="758"/>
                    </a:lnTo>
                    <a:lnTo>
                      <a:pt x="186" y="754"/>
                    </a:lnTo>
                    <a:lnTo>
                      <a:pt x="188" y="754"/>
                    </a:lnTo>
                    <a:lnTo>
                      <a:pt x="190" y="752"/>
                    </a:lnTo>
                    <a:lnTo>
                      <a:pt x="194" y="750"/>
                    </a:lnTo>
                    <a:lnTo>
                      <a:pt x="196" y="750"/>
                    </a:lnTo>
                    <a:lnTo>
                      <a:pt x="198" y="748"/>
                    </a:lnTo>
                    <a:lnTo>
                      <a:pt x="200" y="748"/>
                    </a:lnTo>
                    <a:lnTo>
                      <a:pt x="200" y="748"/>
                    </a:lnTo>
                    <a:lnTo>
                      <a:pt x="202" y="748"/>
                    </a:lnTo>
                    <a:lnTo>
                      <a:pt x="202" y="750"/>
                    </a:lnTo>
                    <a:lnTo>
                      <a:pt x="204" y="750"/>
                    </a:lnTo>
                    <a:lnTo>
                      <a:pt x="206" y="752"/>
                    </a:lnTo>
                    <a:lnTo>
                      <a:pt x="208" y="754"/>
                    </a:lnTo>
                    <a:lnTo>
                      <a:pt x="212" y="754"/>
                    </a:lnTo>
                    <a:lnTo>
                      <a:pt x="214" y="756"/>
                    </a:lnTo>
                    <a:lnTo>
                      <a:pt x="216" y="758"/>
                    </a:lnTo>
                    <a:lnTo>
                      <a:pt x="216" y="758"/>
                    </a:lnTo>
                    <a:lnTo>
                      <a:pt x="218" y="758"/>
                    </a:lnTo>
                    <a:lnTo>
                      <a:pt x="218" y="758"/>
                    </a:lnTo>
                    <a:lnTo>
                      <a:pt x="220" y="758"/>
                    </a:lnTo>
                    <a:lnTo>
                      <a:pt x="224" y="758"/>
                    </a:lnTo>
                    <a:lnTo>
                      <a:pt x="228" y="758"/>
                    </a:lnTo>
                    <a:lnTo>
                      <a:pt x="228" y="758"/>
                    </a:lnTo>
                    <a:lnTo>
                      <a:pt x="230" y="758"/>
                    </a:lnTo>
                    <a:lnTo>
                      <a:pt x="232" y="760"/>
                    </a:lnTo>
                    <a:lnTo>
                      <a:pt x="234" y="760"/>
                    </a:lnTo>
                    <a:lnTo>
                      <a:pt x="234" y="762"/>
                    </a:lnTo>
                    <a:lnTo>
                      <a:pt x="236" y="764"/>
                    </a:lnTo>
                    <a:lnTo>
                      <a:pt x="240" y="768"/>
                    </a:lnTo>
                    <a:lnTo>
                      <a:pt x="244" y="770"/>
                    </a:lnTo>
                    <a:lnTo>
                      <a:pt x="246" y="774"/>
                    </a:lnTo>
                    <a:lnTo>
                      <a:pt x="252" y="780"/>
                    </a:lnTo>
                    <a:lnTo>
                      <a:pt x="258" y="788"/>
                    </a:lnTo>
                    <a:lnTo>
                      <a:pt x="286" y="780"/>
                    </a:lnTo>
                    <a:lnTo>
                      <a:pt x="284" y="776"/>
                    </a:lnTo>
                    <a:lnTo>
                      <a:pt x="282" y="772"/>
                    </a:lnTo>
                    <a:lnTo>
                      <a:pt x="280" y="768"/>
                    </a:lnTo>
                    <a:lnTo>
                      <a:pt x="280" y="764"/>
                    </a:lnTo>
                    <a:lnTo>
                      <a:pt x="278" y="762"/>
                    </a:lnTo>
                    <a:lnTo>
                      <a:pt x="278" y="760"/>
                    </a:lnTo>
                    <a:lnTo>
                      <a:pt x="278" y="760"/>
                    </a:lnTo>
                    <a:lnTo>
                      <a:pt x="278" y="758"/>
                    </a:lnTo>
                    <a:lnTo>
                      <a:pt x="280" y="756"/>
                    </a:lnTo>
                    <a:lnTo>
                      <a:pt x="280" y="754"/>
                    </a:lnTo>
                    <a:lnTo>
                      <a:pt x="282" y="752"/>
                    </a:lnTo>
                    <a:lnTo>
                      <a:pt x="284" y="748"/>
                    </a:lnTo>
                    <a:lnTo>
                      <a:pt x="286" y="746"/>
                    </a:lnTo>
                    <a:lnTo>
                      <a:pt x="288" y="744"/>
                    </a:lnTo>
                    <a:lnTo>
                      <a:pt x="290" y="740"/>
                    </a:lnTo>
                    <a:lnTo>
                      <a:pt x="294" y="738"/>
                    </a:lnTo>
                    <a:lnTo>
                      <a:pt x="296" y="736"/>
                    </a:lnTo>
                    <a:lnTo>
                      <a:pt x="302" y="730"/>
                    </a:lnTo>
                    <a:lnTo>
                      <a:pt x="306" y="72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48" name="Gruppieren 697">
              <a:extLst>
                <a:ext uri="{FF2B5EF4-FFF2-40B4-BE49-F238E27FC236}">
                  <a16:creationId xmlns:a16="http://schemas.microsoft.com/office/drawing/2014/main" id="{6FC1C8AC-809D-4B37-A5CF-25AB615004B6}"/>
                </a:ext>
              </a:extLst>
            </p:cNvPr>
            <p:cNvGrpSpPr/>
            <p:nvPr/>
          </p:nvGrpSpPr>
          <p:grpSpPr>
            <a:xfrm>
              <a:off x="7442373" y="3232838"/>
              <a:ext cx="322166" cy="498838"/>
              <a:chOff x="7218653" y="3495842"/>
              <a:chExt cx="295275" cy="457200"/>
            </a:xfrm>
            <a:grpFill/>
          </p:grpSpPr>
          <p:sp>
            <p:nvSpPr>
              <p:cNvPr id="482" name="Freeform 54">
                <a:extLst>
                  <a:ext uri="{FF2B5EF4-FFF2-40B4-BE49-F238E27FC236}">
                    <a16:creationId xmlns:a16="http://schemas.microsoft.com/office/drawing/2014/main" id="{1DBDE142-4D57-4155-AF44-C8995225A482}"/>
                  </a:ext>
                </a:extLst>
              </p:cNvPr>
              <p:cNvSpPr>
                <a:spLocks/>
              </p:cNvSpPr>
              <p:nvPr/>
            </p:nvSpPr>
            <p:spPr bwMode="auto">
              <a:xfrm>
                <a:off x="7402803" y="3495842"/>
                <a:ext cx="111125" cy="142875"/>
              </a:xfrm>
              <a:custGeom>
                <a:avLst/>
                <a:gdLst>
                  <a:gd name="T0" fmla="*/ 12 w 70"/>
                  <a:gd name="T1" fmla="*/ 8 h 90"/>
                  <a:gd name="T2" fmla="*/ 12 w 70"/>
                  <a:gd name="T3" fmla="*/ 14 h 90"/>
                  <a:gd name="T4" fmla="*/ 14 w 70"/>
                  <a:gd name="T5" fmla="*/ 24 h 90"/>
                  <a:gd name="T6" fmla="*/ 16 w 70"/>
                  <a:gd name="T7" fmla="*/ 34 h 90"/>
                  <a:gd name="T8" fmla="*/ 16 w 70"/>
                  <a:gd name="T9" fmla="*/ 42 h 90"/>
                  <a:gd name="T10" fmla="*/ 16 w 70"/>
                  <a:gd name="T11" fmla="*/ 48 h 90"/>
                  <a:gd name="T12" fmla="*/ 10 w 70"/>
                  <a:gd name="T13" fmla="*/ 56 h 90"/>
                  <a:gd name="T14" fmla="*/ 6 w 70"/>
                  <a:gd name="T15" fmla="*/ 62 h 90"/>
                  <a:gd name="T16" fmla="*/ 0 w 70"/>
                  <a:gd name="T17" fmla="*/ 70 h 90"/>
                  <a:gd name="T18" fmla="*/ 0 w 70"/>
                  <a:gd name="T19" fmla="*/ 72 h 90"/>
                  <a:gd name="T20" fmla="*/ 2 w 70"/>
                  <a:gd name="T21" fmla="*/ 76 h 90"/>
                  <a:gd name="T22" fmla="*/ 6 w 70"/>
                  <a:gd name="T23" fmla="*/ 80 h 90"/>
                  <a:gd name="T24" fmla="*/ 8 w 70"/>
                  <a:gd name="T25" fmla="*/ 82 h 90"/>
                  <a:gd name="T26" fmla="*/ 12 w 70"/>
                  <a:gd name="T27" fmla="*/ 80 h 90"/>
                  <a:gd name="T28" fmla="*/ 18 w 70"/>
                  <a:gd name="T29" fmla="*/ 78 h 90"/>
                  <a:gd name="T30" fmla="*/ 24 w 70"/>
                  <a:gd name="T31" fmla="*/ 76 h 90"/>
                  <a:gd name="T32" fmla="*/ 26 w 70"/>
                  <a:gd name="T33" fmla="*/ 74 h 90"/>
                  <a:gd name="T34" fmla="*/ 34 w 70"/>
                  <a:gd name="T35" fmla="*/ 76 h 90"/>
                  <a:gd name="T36" fmla="*/ 40 w 70"/>
                  <a:gd name="T37" fmla="*/ 78 h 90"/>
                  <a:gd name="T38" fmla="*/ 42 w 70"/>
                  <a:gd name="T39" fmla="*/ 80 h 90"/>
                  <a:gd name="T40" fmla="*/ 48 w 70"/>
                  <a:gd name="T41" fmla="*/ 88 h 90"/>
                  <a:gd name="T42" fmla="*/ 48 w 70"/>
                  <a:gd name="T43" fmla="*/ 90 h 90"/>
                  <a:gd name="T44" fmla="*/ 50 w 70"/>
                  <a:gd name="T45" fmla="*/ 88 h 90"/>
                  <a:gd name="T46" fmla="*/ 52 w 70"/>
                  <a:gd name="T47" fmla="*/ 82 h 90"/>
                  <a:gd name="T48" fmla="*/ 56 w 70"/>
                  <a:gd name="T49" fmla="*/ 72 h 90"/>
                  <a:gd name="T50" fmla="*/ 60 w 70"/>
                  <a:gd name="T51" fmla="*/ 68 h 90"/>
                  <a:gd name="T52" fmla="*/ 64 w 70"/>
                  <a:gd name="T53" fmla="*/ 64 h 90"/>
                  <a:gd name="T54" fmla="*/ 68 w 70"/>
                  <a:gd name="T55" fmla="*/ 62 h 90"/>
                  <a:gd name="T56" fmla="*/ 70 w 70"/>
                  <a:gd name="T57" fmla="*/ 62 h 90"/>
                  <a:gd name="T58" fmla="*/ 70 w 70"/>
                  <a:gd name="T59" fmla="*/ 58 h 90"/>
                  <a:gd name="T60" fmla="*/ 70 w 70"/>
                  <a:gd name="T61" fmla="*/ 50 h 90"/>
                  <a:gd name="T62" fmla="*/ 68 w 70"/>
                  <a:gd name="T63" fmla="*/ 44 h 90"/>
                  <a:gd name="T64" fmla="*/ 66 w 70"/>
                  <a:gd name="T65" fmla="*/ 42 h 90"/>
                  <a:gd name="T66" fmla="*/ 60 w 70"/>
                  <a:gd name="T67" fmla="*/ 40 h 90"/>
                  <a:gd name="T68" fmla="*/ 52 w 70"/>
                  <a:gd name="T69" fmla="*/ 38 h 90"/>
                  <a:gd name="T70" fmla="*/ 40 w 70"/>
                  <a:gd name="T71" fmla="*/ 36 h 90"/>
                  <a:gd name="T72" fmla="*/ 34 w 70"/>
                  <a:gd name="T73" fmla="*/ 32 h 90"/>
                  <a:gd name="T74" fmla="*/ 30 w 70"/>
                  <a:gd name="T75" fmla="*/ 30 h 90"/>
                  <a:gd name="T76" fmla="*/ 28 w 70"/>
                  <a:gd name="T77" fmla="*/ 28 h 90"/>
                  <a:gd name="T78" fmla="*/ 26 w 70"/>
                  <a:gd name="T79" fmla="*/ 18 h 90"/>
                  <a:gd name="T80" fmla="*/ 24 w 70"/>
                  <a:gd name="T81" fmla="*/ 12 h 90"/>
                  <a:gd name="T82" fmla="*/ 22 w 70"/>
                  <a:gd name="T83" fmla="*/ 4 h 90"/>
                  <a:gd name="T84" fmla="*/ 20 w 70"/>
                  <a:gd name="T85" fmla="*/ 0 h 90"/>
                  <a:gd name="T86" fmla="*/ 18 w 70"/>
                  <a:gd name="T87" fmla="*/ 0 h 90"/>
                  <a:gd name="T88" fmla="*/ 14 w 70"/>
                  <a:gd name="T89" fmla="*/ 2 h 90"/>
                  <a:gd name="T90" fmla="*/ 12 w 70"/>
                  <a:gd name="T91" fmla="*/ 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 h="90">
                    <a:moveTo>
                      <a:pt x="12" y="8"/>
                    </a:moveTo>
                    <a:lnTo>
                      <a:pt x="12" y="8"/>
                    </a:lnTo>
                    <a:lnTo>
                      <a:pt x="12" y="8"/>
                    </a:lnTo>
                    <a:lnTo>
                      <a:pt x="12" y="10"/>
                    </a:lnTo>
                    <a:lnTo>
                      <a:pt x="12" y="12"/>
                    </a:lnTo>
                    <a:lnTo>
                      <a:pt x="12" y="14"/>
                    </a:lnTo>
                    <a:lnTo>
                      <a:pt x="12" y="18"/>
                    </a:lnTo>
                    <a:lnTo>
                      <a:pt x="14" y="22"/>
                    </a:lnTo>
                    <a:lnTo>
                      <a:pt x="14" y="24"/>
                    </a:lnTo>
                    <a:lnTo>
                      <a:pt x="16" y="26"/>
                    </a:lnTo>
                    <a:lnTo>
                      <a:pt x="16" y="30"/>
                    </a:lnTo>
                    <a:lnTo>
                      <a:pt x="16" y="34"/>
                    </a:lnTo>
                    <a:lnTo>
                      <a:pt x="16" y="38"/>
                    </a:lnTo>
                    <a:lnTo>
                      <a:pt x="16" y="40"/>
                    </a:lnTo>
                    <a:lnTo>
                      <a:pt x="16" y="42"/>
                    </a:lnTo>
                    <a:lnTo>
                      <a:pt x="16" y="44"/>
                    </a:lnTo>
                    <a:lnTo>
                      <a:pt x="16" y="44"/>
                    </a:lnTo>
                    <a:lnTo>
                      <a:pt x="16" y="48"/>
                    </a:lnTo>
                    <a:lnTo>
                      <a:pt x="14" y="50"/>
                    </a:lnTo>
                    <a:lnTo>
                      <a:pt x="12" y="52"/>
                    </a:lnTo>
                    <a:lnTo>
                      <a:pt x="10" y="56"/>
                    </a:lnTo>
                    <a:lnTo>
                      <a:pt x="8" y="60"/>
                    </a:lnTo>
                    <a:lnTo>
                      <a:pt x="6" y="60"/>
                    </a:lnTo>
                    <a:lnTo>
                      <a:pt x="6" y="62"/>
                    </a:lnTo>
                    <a:lnTo>
                      <a:pt x="2" y="66"/>
                    </a:lnTo>
                    <a:lnTo>
                      <a:pt x="2" y="68"/>
                    </a:lnTo>
                    <a:lnTo>
                      <a:pt x="0" y="70"/>
                    </a:lnTo>
                    <a:lnTo>
                      <a:pt x="0" y="70"/>
                    </a:lnTo>
                    <a:lnTo>
                      <a:pt x="0" y="72"/>
                    </a:lnTo>
                    <a:lnTo>
                      <a:pt x="0" y="72"/>
                    </a:lnTo>
                    <a:lnTo>
                      <a:pt x="0" y="74"/>
                    </a:lnTo>
                    <a:lnTo>
                      <a:pt x="0" y="74"/>
                    </a:lnTo>
                    <a:lnTo>
                      <a:pt x="2" y="76"/>
                    </a:lnTo>
                    <a:lnTo>
                      <a:pt x="2" y="76"/>
                    </a:lnTo>
                    <a:lnTo>
                      <a:pt x="4" y="78"/>
                    </a:lnTo>
                    <a:lnTo>
                      <a:pt x="6" y="80"/>
                    </a:lnTo>
                    <a:lnTo>
                      <a:pt x="6" y="80"/>
                    </a:lnTo>
                    <a:lnTo>
                      <a:pt x="8" y="80"/>
                    </a:lnTo>
                    <a:lnTo>
                      <a:pt x="8" y="82"/>
                    </a:lnTo>
                    <a:lnTo>
                      <a:pt x="10" y="82"/>
                    </a:lnTo>
                    <a:lnTo>
                      <a:pt x="10" y="80"/>
                    </a:lnTo>
                    <a:lnTo>
                      <a:pt x="12" y="80"/>
                    </a:lnTo>
                    <a:lnTo>
                      <a:pt x="12" y="80"/>
                    </a:lnTo>
                    <a:lnTo>
                      <a:pt x="14" y="80"/>
                    </a:lnTo>
                    <a:lnTo>
                      <a:pt x="18" y="78"/>
                    </a:lnTo>
                    <a:lnTo>
                      <a:pt x="20" y="76"/>
                    </a:lnTo>
                    <a:lnTo>
                      <a:pt x="22" y="76"/>
                    </a:lnTo>
                    <a:lnTo>
                      <a:pt x="24" y="76"/>
                    </a:lnTo>
                    <a:lnTo>
                      <a:pt x="24" y="74"/>
                    </a:lnTo>
                    <a:lnTo>
                      <a:pt x="26" y="74"/>
                    </a:lnTo>
                    <a:lnTo>
                      <a:pt x="26" y="74"/>
                    </a:lnTo>
                    <a:lnTo>
                      <a:pt x="30" y="74"/>
                    </a:lnTo>
                    <a:lnTo>
                      <a:pt x="32" y="76"/>
                    </a:lnTo>
                    <a:lnTo>
                      <a:pt x="34" y="76"/>
                    </a:lnTo>
                    <a:lnTo>
                      <a:pt x="36" y="76"/>
                    </a:lnTo>
                    <a:lnTo>
                      <a:pt x="38" y="76"/>
                    </a:lnTo>
                    <a:lnTo>
                      <a:pt x="40" y="78"/>
                    </a:lnTo>
                    <a:lnTo>
                      <a:pt x="42" y="78"/>
                    </a:lnTo>
                    <a:lnTo>
                      <a:pt x="42" y="78"/>
                    </a:lnTo>
                    <a:lnTo>
                      <a:pt x="42" y="80"/>
                    </a:lnTo>
                    <a:lnTo>
                      <a:pt x="44" y="82"/>
                    </a:lnTo>
                    <a:lnTo>
                      <a:pt x="46" y="86"/>
                    </a:lnTo>
                    <a:lnTo>
                      <a:pt x="48" y="88"/>
                    </a:lnTo>
                    <a:lnTo>
                      <a:pt x="48" y="88"/>
                    </a:lnTo>
                    <a:lnTo>
                      <a:pt x="48" y="90"/>
                    </a:lnTo>
                    <a:lnTo>
                      <a:pt x="48" y="90"/>
                    </a:lnTo>
                    <a:lnTo>
                      <a:pt x="50" y="90"/>
                    </a:lnTo>
                    <a:lnTo>
                      <a:pt x="50" y="88"/>
                    </a:lnTo>
                    <a:lnTo>
                      <a:pt x="50" y="88"/>
                    </a:lnTo>
                    <a:lnTo>
                      <a:pt x="50" y="86"/>
                    </a:lnTo>
                    <a:lnTo>
                      <a:pt x="50" y="84"/>
                    </a:lnTo>
                    <a:lnTo>
                      <a:pt x="52" y="82"/>
                    </a:lnTo>
                    <a:lnTo>
                      <a:pt x="52" y="78"/>
                    </a:lnTo>
                    <a:lnTo>
                      <a:pt x="54" y="74"/>
                    </a:lnTo>
                    <a:lnTo>
                      <a:pt x="56" y="72"/>
                    </a:lnTo>
                    <a:lnTo>
                      <a:pt x="58" y="70"/>
                    </a:lnTo>
                    <a:lnTo>
                      <a:pt x="58" y="68"/>
                    </a:lnTo>
                    <a:lnTo>
                      <a:pt x="60" y="68"/>
                    </a:lnTo>
                    <a:lnTo>
                      <a:pt x="60" y="66"/>
                    </a:lnTo>
                    <a:lnTo>
                      <a:pt x="62" y="66"/>
                    </a:lnTo>
                    <a:lnTo>
                      <a:pt x="64" y="64"/>
                    </a:lnTo>
                    <a:lnTo>
                      <a:pt x="66" y="64"/>
                    </a:lnTo>
                    <a:lnTo>
                      <a:pt x="68" y="64"/>
                    </a:lnTo>
                    <a:lnTo>
                      <a:pt x="68" y="62"/>
                    </a:lnTo>
                    <a:lnTo>
                      <a:pt x="68" y="62"/>
                    </a:lnTo>
                    <a:lnTo>
                      <a:pt x="70" y="62"/>
                    </a:lnTo>
                    <a:lnTo>
                      <a:pt x="70" y="62"/>
                    </a:lnTo>
                    <a:lnTo>
                      <a:pt x="70" y="60"/>
                    </a:lnTo>
                    <a:lnTo>
                      <a:pt x="70" y="60"/>
                    </a:lnTo>
                    <a:lnTo>
                      <a:pt x="70" y="58"/>
                    </a:lnTo>
                    <a:lnTo>
                      <a:pt x="70" y="56"/>
                    </a:lnTo>
                    <a:lnTo>
                      <a:pt x="70" y="52"/>
                    </a:lnTo>
                    <a:lnTo>
                      <a:pt x="70" y="50"/>
                    </a:lnTo>
                    <a:lnTo>
                      <a:pt x="68" y="48"/>
                    </a:lnTo>
                    <a:lnTo>
                      <a:pt x="68" y="44"/>
                    </a:lnTo>
                    <a:lnTo>
                      <a:pt x="68" y="44"/>
                    </a:lnTo>
                    <a:lnTo>
                      <a:pt x="66" y="44"/>
                    </a:lnTo>
                    <a:lnTo>
                      <a:pt x="66" y="42"/>
                    </a:lnTo>
                    <a:lnTo>
                      <a:pt x="66" y="42"/>
                    </a:lnTo>
                    <a:lnTo>
                      <a:pt x="64" y="42"/>
                    </a:lnTo>
                    <a:lnTo>
                      <a:pt x="62" y="40"/>
                    </a:lnTo>
                    <a:lnTo>
                      <a:pt x="60" y="40"/>
                    </a:lnTo>
                    <a:lnTo>
                      <a:pt x="56" y="38"/>
                    </a:lnTo>
                    <a:lnTo>
                      <a:pt x="54" y="38"/>
                    </a:lnTo>
                    <a:lnTo>
                      <a:pt x="52" y="38"/>
                    </a:lnTo>
                    <a:lnTo>
                      <a:pt x="50" y="38"/>
                    </a:lnTo>
                    <a:lnTo>
                      <a:pt x="46" y="36"/>
                    </a:lnTo>
                    <a:lnTo>
                      <a:pt x="40" y="36"/>
                    </a:lnTo>
                    <a:lnTo>
                      <a:pt x="38" y="34"/>
                    </a:lnTo>
                    <a:lnTo>
                      <a:pt x="34" y="34"/>
                    </a:lnTo>
                    <a:lnTo>
                      <a:pt x="34" y="32"/>
                    </a:lnTo>
                    <a:lnTo>
                      <a:pt x="32" y="32"/>
                    </a:lnTo>
                    <a:lnTo>
                      <a:pt x="30" y="32"/>
                    </a:lnTo>
                    <a:lnTo>
                      <a:pt x="30" y="30"/>
                    </a:lnTo>
                    <a:lnTo>
                      <a:pt x="30" y="30"/>
                    </a:lnTo>
                    <a:lnTo>
                      <a:pt x="30" y="30"/>
                    </a:lnTo>
                    <a:lnTo>
                      <a:pt x="28" y="28"/>
                    </a:lnTo>
                    <a:lnTo>
                      <a:pt x="28" y="26"/>
                    </a:lnTo>
                    <a:lnTo>
                      <a:pt x="26" y="22"/>
                    </a:lnTo>
                    <a:lnTo>
                      <a:pt x="26" y="18"/>
                    </a:lnTo>
                    <a:lnTo>
                      <a:pt x="24" y="16"/>
                    </a:lnTo>
                    <a:lnTo>
                      <a:pt x="24" y="14"/>
                    </a:lnTo>
                    <a:lnTo>
                      <a:pt x="24" y="12"/>
                    </a:lnTo>
                    <a:lnTo>
                      <a:pt x="22" y="10"/>
                    </a:lnTo>
                    <a:lnTo>
                      <a:pt x="22" y="6"/>
                    </a:lnTo>
                    <a:lnTo>
                      <a:pt x="22" y="4"/>
                    </a:lnTo>
                    <a:lnTo>
                      <a:pt x="20" y="2"/>
                    </a:lnTo>
                    <a:lnTo>
                      <a:pt x="20" y="2"/>
                    </a:lnTo>
                    <a:lnTo>
                      <a:pt x="20" y="0"/>
                    </a:lnTo>
                    <a:lnTo>
                      <a:pt x="18" y="0"/>
                    </a:lnTo>
                    <a:lnTo>
                      <a:pt x="18" y="0"/>
                    </a:lnTo>
                    <a:lnTo>
                      <a:pt x="18" y="0"/>
                    </a:lnTo>
                    <a:lnTo>
                      <a:pt x="16" y="0"/>
                    </a:lnTo>
                    <a:lnTo>
                      <a:pt x="16" y="2"/>
                    </a:lnTo>
                    <a:lnTo>
                      <a:pt x="14" y="2"/>
                    </a:lnTo>
                    <a:lnTo>
                      <a:pt x="14" y="4"/>
                    </a:lnTo>
                    <a:lnTo>
                      <a:pt x="14" y="4"/>
                    </a:lnTo>
                    <a:lnTo>
                      <a:pt x="12" y="6"/>
                    </a:lnTo>
                    <a:lnTo>
                      <a:pt x="12" y="6"/>
                    </a:lnTo>
                    <a:lnTo>
                      <a:pt x="12" y="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3" name="Freeform 57">
                <a:extLst>
                  <a:ext uri="{FF2B5EF4-FFF2-40B4-BE49-F238E27FC236}">
                    <a16:creationId xmlns:a16="http://schemas.microsoft.com/office/drawing/2014/main" id="{49094FA4-8F89-4852-AFFC-F10FC83A853C}"/>
                  </a:ext>
                </a:extLst>
              </p:cNvPr>
              <p:cNvSpPr>
                <a:spLocks/>
              </p:cNvSpPr>
              <p:nvPr/>
            </p:nvSpPr>
            <p:spPr bwMode="auto">
              <a:xfrm>
                <a:off x="7269453" y="3648242"/>
                <a:ext cx="215900" cy="228600"/>
              </a:xfrm>
              <a:custGeom>
                <a:avLst/>
                <a:gdLst>
                  <a:gd name="T0" fmla="*/ 108 w 136"/>
                  <a:gd name="T1" fmla="*/ 0 h 144"/>
                  <a:gd name="T2" fmla="*/ 116 w 136"/>
                  <a:gd name="T3" fmla="*/ 2 h 144"/>
                  <a:gd name="T4" fmla="*/ 120 w 136"/>
                  <a:gd name="T5" fmla="*/ 12 h 144"/>
                  <a:gd name="T6" fmla="*/ 122 w 136"/>
                  <a:gd name="T7" fmla="*/ 30 h 144"/>
                  <a:gd name="T8" fmla="*/ 134 w 136"/>
                  <a:gd name="T9" fmla="*/ 42 h 144"/>
                  <a:gd name="T10" fmla="*/ 136 w 136"/>
                  <a:gd name="T11" fmla="*/ 48 h 144"/>
                  <a:gd name="T12" fmla="*/ 128 w 136"/>
                  <a:gd name="T13" fmla="*/ 54 h 144"/>
                  <a:gd name="T14" fmla="*/ 120 w 136"/>
                  <a:gd name="T15" fmla="*/ 62 h 144"/>
                  <a:gd name="T16" fmla="*/ 120 w 136"/>
                  <a:gd name="T17" fmla="*/ 72 h 144"/>
                  <a:gd name="T18" fmla="*/ 126 w 136"/>
                  <a:gd name="T19" fmla="*/ 88 h 144"/>
                  <a:gd name="T20" fmla="*/ 124 w 136"/>
                  <a:gd name="T21" fmla="*/ 100 h 144"/>
                  <a:gd name="T22" fmla="*/ 120 w 136"/>
                  <a:gd name="T23" fmla="*/ 110 h 144"/>
                  <a:gd name="T24" fmla="*/ 112 w 136"/>
                  <a:gd name="T25" fmla="*/ 114 h 144"/>
                  <a:gd name="T26" fmla="*/ 106 w 136"/>
                  <a:gd name="T27" fmla="*/ 120 h 144"/>
                  <a:gd name="T28" fmla="*/ 104 w 136"/>
                  <a:gd name="T29" fmla="*/ 128 h 144"/>
                  <a:gd name="T30" fmla="*/ 100 w 136"/>
                  <a:gd name="T31" fmla="*/ 128 h 144"/>
                  <a:gd name="T32" fmla="*/ 94 w 136"/>
                  <a:gd name="T33" fmla="*/ 118 h 144"/>
                  <a:gd name="T34" fmla="*/ 90 w 136"/>
                  <a:gd name="T35" fmla="*/ 120 h 144"/>
                  <a:gd name="T36" fmla="*/ 84 w 136"/>
                  <a:gd name="T37" fmla="*/ 126 h 144"/>
                  <a:gd name="T38" fmla="*/ 70 w 136"/>
                  <a:gd name="T39" fmla="*/ 126 h 144"/>
                  <a:gd name="T40" fmla="*/ 68 w 136"/>
                  <a:gd name="T41" fmla="*/ 122 h 144"/>
                  <a:gd name="T42" fmla="*/ 64 w 136"/>
                  <a:gd name="T43" fmla="*/ 116 h 144"/>
                  <a:gd name="T44" fmla="*/ 58 w 136"/>
                  <a:gd name="T45" fmla="*/ 118 h 144"/>
                  <a:gd name="T46" fmla="*/ 56 w 136"/>
                  <a:gd name="T47" fmla="*/ 124 h 144"/>
                  <a:gd name="T48" fmla="*/ 60 w 136"/>
                  <a:gd name="T49" fmla="*/ 138 h 144"/>
                  <a:gd name="T50" fmla="*/ 56 w 136"/>
                  <a:gd name="T51" fmla="*/ 142 h 144"/>
                  <a:gd name="T52" fmla="*/ 50 w 136"/>
                  <a:gd name="T53" fmla="*/ 138 h 144"/>
                  <a:gd name="T54" fmla="*/ 42 w 136"/>
                  <a:gd name="T55" fmla="*/ 128 h 144"/>
                  <a:gd name="T56" fmla="*/ 40 w 136"/>
                  <a:gd name="T57" fmla="*/ 128 h 144"/>
                  <a:gd name="T58" fmla="*/ 38 w 136"/>
                  <a:gd name="T59" fmla="*/ 138 h 144"/>
                  <a:gd name="T60" fmla="*/ 36 w 136"/>
                  <a:gd name="T61" fmla="*/ 142 h 144"/>
                  <a:gd name="T62" fmla="*/ 28 w 136"/>
                  <a:gd name="T63" fmla="*/ 144 h 144"/>
                  <a:gd name="T64" fmla="*/ 22 w 136"/>
                  <a:gd name="T65" fmla="*/ 136 h 144"/>
                  <a:gd name="T66" fmla="*/ 18 w 136"/>
                  <a:gd name="T67" fmla="*/ 132 h 144"/>
                  <a:gd name="T68" fmla="*/ 6 w 136"/>
                  <a:gd name="T69" fmla="*/ 130 h 144"/>
                  <a:gd name="T70" fmla="*/ 0 w 136"/>
                  <a:gd name="T71" fmla="*/ 126 h 144"/>
                  <a:gd name="T72" fmla="*/ 4 w 136"/>
                  <a:gd name="T73" fmla="*/ 120 h 144"/>
                  <a:gd name="T74" fmla="*/ 14 w 136"/>
                  <a:gd name="T75" fmla="*/ 112 h 144"/>
                  <a:gd name="T76" fmla="*/ 28 w 136"/>
                  <a:gd name="T77" fmla="*/ 102 h 144"/>
                  <a:gd name="T78" fmla="*/ 36 w 136"/>
                  <a:gd name="T79" fmla="*/ 98 h 144"/>
                  <a:gd name="T80" fmla="*/ 50 w 136"/>
                  <a:gd name="T81" fmla="*/ 102 h 144"/>
                  <a:gd name="T82" fmla="*/ 56 w 136"/>
                  <a:gd name="T83" fmla="*/ 100 h 144"/>
                  <a:gd name="T84" fmla="*/ 58 w 136"/>
                  <a:gd name="T85" fmla="*/ 90 h 144"/>
                  <a:gd name="T86" fmla="*/ 60 w 136"/>
                  <a:gd name="T87" fmla="*/ 76 h 144"/>
                  <a:gd name="T88" fmla="*/ 62 w 136"/>
                  <a:gd name="T89" fmla="*/ 74 h 144"/>
                  <a:gd name="T90" fmla="*/ 70 w 136"/>
                  <a:gd name="T91" fmla="*/ 76 h 144"/>
                  <a:gd name="T92" fmla="*/ 84 w 136"/>
                  <a:gd name="T93" fmla="*/ 78 h 144"/>
                  <a:gd name="T94" fmla="*/ 90 w 136"/>
                  <a:gd name="T95" fmla="*/ 74 h 144"/>
                  <a:gd name="T96" fmla="*/ 92 w 136"/>
                  <a:gd name="T97" fmla="*/ 64 h 144"/>
                  <a:gd name="T98" fmla="*/ 92 w 136"/>
                  <a:gd name="T99" fmla="*/ 48 h 144"/>
                  <a:gd name="T100" fmla="*/ 98 w 136"/>
                  <a:gd name="T101" fmla="*/ 38 h 144"/>
                  <a:gd name="T102" fmla="*/ 98 w 136"/>
                  <a:gd name="T103" fmla="*/ 30 h 144"/>
                  <a:gd name="T104" fmla="*/ 94 w 136"/>
                  <a:gd name="T105" fmla="*/ 14 h 144"/>
                  <a:gd name="T106" fmla="*/ 96 w 136"/>
                  <a:gd name="T107"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6" h="144">
                    <a:moveTo>
                      <a:pt x="102" y="2"/>
                    </a:moveTo>
                    <a:lnTo>
                      <a:pt x="102" y="2"/>
                    </a:lnTo>
                    <a:lnTo>
                      <a:pt x="102" y="0"/>
                    </a:lnTo>
                    <a:lnTo>
                      <a:pt x="104" y="0"/>
                    </a:lnTo>
                    <a:lnTo>
                      <a:pt x="106" y="0"/>
                    </a:lnTo>
                    <a:lnTo>
                      <a:pt x="108" y="0"/>
                    </a:lnTo>
                    <a:lnTo>
                      <a:pt x="110" y="0"/>
                    </a:lnTo>
                    <a:lnTo>
                      <a:pt x="112" y="0"/>
                    </a:lnTo>
                    <a:lnTo>
                      <a:pt x="114" y="0"/>
                    </a:lnTo>
                    <a:lnTo>
                      <a:pt x="114" y="0"/>
                    </a:lnTo>
                    <a:lnTo>
                      <a:pt x="116" y="2"/>
                    </a:lnTo>
                    <a:lnTo>
                      <a:pt x="116" y="2"/>
                    </a:lnTo>
                    <a:lnTo>
                      <a:pt x="116" y="4"/>
                    </a:lnTo>
                    <a:lnTo>
                      <a:pt x="118" y="4"/>
                    </a:lnTo>
                    <a:lnTo>
                      <a:pt x="118" y="6"/>
                    </a:lnTo>
                    <a:lnTo>
                      <a:pt x="118" y="8"/>
                    </a:lnTo>
                    <a:lnTo>
                      <a:pt x="118" y="10"/>
                    </a:lnTo>
                    <a:lnTo>
                      <a:pt x="120" y="12"/>
                    </a:lnTo>
                    <a:lnTo>
                      <a:pt x="120" y="20"/>
                    </a:lnTo>
                    <a:lnTo>
                      <a:pt x="120" y="22"/>
                    </a:lnTo>
                    <a:lnTo>
                      <a:pt x="120" y="24"/>
                    </a:lnTo>
                    <a:lnTo>
                      <a:pt x="120" y="26"/>
                    </a:lnTo>
                    <a:lnTo>
                      <a:pt x="122" y="28"/>
                    </a:lnTo>
                    <a:lnTo>
                      <a:pt x="122" y="30"/>
                    </a:lnTo>
                    <a:lnTo>
                      <a:pt x="124" y="34"/>
                    </a:lnTo>
                    <a:lnTo>
                      <a:pt x="126" y="36"/>
                    </a:lnTo>
                    <a:lnTo>
                      <a:pt x="126" y="36"/>
                    </a:lnTo>
                    <a:lnTo>
                      <a:pt x="128" y="38"/>
                    </a:lnTo>
                    <a:lnTo>
                      <a:pt x="132" y="40"/>
                    </a:lnTo>
                    <a:lnTo>
                      <a:pt x="134" y="42"/>
                    </a:lnTo>
                    <a:lnTo>
                      <a:pt x="136" y="44"/>
                    </a:lnTo>
                    <a:lnTo>
                      <a:pt x="136" y="44"/>
                    </a:lnTo>
                    <a:lnTo>
                      <a:pt x="136" y="46"/>
                    </a:lnTo>
                    <a:lnTo>
                      <a:pt x="136" y="46"/>
                    </a:lnTo>
                    <a:lnTo>
                      <a:pt x="136" y="46"/>
                    </a:lnTo>
                    <a:lnTo>
                      <a:pt x="136" y="48"/>
                    </a:lnTo>
                    <a:lnTo>
                      <a:pt x="136" y="48"/>
                    </a:lnTo>
                    <a:lnTo>
                      <a:pt x="136" y="50"/>
                    </a:lnTo>
                    <a:lnTo>
                      <a:pt x="134" y="50"/>
                    </a:lnTo>
                    <a:lnTo>
                      <a:pt x="132" y="52"/>
                    </a:lnTo>
                    <a:lnTo>
                      <a:pt x="132" y="52"/>
                    </a:lnTo>
                    <a:lnTo>
                      <a:pt x="128" y="54"/>
                    </a:lnTo>
                    <a:lnTo>
                      <a:pt x="126" y="56"/>
                    </a:lnTo>
                    <a:lnTo>
                      <a:pt x="122" y="58"/>
                    </a:lnTo>
                    <a:lnTo>
                      <a:pt x="122" y="58"/>
                    </a:lnTo>
                    <a:lnTo>
                      <a:pt x="120" y="60"/>
                    </a:lnTo>
                    <a:lnTo>
                      <a:pt x="120" y="60"/>
                    </a:lnTo>
                    <a:lnTo>
                      <a:pt x="120" y="62"/>
                    </a:lnTo>
                    <a:lnTo>
                      <a:pt x="120" y="64"/>
                    </a:lnTo>
                    <a:lnTo>
                      <a:pt x="118" y="64"/>
                    </a:lnTo>
                    <a:lnTo>
                      <a:pt x="120" y="66"/>
                    </a:lnTo>
                    <a:lnTo>
                      <a:pt x="120" y="68"/>
                    </a:lnTo>
                    <a:lnTo>
                      <a:pt x="120" y="70"/>
                    </a:lnTo>
                    <a:lnTo>
                      <a:pt x="120" y="72"/>
                    </a:lnTo>
                    <a:lnTo>
                      <a:pt x="122" y="74"/>
                    </a:lnTo>
                    <a:lnTo>
                      <a:pt x="124" y="78"/>
                    </a:lnTo>
                    <a:lnTo>
                      <a:pt x="126" y="82"/>
                    </a:lnTo>
                    <a:lnTo>
                      <a:pt x="126" y="84"/>
                    </a:lnTo>
                    <a:lnTo>
                      <a:pt x="126" y="86"/>
                    </a:lnTo>
                    <a:lnTo>
                      <a:pt x="126" y="88"/>
                    </a:lnTo>
                    <a:lnTo>
                      <a:pt x="126" y="88"/>
                    </a:lnTo>
                    <a:lnTo>
                      <a:pt x="126" y="90"/>
                    </a:lnTo>
                    <a:lnTo>
                      <a:pt x="126" y="92"/>
                    </a:lnTo>
                    <a:lnTo>
                      <a:pt x="126" y="94"/>
                    </a:lnTo>
                    <a:lnTo>
                      <a:pt x="126" y="96"/>
                    </a:lnTo>
                    <a:lnTo>
                      <a:pt x="124" y="100"/>
                    </a:lnTo>
                    <a:lnTo>
                      <a:pt x="124" y="102"/>
                    </a:lnTo>
                    <a:lnTo>
                      <a:pt x="124" y="104"/>
                    </a:lnTo>
                    <a:lnTo>
                      <a:pt x="122" y="104"/>
                    </a:lnTo>
                    <a:lnTo>
                      <a:pt x="122" y="106"/>
                    </a:lnTo>
                    <a:lnTo>
                      <a:pt x="122" y="108"/>
                    </a:lnTo>
                    <a:lnTo>
                      <a:pt x="120" y="110"/>
                    </a:lnTo>
                    <a:lnTo>
                      <a:pt x="118" y="112"/>
                    </a:lnTo>
                    <a:lnTo>
                      <a:pt x="116" y="112"/>
                    </a:lnTo>
                    <a:lnTo>
                      <a:pt x="116" y="114"/>
                    </a:lnTo>
                    <a:lnTo>
                      <a:pt x="114" y="114"/>
                    </a:lnTo>
                    <a:lnTo>
                      <a:pt x="114" y="114"/>
                    </a:lnTo>
                    <a:lnTo>
                      <a:pt x="112" y="114"/>
                    </a:lnTo>
                    <a:lnTo>
                      <a:pt x="110" y="116"/>
                    </a:lnTo>
                    <a:lnTo>
                      <a:pt x="108" y="116"/>
                    </a:lnTo>
                    <a:lnTo>
                      <a:pt x="108" y="116"/>
                    </a:lnTo>
                    <a:lnTo>
                      <a:pt x="108" y="116"/>
                    </a:lnTo>
                    <a:lnTo>
                      <a:pt x="108" y="118"/>
                    </a:lnTo>
                    <a:lnTo>
                      <a:pt x="106" y="120"/>
                    </a:lnTo>
                    <a:lnTo>
                      <a:pt x="106" y="122"/>
                    </a:lnTo>
                    <a:lnTo>
                      <a:pt x="106" y="124"/>
                    </a:lnTo>
                    <a:lnTo>
                      <a:pt x="106" y="126"/>
                    </a:lnTo>
                    <a:lnTo>
                      <a:pt x="104" y="128"/>
                    </a:lnTo>
                    <a:lnTo>
                      <a:pt x="104" y="128"/>
                    </a:lnTo>
                    <a:lnTo>
                      <a:pt x="104" y="128"/>
                    </a:lnTo>
                    <a:lnTo>
                      <a:pt x="104" y="128"/>
                    </a:lnTo>
                    <a:lnTo>
                      <a:pt x="102" y="128"/>
                    </a:lnTo>
                    <a:lnTo>
                      <a:pt x="102" y="128"/>
                    </a:lnTo>
                    <a:lnTo>
                      <a:pt x="102" y="128"/>
                    </a:lnTo>
                    <a:lnTo>
                      <a:pt x="100" y="128"/>
                    </a:lnTo>
                    <a:lnTo>
                      <a:pt x="100" y="128"/>
                    </a:lnTo>
                    <a:lnTo>
                      <a:pt x="98" y="126"/>
                    </a:lnTo>
                    <a:lnTo>
                      <a:pt x="98" y="124"/>
                    </a:lnTo>
                    <a:lnTo>
                      <a:pt x="96" y="122"/>
                    </a:lnTo>
                    <a:lnTo>
                      <a:pt x="96" y="120"/>
                    </a:lnTo>
                    <a:lnTo>
                      <a:pt x="94" y="118"/>
                    </a:lnTo>
                    <a:lnTo>
                      <a:pt x="94" y="118"/>
                    </a:lnTo>
                    <a:lnTo>
                      <a:pt x="94" y="118"/>
                    </a:lnTo>
                    <a:lnTo>
                      <a:pt x="92" y="118"/>
                    </a:lnTo>
                    <a:lnTo>
                      <a:pt x="92" y="118"/>
                    </a:lnTo>
                    <a:lnTo>
                      <a:pt x="92" y="118"/>
                    </a:lnTo>
                    <a:lnTo>
                      <a:pt x="92" y="118"/>
                    </a:lnTo>
                    <a:lnTo>
                      <a:pt x="90" y="120"/>
                    </a:lnTo>
                    <a:lnTo>
                      <a:pt x="90" y="120"/>
                    </a:lnTo>
                    <a:lnTo>
                      <a:pt x="88" y="122"/>
                    </a:lnTo>
                    <a:lnTo>
                      <a:pt x="88" y="124"/>
                    </a:lnTo>
                    <a:lnTo>
                      <a:pt x="88" y="124"/>
                    </a:lnTo>
                    <a:lnTo>
                      <a:pt x="86" y="124"/>
                    </a:lnTo>
                    <a:lnTo>
                      <a:pt x="84" y="126"/>
                    </a:lnTo>
                    <a:lnTo>
                      <a:pt x="80" y="126"/>
                    </a:lnTo>
                    <a:lnTo>
                      <a:pt x="78" y="126"/>
                    </a:lnTo>
                    <a:lnTo>
                      <a:pt x="76" y="126"/>
                    </a:lnTo>
                    <a:lnTo>
                      <a:pt x="72" y="126"/>
                    </a:lnTo>
                    <a:lnTo>
                      <a:pt x="72" y="126"/>
                    </a:lnTo>
                    <a:lnTo>
                      <a:pt x="70" y="126"/>
                    </a:lnTo>
                    <a:lnTo>
                      <a:pt x="70" y="126"/>
                    </a:lnTo>
                    <a:lnTo>
                      <a:pt x="68" y="126"/>
                    </a:lnTo>
                    <a:lnTo>
                      <a:pt x="68" y="124"/>
                    </a:lnTo>
                    <a:lnTo>
                      <a:pt x="68" y="124"/>
                    </a:lnTo>
                    <a:lnTo>
                      <a:pt x="68" y="124"/>
                    </a:lnTo>
                    <a:lnTo>
                      <a:pt x="68" y="122"/>
                    </a:lnTo>
                    <a:lnTo>
                      <a:pt x="66" y="120"/>
                    </a:lnTo>
                    <a:lnTo>
                      <a:pt x="66" y="120"/>
                    </a:lnTo>
                    <a:lnTo>
                      <a:pt x="66" y="118"/>
                    </a:lnTo>
                    <a:lnTo>
                      <a:pt x="66" y="116"/>
                    </a:lnTo>
                    <a:lnTo>
                      <a:pt x="66" y="116"/>
                    </a:lnTo>
                    <a:lnTo>
                      <a:pt x="64" y="116"/>
                    </a:lnTo>
                    <a:lnTo>
                      <a:pt x="64" y="116"/>
                    </a:lnTo>
                    <a:lnTo>
                      <a:pt x="64" y="116"/>
                    </a:lnTo>
                    <a:lnTo>
                      <a:pt x="62" y="116"/>
                    </a:lnTo>
                    <a:lnTo>
                      <a:pt x="60" y="116"/>
                    </a:lnTo>
                    <a:lnTo>
                      <a:pt x="60" y="116"/>
                    </a:lnTo>
                    <a:lnTo>
                      <a:pt x="58" y="118"/>
                    </a:lnTo>
                    <a:lnTo>
                      <a:pt x="58" y="118"/>
                    </a:lnTo>
                    <a:lnTo>
                      <a:pt x="58" y="118"/>
                    </a:lnTo>
                    <a:lnTo>
                      <a:pt x="56" y="120"/>
                    </a:lnTo>
                    <a:lnTo>
                      <a:pt x="56" y="120"/>
                    </a:lnTo>
                    <a:lnTo>
                      <a:pt x="56" y="122"/>
                    </a:lnTo>
                    <a:lnTo>
                      <a:pt x="56" y="124"/>
                    </a:lnTo>
                    <a:lnTo>
                      <a:pt x="58" y="128"/>
                    </a:lnTo>
                    <a:lnTo>
                      <a:pt x="58" y="130"/>
                    </a:lnTo>
                    <a:lnTo>
                      <a:pt x="58" y="134"/>
                    </a:lnTo>
                    <a:lnTo>
                      <a:pt x="58" y="136"/>
                    </a:lnTo>
                    <a:lnTo>
                      <a:pt x="60" y="138"/>
                    </a:lnTo>
                    <a:lnTo>
                      <a:pt x="60" y="138"/>
                    </a:lnTo>
                    <a:lnTo>
                      <a:pt x="58" y="140"/>
                    </a:lnTo>
                    <a:lnTo>
                      <a:pt x="58" y="140"/>
                    </a:lnTo>
                    <a:lnTo>
                      <a:pt x="58" y="142"/>
                    </a:lnTo>
                    <a:lnTo>
                      <a:pt x="58" y="142"/>
                    </a:lnTo>
                    <a:lnTo>
                      <a:pt x="56" y="142"/>
                    </a:lnTo>
                    <a:lnTo>
                      <a:pt x="56" y="142"/>
                    </a:lnTo>
                    <a:lnTo>
                      <a:pt x="56" y="142"/>
                    </a:lnTo>
                    <a:lnTo>
                      <a:pt x="56" y="142"/>
                    </a:lnTo>
                    <a:lnTo>
                      <a:pt x="54" y="140"/>
                    </a:lnTo>
                    <a:lnTo>
                      <a:pt x="52" y="140"/>
                    </a:lnTo>
                    <a:lnTo>
                      <a:pt x="50" y="138"/>
                    </a:lnTo>
                    <a:lnTo>
                      <a:pt x="50" y="138"/>
                    </a:lnTo>
                    <a:lnTo>
                      <a:pt x="48" y="136"/>
                    </a:lnTo>
                    <a:lnTo>
                      <a:pt x="46" y="134"/>
                    </a:lnTo>
                    <a:lnTo>
                      <a:pt x="46" y="132"/>
                    </a:lnTo>
                    <a:lnTo>
                      <a:pt x="44" y="130"/>
                    </a:lnTo>
                    <a:lnTo>
                      <a:pt x="44" y="128"/>
                    </a:lnTo>
                    <a:lnTo>
                      <a:pt x="42" y="128"/>
                    </a:lnTo>
                    <a:lnTo>
                      <a:pt x="42" y="126"/>
                    </a:lnTo>
                    <a:lnTo>
                      <a:pt x="42" y="126"/>
                    </a:lnTo>
                    <a:lnTo>
                      <a:pt x="42" y="126"/>
                    </a:lnTo>
                    <a:lnTo>
                      <a:pt x="42" y="126"/>
                    </a:lnTo>
                    <a:lnTo>
                      <a:pt x="40" y="126"/>
                    </a:lnTo>
                    <a:lnTo>
                      <a:pt x="40" y="128"/>
                    </a:lnTo>
                    <a:lnTo>
                      <a:pt x="40" y="128"/>
                    </a:lnTo>
                    <a:lnTo>
                      <a:pt x="40" y="128"/>
                    </a:lnTo>
                    <a:lnTo>
                      <a:pt x="38" y="130"/>
                    </a:lnTo>
                    <a:lnTo>
                      <a:pt x="38" y="134"/>
                    </a:lnTo>
                    <a:lnTo>
                      <a:pt x="38" y="136"/>
                    </a:lnTo>
                    <a:lnTo>
                      <a:pt x="38" y="138"/>
                    </a:lnTo>
                    <a:lnTo>
                      <a:pt x="38" y="140"/>
                    </a:lnTo>
                    <a:lnTo>
                      <a:pt x="38" y="140"/>
                    </a:lnTo>
                    <a:lnTo>
                      <a:pt x="38" y="140"/>
                    </a:lnTo>
                    <a:lnTo>
                      <a:pt x="38" y="142"/>
                    </a:lnTo>
                    <a:lnTo>
                      <a:pt x="36" y="142"/>
                    </a:lnTo>
                    <a:lnTo>
                      <a:pt x="36" y="142"/>
                    </a:lnTo>
                    <a:lnTo>
                      <a:pt x="34" y="144"/>
                    </a:lnTo>
                    <a:lnTo>
                      <a:pt x="32" y="144"/>
                    </a:lnTo>
                    <a:lnTo>
                      <a:pt x="32" y="144"/>
                    </a:lnTo>
                    <a:lnTo>
                      <a:pt x="30" y="144"/>
                    </a:lnTo>
                    <a:lnTo>
                      <a:pt x="30" y="144"/>
                    </a:lnTo>
                    <a:lnTo>
                      <a:pt x="28" y="144"/>
                    </a:lnTo>
                    <a:lnTo>
                      <a:pt x="28" y="144"/>
                    </a:lnTo>
                    <a:lnTo>
                      <a:pt x="28" y="144"/>
                    </a:lnTo>
                    <a:lnTo>
                      <a:pt x="26" y="142"/>
                    </a:lnTo>
                    <a:lnTo>
                      <a:pt x="26" y="140"/>
                    </a:lnTo>
                    <a:lnTo>
                      <a:pt x="24" y="138"/>
                    </a:lnTo>
                    <a:lnTo>
                      <a:pt x="22" y="136"/>
                    </a:lnTo>
                    <a:lnTo>
                      <a:pt x="22" y="134"/>
                    </a:lnTo>
                    <a:lnTo>
                      <a:pt x="20" y="134"/>
                    </a:lnTo>
                    <a:lnTo>
                      <a:pt x="20" y="132"/>
                    </a:lnTo>
                    <a:lnTo>
                      <a:pt x="20" y="132"/>
                    </a:lnTo>
                    <a:lnTo>
                      <a:pt x="18" y="132"/>
                    </a:lnTo>
                    <a:lnTo>
                      <a:pt x="18" y="132"/>
                    </a:lnTo>
                    <a:lnTo>
                      <a:pt x="16" y="132"/>
                    </a:lnTo>
                    <a:lnTo>
                      <a:pt x="14" y="132"/>
                    </a:lnTo>
                    <a:lnTo>
                      <a:pt x="10" y="132"/>
                    </a:lnTo>
                    <a:lnTo>
                      <a:pt x="10" y="132"/>
                    </a:lnTo>
                    <a:lnTo>
                      <a:pt x="8" y="132"/>
                    </a:lnTo>
                    <a:lnTo>
                      <a:pt x="6" y="130"/>
                    </a:lnTo>
                    <a:lnTo>
                      <a:pt x="4" y="130"/>
                    </a:lnTo>
                    <a:lnTo>
                      <a:pt x="4" y="128"/>
                    </a:lnTo>
                    <a:lnTo>
                      <a:pt x="2" y="128"/>
                    </a:lnTo>
                    <a:lnTo>
                      <a:pt x="2" y="128"/>
                    </a:lnTo>
                    <a:lnTo>
                      <a:pt x="0" y="126"/>
                    </a:lnTo>
                    <a:lnTo>
                      <a:pt x="0" y="126"/>
                    </a:lnTo>
                    <a:lnTo>
                      <a:pt x="0" y="126"/>
                    </a:lnTo>
                    <a:lnTo>
                      <a:pt x="0" y="124"/>
                    </a:lnTo>
                    <a:lnTo>
                      <a:pt x="0" y="124"/>
                    </a:lnTo>
                    <a:lnTo>
                      <a:pt x="2" y="122"/>
                    </a:lnTo>
                    <a:lnTo>
                      <a:pt x="2" y="122"/>
                    </a:lnTo>
                    <a:lnTo>
                      <a:pt x="4" y="120"/>
                    </a:lnTo>
                    <a:lnTo>
                      <a:pt x="4" y="118"/>
                    </a:lnTo>
                    <a:lnTo>
                      <a:pt x="8" y="118"/>
                    </a:lnTo>
                    <a:lnTo>
                      <a:pt x="8" y="116"/>
                    </a:lnTo>
                    <a:lnTo>
                      <a:pt x="12" y="114"/>
                    </a:lnTo>
                    <a:lnTo>
                      <a:pt x="14" y="112"/>
                    </a:lnTo>
                    <a:lnTo>
                      <a:pt x="14" y="112"/>
                    </a:lnTo>
                    <a:lnTo>
                      <a:pt x="18" y="110"/>
                    </a:lnTo>
                    <a:lnTo>
                      <a:pt x="22" y="108"/>
                    </a:lnTo>
                    <a:lnTo>
                      <a:pt x="24" y="106"/>
                    </a:lnTo>
                    <a:lnTo>
                      <a:pt x="26" y="106"/>
                    </a:lnTo>
                    <a:lnTo>
                      <a:pt x="26" y="104"/>
                    </a:lnTo>
                    <a:lnTo>
                      <a:pt x="28" y="102"/>
                    </a:lnTo>
                    <a:lnTo>
                      <a:pt x="30" y="100"/>
                    </a:lnTo>
                    <a:lnTo>
                      <a:pt x="32" y="100"/>
                    </a:lnTo>
                    <a:lnTo>
                      <a:pt x="32" y="100"/>
                    </a:lnTo>
                    <a:lnTo>
                      <a:pt x="34" y="98"/>
                    </a:lnTo>
                    <a:lnTo>
                      <a:pt x="34" y="98"/>
                    </a:lnTo>
                    <a:lnTo>
                      <a:pt x="36" y="98"/>
                    </a:lnTo>
                    <a:lnTo>
                      <a:pt x="38" y="98"/>
                    </a:lnTo>
                    <a:lnTo>
                      <a:pt x="38" y="98"/>
                    </a:lnTo>
                    <a:lnTo>
                      <a:pt x="42" y="100"/>
                    </a:lnTo>
                    <a:lnTo>
                      <a:pt x="46" y="100"/>
                    </a:lnTo>
                    <a:lnTo>
                      <a:pt x="48" y="102"/>
                    </a:lnTo>
                    <a:lnTo>
                      <a:pt x="50" y="102"/>
                    </a:lnTo>
                    <a:lnTo>
                      <a:pt x="52" y="102"/>
                    </a:lnTo>
                    <a:lnTo>
                      <a:pt x="52" y="102"/>
                    </a:lnTo>
                    <a:lnTo>
                      <a:pt x="54" y="102"/>
                    </a:lnTo>
                    <a:lnTo>
                      <a:pt x="56" y="102"/>
                    </a:lnTo>
                    <a:lnTo>
                      <a:pt x="56" y="100"/>
                    </a:lnTo>
                    <a:lnTo>
                      <a:pt x="56" y="100"/>
                    </a:lnTo>
                    <a:lnTo>
                      <a:pt x="56" y="100"/>
                    </a:lnTo>
                    <a:lnTo>
                      <a:pt x="58" y="100"/>
                    </a:lnTo>
                    <a:lnTo>
                      <a:pt x="58" y="98"/>
                    </a:lnTo>
                    <a:lnTo>
                      <a:pt x="58" y="96"/>
                    </a:lnTo>
                    <a:lnTo>
                      <a:pt x="58" y="94"/>
                    </a:lnTo>
                    <a:lnTo>
                      <a:pt x="58" y="90"/>
                    </a:lnTo>
                    <a:lnTo>
                      <a:pt x="58" y="88"/>
                    </a:lnTo>
                    <a:lnTo>
                      <a:pt x="58" y="86"/>
                    </a:lnTo>
                    <a:lnTo>
                      <a:pt x="58" y="82"/>
                    </a:lnTo>
                    <a:lnTo>
                      <a:pt x="58" y="80"/>
                    </a:lnTo>
                    <a:lnTo>
                      <a:pt x="60" y="78"/>
                    </a:lnTo>
                    <a:lnTo>
                      <a:pt x="60" y="76"/>
                    </a:lnTo>
                    <a:lnTo>
                      <a:pt x="60" y="76"/>
                    </a:lnTo>
                    <a:lnTo>
                      <a:pt x="60" y="74"/>
                    </a:lnTo>
                    <a:lnTo>
                      <a:pt x="62" y="74"/>
                    </a:lnTo>
                    <a:lnTo>
                      <a:pt x="62" y="74"/>
                    </a:lnTo>
                    <a:lnTo>
                      <a:pt x="62" y="74"/>
                    </a:lnTo>
                    <a:lnTo>
                      <a:pt x="62" y="74"/>
                    </a:lnTo>
                    <a:lnTo>
                      <a:pt x="64" y="74"/>
                    </a:lnTo>
                    <a:lnTo>
                      <a:pt x="64" y="74"/>
                    </a:lnTo>
                    <a:lnTo>
                      <a:pt x="66" y="74"/>
                    </a:lnTo>
                    <a:lnTo>
                      <a:pt x="66" y="74"/>
                    </a:lnTo>
                    <a:lnTo>
                      <a:pt x="68" y="76"/>
                    </a:lnTo>
                    <a:lnTo>
                      <a:pt x="70" y="76"/>
                    </a:lnTo>
                    <a:lnTo>
                      <a:pt x="70" y="78"/>
                    </a:lnTo>
                    <a:lnTo>
                      <a:pt x="72" y="78"/>
                    </a:lnTo>
                    <a:lnTo>
                      <a:pt x="74" y="78"/>
                    </a:lnTo>
                    <a:lnTo>
                      <a:pt x="78" y="78"/>
                    </a:lnTo>
                    <a:lnTo>
                      <a:pt x="80" y="78"/>
                    </a:lnTo>
                    <a:lnTo>
                      <a:pt x="84" y="78"/>
                    </a:lnTo>
                    <a:lnTo>
                      <a:pt x="86" y="76"/>
                    </a:lnTo>
                    <a:lnTo>
                      <a:pt x="88" y="76"/>
                    </a:lnTo>
                    <a:lnTo>
                      <a:pt x="88" y="76"/>
                    </a:lnTo>
                    <a:lnTo>
                      <a:pt x="90" y="76"/>
                    </a:lnTo>
                    <a:lnTo>
                      <a:pt x="90" y="74"/>
                    </a:lnTo>
                    <a:lnTo>
                      <a:pt x="90" y="74"/>
                    </a:lnTo>
                    <a:lnTo>
                      <a:pt x="90" y="74"/>
                    </a:lnTo>
                    <a:lnTo>
                      <a:pt x="92" y="72"/>
                    </a:lnTo>
                    <a:lnTo>
                      <a:pt x="92" y="70"/>
                    </a:lnTo>
                    <a:lnTo>
                      <a:pt x="92" y="70"/>
                    </a:lnTo>
                    <a:lnTo>
                      <a:pt x="92" y="66"/>
                    </a:lnTo>
                    <a:lnTo>
                      <a:pt x="92" y="64"/>
                    </a:lnTo>
                    <a:lnTo>
                      <a:pt x="92" y="62"/>
                    </a:lnTo>
                    <a:lnTo>
                      <a:pt x="92" y="60"/>
                    </a:lnTo>
                    <a:lnTo>
                      <a:pt x="92" y="54"/>
                    </a:lnTo>
                    <a:lnTo>
                      <a:pt x="92" y="52"/>
                    </a:lnTo>
                    <a:lnTo>
                      <a:pt x="92" y="50"/>
                    </a:lnTo>
                    <a:lnTo>
                      <a:pt x="92" y="48"/>
                    </a:lnTo>
                    <a:lnTo>
                      <a:pt x="92" y="46"/>
                    </a:lnTo>
                    <a:lnTo>
                      <a:pt x="94" y="44"/>
                    </a:lnTo>
                    <a:lnTo>
                      <a:pt x="94" y="44"/>
                    </a:lnTo>
                    <a:lnTo>
                      <a:pt x="96" y="40"/>
                    </a:lnTo>
                    <a:lnTo>
                      <a:pt x="96" y="40"/>
                    </a:lnTo>
                    <a:lnTo>
                      <a:pt x="98" y="38"/>
                    </a:lnTo>
                    <a:lnTo>
                      <a:pt x="98" y="36"/>
                    </a:lnTo>
                    <a:lnTo>
                      <a:pt x="98" y="36"/>
                    </a:lnTo>
                    <a:lnTo>
                      <a:pt x="100" y="34"/>
                    </a:lnTo>
                    <a:lnTo>
                      <a:pt x="98" y="32"/>
                    </a:lnTo>
                    <a:lnTo>
                      <a:pt x="98" y="32"/>
                    </a:lnTo>
                    <a:lnTo>
                      <a:pt x="98" y="30"/>
                    </a:lnTo>
                    <a:lnTo>
                      <a:pt x="98" y="26"/>
                    </a:lnTo>
                    <a:lnTo>
                      <a:pt x="96" y="24"/>
                    </a:lnTo>
                    <a:lnTo>
                      <a:pt x="96" y="20"/>
                    </a:lnTo>
                    <a:lnTo>
                      <a:pt x="94" y="16"/>
                    </a:lnTo>
                    <a:lnTo>
                      <a:pt x="94" y="16"/>
                    </a:lnTo>
                    <a:lnTo>
                      <a:pt x="94" y="14"/>
                    </a:lnTo>
                    <a:lnTo>
                      <a:pt x="94" y="12"/>
                    </a:lnTo>
                    <a:lnTo>
                      <a:pt x="94" y="12"/>
                    </a:lnTo>
                    <a:lnTo>
                      <a:pt x="94" y="10"/>
                    </a:lnTo>
                    <a:lnTo>
                      <a:pt x="96" y="8"/>
                    </a:lnTo>
                    <a:lnTo>
                      <a:pt x="96" y="8"/>
                    </a:lnTo>
                    <a:lnTo>
                      <a:pt x="96" y="6"/>
                    </a:lnTo>
                    <a:lnTo>
                      <a:pt x="98" y="4"/>
                    </a:lnTo>
                    <a:lnTo>
                      <a:pt x="100" y="4"/>
                    </a:lnTo>
                    <a:lnTo>
                      <a:pt x="100" y="2"/>
                    </a:lnTo>
                    <a:lnTo>
                      <a:pt x="102"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4" name="Freeform 61">
                <a:extLst>
                  <a:ext uri="{FF2B5EF4-FFF2-40B4-BE49-F238E27FC236}">
                    <a16:creationId xmlns:a16="http://schemas.microsoft.com/office/drawing/2014/main" id="{CF8054C6-FFE6-4B11-A4AD-66C5695B0B97}"/>
                  </a:ext>
                </a:extLst>
              </p:cNvPr>
              <p:cNvSpPr>
                <a:spLocks/>
              </p:cNvSpPr>
              <p:nvPr/>
            </p:nvSpPr>
            <p:spPr bwMode="auto">
              <a:xfrm>
                <a:off x="7291678" y="3886367"/>
                <a:ext cx="28575" cy="28575"/>
              </a:xfrm>
              <a:custGeom>
                <a:avLst/>
                <a:gdLst>
                  <a:gd name="T0" fmla="*/ 2 w 18"/>
                  <a:gd name="T1" fmla="*/ 6 h 18"/>
                  <a:gd name="T2" fmla="*/ 2 w 18"/>
                  <a:gd name="T3" fmla="*/ 6 h 18"/>
                  <a:gd name="T4" fmla="*/ 2 w 18"/>
                  <a:gd name="T5" fmla="*/ 8 h 18"/>
                  <a:gd name="T6" fmla="*/ 2 w 18"/>
                  <a:gd name="T7" fmla="*/ 8 h 18"/>
                  <a:gd name="T8" fmla="*/ 0 w 18"/>
                  <a:gd name="T9" fmla="*/ 12 h 18"/>
                  <a:gd name="T10" fmla="*/ 0 w 18"/>
                  <a:gd name="T11" fmla="*/ 12 h 18"/>
                  <a:gd name="T12" fmla="*/ 0 w 18"/>
                  <a:gd name="T13" fmla="*/ 14 h 18"/>
                  <a:gd name="T14" fmla="*/ 0 w 18"/>
                  <a:gd name="T15" fmla="*/ 16 h 18"/>
                  <a:gd name="T16" fmla="*/ 0 w 18"/>
                  <a:gd name="T17" fmla="*/ 16 h 18"/>
                  <a:gd name="T18" fmla="*/ 0 w 18"/>
                  <a:gd name="T19" fmla="*/ 16 h 18"/>
                  <a:gd name="T20" fmla="*/ 2 w 18"/>
                  <a:gd name="T21" fmla="*/ 16 h 18"/>
                  <a:gd name="T22" fmla="*/ 2 w 18"/>
                  <a:gd name="T23" fmla="*/ 16 h 18"/>
                  <a:gd name="T24" fmla="*/ 4 w 18"/>
                  <a:gd name="T25" fmla="*/ 18 h 18"/>
                  <a:gd name="T26" fmla="*/ 4 w 18"/>
                  <a:gd name="T27" fmla="*/ 18 h 18"/>
                  <a:gd name="T28" fmla="*/ 6 w 18"/>
                  <a:gd name="T29" fmla="*/ 16 h 18"/>
                  <a:gd name="T30" fmla="*/ 8 w 18"/>
                  <a:gd name="T31" fmla="*/ 16 h 18"/>
                  <a:gd name="T32" fmla="*/ 8 w 18"/>
                  <a:gd name="T33" fmla="*/ 16 h 18"/>
                  <a:gd name="T34" fmla="*/ 10 w 18"/>
                  <a:gd name="T35" fmla="*/ 16 h 18"/>
                  <a:gd name="T36" fmla="*/ 10 w 18"/>
                  <a:gd name="T37" fmla="*/ 16 h 18"/>
                  <a:gd name="T38" fmla="*/ 12 w 18"/>
                  <a:gd name="T39" fmla="*/ 14 h 18"/>
                  <a:gd name="T40" fmla="*/ 14 w 18"/>
                  <a:gd name="T41" fmla="*/ 14 h 18"/>
                  <a:gd name="T42" fmla="*/ 14 w 18"/>
                  <a:gd name="T43" fmla="*/ 12 h 18"/>
                  <a:gd name="T44" fmla="*/ 16 w 18"/>
                  <a:gd name="T45" fmla="*/ 10 h 18"/>
                  <a:gd name="T46" fmla="*/ 16 w 18"/>
                  <a:gd name="T47" fmla="*/ 8 h 18"/>
                  <a:gd name="T48" fmla="*/ 18 w 18"/>
                  <a:gd name="T49" fmla="*/ 8 h 18"/>
                  <a:gd name="T50" fmla="*/ 18 w 18"/>
                  <a:gd name="T51" fmla="*/ 6 h 18"/>
                  <a:gd name="T52" fmla="*/ 18 w 18"/>
                  <a:gd name="T53" fmla="*/ 6 h 18"/>
                  <a:gd name="T54" fmla="*/ 18 w 18"/>
                  <a:gd name="T55" fmla="*/ 6 h 18"/>
                  <a:gd name="T56" fmla="*/ 16 w 18"/>
                  <a:gd name="T57" fmla="*/ 6 h 18"/>
                  <a:gd name="T58" fmla="*/ 16 w 18"/>
                  <a:gd name="T59" fmla="*/ 4 h 18"/>
                  <a:gd name="T60" fmla="*/ 16 w 18"/>
                  <a:gd name="T61" fmla="*/ 4 h 18"/>
                  <a:gd name="T62" fmla="*/ 14 w 18"/>
                  <a:gd name="T63" fmla="*/ 2 h 18"/>
                  <a:gd name="T64" fmla="*/ 12 w 18"/>
                  <a:gd name="T65" fmla="*/ 2 h 18"/>
                  <a:gd name="T66" fmla="*/ 10 w 18"/>
                  <a:gd name="T67" fmla="*/ 2 h 18"/>
                  <a:gd name="T68" fmla="*/ 8 w 18"/>
                  <a:gd name="T69" fmla="*/ 0 h 18"/>
                  <a:gd name="T70" fmla="*/ 6 w 18"/>
                  <a:gd name="T71" fmla="*/ 0 h 18"/>
                  <a:gd name="T72" fmla="*/ 4 w 18"/>
                  <a:gd name="T73" fmla="*/ 0 h 18"/>
                  <a:gd name="T74" fmla="*/ 4 w 18"/>
                  <a:gd name="T75" fmla="*/ 0 h 18"/>
                  <a:gd name="T76" fmla="*/ 2 w 18"/>
                  <a:gd name="T77" fmla="*/ 2 h 18"/>
                  <a:gd name="T78" fmla="*/ 2 w 18"/>
                  <a:gd name="T79" fmla="*/ 2 h 18"/>
                  <a:gd name="T80" fmla="*/ 2 w 18"/>
                  <a:gd name="T81" fmla="*/ 2 h 18"/>
                  <a:gd name="T82" fmla="*/ 2 w 18"/>
                  <a:gd name="T83"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18">
                    <a:moveTo>
                      <a:pt x="2" y="6"/>
                    </a:moveTo>
                    <a:lnTo>
                      <a:pt x="2" y="6"/>
                    </a:lnTo>
                    <a:lnTo>
                      <a:pt x="2" y="8"/>
                    </a:lnTo>
                    <a:lnTo>
                      <a:pt x="2" y="8"/>
                    </a:lnTo>
                    <a:lnTo>
                      <a:pt x="0" y="12"/>
                    </a:lnTo>
                    <a:lnTo>
                      <a:pt x="0" y="12"/>
                    </a:lnTo>
                    <a:lnTo>
                      <a:pt x="0" y="14"/>
                    </a:lnTo>
                    <a:lnTo>
                      <a:pt x="0" y="16"/>
                    </a:lnTo>
                    <a:lnTo>
                      <a:pt x="0" y="16"/>
                    </a:lnTo>
                    <a:lnTo>
                      <a:pt x="0" y="16"/>
                    </a:lnTo>
                    <a:lnTo>
                      <a:pt x="2" y="16"/>
                    </a:lnTo>
                    <a:lnTo>
                      <a:pt x="2" y="16"/>
                    </a:lnTo>
                    <a:lnTo>
                      <a:pt x="4" y="18"/>
                    </a:lnTo>
                    <a:lnTo>
                      <a:pt x="4" y="18"/>
                    </a:lnTo>
                    <a:lnTo>
                      <a:pt x="6" y="16"/>
                    </a:lnTo>
                    <a:lnTo>
                      <a:pt x="8" y="16"/>
                    </a:lnTo>
                    <a:lnTo>
                      <a:pt x="8" y="16"/>
                    </a:lnTo>
                    <a:lnTo>
                      <a:pt x="10" y="16"/>
                    </a:lnTo>
                    <a:lnTo>
                      <a:pt x="10" y="16"/>
                    </a:lnTo>
                    <a:lnTo>
                      <a:pt x="12" y="14"/>
                    </a:lnTo>
                    <a:lnTo>
                      <a:pt x="14" y="14"/>
                    </a:lnTo>
                    <a:lnTo>
                      <a:pt x="14" y="12"/>
                    </a:lnTo>
                    <a:lnTo>
                      <a:pt x="16" y="10"/>
                    </a:lnTo>
                    <a:lnTo>
                      <a:pt x="16" y="8"/>
                    </a:lnTo>
                    <a:lnTo>
                      <a:pt x="18" y="8"/>
                    </a:lnTo>
                    <a:lnTo>
                      <a:pt x="18" y="6"/>
                    </a:lnTo>
                    <a:lnTo>
                      <a:pt x="18" y="6"/>
                    </a:lnTo>
                    <a:lnTo>
                      <a:pt x="18" y="6"/>
                    </a:lnTo>
                    <a:lnTo>
                      <a:pt x="16" y="6"/>
                    </a:lnTo>
                    <a:lnTo>
                      <a:pt x="16" y="4"/>
                    </a:lnTo>
                    <a:lnTo>
                      <a:pt x="16" y="4"/>
                    </a:lnTo>
                    <a:lnTo>
                      <a:pt x="14" y="2"/>
                    </a:lnTo>
                    <a:lnTo>
                      <a:pt x="12" y="2"/>
                    </a:lnTo>
                    <a:lnTo>
                      <a:pt x="10" y="2"/>
                    </a:lnTo>
                    <a:lnTo>
                      <a:pt x="8" y="0"/>
                    </a:lnTo>
                    <a:lnTo>
                      <a:pt x="6" y="0"/>
                    </a:lnTo>
                    <a:lnTo>
                      <a:pt x="4" y="0"/>
                    </a:lnTo>
                    <a:lnTo>
                      <a:pt x="4" y="0"/>
                    </a:lnTo>
                    <a:lnTo>
                      <a:pt x="2" y="2"/>
                    </a:lnTo>
                    <a:lnTo>
                      <a:pt x="2" y="2"/>
                    </a:lnTo>
                    <a:lnTo>
                      <a:pt x="2" y="2"/>
                    </a:lnTo>
                    <a:lnTo>
                      <a:pt x="2" y="2"/>
                    </a:lnTo>
                  </a:path>
                </a:pathLst>
              </a:custGeom>
              <a:grp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5" name="Freeform 63">
                <a:extLst>
                  <a:ext uri="{FF2B5EF4-FFF2-40B4-BE49-F238E27FC236}">
                    <a16:creationId xmlns:a16="http://schemas.microsoft.com/office/drawing/2014/main" id="{53ACE766-1DD8-452B-B221-1D8E96E30C5C}"/>
                  </a:ext>
                </a:extLst>
              </p:cNvPr>
              <p:cNvSpPr>
                <a:spLocks/>
              </p:cNvSpPr>
              <p:nvPr/>
            </p:nvSpPr>
            <p:spPr bwMode="auto">
              <a:xfrm>
                <a:off x="7218653" y="3867317"/>
                <a:ext cx="57150" cy="85725"/>
              </a:xfrm>
              <a:custGeom>
                <a:avLst/>
                <a:gdLst>
                  <a:gd name="T0" fmla="*/ 16 w 36"/>
                  <a:gd name="T1" fmla="*/ 4 h 54"/>
                  <a:gd name="T2" fmla="*/ 14 w 36"/>
                  <a:gd name="T3" fmla="*/ 6 h 54"/>
                  <a:gd name="T4" fmla="*/ 10 w 36"/>
                  <a:gd name="T5" fmla="*/ 12 h 54"/>
                  <a:gd name="T6" fmla="*/ 10 w 36"/>
                  <a:gd name="T7" fmla="*/ 14 h 54"/>
                  <a:gd name="T8" fmla="*/ 8 w 36"/>
                  <a:gd name="T9" fmla="*/ 16 h 54"/>
                  <a:gd name="T10" fmla="*/ 4 w 36"/>
                  <a:gd name="T11" fmla="*/ 18 h 54"/>
                  <a:gd name="T12" fmla="*/ 2 w 36"/>
                  <a:gd name="T13" fmla="*/ 20 h 54"/>
                  <a:gd name="T14" fmla="*/ 0 w 36"/>
                  <a:gd name="T15" fmla="*/ 20 h 54"/>
                  <a:gd name="T16" fmla="*/ 0 w 36"/>
                  <a:gd name="T17" fmla="*/ 22 h 54"/>
                  <a:gd name="T18" fmla="*/ 0 w 36"/>
                  <a:gd name="T19" fmla="*/ 24 h 54"/>
                  <a:gd name="T20" fmla="*/ 2 w 36"/>
                  <a:gd name="T21" fmla="*/ 28 h 54"/>
                  <a:gd name="T22" fmla="*/ 4 w 36"/>
                  <a:gd name="T23" fmla="*/ 32 h 54"/>
                  <a:gd name="T24" fmla="*/ 6 w 36"/>
                  <a:gd name="T25" fmla="*/ 34 h 54"/>
                  <a:gd name="T26" fmla="*/ 8 w 36"/>
                  <a:gd name="T27" fmla="*/ 34 h 54"/>
                  <a:gd name="T28" fmla="*/ 8 w 36"/>
                  <a:gd name="T29" fmla="*/ 36 h 54"/>
                  <a:gd name="T30" fmla="*/ 10 w 36"/>
                  <a:gd name="T31" fmla="*/ 34 h 54"/>
                  <a:gd name="T32" fmla="*/ 12 w 36"/>
                  <a:gd name="T33" fmla="*/ 34 h 54"/>
                  <a:gd name="T34" fmla="*/ 12 w 36"/>
                  <a:gd name="T35" fmla="*/ 30 h 54"/>
                  <a:gd name="T36" fmla="*/ 14 w 36"/>
                  <a:gd name="T37" fmla="*/ 28 h 54"/>
                  <a:gd name="T38" fmla="*/ 16 w 36"/>
                  <a:gd name="T39" fmla="*/ 28 h 54"/>
                  <a:gd name="T40" fmla="*/ 18 w 36"/>
                  <a:gd name="T41" fmla="*/ 28 h 54"/>
                  <a:gd name="T42" fmla="*/ 18 w 36"/>
                  <a:gd name="T43" fmla="*/ 28 h 54"/>
                  <a:gd name="T44" fmla="*/ 20 w 36"/>
                  <a:gd name="T45" fmla="*/ 30 h 54"/>
                  <a:gd name="T46" fmla="*/ 22 w 36"/>
                  <a:gd name="T47" fmla="*/ 30 h 54"/>
                  <a:gd name="T48" fmla="*/ 22 w 36"/>
                  <a:gd name="T49" fmla="*/ 32 h 54"/>
                  <a:gd name="T50" fmla="*/ 22 w 36"/>
                  <a:gd name="T51" fmla="*/ 34 h 54"/>
                  <a:gd name="T52" fmla="*/ 20 w 36"/>
                  <a:gd name="T53" fmla="*/ 38 h 54"/>
                  <a:gd name="T54" fmla="*/ 20 w 36"/>
                  <a:gd name="T55" fmla="*/ 40 h 54"/>
                  <a:gd name="T56" fmla="*/ 20 w 36"/>
                  <a:gd name="T57" fmla="*/ 44 h 54"/>
                  <a:gd name="T58" fmla="*/ 22 w 36"/>
                  <a:gd name="T59" fmla="*/ 48 h 54"/>
                  <a:gd name="T60" fmla="*/ 24 w 36"/>
                  <a:gd name="T61" fmla="*/ 52 h 54"/>
                  <a:gd name="T62" fmla="*/ 24 w 36"/>
                  <a:gd name="T63" fmla="*/ 52 h 54"/>
                  <a:gd name="T64" fmla="*/ 26 w 36"/>
                  <a:gd name="T65" fmla="*/ 54 h 54"/>
                  <a:gd name="T66" fmla="*/ 26 w 36"/>
                  <a:gd name="T67" fmla="*/ 54 h 54"/>
                  <a:gd name="T68" fmla="*/ 30 w 36"/>
                  <a:gd name="T69" fmla="*/ 52 h 54"/>
                  <a:gd name="T70" fmla="*/ 32 w 36"/>
                  <a:gd name="T71" fmla="*/ 50 h 54"/>
                  <a:gd name="T72" fmla="*/ 34 w 36"/>
                  <a:gd name="T73" fmla="*/ 48 h 54"/>
                  <a:gd name="T74" fmla="*/ 34 w 36"/>
                  <a:gd name="T75" fmla="*/ 46 h 54"/>
                  <a:gd name="T76" fmla="*/ 36 w 36"/>
                  <a:gd name="T77" fmla="*/ 44 h 54"/>
                  <a:gd name="T78" fmla="*/ 36 w 36"/>
                  <a:gd name="T79" fmla="*/ 40 h 54"/>
                  <a:gd name="T80" fmla="*/ 34 w 36"/>
                  <a:gd name="T81" fmla="*/ 32 h 54"/>
                  <a:gd name="T82" fmla="*/ 34 w 36"/>
                  <a:gd name="T83" fmla="*/ 20 h 54"/>
                  <a:gd name="T84" fmla="*/ 34 w 36"/>
                  <a:gd name="T85" fmla="*/ 12 h 54"/>
                  <a:gd name="T86" fmla="*/ 32 w 36"/>
                  <a:gd name="T87" fmla="*/ 8 h 54"/>
                  <a:gd name="T88" fmla="*/ 30 w 36"/>
                  <a:gd name="T89" fmla="*/ 2 h 54"/>
                  <a:gd name="T90" fmla="*/ 28 w 36"/>
                  <a:gd name="T91" fmla="*/ 0 h 54"/>
                  <a:gd name="T92" fmla="*/ 26 w 36"/>
                  <a:gd name="T93" fmla="*/ 0 h 54"/>
                  <a:gd name="T94" fmla="*/ 26 w 36"/>
                  <a:gd name="T95" fmla="*/ 0 h 54"/>
                  <a:gd name="T96" fmla="*/ 22 w 36"/>
                  <a:gd name="T97" fmla="*/ 0 h 54"/>
                  <a:gd name="T98" fmla="*/ 20 w 36"/>
                  <a:gd name="T99" fmla="*/ 2 h 54"/>
                  <a:gd name="T100" fmla="*/ 16 w 36"/>
                  <a:gd name="T101" fmla="*/ 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 h="54">
                    <a:moveTo>
                      <a:pt x="16" y="4"/>
                    </a:moveTo>
                    <a:lnTo>
                      <a:pt x="16" y="4"/>
                    </a:lnTo>
                    <a:lnTo>
                      <a:pt x="14" y="6"/>
                    </a:lnTo>
                    <a:lnTo>
                      <a:pt x="14" y="6"/>
                    </a:lnTo>
                    <a:lnTo>
                      <a:pt x="12" y="10"/>
                    </a:lnTo>
                    <a:lnTo>
                      <a:pt x="10" y="12"/>
                    </a:lnTo>
                    <a:lnTo>
                      <a:pt x="10" y="14"/>
                    </a:lnTo>
                    <a:lnTo>
                      <a:pt x="10" y="14"/>
                    </a:lnTo>
                    <a:lnTo>
                      <a:pt x="8" y="16"/>
                    </a:lnTo>
                    <a:lnTo>
                      <a:pt x="8" y="16"/>
                    </a:lnTo>
                    <a:lnTo>
                      <a:pt x="4" y="18"/>
                    </a:lnTo>
                    <a:lnTo>
                      <a:pt x="4" y="18"/>
                    </a:lnTo>
                    <a:lnTo>
                      <a:pt x="2" y="18"/>
                    </a:lnTo>
                    <a:lnTo>
                      <a:pt x="2" y="20"/>
                    </a:lnTo>
                    <a:lnTo>
                      <a:pt x="0" y="20"/>
                    </a:lnTo>
                    <a:lnTo>
                      <a:pt x="0" y="20"/>
                    </a:lnTo>
                    <a:lnTo>
                      <a:pt x="0" y="20"/>
                    </a:lnTo>
                    <a:lnTo>
                      <a:pt x="0" y="22"/>
                    </a:lnTo>
                    <a:lnTo>
                      <a:pt x="0" y="22"/>
                    </a:lnTo>
                    <a:lnTo>
                      <a:pt x="0" y="24"/>
                    </a:lnTo>
                    <a:lnTo>
                      <a:pt x="2" y="26"/>
                    </a:lnTo>
                    <a:lnTo>
                      <a:pt x="2" y="28"/>
                    </a:lnTo>
                    <a:lnTo>
                      <a:pt x="4" y="32"/>
                    </a:lnTo>
                    <a:lnTo>
                      <a:pt x="4" y="32"/>
                    </a:lnTo>
                    <a:lnTo>
                      <a:pt x="6" y="34"/>
                    </a:lnTo>
                    <a:lnTo>
                      <a:pt x="6" y="34"/>
                    </a:lnTo>
                    <a:lnTo>
                      <a:pt x="6" y="34"/>
                    </a:lnTo>
                    <a:lnTo>
                      <a:pt x="8" y="34"/>
                    </a:lnTo>
                    <a:lnTo>
                      <a:pt x="8" y="36"/>
                    </a:lnTo>
                    <a:lnTo>
                      <a:pt x="8" y="36"/>
                    </a:lnTo>
                    <a:lnTo>
                      <a:pt x="10" y="36"/>
                    </a:lnTo>
                    <a:lnTo>
                      <a:pt x="10" y="34"/>
                    </a:lnTo>
                    <a:lnTo>
                      <a:pt x="10" y="34"/>
                    </a:lnTo>
                    <a:lnTo>
                      <a:pt x="12" y="34"/>
                    </a:lnTo>
                    <a:lnTo>
                      <a:pt x="12" y="32"/>
                    </a:lnTo>
                    <a:lnTo>
                      <a:pt x="12" y="30"/>
                    </a:lnTo>
                    <a:lnTo>
                      <a:pt x="14" y="30"/>
                    </a:lnTo>
                    <a:lnTo>
                      <a:pt x="14" y="28"/>
                    </a:lnTo>
                    <a:lnTo>
                      <a:pt x="16" y="28"/>
                    </a:lnTo>
                    <a:lnTo>
                      <a:pt x="16" y="28"/>
                    </a:lnTo>
                    <a:lnTo>
                      <a:pt x="16" y="28"/>
                    </a:lnTo>
                    <a:lnTo>
                      <a:pt x="18" y="28"/>
                    </a:lnTo>
                    <a:lnTo>
                      <a:pt x="18" y="28"/>
                    </a:lnTo>
                    <a:lnTo>
                      <a:pt x="18" y="28"/>
                    </a:lnTo>
                    <a:lnTo>
                      <a:pt x="20" y="28"/>
                    </a:lnTo>
                    <a:lnTo>
                      <a:pt x="20" y="30"/>
                    </a:lnTo>
                    <a:lnTo>
                      <a:pt x="22" y="30"/>
                    </a:lnTo>
                    <a:lnTo>
                      <a:pt x="22" y="30"/>
                    </a:lnTo>
                    <a:lnTo>
                      <a:pt x="22" y="30"/>
                    </a:lnTo>
                    <a:lnTo>
                      <a:pt x="22" y="32"/>
                    </a:lnTo>
                    <a:lnTo>
                      <a:pt x="22" y="32"/>
                    </a:lnTo>
                    <a:lnTo>
                      <a:pt x="22" y="34"/>
                    </a:lnTo>
                    <a:lnTo>
                      <a:pt x="22" y="36"/>
                    </a:lnTo>
                    <a:lnTo>
                      <a:pt x="20" y="38"/>
                    </a:lnTo>
                    <a:lnTo>
                      <a:pt x="20" y="40"/>
                    </a:lnTo>
                    <a:lnTo>
                      <a:pt x="20" y="40"/>
                    </a:lnTo>
                    <a:lnTo>
                      <a:pt x="20" y="42"/>
                    </a:lnTo>
                    <a:lnTo>
                      <a:pt x="20" y="44"/>
                    </a:lnTo>
                    <a:lnTo>
                      <a:pt x="20" y="46"/>
                    </a:lnTo>
                    <a:lnTo>
                      <a:pt x="22" y="48"/>
                    </a:lnTo>
                    <a:lnTo>
                      <a:pt x="22" y="50"/>
                    </a:lnTo>
                    <a:lnTo>
                      <a:pt x="24" y="52"/>
                    </a:lnTo>
                    <a:lnTo>
                      <a:pt x="24" y="52"/>
                    </a:lnTo>
                    <a:lnTo>
                      <a:pt x="24" y="52"/>
                    </a:lnTo>
                    <a:lnTo>
                      <a:pt x="24" y="52"/>
                    </a:lnTo>
                    <a:lnTo>
                      <a:pt x="26" y="54"/>
                    </a:lnTo>
                    <a:lnTo>
                      <a:pt x="26" y="54"/>
                    </a:lnTo>
                    <a:lnTo>
                      <a:pt x="26" y="54"/>
                    </a:lnTo>
                    <a:lnTo>
                      <a:pt x="28" y="52"/>
                    </a:lnTo>
                    <a:lnTo>
                      <a:pt x="30" y="52"/>
                    </a:lnTo>
                    <a:lnTo>
                      <a:pt x="30" y="52"/>
                    </a:lnTo>
                    <a:lnTo>
                      <a:pt x="32" y="50"/>
                    </a:lnTo>
                    <a:lnTo>
                      <a:pt x="34" y="48"/>
                    </a:lnTo>
                    <a:lnTo>
                      <a:pt x="34" y="48"/>
                    </a:lnTo>
                    <a:lnTo>
                      <a:pt x="34" y="46"/>
                    </a:lnTo>
                    <a:lnTo>
                      <a:pt x="34" y="46"/>
                    </a:lnTo>
                    <a:lnTo>
                      <a:pt x="34" y="46"/>
                    </a:lnTo>
                    <a:lnTo>
                      <a:pt x="36" y="44"/>
                    </a:lnTo>
                    <a:lnTo>
                      <a:pt x="36" y="42"/>
                    </a:lnTo>
                    <a:lnTo>
                      <a:pt x="36" y="40"/>
                    </a:lnTo>
                    <a:lnTo>
                      <a:pt x="34" y="34"/>
                    </a:lnTo>
                    <a:lnTo>
                      <a:pt x="34" y="32"/>
                    </a:lnTo>
                    <a:lnTo>
                      <a:pt x="34" y="26"/>
                    </a:lnTo>
                    <a:lnTo>
                      <a:pt x="34" y="20"/>
                    </a:lnTo>
                    <a:lnTo>
                      <a:pt x="34" y="16"/>
                    </a:lnTo>
                    <a:lnTo>
                      <a:pt x="34" y="12"/>
                    </a:lnTo>
                    <a:lnTo>
                      <a:pt x="32" y="10"/>
                    </a:lnTo>
                    <a:lnTo>
                      <a:pt x="32" y="8"/>
                    </a:lnTo>
                    <a:lnTo>
                      <a:pt x="32" y="6"/>
                    </a:lnTo>
                    <a:lnTo>
                      <a:pt x="30" y="2"/>
                    </a:lnTo>
                    <a:lnTo>
                      <a:pt x="30" y="2"/>
                    </a:lnTo>
                    <a:lnTo>
                      <a:pt x="28" y="0"/>
                    </a:lnTo>
                    <a:lnTo>
                      <a:pt x="28" y="0"/>
                    </a:lnTo>
                    <a:lnTo>
                      <a:pt x="26" y="0"/>
                    </a:lnTo>
                    <a:lnTo>
                      <a:pt x="26" y="0"/>
                    </a:lnTo>
                    <a:lnTo>
                      <a:pt x="26" y="0"/>
                    </a:lnTo>
                    <a:lnTo>
                      <a:pt x="24" y="0"/>
                    </a:lnTo>
                    <a:lnTo>
                      <a:pt x="22" y="0"/>
                    </a:lnTo>
                    <a:lnTo>
                      <a:pt x="22" y="0"/>
                    </a:lnTo>
                    <a:lnTo>
                      <a:pt x="20" y="2"/>
                    </a:lnTo>
                    <a:lnTo>
                      <a:pt x="18" y="2"/>
                    </a:lnTo>
                    <a:lnTo>
                      <a:pt x="16" y="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49" name="Gruppieren 713">
              <a:extLst>
                <a:ext uri="{FF2B5EF4-FFF2-40B4-BE49-F238E27FC236}">
                  <a16:creationId xmlns:a16="http://schemas.microsoft.com/office/drawing/2014/main" id="{C8ADBD1D-CD4C-4BF0-A296-FE3A04DACA76}"/>
                </a:ext>
              </a:extLst>
            </p:cNvPr>
            <p:cNvGrpSpPr/>
            <p:nvPr/>
          </p:nvGrpSpPr>
          <p:grpSpPr>
            <a:xfrm>
              <a:off x="7213739" y="4095411"/>
              <a:ext cx="239026" cy="384521"/>
              <a:chOff x="7009103" y="4286417"/>
              <a:chExt cx="219075" cy="352425"/>
            </a:xfrm>
            <a:grpFill/>
          </p:grpSpPr>
          <p:sp>
            <p:nvSpPr>
              <p:cNvPr id="473" name="Freeform 95">
                <a:extLst>
                  <a:ext uri="{FF2B5EF4-FFF2-40B4-BE49-F238E27FC236}">
                    <a16:creationId xmlns:a16="http://schemas.microsoft.com/office/drawing/2014/main" id="{07E7034D-E0AB-4AA4-AEC4-8368C37298E3}"/>
                  </a:ext>
                </a:extLst>
              </p:cNvPr>
              <p:cNvSpPr>
                <a:spLocks/>
              </p:cNvSpPr>
              <p:nvPr/>
            </p:nvSpPr>
            <p:spPr bwMode="auto">
              <a:xfrm>
                <a:off x="7009103" y="4483267"/>
                <a:ext cx="53975" cy="92075"/>
              </a:xfrm>
              <a:custGeom>
                <a:avLst/>
                <a:gdLst>
                  <a:gd name="T0" fmla="*/ 26 w 34"/>
                  <a:gd name="T1" fmla="*/ 6 h 58"/>
                  <a:gd name="T2" fmla="*/ 24 w 34"/>
                  <a:gd name="T3" fmla="*/ 8 h 58"/>
                  <a:gd name="T4" fmla="*/ 24 w 34"/>
                  <a:gd name="T5" fmla="*/ 14 h 58"/>
                  <a:gd name="T6" fmla="*/ 22 w 34"/>
                  <a:gd name="T7" fmla="*/ 16 h 58"/>
                  <a:gd name="T8" fmla="*/ 22 w 34"/>
                  <a:gd name="T9" fmla="*/ 18 h 58"/>
                  <a:gd name="T10" fmla="*/ 18 w 34"/>
                  <a:gd name="T11" fmla="*/ 20 h 58"/>
                  <a:gd name="T12" fmla="*/ 12 w 34"/>
                  <a:gd name="T13" fmla="*/ 24 h 58"/>
                  <a:gd name="T14" fmla="*/ 8 w 34"/>
                  <a:gd name="T15" fmla="*/ 26 h 58"/>
                  <a:gd name="T16" fmla="*/ 4 w 34"/>
                  <a:gd name="T17" fmla="*/ 32 h 58"/>
                  <a:gd name="T18" fmla="*/ 2 w 34"/>
                  <a:gd name="T19" fmla="*/ 36 h 58"/>
                  <a:gd name="T20" fmla="*/ 2 w 34"/>
                  <a:gd name="T21" fmla="*/ 38 h 58"/>
                  <a:gd name="T22" fmla="*/ 0 w 34"/>
                  <a:gd name="T23" fmla="*/ 44 h 58"/>
                  <a:gd name="T24" fmla="*/ 0 w 34"/>
                  <a:gd name="T25" fmla="*/ 50 h 58"/>
                  <a:gd name="T26" fmla="*/ 0 w 34"/>
                  <a:gd name="T27" fmla="*/ 54 h 58"/>
                  <a:gd name="T28" fmla="*/ 2 w 34"/>
                  <a:gd name="T29" fmla="*/ 56 h 58"/>
                  <a:gd name="T30" fmla="*/ 2 w 34"/>
                  <a:gd name="T31" fmla="*/ 58 h 58"/>
                  <a:gd name="T32" fmla="*/ 4 w 34"/>
                  <a:gd name="T33" fmla="*/ 58 h 58"/>
                  <a:gd name="T34" fmla="*/ 6 w 34"/>
                  <a:gd name="T35" fmla="*/ 58 h 58"/>
                  <a:gd name="T36" fmla="*/ 8 w 34"/>
                  <a:gd name="T37" fmla="*/ 56 h 58"/>
                  <a:gd name="T38" fmla="*/ 12 w 34"/>
                  <a:gd name="T39" fmla="*/ 54 h 58"/>
                  <a:gd name="T40" fmla="*/ 16 w 34"/>
                  <a:gd name="T41" fmla="*/ 48 h 58"/>
                  <a:gd name="T42" fmla="*/ 20 w 34"/>
                  <a:gd name="T43" fmla="*/ 42 h 58"/>
                  <a:gd name="T44" fmla="*/ 24 w 34"/>
                  <a:gd name="T45" fmla="*/ 34 h 58"/>
                  <a:gd name="T46" fmla="*/ 28 w 34"/>
                  <a:gd name="T47" fmla="*/ 24 h 58"/>
                  <a:gd name="T48" fmla="*/ 32 w 34"/>
                  <a:gd name="T49" fmla="*/ 18 h 58"/>
                  <a:gd name="T50" fmla="*/ 34 w 34"/>
                  <a:gd name="T51" fmla="*/ 14 h 58"/>
                  <a:gd name="T52" fmla="*/ 34 w 34"/>
                  <a:gd name="T53" fmla="*/ 10 h 58"/>
                  <a:gd name="T54" fmla="*/ 34 w 34"/>
                  <a:gd name="T55" fmla="*/ 8 h 58"/>
                  <a:gd name="T56" fmla="*/ 32 w 34"/>
                  <a:gd name="T57" fmla="*/ 4 h 58"/>
                  <a:gd name="T58" fmla="*/ 30 w 34"/>
                  <a:gd name="T59" fmla="*/ 0 h 58"/>
                  <a:gd name="T60" fmla="*/ 30 w 34"/>
                  <a:gd name="T61" fmla="*/ 0 h 58"/>
                  <a:gd name="T62" fmla="*/ 28 w 34"/>
                  <a:gd name="T63" fmla="*/ 0 h 58"/>
                  <a:gd name="T64" fmla="*/ 28 w 34"/>
                  <a:gd name="T65" fmla="*/ 0 h 58"/>
                  <a:gd name="T66" fmla="*/ 28 w 34"/>
                  <a:gd name="T67" fmla="*/ 2 h 58"/>
                  <a:gd name="T68" fmla="*/ 26 w 34"/>
                  <a:gd name="T69"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 h="58">
                    <a:moveTo>
                      <a:pt x="26" y="6"/>
                    </a:moveTo>
                    <a:lnTo>
                      <a:pt x="26" y="6"/>
                    </a:lnTo>
                    <a:lnTo>
                      <a:pt x="24" y="6"/>
                    </a:lnTo>
                    <a:lnTo>
                      <a:pt x="24" y="8"/>
                    </a:lnTo>
                    <a:lnTo>
                      <a:pt x="24" y="10"/>
                    </a:lnTo>
                    <a:lnTo>
                      <a:pt x="24" y="14"/>
                    </a:lnTo>
                    <a:lnTo>
                      <a:pt x="22" y="14"/>
                    </a:lnTo>
                    <a:lnTo>
                      <a:pt x="22" y="16"/>
                    </a:lnTo>
                    <a:lnTo>
                      <a:pt x="22" y="16"/>
                    </a:lnTo>
                    <a:lnTo>
                      <a:pt x="22" y="18"/>
                    </a:lnTo>
                    <a:lnTo>
                      <a:pt x="20" y="18"/>
                    </a:lnTo>
                    <a:lnTo>
                      <a:pt x="18" y="20"/>
                    </a:lnTo>
                    <a:lnTo>
                      <a:pt x="16" y="20"/>
                    </a:lnTo>
                    <a:lnTo>
                      <a:pt x="12" y="24"/>
                    </a:lnTo>
                    <a:lnTo>
                      <a:pt x="10" y="24"/>
                    </a:lnTo>
                    <a:lnTo>
                      <a:pt x="8" y="26"/>
                    </a:lnTo>
                    <a:lnTo>
                      <a:pt x="6" y="28"/>
                    </a:lnTo>
                    <a:lnTo>
                      <a:pt x="4" y="32"/>
                    </a:lnTo>
                    <a:lnTo>
                      <a:pt x="4" y="34"/>
                    </a:lnTo>
                    <a:lnTo>
                      <a:pt x="2" y="36"/>
                    </a:lnTo>
                    <a:lnTo>
                      <a:pt x="2" y="36"/>
                    </a:lnTo>
                    <a:lnTo>
                      <a:pt x="2" y="38"/>
                    </a:lnTo>
                    <a:lnTo>
                      <a:pt x="0" y="40"/>
                    </a:lnTo>
                    <a:lnTo>
                      <a:pt x="0" y="44"/>
                    </a:lnTo>
                    <a:lnTo>
                      <a:pt x="0" y="46"/>
                    </a:lnTo>
                    <a:lnTo>
                      <a:pt x="0" y="50"/>
                    </a:lnTo>
                    <a:lnTo>
                      <a:pt x="0" y="52"/>
                    </a:lnTo>
                    <a:lnTo>
                      <a:pt x="0" y="54"/>
                    </a:lnTo>
                    <a:lnTo>
                      <a:pt x="0" y="56"/>
                    </a:lnTo>
                    <a:lnTo>
                      <a:pt x="2" y="56"/>
                    </a:lnTo>
                    <a:lnTo>
                      <a:pt x="2" y="58"/>
                    </a:lnTo>
                    <a:lnTo>
                      <a:pt x="2" y="58"/>
                    </a:lnTo>
                    <a:lnTo>
                      <a:pt x="4" y="58"/>
                    </a:lnTo>
                    <a:lnTo>
                      <a:pt x="4" y="58"/>
                    </a:lnTo>
                    <a:lnTo>
                      <a:pt x="6" y="58"/>
                    </a:lnTo>
                    <a:lnTo>
                      <a:pt x="6" y="58"/>
                    </a:lnTo>
                    <a:lnTo>
                      <a:pt x="8" y="58"/>
                    </a:lnTo>
                    <a:lnTo>
                      <a:pt x="8" y="56"/>
                    </a:lnTo>
                    <a:lnTo>
                      <a:pt x="10" y="56"/>
                    </a:lnTo>
                    <a:lnTo>
                      <a:pt x="12" y="54"/>
                    </a:lnTo>
                    <a:lnTo>
                      <a:pt x="14" y="50"/>
                    </a:lnTo>
                    <a:lnTo>
                      <a:pt x="16" y="48"/>
                    </a:lnTo>
                    <a:lnTo>
                      <a:pt x="18" y="44"/>
                    </a:lnTo>
                    <a:lnTo>
                      <a:pt x="20" y="42"/>
                    </a:lnTo>
                    <a:lnTo>
                      <a:pt x="22" y="40"/>
                    </a:lnTo>
                    <a:lnTo>
                      <a:pt x="24" y="34"/>
                    </a:lnTo>
                    <a:lnTo>
                      <a:pt x="26" y="28"/>
                    </a:lnTo>
                    <a:lnTo>
                      <a:pt x="28" y="24"/>
                    </a:lnTo>
                    <a:lnTo>
                      <a:pt x="30" y="20"/>
                    </a:lnTo>
                    <a:lnTo>
                      <a:pt x="32" y="18"/>
                    </a:lnTo>
                    <a:lnTo>
                      <a:pt x="32" y="16"/>
                    </a:lnTo>
                    <a:lnTo>
                      <a:pt x="34" y="14"/>
                    </a:lnTo>
                    <a:lnTo>
                      <a:pt x="34" y="12"/>
                    </a:lnTo>
                    <a:lnTo>
                      <a:pt x="34" y="10"/>
                    </a:lnTo>
                    <a:lnTo>
                      <a:pt x="34" y="10"/>
                    </a:lnTo>
                    <a:lnTo>
                      <a:pt x="34" y="8"/>
                    </a:lnTo>
                    <a:lnTo>
                      <a:pt x="34" y="6"/>
                    </a:lnTo>
                    <a:lnTo>
                      <a:pt x="32" y="4"/>
                    </a:lnTo>
                    <a:lnTo>
                      <a:pt x="32" y="2"/>
                    </a:lnTo>
                    <a:lnTo>
                      <a:pt x="30" y="0"/>
                    </a:lnTo>
                    <a:lnTo>
                      <a:pt x="30" y="0"/>
                    </a:lnTo>
                    <a:lnTo>
                      <a:pt x="30" y="0"/>
                    </a:lnTo>
                    <a:lnTo>
                      <a:pt x="30" y="0"/>
                    </a:lnTo>
                    <a:lnTo>
                      <a:pt x="28" y="0"/>
                    </a:lnTo>
                    <a:lnTo>
                      <a:pt x="28" y="0"/>
                    </a:lnTo>
                    <a:lnTo>
                      <a:pt x="28" y="0"/>
                    </a:lnTo>
                    <a:lnTo>
                      <a:pt x="28" y="0"/>
                    </a:lnTo>
                    <a:lnTo>
                      <a:pt x="28" y="2"/>
                    </a:lnTo>
                    <a:lnTo>
                      <a:pt x="26" y="2"/>
                    </a:lnTo>
                    <a:lnTo>
                      <a:pt x="26" y="4"/>
                    </a:lnTo>
                    <a:lnTo>
                      <a:pt x="26" y="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4" name="Freeform 97">
                <a:extLst>
                  <a:ext uri="{FF2B5EF4-FFF2-40B4-BE49-F238E27FC236}">
                    <a16:creationId xmlns:a16="http://schemas.microsoft.com/office/drawing/2014/main" id="{18B6EC8C-34D4-4A92-B73C-40707FB930C3}"/>
                  </a:ext>
                </a:extLst>
              </p:cNvPr>
              <p:cNvSpPr>
                <a:spLocks/>
              </p:cNvSpPr>
              <p:nvPr/>
            </p:nvSpPr>
            <p:spPr bwMode="auto">
              <a:xfrm>
                <a:off x="7040853" y="4286417"/>
                <a:ext cx="82550" cy="123825"/>
              </a:xfrm>
              <a:custGeom>
                <a:avLst/>
                <a:gdLst>
                  <a:gd name="T0" fmla="*/ 24 w 52"/>
                  <a:gd name="T1" fmla="*/ 0 h 78"/>
                  <a:gd name="T2" fmla="*/ 24 w 52"/>
                  <a:gd name="T3" fmla="*/ 2 h 78"/>
                  <a:gd name="T4" fmla="*/ 22 w 52"/>
                  <a:gd name="T5" fmla="*/ 4 h 78"/>
                  <a:gd name="T6" fmla="*/ 20 w 52"/>
                  <a:gd name="T7" fmla="*/ 8 h 78"/>
                  <a:gd name="T8" fmla="*/ 18 w 52"/>
                  <a:gd name="T9" fmla="*/ 12 h 78"/>
                  <a:gd name="T10" fmla="*/ 16 w 52"/>
                  <a:gd name="T11" fmla="*/ 18 h 78"/>
                  <a:gd name="T12" fmla="*/ 14 w 52"/>
                  <a:gd name="T13" fmla="*/ 28 h 78"/>
                  <a:gd name="T14" fmla="*/ 14 w 52"/>
                  <a:gd name="T15" fmla="*/ 34 h 78"/>
                  <a:gd name="T16" fmla="*/ 12 w 52"/>
                  <a:gd name="T17" fmla="*/ 38 h 78"/>
                  <a:gd name="T18" fmla="*/ 10 w 52"/>
                  <a:gd name="T19" fmla="*/ 40 h 78"/>
                  <a:gd name="T20" fmla="*/ 6 w 52"/>
                  <a:gd name="T21" fmla="*/ 42 h 78"/>
                  <a:gd name="T22" fmla="*/ 4 w 52"/>
                  <a:gd name="T23" fmla="*/ 44 h 78"/>
                  <a:gd name="T24" fmla="*/ 2 w 52"/>
                  <a:gd name="T25" fmla="*/ 46 h 78"/>
                  <a:gd name="T26" fmla="*/ 2 w 52"/>
                  <a:gd name="T27" fmla="*/ 48 h 78"/>
                  <a:gd name="T28" fmla="*/ 0 w 52"/>
                  <a:gd name="T29" fmla="*/ 52 h 78"/>
                  <a:gd name="T30" fmla="*/ 0 w 52"/>
                  <a:gd name="T31" fmla="*/ 58 h 78"/>
                  <a:gd name="T32" fmla="*/ 2 w 52"/>
                  <a:gd name="T33" fmla="*/ 62 h 78"/>
                  <a:gd name="T34" fmla="*/ 2 w 52"/>
                  <a:gd name="T35" fmla="*/ 66 h 78"/>
                  <a:gd name="T36" fmla="*/ 4 w 52"/>
                  <a:gd name="T37" fmla="*/ 68 h 78"/>
                  <a:gd name="T38" fmla="*/ 4 w 52"/>
                  <a:gd name="T39" fmla="*/ 68 h 78"/>
                  <a:gd name="T40" fmla="*/ 8 w 52"/>
                  <a:gd name="T41" fmla="*/ 68 h 78"/>
                  <a:gd name="T42" fmla="*/ 12 w 52"/>
                  <a:gd name="T43" fmla="*/ 68 h 78"/>
                  <a:gd name="T44" fmla="*/ 16 w 52"/>
                  <a:gd name="T45" fmla="*/ 70 h 78"/>
                  <a:gd name="T46" fmla="*/ 16 w 52"/>
                  <a:gd name="T47" fmla="*/ 72 h 78"/>
                  <a:gd name="T48" fmla="*/ 18 w 52"/>
                  <a:gd name="T49" fmla="*/ 76 h 78"/>
                  <a:gd name="T50" fmla="*/ 20 w 52"/>
                  <a:gd name="T51" fmla="*/ 78 h 78"/>
                  <a:gd name="T52" fmla="*/ 22 w 52"/>
                  <a:gd name="T53" fmla="*/ 78 h 78"/>
                  <a:gd name="T54" fmla="*/ 22 w 52"/>
                  <a:gd name="T55" fmla="*/ 78 h 78"/>
                  <a:gd name="T56" fmla="*/ 26 w 52"/>
                  <a:gd name="T57" fmla="*/ 78 h 78"/>
                  <a:gd name="T58" fmla="*/ 32 w 52"/>
                  <a:gd name="T59" fmla="*/ 78 h 78"/>
                  <a:gd name="T60" fmla="*/ 40 w 52"/>
                  <a:gd name="T61" fmla="*/ 76 h 78"/>
                  <a:gd name="T62" fmla="*/ 44 w 52"/>
                  <a:gd name="T63" fmla="*/ 76 h 78"/>
                  <a:gd name="T64" fmla="*/ 48 w 52"/>
                  <a:gd name="T65" fmla="*/ 74 h 78"/>
                  <a:gd name="T66" fmla="*/ 50 w 52"/>
                  <a:gd name="T67" fmla="*/ 74 h 78"/>
                  <a:gd name="T68" fmla="*/ 52 w 52"/>
                  <a:gd name="T69" fmla="*/ 72 h 78"/>
                  <a:gd name="T70" fmla="*/ 52 w 52"/>
                  <a:gd name="T71" fmla="*/ 70 h 78"/>
                  <a:gd name="T72" fmla="*/ 52 w 52"/>
                  <a:gd name="T73" fmla="*/ 68 h 78"/>
                  <a:gd name="T74" fmla="*/ 50 w 52"/>
                  <a:gd name="T75" fmla="*/ 62 h 78"/>
                  <a:gd name="T76" fmla="*/ 46 w 52"/>
                  <a:gd name="T77" fmla="*/ 54 h 78"/>
                  <a:gd name="T78" fmla="*/ 46 w 52"/>
                  <a:gd name="T79" fmla="*/ 52 h 78"/>
                  <a:gd name="T80" fmla="*/ 46 w 52"/>
                  <a:gd name="T81" fmla="*/ 48 h 78"/>
                  <a:gd name="T82" fmla="*/ 48 w 52"/>
                  <a:gd name="T83" fmla="*/ 42 h 78"/>
                  <a:gd name="T84" fmla="*/ 48 w 52"/>
                  <a:gd name="T85" fmla="*/ 38 h 78"/>
                  <a:gd name="T86" fmla="*/ 48 w 52"/>
                  <a:gd name="T87" fmla="*/ 34 h 78"/>
                  <a:gd name="T88" fmla="*/ 48 w 52"/>
                  <a:gd name="T89" fmla="*/ 28 h 78"/>
                  <a:gd name="T90" fmla="*/ 48 w 52"/>
                  <a:gd name="T91" fmla="*/ 24 h 78"/>
                  <a:gd name="T92" fmla="*/ 44 w 52"/>
                  <a:gd name="T93" fmla="*/ 14 h 78"/>
                  <a:gd name="T94" fmla="*/ 42 w 52"/>
                  <a:gd name="T95" fmla="*/ 6 h 78"/>
                  <a:gd name="T96" fmla="*/ 42 w 52"/>
                  <a:gd name="T97" fmla="*/ 4 h 78"/>
                  <a:gd name="T98" fmla="*/ 40 w 52"/>
                  <a:gd name="T99" fmla="*/ 2 h 78"/>
                  <a:gd name="T100" fmla="*/ 36 w 52"/>
                  <a:gd name="T101" fmla="*/ 0 h 78"/>
                  <a:gd name="T102" fmla="*/ 32 w 52"/>
                  <a:gd name="T103" fmla="*/ 0 h 78"/>
                  <a:gd name="T104" fmla="*/ 28 w 52"/>
                  <a:gd name="T105" fmla="*/ 0 h 78"/>
                  <a:gd name="T106" fmla="*/ 26 w 52"/>
                  <a:gd name="T10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 h="78">
                    <a:moveTo>
                      <a:pt x="24" y="0"/>
                    </a:moveTo>
                    <a:lnTo>
                      <a:pt x="24" y="0"/>
                    </a:lnTo>
                    <a:lnTo>
                      <a:pt x="24" y="0"/>
                    </a:lnTo>
                    <a:lnTo>
                      <a:pt x="24" y="2"/>
                    </a:lnTo>
                    <a:lnTo>
                      <a:pt x="22" y="2"/>
                    </a:lnTo>
                    <a:lnTo>
                      <a:pt x="22" y="4"/>
                    </a:lnTo>
                    <a:lnTo>
                      <a:pt x="20" y="6"/>
                    </a:lnTo>
                    <a:lnTo>
                      <a:pt x="20" y="8"/>
                    </a:lnTo>
                    <a:lnTo>
                      <a:pt x="18" y="10"/>
                    </a:lnTo>
                    <a:lnTo>
                      <a:pt x="18" y="12"/>
                    </a:lnTo>
                    <a:lnTo>
                      <a:pt x="16" y="16"/>
                    </a:lnTo>
                    <a:lnTo>
                      <a:pt x="16" y="18"/>
                    </a:lnTo>
                    <a:lnTo>
                      <a:pt x="16" y="22"/>
                    </a:lnTo>
                    <a:lnTo>
                      <a:pt x="14" y="28"/>
                    </a:lnTo>
                    <a:lnTo>
                      <a:pt x="14" y="30"/>
                    </a:lnTo>
                    <a:lnTo>
                      <a:pt x="14" y="34"/>
                    </a:lnTo>
                    <a:lnTo>
                      <a:pt x="12" y="36"/>
                    </a:lnTo>
                    <a:lnTo>
                      <a:pt x="12" y="38"/>
                    </a:lnTo>
                    <a:lnTo>
                      <a:pt x="12" y="38"/>
                    </a:lnTo>
                    <a:lnTo>
                      <a:pt x="10" y="40"/>
                    </a:lnTo>
                    <a:lnTo>
                      <a:pt x="10" y="40"/>
                    </a:lnTo>
                    <a:lnTo>
                      <a:pt x="6" y="42"/>
                    </a:lnTo>
                    <a:lnTo>
                      <a:pt x="4" y="44"/>
                    </a:lnTo>
                    <a:lnTo>
                      <a:pt x="4" y="44"/>
                    </a:lnTo>
                    <a:lnTo>
                      <a:pt x="2" y="46"/>
                    </a:lnTo>
                    <a:lnTo>
                      <a:pt x="2" y="46"/>
                    </a:lnTo>
                    <a:lnTo>
                      <a:pt x="2" y="46"/>
                    </a:lnTo>
                    <a:lnTo>
                      <a:pt x="2" y="48"/>
                    </a:lnTo>
                    <a:lnTo>
                      <a:pt x="0" y="50"/>
                    </a:lnTo>
                    <a:lnTo>
                      <a:pt x="0" y="52"/>
                    </a:lnTo>
                    <a:lnTo>
                      <a:pt x="0" y="54"/>
                    </a:lnTo>
                    <a:lnTo>
                      <a:pt x="0" y="58"/>
                    </a:lnTo>
                    <a:lnTo>
                      <a:pt x="2" y="60"/>
                    </a:lnTo>
                    <a:lnTo>
                      <a:pt x="2" y="62"/>
                    </a:lnTo>
                    <a:lnTo>
                      <a:pt x="2" y="64"/>
                    </a:lnTo>
                    <a:lnTo>
                      <a:pt x="2" y="66"/>
                    </a:lnTo>
                    <a:lnTo>
                      <a:pt x="4" y="66"/>
                    </a:lnTo>
                    <a:lnTo>
                      <a:pt x="4" y="68"/>
                    </a:lnTo>
                    <a:lnTo>
                      <a:pt x="4" y="68"/>
                    </a:lnTo>
                    <a:lnTo>
                      <a:pt x="4" y="68"/>
                    </a:lnTo>
                    <a:lnTo>
                      <a:pt x="6" y="68"/>
                    </a:lnTo>
                    <a:lnTo>
                      <a:pt x="8" y="68"/>
                    </a:lnTo>
                    <a:lnTo>
                      <a:pt x="10" y="68"/>
                    </a:lnTo>
                    <a:lnTo>
                      <a:pt x="12" y="68"/>
                    </a:lnTo>
                    <a:lnTo>
                      <a:pt x="14" y="70"/>
                    </a:lnTo>
                    <a:lnTo>
                      <a:pt x="16" y="70"/>
                    </a:lnTo>
                    <a:lnTo>
                      <a:pt x="16" y="70"/>
                    </a:lnTo>
                    <a:lnTo>
                      <a:pt x="16" y="72"/>
                    </a:lnTo>
                    <a:lnTo>
                      <a:pt x="18" y="74"/>
                    </a:lnTo>
                    <a:lnTo>
                      <a:pt x="18" y="76"/>
                    </a:lnTo>
                    <a:lnTo>
                      <a:pt x="20" y="76"/>
                    </a:lnTo>
                    <a:lnTo>
                      <a:pt x="20" y="78"/>
                    </a:lnTo>
                    <a:lnTo>
                      <a:pt x="20" y="78"/>
                    </a:lnTo>
                    <a:lnTo>
                      <a:pt x="22" y="78"/>
                    </a:lnTo>
                    <a:lnTo>
                      <a:pt x="22" y="78"/>
                    </a:lnTo>
                    <a:lnTo>
                      <a:pt x="22" y="78"/>
                    </a:lnTo>
                    <a:lnTo>
                      <a:pt x="24" y="78"/>
                    </a:lnTo>
                    <a:lnTo>
                      <a:pt x="26" y="78"/>
                    </a:lnTo>
                    <a:lnTo>
                      <a:pt x="28" y="78"/>
                    </a:lnTo>
                    <a:lnTo>
                      <a:pt x="32" y="78"/>
                    </a:lnTo>
                    <a:lnTo>
                      <a:pt x="36" y="78"/>
                    </a:lnTo>
                    <a:lnTo>
                      <a:pt x="40" y="76"/>
                    </a:lnTo>
                    <a:lnTo>
                      <a:pt x="42" y="76"/>
                    </a:lnTo>
                    <a:lnTo>
                      <a:pt x="44" y="76"/>
                    </a:lnTo>
                    <a:lnTo>
                      <a:pt x="46" y="74"/>
                    </a:lnTo>
                    <a:lnTo>
                      <a:pt x="48" y="74"/>
                    </a:lnTo>
                    <a:lnTo>
                      <a:pt x="50" y="74"/>
                    </a:lnTo>
                    <a:lnTo>
                      <a:pt x="50" y="74"/>
                    </a:lnTo>
                    <a:lnTo>
                      <a:pt x="50" y="72"/>
                    </a:lnTo>
                    <a:lnTo>
                      <a:pt x="52" y="72"/>
                    </a:lnTo>
                    <a:lnTo>
                      <a:pt x="52" y="72"/>
                    </a:lnTo>
                    <a:lnTo>
                      <a:pt x="52" y="70"/>
                    </a:lnTo>
                    <a:lnTo>
                      <a:pt x="52" y="68"/>
                    </a:lnTo>
                    <a:lnTo>
                      <a:pt x="52" y="68"/>
                    </a:lnTo>
                    <a:lnTo>
                      <a:pt x="50" y="66"/>
                    </a:lnTo>
                    <a:lnTo>
                      <a:pt x="50" y="62"/>
                    </a:lnTo>
                    <a:lnTo>
                      <a:pt x="48" y="56"/>
                    </a:lnTo>
                    <a:lnTo>
                      <a:pt x="46" y="54"/>
                    </a:lnTo>
                    <a:lnTo>
                      <a:pt x="46" y="52"/>
                    </a:lnTo>
                    <a:lnTo>
                      <a:pt x="46" y="52"/>
                    </a:lnTo>
                    <a:lnTo>
                      <a:pt x="46" y="50"/>
                    </a:lnTo>
                    <a:lnTo>
                      <a:pt x="46" y="48"/>
                    </a:lnTo>
                    <a:lnTo>
                      <a:pt x="48" y="46"/>
                    </a:lnTo>
                    <a:lnTo>
                      <a:pt x="48" y="42"/>
                    </a:lnTo>
                    <a:lnTo>
                      <a:pt x="48" y="40"/>
                    </a:lnTo>
                    <a:lnTo>
                      <a:pt x="48" y="38"/>
                    </a:lnTo>
                    <a:lnTo>
                      <a:pt x="48" y="36"/>
                    </a:lnTo>
                    <a:lnTo>
                      <a:pt x="48" y="34"/>
                    </a:lnTo>
                    <a:lnTo>
                      <a:pt x="48" y="30"/>
                    </a:lnTo>
                    <a:lnTo>
                      <a:pt x="48" y="28"/>
                    </a:lnTo>
                    <a:lnTo>
                      <a:pt x="48" y="26"/>
                    </a:lnTo>
                    <a:lnTo>
                      <a:pt x="48" y="24"/>
                    </a:lnTo>
                    <a:lnTo>
                      <a:pt x="46" y="20"/>
                    </a:lnTo>
                    <a:lnTo>
                      <a:pt x="44" y="14"/>
                    </a:lnTo>
                    <a:lnTo>
                      <a:pt x="44" y="10"/>
                    </a:lnTo>
                    <a:lnTo>
                      <a:pt x="42" y="6"/>
                    </a:lnTo>
                    <a:lnTo>
                      <a:pt x="42" y="4"/>
                    </a:lnTo>
                    <a:lnTo>
                      <a:pt x="42" y="4"/>
                    </a:lnTo>
                    <a:lnTo>
                      <a:pt x="40" y="2"/>
                    </a:lnTo>
                    <a:lnTo>
                      <a:pt x="40" y="2"/>
                    </a:lnTo>
                    <a:lnTo>
                      <a:pt x="38" y="0"/>
                    </a:lnTo>
                    <a:lnTo>
                      <a:pt x="36" y="0"/>
                    </a:lnTo>
                    <a:lnTo>
                      <a:pt x="34" y="0"/>
                    </a:lnTo>
                    <a:lnTo>
                      <a:pt x="32" y="0"/>
                    </a:lnTo>
                    <a:lnTo>
                      <a:pt x="30" y="0"/>
                    </a:lnTo>
                    <a:lnTo>
                      <a:pt x="28" y="0"/>
                    </a:lnTo>
                    <a:lnTo>
                      <a:pt x="26" y="0"/>
                    </a:lnTo>
                    <a:lnTo>
                      <a:pt x="26" y="0"/>
                    </a:lnTo>
                    <a:lnTo>
                      <a:pt x="24"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5" name="Freeform 102">
                <a:extLst>
                  <a:ext uri="{FF2B5EF4-FFF2-40B4-BE49-F238E27FC236}">
                    <a16:creationId xmlns:a16="http://schemas.microsoft.com/office/drawing/2014/main" id="{B18C8DCA-25E5-4BA4-8539-468F1191FAAA}"/>
                  </a:ext>
                </a:extLst>
              </p:cNvPr>
              <p:cNvSpPr>
                <a:spLocks/>
              </p:cNvSpPr>
              <p:nvPr/>
            </p:nvSpPr>
            <p:spPr bwMode="auto">
              <a:xfrm>
                <a:off x="7059903" y="4432467"/>
                <a:ext cx="47625" cy="38100"/>
              </a:xfrm>
              <a:custGeom>
                <a:avLst/>
                <a:gdLst>
                  <a:gd name="T0" fmla="*/ 18 w 30"/>
                  <a:gd name="T1" fmla="*/ 6 h 24"/>
                  <a:gd name="T2" fmla="*/ 18 w 30"/>
                  <a:gd name="T3" fmla="*/ 4 h 24"/>
                  <a:gd name="T4" fmla="*/ 16 w 30"/>
                  <a:gd name="T5" fmla="*/ 2 h 24"/>
                  <a:gd name="T6" fmla="*/ 14 w 30"/>
                  <a:gd name="T7" fmla="*/ 2 h 24"/>
                  <a:gd name="T8" fmla="*/ 8 w 30"/>
                  <a:gd name="T9" fmla="*/ 0 h 24"/>
                  <a:gd name="T10" fmla="*/ 6 w 30"/>
                  <a:gd name="T11" fmla="*/ 0 h 24"/>
                  <a:gd name="T12" fmla="*/ 4 w 30"/>
                  <a:gd name="T13" fmla="*/ 0 h 24"/>
                  <a:gd name="T14" fmla="*/ 2 w 30"/>
                  <a:gd name="T15" fmla="*/ 0 h 24"/>
                  <a:gd name="T16" fmla="*/ 2 w 30"/>
                  <a:gd name="T17" fmla="*/ 2 h 24"/>
                  <a:gd name="T18" fmla="*/ 0 w 30"/>
                  <a:gd name="T19" fmla="*/ 4 h 24"/>
                  <a:gd name="T20" fmla="*/ 0 w 30"/>
                  <a:gd name="T21" fmla="*/ 8 h 24"/>
                  <a:gd name="T22" fmla="*/ 2 w 30"/>
                  <a:gd name="T23" fmla="*/ 10 h 24"/>
                  <a:gd name="T24" fmla="*/ 2 w 30"/>
                  <a:gd name="T25" fmla="*/ 14 h 24"/>
                  <a:gd name="T26" fmla="*/ 4 w 30"/>
                  <a:gd name="T27" fmla="*/ 16 h 24"/>
                  <a:gd name="T28" fmla="*/ 6 w 30"/>
                  <a:gd name="T29" fmla="*/ 20 h 24"/>
                  <a:gd name="T30" fmla="*/ 8 w 30"/>
                  <a:gd name="T31" fmla="*/ 22 h 24"/>
                  <a:gd name="T32" fmla="*/ 12 w 30"/>
                  <a:gd name="T33" fmla="*/ 22 h 24"/>
                  <a:gd name="T34" fmla="*/ 14 w 30"/>
                  <a:gd name="T35" fmla="*/ 24 h 24"/>
                  <a:gd name="T36" fmla="*/ 20 w 30"/>
                  <a:gd name="T37" fmla="*/ 24 h 24"/>
                  <a:gd name="T38" fmla="*/ 22 w 30"/>
                  <a:gd name="T39" fmla="*/ 24 h 24"/>
                  <a:gd name="T40" fmla="*/ 26 w 30"/>
                  <a:gd name="T41" fmla="*/ 24 h 24"/>
                  <a:gd name="T42" fmla="*/ 28 w 30"/>
                  <a:gd name="T43" fmla="*/ 22 h 24"/>
                  <a:gd name="T44" fmla="*/ 28 w 30"/>
                  <a:gd name="T45" fmla="*/ 22 h 24"/>
                  <a:gd name="T46" fmla="*/ 30 w 30"/>
                  <a:gd name="T47" fmla="*/ 20 h 24"/>
                  <a:gd name="T48" fmla="*/ 30 w 30"/>
                  <a:gd name="T49" fmla="*/ 18 h 24"/>
                  <a:gd name="T50" fmla="*/ 28 w 30"/>
                  <a:gd name="T51" fmla="*/ 14 h 24"/>
                  <a:gd name="T52" fmla="*/ 28 w 30"/>
                  <a:gd name="T53" fmla="*/ 12 h 24"/>
                  <a:gd name="T54" fmla="*/ 26 w 30"/>
                  <a:gd name="T55" fmla="*/ 12 h 24"/>
                  <a:gd name="T56" fmla="*/ 22 w 30"/>
                  <a:gd name="T57" fmla="*/ 10 h 24"/>
                  <a:gd name="T58" fmla="*/ 20 w 30"/>
                  <a:gd name="T59" fmla="*/ 8 h 24"/>
                  <a:gd name="T60" fmla="*/ 18 w 30"/>
                  <a:gd name="T61" fmla="*/ 6 h 24"/>
                  <a:gd name="T62" fmla="*/ 18 w 30"/>
                  <a:gd name="T63" fmla="*/ 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 h="24">
                    <a:moveTo>
                      <a:pt x="18" y="6"/>
                    </a:moveTo>
                    <a:lnTo>
                      <a:pt x="18" y="6"/>
                    </a:lnTo>
                    <a:lnTo>
                      <a:pt x="18" y="4"/>
                    </a:lnTo>
                    <a:lnTo>
                      <a:pt x="18" y="4"/>
                    </a:lnTo>
                    <a:lnTo>
                      <a:pt x="16" y="4"/>
                    </a:lnTo>
                    <a:lnTo>
                      <a:pt x="16" y="2"/>
                    </a:lnTo>
                    <a:lnTo>
                      <a:pt x="16" y="2"/>
                    </a:lnTo>
                    <a:lnTo>
                      <a:pt x="14" y="2"/>
                    </a:lnTo>
                    <a:lnTo>
                      <a:pt x="12" y="0"/>
                    </a:lnTo>
                    <a:lnTo>
                      <a:pt x="8" y="0"/>
                    </a:lnTo>
                    <a:lnTo>
                      <a:pt x="6" y="0"/>
                    </a:lnTo>
                    <a:lnTo>
                      <a:pt x="6" y="0"/>
                    </a:lnTo>
                    <a:lnTo>
                      <a:pt x="4" y="0"/>
                    </a:lnTo>
                    <a:lnTo>
                      <a:pt x="4" y="0"/>
                    </a:lnTo>
                    <a:lnTo>
                      <a:pt x="2" y="0"/>
                    </a:lnTo>
                    <a:lnTo>
                      <a:pt x="2" y="0"/>
                    </a:lnTo>
                    <a:lnTo>
                      <a:pt x="2" y="0"/>
                    </a:lnTo>
                    <a:lnTo>
                      <a:pt x="2" y="2"/>
                    </a:lnTo>
                    <a:lnTo>
                      <a:pt x="2" y="2"/>
                    </a:lnTo>
                    <a:lnTo>
                      <a:pt x="0" y="4"/>
                    </a:lnTo>
                    <a:lnTo>
                      <a:pt x="0" y="6"/>
                    </a:lnTo>
                    <a:lnTo>
                      <a:pt x="0" y="8"/>
                    </a:lnTo>
                    <a:lnTo>
                      <a:pt x="0" y="10"/>
                    </a:lnTo>
                    <a:lnTo>
                      <a:pt x="2" y="10"/>
                    </a:lnTo>
                    <a:lnTo>
                      <a:pt x="2" y="12"/>
                    </a:lnTo>
                    <a:lnTo>
                      <a:pt x="2" y="14"/>
                    </a:lnTo>
                    <a:lnTo>
                      <a:pt x="2" y="14"/>
                    </a:lnTo>
                    <a:lnTo>
                      <a:pt x="4" y="16"/>
                    </a:lnTo>
                    <a:lnTo>
                      <a:pt x="4" y="18"/>
                    </a:lnTo>
                    <a:lnTo>
                      <a:pt x="6" y="20"/>
                    </a:lnTo>
                    <a:lnTo>
                      <a:pt x="8" y="20"/>
                    </a:lnTo>
                    <a:lnTo>
                      <a:pt x="8" y="22"/>
                    </a:lnTo>
                    <a:lnTo>
                      <a:pt x="10" y="22"/>
                    </a:lnTo>
                    <a:lnTo>
                      <a:pt x="12" y="22"/>
                    </a:lnTo>
                    <a:lnTo>
                      <a:pt x="12" y="24"/>
                    </a:lnTo>
                    <a:lnTo>
                      <a:pt x="14" y="24"/>
                    </a:lnTo>
                    <a:lnTo>
                      <a:pt x="18" y="24"/>
                    </a:lnTo>
                    <a:lnTo>
                      <a:pt x="20" y="24"/>
                    </a:lnTo>
                    <a:lnTo>
                      <a:pt x="20" y="24"/>
                    </a:lnTo>
                    <a:lnTo>
                      <a:pt x="22" y="24"/>
                    </a:lnTo>
                    <a:lnTo>
                      <a:pt x="24" y="24"/>
                    </a:lnTo>
                    <a:lnTo>
                      <a:pt x="26" y="24"/>
                    </a:lnTo>
                    <a:lnTo>
                      <a:pt x="26" y="24"/>
                    </a:lnTo>
                    <a:lnTo>
                      <a:pt x="28" y="22"/>
                    </a:lnTo>
                    <a:lnTo>
                      <a:pt x="28" y="22"/>
                    </a:lnTo>
                    <a:lnTo>
                      <a:pt x="28" y="22"/>
                    </a:lnTo>
                    <a:lnTo>
                      <a:pt x="30" y="20"/>
                    </a:lnTo>
                    <a:lnTo>
                      <a:pt x="30" y="20"/>
                    </a:lnTo>
                    <a:lnTo>
                      <a:pt x="30" y="18"/>
                    </a:lnTo>
                    <a:lnTo>
                      <a:pt x="30" y="18"/>
                    </a:lnTo>
                    <a:lnTo>
                      <a:pt x="30" y="16"/>
                    </a:lnTo>
                    <a:lnTo>
                      <a:pt x="28" y="14"/>
                    </a:lnTo>
                    <a:lnTo>
                      <a:pt x="28" y="14"/>
                    </a:lnTo>
                    <a:lnTo>
                      <a:pt x="28" y="12"/>
                    </a:lnTo>
                    <a:lnTo>
                      <a:pt x="26" y="12"/>
                    </a:lnTo>
                    <a:lnTo>
                      <a:pt x="26" y="12"/>
                    </a:lnTo>
                    <a:lnTo>
                      <a:pt x="24" y="10"/>
                    </a:lnTo>
                    <a:lnTo>
                      <a:pt x="22" y="10"/>
                    </a:lnTo>
                    <a:lnTo>
                      <a:pt x="20" y="8"/>
                    </a:lnTo>
                    <a:lnTo>
                      <a:pt x="20" y="8"/>
                    </a:lnTo>
                    <a:lnTo>
                      <a:pt x="18" y="8"/>
                    </a:lnTo>
                    <a:lnTo>
                      <a:pt x="18" y="6"/>
                    </a:lnTo>
                    <a:lnTo>
                      <a:pt x="18" y="6"/>
                    </a:lnTo>
                    <a:lnTo>
                      <a:pt x="18" y="6"/>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6" name="Freeform 107">
                <a:extLst>
                  <a:ext uri="{FF2B5EF4-FFF2-40B4-BE49-F238E27FC236}">
                    <a16:creationId xmlns:a16="http://schemas.microsoft.com/office/drawing/2014/main" id="{1D1C8052-E430-411B-9DC7-C1C98875B471}"/>
                  </a:ext>
                </a:extLst>
              </p:cNvPr>
              <p:cNvSpPr>
                <a:spLocks/>
              </p:cNvSpPr>
              <p:nvPr/>
            </p:nvSpPr>
            <p:spPr bwMode="auto">
              <a:xfrm>
                <a:off x="7123403" y="4419767"/>
                <a:ext cx="50800" cy="38100"/>
              </a:xfrm>
              <a:custGeom>
                <a:avLst/>
                <a:gdLst>
                  <a:gd name="T0" fmla="*/ 2 w 32"/>
                  <a:gd name="T1" fmla="*/ 2 h 24"/>
                  <a:gd name="T2" fmla="*/ 2 w 32"/>
                  <a:gd name="T3" fmla="*/ 2 h 24"/>
                  <a:gd name="T4" fmla="*/ 2 w 32"/>
                  <a:gd name="T5" fmla="*/ 4 h 24"/>
                  <a:gd name="T6" fmla="*/ 2 w 32"/>
                  <a:gd name="T7" fmla="*/ 6 h 24"/>
                  <a:gd name="T8" fmla="*/ 2 w 32"/>
                  <a:gd name="T9" fmla="*/ 8 h 24"/>
                  <a:gd name="T10" fmla="*/ 2 w 32"/>
                  <a:gd name="T11" fmla="*/ 10 h 24"/>
                  <a:gd name="T12" fmla="*/ 0 w 32"/>
                  <a:gd name="T13" fmla="*/ 12 h 24"/>
                  <a:gd name="T14" fmla="*/ 0 w 32"/>
                  <a:gd name="T15" fmla="*/ 14 h 24"/>
                  <a:gd name="T16" fmla="*/ 2 w 32"/>
                  <a:gd name="T17" fmla="*/ 14 h 24"/>
                  <a:gd name="T18" fmla="*/ 2 w 32"/>
                  <a:gd name="T19" fmla="*/ 14 h 24"/>
                  <a:gd name="T20" fmla="*/ 2 w 32"/>
                  <a:gd name="T21" fmla="*/ 16 h 24"/>
                  <a:gd name="T22" fmla="*/ 4 w 32"/>
                  <a:gd name="T23" fmla="*/ 16 h 24"/>
                  <a:gd name="T24" fmla="*/ 4 w 32"/>
                  <a:gd name="T25" fmla="*/ 18 h 24"/>
                  <a:gd name="T26" fmla="*/ 6 w 32"/>
                  <a:gd name="T27" fmla="*/ 18 h 24"/>
                  <a:gd name="T28" fmla="*/ 8 w 32"/>
                  <a:gd name="T29" fmla="*/ 20 h 24"/>
                  <a:gd name="T30" fmla="*/ 12 w 32"/>
                  <a:gd name="T31" fmla="*/ 20 h 24"/>
                  <a:gd name="T32" fmla="*/ 16 w 32"/>
                  <a:gd name="T33" fmla="*/ 22 h 24"/>
                  <a:gd name="T34" fmla="*/ 18 w 32"/>
                  <a:gd name="T35" fmla="*/ 22 h 24"/>
                  <a:gd name="T36" fmla="*/ 22 w 32"/>
                  <a:gd name="T37" fmla="*/ 22 h 24"/>
                  <a:gd name="T38" fmla="*/ 24 w 32"/>
                  <a:gd name="T39" fmla="*/ 24 h 24"/>
                  <a:gd name="T40" fmla="*/ 26 w 32"/>
                  <a:gd name="T41" fmla="*/ 24 h 24"/>
                  <a:gd name="T42" fmla="*/ 26 w 32"/>
                  <a:gd name="T43" fmla="*/ 24 h 24"/>
                  <a:gd name="T44" fmla="*/ 28 w 32"/>
                  <a:gd name="T45" fmla="*/ 22 h 24"/>
                  <a:gd name="T46" fmla="*/ 28 w 32"/>
                  <a:gd name="T47" fmla="*/ 22 h 24"/>
                  <a:gd name="T48" fmla="*/ 30 w 32"/>
                  <a:gd name="T49" fmla="*/ 22 h 24"/>
                  <a:gd name="T50" fmla="*/ 30 w 32"/>
                  <a:gd name="T51" fmla="*/ 22 h 24"/>
                  <a:gd name="T52" fmla="*/ 32 w 32"/>
                  <a:gd name="T53" fmla="*/ 22 h 24"/>
                  <a:gd name="T54" fmla="*/ 32 w 32"/>
                  <a:gd name="T55" fmla="*/ 20 h 24"/>
                  <a:gd name="T56" fmla="*/ 32 w 32"/>
                  <a:gd name="T57" fmla="*/ 20 h 24"/>
                  <a:gd name="T58" fmla="*/ 32 w 32"/>
                  <a:gd name="T59" fmla="*/ 18 h 24"/>
                  <a:gd name="T60" fmla="*/ 32 w 32"/>
                  <a:gd name="T61" fmla="*/ 16 h 24"/>
                  <a:gd name="T62" fmla="*/ 32 w 32"/>
                  <a:gd name="T63" fmla="*/ 14 h 24"/>
                  <a:gd name="T64" fmla="*/ 32 w 32"/>
                  <a:gd name="T65" fmla="*/ 12 h 24"/>
                  <a:gd name="T66" fmla="*/ 32 w 32"/>
                  <a:gd name="T67" fmla="*/ 10 h 24"/>
                  <a:gd name="T68" fmla="*/ 30 w 32"/>
                  <a:gd name="T69" fmla="*/ 10 h 24"/>
                  <a:gd name="T70" fmla="*/ 30 w 32"/>
                  <a:gd name="T71" fmla="*/ 8 h 24"/>
                  <a:gd name="T72" fmla="*/ 30 w 32"/>
                  <a:gd name="T73" fmla="*/ 8 h 24"/>
                  <a:gd name="T74" fmla="*/ 28 w 32"/>
                  <a:gd name="T75" fmla="*/ 6 h 24"/>
                  <a:gd name="T76" fmla="*/ 26 w 32"/>
                  <a:gd name="T77" fmla="*/ 4 h 24"/>
                  <a:gd name="T78" fmla="*/ 24 w 32"/>
                  <a:gd name="T79" fmla="*/ 4 h 24"/>
                  <a:gd name="T80" fmla="*/ 22 w 32"/>
                  <a:gd name="T81" fmla="*/ 2 h 24"/>
                  <a:gd name="T82" fmla="*/ 20 w 32"/>
                  <a:gd name="T83" fmla="*/ 0 h 24"/>
                  <a:gd name="T84" fmla="*/ 18 w 32"/>
                  <a:gd name="T85" fmla="*/ 0 h 24"/>
                  <a:gd name="T86" fmla="*/ 16 w 32"/>
                  <a:gd name="T87" fmla="*/ 0 h 24"/>
                  <a:gd name="T88" fmla="*/ 14 w 32"/>
                  <a:gd name="T89" fmla="*/ 0 h 24"/>
                  <a:gd name="T90" fmla="*/ 12 w 32"/>
                  <a:gd name="T91" fmla="*/ 0 h 24"/>
                  <a:gd name="T92" fmla="*/ 10 w 32"/>
                  <a:gd name="T93" fmla="*/ 0 h 24"/>
                  <a:gd name="T94" fmla="*/ 8 w 32"/>
                  <a:gd name="T95" fmla="*/ 0 h 24"/>
                  <a:gd name="T96" fmla="*/ 6 w 32"/>
                  <a:gd name="T97" fmla="*/ 0 h 24"/>
                  <a:gd name="T98" fmla="*/ 4 w 32"/>
                  <a:gd name="T99" fmla="*/ 0 h 24"/>
                  <a:gd name="T100" fmla="*/ 4 w 32"/>
                  <a:gd name="T101" fmla="*/ 0 h 24"/>
                  <a:gd name="T102" fmla="*/ 4 w 32"/>
                  <a:gd name="T103" fmla="*/ 0 h 24"/>
                  <a:gd name="T104" fmla="*/ 4 w 32"/>
                  <a:gd name="T105" fmla="*/ 2 h 24"/>
                  <a:gd name="T106" fmla="*/ 2 w 32"/>
                  <a:gd name="T107" fmla="*/ 2 h 24"/>
                  <a:gd name="T108" fmla="*/ 2 w 32"/>
                  <a:gd name="T109"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 h="24">
                    <a:moveTo>
                      <a:pt x="2" y="2"/>
                    </a:moveTo>
                    <a:lnTo>
                      <a:pt x="2" y="2"/>
                    </a:lnTo>
                    <a:lnTo>
                      <a:pt x="2" y="4"/>
                    </a:lnTo>
                    <a:lnTo>
                      <a:pt x="2" y="6"/>
                    </a:lnTo>
                    <a:lnTo>
                      <a:pt x="2" y="8"/>
                    </a:lnTo>
                    <a:lnTo>
                      <a:pt x="2" y="10"/>
                    </a:lnTo>
                    <a:lnTo>
                      <a:pt x="0" y="12"/>
                    </a:lnTo>
                    <a:lnTo>
                      <a:pt x="0" y="14"/>
                    </a:lnTo>
                    <a:lnTo>
                      <a:pt x="2" y="14"/>
                    </a:lnTo>
                    <a:lnTo>
                      <a:pt x="2" y="14"/>
                    </a:lnTo>
                    <a:lnTo>
                      <a:pt x="2" y="16"/>
                    </a:lnTo>
                    <a:lnTo>
                      <a:pt x="4" y="16"/>
                    </a:lnTo>
                    <a:lnTo>
                      <a:pt x="4" y="18"/>
                    </a:lnTo>
                    <a:lnTo>
                      <a:pt x="6" y="18"/>
                    </a:lnTo>
                    <a:lnTo>
                      <a:pt x="8" y="20"/>
                    </a:lnTo>
                    <a:lnTo>
                      <a:pt x="12" y="20"/>
                    </a:lnTo>
                    <a:lnTo>
                      <a:pt x="16" y="22"/>
                    </a:lnTo>
                    <a:lnTo>
                      <a:pt x="18" y="22"/>
                    </a:lnTo>
                    <a:lnTo>
                      <a:pt x="22" y="22"/>
                    </a:lnTo>
                    <a:lnTo>
                      <a:pt x="24" y="24"/>
                    </a:lnTo>
                    <a:lnTo>
                      <a:pt x="26" y="24"/>
                    </a:lnTo>
                    <a:lnTo>
                      <a:pt x="26" y="24"/>
                    </a:lnTo>
                    <a:lnTo>
                      <a:pt x="28" y="22"/>
                    </a:lnTo>
                    <a:lnTo>
                      <a:pt x="28" y="22"/>
                    </a:lnTo>
                    <a:lnTo>
                      <a:pt x="30" y="22"/>
                    </a:lnTo>
                    <a:lnTo>
                      <a:pt x="30" y="22"/>
                    </a:lnTo>
                    <a:lnTo>
                      <a:pt x="32" y="22"/>
                    </a:lnTo>
                    <a:lnTo>
                      <a:pt x="32" y="20"/>
                    </a:lnTo>
                    <a:lnTo>
                      <a:pt x="32" y="20"/>
                    </a:lnTo>
                    <a:lnTo>
                      <a:pt x="32" y="18"/>
                    </a:lnTo>
                    <a:lnTo>
                      <a:pt x="32" y="16"/>
                    </a:lnTo>
                    <a:lnTo>
                      <a:pt x="32" y="14"/>
                    </a:lnTo>
                    <a:lnTo>
                      <a:pt x="32" y="12"/>
                    </a:lnTo>
                    <a:lnTo>
                      <a:pt x="32" y="10"/>
                    </a:lnTo>
                    <a:lnTo>
                      <a:pt x="30" y="10"/>
                    </a:lnTo>
                    <a:lnTo>
                      <a:pt x="30" y="8"/>
                    </a:lnTo>
                    <a:lnTo>
                      <a:pt x="30" y="8"/>
                    </a:lnTo>
                    <a:lnTo>
                      <a:pt x="28" y="6"/>
                    </a:lnTo>
                    <a:lnTo>
                      <a:pt x="26" y="4"/>
                    </a:lnTo>
                    <a:lnTo>
                      <a:pt x="24" y="4"/>
                    </a:lnTo>
                    <a:lnTo>
                      <a:pt x="22" y="2"/>
                    </a:lnTo>
                    <a:lnTo>
                      <a:pt x="20" y="0"/>
                    </a:lnTo>
                    <a:lnTo>
                      <a:pt x="18" y="0"/>
                    </a:lnTo>
                    <a:lnTo>
                      <a:pt x="16" y="0"/>
                    </a:lnTo>
                    <a:lnTo>
                      <a:pt x="14" y="0"/>
                    </a:lnTo>
                    <a:lnTo>
                      <a:pt x="12" y="0"/>
                    </a:lnTo>
                    <a:lnTo>
                      <a:pt x="10" y="0"/>
                    </a:lnTo>
                    <a:lnTo>
                      <a:pt x="8" y="0"/>
                    </a:lnTo>
                    <a:lnTo>
                      <a:pt x="6" y="0"/>
                    </a:lnTo>
                    <a:lnTo>
                      <a:pt x="4" y="0"/>
                    </a:lnTo>
                    <a:lnTo>
                      <a:pt x="4" y="0"/>
                    </a:lnTo>
                    <a:lnTo>
                      <a:pt x="4" y="0"/>
                    </a:lnTo>
                    <a:lnTo>
                      <a:pt x="4" y="2"/>
                    </a:lnTo>
                    <a:lnTo>
                      <a:pt x="2" y="2"/>
                    </a:lnTo>
                    <a:lnTo>
                      <a:pt x="2" y="2"/>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7" name="Freeform 112">
                <a:extLst>
                  <a:ext uri="{FF2B5EF4-FFF2-40B4-BE49-F238E27FC236}">
                    <a16:creationId xmlns:a16="http://schemas.microsoft.com/office/drawing/2014/main" id="{D0C27398-9EFB-4DA6-873B-2F991C751A25}"/>
                  </a:ext>
                </a:extLst>
              </p:cNvPr>
              <p:cNvSpPr>
                <a:spLocks/>
              </p:cNvSpPr>
              <p:nvPr/>
            </p:nvSpPr>
            <p:spPr bwMode="auto">
              <a:xfrm>
                <a:off x="7117053" y="4476917"/>
                <a:ext cx="31750" cy="31750"/>
              </a:xfrm>
              <a:custGeom>
                <a:avLst/>
                <a:gdLst>
                  <a:gd name="T0" fmla="*/ 4 w 20"/>
                  <a:gd name="T1" fmla="*/ 0 h 20"/>
                  <a:gd name="T2" fmla="*/ 4 w 20"/>
                  <a:gd name="T3" fmla="*/ 0 h 20"/>
                  <a:gd name="T4" fmla="*/ 4 w 20"/>
                  <a:gd name="T5" fmla="*/ 2 h 20"/>
                  <a:gd name="T6" fmla="*/ 4 w 20"/>
                  <a:gd name="T7" fmla="*/ 4 h 20"/>
                  <a:gd name="T8" fmla="*/ 2 w 20"/>
                  <a:gd name="T9" fmla="*/ 6 h 20"/>
                  <a:gd name="T10" fmla="*/ 0 w 20"/>
                  <a:gd name="T11" fmla="*/ 8 h 20"/>
                  <a:gd name="T12" fmla="*/ 0 w 20"/>
                  <a:gd name="T13" fmla="*/ 10 h 20"/>
                  <a:gd name="T14" fmla="*/ 0 w 20"/>
                  <a:gd name="T15" fmla="*/ 10 h 20"/>
                  <a:gd name="T16" fmla="*/ 0 w 20"/>
                  <a:gd name="T17" fmla="*/ 12 h 20"/>
                  <a:gd name="T18" fmla="*/ 0 w 20"/>
                  <a:gd name="T19" fmla="*/ 12 h 20"/>
                  <a:gd name="T20" fmla="*/ 0 w 20"/>
                  <a:gd name="T21" fmla="*/ 12 h 20"/>
                  <a:gd name="T22" fmla="*/ 0 w 20"/>
                  <a:gd name="T23" fmla="*/ 14 h 20"/>
                  <a:gd name="T24" fmla="*/ 0 w 20"/>
                  <a:gd name="T25" fmla="*/ 16 h 20"/>
                  <a:gd name="T26" fmla="*/ 2 w 20"/>
                  <a:gd name="T27" fmla="*/ 16 h 20"/>
                  <a:gd name="T28" fmla="*/ 2 w 20"/>
                  <a:gd name="T29" fmla="*/ 18 h 20"/>
                  <a:gd name="T30" fmla="*/ 2 w 20"/>
                  <a:gd name="T31" fmla="*/ 20 h 20"/>
                  <a:gd name="T32" fmla="*/ 4 w 20"/>
                  <a:gd name="T33" fmla="*/ 20 h 20"/>
                  <a:gd name="T34" fmla="*/ 4 w 20"/>
                  <a:gd name="T35" fmla="*/ 20 h 20"/>
                  <a:gd name="T36" fmla="*/ 6 w 20"/>
                  <a:gd name="T37" fmla="*/ 20 h 20"/>
                  <a:gd name="T38" fmla="*/ 6 w 20"/>
                  <a:gd name="T39" fmla="*/ 20 h 20"/>
                  <a:gd name="T40" fmla="*/ 8 w 20"/>
                  <a:gd name="T41" fmla="*/ 20 h 20"/>
                  <a:gd name="T42" fmla="*/ 10 w 20"/>
                  <a:gd name="T43" fmla="*/ 20 h 20"/>
                  <a:gd name="T44" fmla="*/ 12 w 20"/>
                  <a:gd name="T45" fmla="*/ 20 h 20"/>
                  <a:gd name="T46" fmla="*/ 16 w 20"/>
                  <a:gd name="T47" fmla="*/ 20 h 20"/>
                  <a:gd name="T48" fmla="*/ 16 w 20"/>
                  <a:gd name="T49" fmla="*/ 18 h 20"/>
                  <a:gd name="T50" fmla="*/ 18 w 20"/>
                  <a:gd name="T51" fmla="*/ 18 h 20"/>
                  <a:gd name="T52" fmla="*/ 18 w 20"/>
                  <a:gd name="T53" fmla="*/ 16 h 20"/>
                  <a:gd name="T54" fmla="*/ 20 w 20"/>
                  <a:gd name="T55" fmla="*/ 16 h 20"/>
                  <a:gd name="T56" fmla="*/ 20 w 20"/>
                  <a:gd name="T57" fmla="*/ 16 h 20"/>
                  <a:gd name="T58" fmla="*/ 20 w 20"/>
                  <a:gd name="T59" fmla="*/ 16 h 20"/>
                  <a:gd name="T60" fmla="*/ 20 w 20"/>
                  <a:gd name="T61" fmla="*/ 14 h 20"/>
                  <a:gd name="T62" fmla="*/ 20 w 20"/>
                  <a:gd name="T63" fmla="*/ 14 h 20"/>
                  <a:gd name="T64" fmla="*/ 20 w 20"/>
                  <a:gd name="T65" fmla="*/ 12 h 20"/>
                  <a:gd name="T66" fmla="*/ 18 w 20"/>
                  <a:gd name="T67" fmla="*/ 10 h 20"/>
                  <a:gd name="T68" fmla="*/ 18 w 20"/>
                  <a:gd name="T69" fmla="*/ 8 h 20"/>
                  <a:gd name="T70" fmla="*/ 18 w 20"/>
                  <a:gd name="T71" fmla="*/ 6 h 20"/>
                  <a:gd name="T72" fmla="*/ 16 w 20"/>
                  <a:gd name="T73" fmla="*/ 6 h 20"/>
                  <a:gd name="T74" fmla="*/ 16 w 20"/>
                  <a:gd name="T75" fmla="*/ 4 h 20"/>
                  <a:gd name="T76" fmla="*/ 16 w 20"/>
                  <a:gd name="T77" fmla="*/ 4 h 20"/>
                  <a:gd name="T78" fmla="*/ 14 w 20"/>
                  <a:gd name="T79" fmla="*/ 4 h 20"/>
                  <a:gd name="T80" fmla="*/ 12 w 20"/>
                  <a:gd name="T81" fmla="*/ 4 h 20"/>
                  <a:gd name="T82" fmla="*/ 12 w 20"/>
                  <a:gd name="T83" fmla="*/ 4 h 20"/>
                  <a:gd name="T84" fmla="*/ 10 w 20"/>
                  <a:gd name="T85" fmla="*/ 2 h 20"/>
                  <a:gd name="T86" fmla="*/ 8 w 20"/>
                  <a:gd name="T87" fmla="*/ 2 h 20"/>
                  <a:gd name="T88" fmla="*/ 6 w 20"/>
                  <a:gd name="T89" fmla="*/ 2 h 20"/>
                  <a:gd name="T90" fmla="*/ 4 w 20"/>
                  <a:gd name="T91" fmla="*/ 2 h 20"/>
                  <a:gd name="T92" fmla="*/ 4 w 20"/>
                  <a:gd name="T93" fmla="*/ 2 h 20"/>
                  <a:gd name="T94" fmla="*/ 4 w 20"/>
                  <a:gd name="T95" fmla="*/ 2 h 20"/>
                  <a:gd name="T96" fmla="*/ 4 w 20"/>
                  <a:gd name="T9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 h="20">
                    <a:moveTo>
                      <a:pt x="4" y="0"/>
                    </a:moveTo>
                    <a:lnTo>
                      <a:pt x="4" y="0"/>
                    </a:lnTo>
                    <a:lnTo>
                      <a:pt x="4" y="2"/>
                    </a:lnTo>
                    <a:lnTo>
                      <a:pt x="4" y="4"/>
                    </a:lnTo>
                    <a:lnTo>
                      <a:pt x="2" y="6"/>
                    </a:lnTo>
                    <a:lnTo>
                      <a:pt x="0" y="8"/>
                    </a:lnTo>
                    <a:lnTo>
                      <a:pt x="0" y="10"/>
                    </a:lnTo>
                    <a:lnTo>
                      <a:pt x="0" y="10"/>
                    </a:lnTo>
                    <a:lnTo>
                      <a:pt x="0" y="12"/>
                    </a:lnTo>
                    <a:lnTo>
                      <a:pt x="0" y="12"/>
                    </a:lnTo>
                    <a:lnTo>
                      <a:pt x="0" y="12"/>
                    </a:lnTo>
                    <a:lnTo>
                      <a:pt x="0" y="14"/>
                    </a:lnTo>
                    <a:lnTo>
                      <a:pt x="0" y="16"/>
                    </a:lnTo>
                    <a:lnTo>
                      <a:pt x="2" y="16"/>
                    </a:lnTo>
                    <a:lnTo>
                      <a:pt x="2" y="18"/>
                    </a:lnTo>
                    <a:lnTo>
                      <a:pt x="2" y="20"/>
                    </a:lnTo>
                    <a:lnTo>
                      <a:pt x="4" y="20"/>
                    </a:lnTo>
                    <a:lnTo>
                      <a:pt x="4" y="20"/>
                    </a:lnTo>
                    <a:lnTo>
                      <a:pt x="6" y="20"/>
                    </a:lnTo>
                    <a:lnTo>
                      <a:pt x="6" y="20"/>
                    </a:lnTo>
                    <a:lnTo>
                      <a:pt x="8" y="20"/>
                    </a:lnTo>
                    <a:lnTo>
                      <a:pt x="10" y="20"/>
                    </a:lnTo>
                    <a:lnTo>
                      <a:pt x="12" y="20"/>
                    </a:lnTo>
                    <a:lnTo>
                      <a:pt x="16" y="20"/>
                    </a:lnTo>
                    <a:lnTo>
                      <a:pt x="16" y="18"/>
                    </a:lnTo>
                    <a:lnTo>
                      <a:pt x="18" y="18"/>
                    </a:lnTo>
                    <a:lnTo>
                      <a:pt x="18" y="16"/>
                    </a:lnTo>
                    <a:lnTo>
                      <a:pt x="20" y="16"/>
                    </a:lnTo>
                    <a:lnTo>
                      <a:pt x="20" y="16"/>
                    </a:lnTo>
                    <a:lnTo>
                      <a:pt x="20" y="16"/>
                    </a:lnTo>
                    <a:lnTo>
                      <a:pt x="20" y="14"/>
                    </a:lnTo>
                    <a:lnTo>
                      <a:pt x="20" y="14"/>
                    </a:lnTo>
                    <a:lnTo>
                      <a:pt x="20" y="12"/>
                    </a:lnTo>
                    <a:lnTo>
                      <a:pt x="18" y="10"/>
                    </a:lnTo>
                    <a:lnTo>
                      <a:pt x="18" y="8"/>
                    </a:lnTo>
                    <a:lnTo>
                      <a:pt x="18" y="6"/>
                    </a:lnTo>
                    <a:lnTo>
                      <a:pt x="16" y="6"/>
                    </a:lnTo>
                    <a:lnTo>
                      <a:pt x="16" y="4"/>
                    </a:lnTo>
                    <a:lnTo>
                      <a:pt x="16" y="4"/>
                    </a:lnTo>
                    <a:lnTo>
                      <a:pt x="14" y="4"/>
                    </a:lnTo>
                    <a:lnTo>
                      <a:pt x="12" y="4"/>
                    </a:lnTo>
                    <a:lnTo>
                      <a:pt x="12" y="4"/>
                    </a:lnTo>
                    <a:lnTo>
                      <a:pt x="10" y="2"/>
                    </a:lnTo>
                    <a:lnTo>
                      <a:pt x="8" y="2"/>
                    </a:lnTo>
                    <a:lnTo>
                      <a:pt x="6" y="2"/>
                    </a:lnTo>
                    <a:lnTo>
                      <a:pt x="4" y="2"/>
                    </a:lnTo>
                    <a:lnTo>
                      <a:pt x="4" y="2"/>
                    </a:lnTo>
                    <a:lnTo>
                      <a:pt x="4" y="2"/>
                    </a:lnTo>
                    <a:lnTo>
                      <a:pt x="4" y="0"/>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8" name="Freeform 114">
                <a:extLst>
                  <a:ext uri="{FF2B5EF4-FFF2-40B4-BE49-F238E27FC236}">
                    <a16:creationId xmlns:a16="http://schemas.microsoft.com/office/drawing/2014/main" id="{E29F1C84-B7ED-44FB-A04B-362EC0B02C16}"/>
                  </a:ext>
                </a:extLst>
              </p:cNvPr>
              <p:cNvSpPr>
                <a:spLocks/>
              </p:cNvSpPr>
              <p:nvPr/>
            </p:nvSpPr>
            <p:spPr bwMode="auto">
              <a:xfrm>
                <a:off x="7177378" y="4470567"/>
                <a:ext cx="28575" cy="22225"/>
              </a:xfrm>
              <a:custGeom>
                <a:avLst/>
                <a:gdLst>
                  <a:gd name="T0" fmla="*/ 0 w 18"/>
                  <a:gd name="T1" fmla="*/ 6 h 14"/>
                  <a:gd name="T2" fmla="*/ 0 w 18"/>
                  <a:gd name="T3" fmla="*/ 6 h 14"/>
                  <a:gd name="T4" fmla="*/ 0 w 18"/>
                  <a:gd name="T5" fmla="*/ 6 h 14"/>
                  <a:gd name="T6" fmla="*/ 0 w 18"/>
                  <a:gd name="T7" fmla="*/ 8 h 14"/>
                  <a:gd name="T8" fmla="*/ 0 w 18"/>
                  <a:gd name="T9" fmla="*/ 8 h 14"/>
                  <a:gd name="T10" fmla="*/ 0 w 18"/>
                  <a:gd name="T11" fmla="*/ 10 h 14"/>
                  <a:gd name="T12" fmla="*/ 0 w 18"/>
                  <a:gd name="T13" fmla="*/ 10 h 14"/>
                  <a:gd name="T14" fmla="*/ 0 w 18"/>
                  <a:gd name="T15" fmla="*/ 12 h 14"/>
                  <a:gd name="T16" fmla="*/ 2 w 18"/>
                  <a:gd name="T17" fmla="*/ 12 h 14"/>
                  <a:gd name="T18" fmla="*/ 2 w 18"/>
                  <a:gd name="T19" fmla="*/ 14 h 14"/>
                  <a:gd name="T20" fmla="*/ 2 w 18"/>
                  <a:gd name="T21" fmla="*/ 14 h 14"/>
                  <a:gd name="T22" fmla="*/ 4 w 18"/>
                  <a:gd name="T23" fmla="*/ 14 h 14"/>
                  <a:gd name="T24" fmla="*/ 4 w 18"/>
                  <a:gd name="T25" fmla="*/ 14 h 14"/>
                  <a:gd name="T26" fmla="*/ 6 w 18"/>
                  <a:gd name="T27" fmla="*/ 14 h 14"/>
                  <a:gd name="T28" fmla="*/ 8 w 18"/>
                  <a:gd name="T29" fmla="*/ 14 h 14"/>
                  <a:gd name="T30" fmla="*/ 10 w 18"/>
                  <a:gd name="T31" fmla="*/ 14 h 14"/>
                  <a:gd name="T32" fmla="*/ 12 w 18"/>
                  <a:gd name="T33" fmla="*/ 12 h 14"/>
                  <a:gd name="T34" fmla="*/ 14 w 18"/>
                  <a:gd name="T35" fmla="*/ 12 h 14"/>
                  <a:gd name="T36" fmla="*/ 16 w 18"/>
                  <a:gd name="T37" fmla="*/ 12 h 14"/>
                  <a:gd name="T38" fmla="*/ 16 w 18"/>
                  <a:gd name="T39" fmla="*/ 10 h 14"/>
                  <a:gd name="T40" fmla="*/ 16 w 18"/>
                  <a:gd name="T41" fmla="*/ 10 h 14"/>
                  <a:gd name="T42" fmla="*/ 16 w 18"/>
                  <a:gd name="T43" fmla="*/ 10 h 14"/>
                  <a:gd name="T44" fmla="*/ 18 w 18"/>
                  <a:gd name="T45" fmla="*/ 8 h 14"/>
                  <a:gd name="T46" fmla="*/ 18 w 18"/>
                  <a:gd name="T47" fmla="*/ 6 h 14"/>
                  <a:gd name="T48" fmla="*/ 18 w 18"/>
                  <a:gd name="T49" fmla="*/ 6 h 14"/>
                  <a:gd name="T50" fmla="*/ 18 w 18"/>
                  <a:gd name="T51" fmla="*/ 4 h 14"/>
                  <a:gd name="T52" fmla="*/ 18 w 18"/>
                  <a:gd name="T53" fmla="*/ 4 h 14"/>
                  <a:gd name="T54" fmla="*/ 18 w 18"/>
                  <a:gd name="T55" fmla="*/ 2 h 14"/>
                  <a:gd name="T56" fmla="*/ 18 w 18"/>
                  <a:gd name="T57" fmla="*/ 2 h 14"/>
                  <a:gd name="T58" fmla="*/ 18 w 18"/>
                  <a:gd name="T59" fmla="*/ 2 h 14"/>
                  <a:gd name="T60" fmla="*/ 18 w 18"/>
                  <a:gd name="T61" fmla="*/ 2 h 14"/>
                  <a:gd name="T62" fmla="*/ 16 w 18"/>
                  <a:gd name="T63" fmla="*/ 0 h 14"/>
                  <a:gd name="T64" fmla="*/ 16 w 18"/>
                  <a:gd name="T65" fmla="*/ 0 h 14"/>
                  <a:gd name="T66" fmla="*/ 14 w 18"/>
                  <a:gd name="T67" fmla="*/ 0 h 14"/>
                  <a:gd name="T68" fmla="*/ 12 w 18"/>
                  <a:gd name="T69" fmla="*/ 0 h 14"/>
                  <a:gd name="T70" fmla="*/ 10 w 18"/>
                  <a:gd name="T71" fmla="*/ 2 h 14"/>
                  <a:gd name="T72" fmla="*/ 8 w 18"/>
                  <a:gd name="T73" fmla="*/ 2 h 14"/>
                  <a:gd name="T74" fmla="*/ 6 w 18"/>
                  <a:gd name="T75" fmla="*/ 2 h 14"/>
                  <a:gd name="T76" fmla="*/ 2 w 18"/>
                  <a:gd name="T77" fmla="*/ 2 h 14"/>
                  <a:gd name="T78" fmla="*/ 2 w 18"/>
                  <a:gd name="T79" fmla="*/ 4 h 14"/>
                  <a:gd name="T80" fmla="*/ 0 w 18"/>
                  <a:gd name="T81" fmla="*/ 4 h 14"/>
                  <a:gd name="T82" fmla="*/ 0 w 18"/>
                  <a:gd name="T83" fmla="*/ 4 h 14"/>
                  <a:gd name="T84" fmla="*/ 0 w 18"/>
                  <a:gd name="T85"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14">
                    <a:moveTo>
                      <a:pt x="0" y="6"/>
                    </a:moveTo>
                    <a:lnTo>
                      <a:pt x="0" y="6"/>
                    </a:lnTo>
                    <a:lnTo>
                      <a:pt x="0" y="6"/>
                    </a:lnTo>
                    <a:lnTo>
                      <a:pt x="0" y="8"/>
                    </a:lnTo>
                    <a:lnTo>
                      <a:pt x="0" y="8"/>
                    </a:lnTo>
                    <a:lnTo>
                      <a:pt x="0" y="10"/>
                    </a:lnTo>
                    <a:lnTo>
                      <a:pt x="0" y="10"/>
                    </a:lnTo>
                    <a:lnTo>
                      <a:pt x="0" y="12"/>
                    </a:lnTo>
                    <a:lnTo>
                      <a:pt x="2" y="12"/>
                    </a:lnTo>
                    <a:lnTo>
                      <a:pt x="2" y="14"/>
                    </a:lnTo>
                    <a:lnTo>
                      <a:pt x="2" y="14"/>
                    </a:lnTo>
                    <a:lnTo>
                      <a:pt x="4" y="14"/>
                    </a:lnTo>
                    <a:lnTo>
                      <a:pt x="4" y="14"/>
                    </a:lnTo>
                    <a:lnTo>
                      <a:pt x="6" y="14"/>
                    </a:lnTo>
                    <a:lnTo>
                      <a:pt x="8" y="14"/>
                    </a:lnTo>
                    <a:lnTo>
                      <a:pt x="10" y="14"/>
                    </a:lnTo>
                    <a:lnTo>
                      <a:pt x="12" y="12"/>
                    </a:lnTo>
                    <a:lnTo>
                      <a:pt x="14" y="12"/>
                    </a:lnTo>
                    <a:lnTo>
                      <a:pt x="16" y="12"/>
                    </a:lnTo>
                    <a:lnTo>
                      <a:pt x="16" y="10"/>
                    </a:lnTo>
                    <a:lnTo>
                      <a:pt x="16" y="10"/>
                    </a:lnTo>
                    <a:lnTo>
                      <a:pt x="16" y="10"/>
                    </a:lnTo>
                    <a:lnTo>
                      <a:pt x="18" y="8"/>
                    </a:lnTo>
                    <a:lnTo>
                      <a:pt x="18" y="6"/>
                    </a:lnTo>
                    <a:lnTo>
                      <a:pt x="18" y="6"/>
                    </a:lnTo>
                    <a:lnTo>
                      <a:pt x="18" y="4"/>
                    </a:lnTo>
                    <a:lnTo>
                      <a:pt x="18" y="4"/>
                    </a:lnTo>
                    <a:lnTo>
                      <a:pt x="18" y="2"/>
                    </a:lnTo>
                    <a:lnTo>
                      <a:pt x="18" y="2"/>
                    </a:lnTo>
                    <a:lnTo>
                      <a:pt x="18" y="2"/>
                    </a:lnTo>
                    <a:lnTo>
                      <a:pt x="18" y="2"/>
                    </a:lnTo>
                    <a:lnTo>
                      <a:pt x="16" y="0"/>
                    </a:lnTo>
                    <a:lnTo>
                      <a:pt x="16" y="0"/>
                    </a:lnTo>
                    <a:lnTo>
                      <a:pt x="14" y="0"/>
                    </a:lnTo>
                    <a:lnTo>
                      <a:pt x="12" y="0"/>
                    </a:lnTo>
                    <a:lnTo>
                      <a:pt x="10" y="2"/>
                    </a:lnTo>
                    <a:lnTo>
                      <a:pt x="8" y="2"/>
                    </a:lnTo>
                    <a:lnTo>
                      <a:pt x="6" y="2"/>
                    </a:lnTo>
                    <a:lnTo>
                      <a:pt x="2" y="2"/>
                    </a:lnTo>
                    <a:lnTo>
                      <a:pt x="2" y="4"/>
                    </a:lnTo>
                    <a:lnTo>
                      <a:pt x="0" y="4"/>
                    </a:lnTo>
                    <a:lnTo>
                      <a:pt x="0" y="4"/>
                    </a:lnTo>
                    <a:lnTo>
                      <a:pt x="0" y="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9" name="Freeform 116">
                <a:extLst>
                  <a:ext uri="{FF2B5EF4-FFF2-40B4-BE49-F238E27FC236}">
                    <a16:creationId xmlns:a16="http://schemas.microsoft.com/office/drawing/2014/main" id="{92392B8D-6B9C-41F7-A8A8-5694329E670C}"/>
                  </a:ext>
                </a:extLst>
              </p:cNvPr>
              <p:cNvSpPr>
                <a:spLocks/>
              </p:cNvSpPr>
              <p:nvPr/>
            </p:nvSpPr>
            <p:spPr bwMode="auto">
              <a:xfrm>
                <a:off x="7151978" y="4534067"/>
                <a:ext cx="76200" cy="104775"/>
              </a:xfrm>
              <a:custGeom>
                <a:avLst/>
                <a:gdLst>
                  <a:gd name="T0" fmla="*/ 28 w 48"/>
                  <a:gd name="T1" fmla="*/ 0 h 66"/>
                  <a:gd name="T2" fmla="*/ 26 w 48"/>
                  <a:gd name="T3" fmla="*/ 0 h 66"/>
                  <a:gd name="T4" fmla="*/ 22 w 48"/>
                  <a:gd name="T5" fmla="*/ 2 h 66"/>
                  <a:gd name="T6" fmla="*/ 18 w 48"/>
                  <a:gd name="T7" fmla="*/ 8 h 66"/>
                  <a:gd name="T8" fmla="*/ 10 w 48"/>
                  <a:gd name="T9" fmla="*/ 14 h 66"/>
                  <a:gd name="T10" fmla="*/ 6 w 48"/>
                  <a:gd name="T11" fmla="*/ 18 h 66"/>
                  <a:gd name="T12" fmla="*/ 2 w 48"/>
                  <a:gd name="T13" fmla="*/ 22 h 66"/>
                  <a:gd name="T14" fmla="*/ 0 w 48"/>
                  <a:gd name="T15" fmla="*/ 24 h 66"/>
                  <a:gd name="T16" fmla="*/ 0 w 48"/>
                  <a:gd name="T17" fmla="*/ 26 h 66"/>
                  <a:gd name="T18" fmla="*/ 0 w 48"/>
                  <a:gd name="T19" fmla="*/ 28 h 66"/>
                  <a:gd name="T20" fmla="*/ 0 w 48"/>
                  <a:gd name="T21" fmla="*/ 30 h 66"/>
                  <a:gd name="T22" fmla="*/ 4 w 48"/>
                  <a:gd name="T23" fmla="*/ 36 h 66"/>
                  <a:gd name="T24" fmla="*/ 6 w 48"/>
                  <a:gd name="T25" fmla="*/ 38 h 66"/>
                  <a:gd name="T26" fmla="*/ 16 w 48"/>
                  <a:gd name="T27" fmla="*/ 50 h 66"/>
                  <a:gd name="T28" fmla="*/ 20 w 48"/>
                  <a:gd name="T29" fmla="*/ 54 h 66"/>
                  <a:gd name="T30" fmla="*/ 22 w 48"/>
                  <a:gd name="T31" fmla="*/ 58 h 66"/>
                  <a:gd name="T32" fmla="*/ 24 w 48"/>
                  <a:gd name="T33" fmla="*/ 62 h 66"/>
                  <a:gd name="T34" fmla="*/ 28 w 48"/>
                  <a:gd name="T35" fmla="*/ 64 h 66"/>
                  <a:gd name="T36" fmla="*/ 28 w 48"/>
                  <a:gd name="T37" fmla="*/ 66 h 66"/>
                  <a:gd name="T38" fmla="*/ 30 w 48"/>
                  <a:gd name="T39" fmla="*/ 66 h 66"/>
                  <a:gd name="T40" fmla="*/ 32 w 48"/>
                  <a:gd name="T41" fmla="*/ 64 h 66"/>
                  <a:gd name="T42" fmla="*/ 34 w 48"/>
                  <a:gd name="T43" fmla="*/ 62 h 66"/>
                  <a:gd name="T44" fmla="*/ 36 w 48"/>
                  <a:gd name="T45" fmla="*/ 56 h 66"/>
                  <a:gd name="T46" fmla="*/ 38 w 48"/>
                  <a:gd name="T47" fmla="*/ 54 h 66"/>
                  <a:gd name="T48" fmla="*/ 40 w 48"/>
                  <a:gd name="T49" fmla="*/ 52 h 66"/>
                  <a:gd name="T50" fmla="*/ 44 w 48"/>
                  <a:gd name="T51" fmla="*/ 48 h 66"/>
                  <a:gd name="T52" fmla="*/ 46 w 48"/>
                  <a:gd name="T53" fmla="*/ 46 h 66"/>
                  <a:gd name="T54" fmla="*/ 48 w 48"/>
                  <a:gd name="T55" fmla="*/ 44 h 66"/>
                  <a:gd name="T56" fmla="*/ 48 w 48"/>
                  <a:gd name="T57" fmla="*/ 42 h 66"/>
                  <a:gd name="T58" fmla="*/ 48 w 48"/>
                  <a:gd name="T59" fmla="*/ 36 h 66"/>
                  <a:gd name="T60" fmla="*/ 48 w 48"/>
                  <a:gd name="T61" fmla="*/ 28 h 66"/>
                  <a:gd name="T62" fmla="*/ 48 w 48"/>
                  <a:gd name="T63" fmla="*/ 20 h 66"/>
                  <a:gd name="T64" fmla="*/ 48 w 48"/>
                  <a:gd name="T65" fmla="*/ 16 h 66"/>
                  <a:gd name="T66" fmla="*/ 44 w 48"/>
                  <a:gd name="T67" fmla="*/ 12 h 66"/>
                  <a:gd name="T68" fmla="*/ 42 w 48"/>
                  <a:gd name="T69" fmla="*/ 8 h 66"/>
                  <a:gd name="T70" fmla="*/ 40 w 48"/>
                  <a:gd name="T71" fmla="*/ 6 h 66"/>
                  <a:gd name="T72" fmla="*/ 36 w 48"/>
                  <a:gd name="T73" fmla="*/ 2 h 66"/>
                  <a:gd name="T74" fmla="*/ 34 w 48"/>
                  <a:gd name="T75" fmla="*/ 0 h 66"/>
                  <a:gd name="T76" fmla="*/ 30 w 48"/>
                  <a:gd name="T7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66">
                    <a:moveTo>
                      <a:pt x="28" y="0"/>
                    </a:moveTo>
                    <a:lnTo>
                      <a:pt x="28" y="0"/>
                    </a:lnTo>
                    <a:lnTo>
                      <a:pt x="28" y="0"/>
                    </a:lnTo>
                    <a:lnTo>
                      <a:pt x="26" y="0"/>
                    </a:lnTo>
                    <a:lnTo>
                      <a:pt x="24" y="2"/>
                    </a:lnTo>
                    <a:lnTo>
                      <a:pt x="22" y="2"/>
                    </a:lnTo>
                    <a:lnTo>
                      <a:pt x="20" y="4"/>
                    </a:lnTo>
                    <a:lnTo>
                      <a:pt x="18" y="8"/>
                    </a:lnTo>
                    <a:lnTo>
                      <a:pt x="14" y="10"/>
                    </a:lnTo>
                    <a:lnTo>
                      <a:pt x="10" y="14"/>
                    </a:lnTo>
                    <a:lnTo>
                      <a:pt x="8" y="16"/>
                    </a:lnTo>
                    <a:lnTo>
                      <a:pt x="6" y="18"/>
                    </a:lnTo>
                    <a:lnTo>
                      <a:pt x="4" y="20"/>
                    </a:lnTo>
                    <a:lnTo>
                      <a:pt x="2" y="22"/>
                    </a:lnTo>
                    <a:lnTo>
                      <a:pt x="0" y="24"/>
                    </a:lnTo>
                    <a:lnTo>
                      <a:pt x="0" y="24"/>
                    </a:lnTo>
                    <a:lnTo>
                      <a:pt x="0" y="26"/>
                    </a:lnTo>
                    <a:lnTo>
                      <a:pt x="0" y="26"/>
                    </a:lnTo>
                    <a:lnTo>
                      <a:pt x="0" y="28"/>
                    </a:lnTo>
                    <a:lnTo>
                      <a:pt x="0" y="28"/>
                    </a:lnTo>
                    <a:lnTo>
                      <a:pt x="0" y="30"/>
                    </a:lnTo>
                    <a:lnTo>
                      <a:pt x="0" y="30"/>
                    </a:lnTo>
                    <a:lnTo>
                      <a:pt x="2" y="32"/>
                    </a:lnTo>
                    <a:lnTo>
                      <a:pt x="4" y="36"/>
                    </a:lnTo>
                    <a:lnTo>
                      <a:pt x="6" y="36"/>
                    </a:lnTo>
                    <a:lnTo>
                      <a:pt x="6" y="38"/>
                    </a:lnTo>
                    <a:lnTo>
                      <a:pt x="12" y="46"/>
                    </a:lnTo>
                    <a:lnTo>
                      <a:pt x="16" y="50"/>
                    </a:lnTo>
                    <a:lnTo>
                      <a:pt x="18" y="54"/>
                    </a:lnTo>
                    <a:lnTo>
                      <a:pt x="20" y="54"/>
                    </a:lnTo>
                    <a:lnTo>
                      <a:pt x="20" y="56"/>
                    </a:lnTo>
                    <a:lnTo>
                      <a:pt x="22" y="58"/>
                    </a:lnTo>
                    <a:lnTo>
                      <a:pt x="24" y="60"/>
                    </a:lnTo>
                    <a:lnTo>
                      <a:pt x="24" y="62"/>
                    </a:lnTo>
                    <a:lnTo>
                      <a:pt x="26" y="64"/>
                    </a:lnTo>
                    <a:lnTo>
                      <a:pt x="28" y="64"/>
                    </a:lnTo>
                    <a:lnTo>
                      <a:pt x="28" y="66"/>
                    </a:lnTo>
                    <a:lnTo>
                      <a:pt x="28" y="66"/>
                    </a:lnTo>
                    <a:lnTo>
                      <a:pt x="30" y="66"/>
                    </a:lnTo>
                    <a:lnTo>
                      <a:pt x="30" y="66"/>
                    </a:lnTo>
                    <a:lnTo>
                      <a:pt x="32" y="66"/>
                    </a:lnTo>
                    <a:lnTo>
                      <a:pt x="32" y="64"/>
                    </a:lnTo>
                    <a:lnTo>
                      <a:pt x="32" y="64"/>
                    </a:lnTo>
                    <a:lnTo>
                      <a:pt x="34" y="62"/>
                    </a:lnTo>
                    <a:lnTo>
                      <a:pt x="34" y="60"/>
                    </a:lnTo>
                    <a:lnTo>
                      <a:pt x="36" y="56"/>
                    </a:lnTo>
                    <a:lnTo>
                      <a:pt x="38" y="54"/>
                    </a:lnTo>
                    <a:lnTo>
                      <a:pt x="38" y="54"/>
                    </a:lnTo>
                    <a:lnTo>
                      <a:pt x="40" y="52"/>
                    </a:lnTo>
                    <a:lnTo>
                      <a:pt x="40" y="52"/>
                    </a:lnTo>
                    <a:lnTo>
                      <a:pt x="44" y="50"/>
                    </a:lnTo>
                    <a:lnTo>
                      <a:pt x="44" y="48"/>
                    </a:lnTo>
                    <a:lnTo>
                      <a:pt x="46" y="48"/>
                    </a:lnTo>
                    <a:lnTo>
                      <a:pt x="46" y="46"/>
                    </a:lnTo>
                    <a:lnTo>
                      <a:pt x="48" y="46"/>
                    </a:lnTo>
                    <a:lnTo>
                      <a:pt x="48" y="44"/>
                    </a:lnTo>
                    <a:lnTo>
                      <a:pt x="48" y="42"/>
                    </a:lnTo>
                    <a:lnTo>
                      <a:pt x="48" y="42"/>
                    </a:lnTo>
                    <a:lnTo>
                      <a:pt x="48" y="40"/>
                    </a:lnTo>
                    <a:lnTo>
                      <a:pt x="48" y="36"/>
                    </a:lnTo>
                    <a:lnTo>
                      <a:pt x="48" y="32"/>
                    </a:lnTo>
                    <a:lnTo>
                      <a:pt x="48" y="28"/>
                    </a:lnTo>
                    <a:lnTo>
                      <a:pt x="48" y="24"/>
                    </a:lnTo>
                    <a:lnTo>
                      <a:pt x="48" y="20"/>
                    </a:lnTo>
                    <a:lnTo>
                      <a:pt x="48" y="18"/>
                    </a:lnTo>
                    <a:lnTo>
                      <a:pt x="48" y="16"/>
                    </a:lnTo>
                    <a:lnTo>
                      <a:pt x="46" y="14"/>
                    </a:lnTo>
                    <a:lnTo>
                      <a:pt x="44" y="12"/>
                    </a:lnTo>
                    <a:lnTo>
                      <a:pt x="42" y="8"/>
                    </a:lnTo>
                    <a:lnTo>
                      <a:pt x="42" y="8"/>
                    </a:lnTo>
                    <a:lnTo>
                      <a:pt x="40" y="6"/>
                    </a:lnTo>
                    <a:lnTo>
                      <a:pt x="40" y="6"/>
                    </a:lnTo>
                    <a:lnTo>
                      <a:pt x="38" y="4"/>
                    </a:lnTo>
                    <a:lnTo>
                      <a:pt x="36" y="2"/>
                    </a:lnTo>
                    <a:lnTo>
                      <a:pt x="36" y="2"/>
                    </a:lnTo>
                    <a:lnTo>
                      <a:pt x="34" y="0"/>
                    </a:lnTo>
                    <a:lnTo>
                      <a:pt x="32" y="0"/>
                    </a:lnTo>
                    <a:lnTo>
                      <a:pt x="30" y="0"/>
                    </a:lnTo>
                    <a:lnTo>
                      <a:pt x="28"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0" name="Freeform 121">
                <a:extLst>
                  <a:ext uri="{FF2B5EF4-FFF2-40B4-BE49-F238E27FC236}">
                    <a16:creationId xmlns:a16="http://schemas.microsoft.com/office/drawing/2014/main" id="{500E5EDC-2714-4396-8035-27D1C45CC75A}"/>
                  </a:ext>
                </a:extLst>
              </p:cNvPr>
              <p:cNvSpPr>
                <a:spLocks/>
              </p:cNvSpPr>
              <p:nvPr/>
            </p:nvSpPr>
            <p:spPr bwMode="auto">
              <a:xfrm>
                <a:off x="7107528" y="4543592"/>
                <a:ext cx="44450" cy="57150"/>
              </a:xfrm>
              <a:custGeom>
                <a:avLst/>
                <a:gdLst>
                  <a:gd name="T0" fmla="*/ 18 w 28"/>
                  <a:gd name="T1" fmla="*/ 0 h 36"/>
                  <a:gd name="T2" fmla="*/ 18 w 28"/>
                  <a:gd name="T3" fmla="*/ 0 h 36"/>
                  <a:gd name="T4" fmla="*/ 18 w 28"/>
                  <a:gd name="T5" fmla="*/ 0 h 36"/>
                  <a:gd name="T6" fmla="*/ 18 w 28"/>
                  <a:gd name="T7" fmla="*/ 0 h 36"/>
                  <a:gd name="T8" fmla="*/ 18 w 28"/>
                  <a:gd name="T9" fmla="*/ 2 h 36"/>
                  <a:gd name="T10" fmla="*/ 18 w 28"/>
                  <a:gd name="T11" fmla="*/ 2 h 36"/>
                  <a:gd name="T12" fmla="*/ 16 w 28"/>
                  <a:gd name="T13" fmla="*/ 4 h 36"/>
                  <a:gd name="T14" fmla="*/ 14 w 28"/>
                  <a:gd name="T15" fmla="*/ 4 h 36"/>
                  <a:gd name="T16" fmla="*/ 12 w 28"/>
                  <a:gd name="T17" fmla="*/ 8 h 36"/>
                  <a:gd name="T18" fmla="*/ 10 w 28"/>
                  <a:gd name="T19" fmla="*/ 8 h 36"/>
                  <a:gd name="T20" fmla="*/ 10 w 28"/>
                  <a:gd name="T21" fmla="*/ 10 h 36"/>
                  <a:gd name="T22" fmla="*/ 8 w 28"/>
                  <a:gd name="T23" fmla="*/ 12 h 36"/>
                  <a:gd name="T24" fmla="*/ 8 w 28"/>
                  <a:gd name="T25" fmla="*/ 14 h 36"/>
                  <a:gd name="T26" fmla="*/ 6 w 28"/>
                  <a:gd name="T27" fmla="*/ 18 h 36"/>
                  <a:gd name="T28" fmla="*/ 4 w 28"/>
                  <a:gd name="T29" fmla="*/ 22 h 36"/>
                  <a:gd name="T30" fmla="*/ 4 w 28"/>
                  <a:gd name="T31" fmla="*/ 24 h 36"/>
                  <a:gd name="T32" fmla="*/ 2 w 28"/>
                  <a:gd name="T33" fmla="*/ 28 h 36"/>
                  <a:gd name="T34" fmla="*/ 0 w 28"/>
                  <a:gd name="T35" fmla="*/ 30 h 36"/>
                  <a:gd name="T36" fmla="*/ 0 w 28"/>
                  <a:gd name="T37" fmla="*/ 32 h 36"/>
                  <a:gd name="T38" fmla="*/ 0 w 28"/>
                  <a:gd name="T39" fmla="*/ 32 h 36"/>
                  <a:gd name="T40" fmla="*/ 0 w 28"/>
                  <a:gd name="T41" fmla="*/ 34 h 36"/>
                  <a:gd name="T42" fmla="*/ 0 w 28"/>
                  <a:gd name="T43" fmla="*/ 34 h 36"/>
                  <a:gd name="T44" fmla="*/ 0 w 28"/>
                  <a:gd name="T45" fmla="*/ 34 h 36"/>
                  <a:gd name="T46" fmla="*/ 0 w 28"/>
                  <a:gd name="T47" fmla="*/ 34 h 36"/>
                  <a:gd name="T48" fmla="*/ 2 w 28"/>
                  <a:gd name="T49" fmla="*/ 36 h 36"/>
                  <a:gd name="T50" fmla="*/ 2 w 28"/>
                  <a:gd name="T51" fmla="*/ 36 h 36"/>
                  <a:gd name="T52" fmla="*/ 2 w 28"/>
                  <a:gd name="T53" fmla="*/ 36 h 36"/>
                  <a:gd name="T54" fmla="*/ 4 w 28"/>
                  <a:gd name="T55" fmla="*/ 36 h 36"/>
                  <a:gd name="T56" fmla="*/ 6 w 28"/>
                  <a:gd name="T57" fmla="*/ 34 h 36"/>
                  <a:gd name="T58" fmla="*/ 8 w 28"/>
                  <a:gd name="T59" fmla="*/ 34 h 36"/>
                  <a:gd name="T60" fmla="*/ 10 w 28"/>
                  <a:gd name="T61" fmla="*/ 34 h 36"/>
                  <a:gd name="T62" fmla="*/ 12 w 28"/>
                  <a:gd name="T63" fmla="*/ 32 h 36"/>
                  <a:gd name="T64" fmla="*/ 14 w 28"/>
                  <a:gd name="T65" fmla="*/ 30 h 36"/>
                  <a:gd name="T66" fmla="*/ 14 w 28"/>
                  <a:gd name="T67" fmla="*/ 30 h 36"/>
                  <a:gd name="T68" fmla="*/ 16 w 28"/>
                  <a:gd name="T69" fmla="*/ 28 h 36"/>
                  <a:gd name="T70" fmla="*/ 16 w 28"/>
                  <a:gd name="T71" fmla="*/ 28 h 36"/>
                  <a:gd name="T72" fmla="*/ 18 w 28"/>
                  <a:gd name="T73" fmla="*/ 26 h 36"/>
                  <a:gd name="T74" fmla="*/ 18 w 28"/>
                  <a:gd name="T75" fmla="*/ 24 h 36"/>
                  <a:gd name="T76" fmla="*/ 20 w 28"/>
                  <a:gd name="T77" fmla="*/ 20 h 36"/>
                  <a:gd name="T78" fmla="*/ 22 w 28"/>
                  <a:gd name="T79" fmla="*/ 18 h 36"/>
                  <a:gd name="T80" fmla="*/ 24 w 28"/>
                  <a:gd name="T81" fmla="*/ 14 h 36"/>
                  <a:gd name="T82" fmla="*/ 26 w 28"/>
                  <a:gd name="T83" fmla="*/ 10 h 36"/>
                  <a:gd name="T84" fmla="*/ 26 w 28"/>
                  <a:gd name="T85" fmla="*/ 8 h 36"/>
                  <a:gd name="T86" fmla="*/ 26 w 28"/>
                  <a:gd name="T87" fmla="*/ 6 h 36"/>
                  <a:gd name="T88" fmla="*/ 28 w 28"/>
                  <a:gd name="T89" fmla="*/ 6 h 36"/>
                  <a:gd name="T90" fmla="*/ 28 w 28"/>
                  <a:gd name="T91" fmla="*/ 6 h 36"/>
                  <a:gd name="T92" fmla="*/ 28 w 28"/>
                  <a:gd name="T93" fmla="*/ 4 h 36"/>
                  <a:gd name="T94" fmla="*/ 26 w 28"/>
                  <a:gd name="T95" fmla="*/ 4 h 36"/>
                  <a:gd name="T96" fmla="*/ 26 w 28"/>
                  <a:gd name="T97" fmla="*/ 4 h 36"/>
                  <a:gd name="T98" fmla="*/ 26 w 28"/>
                  <a:gd name="T99" fmla="*/ 2 h 36"/>
                  <a:gd name="T100" fmla="*/ 26 w 28"/>
                  <a:gd name="T101" fmla="*/ 2 h 36"/>
                  <a:gd name="T102" fmla="*/ 24 w 28"/>
                  <a:gd name="T103" fmla="*/ 2 h 36"/>
                  <a:gd name="T104" fmla="*/ 22 w 28"/>
                  <a:gd name="T105" fmla="*/ 2 h 36"/>
                  <a:gd name="T106" fmla="*/ 22 w 28"/>
                  <a:gd name="T107" fmla="*/ 2 h 36"/>
                  <a:gd name="T108" fmla="*/ 20 w 28"/>
                  <a:gd name="T109" fmla="*/ 0 h 36"/>
                  <a:gd name="T110" fmla="*/ 20 w 28"/>
                  <a:gd name="T111" fmla="*/ 0 h 36"/>
                  <a:gd name="T112" fmla="*/ 20 w 28"/>
                  <a:gd name="T113" fmla="*/ 0 h 36"/>
                  <a:gd name="T114" fmla="*/ 18 w 28"/>
                  <a:gd name="T115" fmla="*/ 0 h 36"/>
                  <a:gd name="T116" fmla="*/ 18 w 28"/>
                  <a:gd name="T1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 h="36">
                    <a:moveTo>
                      <a:pt x="18" y="0"/>
                    </a:moveTo>
                    <a:lnTo>
                      <a:pt x="18" y="0"/>
                    </a:lnTo>
                    <a:lnTo>
                      <a:pt x="18" y="0"/>
                    </a:lnTo>
                    <a:lnTo>
                      <a:pt x="18" y="0"/>
                    </a:lnTo>
                    <a:lnTo>
                      <a:pt x="18" y="2"/>
                    </a:lnTo>
                    <a:lnTo>
                      <a:pt x="18" y="2"/>
                    </a:lnTo>
                    <a:lnTo>
                      <a:pt x="16" y="4"/>
                    </a:lnTo>
                    <a:lnTo>
                      <a:pt x="14" y="4"/>
                    </a:lnTo>
                    <a:lnTo>
                      <a:pt x="12" y="8"/>
                    </a:lnTo>
                    <a:lnTo>
                      <a:pt x="10" y="8"/>
                    </a:lnTo>
                    <a:lnTo>
                      <a:pt x="10" y="10"/>
                    </a:lnTo>
                    <a:lnTo>
                      <a:pt x="8" y="12"/>
                    </a:lnTo>
                    <a:lnTo>
                      <a:pt x="8" y="14"/>
                    </a:lnTo>
                    <a:lnTo>
                      <a:pt x="6" y="18"/>
                    </a:lnTo>
                    <a:lnTo>
                      <a:pt x="4" y="22"/>
                    </a:lnTo>
                    <a:lnTo>
                      <a:pt x="4" y="24"/>
                    </a:lnTo>
                    <a:lnTo>
                      <a:pt x="2" y="28"/>
                    </a:lnTo>
                    <a:lnTo>
                      <a:pt x="0" y="30"/>
                    </a:lnTo>
                    <a:lnTo>
                      <a:pt x="0" y="32"/>
                    </a:lnTo>
                    <a:lnTo>
                      <a:pt x="0" y="32"/>
                    </a:lnTo>
                    <a:lnTo>
                      <a:pt x="0" y="34"/>
                    </a:lnTo>
                    <a:lnTo>
                      <a:pt x="0" y="34"/>
                    </a:lnTo>
                    <a:lnTo>
                      <a:pt x="0" y="34"/>
                    </a:lnTo>
                    <a:lnTo>
                      <a:pt x="0" y="34"/>
                    </a:lnTo>
                    <a:lnTo>
                      <a:pt x="2" y="36"/>
                    </a:lnTo>
                    <a:lnTo>
                      <a:pt x="2" y="36"/>
                    </a:lnTo>
                    <a:lnTo>
                      <a:pt x="2" y="36"/>
                    </a:lnTo>
                    <a:lnTo>
                      <a:pt x="4" y="36"/>
                    </a:lnTo>
                    <a:lnTo>
                      <a:pt x="6" y="34"/>
                    </a:lnTo>
                    <a:lnTo>
                      <a:pt x="8" y="34"/>
                    </a:lnTo>
                    <a:lnTo>
                      <a:pt x="10" y="34"/>
                    </a:lnTo>
                    <a:lnTo>
                      <a:pt x="12" y="32"/>
                    </a:lnTo>
                    <a:lnTo>
                      <a:pt x="14" y="30"/>
                    </a:lnTo>
                    <a:lnTo>
                      <a:pt x="14" y="30"/>
                    </a:lnTo>
                    <a:lnTo>
                      <a:pt x="16" y="28"/>
                    </a:lnTo>
                    <a:lnTo>
                      <a:pt x="16" y="28"/>
                    </a:lnTo>
                    <a:lnTo>
                      <a:pt x="18" y="26"/>
                    </a:lnTo>
                    <a:lnTo>
                      <a:pt x="18" y="24"/>
                    </a:lnTo>
                    <a:lnTo>
                      <a:pt x="20" y="20"/>
                    </a:lnTo>
                    <a:lnTo>
                      <a:pt x="22" y="18"/>
                    </a:lnTo>
                    <a:lnTo>
                      <a:pt x="24" y="14"/>
                    </a:lnTo>
                    <a:lnTo>
                      <a:pt x="26" y="10"/>
                    </a:lnTo>
                    <a:lnTo>
                      <a:pt x="26" y="8"/>
                    </a:lnTo>
                    <a:lnTo>
                      <a:pt x="26" y="6"/>
                    </a:lnTo>
                    <a:lnTo>
                      <a:pt x="28" y="6"/>
                    </a:lnTo>
                    <a:lnTo>
                      <a:pt x="28" y="6"/>
                    </a:lnTo>
                    <a:lnTo>
                      <a:pt x="28" y="4"/>
                    </a:lnTo>
                    <a:lnTo>
                      <a:pt x="26" y="4"/>
                    </a:lnTo>
                    <a:lnTo>
                      <a:pt x="26" y="4"/>
                    </a:lnTo>
                    <a:lnTo>
                      <a:pt x="26" y="2"/>
                    </a:lnTo>
                    <a:lnTo>
                      <a:pt x="26" y="2"/>
                    </a:lnTo>
                    <a:lnTo>
                      <a:pt x="24" y="2"/>
                    </a:lnTo>
                    <a:lnTo>
                      <a:pt x="22" y="2"/>
                    </a:lnTo>
                    <a:lnTo>
                      <a:pt x="22" y="2"/>
                    </a:lnTo>
                    <a:lnTo>
                      <a:pt x="20" y="0"/>
                    </a:lnTo>
                    <a:lnTo>
                      <a:pt x="20" y="0"/>
                    </a:lnTo>
                    <a:lnTo>
                      <a:pt x="20" y="0"/>
                    </a:lnTo>
                    <a:lnTo>
                      <a:pt x="18" y="0"/>
                    </a:lnTo>
                    <a:lnTo>
                      <a:pt x="18" y="0"/>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1" name="Freeform 123">
                <a:extLst>
                  <a:ext uri="{FF2B5EF4-FFF2-40B4-BE49-F238E27FC236}">
                    <a16:creationId xmlns:a16="http://schemas.microsoft.com/office/drawing/2014/main" id="{AA7E6A9A-A73C-4C18-8F4C-F73391429CE2}"/>
                  </a:ext>
                </a:extLst>
              </p:cNvPr>
              <p:cNvSpPr>
                <a:spLocks/>
              </p:cNvSpPr>
              <p:nvPr/>
            </p:nvSpPr>
            <p:spPr bwMode="auto">
              <a:xfrm>
                <a:off x="7155153" y="4508667"/>
                <a:ext cx="15875" cy="19050"/>
              </a:xfrm>
              <a:custGeom>
                <a:avLst/>
                <a:gdLst>
                  <a:gd name="T0" fmla="*/ 6 w 10"/>
                  <a:gd name="T1" fmla="*/ 12 h 12"/>
                  <a:gd name="T2" fmla="*/ 6 w 10"/>
                  <a:gd name="T3" fmla="*/ 12 h 12"/>
                  <a:gd name="T4" fmla="*/ 4 w 10"/>
                  <a:gd name="T5" fmla="*/ 12 h 12"/>
                  <a:gd name="T6" fmla="*/ 4 w 10"/>
                  <a:gd name="T7" fmla="*/ 12 h 12"/>
                  <a:gd name="T8" fmla="*/ 2 w 10"/>
                  <a:gd name="T9" fmla="*/ 10 h 12"/>
                  <a:gd name="T10" fmla="*/ 2 w 10"/>
                  <a:gd name="T11" fmla="*/ 10 h 12"/>
                  <a:gd name="T12" fmla="*/ 0 w 10"/>
                  <a:gd name="T13" fmla="*/ 8 h 12"/>
                  <a:gd name="T14" fmla="*/ 0 w 10"/>
                  <a:gd name="T15" fmla="*/ 8 h 12"/>
                  <a:gd name="T16" fmla="*/ 0 w 10"/>
                  <a:gd name="T17" fmla="*/ 6 h 12"/>
                  <a:gd name="T18" fmla="*/ 0 w 10"/>
                  <a:gd name="T19" fmla="*/ 6 h 12"/>
                  <a:gd name="T20" fmla="*/ 0 w 10"/>
                  <a:gd name="T21" fmla="*/ 4 h 12"/>
                  <a:gd name="T22" fmla="*/ 0 w 10"/>
                  <a:gd name="T23" fmla="*/ 4 h 12"/>
                  <a:gd name="T24" fmla="*/ 0 w 10"/>
                  <a:gd name="T25" fmla="*/ 2 h 12"/>
                  <a:gd name="T26" fmla="*/ 2 w 10"/>
                  <a:gd name="T27" fmla="*/ 2 h 12"/>
                  <a:gd name="T28" fmla="*/ 2 w 10"/>
                  <a:gd name="T29" fmla="*/ 0 h 12"/>
                  <a:gd name="T30" fmla="*/ 4 w 10"/>
                  <a:gd name="T31" fmla="*/ 0 h 12"/>
                  <a:gd name="T32" fmla="*/ 4 w 10"/>
                  <a:gd name="T33" fmla="*/ 0 h 12"/>
                  <a:gd name="T34" fmla="*/ 6 w 10"/>
                  <a:gd name="T35" fmla="*/ 0 h 12"/>
                  <a:gd name="T36" fmla="*/ 6 w 10"/>
                  <a:gd name="T37" fmla="*/ 0 h 12"/>
                  <a:gd name="T38" fmla="*/ 8 w 10"/>
                  <a:gd name="T39" fmla="*/ 0 h 12"/>
                  <a:gd name="T40" fmla="*/ 8 w 10"/>
                  <a:gd name="T41" fmla="*/ 0 h 12"/>
                  <a:gd name="T42" fmla="*/ 8 w 10"/>
                  <a:gd name="T43" fmla="*/ 2 h 12"/>
                  <a:gd name="T44" fmla="*/ 10 w 10"/>
                  <a:gd name="T45" fmla="*/ 2 h 12"/>
                  <a:gd name="T46" fmla="*/ 10 w 10"/>
                  <a:gd name="T47" fmla="*/ 4 h 12"/>
                  <a:gd name="T48" fmla="*/ 10 w 10"/>
                  <a:gd name="T49" fmla="*/ 4 h 12"/>
                  <a:gd name="T50" fmla="*/ 10 w 10"/>
                  <a:gd name="T51" fmla="*/ 6 h 12"/>
                  <a:gd name="T52" fmla="*/ 10 w 10"/>
                  <a:gd name="T53" fmla="*/ 6 h 12"/>
                  <a:gd name="T54" fmla="*/ 10 w 10"/>
                  <a:gd name="T55" fmla="*/ 8 h 12"/>
                  <a:gd name="T56" fmla="*/ 10 w 10"/>
                  <a:gd name="T57" fmla="*/ 8 h 12"/>
                  <a:gd name="T58" fmla="*/ 8 w 10"/>
                  <a:gd name="T59" fmla="*/ 10 h 12"/>
                  <a:gd name="T60" fmla="*/ 8 w 10"/>
                  <a:gd name="T61" fmla="*/ 10 h 12"/>
                  <a:gd name="T62" fmla="*/ 8 w 10"/>
                  <a:gd name="T63" fmla="*/ 12 h 12"/>
                  <a:gd name="T64" fmla="*/ 6 w 10"/>
                  <a:gd name="T65" fmla="*/ 12 h 12"/>
                  <a:gd name="T66" fmla="*/ 6 w 10"/>
                  <a:gd name="T6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 h="12">
                    <a:moveTo>
                      <a:pt x="6" y="12"/>
                    </a:moveTo>
                    <a:lnTo>
                      <a:pt x="6" y="12"/>
                    </a:lnTo>
                    <a:lnTo>
                      <a:pt x="4" y="12"/>
                    </a:lnTo>
                    <a:lnTo>
                      <a:pt x="4" y="12"/>
                    </a:lnTo>
                    <a:lnTo>
                      <a:pt x="2" y="10"/>
                    </a:lnTo>
                    <a:lnTo>
                      <a:pt x="2" y="10"/>
                    </a:lnTo>
                    <a:lnTo>
                      <a:pt x="0" y="8"/>
                    </a:lnTo>
                    <a:lnTo>
                      <a:pt x="0" y="8"/>
                    </a:lnTo>
                    <a:lnTo>
                      <a:pt x="0" y="6"/>
                    </a:lnTo>
                    <a:lnTo>
                      <a:pt x="0" y="6"/>
                    </a:lnTo>
                    <a:lnTo>
                      <a:pt x="0" y="4"/>
                    </a:lnTo>
                    <a:lnTo>
                      <a:pt x="0" y="4"/>
                    </a:lnTo>
                    <a:lnTo>
                      <a:pt x="0" y="2"/>
                    </a:lnTo>
                    <a:lnTo>
                      <a:pt x="2" y="2"/>
                    </a:lnTo>
                    <a:lnTo>
                      <a:pt x="2" y="0"/>
                    </a:lnTo>
                    <a:lnTo>
                      <a:pt x="4" y="0"/>
                    </a:lnTo>
                    <a:lnTo>
                      <a:pt x="4" y="0"/>
                    </a:lnTo>
                    <a:lnTo>
                      <a:pt x="6" y="0"/>
                    </a:lnTo>
                    <a:lnTo>
                      <a:pt x="6" y="0"/>
                    </a:lnTo>
                    <a:lnTo>
                      <a:pt x="8" y="0"/>
                    </a:lnTo>
                    <a:lnTo>
                      <a:pt x="8" y="0"/>
                    </a:lnTo>
                    <a:lnTo>
                      <a:pt x="8" y="2"/>
                    </a:lnTo>
                    <a:lnTo>
                      <a:pt x="10" y="2"/>
                    </a:lnTo>
                    <a:lnTo>
                      <a:pt x="10" y="4"/>
                    </a:lnTo>
                    <a:lnTo>
                      <a:pt x="10" y="4"/>
                    </a:lnTo>
                    <a:lnTo>
                      <a:pt x="10" y="6"/>
                    </a:lnTo>
                    <a:lnTo>
                      <a:pt x="10" y="6"/>
                    </a:lnTo>
                    <a:lnTo>
                      <a:pt x="10" y="8"/>
                    </a:lnTo>
                    <a:lnTo>
                      <a:pt x="10" y="8"/>
                    </a:lnTo>
                    <a:lnTo>
                      <a:pt x="8" y="10"/>
                    </a:lnTo>
                    <a:lnTo>
                      <a:pt x="8" y="10"/>
                    </a:lnTo>
                    <a:lnTo>
                      <a:pt x="8" y="12"/>
                    </a:lnTo>
                    <a:lnTo>
                      <a:pt x="6" y="12"/>
                    </a:lnTo>
                    <a:lnTo>
                      <a:pt x="6" y="1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450" name="Gruppieren 26631">
              <a:extLst>
                <a:ext uri="{FF2B5EF4-FFF2-40B4-BE49-F238E27FC236}">
                  <a16:creationId xmlns:a16="http://schemas.microsoft.com/office/drawing/2014/main" id="{F01A152D-0229-4B06-8521-0562EE6D8DD1}"/>
                </a:ext>
              </a:extLst>
            </p:cNvPr>
            <p:cNvGrpSpPr/>
            <p:nvPr/>
          </p:nvGrpSpPr>
          <p:grpSpPr>
            <a:xfrm>
              <a:off x="6642154" y="4441826"/>
              <a:ext cx="1233237" cy="498838"/>
              <a:chOff x="6485228" y="4603917"/>
              <a:chExt cx="1130300" cy="457200"/>
            </a:xfrm>
            <a:grpFill/>
          </p:grpSpPr>
          <p:sp>
            <p:nvSpPr>
              <p:cNvPr id="457" name="Freeform 213">
                <a:extLst>
                  <a:ext uri="{FF2B5EF4-FFF2-40B4-BE49-F238E27FC236}">
                    <a16:creationId xmlns:a16="http://schemas.microsoft.com/office/drawing/2014/main" id="{40391ED6-D22A-4FC6-858E-7DC4036F8A72}"/>
                  </a:ext>
                </a:extLst>
              </p:cNvPr>
              <p:cNvSpPr>
                <a:spLocks/>
              </p:cNvSpPr>
              <p:nvPr/>
            </p:nvSpPr>
            <p:spPr bwMode="auto">
              <a:xfrm>
                <a:off x="7145628" y="5035717"/>
                <a:ext cx="28575" cy="25400"/>
              </a:xfrm>
              <a:custGeom>
                <a:avLst/>
                <a:gdLst>
                  <a:gd name="T0" fmla="*/ 18 w 18"/>
                  <a:gd name="T1" fmla="*/ 2 h 16"/>
                  <a:gd name="T2" fmla="*/ 18 w 18"/>
                  <a:gd name="T3" fmla="*/ 2 h 16"/>
                  <a:gd name="T4" fmla="*/ 16 w 18"/>
                  <a:gd name="T5" fmla="*/ 0 h 16"/>
                  <a:gd name="T6" fmla="*/ 16 w 18"/>
                  <a:gd name="T7" fmla="*/ 0 h 16"/>
                  <a:gd name="T8" fmla="*/ 14 w 18"/>
                  <a:gd name="T9" fmla="*/ 0 h 16"/>
                  <a:gd name="T10" fmla="*/ 14 w 18"/>
                  <a:gd name="T11" fmla="*/ 0 h 16"/>
                  <a:gd name="T12" fmla="*/ 12 w 18"/>
                  <a:gd name="T13" fmla="*/ 0 h 16"/>
                  <a:gd name="T14" fmla="*/ 10 w 18"/>
                  <a:gd name="T15" fmla="*/ 0 h 16"/>
                  <a:gd name="T16" fmla="*/ 8 w 18"/>
                  <a:gd name="T17" fmla="*/ 2 h 16"/>
                  <a:gd name="T18" fmla="*/ 8 w 18"/>
                  <a:gd name="T19" fmla="*/ 2 h 16"/>
                  <a:gd name="T20" fmla="*/ 6 w 18"/>
                  <a:gd name="T21" fmla="*/ 2 h 16"/>
                  <a:gd name="T22" fmla="*/ 4 w 18"/>
                  <a:gd name="T23" fmla="*/ 4 h 16"/>
                  <a:gd name="T24" fmla="*/ 4 w 18"/>
                  <a:gd name="T25" fmla="*/ 4 h 16"/>
                  <a:gd name="T26" fmla="*/ 2 w 18"/>
                  <a:gd name="T27" fmla="*/ 6 h 16"/>
                  <a:gd name="T28" fmla="*/ 2 w 18"/>
                  <a:gd name="T29" fmla="*/ 8 h 16"/>
                  <a:gd name="T30" fmla="*/ 0 w 18"/>
                  <a:gd name="T31" fmla="*/ 10 h 16"/>
                  <a:gd name="T32" fmla="*/ 0 w 18"/>
                  <a:gd name="T33" fmla="*/ 12 h 16"/>
                  <a:gd name="T34" fmla="*/ 0 w 18"/>
                  <a:gd name="T35" fmla="*/ 12 h 16"/>
                  <a:gd name="T36" fmla="*/ 0 w 18"/>
                  <a:gd name="T37" fmla="*/ 12 h 16"/>
                  <a:gd name="T38" fmla="*/ 0 w 18"/>
                  <a:gd name="T39" fmla="*/ 14 h 16"/>
                  <a:gd name="T40" fmla="*/ 0 w 18"/>
                  <a:gd name="T41" fmla="*/ 14 h 16"/>
                  <a:gd name="T42" fmla="*/ 0 w 18"/>
                  <a:gd name="T43" fmla="*/ 14 h 16"/>
                  <a:gd name="T44" fmla="*/ 0 w 18"/>
                  <a:gd name="T45" fmla="*/ 14 h 16"/>
                  <a:gd name="T46" fmla="*/ 2 w 18"/>
                  <a:gd name="T47" fmla="*/ 16 h 16"/>
                  <a:gd name="T48" fmla="*/ 2 w 18"/>
                  <a:gd name="T49" fmla="*/ 16 h 16"/>
                  <a:gd name="T50" fmla="*/ 4 w 18"/>
                  <a:gd name="T51" fmla="*/ 16 h 16"/>
                  <a:gd name="T52" fmla="*/ 4 w 18"/>
                  <a:gd name="T53" fmla="*/ 16 h 16"/>
                  <a:gd name="T54" fmla="*/ 6 w 18"/>
                  <a:gd name="T55" fmla="*/ 14 h 16"/>
                  <a:gd name="T56" fmla="*/ 8 w 18"/>
                  <a:gd name="T57" fmla="*/ 14 h 16"/>
                  <a:gd name="T58" fmla="*/ 10 w 18"/>
                  <a:gd name="T59" fmla="*/ 14 h 16"/>
                  <a:gd name="T60" fmla="*/ 10 w 18"/>
                  <a:gd name="T61" fmla="*/ 12 h 16"/>
                  <a:gd name="T62" fmla="*/ 12 w 18"/>
                  <a:gd name="T63" fmla="*/ 12 h 16"/>
                  <a:gd name="T64" fmla="*/ 14 w 18"/>
                  <a:gd name="T65" fmla="*/ 10 h 16"/>
                  <a:gd name="T66" fmla="*/ 14 w 18"/>
                  <a:gd name="T67" fmla="*/ 10 h 16"/>
                  <a:gd name="T68" fmla="*/ 16 w 18"/>
                  <a:gd name="T69" fmla="*/ 8 h 16"/>
                  <a:gd name="T70" fmla="*/ 16 w 18"/>
                  <a:gd name="T71" fmla="*/ 8 h 16"/>
                  <a:gd name="T72" fmla="*/ 18 w 18"/>
                  <a:gd name="T73" fmla="*/ 6 h 16"/>
                  <a:gd name="T74" fmla="*/ 18 w 18"/>
                  <a:gd name="T75" fmla="*/ 6 h 16"/>
                  <a:gd name="T76" fmla="*/ 18 w 18"/>
                  <a:gd name="T77" fmla="*/ 4 h 16"/>
                  <a:gd name="T78" fmla="*/ 18 w 18"/>
                  <a:gd name="T79" fmla="*/ 2 h 16"/>
                  <a:gd name="T80" fmla="*/ 18 w 18"/>
                  <a:gd name="T81" fmla="*/ 2 h 16"/>
                  <a:gd name="T82" fmla="*/ 18 w 18"/>
                  <a:gd name="T8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16">
                    <a:moveTo>
                      <a:pt x="18" y="2"/>
                    </a:moveTo>
                    <a:lnTo>
                      <a:pt x="18" y="2"/>
                    </a:lnTo>
                    <a:lnTo>
                      <a:pt x="16" y="0"/>
                    </a:lnTo>
                    <a:lnTo>
                      <a:pt x="16" y="0"/>
                    </a:lnTo>
                    <a:lnTo>
                      <a:pt x="14" y="0"/>
                    </a:lnTo>
                    <a:lnTo>
                      <a:pt x="14" y="0"/>
                    </a:lnTo>
                    <a:lnTo>
                      <a:pt x="12" y="0"/>
                    </a:lnTo>
                    <a:lnTo>
                      <a:pt x="10" y="0"/>
                    </a:lnTo>
                    <a:lnTo>
                      <a:pt x="8" y="2"/>
                    </a:lnTo>
                    <a:lnTo>
                      <a:pt x="8" y="2"/>
                    </a:lnTo>
                    <a:lnTo>
                      <a:pt x="6" y="2"/>
                    </a:lnTo>
                    <a:lnTo>
                      <a:pt x="4" y="4"/>
                    </a:lnTo>
                    <a:lnTo>
                      <a:pt x="4" y="4"/>
                    </a:lnTo>
                    <a:lnTo>
                      <a:pt x="2" y="6"/>
                    </a:lnTo>
                    <a:lnTo>
                      <a:pt x="2" y="8"/>
                    </a:lnTo>
                    <a:lnTo>
                      <a:pt x="0" y="10"/>
                    </a:lnTo>
                    <a:lnTo>
                      <a:pt x="0" y="12"/>
                    </a:lnTo>
                    <a:lnTo>
                      <a:pt x="0" y="12"/>
                    </a:lnTo>
                    <a:lnTo>
                      <a:pt x="0" y="12"/>
                    </a:lnTo>
                    <a:lnTo>
                      <a:pt x="0" y="14"/>
                    </a:lnTo>
                    <a:lnTo>
                      <a:pt x="0" y="14"/>
                    </a:lnTo>
                    <a:lnTo>
                      <a:pt x="0" y="14"/>
                    </a:lnTo>
                    <a:lnTo>
                      <a:pt x="0" y="14"/>
                    </a:lnTo>
                    <a:lnTo>
                      <a:pt x="2" y="16"/>
                    </a:lnTo>
                    <a:lnTo>
                      <a:pt x="2" y="16"/>
                    </a:lnTo>
                    <a:lnTo>
                      <a:pt x="4" y="16"/>
                    </a:lnTo>
                    <a:lnTo>
                      <a:pt x="4" y="16"/>
                    </a:lnTo>
                    <a:lnTo>
                      <a:pt x="6" y="14"/>
                    </a:lnTo>
                    <a:lnTo>
                      <a:pt x="8" y="14"/>
                    </a:lnTo>
                    <a:lnTo>
                      <a:pt x="10" y="14"/>
                    </a:lnTo>
                    <a:lnTo>
                      <a:pt x="10" y="12"/>
                    </a:lnTo>
                    <a:lnTo>
                      <a:pt x="12" y="12"/>
                    </a:lnTo>
                    <a:lnTo>
                      <a:pt x="14" y="10"/>
                    </a:lnTo>
                    <a:lnTo>
                      <a:pt x="14" y="10"/>
                    </a:lnTo>
                    <a:lnTo>
                      <a:pt x="16" y="8"/>
                    </a:lnTo>
                    <a:lnTo>
                      <a:pt x="16" y="8"/>
                    </a:lnTo>
                    <a:lnTo>
                      <a:pt x="18" y="6"/>
                    </a:lnTo>
                    <a:lnTo>
                      <a:pt x="18" y="6"/>
                    </a:lnTo>
                    <a:lnTo>
                      <a:pt x="18" y="4"/>
                    </a:lnTo>
                    <a:lnTo>
                      <a:pt x="18" y="2"/>
                    </a:lnTo>
                    <a:lnTo>
                      <a:pt x="18" y="2"/>
                    </a:lnTo>
                    <a:lnTo>
                      <a:pt x="18"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8" name="Freeform 191">
                <a:extLst>
                  <a:ext uri="{FF2B5EF4-FFF2-40B4-BE49-F238E27FC236}">
                    <a16:creationId xmlns:a16="http://schemas.microsoft.com/office/drawing/2014/main" id="{6E6E0715-9351-4911-B529-AF153C02CA5D}"/>
                  </a:ext>
                </a:extLst>
              </p:cNvPr>
              <p:cNvSpPr>
                <a:spLocks/>
              </p:cNvSpPr>
              <p:nvPr/>
            </p:nvSpPr>
            <p:spPr bwMode="auto">
              <a:xfrm>
                <a:off x="7247228" y="4829342"/>
                <a:ext cx="28575" cy="9525"/>
              </a:xfrm>
              <a:custGeom>
                <a:avLst/>
                <a:gdLst>
                  <a:gd name="T0" fmla="*/ 8 w 18"/>
                  <a:gd name="T1" fmla="*/ 6 h 6"/>
                  <a:gd name="T2" fmla="*/ 8 w 18"/>
                  <a:gd name="T3" fmla="*/ 6 h 6"/>
                  <a:gd name="T4" fmla="*/ 6 w 18"/>
                  <a:gd name="T5" fmla="*/ 6 h 6"/>
                  <a:gd name="T6" fmla="*/ 6 w 18"/>
                  <a:gd name="T7" fmla="*/ 6 h 6"/>
                  <a:gd name="T8" fmla="*/ 4 w 18"/>
                  <a:gd name="T9" fmla="*/ 6 h 6"/>
                  <a:gd name="T10" fmla="*/ 2 w 18"/>
                  <a:gd name="T11" fmla="*/ 6 h 6"/>
                  <a:gd name="T12" fmla="*/ 2 w 18"/>
                  <a:gd name="T13" fmla="*/ 4 h 6"/>
                  <a:gd name="T14" fmla="*/ 0 w 18"/>
                  <a:gd name="T15" fmla="*/ 4 h 6"/>
                  <a:gd name="T16" fmla="*/ 0 w 18"/>
                  <a:gd name="T17" fmla="*/ 4 h 6"/>
                  <a:gd name="T18" fmla="*/ 0 w 18"/>
                  <a:gd name="T19" fmla="*/ 4 h 6"/>
                  <a:gd name="T20" fmla="*/ 0 w 18"/>
                  <a:gd name="T21" fmla="*/ 2 h 6"/>
                  <a:gd name="T22" fmla="*/ 0 w 18"/>
                  <a:gd name="T23" fmla="*/ 2 h 6"/>
                  <a:gd name="T24" fmla="*/ 2 w 18"/>
                  <a:gd name="T25" fmla="*/ 2 h 6"/>
                  <a:gd name="T26" fmla="*/ 2 w 18"/>
                  <a:gd name="T27" fmla="*/ 0 h 6"/>
                  <a:gd name="T28" fmla="*/ 4 w 18"/>
                  <a:gd name="T29" fmla="*/ 0 h 6"/>
                  <a:gd name="T30" fmla="*/ 6 w 18"/>
                  <a:gd name="T31" fmla="*/ 0 h 6"/>
                  <a:gd name="T32" fmla="*/ 6 w 18"/>
                  <a:gd name="T33" fmla="*/ 0 h 6"/>
                  <a:gd name="T34" fmla="*/ 8 w 18"/>
                  <a:gd name="T35" fmla="*/ 0 h 6"/>
                  <a:gd name="T36" fmla="*/ 10 w 18"/>
                  <a:gd name="T37" fmla="*/ 0 h 6"/>
                  <a:gd name="T38" fmla="*/ 12 w 18"/>
                  <a:gd name="T39" fmla="*/ 0 h 6"/>
                  <a:gd name="T40" fmla="*/ 14 w 18"/>
                  <a:gd name="T41" fmla="*/ 0 h 6"/>
                  <a:gd name="T42" fmla="*/ 14 w 18"/>
                  <a:gd name="T43" fmla="*/ 0 h 6"/>
                  <a:gd name="T44" fmla="*/ 16 w 18"/>
                  <a:gd name="T45" fmla="*/ 2 h 6"/>
                  <a:gd name="T46" fmla="*/ 16 w 18"/>
                  <a:gd name="T47" fmla="*/ 2 h 6"/>
                  <a:gd name="T48" fmla="*/ 18 w 18"/>
                  <a:gd name="T49" fmla="*/ 2 h 6"/>
                  <a:gd name="T50" fmla="*/ 18 w 18"/>
                  <a:gd name="T51" fmla="*/ 4 h 6"/>
                  <a:gd name="T52" fmla="*/ 18 w 18"/>
                  <a:gd name="T53" fmla="*/ 4 h 6"/>
                  <a:gd name="T54" fmla="*/ 16 w 18"/>
                  <a:gd name="T55" fmla="*/ 4 h 6"/>
                  <a:gd name="T56" fmla="*/ 16 w 18"/>
                  <a:gd name="T57" fmla="*/ 4 h 6"/>
                  <a:gd name="T58" fmla="*/ 14 w 18"/>
                  <a:gd name="T59" fmla="*/ 6 h 6"/>
                  <a:gd name="T60" fmla="*/ 14 w 18"/>
                  <a:gd name="T61" fmla="*/ 6 h 6"/>
                  <a:gd name="T62" fmla="*/ 12 w 18"/>
                  <a:gd name="T63" fmla="*/ 6 h 6"/>
                  <a:gd name="T64" fmla="*/ 10 w 18"/>
                  <a:gd name="T65" fmla="*/ 6 h 6"/>
                  <a:gd name="T66" fmla="*/ 8 w 18"/>
                  <a:gd name="T6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6">
                    <a:moveTo>
                      <a:pt x="8" y="6"/>
                    </a:moveTo>
                    <a:lnTo>
                      <a:pt x="8" y="6"/>
                    </a:lnTo>
                    <a:lnTo>
                      <a:pt x="6" y="6"/>
                    </a:lnTo>
                    <a:lnTo>
                      <a:pt x="6" y="6"/>
                    </a:lnTo>
                    <a:lnTo>
                      <a:pt x="4" y="6"/>
                    </a:lnTo>
                    <a:lnTo>
                      <a:pt x="2" y="6"/>
                    </a:lnTo>
                    <a:lnTo>
                      <a:pt x="2" y="4"/>
                    </a:lnTo>
                    <a:lnTo>
                      <a:pt x="0" y="4"/>
                    </a:lnTo>
                    <a:lnTo>
                      <a:pt x="0" y="4"/>
                    </a:lnTo>
                    <a:lnTo>
                      <a:pt x="0" y="4"/>
                    </a:lnTo>
                    <a:lnTo>
                      <a:pt x="0" y="2"/>
                    </a:lnTo>
                    <a:lnTo>
                      <a:pt x="0" y="2"/>
                    </a:lnTo>
                    <a:lnTo>
                      <a:pt x="2" y="2"/>
                    </a:lnTo>
                    <a:lnTo>
                      <a:pt x="2" y="0"/>
                    </a:lnTo>
                    <a:lnTo>
                      <a:pt x="4" y="0"/>
                    </a:lnTo>
                    <a:lnTo>
                      <a:pt x="6" y="0"/>
                    </a:lnTo>
                    <a:lnTo>
                      <a:pt x="6" y="0"/>
                    </a:lnTo>
                    <a:lnTo>
                      <a:pt x="8" y="0"/>
                    </a:lnTo>
                    <a:lnTo>
                      <a:pt x="10" y="0"/>
                    </a:lnTo>
                    <a:lnTo>
                      <a:pt x="12" y="0"/>
                    </a:lnTo>
                    <a:lnTo>
                      <a:pt x="14" y="0"/>
                    </a:lnTo>
                    <a:lnTo>
                      <a:pt x="14" y="0"/>
                    </a:lnTo>
                    <a:lnTo>
                      <a:pt x="16" y="2"/>
                    </a:lnTo>
                    <a:lnTo>
                      <a:pt x="16" y="2"/>
                    </a:lnTo>
                    <a:lnTo>
                      <a:pt x="18" y="2"/>
                    </a:lnTo>
                    <a:lnTo>
                      <a:pt x="18" y="4"/>
                    </a:lnTo>
                    <a:lnTo>
                      <a:pt x="18" y="4"/>
                    </a:lnTo>
                    <a:lnTo>
                      <a:pt x="16" y="4"/>
                    </a:lnTo>
                    <a:lnTo>
                      <a:pt x="16" y="4"/>
                    </a:lnTo>
                    <a:lnTo>
                      <a:pt x="14" y="6"/>
                    </a:lnTo>
                    <a:lnTo>
                      <a:pt x="14" y="6"/>
                    </a:lnTo>
                    <a:lnTo>
                      <a:pt x="12" y="6"/>
                    </a:lnTo>
                    <a:lnTo>
                      <a:pt x="10" y="6"/>
                    </a:lnTo>
                    <a:lnTo>
                      <a:pt x="8" y="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9" name="Freeform 193">
                <a:extLst>
                  <a:ext uri="{FF2B5EF4-FFF2-40B4-BE49-F238E27FC236}">
                    <a16:creationId xmlns:a16="http://schemas.microsoft.com/office/drawing/2014/main" id="{1C0354E9-E173-4D7E-80F1-E163736A01CB}"/>
                  </a:ext>
                </a:extLst>
              </p:cNvPr>
              <p:cNvSpPr>
                <a:spLocks/>
              </p:cNvSpPr>
              <p:nvPr/>
            </p:nvSpPr>
            <p:spPr bwMode="auto">
              <a:xfrm>
                <a:off x="6485228" y="4645192"/>
                <a:ext cx="273050" cy="298450"/>
              </a:xfrm>
              <a:custGeom>
                <a:avLst/>
                <a:gdLst>
                  <a:gd name="T0" fmla="*/ 62 w 172"/>
                  <a:gd name="T1" fmla="*/ 28 h 188"/>
                  <a:gd name="T2" fmla="*/ 50 w 172"/>
                  <a:gd name="T3" fmla="*/ 24 h 188"/>
                  <a:gd name="T4" fmla="*/ 44 w 172"/>
                  <a:gd name="T5" fmla="*/ 22 h 188"/>
                  <a:gd name="T6" fmla="*/ 42 w 172"/>
                  <a:gd name="T7" fmla="*/ 20 h 188"/>
                  <a:gd name="T8" fmla="*/ 34 w 172"/>
                  <a:gd name="T9" fmla="*/ 10 h 188"/>
                  <a:gd name="T10" fmla="*/ 28 w 172"/>
                  <a:gd name="T11" fmla="*/ 4 h 188"/>
                  <a:gd name="T12" fmla="*/ 26 w 172"/>
                  <a:gd name="T13" fmla="*/ 0 h 188"/>
                  <a:gd name="T14" fmla="*/ 20 w 172"/>
                  <a:gd name="T15" fmla="*/ 0 h 188"/>
                  <a:gd name="T16" fmla="*/ 10 w 172"/>
                  <a:gd name="T17" fmla="*/ 0 h 188"/>
                  <a:gd name="T18" fmla="*/ 4 w 172"/>
                  <a:gd name="T19" fmla="*/ 2 h 188"/>
                  <a:gd name="T20" fmla="*/ 2 w 172"/>
                  <a:gd name="T21" fmla="*/ 4 h 188"/>
                  <a:gd name="T22" fmla="*/ 0 w 172"/>
                  <a:gd name="T23" fmla="*/ 8 h 188"/>
                  <a:gd name="T24" fmla="*/ 0 w 172"/>
                  <a:gd name="T25" fmla="*/ 12 h 188"/>
                  <a:gd name="T26" fmla="*/ 2 w 172"/>
                  <a:gd name="T27" fmla="*/ 14 h 188"/>
                  <a:gd name="T28" fmla="*/ 6 w 172"/>
                  <a:gd name="T29" fmla="*/ 18 h 188"/>
                  <a:gd name="T30" fmla="*/ 20 w 172"/>
                  <a:gd name="T31" fmla="*/ 26 h 188"/>
                  <a:gd name="T32" fmla="*/ 26 w 172"/>
                  <a:gd name="T33" fmla="*/ 30 h 188"/>
                  <a:gd name="T34" fmla="*/ 38 w 172"/>
                  <a:gd name="T35" fmla="*/ 40 h 188"/>
                  <a:gd name="T36" fmla="*/ 58 w 172"/>
                  <a:gd name="T37" fmla="*/ 56 h 188"/>
                  <a:gd name="T38" fmla="*/ 64 w 172"/>
                  <a:gd name="T39" fmla="*/ 62 h 188"/>
                  <a:gd name="T40" fmla="*/ 66 w 172"/>
                  <a:gd name="T41" fmla="*/ 66 h 188"/>
                  <a:gd name="T42" fmla="*/ 68 w 172"/>
                  <a:gd name="T43" fmla="*/ 74 h 188"/>
                  <a:gd name="T44" fmla="*/ 70 w 172"/>
                  <a:gd name="T45" fmla="*/ 86 h 188"/>
                  <a:gd name="T46" fmla="*/ 76 w 172"/>
                  <a:gd name="T47" fmla="*/ 100 h 188"/>
                  <a:gd name="T48" fmla="*/ 84 w 172"/>
                  <a:gd name="T49" fmla="*/ 114 h 188"/>
                  <a:gd name="T50" fmla="*/ 102 w 172"/>
                  <a:gd name="T51" fmla="*/ 136 h 188"/>
                  <a:gd name="T52" fmla="*/ 122 w 172"/>
                  <a:gd name="T53" fmla="*/ 160 h 188"/>
                  <a:gd name="T54" fmla="*/ 136 w 172"/>
                  <a:gd name="T55" fmla="*/ 176 h 188"/>
                  <a:gd name="T56" fmla="*/ 140 w 172"/>
                  <a:gd name="T57" fmla="*/ 184 h 188"/>
                  <a:gd name="T58" fmla="*/ 144 w 172"/>
                  <a:gd name="T59" fmla="*/ 186 h 188"/>
                  <a:gd name="T60" fmla="*/ 148 w 172"/>
                  <a:gd name="T61" fmla="*/ 188 h 188"/>
                  <a:gd name="T62" fmla="*/ 152 w 172"/>
                  <a:gd name="T63" fmla="*/ 186 h 188"/>
                  <a:gd name="T64" fmla="*/ 160 w 172"/>
                  <a:gd name="T65" fmla="*/ 184 h 188"/>
                  <a:gd name="T66" fmla="*/ 164 w 172"/>
                  <a:gd name="T67" fmla="*/ 182 h 188"/>
                  <a:gd name="T68" fmla="*/ 168 w 172"/>
                  <a:gd name="T69" fmla="*/ 178 h 188"/>
                  <a:gd name="T70" fmla="*/ 172 w 172"/>
                  <a:gd name="T71" fmla="*/ 174 h 188"/>
                  <a:gd name="T72" fmla="*/ 172 w 172"/>
                  <a:gd name="T73" fmla="*/ 172 h 188"/>
                  <a:gd name="T74" fmla="*/ 168 w 172"/>
                  <a:gd name="T75" fmla="*/ 164 h 188"/>
                  <a:gd name="T76" fmla="*/ 166 w 172"/>
                  <a:gd name="T77" fmla="*/ 158 h 188"/>
                  <a:gd name="T78" fmla="*/ 168 w 172"/>
                  <a:gd name="T79" fmla="*/ 146 h 188"/>
                  <a:gd name="T80" fmla="*/ 168 w 172"/>
                  <a:gd name="T81" fmla="*/ 140 h 188"/>
                  <a:gd name="T82" fmla="*/ 166 w 172"/>
                  <a:gd name="T83" fmla="*/ 136 h 188"/>
                  <a:gd name="T84" fmla="*/ 162 w 172"/>
                  <a:gd name="T85" fmla="*/ 132 h 188"/>
                  <a:gd name="T86" fmla="*/ 160 w 172"/>
                  <a:gd name="T87" fmla="*/ 128 h 188"/>
                  <a:gd name="T88" fmla="*/ 156 w 172"/>
                  <a:gd name="T89" fmla="*/ 126 h 188"/>
                  <a:gd name="T90" fmla="*/ 148 w 172"/>
                  <a:gd name="T91" fmla="*/ 124 h 188"/>
                  <a:gd name="T92" fmla="*/ 140 w 172"/>
                  <a:gd name="T93" fmla="*/ 122 h 188"/>
                  <a:gd name="T94" fmla="*/ 136 w 172"/>
                  <a:gd name="T95" fmla="*/ 120 h 188"/>
                  <a:gd name="T96" fmla="*/ 136 w 172"/>
                  <a:gd name="T97" fmla="*/ 118 h 188"/>
                  <a:gd name="T98" fmla="*/ 136 w 172"/>
                  <a:gd name="T99" fmla="*/ 112 h 188"/>
                  <a:gd name="T100" fmla="*/ 136 w 172"/>
                  <a:gd name="T101" fmla="*/ 108 h 188"/>
                  <a:gd name="T102" fmla="*/ 130 w 172"/>
                  <a:gd name="T103" fmla="*/ 100 h 188"/>
                  <a:gd name="T104" fmla="*/ 128 w 172"/>
                  <a:gd name="T105" fmla="*/ 96 h 188"/>
                  <a:gd name="T106" fmla="*/ 128 w 172"/>
                  <a:gd name="T107" fmla="*/ 86 h 188"/>
                  <a:gd name="T108" fmla="*/ 128 w 172"/>
                  <a:gd name="T109" fmla="*/ 82 h 188"/>
                  <a:gd name="T110" fmla="*/ 126 w 172"/>
                  <a:gd name="T111" fmla="*/ 78 h 188"/>
                  <a:gd name="T112" fmla="*/ 122 w 172"/>
                  <a:gd name="T113" fmla="*/ 72 h 188"/>
                  <a:gd name="T114" fmla="*/ 112 w 172"/>
                  <a:gd name="T115" fmla="*/ 64 h 188"/>
                  <a:gd name="T116" fmla="*/ 102 w 172"/>
                  <a:gd name="T117" fmla="*/ 60 h 188"/>
                  <a:gd name="T118" fmla="*/ 92 w 172"/>
                  <a:gd name="T119" fmla="*/ 54 h 188"/>
                  <a:gd name="T120" fmla="*/ 78 w 172"/>
                  <a:gd name="T121" fmla="*/ 42 h 188"/>
                  <a:gd name="T122" fmla="*/ 68 w 172"/>
                  <a:gd name="T123" fmla="*/ 3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88">
                    <a:moveTo>
                      <a:pt x="64" y="30"/>
                    </a:moveTo>
                    <a:lnTo>
                      <a:pt x="64" y="30"/>
                    </a:lnTo>
                    <a:lnTo>
                      <a:pt x="62" y="28"/>
                    </a:lnTo>
                    <a:lnTo>
                      <a:pt x="60" y="28"/>
                    </a:lnTo>
                    <a:lnTo>
                      <a:pt x="54" y="26"/>
                    </a:lnTo>
                    <a:lnTo>
                      <a:pt x="50" y="24"/>
                    </a:lnTo>
                    <a:lnTo>
                      <a:pt x="48" y="24"/>
                    </a:lnTo>
                    <a:lnTo>
                      <a:pt x="46" y="22"/>
                    </a:lnTo>
                    <a:lnTo>
                      <a:pt x="44" y="22"/>
                    </a:lnTo>
                    <a:lnTo>
                      <a:pt x="44" y="20"/>
                    </a:lnTo>
                    <a:lnTo>
                      <a:pt x="42" y="20"/>
                    </a:lnTo>
                    <a:lnTo>
                      <a:pt x="42" y="20"/>
                    </a:lnTo>
                    <a:lnTo>
                      <a:pt x="38" y="16"/>
                    </a:lnTo>
                    <a:lnTo>
                      <a:pt x="36" y="14"/>
                    </a:lnTo>
                    <a:lnTo>
                      <a:pt x="34" y="10"/>
                    </a:lnTo>
                    <a:lnTo>
                      <a:pt x="32" y="8"/>
                    </a:lnTo>
                    <a:lnTo>
                      <a:pt x="30" y="4"/>
                    </a:lnTo>
                    <a:lnTo>
                      <a:pt x="28" y="4"/>
                    </a:lnTo>
                    <a:lnTo>
                      <a:pt x="28" y="2"/>
                    </a:lnTo>
                    <a:lnTo>
                      <a:pt x="26" y="2"/>
                    </a:lnTo>
                    <a:lnTo>
                      <a:pt x="26" y="0"/>
                    </a:lnTo>
                    <a:lnTo>
                      <a:pt x="24" y="0"/>
                    </a:lnTo>
                    <a:lnTo>
                      <a:pt x="24" y="0"/>
                    </a:lnTo>
                    <a:lnTo>
                      <a:pt x="20" y="0"/>
                    </a:lnTo>
                    <a:lnTo>
                      <a:pt x="18" y="0"/>
                    </a:lnTo>
                    <a:lnTo>
                      <a:pt x="14" y="0"/>
                    </a:lnTo>
                    <a:lnTo>
                      <a:pt x="10" y="0"/>
                    </a:lnTo>
                    <a:lnTo>
                      <a:pt x="8" y="2"/>
                    </a:lnTo>
                    <a:lnTo>
                      <a:pt x="6" y="2"/>
                    </a:lnTo>
                    <a:lnTo>
                      <a:pt x="4" y="2"/>
                    </a:lnTo>
                    <a:lnTo>
                      <a:pt x="4" y="2"/>
                    </a:lnTo>
                    <a:lnTo>
                      <a:pt x="2" y="4"/>
                    </a:lnTo>
                    <a:lnTo>
                      <a:pt x="2" y="4"/>
                    </a:lnTo>
                    <a:lnTo>
                      <a:pt x="2" y="6"/>
                    </a:lnTo>
                    <a:lnTo>
                      <a:pt x="0" y="6"/>
                    </a:lnTo>
                    <a:lnTo>
                      <a:pt x="0" y="8"/>
                    </a:lnTo>
                    <a:lnTo>
                      <a:pt x="0" y="8"/>
                    </a:lnTo>
                    <a:lnTo>
                      <a:pt x="0" y="10"/>
                    </a:lnTo>
                    <a:lnTo>
                      <a:pt x="0" y="12"/>
                    </a:lnTo>
                    <a:lnTo>
                      <a:pt x="0" y="12"/>
                    </a:lnTo>
                    <a:lnTo>
                      <a:pt x="0" y="14"/>
                    </a:lnTo>
                    <a:lnTo>
                      <a:pt x="2" y="14"/>
                    </a:lnTo>
                    <a:lnTo>
                      <a:pt x="4" y="16"/>
                    </a:lnTo>
                    <a:lnTo>
                      <a:pt x="4" y="18"/>
                    </a:lnTo>
                    <a:lnTo>
                      <a:pt x="6" y="18"/>
                    </a:lnTo>
                    <a:lnTo>
                      <a:pt x="8" y="20"/>
                    </a:lnTo>
                    <a:lnTo>
                      <a:pt x="12" y="22"/>
                    </a:lnTo>
                    <a:lnTo>
                      <a:pt x="20" y="26"/>
                    </a:lnTo>
                    <a:lnTo>
                      <a:pt x="24" y="28"/>
                    </a:lnTo>
                    <a:lnTo>
                      <a:pt x="26" y="28"/>
                    </a:lnTo>
                    <a:lnTo>
                      <a:pt x="26" y="30"/>
                    </a:lnTo>
                    <a:lnTo>
                      <a:pt x="30" y="32"/>
                    </a:lnTo>
                    <a:lnTo>
                      <a:pt x="32" y="34"/>
                    </a:lnTo>
                    <a:lnTo>
                      <a:pt x="38" y="40"/>
                    </a:lnTo>
                    <a:lnTo>
                      <a:pt x="50" y="50"/>
                    </a:lnTo>
                    <a:lnTo>
                      <a:pt x="54" y="52"/>
                    </a:lnTo>
                    <a:lnTo>
                      <a:pt x="58" y="56"/>
                    </a:lnTo>
                    <a:lnTo>
                      <a:pt x="60" y="58"/>
                    </a:lnTo>
                    <a:lnTo>
                      <a:pt x="62" y="60"/>
                    </a:lnTo>
                    <a:lnTo>
                      <a:pt x="64" y="62"/>
                    </a:lnTo>
                    <a:lnTo>
                      <a:pt x="64" y="64"/>
                    </a:lnTo>
                    <a:lnTo>
                      <a:pt x="66" y="64"/>
                    </a:lnTo>
                    <a:lnTo>
                      <a:pt x="66" y="66"/>
                    </a:lnTo>
                    <a:lnTo>
                      <a:pt x="66" y="68"/>
                    </a:lnTo>
                    <a:lnTo>
                      <a:pt x="66" y="72"/>
                    </a:lnTo>
                    <a:lnTo>
                      <a:pt x="68" y="74"/>
                    </a:lnTo>
                    <a:lnTo>
                      <a:pt x="68" y="80"/>
                    </a:lnTo>
                    <a:lnTo>
                      <a:pt x="70" y="82"/>
                    </a:lnTo>
                    <a:lnTo>
                      <a:pt x="70" y="86"/>
                    </a:lnTo>
                    <a:lnTo>
                      <a:pt x="72" y="90"/>
                    </a:lnTo>
                    <a:lnTo>
                      <a:pt x="74" y="94"/>
                    </a:lnTo>
                    <a:lnTo>
                      <a:pt x="76" y="100"/>
                    </a:lnTo>
                    <a:lnTo>
                      <a:pt x="78" y="104"/>
                    </a:lnTo>
                    <a:lnTo>
                      <a:pt x="82" y="108"/>
                    </a:lnTo>
                    <a:lnTo>
                      <a:pt x="84" y="114"/>
                    </a:lnTo>
                    <a:lnTo>
                      <a:pt x="88" y="118"/>
                    </a:lnTo>
                    <a:lnTo>
                      <a:pt x="94" y="124"/>
                    </a:lnTo>
                    <a:lnTo>
                      <a:pt x="102" y="136"/>
                    </a:lnTo>
                    <a:lnTo>
                      <a:pt x="108" y="144"/>
                    </a:lnTo>
                    <a:lnTo>
                      <a:pt x="114" y="152"/>
                    </a:lnTo>
                    <a:lnTo>
                      <a:pt x="122" y="160"/>
                    </a:lnTo>
                    <a:lnTo>
                      <a:pt x="130" y="168"/>
                    </a:lnTo>
                    <a:lnTo>
                      <a:pt x="136" y="176"/>
                    </a:lnTo>
                    <a:lnTo>
                      <a:pt x="136" y="176"/>
                    </a:lnTo>
                    <a:lnTo>
                      <a:pt x="138" y="178"/>
                    </a:lnTo>
                    <a:lnTo>
                      <a:pt x="140" y="182"/>
                    </a:lnTo>
                    <a:lnTo>
                      <a:pt x="140" y="184"/>
                    </a:lnTo>
                    <a:lnTo>
                      <a:pt x="142" y="186"/>
                    </a:lnTo>
                    <a:lnTo>
                      <a:pt x="142" y="186"/>
                    </a:lnTo>
                    <a:lnTo>
                      <a:pt x="144" y="186"/>
                    </a:lnTo>
                    <a:lnTo>
                      <a:pt x="144" y="186"/>
                    </a:lnTo>
                    <a:lnTo>
                      <a:pt x="146" y="188"/>
                    </a:lnTo>
                    <a:lnTo>
                      <a:pt x="148" y="188"/>
                    </a:lnTo>
                    <a:lnTo>
                      <a:pt x="150" y="188"/>
                    </a:lnTo>
                    <a:lnTo>
                      <a:pt x="150" y="186"/>
                    </a:lnTo>
                    <a:lnTo>
                      <a:pt x="152" y="186"/>
                    </a:lnTo>
                    <a:lnTo>
                      <a:pt x="154" y="186"/>
                    </a:lnTo>
                    <a:lnTo>
                      <a:pt x="156" y="186"/>
                    </a:lnTo>
                    <a:lnTo>
                      <a:pt x="160" y="184"/>
                    </a:lnTo>
                    <a:lnTo>
                      <a:pt x="160" y="184"/>
                    </a:lnTo>
                    <a:lnTo>
                      <a:pt x="162" y="182"/>
                    </a:lnTo>
                    <a:lnTo>
                      <a:pt x="164" y="182"/>
                    </a:lnTo>
                    <a:lnTo>
                      <a:pt x="166" y="180"/>
                    </a:lnTo>
                    <a:lnTo>
                      <a:pt x="168" y="180"/>
                    </a:lnTo>
                    <a:lnTo>
                      <a:pt x="168" y="178"/>
                    </a:lnTo>
                    <a:lnTo>
                      <a:pt x="170" y="176"/>
                    </a:lnTo>
                    <a:lnTo>
                      <a:pt x="170" y="176"/>
                    </a:lnTo>
                    <a:lnTo>
                      <a:pt x="172" y="174"/>
                    </a:lnTo>
                    <a:lnTo>
                      <a:pt x="172" y="174"/>
                    </a:lnTo>
                    <a:lnTo>
                      <a:pt x="172" y="174"/>
                    </a:lnTo>
                    <a:lnTo>
                      <a:pt x="172" y="172"/>
                    </a:lnTo>
                    <a:lnTo>
                      <a:pt x="170" y="170"/>
                    </a:lnTo>
                    <a:lnTo>
                      <a:pt x="170" y="168"/>
                    </a:lnTo>
                    <a:lnTo>
                      <a:pt x="168" y="164"/>
                    </a:lnTo>
                    <a:lnTo>
                      <a:pt x="168" y="160"/>
                    </a:lnTo>
                    <a:lnTo>
                      <a:pt x="166" y="160"/>
                    </a:lnTo>
                    <a:lnTo>
                      <a:pt x="166" y="158"/>
                    </a:lnTo>
                    <a:lnTo>
                      <a:pt x="166" y="154"/>
                    </a:lnTo>
                    <a:lnTo>
                      <a:pt x="168" y="150"/>
                    </a:lnTo>
                    <a:lnTo>
                      <a:pt x="168" y="146"/>
                    </a:lnTo>
                    <a:lnTo>
                      <a:pt x="168" y="144"/>
                    </a:lnTo>
                    <a:lnTo>
                      <a:pt x="168" y="142"/>
                    </a:lnTo>
                    <a:lnTo>
                      <a:pt x="168" y="140"/>
                    </a:lnTo>
                    <a:lnTo>
                      <a:pt x="166" y="140"/>
                    </a:lnTo>
                    <a:lnTo>
                      <a:pt x="166" y="138"/>
                    </a:lnTo>
                    <a:lnTo>
                      <a:pt x="166" y="136"/>
                    </a:lnTo>
                    <a:lnTo>
                      <a:pt x="164" y="134"/>
                    </a:lnTo>
                    <a:lnTo>
                      <a:pt x="164" y="134"/>
                    </a:lnTo>
                    <a:lnTo>
                      <a:pt x="162" y="132"/>
                    </a:lnTo>
                    <a:lnTo>
                      <a:pt x="162" y="130"/>
                    </a:lnTo>
                    <a:lnTo>
                      <a:pt x="160" y="128"/>
                    </a:lnTo>
                    <a:lnTo>
                      <a:pt x="160" y="128"/>
                    </a:lnTo>
                    <a:lnTo>
                      <a:pt x="158" y="128"/>
                    </a:lnTo>
                    <a:lnTo>
                      <a:pt x="158" y="126"/>
                    </a:lnTo>
                    <a:lnTo>
                      <a:pt x="156" y="126"/>
                    </a:lnTo>
                    <a:lnTo>
                      <a:pt x="154" y="126"/>
                    </a:lnTo>
                    <a:lnTo>
                      <a:pt x="152" y="126"/>
                    </a:lnTo>
                    <a:lnTo>
                      <a:pt x="148" y="124"/>
                    </a:lnTo>
                    <a:lnTo>
                      <a:pt x="144" y="124"/>
                    </a:lnTo>
                    <a:lnTo>
                      <a:pt x="140" y="124"/>
                    </a:lnTo>
                    <a:lnTo>
                      <a:pt x="140" y="122"/>
                    </a:lnTo>
                    <a:lnTo>
                      <a:pt x="138" y="122"/>
                    </a:lnTo>
                    <a:lnTo>
                      <a:pt x="138" y="122"/>
                    </a:lnTo>
                    <a:lnTo>
                      <a:pt x="136" y="120"/>
                    </a:lnTo>
                    <a:lnTo>
                      <a:pt x="136" y="120"/>
                    </a:lnTo>
                    <a:lnTo>
                      <a:pt x="136" y="120"/>
                    </a:lnTo>
                    <a:lnTo>
                      <a:pt x="136" y="118"/>
                    </a:lnTo>
                    <a:lnTo>
                      <a:pt x="136" y="116"/>
                    </a:lnTo>
                    <a:lnTo>
                      <a:pt x="136" y="116"/>
                    </a:lnTo>
                    <a:lnTo>
                      <a:pt x="136" y="112"/>
                    </a:lnTo>
                    <a:lnTo>
                      <a:pt x="136" y="112"/>
                    </a:lnTo>
                    <a:lnTo>
                      <a:pt x="136" y="110"/>
                    </a:lnTo>
                    <a:lnTo>
                      <a:pt x="136" y="108"/>
                    </a:lnTo>
                    <a:lnTo>
                      <a:pt x="136" y="108"/>
                    </a:lnTo>
                    <a:lnTo>
                      <a:pt x="134" y="104"/>
                    </a:lnTo>
                    <a:lnTo>
                      <a:pt x="130" y="100"/>
                    </a:lnTo>
                    <a:lnTo>
                      <a:pt x="130" y="98"/>
                    </a:lnTo>
                    <a:lnTo>
                      <a:pt x="128" y="98"/>
                    </a:lnTo>
                    <a:lnTo>
                      <a:pt x="128" y="96"/>
                    </a:lnTo>
                    <a:lnTo>
                      <a:pt x="128" y="94"/>
                    </a:lnTo>
                    <a:lnTo>
                      <a:pt x="128" y="88"/>
                    </a:lnTo>
                    <a:lnTo>
                      <a:pt x="128" y="86"/>
                    </a:lnTo>
                    <a:lnTo>
                      <a:pt x="128" y="84"/>
                    </a:lnTo>
                    <a:lnTo>
                      <a:pt x="128" y="82"/>
                    </a:lnTo>
                    <a:lnTo>
                      <a:pt x="128" y="82"/>
                    </a:lnTo>
                    <a:lnTo>
                      <a:pt x="128" y="80"/>
                    </a:lnTo>
                    <a:lnTo>
                      <a:pt x="128" y="80"/>
                    </a:lnTo>
                    <a:lnTo>
                      <a:pt x="126" y="78"/>
                    </a:lnTo>
                    <a:lnTo>
                      <a:pt x="126" y="76"/>
                    </a:lnTo>
                    <a:lnTo>
                      <a:pt x="124" y="74"/>
                    </a:lnTo>
                    <a:lnTo>
                      <a:pt x="122" y="72"/>
                    </a:lnTo>
                    <a:lnTo>
                      <a:pt x="118" y="70"/>
                    </a:lnTo>
                    <a:lnTo>
                      <a:pt x="116" y="68"/>
                    </a:lnTo>
                    <a:lnTo>
                      <a:pt x="112" y="64"/>
                    </a:lnTo>
                    <a:lnTo>
                      <a:pt x="110" y="64"/>
                    </a:lnTo>
                    <a:lnTo>
                      <a:pt x="108" y="62"/>
                    </a:lnTo>
                    <a:lnTo>
                      <a:pt x="102" y="60"/>
                    </a:lnTo>
                    <a:lnTo>
                      <a:pt x="96" y="56"/>
                    </a:lnTo>
                    <a:lnTo>
                      <a:pt x="94" y="54"/>
                    </a:lnTo>
                    <a:lnTo>
                      <a:pt x="92" y="54"/>
                    </a:lnTo>
                    <a:lnTo>
                      <a:pt x="90" y="52"/>
                    </a:lnTo>
                    <a:lnTo>
                      <a:pt x="86" y="48"/>
                    </a:lnTo>
                    <a:lnTo>
                      <a:pt x="78" y="42"/>
                    </a:lnTo>
                    <a:lnTo>
                      <a:pt x="74" y="38"/>
                    </a:lnTo>
                    <a:lnTo>
                      <a:pt x="72" y="34"/>
                    </a:lnTo>
                    <a:lnTo>
                      <a:pt x="68" y="32"/>
                    </a:lnTo>
                    <a:lnTo>
                      <a:pt x="66" y="30"/>
                    </a:lnTo>
                    <a:lnTo>
                      <a:pt x="64" y="3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0" name="Freeform 198">
                <a:extLst>
                  <a:ext uri="{FF2B5EF4-FFF2-40B4-BE49-F238E27FC236}">
                    <a16:creationId xmlns:a16="http://schemas.microsoft.com/office/drawing/2014/main" id="{F8A036B1-FCE3-44DD-958F-3BBF09809F50}"/>
                  </a:ext>
                </a:extLst>
              </p:cNvPr>
              <p:cNvSpPr>
                <a:spLocks/>
              </p:cNvSpPr>
              <p:nvPr/>
            </p:nvSpPr>
            <p:spPr bwMode="auto">
              <a:xfrm>
                <a:off x="6739228" y="4819817"/>
                <a:ext cx="38100" cy="41275"/>
              </a:xfrm>
              <a:custGeom>
                <a:avLst/>
                <a:gdLst>
                  <a:gd name="T0" fmla="*/ 0 w 24"/>
                  <a:gd name="T1" fmla="*/ 0 h 26"/>
                  <a:gd name="T2" fmla="*/ 0 w 24"/>
                  <a:gd name="T3" fmla="*/ 0 h 26"/>
                  <a:gd name="T4" fmla="*/ 0 w 24"/>
                  <a:gd name="T5" fmla="*/ 0 h 26"/>
                  <a:gd name="T6" fmla="*/ 0 w 24"/>
                  <a:gd name="T7" fmla="*/ 2 h 26"/>
                  <a:gd name="T8" fmla="*/ 2 w 24"/>
                  <a:gd name="T9" fmla="*/ 2 h 26"/>
                  <a:gd name="T10" fmla="*/ 2 w 24"/>
                  <a:gd name="T11" fmla="*/ 2 h 26"/>
                  <a:gd name="T12" fmla="*/ 4 w 24"/>
                  <a:gd name="T13" fmla="*/ 2 h 26"/>
                  <a:gd name="T14" fmla="*/ 6 w 24"/>
                  <a:gd name="T15" fmla="*/ 2 h 26"/>
                  <a:gd name="T16" fmla="*/ 8 w 24"/>
                  <a:gd name="T17" fmla="*/ 2 h 26"/>
                  <a:gd name="T18" fmla="*/ 10 w 24"/>
                  <a:gd name="T19" fmla="*/ 2 h 26"/>
                  <a:gd name="T20" fmla="*/ 12 w 24"/>
                  <a:gd name="T21" fmla="*/ 2 h 26"/>
                  <a:gd name="T22" fmla="*/ 12 w 24"/>
                  <a:gd name="T23" fmla="*/ 2 h 26"/>
                  <a:gd name="T24" fmla="*/ 12 w 24"/>
                  <a:gd name="T25" fmla="*/ 2 h 26"/>
                  <a:gd name="T26" fmla="*/ 14 w 24"/>
                  <a:gd name="T27" fmla="*/ 4 h 26"/>
                  <a:gd name="T28" fmla="*/ 16 w 24"/>
                  <a:gd name="T29" fmla="*/ 6 h 26"/>
                  <a:gd name="T30" fmla="*/ 18 w 24"/>
                  <a:gd name="T31" fmla="*/ 8 h 26"/>
                  <a:gd name="T32" fmla="*/ 20 w 24"/>
                  <a:gd name="T33" fmla="*/ 10 h 26"/>
                  <a:gd name="T34" fmla="*/ 20 w 24"/>
                  <a:gd name="T35" fmla="*/ 12 h 26"/>
                  <a:gd name="T36" fmla="*/ 22 w 24"/>
                  <a:gd name="T37" fmla="*/ 14 h 26"/>
                  <a:gd name="T38" fmla="*/ 22 w 24"/>
                  <a:gd name="T39" fmla="*/ 16 h 26"/>
                  <a:gd name="T40" fmla="*/ 24 w 24"/>
                  <a:gd name="T41" fmla="*/ 18 h 26"/>
                  <a:gd name="T42" fmla="*/ 24 w 24"/>
                  <a:gd name="T43" fmla="*/ 20 h 26"/>
                  <a:gd name="T44" fmla="*/ 24 w 24"/>
                  <a:gd name="T45" fmla="*/ 22 h 26"/>
                  <a:gd name="T46" fmla="*/ 24 w 24"/>
                  <a:gd name="T47" fmla="*/ 22 h 26"/>
                  <a:gd name="T48" fmla="*/ 24 w 24"/>
                  <a:gd name="T49" fmla="*/ 22 h 26"/>
                  <a:gd name="T50" fmla="*/ 24 w 24"/>
                  <a:gd name="T51" fmla="*/ 24 h 26"/>
                  <a:gd name="T52" fmla="*/ 24 w 24"/>
                  <a:gd name="T53" fmla="*/ 24 h 26"/>
                  <a:gd name="T54" fmla="*/ 24 w 24"/>
                  <a:gd name="T55" fmla="*/ 24 h 26"/>
                  <a:gd name="T56" fmla="*/ 24 w 24"/>
                  <a:gd name="T57" fmla="*/ 24 h 26"/>
                  <a:gd name="T58" fmla="*/ 22 w 24"/>
                  <a:gd name="T59" fmla="*/ 26 h 26"/>
                  <a:gd name="T60" fmla="*/ 22 w 24"/>
                  <a:gd name="T61" fmla="*/ 26 h 26"/>
                  <a:gd name="T62" fmla="*/ 20 w 24"/>
                  <a:gd name="T63" fmla="*/ 26 h 26"/>
                  <a:gd name="T64" fmla="*/ 18 w 24"/>
                  <a:gd name="T65" fmla="*/ 26 h 26"/>
                  <a:gd name="T66" fmla="*/ 16 w 24"/>
                  <a:gd name="T67" fmla="*/ 26 h 26"/>
                  <a:gd name="T68" fmla="*/ 16 w 24"/>
                  <a:gd name="T69" fmla="*/ 26 h 26"/>
                  <a:gd name="T70" fmla="*/ 14 w 24"/>
                  <a:gd name="T71" fmla="*/ 26 h 26"/>
                  <a:gd name="T72" fmla="*/ 14 w 24"/>
                  <a:gd name="T73" fmla="*/ 26 h 26"/>
                  <a:gd name="T74" fmla="*/ 12 w 24"/>
                  <a:gd name="T75" fmla="*/ 24 h 26"/>
                  <a:gd name="T76" fmla="*/ 10 w 24"/>
                  <a:gd name="T77" fmla="*/ 24 h 26"/>
                  <a:gd name="T78" fmla="*/ 8 w 24"/>
                  <a:gd name="T79" fmla="*/ 22 h 26"/>
                  <a:gd name="T80" fmla="*/ 6 w 24"/>
                  <a:gd name="T81" fmla="*/ 20 h 26"/>
                  <a:gd name="T82" fmla="*/ 4 w 24"/>
                  <a:gd name="T83" fmla="*/ 16 h 26"/>
                  <a:gd name="T84" fmla="*/ 2 w 24"/>
                  <a:gd name="T85" fmla="*/ 14 h 26"/>
                  <a:gd name="T86" fmla="*/ 0 w 24"/>
                  <a:gd name="T87" fmla="*/ 12 h 26"/>
                  <a:gd name="T88" fmla="*/ 0 w 24"/>
                  <a:gd name="T89" fmla="*/ 10 h 26"/>
                  <a:gd name="T90" fmla="*/ 0 w 24"/>
                  <a:gd name="T91" fmla="*/ 10 h 26"/>
                  <a:gd name="T92" fmla="*/ 0 w 24"/>
                  <a:gd name="T93" fmla="*/ 10 h 26"/>
                  <a:gd name="T94" fmla="*/ 0 w 24"/>
                  <a:gd name="T95" fmla="*/ 8 h 26"/>
                  <a:gd name="T96" fmla="*/ 0 w 24"/>
                  <a:gd name="T97" fmla="*/ 6 h 26"/>
                  <a:gd name="T98" fmla="*/ 0 w 24"/>
                  <a:gd name="T99" fmla="*/ 2 h 26"/>
                  <a:gd name="T100" fmla="*/ 0 w 24"/>
                  <a:gd name="T101" fmla="*/ 2 h 26"/>
                  <a:gd name="T102" fmla="*/ 0 w 24"/>
                  <a:gd name="T10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 h="26">
                    <a:moveTo>
                      <a:pt x="0" y="0"/>
                    </a:moveTo>
                    <a:lnTo>
                      <a:pt x="0" y="0"/>
                    </a:lnTo>
                    <a:lnTo>
                      <a:pt x="0" y="0"/>
                    </a:lnTo>
                    <a:lnTo>
                      <a:pt x="0" y="2"/>
                    </a:lnTo>
                    <a:lnTo>
                      <a:pt x="2" y="2"/>
                    </a:lnTo>
                    <a:lnTo>
                      <a:pt x="2" y="2"/>
                    </a:lnTo>
                    <a:lnTo>
                      <a:pt x="4" y="2"/>
                    </a:lnTo>
                    <a:lnTo>
                      <a:pt x="6" y="2"/>
                    </a:lnTo>
                    <a:lnTo>
                      <a:pt x="8" y="2"/>
                    </a:lnTo>
                    <a:lnTo>
                      <a:pt x="10" y="2"/>
                    </a:lnTo>
                    <a:lnTo>
                      <a:pt x="12" y="2"/>
                    </a:lnTo>
                    <a:lnTo>
                      <a:pt x="12" y="2"/>
                    </a:lnTo>
                    <a:lnTo>
                      <a:pt x="12" y="2"/>
                    </a:lnTo>
                    <a:lnTo>
                      <a:pt x="14" y="4"/>
                    </a:lnTo>
                    <a:lnTo>
                      <a:pt x="16" y="6"/>
                    </a:lnTo>
                    <a:lnTo>
                      <a:pt x="18" y="8"/>
                    </a:lnTo>
                    <a:lnTo>
                      <a:pt x="20" y="10"/>
                    </a:lnTo>
                    <a:lnTo>
                      <a:pt x="20" y="12"/>
                    </a:lnTo>
                    <a:lnTo>
                      <a:pt x="22" y="14"/>
                    </a:lnTo>
                    <a:lnTo>
                      <a:pt x="22" y="16"/>
                    </a:lnTo>
                    <a:lnTo>
                      <a:pt x="24" y="18"/>
                    </a:lnTo>
                    <a:lnTo>
                      <a:pt x="24" y="20"/>
                    </a:lnTo>
                    <a:lnTo>
                      <a:pt x="24" y="22"/>
                    </a:lnTo>
                    <a:lnTo>
                      <a:pt x="24" y="22"/>
                    </a:lnTo>
                    <a:lnTo>
                      <a:pt x="24" y="22"/>
                    </a:lnTo>
                    <a:lnTo>
                      <a:pt x="24" y="24"/>
                    </a:lnTo>
                    <a:lnTo>
                      <a:pt x="24" y="24"/>
                    </a:lnTo>
                    <a:lnTo>
                      <a:pt x="24" y="24"/>
                    </a:lnTo>
                    <a:lnTo>
                      <a:pt x="24" y="24"/>
                    </a:lnTo>
                    <a:lnTo>
                      <a:pt x="22" y="26"/>
                    </a:lnTo>
                    <a:lnTo>
                      <a:pt x="22" y="26"/>
                    </a:lnTo>
                    <a:lnTo>
                      <a:pt x="20" y="26"/>
                    </a:lnTo>
                    <a:lnTo>
                      <a:pt x="18" y="26"/>
                    </a:lnTo>
                    <a:lnTo>
                      <a:pt x="16" y="26"/>
                    </a:lnTo>
                    <a:lnTo>
                      <a:pt x="16" y="26"/>
                    </a:lnTo>
                    <a:lnTo>
                      <a:pt x="14" y="26"/>
                    </a:lnTo>
                    <a:lnTo>
                      <a:pt x="14" y="26"/>
                    </a:lnTo>
                    <a:lnTo>
                      <a:pt x="12" y="24"/>
                    </a:lnTo>
                    <a:lnTo>
                      <a:pt x="10" y="24"/>
                    </a:lnTo>
                    <a:lnTo>
                      <a:pt x="8" y="22"/>
                    </a:lnTo>
                    <a:lnTo>
                      <a:pt x="6" y="20"/>
                    </a:lnTo>
                    <a:lnTo>
                      <a:pt x="4" y="16"/>
                    </a:lnTo>
                    <a:lnTo>
                      <a:pt x="2" y="14"/>
                    </a:lnTo>
                    <a:lnTo>
                      <a:pt x="0" y="12"/>
                    </a:lnTo>
                    <a:lnTo>
                      <a:pt x="0" y="10"/>
                    </a:lnTo>
                    <a:lnTo>
                      <a:pt x="0" y="10"/>
                    </a:lnTo>
                    <a:lnTo>
                      <a:pt x="0" y="10"/>
                    </a:lnTo>
                    <a:lnTo>
                      <a:pt x="0" y="8"/>
                    </a:lnTo>
                    <a:lnTo>
                      <a:pt x="0" y="6"/>
                    </a:lnTo>
                    <a:lnTo>
                      <a:pt x="0" y="2"/>
                    </a:lnTo>
                    <a:lnTo>
                      <a:pt x="0" y="2"/>
                    </a:lnTo>
                    <a:lnTo>
                      <a:pt x="0" y="0"/>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1" name="Freeform 200">
                <a:extLst>
                  <a:ext uri="{FF2B5EF4-FFF2-40B4-BE49-F238E27FC236}">
                    <a16:creationId xmlns:a16="http://schemas.microsoft.com/office/drawing/2014/main" id="{401035EB-1DE6-4F92-ABE6-DAF3466AE029}"/>
                  </a:ext>
                </a:extLst>
              </p:cNvPr>
              <p:cNvSpPr>
                <a:spLocks/>
              </p:cNvSpPr>
              <p:nvPr/>
            </p:nvSpPr>
            <p:spPr bwMode="auto">
              <a:xfrm>
                <a:off x="6742403" y="4937292"/>
                <a:ext cx="215900" cy="76200"/>
              </a:xfrm>
              <a:custGeom>
                <a:avLst/>
                <a:gdLst>
                  <a:gd name="T0" fmla="*/ 16 w 136"/>
                  <a:gd name="T1" fmla="*/ 2 h 48"/>
                  <a:gd name="T2" fmla="*/ 8 w 136"/>
                  <a:gd name="T3" fmla="*/ 6 h 48"/>
                  <a:gd name="T4" fmla="*/ 4 w 136"/>
                  <a:gd name="T5" fmla="*/ 10 h 48"/>
                  <a:gd name="T6" fmla="*/ 0 w 136"/>
                  <a:gd name="T7" fmla="*/ 14 h 48"/>
                  <a:gd name="T8" fmla="*/ 0 w 136"/>
                  <a:gd name="T9" fmla="*/ 16 h 48"/>
                  <a:gd name="T10" fmla="*/ 0 w 136"/>
                  <a:gd name="T11" fmla="*/ 20 h 48"/>
                  <a:gd name="T12" fmla="*/ 4 w 136"/>
                  <a:gd name="T13" fmla="*/ 26 h 48"/>
                  <a:gd name="T14" fmla="*/ 8 w 136"/>
                  <a:gd name="T15" fmla="*/ 30 h 48"/>
                  <a:gd name="T16" fmla="*/ 12 w 136"/>
                  <a:gd name="T17" fmla="*/ 32 h 48"/>
                  <a:gd name="T18" fmla="*/ 22 w 136"/>
                  <a:gd name="T19" fmla="*/ 30 h 48"/>
                  <a:gd name="T20" fmla="*/ 32 w 136"/>
                  <a:gd name="T21" fmla="*/ 30 h 48"/>
                  <a:gd name="T22" fmla="*/ 36 w 136"/>
                  <a:gd name="T23" fmla="*/ 30 h 48"/>
                  <a:gd name="T24" fmla="*/ 42 w 136"/>
                  <a:gd name="T25" fmla="*/ 34 h 48"/>
                  <a:gd name="T26" fmla="*/ 46 w 136"/>
                  <a:gd name="T27" fmla="*/ 36 h 48"/>
                  <a:gd name="T28" fmla="*/ 54 w 136"/>
                  <a:gd name="T29" fmla="*/ 36 h 48"/>
                  <a:gd name="T30" fmla="*/ 62 w 136"/>
                  <a:gd name="T31" fmla="*/ 34 h 48"/>
                  <a:gd name="T32" fmla="*/ 66 w 136"/>
                  <a:gd name="T33" fmla="*/ 34 h 48"/>
                  <a:gd name="T34" fmla="*/ 68 w 136"/>
                  <a:gd name="T35" fmla="*/ 36 h 48"/>
                  <a:gd name="T36" fmla="*/ 70 w 136"/>
                  <a:gd name="T37" fmla="*/ 40 h 48"/>
                  <a:gd name="T38" fmla="*/ 70 w 136"/>
                  <a:gd name="T39" fmla="*/ 44 h 48"/>
                  <a:gd name="T40" fmla="*/ 70 w 136"/>
                  <a:gd name="T41" fmla="*/ 46 h 48"/>
                  <a:gd name="T42" fmla="*/ 72 w 136"/>
                  <a:gd name="T43" fmla="*/ 48 h 48"/>
                  <a:gd name="T44" fmla="*/ 78 w 136"/>
                  <a:gd name="T45" fmla="*/ 48 h 48"/>
                  <a:gd name="T46" fmla="*/ 88 w 136"/>
                  <a:gd name="T47" fmla="*/ 48 h 48"/>
                  <a:gd name="T48" fmla="*/ 102 w 136"/>
                  <a:gd name="T49" fmla="*/ 46 h 48"/>
                  <a:gd name="T50" fmla="*/ 112 w 136"/>
                  <a:gd name="T51" fmla="*/ 46 h 48"/>
                  <a:gd name="T52" fmla="*/ 130 w 136"/>
                  <a:gd name="T53" fmla="*/ 46 h 48"/>
                  <a:gd name="T54" fmla="*/ 134 w 136"/>
                  <a:gd name="T55" fmla="*/ 46 h 48"/>
                  <a:gd name="T56" fmla="*/ 134 w 136"/>
                  <a:gd name="T57" fmla="*/ 46 h 48"/>
                  <a:gd name="T58" fmla="*/ 136 w 136"/>
                  <a:gd name="T59" fmla="*/ 42 h 48"/>
                  <a:gd name="T60" fmla="*/ 136 w 136"/>
                  <a:gd name="T61" fmla="*/ 36 h 48"/>
                  <a:gd name="T62" fmla="*/ 134 w 136"/>
                  <a:gd name="T63" fmla="*/ 34 h 48"/>
                  <a:gd name="T64" fmla="*/ 132 w 136"/>
                  <a:gd name="T65" fmla="*/ 32 h 48"/>
                  <a:gd name="T66" fmla="*/ 126 w 136"/>
                  <a:gd name="T67" fmla="*/ 30 h 48"/>
                  <a:gd name="T68" fmla="*/ 122 w 136"/>
                  <a:gd name="T69" fmla="*/ 28 h 48"/>
                  <a:gd name="T70" fmla="*/ 122 w 136"/>
                  <a:gd name="T71" fmla="*/ 28 h 48"/>
                  <a:gd name="T72" fmla="*/ 122 w 136"/>
                  <a:gd name="T73" fmla="*/ 24 h 48"/>
                  <a:gd name="T74" fmla="*/ 124 w 136"/>
                  <a:gd name="T75" fmla="*/ 18 h 48"/>
                  <a:gd name="T76" fmla="*/ 124 w 136"/>
                  <a:gd name="T77" fmla="*/ 16 h 48"/>
                  <a:gd name="T78" fmla="*/ 122 w 136"/>
                  <a:gd name="T79" fmla="*/ 16 h 48"/>
                  <a:gd name="T80" fmla="*/ 120 w 136"/>
                  <a:gd name="T81" fmla="*/ 16 h 48"/>
                  <a:gd name="T82" fmla="*/ 112 w 136"/>
                  <a:gd name="T83" fmla="*/ 18 h 48"/>
                  <a:gd name="T84" fmla="*/ 104 w 136"/>
                  <a:gd name="T85" fmla="*/ 18 h 48"/>
                  <a:gd name="T86" fmla="*/ 96 w 136"/>
                  <a:gd name="T87" fmla="*/ 16 h 48"/>
                  <a:gd name="T88" fmla="*/ 88 w 136"/>
                  <a:gd name="T89" fmla="*/ 12 h 48"/>
                  <a:gd name="T90" fmla="*/ 82 w 136"/>
                  <a:gd name="T91" fmla="*/ 8 h 48"/>
                  <a:gd name="T92" fmla="*/ 74 w 136"/>
                  <a:gd name="T93" fmla="*/ 8 h 48"/>
                  <a:gd name="T94" fmla="*/ 64 w 136"/>
                  <a:gd name="T95" fmla="*/ 8 h 48"/>
                  <a:gd name="T96" fmla="*/ 56 w 136"/>
                  <a:gd name="T97" fmla="*/ 6 h 48"/>
                  <a:gd name="T98" fmla="*/ 44 w 136"/>
                  <a:gd name="T99" fmla="*/ 0 h 48"/>
                  <a:gd name="T100" fmla="*/ 38 w 136"/>
                  <a:gd name="T101" fmla="*/ 0 h 48"/>
                  <a:gd name="T102" fmla="*/ 30 w 136"/>
                  <a:gd name="T103" fmla="*/ 0 h 48"/>
                  <a:gd name="T104" fmla="*/ 20 w 136"/>
                  <a:gd name="T10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6" h="48">
                    <a:moveTo>
                      <a:pt x="20" y="0"/>
                    </a:moveTo>
                    <a:lnTo>
                      <a:pt x="20" y="0"/>
                    </a:lnTo>
                    <a:lnTo>
                      <a:pt x="16" y="2"/>
                    </a:lnTo>
                    <a:lnTo>
                      <a:pt x="14" y="2"/>
                    </a:lnTo>
                    <a:lnTo>
                      <a:pt x="10" y="4"/>
                    </a:lnTo>
                    <a:lnTo>
                      <a:pt x="8" y="6"/>
                    </a:lnTo>
                    <a:lnTo>
                      <a:pt x="8" y="6"/>
                    </a:lnTo>
                    <a:lnTo>
                      <a:pt x="6" y="8"/>
                    </a:lnTo>
                    <a:lnTo>
                      <a:pt x="4" y="10"/>
                    </a:lnTo>
                    <a:lnTo>
                      <a:pt x="2" y="10"/>
                    </a:lnTo>
                    <a:lnTo>
                      <a:pt x="2" y="12"/>
                    </a:lnTo>
                    <a:lnTo>
                      <a:pt x="0" y="14"/>
                    </a:lnTo>
                    <a:lnTo>
                      <a:pt x="0" y="14"/>
                    </a:lnTo>
                    <a:lnTo>
                      <a:pt x="0" y="16"/>
                    </a:lnTo>
                    <a:lnTo>
                      <a:pt x="0" y="16"/>
                    </a:lnTo>
                    <a:lnTo>
                      <a:pt x="0" y="18"/>
                    </a:lnTo>
                    <a:lnTo>
                      <a:pt x="0" y="18"/>
                    </a:lnTo>
                    <a:lnTo>
                      <a:pt x="0" y="20"/>
                    </a:lnTo>
                    <a:lnTo>
                      <a:pt x="2" y="22"/>
                    </a:lnTo>
                    <a:lnTo>
                      <a:pt x="2" y="24"/>
                    </a:lnTo>
                    <a:lnTo>
                      <a:pt x="4" y="26"/>
                    </a:lnTo>
                    <a:lnTo>
                      <a:pt x="6" y="28"/>
                    </a:lnTo>
                    <a:lnTo>
                      <a:pt x="8" y="30"/>
                    </a:lnTo>
                    <a:lnTo>
                      <a:pt x="8" y="30"/>
                    </a:lnTo>
                    <a:lnTo>
                      <a:pt x="10" y="30"/>
                    </a:lnTo>
                    <a:lnTo>
                      <a:pt x="10" y="32"/>
                    </a:lnTo>
                    <a:lnTo>
                      <a:pt x="12" y="32"/>
                    </a:lnTo>
                    <a:lnTo>
                      <a:pt x="14" y="32"/>
                    </a:lnTo>
                    <a:lnTo>
                      <a:pt x="18" y="32"/>
                    </a:lnTo>
                    <a:lnTo>
                      <a:pt x="22" y="30"/>
                    </a:lnTo>
                    <a:lnTo>
                      <a:pt x="26" y="30"/>
                    </a:lnTo>
                    <a:lnTo>
                      <a:pt x="28" y="30"/>
                    </a:lnTo>
                    <a:lnTo>
                      <a:pt x="32" y="30"/>
                    </a:lnTo>
                    <a:lnTo>
                      <a:pt x="34" y="30"/>
                    </a:lnTo>
                    <a:lnTo>
                      <a:pt x="34" y="30"/>
                    </a:lnTo>
                    <a:lnTo>
                      <a:pt x="36" y="30"/>
                    </a:lnTo>
                    <a:lnTo>
                      <a:pt x="38" y="32"/>
                    </a:lnTo>
                    <a:lnTo>
                      <a:pt x="40" y="32"/>
                    </a:lnTo>
                    <a:lnTo>
                      <a:pt x="42" y="34"/>
                    </a:lnTo>
                    <a:lnTo>
                      <a:pt x="44" y="36"/>
                    </a:lnTo>
                    <a:lnTo>
                      <a:pt x="44" y="36"/>
                    </a:lnTo>
                    <a:lnTo>
                      <a:pt x="46" y="36"/>
                    </a:lnTo>
                    <a:lnTo>
                      <a:pt x="48" y="36"/>
                    </a:lnTo>
                    <a:lnTo>
                      <a:pt x="50" y="36"/>
                    </a:lnTo>
                    <a:lnTo>
                      <a:pt x="54" y="36"/>
                    </a:lnTo>
                    <a:lnTo>
                      <a:pt x="58" y="34"/>
                    </a:lnTo>
                    <a:lnTo>
                      <a:pt x="60" y="34"/>
                    </a:lnTo>
                    <a:lnTo>
                      <a:pt x="62" y="34"/>
                    </a:lnTo>
                    <a:lnTo>
                      <a:pt x="64" y="34"/>
                    </a:lnTo>
                    <a:lnTo>
                      <a:pt x="66" y="34"/>
                    </a:lnTo>
                    <a:lnTo>
                      <a:pt x="66" y="34"/>
                    </a:lnTo>
                    <a:lnTo>
                      <a:pt x="68" y="34"/>
                    </a:lnTo>
                    <a:lnTo>
                      <a:pt x="68" y="36"/>
                    </a:lnTo>
                    <a:lnTo>
                      <a:pt x="68" y="36"/>
                    </a:lnTo>
                    <a:lnTo>
                      <a:pt x="70" y="36"/>
                    </a:lnTo>
                    <a:lnTo>
                      <a:pt x="70" y="38"/>
                    </a:lnTo>
                    <a:lnTo>
                      <a:pt x="70" y="40"/>
                    </a:lnTo>
                    <a:lnTo>
                      <a:pt x="70" y="40"/>
                    </a:lnTo>
                    <a:lnTo>
                      <a:pt x="70" y="42"/>
                    </a:lnTo>
                    <a:lnTo>
                      <a:pt x="70" y="44"/>
                    </a:lnTo>
                    <a:lnTo>
                      <a:pt x="70" y="44"/>
                    </a:lnTo>
                    <a:lnTo>
                      <a:pt x="70" y="46"/>
                    </a:lnTo>
                    <a:lnTo>
                      <a:pt x="70" y="46"/>
                    </a:lnTo>
                    <a:lnTo>
                      <a:pt x="70" y="46"/>
                    </a:lnTo>
                    <a:lnTo>
                      <a:pt x="72" y="46"/>
                    </a:lnTo>
                    <a:lnTo>
                      <a:pt x="72" y="48"/>
                    </a:lnTo>
                    <a:lnTo>
                      <a:pt x="74" y="48"/>
                    </a:lnTo>
                    <a:lnTo>
                      <a:pt x="76" y="48"/>
                    </a:lnTo>
                    <a:lnTo>
                      <a:pt x="78" y="48"/>
                    </a:lnTo>
                    <a:lnTo>
                      <a:pt x="82" y="48"/>
                    </a:lnTo>
                    <a:lnTo>
                      <a:pt x="84" y="48"/>
                    </a:lnTo>
                    <a:lnTo>
                      <a:pt x="88" y="48"/>
                    </a:lnTo>
                    <a:lnTo>
                      <a:pt x="90" y="48"/>
                    </a:lnTo>
                    <a:lnTo>
                      <a:pt x="96" y="48"/>
                    </a:lnTo>
                    <a:lnTo>
                      <a:pt x="102" y="46"/>
                    </a:lnTo>
                    <a:lnTo>
                      <a:pt x="108" y="46"/>
                    </a:lnTo>
                    <a:lnTo>
                      <a:pt x="110" y="46"/>
                    </a:lnTo>
                    <a:lnTo>
                      <a:pt x="112" y="46"/>
                    </a:lnTo>
                    <a:lnTo>
                      <a:pt x="124" y="46"/>
                    </a:lnTo>
                    <a:lnTo>
                      <a:pt x="126" y="46"/>
                    </a:lnTo>
                    <a:lnTo>
                      <a:pt x="130" y="46"/>
                    </a:lnTo>
                    <a:lnTo>
                      <a:pt x="130" y="46"/>
                    </a:lnTo>
                    <a:lnTo>
                      <a:pt x="132" y="46"/>
                    </a:lnTo>
                    <a:lnTo>
                      <a:pt x="134" y="46"/>
                    </a:lnTo>
                    <a:lnTo>
                      <a:pt x="134" y="46"/>
                    </a:lnTo>
                    <a:lnTo>
                      <a:pt x="134" y="46"/>
                    </a:lnTo>
                    <a:lnTo>
                      <a:pt x="134" y="46"/>
                    </a:lnTo>
                    <a:lnTo>
                      <a:pt x="134" y="44"/>
                    </a:lnTo>
                    <a:lnTo>
                      <a:pt x="136" y="44"/>
                    </a:lnTo>
                    <a:lnTo>
                      <a:pt x="136" y="42"/>
                    </a:lnTo>
                    <a:lnTo>
                      <a:pt x="136" y="40"/>
                    </a:lnTo>
                    <a:lnTo>
                      <a:pt x="136" y="38"/>
                    </a:lnTo>
                    <a:lnTo>
                      <a:pt x="136" y="36"/>
                    </a:lnTo>
                    <a:lnTo>
                      <a:pt x="136" y="36"/>
                    </a:lnTo>
                    <a:lnTo>
                      <a:pt x="134" y="34"/>
                    </a:lnTo>
                    <a:lnTo>
                      <a:pt x="134" y="34"/>
                    </a:lnTo>
                    <a:lnTo>
                      <a:pt x="134" y="34"/>
                    </a:lnTo>
                    <a:lnTo>
                      <a:pt x="134" y="32"/>
                    </a:lnTo>
                    <a:lnTo>
                      <a:pt x="132" y="32"/>
                    </a:lnTo>
                    <a:lnTo>
                      <a:pt x="130" y="32"/>
                    </a:lnTo>
                    <a:lnTo>
                      <a:pt x="128" y="30"/>
                    </a:lnTo>
                    <a:lnTo>
                      <a:pt x="126" y="30"/>
                    </a:lnTo>
                    <a:lnTo>
                      <a:pt x="124" y="30"/>
                    </a:lnTo>
                    <a:lnTo>
                      <a:pt x="124" y="30"/>
                    </a:lnTo>
                    <a:lnTo>
                      <a:pt x="122" y="28"/>
                    </a:lnTo>
                    <a:lnTo>
                      <a:pt x="122" y="28"/>
                    </a:lnTo>
                    <a:lnTo>
                      <a:pt x="122" y="28"/>
                    </a:lnTo>
                    <a:lnTo>
                      <a:pt x="122" y="28"/>
                    </a:lnTo>
                    <a:lnTo>
                      <a:pt x="122" y="26"/>
                    </a:lnTo>
                    <a:lnTo>
                      <a:pt x="122" y="26"/>
                    </a:lnTo>
                    <a:lnTo>
                      <a:pt x="122" y="24"/>
                    </a:lnTo>
                    <a:lnTo>
                      <a:pt x="122" y="22"/>
                    </a:lnTo>
                    <a:lnTo>
                      <a:pt x="124" y="20"/>
                    </a:lnTo>
                    <a:lnTo>
                      <a:pt x="124" y="18"/>
                    </a:lnTo>
                    <a:lnTo>
                      <a:pt x="124" y="18"/>
                    </a:lnTo>
                    <a:lnTo>
                      <a:pt x="124" y="18"/>
                    </a:lnTo>
                    <a:lnTo>
                      <a:pt x="124" y="16"/>
                    </a:lnTo>
                    <a:lnTo>
                      <a:pt x="124" y="16"/>
                    </a:lnTo>
                    <a:lnTo>
                      <a:pt x="124" y="16"/>
                    </a:lnTo>
                    <a:lnTo>
                      <a:pt x="122" y="16"/>
                    </a:lnTo>
                    <a:lnTo>
                      <a:pt x="122" y="16"/>
                    </a:lnTo>
                    <a:lnTo>
                      <a:pt x="122" y="16"/>
                    </a:lnTo>
                    <a:lnTo>
                      <a:pt x="120" y="16"/>
                    </a:lnTo>
                    <a:lnTo>
                      <a:pt x="118" y="16"/>
                    </a:lnTo>
                    <a:lnTo>
                      <a:pt x="114" y="18"/>
                    </a:lnTo>
                    <a:lnTo>
                      <a:pt x="112" y="18"/>
                    </a:lnTo>
                    <a:lnTo>
                      <a:pt x="112" y="18"/>
                    </a:lnTo>
                    <a:lnTo>
                      <a:pt x="108" y="18"/>
                    </a:lnTo>
                    <a:lnTo>
                      <a:pt x="104" y="18"/>
                    </a:lnTo>
                    <a:lnTo>
                      <a:pt x="98" y="18"/>
                    </a:lnTo>
                    <a:lnTo>
                      <a:pt x="96" y="16"/>
                    </a:lnTo>
                    <a:lnTo>
                      <a:pt x="96" y="16"/>
                    </a:lnTo>
                    <a:lnTo>
                      <a:pt x="94" y="16"/>
                    </a:lnTo>
                    <a:lnTo>
                      <a:pt x="92" y="14"/>
                    </a:lnTo>
                    <a:lnTo>
                      <a:pt x="88" y="12"/>
                    </a:lnTo>
                    <a:lnTo>
                      <a:pt x="86" y="10"/>
                    </a:lnTo>
                    <a:lnTo>
                      <a:pt x="84" y="10"/>
                    </a:lnTo>
                    <a:lnTo>
                      <a:pt x="82" y="8"/>
                    </a:lnTo>
                    <a:lnTo>
                      <a:pt x="80" y="8"/>
                    </a:lnTo>
                    <a:lnTo>
                      <a:pt x="78" y="8"/>
                    </a:lnTo>
                    <a:lnTo>
                      <a:pt x="74" y="8"/>
                    </a:lnTo>
                    <a:lnTo>
                      <a:pt x="72" y="8"/>
                    </a:lnTo>
                    <a:lnTo>
                      <a:pt x="66" y="8"/>
                    </a:lnTo>
                    <a:lnTo>
                      <a:pt x="64" y="8"/>
                    </a:lnTo>
                    <a:lnTo>
                      <a:pt x="62" y="8"/>
                    </a:lnTo>
                    <a:lnTo>
                      <a:pt x="58" y="6"/>
                    </a:lnTo>
                    <a:lnTo>
                      <a:pt x="56" y="6"/>
                    </a:lnTo>
                    <a:lnTo>
                      <a:pt x="50" y="4"/>
                    </a:lnTo>
                    <a:lnTo>
                      <a:pt x="48" y="2"/>
                    </a:lnTo>
                    <a:lnTo>
                      <a:pt x="44" y="0"/>
                    </a:lnTo>
                    <a:lnTo>
                      <a:pt x="42" y="0"/>
                    </a:lnTo>
                    <a:lnTo>
                      <a:pt x="40" y="0"/>
                    </a:lnTo>
                    <a:lnTo>
                      <a:pt x="38" y="0"/>
                    </a:lnTo>
                    <a:lnTo>
                      <a:pt x="36" y="0"/>
                    </a:lnTo>
                    <a:lnTo>
                      <a:pt x="32" y="0"/>
                    </a:lnTo>
                    <a:lnTo>
                      <a:pt x="30" y="0"/>
                    </a:lnTo>
                    <a:lnTo>
                      <a:pt x="24" y="0"/>
                    </a:lnTo>
                    <a:lnTo>
                      <a:pt x="22" y="0"/>
                    </a:lnTo>
                    <a:lnTo>
                      <a:pt x="20"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2" name="Freeform 202">
                <a:extLst>
                  <a:ext uri="{FF2B5EF4-FFF2-40B4-BE49-F238E27FC236}">
                    <a16:creationId xmlns:a16="http://schemas.microsoft.com/office/drawing/2014/main" id="{D774E028-A4B8-4F4B-A2CA-B123767CEC96}"/>
                  </a:ext>
                </a:extLst>
              </p:cNvPr>
              <p:cNvSpPr>
                <a:spLocks/>
              </p:cNvSpPr>
              <p:nvPr/>
            </p:nvSpPr>
            <p:spPr bwMode="auto">
              <a:xfrm>
                <a:off x="6971003" y="5003967"/>
                <a:ext cx="19050" cy="12700"/>
              </a:xfrm>
              <a:custGeom>
                <a:avLst/>
                <a:gdLst>
                  <a:gd name="T0" fmla="*/ 6 w 12"/>
                  <a:gd name="T1" fmla="*/ 8 h 8"/>
                  <a:gd name="T2" fmla="*/ 6 w 12"/>
                  <a:gd name="T3" fmla="*/ 8 h 8"/>
                  <a:gd name="T4" fmla="*/ 8 w 12"/>
                  <a:gd name="T5" fmla="*/ 8 h 8"/>
                  <a:gd name="T6" fmla="*/ 8 w 12"/>
                  <a:gd name="T7" fmla="*/ 8 h 8"/>
                  <a:gd name="T8" fmla="*/ 10 w 12"/>
                  <a:gd name="T9" fmla="*/ 8 h 8"/>
                  <a:gd name="T10" fmla="*/ 10 w 12"/>
                  <a:gd name="T11" fmla="*/ 6 h 8"/>
                  <a:gd name="T12" fmla="*/ 12 w 12"/>
                  <a:gd name="T13" fmla="*/ 6 h 8"/>
                  <a:gd name="T14" fmla="*/ 12 w 12"/>
                  <a:gd name="T15" fmla="*/ 6 h 8"/>
                  <a:gd name="T16" fmla="*/ 12 w 12"/>
                  <a:gd name="T17" fmla="*/ 4 h 8"/>
                  <a:gd name="T18" fmla="*/ 12 w 12"/>
                  <a:gd name="T19" fmla="*/ 4 h 8"/>
                  <a:gd name="T20" fmla="*/ 12 w 12"/>
                  <a:gd name="T21" fmla="*/ 4 h 8"/>
                  <a:gd name="T22" fmla="*/ 12 w 12"/>
                  <a:gd name="T23" fmla="*/ 2 h 8"/>
                  <a:gd name="T24" fmla="*/ 12 w 12"/>
                  <a:gd name="T25" fmla="*/ 2 h 8"/>
                  <a:gd name="T26" fmla="*/ 10 w 12"/>
                  <a:gd name="T27" fmla="*/ 2 h 8"/>
                  <a:gd name="T28" fmla="*/ 10 w 12"/>
                  <a:gd name="T29" fmla="*/ 0 h 8"/>
                  <a:gd name="T30" fmla="*/ 8 w 12"/>
                  <a:gd name="T31" fmla="*/ 0 h 8"/>
                  <a:gd name="T32" fmla="*/ 8 w 12"/>
                  <a:gd name="T33" fmla="*/ 0 h 8"/>
                  <a:gd name="T34" fmla="*/ 6 w 12"/>
                  <a:gd name="T35" fmla="*/ 0 h 8"/>
                  <a:gd name="T36" fmla="*/ 4 w 12"/>
                  <a:gd name="T37" fmla="*/ 0 h 8"/>
                  <a:gd name="T38" fmla="*/ 4 w 12"/>
                  <a:gd name="T39" fmla="*/ 0 h 8"/>
                  <a:gd name="T40" fmla="*/ 2 w 12"/>
                  <a:gd name="T41" fmla="*/ 0 h 8"/>
                  <a:gd name="T42" fmla="*/ 2 w 12"/>
                  <a:gd name="T43" fmla="*/ 2 h 8"/>
                  <a:gd name="T44" fmla="*/ 0 w 12"/>
                  <a:gd name="T45" fmla="*/ 2 h 8"/>
                  <a:gd name="T46" fmla="*/ 0 w 12"/>
                  <a:gd name="T47" fmla="*/ 2 h 8"/>
                  <a:gd name="T48" fmla="*/ 0 w 12"/>
                  <a:gd name="T49" fmla="*/ 4 h 8"/>
                  <a:gd name="T50" fmla="*/ 0 w 12"/>
                  <a:gd name="T51" fmla="*/ 4 h 8"/>
                  <a:gd name="T52" fmla="*/ 0 w 12"/>
                  <a:gd name="T53" fmla="*/ 4 h 8"/>
                  <a:gd name="T54" fmla="*/ 0 w 12"/>
                  <a:gd name="T55" fmla="*/ 6 h 8"/>
                  <a:gd name="T56" fmla="*/ 0 w 12"/>
                  <a:gd name="T57" fmla="*/ 6 h 8"/>
                  <a:gd name="T58" fmla="*/ 2 w 12"/>
                  <a:gd name="T59" fmla="*/ 6 h 8"/>
                  <a:gd name="T60" fmla="*/ 2 w 12"/>
                  <a:gd name="T61" fmla="*/ 8 h 8"/>
                  <a:gd name="T62" fmla="*/ 4 w 12"/>
                  <a:gd name="T63" fmla="*/ 8 h 8"/>
                  <a:gd name="T64" fmla="*/ 4 w 12"/>
                  <a:gd name="T65" fmla="*/ 8 h 8"/>
                  <a:gd name="T66" fmla="*/ 6 w 12"/>
                  <a:gd name="T6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8">
                    <a:moveTo>
                      <a:pt x="6" y="8"/>
                    </a:moveTo>
                    <a:lnTo>
                      <a:pt x="6" y="8"/>
                    </a:lnTo>
                    <a:lnTo>
                      <a:pt x="8" y="8"/>
                    </a:lnTo>
                    <a:lnTo>
                      <a:pt x="8" y="8"/>
                    </a:lnTo>
                    <a:lnTo>
                      <a:pt x="10" y="8"/>
                    </a:lnTo>
                    <a:lnTo>
                      <a:pt x="10" y="6"/>
                    </a:lnTo>
                    <a:lnTo>
                      <a:pt x="12" y="6"/>
                    </a:lnTo>
                    <a:lnTo>
                      <a:pt x="12" y="6"/>
                    </a:lnTo>
                    <a:lnTo>
                      <a:pt x="12" y="4"/>
                    </a:lnTo>
                    <a:lnTo>
                      <a:pt x="12" y="4"/>
                    </a:lnTo>
                    <a:lnTo>
                      <a:pt x="12" y="4"/>
                    </a:lnTo>
                    <a:lnTo>
                      <a:pt x="12" y="2"/>
                    </a:lnTo>
                    <a:lnTo>
                      <a:pt x="12" y="2"/>
                    </a:lnTo>
                    <a:lnTo>
                      <a:pt x="10" y="2"/>
                    </a:lnTo>
                    <a:lnTo>
                      <a:pt x="10" y="0"/>
                    </a:lnTo>
                    <a:lnTo>
                      <a:pt x="8" y="0"/>
                    </a:lnTo>
                    <a:lnTo>
                      <a:pt x="8" y="0"/>
                    </a:lnTo>
                    <a:lnTo>
                      <a:pt x="6" y="0"/>
                    </a:lnTo>
                    <a:lnTo>
                      <a:pt x="4" y="0"/>
                    </a:lnTo>
                    <a:lnTo>
                      <a:pt x="4" y="0"/>
                    </a:lnTo>
                    <a:lnTo>
                      <a:pt x="2" y="0"/>
                    </a:lnTo>
                    <a:lnTo>
                      <a:pt x="2" y="2"/>
                    </a:lnTo>
                    <a:lnTo>
                      <a:pt x="0" y="2"/>
                    </a:lnTo>
                    <a:lnTo>
                      <a:pt x="0" y="2"/>
                    </a:lnTo>
                    <a:lnTo>
                      <a:pt x="0" y="4"/>
                    </a:lnTo>
                    <a:lnTo>
                      <a:pt x="0" y="4"/>
                    </a:lnTo>
                    <a:lnTo>
                      <a:pt x="0" y="4"/>
                    </a:lnTo>
                    <a:lnTo>
                      <a:pt x="0" y="6"/>
                    </a:lnTo>
                    <a:lnTo>
                      <a:pt x="0" y="6"/>
                    </a:lnTo>
                    <a:lnTo>
                      <a:pt x="2" y="6"/>
                    </a:lnTo>
                    <a:lnTo>
                      <a:pt x="2" y="8"/>
                    </a:lnTo>
                    <a:lnTo>
                      <a:pt x="4" y="8"/>
                    </a:lnTo>
                    <a:lnTo>
                      <a:pt x="4" y="8"/>
                    </a:lnTo>
                    <a:lnTo>
                      <a:pt x="6" y="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3" name="Freeform 204">
                <a:extLst>
                  <a:ext uri="{FF2B5EF4-FFF2-40B4-BE49-F238E27FC236}">
                    <a16:creationId xmlns:a16="http://schemas.microsoft.com/office/drawing/2014/main" id="{A14BC533-C980-42D9-B3AC-3A4B1462129D}"/>
                  </a:ext>
                </a:extLst>
              </p:cNvPr>
              <p:cNvSpPr>
                <a:spLocks/>
              </p:cNvSpPr>
              <p:nvPr/>
            </p:nvSpPr>
            <p:spPr bwMode="auto">
              <a:xfrm>
                <a:off x="6999578" y="5003967"/>
                <a:ext cx="9525" cy="12700"/>
              </a:xfrm>
              <a:custGeom>
                <a:avLst/>
                <a:gdLst>
                  <a:gd name="T0" fmla="*/ 4 w 6"/>
                  <a:gd name="T1" fmla="*/ 8 h 8"/>
                  <a:gd name="T2" fmla="*/ 4 w 6"/>
                  <a:gd name="T3" fmla="*/ 8 h 8"/>
                  <a:gd name="T4" fmla="*/ 2 w 6"/>
                  <a:gd name="T5" fmla="*/ 8 h 8"/>
                  <a:gd name="T6" fmla="*/ 2 w 6"/>
                  <a:gd name="T7" fmla="*/ 8 h 8"/>
                  <a:gd name="T8" fmla="*/ 2 w 6"/>
                  <a:gd name="T9" fmla="*/ 8 h 8"/>
                  <a:gd name="T10" fmla="*/ 2 w 6"/>
                  <a:gd name="T11" fmla="*/ 6 h 8"/>
                  <a:gd name="T12" fmla="*/ 2 w 6"/>
                  <a:gd name="T13" fmla="*/ 6 h 8"/>
                  <a:gd name="T14" fmla="*/ 0 w 6"/>
                  <a:gd name="T15" fmla="*/ 6 h 8"/>
                  <a:gd name="T16" fmla="*/ 0 w 6"/>
                  <a:gd name="T17" fmla="*/ 4 h 8"/>
                  <a:gd name="T18" fmla="*/ 0 w 6"/>
                  <a:gd name="T19" fmla="*/ 4 h 8"/>
                  <a:gd name="T20" fmla="*/ 0 w 6"/>
                  <a:gd name="T21" fmla="*/ 4 h 8"/>
                  <a:gd name="T22" fmla="*/ 0 w 6"/>
                  <a:gd name="T23" fmla="*/ 2 h 8"/>
                  <a:gd name="T24" fmla="*/ 2 w 6"/>
                  <a:gd name="T25" fmla="*/ 2 h 8"/>
                  <a:gd name="T26" fmla="*/ 2 w 6"/>
                  <a:gd name="T27" fmla="*/ 2 h 8"/>
                  <a:gd name="T28" fmla="*/ 2 w 6"/>
                  <a:gd name="T29" fmla="*/ 0 h 8"/>
                  <a:gd name="T30" fmla="*/ 2 w 6"/>
                  <a:gd name="T31" fmla="*/ 0 h 8"/>
                  <a:gd name="T32" fmla="*/ 2 w 6"/>
                  <a:gd name="T33" fmla="*/ 0 h 8"/>
                  <a:gd name="T34" fmla="*/ 4 w 6"/>
                  <a:gd name="T35" fmla="*/ 0 h 8"/>
                  <a:gd name="T36" fmla="*/ 4 w 6"/>
                  <a:gd name="T37" fmla="*/ 0 h 8"/>
                  <a:gd name="T38" fmla="*/ 4 w 6"/>
                  <a:gd name="T39" fmla="*/ 0 h 8"/>
                  <a:gd name="T40" fmla="*/ 4 w 6"/>
                  <a:gd name="T41" fmla="*/ 0 h 8"/>
                  <a:gd name="T42" fmla="*/ 6 w 6"/>
                  <a:gd name="T43" fmla="*/ 2 h 8"/>
                  <a:gd name="T44" fmla="*/ 6 w 6"/>
                  <a:gd name="T45" fmla="*/ 2 h 8"/>
                  <a:gd name="T46" fmla="*/ 6 w 6"/>
                  <a:gd name="T47" fmla="*/ 2 h 8"/>
                  <a:gd name="T48" fmla="*/ 6 w 6"/>
                  <a:gd name="T49" fmla="*/ 4 h 8"/>
                  <a:gd name="T50" fmla="*/ 6 w 6"/>
                  <a:gd name="T51" fmla="*/ 4 h 8"/>
                  <a:gd name="T52" fmla="*/ 6 w 6"/>
                  <a:gd name="T53" fmla="*/ 4 h 8"/>
                  <a:gd name="T54" fmla="*/ 6 w 6"/>
                  <a:gd name="T55" fmla="*/ 6 h 8"/>
                  <a:gd name="T56" fmla="*/ 6 w 6"/>
                  <a:gd name="T57" fmla="*/ 6 h 8"/>
                  <a:gd name="T58" fmla="*/ 6 w 6"/>
                  <a:gd name="T59" fmla="*/ 6 h 8"/>
                  <a:gd name="T60" fmla="*/ 4 w 6"/>
                  <a:gd name="T61" fmla="*/ 8 h 8"/>
                  <a:gd name="T62" fmla="*/ 4 w 6"/>
                  <a:gd name="T63" fmla="*/ 8 h 8"/>
                  <a:gd name="T64" fmla="*/ 4 w 6"/>
                  <a:gd name="T65" fmla="*/ 8 h 8"/>
                  <a:gd name="T66" fmla="*/ 4 w 6"/>
                  <a:gd name="T6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8">
                    <a:moveTo>
                      <a:pt x="4" y="8"/>
                    </a:moveTo>
                    <a:lnTo>
                      <a:pt x="4" y="8"/>
                    </a:lnTo>
                    <a:lnTo>
                      <a:pt x="2" y="8"/>
                    </a:lnTo>
                    <a:lnTo>
                      <a:pt x="2" y="8"/>
                    </a:lnTo>
                    <a:lnTo>
                      <a:pt x="2" y="8"/>
                    </a:lnTo>
                    <a:lnTo>
                      <a:pt x="2" y="6"/>
                    </a:lnTo>
                    <a:lnTo>
                      <a:pt x="2" y="6"/>
                    </a:lnTo>
                    <a:lnTo>
                      <a:pt x="0" y="6"/>
                    </a:lnTo>
                    <a:lnTo>
                      <a:pt x="0" y="4"/>
                    </a:lnTo>
                    <a:lnTo>
                      <a:pt x="0" y="4"/>
                    </a:lnTo>
                    <a:lnTo>
                      <a:pt x="0" y="4"/>
                    </a:lnTo>
                    <a:lnTo>
                      <a:pt x="0" y="2"/>
                    </a:lnTo>
                    <a:lnTo>
                      <a:pt x="2" y="2"/>
                    </a:lnTo>
                    <a:lnTo>
                      <a:pt x="2" y="2"/>
                    </a:lnTo>
                    <a:lnTo>
                      <a:pt x="2" y="0"/>
                    </a:lnTo>
                    <a:lnTo>
                      <a:pt x="2" y="0"/>
                    </a:lnTo>
                    <a:lnTo>
                      <a:pt x="2" y="0"/>
                    </a:lnTo>
                    <a:lnTo>
                      <a:pt x="4" y="0"/>
                    </a:lnTo>
                    <a:lnTo>
                      <a:pt x="4" y="0"/>
                    </a:lnTo>
                    <a:lnTo>
                      <a:pt x="4" y="0"/>
                    </a:lnTo>
                    <a:lnTo>
                      <a:pt x="4" y="0"/>
                    </a:lnTo>
                    <a:lnTo>
                      <a:pt x="6" y="2"/>
                    </a:lnTo>
                    <a:lnTo>
                      <a:pt x="6" y="2"/>
                    </a:lnTo>
                    <a:lnTo>
                      <a:pt x="6" y="2"/>
                    </a:lnTo>
                    <a:lnTo>
                      <a:pt x="6" y="4"/>
                    </a:lnTo>
                    <a:lnTo>
                      <a:pt x="6" y="4"/>
                    </a:lnTo>
                    <a:lnTo>
                      <a:pt x="6" y="4"/>
                    </a:lnTo>
                    <a:lnTo>
                      <a:pt x="6" y="6"/>
                    </a:lnTo>
                    <a:lnTo>
                      <a:pt x="6" y="6"/>
                    </a:lnTo>
                    <a:lnTo>
                      <a:pt x="6" y="6"/>
                    </a:lnTo>
                    <a:lnTo>
                      <a:pt x="4" y="8"/>
                    </a:lnTo>
                    <a:lnTo>
                      <a:pt x="4" y="8"/>
                    </a:lnTo>
                    <a:lnTo>
                      <a:pt x="4" y="8"/>
                    </a:lnTo>
                    <a:lnTo>
                      <a:pt x="4" y="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4" name="Freeform 207">
                <a:extLst>
                  <a:ext uri="{FF2B5EF4-FFF2-40B4-BE49-F238E27FC236}">
                    <a16:creationId xmlns:a16="http://schemas.microsoft.com/office/drawing/2014/main" id="{CF34D9D5-3043-46AF-BEC0-7903CA9EB239}"/>
                  </a:ext>
                </a:extLst>
              </p:cNvPr>
              <p:cNvSpPr>
                <a:spLocks/>
              </p:cNvSpPr>
              <p:nvPr/>
            </p:nvSpPr>
            <p:spPr bwMode="auto">
              <a:xfrm>
                <a:off x="7024978" y="4994442"/>
                <a:ext cx="25400" cy="25400"/>
              </a:xfrm>
              <a:custGeom>
                <a:avLst/>
                <a:gdLst>
                  <a:gd name="T0" fmla="*/ 2 w 16"/>
                  <a:gd name="T1" fmla="*/ 6 h 16"/>
                  <a:gd name="T2" fmla="*/ 2 w 16"/>
                  <a:gd name="T3" fmla="*/ 6 h 16"/>
                  <a:gd name="T4" fmla="*/ 2 w 16"/>
                  <a:gd name="T5" fmla="*/ 6 h 16"/>
                  <a:gd name="T6" fmla="*/ 2 w 16"/>
                  <a:gd name="T7" fmla="*/ 4 h 16"/>
                  <a:gd name="T8" fmla="*/ 4 w 16"/>
                  <a:gd name="T9" fmla="*/ 2 h 16"/>
                  <a:gd name="T10" fmla="*/ 6 w 16"/>
                  <a:gd name="T11" fmla="*/ 2 h 16"/>
                  <a:gd name="T12" fmla="*/ 6 w 16"/>
                  <a:gd name="T13" fmla="*/ 2 h 16"/>
                  <a:gd name="T14" fmla="*/ 8 w 16"/>
                  <a:gd name="T15" fmla="*/ 0 h 16"/>
                  <a:gd name="T16" fmla="*/ 8 w 16"/>
                  <a:gd name="T17" fmla="*/ 0 h 16"/>
                  <a:gd name="T18" fmla="*/ 10 w 16"/>
                  <a:gd name="T19" fmla="*/ 0 h 16"/>
                  <a:gd name="T20" fmla="*/ 10 w 16"/>
                  <a:gd name="T21" fmla="*/ 2 h 16"/>
                  <a:gd name="T22" fmla="*/ 12 w 16"/>
                  <a:gd name="T23" fmla="*/ 2 h 16"/>
                  <a:gd name="T24" fmla="*/ 12 w 16"/>
                  <a:gd name="T25" fmla="*/ 2 h 16"/>
                  <a:gd name="T26" fmla="*/ 14 w 16"/>
                  <a:gd name="T27" fmla="*/ 4 h 16"/>
                  <a:gd name="T28" fmla="*/ 14 w 16"/>
                  <a:gd name="T29" fmla="*/ 4 h 16"/>
                  <a:gd name="T30" fmla="*/ 14 w 16"/>
                  <a:gd name="T31" fmla="*/ 6 h 16"/>
                  <a:gd name="T32" fmla="*/ 16 w 16"/>
                  <a:gd name="T33" fmla="*/ 6 h 16"/>
                  <a:gd name="T34" fmla="*/ 16 w 16"/>
                  <a:gd name="T35" fmla="*/ 6 h 16"/>
                  <a:gd name="T36" fmla="*/ 16 w 16"/>
                  <a:gd name="T37" fmla="*/ 8 h 16"/>
                  <a:gd name="T38" fmla="*/ 16 w 16"/>
                  <a:gd name="T39" fmla="*/ 10 h 16"/>
                  <a:gd name="T40" fmla="*/ 16 w 16"/>
                  <a:gd name="T41" fmla="*/ 10 h 16"/>
                  <a:gd name="T42" fmla="*/ 16 w 16"/>
                  <a:gd name="T43" fmla="*/ 12 h 16"/>
                  <a:gd name="T44" fmla="*/ 16 w 16"/>
                  <a:gd name="T45" fmla="*/ 14 h 16"/>
                  <a:gd name="T46" fmla="*/ 14 w 16"/>
                  <a:gd name="T47" fmla="*/ 14 h 16"/>
                  <a:gd name="T48" fmla="*/ 14 w 16"/>
                  <a:gd name="T49" fmla="*/ 14 h 16"/>
                  <a:gd name="T50" fmla="*/ 14 w 16"/>
                  <a:gd name="T51" fmla="*/ 16 h 16"/>
                  <a:gd name="T52" fmla="*/ 14 w 16"/>
                  <a:gd name="T53" fmla="*/ 16 h 16"/>
                  <a:gd name="T54" fmla="*/ 12 w 16"/>
                  <a:gd name="T55" fmla="*/ 16 h 16"/>
                  <a:gd name="T56" fmla="*/ 12 w 16"/>
                  <a:gd name="T57" fmla="*/ 16 h 16"/>
                  <a:gd name="T58" fmla="*/ 10 w 16"/>
                  <a:gd name="T59" fmla="*/ 16 h 16"/>
                  <a:gd name="T60" fmla="*/ 8 w 16"/>
                  <a:gd name="T61" fmla="*/ 16 h 16"/>
                  <a:gd name="T62" fmla="*/ 6 w 16"/>
                  <a:gd name="T63" fmla="*/ 14 h 16"/>
                  <a:gd name="T64" fmla="*/ 4 w 16"/>
                  <a:gd name="T65" fmla="*/ 14 h 16"/>
                  <a:gd name="T66" fmla="*/ 2 w 16"/>
                  <a:gd name="T67" fmla="*/ 12 h 16"/>
                  <a:gd name="T68" fmla="*/ 0 w 16"/>
                  <a:gd name="T69" fmla="*/ 12 h 16"/>
                  <a:gd name="T70" fmla="*/ 0 w 16"/>
                  <a:gd name="T71" fmla="*/ 12 h 16"/>
                  <a:gd name="T72" fmla="*/ 0 w 16"/>
                  <a:gd name="T73" fmla="*/ 10 h 16"/>
                  <a:gd name="T74" fmla="*/ 0 w 16"/>
                  <a:gd name="T75" fmla="*/ 10 h 16"/>
                  <a:gd name="T76" fmla="*/ 0 w 16"/>
                  <a:gd name="T77" fmla="*/ 10 h 16"/>
                  <a:gd name="T78" fmla="*/ 0 w 16"/>
                  <a:gd name="T79" fmla="*/ 8 h 16"/>
                  <a:gd name="T80" fmla="*/ 0 w 16"/>
                  <a:gd name="T81" fmla="*/ 6 h 16"/>
                  <a:gd name="T82" fmla="*/ 2 w 16"/>
                  <a:gd name="T8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 h="16">
                    <a:moveTo>
                      <a:pt x="2" y="6"/>
                    </a:moveTo>
                    <a:lnTo>
                      <a:pt x="2" y="6"/>
                    </a:lnTo>
                    <a:lnTo>
                      <a:pt x="2" y="6"/>
                    </a:lnTo>
                    <a:lnTo>
                      <a:pt x="2" y="4"/>
                    </a:lnTo>
                    <a:lnTo>
                      <a:pt x="4" y="2"/>
                    </a:lnTo>
                    <a:lnTo>
                      <a:pt x="6" y="2"/>
                    </a:lnTo>
                    <a:lnTo>
                      <a:pt x="6" y="2"/>
                    </a:lnTo>
                    <a:lnTo>
                      <a:pt x="8" y="0"/>
                    </a:lnTo>
                    <a:lnTo>
                      <a:pt x="8" y="0"/>
                    </a:lnTo>
                    <a:lnTo>
                      <a:pt x="10" y="0"/>
                    </a:lnTo>
                    <a:lnTo>
                      <a:pt x="10" y="2"/>
                    </a:lnTo>
                    <a:lnTo>
                      <a:pt x="12" y="2"/>
                    </a:lnTo>
                    <a:lnTo>
                      <a:pt x="12" y="2"/>
                    </a:lnTo>
                    <a:lnTo>
                      <a:pt x="14" y="4"/>
                    </a:lnTo>
                    <a:lnTo>
                      <a:pt x="14" y="4"/>
                    </a:lnTo>
                    <a:lnTo>
                      <a:pt x="14" y="6"/>
                    </a:lnTo>
                    <a:lnTo>
                      <a:pt x="16" y="6"/>
                    </a:lnTo>
                    <a:lnTo>
                      <a:pt x="16" y="6"/>
                    </a:lnTo>
                    <a:lnTo>
                      <a:pt x="16" y="8"/>
                    </a:lnTo>
                    <a:lnTo>
                      <a:pt x="16" y="10"/>
                    </a:lnTo>
                    <a:lnTo>
                      <a:pt x="16" y="10"/>
                    </a:lnTo>
                    <a:lnTo>
                      <a:pt x="16" y="12"/>
                    </a:lnTo>
                    <a:lnTo>
                      <a:pt x="16" y="14"/>
                    </a:lnTo>
                    <a:lnTo>
                      <a:pt x="14" y="14"/>
                    </a:lnTo>
                    <a:lnTo>
                      <a:pt x="14" y="14"/>
                    </a:lnTo>
                    <a:lnTo>
                      <a:pt x="14" y="16"/>
                    </a:lnTo>
                    <a:lnTo>
                      <a:pt x="14" y="16"/>
                    </a:lnTo>
                    <a:lnTo>
                      <a:pt x="12" y="16"/>
                    </a:lnTo>
                    <a:lnTo>
                      <a:pt x="12" y="16"/>
                    </a:lnTo>
                    <a:lnTo>
                      <a:pt x="10" y="16"/>
                    </a:lnTo>
                    <a:lnTo>
                      <a:pt x="8" y="16"/>
                    </a:lnTo>
                    <a:lnTo>
                      <a:pt x="6" y="14"/>
                    </a:lnTo>
                    <a:lnTo>
                      <a:pt x="4" y="14"/>
                    </a:lnTo>
                    <a:lnTo>
                      <a:pt x="2" y="12"/>
                    </a:lnTo>
                    <a:lnTo>
                      <a:pt x="0" y="12"/>
                    </a:lnTo>
                    <a:lnTo>
                      <a:pt x="0" y="12"/>
                    </a:lnTo>
                    <a:lnTo>
                      <a:pt x="0" y="10"/>
                    </a:lnTo>
                    <a:lnTo>
                      <a:pt x="0" y="10"/>
                    </a:lnTo>
                    <a:lnTo>
                      <a:pt x="0" y="10"/>
                    </a:lnTo>
                    <a:lnTo>
                      <a:pt x="0" y="8"/>
                    </a:lnTo>
                    <a:lnTo>
                      <a:pt x="0" y="6"/>
                    </a:lnTo>
                    <a:lnTo>
                      <a:pt x="2" y="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5" name="Freeform 209">
                <a:extLst>
                  <a:ext uri="{FF2B5EF4-FFF2-40B4-BE49-F238E27FC236}">
                    <a16:creationId xmlns:a16="http://schemas.microsoft.com/office/drawing/2014/main" id="{0E06E775-2548-4C07-AAB3-D8B52C6FD6B5}"/>
                  </a:ext>
                </a:extLst>
              </p:cNvPr>
              <p:cNvSpPr>
                <a:spLocks/>
              </p:cNvSpPr>
              <p:nvPr/>
            </p:nvSpPr>
            <p:spPr bwMode="auto">
              <a:xfrm>
                <a:off x="7056728" y="5035717"/>
                <a:ext cx="31750" cy="19050"/>
              </a:xfrm>
              <a:custGeom>
                <a:avLst/>
                <a:gdLst>
                  <a:gd name="T0" fmla="*/ 4 w 20"/>
                  <a:gd name="T1" fmla="*/ 2 h 12"/>
                  <a:gd name="T2" fmla="*/ 4 w 20"/>
                  <a:gd name="T3" fmla="*/ 2 h 12"/>
                  <a:gd name="T4" fmla="*/ 2 w 20"/>
                  <a:gd name="T5" fmla="*/ 2 h 12"/>
                  <a:gd name="T6" fmla="*/ 2 w 20"/>
                  <a:gd name="T7" fmla="*/ 4 h 12"/>
                  <a:gd name="T8" fmla="*/ 2 w 20"/>
                  <a:gd name="T9" fmla="*/ 6 h 12"/>
                  <a:gd name="T10" fmla="*/ 0 w 20"/>
                  <a:gd name="T11" fmla="*/ 8 h 12"/>
                  <a:gd name="T12" fmla="*/ 0 w 20"/>
                  <a:gd name="T13" fmla="*/ 8 h 12"/>
                  <a:gd name="T14" fmla="*/ 0 w 20"/>
                  <a:gd name="T15" fmla="*/ 10 h 12"/>
                  <a:gd name="T16" fmla="*/ 0 w 20"/>
                  <a:gd name="T17" fmla="*/ 12 h 12"/>
                  <a:gd name="T18" fmla="*/ 0 w 20"/>
                  <a:gd name="T19" fmla="*/ 12 h 12"/>
                  <a:gd name="T20" fmla="*/ 0 w 20"/>
                  <a:gd name="T21" fmla="*/ 12 h 12"/>
                  <a:gd name="T22" fmla="*/ 2 w 20"/>
                  <a:gd name="T23" fmla="*/ 12 h 12"/>
                  <a:gd name="T24" fmla="*/ 2 w 20"/>
                  <a:gd name="T25" fmla="*/ 12 h 12"/>
                  <a:gd name="T26" fmla="*/ 2 w 20"/>
                  <a:gd name="T27" fmla="*/ 12 h 12"/>
                  <a:gd name="T28" fmla="*/ 4 w 20"/>
                  <a:gd name="T29" fmla="*/ 12 h 12"/>
                  <a:gd name="T30" fmla="*/ 4 w 20"/>
                  <a:gd name="T31" fmla="*/ 12 h 12"/>
                  <a:gd name="T32" fmla="*/ 6 w 20"/>
                  <a:gd name="T33" fmla="*/ 12 h 12"/>
                  <a:gd name="T34" fmla="*/ 8 w 20"/>
                  <a:gd name="T35" fmla="*/ 12 h 12"/>
                  <a:gd name="T36" fmla="*/ 10 w 20"/>
                  <a:gd name="T37" fmla="*/ 10 h 12"/>
                  <a:gd name="T38" fmla="*/ 12 w 20"/>
                  <a:gd name="T39" fmla="*/ 10 h 12"/>
                  <a:gd name="T40" fmla="*/ 14 w 20"/>
                  <a:gd name="T41" fmla="*/ 8 h 12"/>
                  <a:gd name="T42" fmla="*/ 16 w 20"/>
                  <a:gd name="T43" fmla="*/ 8 h 12"/>
                  <a:gd name="T44" fmla="*/ 18 w 20"/>
                  <a:gd name="T45" fmla="*/ 6 h 12"/>
                  <a:gd name="T46" fmla="*/ 18 w 20"/>
                  <a:gd name="T47" fmla="*/ 4 h 12"/>
                  <a:gd name="T48" fmla="*/ 20 w 20"/>
                  <a:gd name="T49" fmla="*/ 4 h 12"/>
                  <a:gd name="T50" fmla="*/ 20 w 20"/>
                  <a:gd name="T51" fmla="*/ 2 h 12"/>
                  <a:gd name="T52" fmla="*/ 20 w 20"/>
                  <a:gd name="T53" fmla="*/ 2 h 12"/>
                  <a:gd name="T54" fmla="*/ 20 w 20"/>
                  <a:gd name="T55" fmla="*/ 2 h 12"/>
                  <a:gd name="T56" fmla="*/ 20 w 20"/>
                  <a:gd name="T57" fmla="*/ 0 h 12"/>
                  <a:gd name="T58" fmla="*/ 20 w 20"/>
                  <a:gd name="T59" fmla="*/ 0 h 12"/>
                  <a:gd name="T60" fmla="*/ 18 w 20"/>
                  <a:gd name="T61" fmla="*/ 0 h 12"/>
                  <a:gd name="T62" fmla="*/ 18 w 20"/>
                  <a:gd name="T63" fmla="*/ 0 h 12"/>
                  <a:gd name="T64" fmla="*/ 16 w 20"/>
                  <a:gd name="T65" fmla="*/ 0 h 12"/>
                  <a:gd name="T66" fmla="*/ 16 w 20"/>
                  <a:gd name="T67" fmla="*/ 0 h 12"/>
                  <a:gd name="T68" fmla="*/ 14 w 20"/>
                  <a:gd name="T69" fmla="*/ 0 h 12"/>
                  <a:gd name="T70" fmla="*/ 12 w 20"/>
                  <a:gd name="T71" fmla="*/ 0 h 12"/>
                  <a:gd name="T72" fmla="*/ 10 w 20"/>
                  <a:gd name="T73" fmla="*/ 0 h 12"/>
                  <a:gd name="T74" fmla="*/ 6 w 20"/>
                  <a:gd name="T75" fmla="*/ 0 h 12"/>
                  <a:gd name="T76" fmla="*/ 4 w 20"/>
                  <a:gd name="T77" fmla="*/ 2 h 12"/>
                  <a:gd name="T78" fmla="*/ 4 w 20"/>
                  <a:gd name="T79" fmla="*/ 2 h 12"/>
                  <a:gd name="T80" fmla="*/ 4 w 20"/>
                  <a:gd name="T81"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 h="12">
                    <a:moveTo>
                      <a:pt x="4" y="2"/>
                    </a:moveTo>
                    <a:lnTo>
                      <a:pt x="4" y="2"/>
                    </a:lnTo>
                    <a:lnTo>
                      <a:pt x="2" y="2"/>
                    </a:lnTo>
                    <a:lnTo>
                      <a:pt x="2" y="4"/>
                    </a:lnTo>
                    <a:lnTo>
                      <a:pt x="2" y="6"/>
                    </a:lnTo>
                    <a:lnTo>
                      <a:pt x="0" y="8"/>
                    </a:lnTo>
                    <a:lnTo>
                      <a:pt x="0" y="8"/>
                    </a:lnTo>
                    <a:lnTo>
                      <a:pt x="0" y="10"/>
                    </a:lnTo>
                    <a:lnTo>
                      <a:pt x="0" y="12"/>
                    </a:lnTo>
                    <a:lnTo>
                      <a:pt x="0" y="12"/>
                    </a:lnTo>
                    <a:lnTo>
                      <a:pt x="0" y="12"/>
                    </a:lnTo>
                    <a:lnTo>
                      <a:pt x="2" y="12"/>
                    </a:lnTo>
                    <a:lnTo>
                      <a:pt x="2" y="12"/>
                    </a:lnTo>
                    <a:lnTo>
                      <a:pt x="2" y="12"/>
                    </a:lnTo>
                    <a:lnTo>
                      <a:pt x="4" y="12"/>
                    </a:lnTo>
                    <a:lnTo>
                      <a:pt x="4" y="12"/>
                    </a:lnTo>
                    <a:lnTo>
                      <a:pt x="6" y="12"/>
                    </a:lnTo>
                    <a:lnTo>
                      <a:pt x="8" y="12"/>
                    </a:lnTo>
                    <a:lnTo>
                      <a:pt x="10" y="10"/>
                    </a:lnTo>
                    <a:lnTo>
                      <a:pt x="12" y="10"/>
                    </a:lnTo>
                    <a:lnTo>
                      <a:pt x="14" y="8"/>
                    </a:lnTo>
                    <a:lnTo>
                      <a:pt x="16" y="8"/>
                    </a:lnTo>
                    <a:lnTo>
                      <a:pt x="18" y="6"/>
                    </a:lnTo>
                    <a:lnTo>
                      <a:pt x="18" y="4"/>
                    </a:lnTo>
                    <a:lnTo>
                      <a:pt x="20" y="4"/>
                    </a:lnTo>
                    <a:lnTo>
                      <a:pt x="20" y="2"/>
                    </a:lnTo>
                    <a:lnTo>
                      <a:pt x="20" y="2"/>
                    </a:lnTo>
                    <a:lnTo>
                      <a:pt x="20" y="2"/>
                    </a:lnTo>
                    <a:lnTo>
                      <a:pt x="20" y="0"/>
                    </a:lnTo>
                    <a:lnTo>
                      <a:pt x="20" y="0"/>
                    </a:lnTo>
                    <a:lnTo>
                      <a:pt x="18" y="0"/>
                    </a:lnTo>
                    <a:lnTo>
                      <a:pt x="18" y="0"/>
                    </a:lnTo>
                    <a:lnTo>
                      <a:pt x="16" y="0"/>
                    </a:lnTo>
                    <a:lnTo>
                      <a:pt x="16" y="0"/>
                    </a:lnTo>
                    <a:lnTo>
                      <a:pt x="14" y="0"/>
                    </a:lnTo>
                    <a:lnTo>
                      <a:pt x="12" y="0"/>
                    </a:lnTo>
                    <a:lnTo>
                      <a:pt x="10" y="0"/>
                    </a:lnTo>
                    <a:lnTo>
                      <a:pt x="6" y="0"/>
                    </a:lnTo>
                    <a:lnTo>
                      <a:pt x="4" y="2"/>
                    </a:lnTo>
                    <a:lnTo>
                      <a:pt x="4" y="2"/>
                    </a:lnTo>
                    <a:lnTo>
                      <a:pt x="4"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6" name="Freeform 211">
                <a:extLst>
                  <a:ext uri="{FF2B5EF4-FFF2-40B4-BE49-F238E27FC236}">
                    <a16:creationId xmlns:a16="http://schemas.microsoft.com/office/drawing/2014/main" id="{EADEB3E0-50A1-4002-AB93-B6EAF24DFBEA}"/>
                  </a:ext>
                </a:extLst>
              </p:cNvPr>
              <p:cNvSpPr>
                <a:spLocks/>
              </p:cNvSpPr>
              <p:nvPr/>
            </p:nvSpPr>
            <p:spPr bwMode="auto">
              <a:xfrm>
                <a:off x="7078953" y="5003967"/>
                <a:ext cx="53975" cy="25400"/>
              </a:xfrm>
              <a:custGeom>
                <a:avLst/>
                <a:gdLst>
                  <a:gd name="T0" fmla="*/ 0 w 34"/>
                  <a:gd name="T1" fmla="*/ 4 h 16"/>
                  <a:gd name="T2" fmla="*/ 0 w 34"/>
                  <a:gd name="T3" fmla="*/ 4 h 16"/>
                  <a:gd name="T4" fmla="*/ 0 w 34"/>
                  <a:gd name="T5" fmla="*/ 2 h 16"/>
                  <a:gd name="T6" fmla="*/ 2 w 34"/>
                  <a:gd name="T7" fmla="*/ 2 h 16"/>
                  <a:gd name="T8" fmla="*/ 2 w 34"/>
                  <a:gd name="T9" fmla="*/ 2 h 16"/>
                  <a:gd name="T10" fmla="*/ 2 w 34"/>
                  <a:gd name="T11" fmla="*/ 0 h 16"/>
                  <a:gd name="T12" fmla="*/ 6 w 34"/>
                  <a:gd name="T13" fmla="*/ 0 h 16"/>
                  <a:gd name="T14" fmla="*/ 8 w 34"/>
                  <a:gd name="T15" fmla="*/ 0 h 16"/>
                  <a:gd name="T16" fmla="*/ 10 w 34"/>
                  <a:gd name="T17" fmla="*/ 0 h 16"/>
                  <a:gd name="T18" fmla="*/ 14 w 34"/>
                  <a:gd name="T19" fmla="*/ 0 h 16"/>
                  <a:gd name="T20" fmla="*/ 18 w 34"/>
                  <a:gd name="T21" fmla="*/ 0 h 16"/>
                  <a:gd name="T22" fmla="*/ 22 w 34"/>
                  <a:gd name="T23" fmla="*/ 2 h 16"/>
                  <a:gd name="T24" fmla="*/ 24 w 34"/>
                  <a:gd name="T25" fmla="*/ 2 h 16"/>
                  <a:gd name="T26" fmla="*/ 26 w 34"/>
                  <a:gd name="T27" fmla="*/ 2 h 16"/>
                  <a:gd name="T28" fmla="*/ 28 w 34"/>
                  <a:gd name="T29" fmla="*/ 4 h 16"/>
                  <a:gd name="T30" fmla="*/ 30 w 34"/>
                  <a:gd name="T31" fmla="*/ 4 h 16"/>
                  <a:gd name="T32" fmla="*/ 30 w 34"/>
                  <a:gd name="T33" fmla="*/ 4 h 16"/>
                  <a:gd name="T34" fmla="*/ 32 w 34"/>
                  <a:gd name="T35" fmla="*/ 4 h 16"/>
                  <a:gd name="T36" fmla="*/ 32 w 34"/>
                  <a:gd name="T37" fmla="*/ 6 h 16"/>
                  <a:gd name="T38" fmla="*/ 32 w 34"/>
                  <a:gd name="T39" fmla="*/ 6 h 16"/>
                  <a:gd name="T40" fmla="*/ 34 w 34"/>
                  <a:gd name="T41" fmla="*/ 6 h 16"/>
                  <a:gd name="T42" fmla="*/ 34 w 34"/>
                  <a:gd name="T43" fmla="*/ 8 h 16"/>
                  <a:gd name="T44" fmla="*/ 32 w 34"/>
                  <a:gd name="T45" fmla="*/ 8 h 16"/>
                  <a:gd name="T46" fmla="*/ 32 w 34"/>
                  <a:gd name="T47" fmla="*/ 10 h 16"/>
                  <a:gd name="T48" fmla="*/ 32 w 34"/>
                  <a:gd name="T49" fmla="*/ 10 h 16"/>
                  <a:gd name="T50" fmla="*/ 30 w 34"/>
                  <a:gd name="T51" fmla="*/ 12 h 16"/>
                  <a:gd name="T52" fmla="*/ 28 w 34"/>
                  <a:gd name="T53" fmla="*/ 12 h 16"/>
                  <a:gd name="T54" fmla="*/ 26 w 34"/>
                  <a:gd name="T55" fmla="*/ 14 h 16"/>
                  <a:gd name="T56" fmla="*/ 24 w 34"/>
                  <a:gd name="T57" fmla="*/ 14 h 16"/>
                  <a:gd name="T58" fmla="*/ 22 w 34"/>
                  <a:gd name="T59" fmla="*/ 16 h 16"/>
                  <a:gd name="T60" fmla="*/ 22 w 34"/>
                  <a:gd name="T61" fmla="*/ 16 h 16"/>
                  <a:gd name="T62" fmla="*/ 20 w 34"/>
                  <a:gd name="T63" fmla="*/ 16 h 16"/>
                  <a:gd name="T64" fmla="*/ 18 w 34"/>
                  <a:gd name="T65" fmla="*/ 16 h 16"/>
                  <a:gd name="T66" fmla="*/ 14 w 34"/>
                  <a:gd name="T67" fmla="*/ 16 h 16"/>
                  <a:gd name="T68" fmla="*/ 12 w 34"/>
                  <a:gd name="T69" fmla="*/ 16 h 16"/>
                  <a:gd name="T70" fmla="*/ 8 w 34"/>
                  <a:gd name="T71" fmla="*/ 16 h 16"/>
                  <a:gd name="T72" fmla="*/ 6 w 34"/>
                  <a:gd name="T73" fmla="*/ 14 h 16"/>
                  <a:gd name="T74" fmla="*/ 4 w 34"/>
                  <a:gd name="T75" fmla="*/ 14 h 16"/>
                  <a:gd name="T76" fmla="*/ 4 w 34"/>
                  <a:gd name="T77" fmla="*/ 12 h 16"/>
                  <a:gd name="T78" fmla="*/ 2 w 34"/>
                  <a:gd name="T79" fmla="*/ 12 h 16"/>
                  <a:gd name="T80" fmla="*/ 2 w 34"/>
                  <a:gd name="T81" fmla="*/ 12 h 16"/>
                  <a:gd name="T82" fmla="*/ 2 w 34"/>
                  <a:gd name="T83" fmla="*/ 10 h 16"/>
                  <a:gd name="T84" fmla="*/ 0 w 34"/>
                  <a:gd name="T85" fmla="*/ 10 h 16"/>
                  <a:gd name="T86" fmla="*/ 0 w 34"/>
                  <a:gd name="T87" fmla="*/ 8 h 16"/>
                  <a:gd name="T88" fmla="*/ 0 w 34"/>
                  <a:gd name="T89" fmla="*/ 6 h 16"/>
                  <a:gd name="T90" fmla="*/ 0 w 34"/>
                  <a:gd name="T91" fmla="*/ 6 h 16"/>
                  <a:gd name="T92" fmla="*/ 0 w 34"/>
                  <a:gd name="T93" fmla="*/ 4 h 16"/>
                  <a:gd name="T94" fmla="*/ 0 w 34"/>
                  <a:gd name="T95" fmla="*/ 4 h 16"/>
                  <a:gd name="T96" fmla="*/ 0 w 34"/>
                  <a:gd name="T97"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 h="16">
                    <a:moveTo>
                      <a:pt x="0" y="4"/>
                    </a:moveTo>
                    <a:lnTo>
                      <a:pt x="0" y="4"/>
                    </a:lnTo>
                    <a:lnTo>
                      <a:pt x="0" y="2"/>
                    </a:lnTo>
                    <a:lnTo>
                      <a:pt x="2" y="2"/>
                    </a:lnTo>
                    <a:lnTo>
                      <a:pt x="2" y="2"/>
                    </a:lnTo>
                    <a:lnTo>
                      <a:pt x="2" y="0"/>
                    </a:lnTo>
                    <a:lnTo>
                      <a:pt x="6" y="0"/>
                    </a:lnTo>
                    <a:lnTo>
                      <a:pt x="8" y="0"/>
                    </a:lnTo>
                    <a:lnTo>
                      <a:pt x="10" y="0"/>
                    </a:lnTo>
                    <a:lnTo>
                      <a:pt x="14" y="0"/>
                    </a:lnTo>
                    <a:lnTo>
                      <a:pt x="18" y="0"/>
                    </a:lnTo>
                    <a:lnTo>
                      <a:pt x="22" y="2"/>
                    </a:lnTo>
                    <a:lnTo>
                      <a:pt x="24" y="2"/>
                    </a:lnTo>
                    <a:lnTo>
                      <a:pt x="26" y="2"/>
                    </a:lnTo>
                    <a:lnTo>
                      <a:pt x="28" y="4"/>
                    </a:lnTo>
                    <a:lnTo>
                      <a:pt x="30" y="4"/>
                    </a:lnTo>
                    <a:lnTo>
                      <a:pt x="30" y="4"/>
                    </a:lnTo>
                    <a:lnTo>
                      <a:pt x="32" y="4"/>
                    </a:lnTo>
                    <a:lnTo>
                      <a:pt x="32" y="6"/>
                    </a:lnTo>
                    <a:lnTo>
                      <a:pt x="32" y="6"/>
                    </a:lnTo>
                    <a:lnTo>
                      <a:pt x="34" y="6"/>
                    </a:lnTo>
                    <a:lnTo>
                      <a:pt x="34" y="8"/>
                    </a:lnTo>
                    <a:lnTo>
                      <a:pt x="32" y="8"/>
                    </a:lnTo>
                    <a:lnTo>
                      <a:pt x="32" y="10"/>
                    </a:lnTo>
                    <a:lnTo>
                      <a:pt x="32" y="10"/>
                    </a:lnTo>
                    <a:lnTo>
                      <a:pt x="30" y="12"/>
                    </a:lnTo>
                    <a:lnTo>
                      <a:pt x="28" y="12"/>
                    </a:lnTo>
                    <a:lnTo>
                      <a:pt x="26" y="14"/>
                    </a:lnTo>
                    <a:lnTo>
                      <a:pt x="24" y="14"/>
                    </a:lnTo>
                    <a:lnTo>
                      <a:pt x="22" y="16"/>
                    </a:lnTo>
                    <a:lnTo>
                      <a:pt x="22" y="16"/>
                    </a:lnTo>
                    <a:lnTo>
                      <a:pt x="20" y="16"/>
                    </a:lnTo>
                    <a:lnTo>
                      <a:pt x="18" y="16"/>
                    </a:lnTo>
                    <a:lnTo>
                      <a:pt x="14" y="16"/>
                    </a:lnTo>
                    <a:lnTo>
                      <a:pt x="12" y="16"/>
                    </a:lnTo>
                    <a:lnTo>
                      <a:pt x="8" y="16"/>
                    </a:lnTo>
                    <a:lnTo>
                      <a:pt x="6" y="14"/>
                    </a:lnTo>
                    <a:lnTo>
                      <a:pt x="4" y="14"/>
                    </a:lnTo>
                    <a:lnTo>
                      <a:pt x="4" y="12"/>
                    </a:lnTo>
                    <a:lnTo>
                      <a:pt x="2" y="12"/>
                    </a:lnTo>
                    <a:lnTo>
                      <a:pt x="2" y="12"/>
                    </a:lnTo>
                    <a:lnTo>
                      <a:pt x="2" y="10"/>
                    </a:lnTo>
                    <a:lnTo>
                      <a:pt x="0" y="10"/>
                    </a:lnTo>
                    <a:lnTo>
                      <a:pt x="0" y="8"/>
                    </a:lnTo>
                    <a:lnTo>
                      <a:pt x="0" y="6"/>
                    </a:lnTo>
                    <a:lnTo>
                      <a:pt x="0" y="6"/>
                    </a:lnTo>
                    <a:lnTo>
                      <a:pt x="0" y="4"/>
                    </a:lnTo>
                    <a:lnTo>
                      <a:pt x="0" y="4"/>
                    </a:lnTo>
                    <a:lnTo>
                      <a:pt x="0" y="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7" name="Freeform 215">
                <a:extLst>
                  <a:ext uri="{FF2B5EF4-FFF2-40B4-BE49-F238E27FC236}">
                    <a16:creationId xmlns:a16="http://schemas.microsoft.com/office/drawing/2014/main" id="{3477B523-5C8B-4AC3-8F27-28BC27D9E74E}"/>
                  </a:ext>
                </a:extLst>
              </p:cNvPr>
              <p:cNvSpPr>
                <a:spLocks/>
              </p:cNvSpPr>
              <p:nvPr/>
            </p:nvSpPr>
            <p:spPr bwMode="auto">
              <a:xfrm>
                <a:off x="6805903" y="4603917"/>
                <a:ext cx="260350" cy="292100"/>
              </a:xfrm>
              <a:custGeom>
                <a:avLst/>
                <a:gdLst>
                  <a:gd name="T0" fmla="*/ 28 w 164"/>
                  <a:gd name="T1" fmla="*/ 90 h 184"/>
                  <a:gd name="T2" fmla="*/ 12 w 164"/>
                  <a:gd name="T3" fmla="*/ 88 h 184"/>
                  <a:gd name="T4" fmla="*/ 4 w 164"/>
                  <a:gd name="T5" fmla="*/ 90 h 184"/>
                  <a:gd name="T6" fmla="*/ 0 w 164"/>
                  <a:gd name="T7" fmla="*/ 100 h 184"/>
                  <a:gd name="T8" fmla="*/ 2 w 164"/>
                  <a:gd name="T9" fmla="*/ 112 h 184"/>
                  <a:gd name="T10" fmla="*/ 8 w 164"/>
                  <a:gd name="T11" fmla="*/ 116 h 184"/>
                  <a:gd name="T12" fmla="*/ 12 w 164"/>
                  <a:gd name="T13" fmla="*/ 120 h 184"/>
                  <a:gd name="T14" fmla="*/ 12 w 164"/>
                  <a:gd name="T15" fmla="*/ 134 h 184"/>
                  <a:gd name="T16" fmla="*/ 14 w 164"/>
                  <a:gd name="T17" fmla="*/ 138 h 184"/>
                  <a:gd name="T18" fmla="*/ 24 w 164"/>
                  <a:gd name="T19" fmla="*/ 138 h 184"/>
                  <a:gd name="T20" fmla="*/ 26 w 164"/>
                  <a:gd name="T21" fmla="*/ 144 h 184"/>
                  <a:gd name="T22" fmla="*/ 26 w 164"/>
                  <a:gd name="T23" fmla="*/ 158 h 184"/>
                  <a:gd name="T24" fmla="*/ 32 w 164"/>
                  <a:gd name="T25" fmla="*/ 162 h 184"/>
                  <a:gd name="T26" fmla="*/ 38 w 164"/>
                  <a:gd name="T27" fmla="*/ 166 h 184"/>
                  <a:gd name="T28" fmla="*/ 48 w 164"/>
                  <a:gd name="T29" fmla="*/ 174 h 184"/>
                  <a:gd name="T30" fmla="*/ 62 w 164"/>
                  <a:gd name="T31" fmla="*/ 176 h 184"/>
                  <a:gd name="T32" fmla="*/ 66 w 164"/>
                  <a:gd name="T33" fmla="*/ 170 h 184"/>
                  <a:gd name="T34" fmla="*/ 72 w 164"/>
                  <a:gd name="T35" fmla="*/ 166 h 184"/>
                  <a:gd name="T36" fmla="*/ 82 w 164"/>
                  <a:gd name="T37" fmla="*/ 168 h 184"/>
                  <a:gd name="T38" fmla="*/ 86 w 164"/>
                  <a:gd name="T39" fmla="*/ 176 h 184"/>
                  <a:gd name="T40" fmla="*/ 90 w 164"/>
                  <a:gd name="T41" fmla="*/ 184 h 184"/>
                  <a:gd name="T42" fmla="*/ 104 w 164"/>
                  <a:gd name="T43" fmla="*/ 184 h 184"/>
                  <a:gd name="T44" fmla="*/ 110 w 164"/>
                  <a:gd name="T45" fmla="*/ 180 h 184"/>
                  <a:gd name="T46" fmla="*/ 114 w 164"/>
                  <a:gd name="T47" fmla="*/ 170 h 184"/>
                  <a:gd name="T48" fmla="*/ 122 w 164"/>
                  <a:gd name="T49" fmla="*/ 158 h 184"/>
                  <a:gd name="T50" fmla="*/ 120 w 164"/>
                  <a:gd name="T51" fmla="*/ 144 h 184"/>
                  <a:gd name="T52" fmla="*/ 126 w 164"/>
                  <a:gd name="T53" fmla="*/ 138 h 184"/>
                  <a:gd name="T54" fmla="*/ 134 w 164"/>
                  <a:gd name="T55" fmla="*/ 132 h 184"/>
                  <a:gd name="T56" fmla="*/ 138 w 164"/>
                  <a:gd name="T57" fmla="*/ 116 h 184"/>
                  <a:gd name="T58" fmla="*/ 140 w 164"/>
                  <a:gd name="T59" fmla="*/ 108 h 184"/>
                  <a:gd name="T60" fmla="*/ 150 w 164"/>
                  <a:gd name="T61" fmla="*/ 104 h 184"/>
                  <a:gd name="T62" fmla="*/ 154 w 164"/>
                  <a:gd name="T63" fmla="*/ 100 h 184"/>
                  <a:gd name="T64" fmla="*/ 152 w 164"/>
                  <a:gd name="T65" fmla="*/ 88 h 184"/>
                  <a:gd name="T66" fmla="*/ 144 w 164"/>
                  <a:gd name="T67" fmla="*/ 82 h 184"/>
                  <a:gd name="T68" fmla="*/ 138 w 164"/>
                  <a:gd name="T69" fmla="*/ 76 h 184"/>
                  <a:gd name="T70" fmla="*/ 138 w 164"/>
                  <a:gd name="T71" fmla="*/ 56 h 184"/>
                  <a:gd name="T72" fmla="*/ 158 w 164"/>
                  <a:gd name="T73" fmla="*/ 38 h 184"/>
                  <a:gd name="T74" fmla="*/ 164 w 164"/>
                  <a:gd name="T75" fmla="*/ 32 h 184"/>
                  <a:gd name="T76" fmla="*/ 164 w 164"/>
                  <a:gd name="T77" fmla="*/ 22 h 184"/>
                  <a:gd name="T78" fmla="*/ 158 w 164"/>
                  <a:gd name="T79" fmla="*/ 16 h 184"/>
                  <a:gd name="T80" fmla="*/ 142 w 164"/>
                  <a:gd name="T81" fmla="*/ 14 h 184"/>
                  <a:gd name="T82" fmla="*/ 124 w 164"/>
                  <a:gd name="T83" fmla="*/ 4 h 184"/>
                  <a:gd name="T84" fmla="*/ 116 w 164"/>
                  <a:gd name="T85" fmla="*/ 0 h 184"/>
                  <a:gd name="T86" fmla="*/ 114 w 164"/>
                  <a:gd name="T87" fmla="*/ 6 h 184"/>
                  <a:gd name="T88" fmla="*/ 108 w 164"/>
                  <a:gd name="T89" fmla="*/ 16 h 184"/>
                  <a:gd name="T90" fmla="*/ 100 w 164"/>
                  <a:gd name="T91" fmla="*/ 20 h 184"/>
                  <a:gd name="T92" fmla="*/ 98 w 164"/>
                  <a:gd name="T93" fmla="*/ 38 h 184"/>
                  <a:gd name="T94" fmla="*/ 76 w 164"/>
                  <a:gd name="T95" fmla="*/ 50 h 184"/>
                  <a:gd name="T96" fmla="*/ 70 w 164"/>
                  <a:gd name="T97" fmla="*/ 56 h 184"/>
                  <a:gd name="T98" fmla="*/ 64 w 164"/>
                  <a:gd name="T99" fmla="*/ 68 h 184"/>
                  <a:gd name="T100" fmla="*/ 58 w 164"/>
                  <a:gd name="T101" fmla="*/ 68 h 184"/>
                  <a:gd name="T102" fmla="*/ 46 w 164"/>
                  <a:gd name="T103" fmla="*/ 66 h 184"/>
                  <a:gd name="T104" fmla="*/ 44 w 164"/>
                  <a:gd name="T105" fmla="*/ 72 h 184"/>
                  <a:gd name="T106" fmla="*/ 40 w 164"/>
                  <a:gd name="T107" fmla="*/ 8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4" h="184">
                    <a:moveTo>
                      <a:pt x="36" y="90"/>
                    </a:moveTo>
                    <a:lnTo>
                      <a:pt x="36" y="90"/>
                    </a:lnTo>
                    <a:lnTo>
                      <a:pt x="34" y="90"/>
                    </a:lnTo>
                    <a:lnTo>
                      <a:pt x="32" y="90"/>
                    </a:lnTo>
                    <a:lnTo>
                      <a:pt x="30" y="90"/>
                    </a:lnTo>
                    <a:lnTo>
                      <a:pt x="28" y="90"/>
                    </a:lnTo>
                    <a:lnTo>
                      <a:pt x="26" y="90"/>
                    </a:lnTo>
                    <a:lnTo>
                      <a:pt x="24" y="90"/>
                    </a:lnTo>
                    <a:lnTo>
                      <a:pt x="20" y="88"/>
                    </a:lnTo>
                    <a:lnTo>
                      <a:pt x="16" y="88"/>
                    </a:lnTo>
                    <a:lnTo>
                      <a:pt x="14" y="88"/>
                    </a:lnTo>
                    <a:lnTo>
                      <a:pt x="12" y="88"/>
                    </a:lnTo>
                    <a:lnTo>
                      <a:pt x="10" y="88"/>
                    </a:lnTo>
                    <a:lnTo>
                      <a:pt x="8" y="88"/>
                    </a:lnTo>
                    <a:lnTo>
                      <a:pt x="6" y="88"/>
                    </a:lnTo>
                    <a:lnTo>
                      <a:pt x="6" y="88"/>
                    </a:lnTo>
                    <a:lnTo>
                      <a:pt x="4" y="88"/>
                    </a:lnTo>
                    <a:lnTo>
                      <a:pt x="4" y="90"/>
                    </a:lnTo>
                    <a:lnTo>
                      <a:pt x="4" y="90"/>
                    </a:lnTo>
                    <a:lnTo>
                      <a:pt x="2" y="92"/>
                    </a:lnTo>
                    <a:lnTo>
                      <a:pt x="2" y="94"/>
                    </a:lnTo>
                    <a:lnTo>
                      <a:pt x="2" y="96"/>
                    </a:lnTo>
                    <a:lnTo>
                      <a:pt x="2" y="96"/>
                    </a:lnTo>
                    <a:lnTo>
                      <a:pt x="0" y="100"/>
                    </a:lnTo>
                    <a:lnTo>
                      <a:pt x="0" y="104"/>
                    </a:lnTo>
                    <a:lnTo>
                      <a:pt x="0" y="108"/>
                    </a:lnTo>
                    <a:lnTo>
                      <a:pt x="0" y="108"/>
                    </a:lnTo>
                    <a:lnTo>
                      <a:pt x="0" y="110"/>
                    </a:lnTo>
                    <a:lnTo>
                      <a:pt x="0" y="112"/>
                    </a:lnTo>
                    <a:lnTo>
                      <a:pt x="2" y="112"/>
                    </a:lnTo>
                    <a:lnTo>
                      <a:pt x="2" y="114"/>
                    </a:lnTo>
                    <a:lnTo>
                      <a:pt x="2" y="114"/>
                    </a:lnTo>
                    <a:lnTo>
                      <a:pt x="4" y="114"/>
                    </a:lnTo>
                    <a:lnTo>
                      <a:pt x="4" y="116"/>
                    </a:lnTo>
                    <a:lnTo>
                      <a:pt x="6" y="116"/>
                    </a:lnTo>
                    <a:lnTo>
                      <a:pt x="8" y="116"/>
                    </a:lnTo>
                    <a:lnTo>
                      <a:pt x="10" y="118"/>
                    </a:lnTo>
                    <a:lnTo>
                      <a:pt x="10" y="118"/>
                    </a:lnTo>
                    <a:lnTo>
                      <a:pt x="10" y="118"/>
                    </a:lnTo>
                    <a:lnTo>
                      <a:pt x="12" y="120"/>
                    </a:lnTo>
                    <a:lnTo>
                      <a:pt x="12" y="120"/>
                    </a:lnTo>
                    <a:lnTo>
                      <a:pt x="12" y="120"/>
                    </a:lnTo>
                    <a:lnTo>
                      <a:pt x="12" y="122"/>
                    </a:lnTo>
                    <a:lnTo>
                      <a:pt x="12" y="124"/>
                    </a:lnTo>
                    <a:lnTo>
                      <a:pt x="12" y="126"/>
                    </a:lnTo>
                    <a:lnTo>
                      <a:pt x="12" y="128"/>
                    </a:lnTo>
                    <a:lnTo>
                      <a:pt x="12" y="130"/>
                    </a:lnTo>
                    <a:lnTo>
                      <a:pt x="12" y="134"/>
                    </a:lnTo>
                    <a:lnTo>
                      <a:pt x="12" y="134"/>
                    </a:lnTo>
                    <a:lnTo>
                      <a:pt x="12" y="136"/>
                    </a:lnTo>
                    <a:lnTo>
                      <a:pt x="12" y="136"/>
                    </a:lnTo>
                    <a:lnTo>
                      <a:pt x="12" y="136"/>
                    </a:lnTo>
                    <a:lnTo>
                      <a:pt x="14" y="138"/>
                    </a:lnTo>
                    <a:lnTo>
                      <a:pt x="14" y="138"/>
                    </a:lnTo>
                    <a:lnTo>
                      <a:pt x="16" y="138"/>
                    </a:lnTo>
                    <a:lnTo>
                      <a:pt x="16" y="138"/>
                    </a:lnTo>
                    <a:lnTo>
                      <a:pt x="18" y="138"/>
                    </a:lnTo>
                    <a:lnTo>
                      <a:pt x="20" y="138"/>
                    </a:lnTo>
                    <a:lnTo>
                      <a:pt x="22" y="138"/>
                    </a:lnTo>
                    <a:lnTo>
                      <a:pt x="24" y="138"/>
                    </a:lnTo>
                    <a:lnTo>
                      <a:pt x="24" y="138"/>
                    </a:lnTo>
                    <a:lnTo>
                      <a:pt x="26" y="140"/>
                    </a:lnTo>
                    <a:lnTo>
                      <a:pt x="26" y="140"/>
                    </a:lnTo>
                    <a:lnTo>
                      <a:pt x="26" y="142"/>
                    </a:lnTo>
                    <a:lnTo>
                      <a:pt x="26" y="142"/>
                    </a:lnTo>
                    <a:lnTo>
                      <a:pt x="26" y="144"/>
                    </a:lnTo>
                    <a:lnTo>
                      <a:pt x="26" y="146"/>
                    </a:lnTo>
                    <a:lnTo>
                      <a:pt x="26" y="150"/>
                    </a:lnTo>
                    <a:lnTo>
                      <a:pt x="26" y="154"/>
                    </a:lnTo>
                    <a:lnTo>
                      <a:pt x="26" y="156"/>
                    </a:lnTo>
                    <a:lnTo>
                      <a:pt x="26" y="158"/>
                    </a:lnTo>
                    <a:lnTo>
                      <a:pt x="26" y="158"/>
                    </a:lnTo>
                    <a:lnTo>
                      <a:pt x="28" y="160"/>
                    </a:lnTo>
                    <a:lnTo>
                      <a:pt x="28" y="160"/>
                    </a:lnTo>
                    <a:lnTo>
                      <a:pt x="28" y="162"/>
                    </a:lnTo>
                    <a:lnTo>
                      <a:pt x="30" y="162"/>
                    </a:lnTo>
                    <a:lnTo>
                      <a:pt x="30" y="162"/>
                    </a:lnTo>
                    <a:lnTo>
                      <a:pt x="32" y="162"/>
                    </a:lnTo>
                    <a:lnTo>
                      <a:pt x="34" y="162"/>
                    </a:lnTo>
                    <a:lnTo>
                      <a:pt x="34" y="162"/>
                    </a:lnTo>
                    <a:lnTo>
                      <a:pt x="36" y="162"/>
                    </a:lnTo>
                    <a:lnTo>
                      <a:pt x="36" y="162"/>
                    </a:lnTo>
                    <a:lnTo>
                      <a:pt x="38" y="164"/>
                    </a:lnTo>
                    <a:lnTo>
                      <a:pt x="38" y="166"/>
                    </a:lnTo>
                    <a:lnTo>
                      <a:pt x="40" y="168"/>
                    </a:lnTo>
                    <a:lnTo>
                      <a:pt x="40" y="170"/>
                    </a:lnTo>
                    <a:lnTo>
                      <a:pt x="42" y="170"/>
                    </a:lnTo>
                    <a:lnTo>
                      <a:pt x="44" y="172"/>
                    </a:lnTo>
                    <a:lnTo>
                      <a:pt x="46" y="174"/>
                    </a:lnTo>
                    <a:lnTo>
                      <a:pt x="48" y="174"/>
                    </a:lnTo>
                    <a:lnTo>
                      <a:pt x="52" y="176"/>
                    </a:lnTo>
                    <a:lnTo>
                      <a:pt x="56" y="176"/>
                    </a:lnTo>
                    <a:lnTo>
                      <a:pt x="58" y="176"/>
                    </a:lnTo>
                    <a:lnTo>
                      <a:pt x="60" y="176"/>
                    </a:lnTo>
                    <a:lnTo>
                      <a:pt x="60" y="176"/>
                    </a:lnTo>
                    <a:lnTo>
                      <a:pt x="62" y="176"/>
                    </a:lnTo>
                    <a:lnTo>
                      <a:pt x="62" y="176"/>
                    </a:lnTo>
                    <a:lnTo>
                      <a:pt x="64" y="176"/>
                    </a:lnTo>
                    <a:lnTo>
                      <a:pt x="64" y="174"/>
                    </a:lnTo>
                    <a:lnTo>
                      <a:pt x="66" y="174"/>
                    </a:lnTo>
                    <a:lnTo>
                      <a:pt x="66" y="172"/>
                    </a:lnTo>
                    <a:lnTo>
                      <a:pt x="66" y="170"/>
                    </a:lnTo>
                    <a:lnTo>
                      <a:pt x="68" y="170"/>
                    </a:lnTo>
                    <a:lnTo>
                      <a:pt x="68" y="168"/>
                    </a:lnTo>
                    <a:lnTo>
                      <a:pt x="70" y="166"/>
                    </a:lnTo>
                    <a:lnTo>
                      <a:pt x="70" y="166"/>
                    </a:lnTo>
                    <a:lnTo>
                      <a:pt x="70" y="166"/>
                    </a:lnTo>
                    <a:lnTo>
                      <a:pt x="72" y="166"/>
                    </a:lnTo>
                    <a:lnTo>
                      <a:pt x="74" y="166"/>
                    </a:lnTo>
                    <a:lnTo>
                      <a:pt x="76" y="166"/>
                    </a:lnTo>
                    <a:lnTo>
                      <a:pt x="76" y="166"/>
                    </a:lnTo>
                    <a:lnTo>
                      <a:pt x="78" y="166"/>
                    </a:lnTo>
                    <a:lnTo>
                      <a:pt x="80" y="166"/>
                    </a:lnTo>
                    <a:lnTo>
                      <a:pt x="82" y="168"/>
                    </a:lnTo>
                    <a:lnTo>
                      <a:pt x="84" y="168"/>
                    </a:lnTo>
                    <a:lnTo>
                      <a:pt x="84" y="168"/>
                    </a:lnTo>
                    <a:lnTo>
                      <a:pt x="84" y="170"/>
                    </a:lnTo>
                    <a:lnTo>
                      <a:pt x="86" y="172"/>
                    </a:lnTo>
                    <a:lnTo>
                      <a:pt x="86" y="174"/>
                    </a:lnTo>
                    <a:lnTo>
                      <a:pt x="86" y="176"/>
                    </a:lnTo>
                    <a:lnTo>
                      <a:pt x="88" y="178"/>
                    </a:lnTo>
                    <a:lnTo>
                      <a:pt x="88" y="180"/>
                    </a:lnTo>
                    <a:lnTo>
                      <a:pt x="88" y="182"/>
                    </a:lnTo>
                    <a:lnTo>
                      <a:pt x="90" y="182"/>
                    </a:lnTo>
                    <a:lnTo>
                      <a:pt x="90" y="182"/>
                    </a:lnTo>
                    <a:lnTo>
                      <a:pt x="90" y="184"/>
                    </a:lnTo>
                    <a:lnTo>
                      <a:pt x="92" y="184"/>
                    </a:lnTo>
                    <a:lnTo>
                      <a:pt x="92" y="184"/>
                    </a:lnTo>
                    <a:lnTo>
                      <a:pt x="94" y="184"/>
                    </a:lnTo>
                    <a:lnTo>
                      <a:pt x="98" y="184"/>
                    </a:lnTo>
                    <a:lnTo>
                      <a:pt x="100" y="184"/>
                    </a:lnTo>
                    <a:lnTo>
                      <a:pt x="104" y="184"/>
                    </a:lnTo>
                    <a:lnTo>
                      <a:pt x="106" y="184"/>
                    </a:lnTo>
                    <a:lnTo>
                      <a:pt x="108" y="184"/>
                    </a:lnTo>
                    <a:lnTo>
                      <a:pt x="108" y="182"/>
                    </a:lnTo>
                    <a:lnTo>
                      <a:pt x="110" y="182"/>
                    </a:lnTo>
                    <a:lnTo>
                      <a:pt x="110" y="182"/>
                    </a:lnTo>
                    <a:lnTo>
                      <a:pt x="110" y="180"/>
                    </a:lnTo>
                    <a:lnTo>
                      <a:pt x="112" y="180"/>
                    </a:lnTo>
                    <a:lnTo>
                      <a:pt x="112" y="178"/>
                    </a:lnTo>
                    <a:lnTo>
                      <a:pt x="112" y="176"/>
                    </a:lnTo>
                    <a:lnTo>
                      <a:pt x="112" y="172"/>
                    </a:lnTo>
                    <a:lnTo>
                      <a:pt x="114" y="170"/>
                    </a:lnTo>
                    <a:lnTo>
                      <a:pt x="114" y="170"/>
                    </a:lnTo>
                    <a:lnTo>
                      <a:pt x="114" y="168"/>
                    </a:lnTo>
                    <a:lnTo>
                      <a:pt x="116" y="166"/>
                    </a:lnTo>
                    <a:lnTo>
                      <a:pt x="118" y="164"/>
                    </a:lnTo>
                    <a:lnTo>
                      <a:pt x="120" y="160"/>
                    </a:lnTo>
                    <a:lnTo>
                      <a:pt x="120" y="158"/>
                    </a:lnTo>
                    <a:lnTo>
                      <a:pt x="122" y="158"/>
                    </a:lnTo>
                    <a:lnTo>
                      <a:pt x="122" y="156"/>
                    </a:lnTo>
                    <a:lnTo>
                      <a:pt x="122" y="154"/>
                    </a:lnTo>
                    <a:lnTo>
                      <a:pt x="120" y="150"/>
                    </a:lnTo>
                    <a:lnTo>
                      <a:pt x="120" y="148"/>
                    </a:lnTo>
                    <a:lnTo>
                      <a:pt x="120" y="146"/>
                    </a:lnTo>
                    <a:lnTo>
                      <a:pt x="120" y="144"/>
                    </a:lnTo>
                    <a:lnTo>
                      <a:pt x="120" y="144"/>
                    </a:lnTo>
                    <a:lnTo>
                      <a:pt x="122" y="144"/>
                    </a:lnTo>
                    <a:lnTo>
                      <a:pt x="122" y="142"/>
                    </a:lnTo>
                    <a:lnTo>
                      <a:pt x="122" y="142"/>
                    </a:lnTo>
                    <a:lnTo>
                      <a:pt x="124" y="140"/>
                    </a:lnTo>
                    <a:lnTo>
                      <a:pt x="126" y="138"/>
                    </a:lnTo>
                    <a:lnTo>
                      <a:pt x="126" y="138"/>
                    </a:lnTo>
                    <a:lnTo>
                      <a:pt x="130" y="136"/>
                    </a:lnTo>
                    <a:lnTo>
                      <a:pt x="132" y="134"/>
                    </a:lnTo>
                    <a:lnTo>
                      <a:pt x="132" y="134"/>
                    </a:lnTo>
                    <a:lnTo>
                      <a:pt x="134" y="132"/>
                    </a:lnTo>
                    <a:lnTo>
                      <a:pt x="134" y="132"/>
                    </a:lnTo>
                    <a:lnTo>
                      <a:pt x="134" y="130"/>
                    </a:lnTo>
                    <a:lnTo>
                      <a:pt x="134" y="130"/>
                    </a:lnTo>
                    <a:lnTo>
                      <a:pt x="136" y="126"/>
                    </a:lnTo>
                    <a:lnTo>
                      <a:pt x="136" y="124"/>
                    </a:lnTo>
                    <a:lnTo>
                      <a:pt x="136" y="120"/>
                    </a:lnTo>
                    <a:lnTo>
                      <a:pt x="138" y="116"/>
                    </a:lnTo>
                    <a:lnTo>
                      <a:pt x="138" y="112"/>
                    </a:lnTo>
                    <a:lnTo>
                      <a:pt x="138" y="112"/>
                    </a:lnTo>
                    <a:lnTo>
                      <a:pt x="138" y="110"/>
                    </a:lnTo>
                    <a:lnTo>
                      <a:pt x="140" y="108"/>
                    </a:lnTo>
                    <a:lnTo>
                      <a:pt x="140" y="108"/>
                    </a:lnTo>
                    <a:lnTo>
                      <a:pt x="140" y="108"/>
                    </a:lnTo>
                    <a:lnTo>
                      <a:pt x="142" y="108"/>
                    </a:lnTo>
                    <a:lnTo>
                      <a:pt x="142" y="106"/>
                    </a:lnTo>
                    <a:lnTo>
                      <a:pt x="144" y="106"/>
                    </a:lnTo>
                    <a:lnTo>
                      <a:pt x="146" y="106"/>
                    </a:lnTo>
                    <a:lnTo>
                      <a:pt x="148" y="104"/>
                    </a:lnTo>
                    <a:lnTo>
                      <a:pt x="150" y="104"/>
                    </a:lnTo>
                    <a:lnTo>
                      <a:pt x="152" y="104"/>
                    </a:lnTo>
                    <a:lnTo>
                      <a:pt x="152" y="104"/>
                    </a:lnTo>
                    <a:lnTo>
                      <a:pt x="152" y="102"/>
                    </a:lnTo>
                    <a:lnTo>
                      <a:pt x="152" y="102"/>
                    </a:lnTo>
                    <a:lnTo>
                      <a:pt x="154" y="102"/>
                    </a:lnTo>
                    <a:lnTo>
                      <a:pt x="154" y="100"/>
                    </a:lnTo>
                    <a:lnTo>
                      <a:pt x="154" y="98"/>
                    </a:lnTo>
                    <a:lnTo>
                      <a:pt x="154" y="96"/>
                    </a:lnTo>
                    <a:lnTo>
                      <a:pt x="154" y="94"/>
                    </a:lnTo>
                    <a:lnTo>
                      <a:pt x="154" y="92"/>
                    </a:lnTo>
                    <a:lnTo>
                      <a:pt x="154" y="90"/>
                    </a:lnTo>
                    <a:lnTo>
                      <a:pt x="152" y="88"/>
                    </a:lnTo>
                    <a:lnTo>
                      <a:pt x="152" y="88"/>
                    </a:lnTo>
                    <a:lnTo>
                      <a:pt x="152" y="86"/>
                    </a:lnTo>
                    <a:lnTo>
                      <a:pt x="150" y="86"/>
                    </a:lnTo>
                    <a:lnTo>
                      <a:pt x="148" y="84"/>
                    </a:lnTo>
                    <a:lnTo>
                      <a:pt x="146" y="82"/>
                    </a:lnTo>
                    <a:lnTo>
                      <a:pt x="144" y="82"/>
                    </a:lnTo>
                    <a:lnTo>
                      <a:pt x="142" y="80"/>
                    </a:lnTo>
                    <a:lnTo>
                      <a:pt x="140" y="80"/>
                    </a:lnTo>
                    <a:lnTo>
                      <a:pt x="140" y="78"/>
                    </a:lnTo>
                    <a:lnTo>
                      <a:pt x="138" y="78"/>
                    </a:lnTo>
                    <a:lnTo>
                      <a:pt x="138" y="76"/>
                    </a:lnTo>
                    <a:lnTo>
                      <a:pt x="138" y="76"/>
                    </a:lnTo>
                    <a:lnTo>
                      <a:pt x="138" y="74"/>
                    </a:lnTo>
                    <a:lnTo>
                      <a:pt x="138" y="72"/>
                    </a:lnTo>
                    <a:lnTo>
                      <a:pt x="138" y="68"/>
                    </a:lnTo>
                    <a:lnTo>
                      <a:pt x="138" y="62"/>
                    </a:lnTo>
                    <a:lnTo>
                      <a:pt x="138" y="58"/>
                    </a:lnTo>
                    <a:lnTo>
                      <a:pt x="138" y="56"/>
                    </a:lnTo>
                    <a:lnTo>
                      <a:pt x="138" y="52"/>
                    </a:lnTo>
                    <a:lnTo>
                      <a:pt x="144" y="48"/>
                    </a:lnTo>
                    <a:lnTo>
                      <a:pt x="150" y="44"/>
                    </a:lnTo>
                    <a:lnTo>
                      <a:pt x="152" y="42"/>
                    </a:lnTo>
                    <a:lnTo>
                      <a:pt x="154" y="42"/>
                    </a:lnTo>
                    <a:lnTo>
                      <a:pt x="158" y="38"/>
                    </a:lnTo>
                    <a:lnTo>
                      <a:pt x="160" y="36"/>
                    </a:lnTo>
                    <a:lnTo>
                      <a:pt x="162" y="36"/>
                    </a:lnTo>
                    <a:lnTo>
                      <a:pt x="162" y="34"/>
                    </a:lnTo>
                    <a:lnTo>
                      <a:pt x="164" y="34"/>
                    </a:lnTo>
                    <a:lnTo>
                      <a:pt x="164" y="32"/>
                    </a:lnTo>
                    <a:lnTo>
                      <a:pt x="164" y="32"/>
                    </a:lnTo>
                    <a:lnTo>
                      <a:pt x="164" y="32"/>
                    </a:lnTo>
                    <a:lnTo>
                      <a:pt x="164" y="30"/>
                    </a:lnTo>
                    <a:lnTo>
                      <a:pt x="164" y="28"/>
                    </a:lnTo>
                    <a:lnTo>
                      <a:pt x="164" y="26"/>
                    </a:lnTo>
                    <a:lnTo>
                      <a:pt x="164" y="24"/>
                    </a:lnTo>
                    <a:lnTo>
                      <a:pt x="164" y="22"/>
                    </a:lnTo>
                    <a:lnTo>
                      <a:pt x="162" y="20"/>
                    </a:lnTo>
                    <a:lnTo>
                      <a:pt x="162" y="18"/>
                    </a:lnTo>
                    <a:lnTo>
                      <a:pt x="160" y="16"/>
                    </a:lnTo>
                    <a:lnTo>
                      <a:pt x="160" y="16"/>
                    </a:lnTo>
                    <a:lnTo>
                      <a:pt x="160" y="16"/>
                    </a:lnTo>
                    <a:lnTo>
                      <a:pt x="158" y="16"/>
                    </a:lnTo>
                    <a:lnTo>
                      <a:pt x="156" y="16"/>
                    </a:lnTo>
                    <a:lnTo>
                      <a:pt x="154" y="14"/>
                    </a:lnTo>
                    <a:lnTo>
                      <a:pt x="152" y="14"/>
                    </a:lnTo>
                    <a:lnTo>
                      <a:pt x="146" y="14"/>
                    </a:lnTo>
                    <a:lnTo>
                      <a:pt x="144" y="14"/>
                    </a:lnTo>
                    <a:lnTo>
                      <a:pt x="142" y="14"/>
                    </a:lnTo>
                    <a:lnTo>
                      <a:pt x="140" y="12"/>
                    </a:lnTo>
                    <a:lnTo>
                      <a:pt x="138" y="12"/>
                    </a:lnTo>
                    <a:lnTo>
                      <a:pt x="132" y="10"/>
                    </a:lnTo>
                    <a:lnTo>
                      <a:pt x="130" y="8"/>
                    </a:lnTo>
                    <a:lnTo>
                      <a:pt x="128" y="6"/>
                    </a:lnTo>
                    <a:lnTo>
                      <a:pt x="124" y="4"/>
                    </a:lnTo>
                    <a:lnTo>
                      <a:pt x="122" y="2"/>
                    </a:lnTo>
                    <a:lnTo>
                      <a:pt x="120" y="2"/>
                    </a:lnTo>
                    <a:lnTo>
                      <a:pt x="120" y="0"/>
                    </a:lnTo>
                    <a:lnTo>
                      <a:pt x="118" y="0"/>
                    </a:lnTo>
                    <a:lnTo>
                      <a:pt x="116" y="0"/>
                    </a:lnTo>
                    <a:lnTo>
                      <a:pt x="116" y="0"/>
                    </a:lnTo>
                    <a:lnTo>
                      <a:pt x="116" y="0"/>
                    </a:lnTo>
                    <a:lnTo>
                      <a:pt x="114" y="0"/>
                    </a:lnTo>
                    <a:lnTo>
                      <a:pt x="114" y="2"/>
                    </a:lnTo>
                    <a:lnTo>
                      <a:pt x="114" y="2"/>
                    </a:lnTo>
                    <a:lnTo>
                      <a:pt x="114" y="4"/>
                    </a:lnTo>
                    <a:lnTo>
                      <a:pt x="114" y="6"/>
                    </a:lnTo>
                    <a:lnTo>
                      <a:pt x="112" y="8"/>
                    </a:lnTo>
                    <a:lnTo>
                      <a:pt x="112" y="10"/>
                    </a:lnTo>
                    <a:lnTo>
                      <a:pt x="112" y="12"/>
                    </a:lnTo>
                    <a:lnTo>
                      <a:pt x="112" y="14"/>
                    </a:lnTo>
                    <a:lnTo>
                      <a:pt x="110" y="14"/>
                    </a:lnTo>
                    <a:lnTo>
                      <a:pt x="108" y="16"/>
                    </a:lnTo>
                    <a:lnTo>
                      <a:pt x="106" y="16"/>
                    </a:lnTo>
                    <a:lnTo>
                      <a:pt x="104" y="18"/>
                    </a:lnTo>
                    <a:lnTo>
                      <a:pt x="102" y="18"/>
                    </a:lnTo>
                    <a:lnTo>
                      <a:pt x="102" y="20"/>
                    </a:lnTo>
                    <a:lnTo>
                      <a:pt x="102" y="20"/>
                    </a:lnTo>
                    <a:lnTo>
                      <a:pt x="100" y="20"/>
                    </a:lnTo>
                    <a:lnTo>
                      <a:pt x="100" y="22"/>
                    </a:lnTo>
                    <a:lnTo>
                      <a:pt x="100" y="24"/>
                    </a:lnTo>
                    <a:lnTo>
                      <a:pt x="98" y="26"/>
                    </a:lnTo>
                    <a:lnTo>
                      <a:pt x="98" y="30"/>
                    </a:lnTo>
                    <a:lnTo>
                      <a:pt x="98" y="34"/>
                    </a:lnTo>
                    <a:lnTo>
                      <a:pt x="98" y="38"/>
                    </a:lnTo>
                    <a:lnTo>
                      <a:pt x="92" y="40"/>
                    </a:lnTo>
                    <a:lnTo>
                      <a:pt x="88" y="42"/>
                    </a:lnTo>
                    <a:lnTo>
                      <a:pt x="84" y="44"/>
                    </a:lnTo>
                    <a:lnTo>
                      <a:pt x="82" y="46"/>
                    </a:lnTo>
                    <a:lnTo>
                      <a:pt x="78" y="48"/>
                    </a:lnTo>
                    <a:lnTo>
                      <a:pt x="76" y="50"/>
                    </a:lnTo>
                    <a:lnTo>
                      <a:pt x="74" y="50"/>
                    </a:lnTo>
                    <a:lnTo>
                      <a:pt x="72" y="52"/>
                    </a:lnTo>
                    <a:lnTo>
                      <a:pt x="72" y="54"/>
                    </a:lnTo>
                    <a:lnTo>
                      <a:pt x="70" y="54"/>
                    </a:lnTo>
                    <a:lnTo>
                      <a:pt x="70" y="54"/>
                    </a:lnTo>
                    <a:lnTo>
                      <a:pt x="70" y="56"/>
                    </a:lnTo>
                    <a:lnTo>
                      <a:pt x="68" y="62"/>
                    </a:lnTo>
                    <a:lnTo>
                      <a:pt x="66" y="64"/>
                    </a:lnTo>
                    <a:lnTo>
                      <a:pt x="66" y="66"/>
                    </a:lnTo>
                    <a:lnTo>
                      <a:pt x="66" y="66"/>
                    </a:lnTo>
                    <a:lnTo>
                      <a:pt x="64" y="68"/>
                    </a:lnTo>
                    <a:lnTo>
                      <a:pt x="64" y="68"/>
                    </a:lnTo>
                    <a:lnTo>
                      <a:pt x="64" y="68"/>
                    </a:lnTo>
                    <a:lnTo>
                      <a:pt x="62" y="68"/>
                    </a:lnTo>
                    <a:lnTo>
                      <a:pt x="62" y="70"/>
                    </a:lnTo>
                    <a:lnTo>
                      <a:pt x="60" y="70"/>
                    </a:lnTo>
                    <a:lnTo>
                      <a:pt x="60" y="68"/>
                    </a:lnTo>
                    <a:lnTo>
                      <a:pt x="58" y="68"/>
                    </a:lnTo>
                    <a:lnTo>
                      <a:pt x="54" y="68"/>
                    </a:lnTo>
                    <a:lnTo>
                      <a:pt x="52" y="68"/>
                    </a:lnTo>
                    <a:lnTo>
                      <a:pt x="50" y="66"/>
                    </a:lnTo>
                    <a:lnTo>
                      <a:pt x="48" y="66"/>
                    </a:lnTo>
                    <a:lnTo>
                      <a:pt x="48" y="66"/>
                    </a:lnTo>
                    <a:lnTo>
                      <a:pt x="46" y="66"/>
                    </a:lnTo>
                    <a:lnTo>
                      <a:pt x="46" y="68"/>
                    </a:lnTo>
                    <a:lnTo>
                      <a:pt x="46" y="68"/>
                    </a:lnTo>
                    <a:lnTo>
                      <a:pt x="44" y="68"/>
                    </a:lnTo>
                    <a:lnTo>
                      <a:pt x="44" y="70"/>
                    </a:lnTo>
                    <a:lnTo>
                      <a:pt x="44" y="70"/>
                    </a:lnTo>
                    <a:lnTo>
                      <a:pt x="44" y="72"/>
                    </a:lnTo>
                    <a:lnTo>
                      <a:pt x="44" y="74"/>
                    </a:lnTo>
                    <a:lnTo>
                      <a:pt x="42" y="78"/>
                    </a:lnTo>
                    <a:lnTo>
                      <a:pt x="42" y="80"/>
                    </a:lnTo>
                    <a:lnTo>
                      <a:pt x="42" y="82"/>
                    </a:lnTo>
                    <a:lnTo>
                      <a:pt x="40" y="84"/>
                    </a:lnTo>
                    <a:lnTo>
                      <a:pt x="40" y="86"/>
                    </a:lnTo>
                    <a:lnTo>
                      <a:pt x="38" y="88"/>
                    </a:lnTo>
                    <a:lnTo>
                      <a:pt x="38" y="88"/>
                    </a:lnTo>
                    <a:lnTo>
                      <a:pt x="36" y="90"/>
                    </a:lnTo>
                    <a:lnTo>
                      <a:pt x="36" y="9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8" name="Freeform 217">
                <a:extLst>
                  <a:ext uri="{FF2B5EF4-FFF2-40B4-BE49-F238E27FC236}">
                    <a16:creationId xmlns:a16="http://schemas.microsoft.com/office/drawing/2014/main" id="{8AC144E0-099C-4126-8C19-9C79FCCE4AC7}"/>
                  </a:ext>
                </a:extLst>
              </p:cNvPr>
              <p:cNvSpPr>
                <a:spLocks/>
              </p:cNvSpPr>
              <p:nvPr/>
            </p:nvSpPr>
            <p:spPr bwMode="auto">
              <a:xfrm>
                <a:off x="7034503" y="4740442"/>
                <a:ext cx="158750" cy="196850"/>
              </a:xfrm>
              <a:custGeom>
                <a:avLst/>
                <a:gdLst>
                  <a:gd name="T0" fmla="*/ 26 w 100"/>
                  <a:gd name="T1" fmla="*/ 30 h 124"/>
                  <a:gd name="T2" fmla="*/ 22 w 100"/>
                  <a:gd name="T3" fmla="*/ 38 h 124"/>
                  <a:gd name="T4" fmla="*/ 16 w 100"/>
                  <a:gd name="T5" fmla="*/ 48 h 124"/>
                  <a:gd name="T6" fmla="*/ 14 w 100"/>
                  <a:gd name="T7" fmla="*/ 60 h 124"/>
                  <a:gd name="T8" fmla="*/ 6 w 100"/>
                  <a:gd name="T9" fmla="*/ 64 h 124"/>
                  <a:gd name="T10" fmla="*/ 2 w 100"/>
                  <a:gd name="T11" fmla="*/ 70 h 124"/>
                  <a:gd name="T12" fmla="*/ 0 w 100"/>
                  <a:gd name="T13" fmla="*/ 88 h 124"/>
                  <a:gd name="T14" fmla="*/ 4 w 100"/>
                  <a:gd name="T15" fmla="*/ 94 h 124"/>
                  <a:gd name="T16" fmla="*/ 14 w 100"/>
                  <a:gd name="T17" fmla="*/ 100 h 124"/>
                  <a:gd name="T18" fmla="*/ 16 w 100"/>
                  <a:gd name="T19" fmla="*/ 104 h 124"/>
                  <a:gd name="T20" fmla="*/ 18 w 100"/>
                  <a:gd name="T21" fmla="*/ 116 h 124"/>
                  <a:gd name="T22" fmla="*/ 24 w 100"/>
                  <a:gd name="T23" fmla="*/ 120 h 124"/>
                  <a:gd name="T24" fmla="*/ 30 w 100"/>
                  <a:gd name="T25" fmla="*/ 120 h 124"/>
                  <a:gd name="T26" fmla="*/ 34 w 100"/>
                  <a:gd name="T27" fmla="*/ 110 h 124"/>
                  <a:gd name="T28" fmla="*/ 34 w 100"/>
                  <a:gd name="T29" fmla="*/ 94 h 124"/>
                  <a:gd name="T30" fmla="*/ 40 w 100"/>
                  <a:gd name="T31" fmla="*/ 90 h 124"/>
                  <a:gd name="T32" fmla="*/ 46 w 100"/>
                  <a:gd name="T33" fmla="*/ 88 h 124"/>
                  <a:gd name="T34" fmla="*/ 46 w 100"/>
                  <a:gd name="T35" fmla="*/ 94 h 124"/>
                  <a:gd name="T36" fmla="*/ 44 w 100"/>
                  <a:gd name="T37" fmla="*/ 110 h 124"/>
                  <a:gd name="T38" fmla="*/ 48 w 100"/>
                  <a:gd name="T39" fmla="*/ 114 h 124"/>
                  <a:gd name="T40" fmla="*/ 56 w 100"/>
                  <a:gd name="T41" fmla="*/ 116 h 124"/>
                  <a:gd name="T42" fmla="*/ 60 w 100"/>
                  <a:gd name="T43" fmla="*/ 122 h 124"/>
                  <a:gd name="T44" fmla="*/ 70 w 100"/>
                  <a:gd name="T45" fmla="*/ 122 h 124"/>
                  <a:gd name="T46" fmla="*/ 72 w 100"/>
                  <a:gd name="T47" fmla="*/ 118 h 124"/>
                  <a:gd name="T48" fmla="*/ 70 w 100"/>
                  <a:gd name="T49" fmla="*/ 104 h 124"/>
                  <a:gd name="T50" fmla="*/ 60 w 100"/>
                  <a:gd name="T51" fmla="*/ 88 h 124"/>
                  <a:gd name="T52" fmla="*/ 52 w 100"/>
                  <a:gd name="T53" fmla="*/ 74 h 124"/>
                  <a:gd name="T54" fmla="*/ 56 w 100"/>
                  <a:gd name="T55" fmla="*/ 68 h 124"/>
                  <a:gd name="T56" fmla="*/ 66 w 100"/>
                  <a:gd name="T57" fmla="*/ 58 h 124"/>
                  <a:gd name="T58" fmla="*/ 70 w 100"/>
                  <a:gd name="T59" fmla="*/ 48 h 124"/>
                  <a:gd name="T60" fmla="*/ 68 w 100"/>
                  <a:gd name="T61" fmla="*/ 42 h 124"/>
                  <a:gd name="T62" fmla="*/ 62 w 100"/>
                  <a:gd name="T63" fmla="*/ 42 h 124"/>
                  <a:gd name="T64" fmla="*/ 52 w 100"/>
                  <a:gd name="T65" fmla="*/ 48 h 124"/>
                  <a:gd name="T66" fmla="*/ 44 w 100"/>
                  <a:gd name="T67" fmla="*/ 52 h 124"/>
                  <a:gd name="T68" fmla="*/ 40 w 100"/>
                  <a:gd name="T69" fmla="*/ 46 h 124"/>
                  <a:gd name="T70" fmla="*/ 38 w 100"/>
                  <a:gd name="T71" fmla="*/ 30 h 124"/>
                  <a:gd name="T72" fmla="*/ 34 w 100"/>
                  <a:gd name="T73" fmla="*/ 18 h 124"/>
                  <a:gd name="T74" fmla="*/ 36 w 100"/>
                  <a:gd name="T75" fmla="*/ 14 h 124"/>
                  <a:gd name="T76" fmla="*/ 44 w 100"/>
                  <a:gd name="T77" fmla="*/ 18 h 124"/>
                  <a:gd name="T78" fmla="*/ 52 w 100"/>
                  <a:gd name="T79" fmla="*/ 24 h 124"/>
                  <a:gd name="T80" fmla="*/ 64 w 100"/>
                  <a:gd name="T81" fmla="*/ 22 h 124"/>
                  <a:gd name="T82" fmla="*/ 70 w 100"/>
                  <a:gd name="T83" fmla="*/ 24 h 124"/>
                  <a:gd name="T84" fmla="*/ 78 w 100"/>
                  <a:gd name="T85" fmla="*/ 26 h 124"/>
                  <a:gd name="T86" fmla="*/ 96 w 100"/>
                  <a:gd name="T87" fmla="*/ 20 h 124"/>
                  <a:gd name="T88" fmla="*/ 100 w 100"/>
                  <a:gd name="T89" fmla="*/ 14 h 124"/>
                  <a:gd name="T90" fmla="*/ 96 w 100"/>
                  <a:gd name="T91" fmla="*/ 2 h 124"/>
                  <a:gd name="T92" fmla="*/ 92 w 100"/>
                  <a:gd name="T93" fmla="*/ 0 h 124"/>
                  <a:gd name="T94" fmla="*/ 86 w 100"/>
                  <a:gd name="T95" fmla="*/ 0 h 124"/>
                  <a:gd name="T96" fmla="*/ 82 w 100"/>
                  <a:gd name="T97" fmla="*/ 10 h 124"/>
                  <a:gd name="T98" fmla="*/ 74 w 100"/>
                  <a:gd name="T99" fmla="*/ 12 h 124"/>
                  <a:gd name="T100" fmla="*/ 50 w 100"/>
                  <a:gd name="T101" fmla="*/ 8 h 124"/>
                  <a:gd name="T102" fmla="*/ 32 w 100"/>
                  <a:gd name="T103" fmla="*/ 8 h 124"/>
                  <a:gd name="T104" fmla="*/ 28 w 100"/>
                  <a:gd name="T105" fmla="*/ 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124">
                    <a:moveTo>
                      <a:pt x="26" y="16"/>
                    </a:moveTo>
                    <a:lnTo>
                      <a:pt x="26" y="16"/>
                    </a:lnTo>
                    <a:lnTo>
                      <a:pt x="26" y="18"/>
                    </a:lnTo>
                    <a:lnTo>
                      <a:pt x="26" y="20"/>
                    </a:lnTo>
                    <a:lnTo>
                      <a:pt x="26" y="26"/>
                    </a:lnTo>
                    <a:lnTo>
                      <a:pt x="26" y="30"/>
                    </a:lnTo>
                    <a:lnTo>
                      <a:pt x="26" y="32"/>
                    </a:lnTo>
                    <a:lnTo>
                      <a:pt x="24" y="34"/>
                    </a:lnTo>
                    <a:lnTo>
                      <a:pt x="24" y="36"/>
                    </a:lnTo>
                    <a:lnTo>
                      <a:pt x="24" y="36"/>
                    </a:lnTo>
                    <a:lnTo>
                      <a:pt x="24" y="38"/>
                    </a:lnTo>
                    <a:lnTo>
                      <a:pt x="22" y="38"/>
                    </a:lnTo>
                    <a:lnTo>
                      <a:pt x="20" y="40"/>
                    </a:lnTo>
                    <a:lnTo>
                      <a:pt x="18" y="42"/>
                    </a:lnTo>
                    <a:lnTo>
                      <a:pt x="18" y="44"/>
                    </a:lnTo>
                    <a:lnTo>
                      <a:pt x="16" y="46"/>
                    </a:lnTo>
                    <a:lnTo>
                      <a:pt x="16" y="46"/>
                    </a:lnTo>
                    <a:lnTo>
                      <a:pt x="16" y="48"/>
                    </a:lnTo>
                    <a:lnTo>
                      <a:pt x="16" y="52"/>
                    </a:lnTo>
                    <a:lnTo>
                      <a:pt x="16" y="54"/>
                    </a:lnTo>
                    <a:lnTo>
                      <a:pt x="16" y="56"/>
                    </a:lnTo>
                    <a:lnTo>
                      <a:pt x="14" y="58"/>
                    </a:lnTo>
                    <a:lnTo>
                      <a:pt x="14" y="60"/>
                    </a:lnTo>
                    <a:lnTo>
                      <a:pt x="14" y="60"/>
                    </a:lnTo>
                    <a:lnTo>
                      <a:pt x="14" y="60"/>
                    </a:lnTo>
                    <a:lnTo>
                      <a:pt x="14" y="60"/>
                    </a:lnTo>
                    <a:lnTo>
                      <a:pt x="12" y="62"/>
                    </a:lnTo>
                    <a:lnTo>
                      <a:pt x="10" y="62"/>
                    </a:lnTo>
                    <a:lnTo>
                      <a:pt x="8" y="64"/>
                    </a:lnTo>
                    <a:lnTo>
                      <a:pt x="6" y="64"/>
                    </a:lnTo>
                    <a:lnTo>
                      <a:pt x="6" y="66"/>
                    </a:lnTo>
                    <a:lnTo>
                      <a:pt x="4" y="66"/>
                    </a:lnTo>
                    <a:lnTo>
                      <a:pt x="4" y="66"/>
                    </a:lnTo>
                    <a:lnTo>
                      <a:pt x="2" y="68"/>
                    </a:lnTo>
                    <a:lnTo>
                      <a:pt x="2" y="68"/>
                    </a:lnTo>
                    <a:lnTo>
                      <a:pt x="2" y="70"/>
                    </a:lnTo>
                    <a:lnTo>
                      <a:pt x="2" y="72"/>
                    </a:lnTo>
                    <a:lnTo>
                      <a:pt x="0" y="74"/>
                    </a:lnTo>
                    <a:lnTo>
                      <a:pt x="0" y="76"/>
                    </a:lnTo>
                    <a:lnTo>
                      <a:pt x="0" y="80"/>
                    </a:lnTo>
                    <a:lnTo>
                      <a:pt x="0" y="84"/>
                    </a:lnTo>
                    <a:lnTo>
                      <a:pt x="0" y="88"/>
                    </a:lnTo>
                    <a:lnTo>
                      <a:pt x="2" y="90"/>
                    </a:lnTo>
                    <a:lnTo>
                      <a:pt x="2" y="92"/>
                    </a:lnTo>
                    <a:lnTo>
                      <a:pt x="2" y="92"/>
                    </a:lnTo>
                    <a:lnTo>
                      <a:pt x="2" y="94"/>
                    </a:lnTo>
                    <a:lnTo>
                      <a:pt x="4" y="94"/>
                    </a:lnTo>
                    <a:lnTo>
                      <a:pt x="4" y="94"/>
                    </a:lnTo>
                    <a:lnTo>
                      <a:pt x="6" y="96"/>
                    </a:lnTo>
                    <a:lnTo>
                      <a:pt x="8" y="96"/>
                    </a:lnTo>
                    <a:lnTo>
                      <a:pt x="10" y="96"/>
                    </a:lnTo>
                    <a:lnTo>
                      <a:pt x="12" y="98"/>
                    </a:lnTo>
                    <a:lnTo>
                      <a:pt x="12" y="98"/>
                    </a:lnTo>
                    <a:lnTo>
                      <a:pt x="14" y="100"/>
                    </a:lnTo>
                    <a:lnTo>
                      <a:pt x="14" y="100"/>
                    </a:lnTo>
                    <a:lnTo>
                      <a:pt x="16" y="100"/>
                    </a:lnTo>
                    <a:lnTo>
                      <a:pt x="16" y="100"/>
                    </a:lnTo>
                    <a:lnTo>
                      <a:pt x="16" y="102"/>
                    </a:lnTo>
                    <a:lnTo>
                      <a:pt x="16" y="102"/>
                    </a:lnTo>
                    <a:lnTo>
                      <a:pt x="16" y="104"/>
                    </a:lnTo>
                    <a:lnTo>
                      <a:pt x="16" y="106"/>
                    </a:lnTo>
                    <a:lnTo>
                      <a:pt x="16" y="108"/>
                    </a:lnTo>
                    <a:lnTo>
                      <a:pt x="16" y="112"/>
                    </a:lnTo>
                    <a:lnTo>
                      <a:pt x="16" y="114"/>
                    </a:lnTo>
                    <a:lnTo>
                      <a:pt x="16" y="116"/>
                    </a:lnTo>
                    <a:lnTo>
                      <a:pt x="18" y="116"/>
                    </a:lnTo>
                    <a:lnTo>
                      <a:pt x="18" y="116"/>
                    </a:lnTo>
                    <a:lnTo>
                      <a:pt x="18" y="118"/>
                    </a:lnTo>
                    <a:lnTo>
                      <a:pt x="20" y="118"/>
                    </a:lnTo>
                    <a:lnTo>
                      <a:pt x="20" y="120"/>
                    </a:lnTo>
                    <a:lnTo>
                      <a:pt x="22" y="120"/>
                    </a:lnTo>
                    <a:lnTo>
                      <a:pt x="24" y="120"/>
                    </a:lnTo>
                    <a:lnTo>
                      <a:pt x="26" y="120"/>
                    </a:lnTo>
                    <a:lnTo>
                      <a:pt x="28" y="120"/>
                    </a:lnTo>
                    <a:lnTo>
                      <a:pt x="30" y="120"/>
                    </a:lnTo>
                    <a:lnTo>
                      <a:pt x="30" y="120"/>
                    </a:lnTo>
                    <a:lnTo>
                      <a:pt x="30" y="120"/>
                    </a:lnTo>
                    <a:lnTo>
                      <a:pt x="30" y="120"/>
                    </a:lnTo>
                    <a:lnTo>
                      <a:pt x="32" y="120"/>
                    </a:lnTo>
                    <a:lnTo>
                      <a:pt x="32" y="118"/>
                    </a:lnTo>
                    <a:lnTo>
                      <a:pt x="32" y="116"/>
                    </a:lnTo>
                    <a:lnTo>
                      <a:pt x="34" y="114"/>
                    </a:lnTo>
                    <a:lnTo>
                      <a:pt x="34" y="112"/>
                    </a:lnTo>
                    <a:lnTo>
                      <a:pt x="34" y="110"/>
                    </a:lnTo>
                    <a:lnTo>
                      <a:pt x="34" y="106"/>
                    </a:lnTo>
                    <a:lnTo>
                      <a:pt x="34" y="102"/>
                    </a:lnTo>
                    <a:lnTo>
                      <a:pt x="34" y="100"/>
                    </a:lnTo>
                    <a:lnTo>
                      <a:pt x="34" y="98"/>
                    </a:lnTo>
                    <a:lnTo>
                      <a:pt x="34" y="96"/>
                    </a:lnTo>
                    <a:lnTo>
                      <a:pt x="34" y="94"/>
                    </a:lnTo>
                    <a:lnTo>
                      <a:pt x="34" y="92"/>
                    </a:lnTo>
                    <a:lnTo>
                      <a:pt x="36" y="92"/>
                    </a:lnTo>
                    <a:lnTo>
                      <a:pt x="36" y="92"/>
                    </a:lnTo>
                    <a:lnTo>
                      <a:pt x="36" y="90"/>
                    </a:lnTo>
                    <a:lnTo>
                      <a:pt x="38" y="90"/>
                    </a:lnTo>
                    <a:lnTo>
                      <a:pt x="40" y="90"/>
                    </a:lnTo>
                    <a:lnTo>
                      <a:pt x="40" y="88"/>
                    </a:lnTo>
                    <a:lnTo>
                      <a:pt x="42" y="88"/>
                    </a:lnTo>
                    <a:lnTo>
                      <a:pt x="44" y="88"/>
                    </a:lnTo>
                    <a:lnTo>
                      <a:pt x="44" y="88"/>
                    </a:lnTo>
                    <a:lnTo>
                      <a:pt x="46" y="88"/>
                    </a:lnTo>
                    <a:lnTo>
                      <a:pt x="46" y="88"/>
                    </a:lnTo>
                    <a:lnTo>
                      <a:pt x="46" y="90"/>
                    </a:lnTo>
                    <a:lnTo>
                      <a:pt x="46" y="90"/>
                    </a:lnTo>
                    <a:lnTo>
                      <a:pt x="46" y="90"/>
                    </a:lnTo>
                    <a:lnTo>
                      <a:pt x="46" y="92"/>
                    </a:lnTo>
                    <a:lnTo>
                      <a:pt x="46" y="94"/>
                    </a:lnTo>
                    <a:lnTo>
                      <a:pt x="46" y="94"/>
                    </a:lnTo>
                    <a:lnTo>
                      <a:pt x="46" y="96"/>
                    </a:lnTo>
                    <a:lnTo>
                      <a:pt x="46" y="100"/>
                    </a:lnTo>
                    <a:lnTo>
                      <a:pt x="44" y="104"/>
                    </a:lnTo>
                    <a:lnTo>
                      <a:pt x="44" y="106"/>
                    </a:lnTo>
                    <a:lnTo>
                      <a:pt x="44" y="108"/>
                    </a:lnTo>
                    <a:lnTo>
                      <a:pt x="44" y="110"/>
                    </a:lnTo>
                    <a:lnTo>
                      <a:pt x="44" y="110"/>
                    </a:lnTo>
                    <a:lnTo>
                      <a:pt x="44" y="112"/>
                    </a:lnTo>
                    <a:lnTo>
                      <a:pt x="44" y="112"/>
                    </a:lnTo>
                    <a:lnTo>
                      <a:pt x="46" y="112"/>
                    </a:lnTo>
                    <a:lnTo>
                      <a:pt x="46" y="112"/>
                    </a:lnTo>
                    <a:lnTo>
                      <a:pt x="48" y="114"/>
                    </a:lnTo>
                    <a:lnTo>
                      <a:pt x="50" y="114"/>
                    </a:lnTo>
                    <a:lnTo>
                      <a:pt x="54" y="114"/>
                    </a:lnTo>
                    <a:lnTo>
                      <a:pt x="54" y="114"/>
                    </a:lnTo>
                    <a:lnTo>
                      <a:pt x="56" y="114"/>
                    </a:lnTo>
                    <a:lnTo>
                      <a:pt x="56" y="116"/>
                    </a:lnTo>
                    <a:lnTo>
                      <a:pt x="56" y="116"/>
                    </a:lnTo>
                    <a:lnTo>
                      <a:pt x="56" y="116"/>
                    </a:lnTo>
                    <a:lnTo>
                      <a:pt x="58" y="118"/>
                    </a:lnTo>
                    <a:lnTo>
                      <a:pt x="58" y="120"/>
                    </a:lnTo>
                    <a:lnTo>
                      <a:pt x="58" y="122"/>
                    </a:lnTo>
                    <a:lnTo>
                      <a:pt x="58" y="122"/>
                    </a:lnTo>
                    <a:lnTo>
                      <a:pt x="60" y="122"/>
                    </a:lnTo>
                    <a:lnTo>
                      <a:pt x="60" y="122"/>
                    </a:lnTo>
                    <a:lnTo>
                      <a:pt x="62" y="124"/>
                    </a:lnTo>
                    <a:lnTo>
                      <a:pt x="64" y="122"/>
                    </a:lnTo>
                    <a:lnTo>
                      <a:pt x="66" y="122"/>
                    </a:lnTo>
                    <a:lnTo>
                      <a:pt x="68" y="122"/>
                    </a:lnTo>
                    <a:lnTo>
                      <a:pt x="70" y="122"/>
                    </a:lnTo>
                    <a:lnTo>
                      <a:pt x="70" y="122"/>
                    </a:lnTo>
                    <a:lnTo>
                      <a:pt x="72" y="120"/>
                    </a:lnTo>
                    <a:lnTo>
                      <a:pt x="72" y="120"/>
                    </a:lnTo>
                    <a:lnTo>
                      <a:pt x="72" y="120"/>
                    </a:lnTo>
                    <a:lnTo>
                      <a:pt x="72" y="118"/>
                    </a:lnTo>
                    <a:lnTo>
                      <a:pt x="72" y="118"/>
                    </a:lnTo>
                    <a:lnTo>
                      <a:pt x="72" y="116"/>
                    </a:lnTo>
                    <a:lnTo>
                      <a:pt x="72" y="114"/>
                    </a:lnTo>
                    <a:lnTo>
                      <a:pt x="72" y="112"/>
                    </a:lnTo>
                    <a:lnTo>
                      <a:pt x="72" y="110"/>
                    </a:lnTo>
                    <a:lnTo>
                      <a:pt x="72" y="108"/>
                    </a:lnTo>
                    <a:lnTo>
                      <a:pt x="70" y="104"/>
                    </a:lnTo>
                    <a:lnTo>
                      <a:pt x="70" y="102"/>
                    </a:lnTo>
                    <a:lnTo>
                      <a:pt x="70" y="100"/>
                    </a:lnTo>
                    <a:lnTo>
                      <a:pt x="68" y="98"/>
                    </a:lnTo>
                    <a:lnTo>
                      <a:pt x="66" y="96"/>
                    </a:lnTo>
                    <a:lnTo>
                      <a:pt x="64" y="92"/>
                    </a:lnTo>
                    <a:lnTo>
                      <a:pt x="60" y="88"/>
                    </a:lnTo>
                    <a:lnTo>
                      <a:pt x="58" y="84"/>
                    </a:lnTo>
                    <a:lnTo>
                      <a:pt x="56" y="82"/>
                    </a:lnTo>
                    <a:lnTo>
                      <a:pt x="54" y="78"/>
                    </a:lnTo>
                    <a:lnTo>
                      <a:pt x="54" y="76"/>
                    </a:lnTo>
                    <a:lnTo>
                      <a:pt x="54" y="74"/>
                    </a:lnTo>
                    <a:lnTo>
                      <a:pt x="52" y="74"/>
                    </a:lnTo>
                    <a:lnTo>
                      <a:pt x="52" y="72"/>
                    </a:lnTo>
                    <a:lnTo>
                      <a:pt x="54" y="72"/>
                    </a:lnTo>
                    <a:lnTo>
                      <a:pt x="54" y="70"/>
                    </a:lnTo>
                    <a:lnTo>
                      <a:pt x="54" y="70"/>
                    </a:lnTo>
                    <a:lnTo>
                      <a:pt x="54" y="70"/>
                    </a:lnTo>
                    <a:lnTo>
                      <a:pt x="56" y="68"/>
                    </a:lnTo>
                    <a:lnTo>
                      <a:pt x="56" y="68"/>
                    </a:lnTo>
                    <a:lnTo>
                      <a:pt x="60" y="66"/>
                    </a:lnTo>
                    <a:lnTo>
                      <a:pt x="60" y="64"/>
                    </a:lnTo>
                    <a:lnTo>
                      <a:pt x="62" y="64"/>
                    </a:lnTo>
                    <a:lnTo>
                      <a:pt x="64" y="60"/>
                    </a:lnTo>
                    <a:lnTo>
                      <a:pt x="66" y="58"/>
                    </a:lnTo>
                    <a:lnTo>
                      <a:pt x="68" y="56"/>
                    </a:lnTo>
                    <a:lnTo>
                      <a:pt x="68" y="54"/>
                    </a:lnTo>
                    <a:lnTo>
                      <a:pt x="70" y="52"/>
                    </a:lnTo>
                    <a:lnTo>
                      <a:pt x="70" y="50"/>
                    </a:lnTo>
                    <a:lnTo>
                      <a:pt x="70" y="50"/>
                    </a:lnTo>
                    <a:lnTo>
                      <a:pt x="70" y="48"/>
                    </a:lnTo>
                    <a:lnTo>
                      <a:pt x="70" y="48"/>
                    </a:lnTo>
                    <a:lnTo>
                      <a:pt x="70" y="46"/>
                    </a:lnTo>
                    <a:lnTo>
                      <a:pt x="70" y="46"/>
                    </a:lnTo>
                    <a:lnTo>
                      <a:pt x="70" y="44"/>
                    </a:lnTo>
                    <a:lnTo>
                      <a:pt x="68" y="44"/>
                    </a:lnTo>
                    <a:lnTo>
                      <a:pt x="68" y="42"/>
                    </a:lnTo>
                    <a:lnTo>
                      <a:pt x="66" y="42"/>
                    </a:lnTo>
                    <a:lnTo>
                      <a:pt x="66" y="42"/>
                    </a:lnTo>
                    <a:lnTo>
                      <a:pt x="64" y="42"/>
                    </a:lnTo>
                    <a:lnTo>
                      <a:pt x="64" y="42"/>
                    </a:lnTo>
                    <a:lnTo>
                      <a:pt x="64" y="42"/>
                    </a:lnTo>
                    <a:lnTo>
                      <a:pt x="62" y="42"/>
                    </a:lnTo>
                    <a:lnTo>
                      <a:pt x="60" y="42"/>
                    </a:lnTo>
                    <a:lnTo>
                      <a:pt x="60" y="44"/>
                    </a:lnTo>
                    <a:lnTo>
                      <a:pt x="56" y="44"/>
                    </a:lnTo>
                    <a:lnTo>
                      <a:pt x="54" y="46"/>
                    </a:lnTo>
                    <a:lnTo>
                      <a:pt x="54" y="46"/>
                    </a:lnTo>
                    <a:lnTo>
                      <a:pt x="52" y="48"/>
                    </a:lnTo>
                    <a:lnTo>
                      <a:pt x="50" y="50"/>
                    </a:lnTo>
                    <a:lnTo>
                      <a:pt x="48" y="50"/>
                    </a:lnTo>
                    <a:lnTo>
                      <a:pt x="46" y="52"/>
                    </a:lnTo>
                    <a:lnTo>
                      <a:pt x="46" y="52"/>
                    </a:lnTo>
                    <a:lnTo>
                      <a:pt x="44" y="52"/>
                    </a:lnTo>
                    <a:lnTo>
                      <a:pt x="44" y="52"/>
                    </a:lnTo>
                    <a:lnTo>
                      <a:pt x="44" y="50"/>
                    </a:lnTo>
                    <a:lnTo>
                      <a:pt x="42" y="50"/>
                    </a:lnTo>
                    <a:lnTo>
                      <a:pt x="42" y="50"/>
                    </a:lnTo>
                    <a:lnTo>
                      <a:pt x="42" y="48"/>
                    </a:lnTo>
                    <a:lnTo>
                      <a:pt x="40" y="48"/>
                    </a:lnTo>
                    <a:lnTo>
                      <a:pt x="40" y="46"/>
                    </a:lnTo>
                    <a:lnTo>
                      <a:pt x="40" y="44"/>
                    </a:lnTo>
                    <a:lnTo>
                      <a:pt x="40" y="40"/>
                    </a:lnTo>
                    <a:lnTo>
                      <a:pt x="38" y="38"/>
                    </a:lnTo>
                    <a:lnTo>
                      <a:pt x="38" y="34"/>
                    </a:lnTo>
                    <a:lnTo>
                      <a:pt x="38" y="32"/>
                    </a:lnTo>
                    <a:lnTo>
                      <a:pt x="38" y="30"/>
                    </a:lnTo>
                    <a:lnTo>
                      <a:pt x="36" y="28"/>
                    </a:lnTo>
                    <a:lnTo>
                      <a:pt x="36" y="26"/>
                    </a:lnTo>
                    <a:lnTo>
                      <a:pt x="36" y="24"/>
                    </a:lnTo>
                    <a:lnTo>
                      <a:pt x="34" y="20"/>
                    </a:lnTo>
                    <a:lnTo>
                      <a:pt x="34" y="20"/>
                    </a:lnTo>
                    <a:lnTo>
                      <a:pt x="34" y="18"/>
                    </a:lnTo>
                    <a:lnTo>
                      <a:pt x="34" y="18"/>
                    </a:lnTo>
                    <a:lnTo>
                      <a:pt x="34" y="16"/>
                    </a:lnTo>
                    <a:lnTo>
                      <a:pt x="34" y="16"/>
                    </a:lnTo>
                    <a:lnTo>
                      <a:pt x="36" y="16"/>
                    </a:lnTo>
                    <a:lnTo>
                      <a:pt x="36" y="14"/>
                    </a:lnTo>
                    <a:lnTo>
                      <a:pt x="36" y="14"/>
                    </a:lnTo>
                    <a:lnTo>
                      <a:pt x="38" y="14"/>
                    </a:lnTo>
                    <a:lnTo>
                      <a:pt x="38" y="16"/>
                    </a:lnTo>
                    <a:lnTo>
                      <a:pt x="40" y="16"/>
                    </a:lnTo>
                    <a:lnTo>
                      <a:pt x="42" y="16"/>
                    </a:lnTo>
                    <a:lnTo>
                      <a:pt x="44" y="18"/>
                    </a:lnTo>
                    <a:lnTo>
                      <a:pt x="44" y="18"/>
                    </a:lnTo>
                    <a:lnTo>
                      <a:pt x="46" y="18"/>
                    </a:lnTo>
                    <a:lnTo>
                      <a:pt x="48" y="20"/>
                    </a:lnTo>
                    <a:lnTo>
                      <a:pt x="50" y="22"/>
                    </a:lnTo>
                    <a:lnTo>
                      <a:pt x="50" y="24"/>
                    </a:lnTo>
                    <a:lnTo>
                      <a:pt x="52" y="24"/>
                    </a:lnTo>
                    <a:lnTo>
                      <a:pt x="52" y="24"/>
                    </a:lnTo>
                    <a:lnTo>
                      <a:pt x="54" y="24"/>
                    </a:lnTo>
                    <a:lnTo>
                      <a:pt x="56" y="24"/>
                    </a:lnTo>
                    <a:lnTo>
                      <a:pt x="58" y="24"/>
                    </a:lnTo>
                    <a:lnTo>
                      <a:pt x="60" y="22"/>
                    </a:lnTo>
                    <a:lnTo>
                      <a:pt x="62" y="22"/>
                    </a:lnTo>
                    <a:lnTo>
                      <a:pt x="64" y="22"/>
                    </a:lnTo>
                    <a:lnTo>
                      <a:pt x="66" y="22"/>
                    </a:lnTo>
                    <a:lnTo>
                      <a:pt x="66" y="22"/>
                    </a:lnTo>
                    <a:lnTo>
                      <a:pt x="66" y="22"/>
                    </a:lnTo>
                    <a:lnTo>
                      <a:pt x="68" y="22"/>
                    </a:lnTo>
                    <a:lnTo>
                      <a:pt x="68" y="22"/>
                    </a:lnTo>
                    <a:lnTo>
                      <a:pt x="70" y="24"/>
                    </a:lnTo>
                    <a:lnTo>
                      <a:pt x="72" y="26"/>
                    </a:lnTo>
                    <a:lnTo>
                      <a:pt x="74" y="26"/>
                    </a:lnTo>
                    <a:lnTo>
                      <a:pt x="74" y="26"/>
                    </a:lnTo>
                    <a:lnTo>
                      <a:pt x="76" y="26"/>
                    </a:lnTo>
                    <a:lnTo>
                      <a:pt x="76" y="26"/>
                    </a:lnTo>
                    <a:lnTo>
                      <a:pt x="78" y="26"/>
                    </a:lnTo>
                    <a:lnTo>
                      <a:pt x="80" y="26"/>
                    </a:lnTo>
                    <a:lnTo>
                      <a:pt x="82" y="24"/>
                    </a:lnTo>
                    <a:lnTo>
                      <a:pt x="88" y="22"/>
                    </a:lnTo>
                    <a:lnTo>
                      <a:pt x="90" y="22"/>
                    </a:lnTo>
                    <a:lnTo>
                      <a:pt x="92" y="20"/>
                    </a:lnTo>
                    <a:lnTo>
                      <a:pt x="96" y="20"/>
                    </a:lnTo>
                    <a:lnTo>
                      <a:pt x="96" y="18"/>
                    </a:lnTo>
                    <a:lnTo>
                      <a:pt x="98" y="18"/>
                    </a:lnTo>
                    <a:lnTo>
                      <a:pt x="100" y="18"/>
                    </a:lnTo>
                    <a:lnTo>
                      <a:pt x="100" y="16"/>
                    </a:lnTo>
                    <a:lnTo>
                      <a:pt x="100" y="16"/>
                    </a:lnTo>
                    <a:lnTo>
                      <a:pt x="100" y="14"/>
                    </a:lnTo>
                    <a:lnTo>
                      <a:pt x="100" y="12"/>
                    </a:lnTo>
                    <a:lnTo>
                      <a:pt x="100" y="10"/>
                    </a:lnTo>
                    <a:lnTo>
                      <a:pt x="100" y="8"/>
                    </a:lnTo>
                    <a:lnTo>
                      <a:pt x="98" y="6"/>
                    </a:lnTo>
                    <a:lnTo>
                      <a:pt x="98" y="4"/>
                    </a:lnTo>
                    <a:lnTo>
                      <a:pt x="96" y="2"/>
                    </a:lnTo>
                    <a:lnTo>
                      <a:pt x="96" y="0"/>
                    </a:lnTo>
                    <a:lnTo>
                      <a:pt x="96" y="0"/>
                    </a:lnTo>
                    <a:lnTo>
                      <a:pt x="96" y="0"/>
                    </a:lnTo>
                    <a:lnTo>
                      <a:pt x="94" y="0"/>
                    </a:lnTo>
                    <a:lnTo>
                      <a:pt x="92" y="0"/>
                    </a:lnTo>
                    <a:lnTo>
                      <a:pt x="92" y="0"/>
                    </a:lnTo>
                    <a:lnTo>
                      <a:pt x="90" y="0"/>
                    </a:lnTo>
                    <a:lnTo>
                      <a:pt x="88" y="0"/>
                    </a:lnTo>
                    <a:lnTo>
                      <a:pt x="88" y="0"/>
                    </a:lnTo>
                    <a:lnTo>
                      <a:pt x="86" y="0"/>
                    </a:lnTo>
                    <a:lnTo>
                      <a:pt x="86" y="0"/>
                    </a:lnTo>
                    <a:lnTo>
                      <a:pt x="86" y="0"/>
                    </a:lnTo>
                    <a:lnTo>
                      <a:pt x="86" y="2"/>
                    </a:lnTo>
                    <a:lnTo>
                      <a:pt x="84" y="4"/>
                    </a:lnTo>
                    <a:lnTo>
                      <a:pt x="84" y="6"/>
                    </a:lnTo>
                    <a:lnTo>
                      <a:pt x="84" y="8"/>
                    </a:lnTo>
                    <a:lnTo>
                      <a:pt x="82" y="10"/>
                    </a:lnTo>
                    <a:lnTo>
                      <a:pt x="82" y="10"/>
                    </a:lnTo>
                    <a:lnTo>
                      <a:pt x="82" y="10"/>
                    </a:lnTo>
                    <a:lnTo>
                      <a:pt x="80" y="12"/>
                    </a:lnTo>
                    <a:lnTo>
                      <a:pt x="80" y="12"/>
                    </a:lnTo>
                    <a:lnTo>
                      <a:pt x="78" y="12"/>
                    </a:lnTo>
                    <a:lnTo>
                      <a:pt x="76" y="12"/>
                    </a:lnTo>
                    <a:lnTo>
                      <a:pt x="74" y="12"/>
                    </a:lnTo>
                    <a:lnTo>
                      <a:pt x="72" y="12"/>
                    </a:lnTo>
                    <a:lnTo>
                      <a:pt x="70" y="12"/>
                    </a:lnTo>
                    <a:lnTo>
                      <a:pt x="64" y="12"/>
                    </a:lnTo>
                    <a:lnTo>
                      <a:pt x="56" y="10"/>
                    </a:lnTo>
                    <a:lnTo>
                      <a:pt x="52" y="10"/>
                    </a:lnTo>
                    <a:lnTo>
                      <a:pt x="50" y="8"/>
                    </a:lnTo>
                    <a:lnTo>
                      <a:pt x="48" y="8"/>
                    </a:lnTo>
                    <a:lnTo>
                      <a:pt x="44" y="8"/>
                    </a:lnTo>
                    <a:lnTo>
                      <a:pt x="38" y="8"/>
                    </a:lnTo>
                    <a:lnTo>
                      <a:pt x="36" y="8"/>
                    </a:lnTo>
                    <a:lnTo>
                      <a:pt x="34" y="8"/>
                    </a:lnTo>
                    <a:lnTo>
                      <a:pt x="32" y="8"/>
                    </a:lnTo>
                    <a:lnTo>
                      <a:pt x="30" y="10"/>
                    </a:lnTo>
                    <a:lnTo>
                      <a:pt x="30" y="10"/>
                    </a:lnTo>
                    <a:lnTo>
                      <a:pt x="30" y="10"/>
                    </a:lnTo>
                    <a:lnTo>
                      <a:pt x="28" y="10"/>
                    </a:lnTo>
                    <a:lnTo>
                      <a:pt x="28" y="12"/>
                    </a:lnTo>
                    <a:lnTo>
                      <a:pt x="28" y="12"/>
                    </a:lnTo>
                    <a:lnTo>
                      <a:pt x="28" y="14"/>
                    </a:lnTo>
                    <a:lnTo>
                      <a:pt x="26" y="1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9" name="Freeform 219">
                <a:extLst>
                  <a:ext uri="{FF2B5EF4-FFF2-40B4-BE49-F238E27FC236}">
                    <a16:creationId xmlns:a16="http://schemas.microsoft.com/office/drawing/2014/main" id="{D5FDF316-83DA-4FD4-A364-F04E571D160D}"/>
                  </a:ext>
                </a:extLst>
              </p:cNvPr>
              <p:cNvSpPr>
                <a:spLocks/>
              </p:cNvSpPr>
              <p:nvPr/>
            </p:nvSpPr>
            <p:spPr bwMode="auto">
              <a:xfrm>
                <a:off x="7237703" y="4711867"/>
                <a:ext cx="38100" cy="85725"/>
              </a:xfrm>
              <a:custGeom>
                <a:avLst/>
                <a:gdLst>
                  <a:gd name="T0" fmla="*/ 12 w 24"/>
                  <a:gd name="T1" fmla="*/ 22 h 54"/>
                  <a:gd name="T2" fmla="*/ 12 w 24"/>
                  <a:gd name="T3" fmla="*/ 22 h 54"/>
                  <a:gd name="T4" fmla="*/ 8 w 24"/>
                  <a:gd name="T5" fmla="*/ 24 h 54"/>
                  <a:gd name="T6" fmla="*/ 4 w 24"/>
                  <a:gd name="T7" fmla="*/ 26 h 54"/>
                  <a:gd name="T8" fmla="*/ 0 w 24"/>
                  <a:gd name="T9" fmla="*/ 26 h 54"/>
                  <a:gd name="T10" fmla="*/ 0 w 24"/>
                  <a:gd name="T11" fmla="*/ 28 h 54"/>
                  <a:gd name="T12" fmla="*/ 0 w 24"/>
                  <a:gd name="T13" fmla="*/ 28 h 54"/>
                  <a:gd name="T14" fmla="*/ 0 w 24"/>
                  <a:gd name="T15" fmla="*/ 32 h 54"/>
                  <a:gd name="T16" fmla="*/ 0 w 24"/>
                  <a:gd name="T17" fmla="*/ 36 h 54"/>
                  <a:gd name="T18" fmla="*/ 2 w 24"/>
                  <a:gd name="T19" fmla="*/ 40 h 54"/>
                  <a:gd name="T20" fmla="*/ 4 w 24"/>
                  <a:gd name="T21" fmla="*/ 44 h 54"/>
                  <a:gd name="T22" fmla="*/ 6 w 24"/>
                  <a:gd name="T23" fmla="*/ 46 h 54"/>
                  <a:gd name="T24" fmla="*/ 10 w 24"/>
                  <a:gd name="T25" fmla="*/ 50 h 54"/>
                  <a:gd name="T26" fmla="*/ 14 w 24"/>
                  <a:gd name="T27" fmla="*/ 52 h 54"/>
                  <a:gd name="T28" fmla="*/ 16 w 24"/>
                  <a:gd name="T29" fmla="*/ 54 h 54"/>
                  <a:gd name="T30" fmla="*/ 18 w 24"/>
                  <a:gd name="T31" fmla="*/ 54 h 54"/>
                  <a:gd name="T32" fmla="*/ 20 w 24"/>
                  <a:gd name="T33" fmla="*/ 52 h 54"/>
                  <a:gd name="T34" fmla="*/ 20 w 24"/>
                  <a:gd name="T35" fmla="*/ 50 h 54"/>
                  <a:gd name="T36" fmla="*/ 22 w 24"/>
                  <a:gd name="T37" fmla="*/ 48 h 54"/>
                  <a:gd name="T38" fmla="*/ 22 w 24"/>
                  <a:gd name="T39" fmla="*/ 44 h 54"/>
                  <a:gd name="T40" fmla="*/ 22 w 24"/>
                  <a:gd name="T41" fmla="*/ 36 h 54"/>
                  <a:gd name="T42" fmla="*/ 24 w 24"/>
                  <a:gd name="T43" fmla="*/ 32 h 54"/>
                  <a:gd name="T44" fmla="*/ 24 w 24"/>
                  <a:gd name="T45" fmla="*/ 22 h 54"/>
                  <a:gd name="T46" fmla="*/ 24 w 24"/>
                  <a:gd name="T47" fmla="*/ 16 h 54"/>
                  <a:gd name="T48" fmla="*/ 24 w 24"/>
                  <a:gd name="T49" fmla="*/ 10 h 54"/>
                  <a:gd name="T50" fmla="*/ 24 w 24"/>
                  <a:gd name="T51" fmla="*/ 6 h 54"/>
                  <a:gd name="T52" fmla="*/ 22 w 24"/>
                  <a:gd name="T53" fmla="*/ 2 h 54"/>
                  <a:gd name="T54" fmla="*/ 20 w 24"/>
                  <a:gd name="T55" fmla="*/ 0 h 54"/>
                  <a:gd name="T56" fmla="*/ 20 w 24"/>
                  <a:gd name="T57" fmla="*/ 0 h 54"/>
                  <a:gd name="T58" fmla="*/ 18 w 24"/>
                  <a:gd name="T59" fmla="*/ 0 h 54"/>
                  <a:gd name="T60" fmla="*/ 16 w 24"/>
                  <a:gd name="T61" fmla="*/ 0 h 54"/>
                  <a:gd name="T62" fmla="*/ 14 w 24"/>
                  <a:gd name="T63" fmla="*/ 2 h 54"/>
                  <a:gd name="T64" fmla="*/ 12 w 24"/>
                  <a:gd name="T65" fmla="*/ 6 h 54"/>
                  <a:gd name="T66" fmla="*/ 12 w 24"/>
                  <a:gd name="T67" fmla="*/ 6 h 54"/>
                  <a:gd name="T68" fmla="*/ 12 w 24"/>
                  <a:gd name="T69" fmla="*/ 10 h 54"/>
                  <a:gd name="T70" fmla="*/ 12 w 24"/>
                  <a:gd name="T71" fmla="*/ 14 h 54"/>
                  <a:gd name="T72" fmla="*/ 12 w 24"/>
                  <a:gd name="T73" fmla="*/ 18 h 54"/>
                  <a:gd name="T74" fmla="*/ 12 w 24"/>
                  <a:gd name="T75" fmla="*/ 2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 h="54">
                    <a:moveTo>
                      <a:pt x="12" y="22"/>
                    </a:moveTo>
                    <a:lnTo>
                      <a:pt x="12" y="22"/>
                    </a:lnTo>
                    <a:lnTo>
                      <a:pt x="12" y="22"/>
                    </a:lnTo>
                    <a:lnTo>
                      <a:pt x="12" y="22"/>
                    </a:lnTo>
                    <a:lnTo>
                      <a:pt x="10" y="24"/>
                    </a:lnTo>
                    <a:lnTo>
                      <a:pt x="8" y="24"/>
                    </a:lnTo>
                    <a:lnTo>
                      <a:pt x="6" y="24"/>
                    </a:lnTo>
                    <a:lnTo>
                      <a:pt x="4" y="26"/>
                    </a:lnTo>
                    <a:lnTo>
                      <a:pt x="2" y="26"/>
                    </a:lnTo>
                    <a:lnTo>
                      <a:pt x="0" y="26"/>
                    </a:lnTo>
                    <a:lnTo>
                      <a:pt x="0" y="26"/>
                    </a:lnTo>
                    <a:lnTo>
                      <a:pt x="0" y="28"/>
                    </a:lnTo>
                    <a:lnTo>
                      <a:pt x="0" y="28"/>
                    </a:lnTo>
                    <a:lnTo>
                      <a:pt x="0" y="28"/>
                    </a:lnTo>
                    <a:lnTo>
                      <a:pt x="0" y="30"/>
                    </a:lnTo>
                    <a:lnTo>
                      <a:pt x="0" y="32"/>
                    </a:lnTo>
                    <a:lnTo>
                      <a:pt x="0" y="34"/>
                    </a:lnTo>
                    <a:lnTo>
                      <a:pt x="0" y="36"/>
                    </a:lnTo>
                    <a:lnTo>
                      <a:pt x="0" y="38"/>
                    </a:lnTo>
                    <a:lnTo>
                      <a:pt x="2" y="40"/>
                    </a:lnTo>
                    <a:lnTo>
                      <a:pt x="2" y="42"/>
                    </a:lnTo>
                    <a:lnTo>
                      <a:pt x="4" y="44"/>
                    </a:lnTo>
                    <a:lnTo>
                      <a:pt x="4" y="44"/>
                    </a:lnTo>
                    <a:lnTo>
                      <a:pt x="6" y="46"/>
                    </a:lnTo>
                    <a:lnTo>
                      <a:pt x="8" y="48"/>
                    </a:lnTo>
                    <a:lnTo>
                      <a:pt x="10" y="50"/>
                    </a:lnTo>
                    <a:lnTo>
                      <a:pt x="12" y="52"/>
                    </a:lnTo>
                    <a:lnTo>
                      <a:pt x="14" y="52"/>
                    </a:lnTo>
                    <a:lnTo>
                      <a:pt x="14" y="52"/>
                    </a:lnTo>
                    <a:lnTo>
                      <a:pt x="16" y="54"/>
                    </a:lnTo>
                    <a:lnTo>
                      <a:pt x="16" y="54"/>
                    </a:lnTo>
                    <a:lnTo>
                      <a:pt x="18" y="54"/>
                    </a:lnTo>
                    <a:lnTo>
                      <a:pt x="18" y="54"/>
                    </a:lnTo>
                    <a:lnTo>
                      <a:pt x="20" y="52"/>
                    </a:lnTo>
                    <a:lnTo>
                      <a:pt x="20" y="52"/>
                    </a:lnTo>
                    <a:lnTo>
                      <a:pt x="20" y="50"/>
                    </a:lnTo>
                    <a:lnTo>
                      <a:pt x="22" y="50"/>
                    </a:lnTo>
                    <a:lnTo>
                      <a:pt x="22" y="48"/>
                    </a:lnTo>
                    <a:lnTo>
                      <a:pt x="22" y="46"/>
                    </a:lnTo>
                    <a:lnTo>
                      <a:pt x="22" y="44"/>
                    </a:lnTo>
                    <a:lnTo>
                      <a:pt x="22" y="40"/>
                    </a:lnTo>
                    <a:lnTo>
                      <a:pt x="22" y="36"/>
                    </a:lnTo>
                    <a:lnTo>
                      <a:pt x="24" y="34"/>
                    </a:lnTo>
                    <a:lnTo>
                      <a:pt x="24" y="32"/>
                    </a:lnTo>
                    <a:lnTo>
                      <a:pt x="24" y="28"/>
                    </a:lnTo>
                    <a:lnTo>
                      <a:pt x="24" y="22"/>
                    </a:lnTo>
                    <a:lnTo>
                      <a:pt x="24" y="18"/>
                    </a:lnTo>
                    <a:lnTo>
                      <a:pt x="24" y="16"/>
                    </a:lnTo>
                    <a:lnTo>
                      <a:pt x="24" y="14"/>
                    </a:lnTo>
                    <a:lnTo>
                      <a:pt x="24" y="10"/>
                    </a:lnTo>
                    <a:lnTo>
                      <a:pt x="24" y="8"/>
                    </a:lnTo>
                    <a:lnTo>
                      <a:pt x="24" y="6"/>
                    </a:lnTo>
                    <a:lnTo>
                      <a:pt x="22" y="4"/>
                    </a:lnTo>
                    <a:lnTo>
                      <a:pt x="22" y="2"/>
                    </a:lnTo>
                    <a:lnTo>
                      <a:pt x="22" y="2"/>
                    </a:lnTo>
                    <a:lnTo>
                      <a:pt x="20" y="0"/>
                    </a:lnTo>
                    <a:lnTo>
                      <a:pt x="20" y="0"/>
                    </a:lnTo>
                    <a:lnTo>
                      <a:pt x="20" y="0"/>
                    </a:lnTo>
                    <a:lnTo>
                      <a:pt x="20" y="0"/>
                    </a:lnTo>
                    <a:lnTo>
                      <a:pt x="18" y="0"/>
                    </a:lnTo>
                    <a:lnTo>
                      <a:pt x="18" y="0"/>
                    </a:lnTo>
                    <a:lnTo>
                      <a:pt x="16" y="0"/>
                    </a:lnTo>
                    <a:lnTo>
                      <a:pt x="16" y="2"/>
                    </a:lnTo>
                    <a:lnTo>
                      <a:pt x="14" y="2"/>
                    </a:lnTo>
                    <a:lnTo>
                      <a:pt x="14" y="4"/>
                    </a:lnTo>
                    <a:lnTo>
                      <a:pt x="12" y="6"/>
                    </a:lnTo>
                    <a:lnTo>
                      <a:pt x="12" y="6"/>
                    </a:lnTo>
                    <a:lnTo>
                      <a:pt x="12" y="6"/>
                    </a:lnTo>
                    <a:lnTo>
                      <a:pt x="12" y="8"/>
                    </a:lnTo>
                    <a:lnTo>
                      <a:pt x="12" y="10"/>
                    </a:lnTo>
                    <a:lnTo>
                      <a:pt x="12" y="12"/>
                    </a:lnTo>
                    <a:lnTo>
                      <a:pt x="12" y="14"/>
                    </a:lnTo>
                    <a:lnTo>
                      <a:pt x="12" y="16"/>
                    </a:lnTo>
                    <a:lnTo>
                      <a:pt x="12" y="18"/>
                    </a:lnTo>
                    <a:lnTo>
                      <a:pt x="12" y="20"/>
                    </a:lnTo>
                    <a:lnTo>
                      <a:pt x="12" y="20"/>
                    </a:lnTo>
                    <a:lnTo>
                      <a:pt x="12" y="2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0" name="Freeform 221">
                <a:extLst>
                  <a:ext uri="{FF2B5EF4-FFF2-40B4-BE49-F238E27FC236}">
                    <a16:creationId xmlns:a16="http://schemas.microsoft.com/office/drawing/2014/main" id="{0A1C1EC8-7C1B-49E1-A3BE-17745840C4C9}"/>
                  </a:ext>
                </a:extLst>
              </p:cNvPr>
              <p:cNvSpPr>
                <a:spLocks/>
              </p:cNvSpPr>
              <p:nvPr/>
            </p:nvSpPr>
            <p:spPr bwMode="auto">
              <a:xfrm>
                <a:off x="7269453" y="4851567"/>
                <a:ext cx="57150" cy="31750"/>
              </a:xfrm>
              <a:custGeom>
                <a:avLst/>
                <a:gdLst>
                  <a:gd name="T0" fmla="*/ 4 w 36"/>
                  <a:gd name="T1" fmla="*/ 6 h 20"/>
                  <a:gd name="T2" fmla="*/ 4 w 36"/>
                  <a:gd name="T3" fmla="*/ 6 h 20"/>
                  <a:gd name="T4" fmla="*/ 4 w 36"/>
                  <a:gd name="T5" fmla="*/ 4 h 20"/>
                  <a:gd name="T6" fmla="*/ 6 w 36"/>
                  <a:gd name="T7" fmla="*/ 4 h 20"/>
                  <a:gd name="T8" fmla="*/ 8 w 36"/>
                  <a:gd name="T9" fmla="*/ 2 h 20"/>
                  <a:gd name="T10" fmla="*/ 10 w 36"/>
                  <a:gd name="T11" fmla="*/ 2 h 20"/>
                  <a:gd name="T12" fmla="*/ 14 w 36"/>
                  <a:gd name="T13" fmla="*/ 2 h 20"/>
                  <a:gd name="T14" fmla="*/ 16 w 36"/>
                  <a:gd name="T15" fmla="*/ 2 h 20"/>
                  <a:gd name="T16" fmla="*/ 18 w 36"/>
                  <a:gd name="T17" fmla="*/ 2 h 20"/>
                  <a:gd name="T18" fmla="*/ 22 w 36"/>
                  <a:gd name="T19" fmla="*/ 0 h 20"/>
                  <a:gd name="T20" fmla="*/ 22 w 36"/>
                  <a:gd name="T21" fmla="*/ 0 h 20"/>
                  <a:gd name="T22" fmla="*/ 24 w 36"/>
                  <a:gd name="T23" fmla="*/ 0 h 20"/>
                  <a:gd name="T24" fmla="*/ 26 w 36"/>
                  <a:gd name="T25" fmla="*/ 2 h 20"/>
                  <a:gd name="T26" fmla="*/ 26 w 36"/>
                  <a:gd name="T27" fmla="*/ 2 h 20"/>
                  <a:gd name="T28" fmla="*/ 28 w 36"/>
                  <a:gd name="T29" fmla="*/ 2 h 20"/>
                  <a:gd name="T30" fmla="*/ 28 w 36"/>
                  <a:gd name="T31" fmla="*/ 2 h 20"/>
                  <a:gd name="T32" fmla="*/ 30 w 36"/>
                  <a:gd name="T33" fmla="*/ 4 h 20"/>
                  <a:gd name="T34" fmla="*/ 30 w 36"/>
                  <a:gd name="T35" fmla="*/ 6 h 20"/>
                  <a:gd name="T36" fmla="*/ 32 w 36"/>
                  <a:gd name="T37" fmla="*/ 8 h 20"/>
                  <a:gd name="T38" fmla="*/ 34 w 36"/>
                  <a:gd name="T39" fmla="*/ 12 h 20"/>
                  <a:gd name="T40" fmla="*/ 34 w 36"/>
                  <a:gd name="T41" fmla="*/ 14 h 20"/>
                  <a:gd name="T42" fmla="*/ 36 w 36"/>
                  <a:gd name="T43" fmla="*/ 16 h 20"/>
                  <a:gd name="T44" fmla="*/ 36 w 36"/>
                  <a:gd name="T45" fmla="*/ 16 h 20"/>
                  <a:gd name="T46" fmla="*/ 36 w 36"/>
                  <a:gd name="T47" fmla="*/ 18 h 20"/>
                  <a:gd name="T48" fmla="*/ 36 w 36"/>
                  <a:gd name="T49" fmla="*/ 18 h 20"/>
                  <a:gd name="T50" fmla="*/ 36 w 36"/>
                  <a:gd name="T51" fmla="*/ 18 h 20"/>
                  <a:gd name="T52" fmla="*/ 36 w 36"/>
                  <a:gd name="T53" fmla="*/ 20 h 20"/>
                  <a:gd name="T54" fmla="*/ 34 w 36"/>
                  <a:gd name="T55" fmla="*/ 20 h 20"/>
                  <a:gd name="T56" fmla="*/ 34 w 36"/>
                  <a:gd name="T57" fmla="*/ 20 h 20"/>
                  <a:gd name="T58" fmla="*/ 34 w 36"/>
                  <a:gd name="T59" fmla="*/ 20 h 20"/>
                  <a:gd name="T60" fmla="*/ 32 w 36"/>
                  <a:gd name="T61" fmla="*/ 20 h 20"/>
                  <a:gd name="T62" fmla="*/ 32 w 36"/>
                  <a:gd name="T63" fmla="*/ 18 h 20"/>
                  <a:gd name="T64" fmla="*/ 30 w 36"/>
                  <a:gd name="T65" fmla="*/ 18 h 20"/>
                  <a:gd name="T66" fmla="*/ 26 w 36"/>
                  <a:gd name="T67" fmla="*/ 16 h 20"/>
                  <a:gd name="T68" fmla="*/ 24 w 36"/>
                  <a:gd name="T69" fmla="*/ 14 h 20"/>
                  <a:gd name="T70" fmla="*/ 24 w 36"/>
                  <a:gd name="T71" fmla="*/ 14 h 20"/>
                  <a:gd name="T72" fmla="*/ 22 w 36"/>
                  <a:gd name="T73" fmla="*/ 14 h 20"/>
                  <a:gd name="T74" fmla="*/ 18 w 36"/>
                  <a:gd name="T75" fmla="*/ 12 h 20"/>
                  <a:gd name="T76" fmla="*/ 14 w 36"/>
                  <a:gd name="T77" fmla="*/ 12 h 20"/>
                  <a:gd name="T78" fmla="*/ 14 w 36"/>
                  <a:gd name="T79" fmla="*/ 12 h 20"/>
                  <a:gd name="T80" fmla="*/ 12 w 36"/>
                  <a:gd name="T81" fmla="*/ 12 h 20"/>
                  <a:gd name="T82" fmla="*/ 10 w 36"/>
                  <a:gd name="T83" fmla="*/ 12 h 20"/>
                  <a:gd name="T84" fmla="*/ 10 w 36"/>
                  <a:gd name="T85" fmla="*/ 12 h 20"/>
                  <a:gd name="T86" fmla="*/ 6 w 36"/>
                  <a:gd name="T87" fmla="*/ 14 h 20"/>
                  <a:gd name="T88" fmla="*/ 4 w 36"/>
                  <a:gd name="T89" fmla="*/ 14 h 20"/>
                  <a:gd name="T90" fmla="*/ 2 w 36"/>
                  <a:gd name="T91" fmla="*/ 14 h 20"/>
                  <a:gd name="T92" fmla="*/ 2 w 36"/>
                  <a:gd name="T93" fmla="*/ 14 h 20"/>
                  <a:gd name="T94" fmla="*/ 0 w 36"/>
                  <a:gd name="T95" fmla="*/ 14 h 20"/>
                  <a:gd name="T96" fmla="*/ 0 w 36"/>
                  <a:gd name="T97" fmla="*/ 14 h 20"/>
                  <a:gd name="T98" fmla="*/ 0 w 36"/>
                  <a:gd name="T99" fmla="*/ 14 h 20"/>
                  <a:gd name="T100" fmla="*/ 0 w 36"/>
                  <a:gd name="T101" fmla="*/ 14 h 20"/>
                  <a:gd name="T102" fmla="*/ 0 w 36"/>
                  <a:gd name="T103" fmla="*/ 14 h 20"/>
                  <a:gd name="T104" fmla="*/ 0 w 36"/>
                  <a:gd name="T105" fmla="*/ 12 h 20"/>
                  <a:gd name="T106" fmla="*/ 0 w 36"/>
                  <a:gd name="T107" fmla="*/ 10 h 20"/>
                  <a:gd name="T108" fmla="*/ 0 w 36"/>
                  <a:gd name="T109" fmla="*/ 10 h 20"/>
                  <a:gd name="T110" fmla="*/ 2 w 36"/>
                  <a:gd name="T111" fmla="*/ 8 h 20"/>
                  <a:gd name="T112" fmla="*/ 2 w 36"/>
                  <a:gd name="T113" fmla="*/ 6 h 20"/>
                  <a:gd name="T114" fmla="*/ 2 w 36"/>
                  <a:gd name="T115" fmla="*/ 6 h 20"/>
                  <a:gd name="T116" fmla="*/ 4 w 36"/>
                  <a:gd name="T117" fmla="*/ 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 h="20">
                    <a:moveTo>
                      <a:pt x="4" y="6"/>
                    </a:moveTo>
                    <a:lnTo>
                      <a:pt x="4" y="6"/>
                    </a:lnTo>
                    <a:lnTo>
                      <a:pt x="4" y="4"/>
                    </a:lnTo>
                    <a:lnTo>
                      <a:pt x="6" y="4"/>
                    </a:lnTo>
                    <a:lnTo>
                      <a:pt x="8" y="2"/>
                    </a:lnTo>
                    <a:lnTo>
                      <a:pt x="10" y="2"/>
                    </a:lnTo>
                    <a:lnTo>
                      <a:pt x="14" y="2"/>
                    </a:lnTo>
                    <a:lnTo>
                      <a:pt x="16" y="2"/>
                    </a:lnTo>
                    <a:lnTo>
                      <a:pt x="18" y="2"/>
                    </a:lnTo>
                    <a:lnTo>
                      <a:pt x="22" y="0"/>
                    </a:lnTo>
                    <a:lnTo>
                      <a:pt x="22" y="0"/>
                    </a:lnTo>
                    <a:lnTo>
                      <a:pt x="24" y="0"/>
                    </a:lnTo>
                    <a:lnTo>
                      <a:pt x="26" y="2"/>
                    </a:lnTo>
                    <a:lnTo>
                      <a:pt x="26" y="2"/>
                    </a:lnTo>
                    <a:lnTo>
                      <a:pt x="28" y="2"/>
                    </a:lnTo>
                    <a:lnTo>
                      <a:pt x="28" y="2"/>
                    </a:lnTo>
                    <a:lnTo>
                      <a:pt x="30" y="4"/>
                    </a:lnTo>
                    <a:lnTo>
                      <a:pt x="30" y="6"/>
                    </a:lnTo>
                    <a:lnTo>
                      <a:pt x="32" y="8"/>
                    </a:lnTo>
                    <a:lnTo>
                      <a:pt x="34" y="12"/>
                    </a:lnTo>
                    <a:lnTo>
                      <a:pt x="34" y="14"/>
                    </a:lnTo>
                    <a:lnTo>
                      <a:pt x="36" y="16"/>
                    </a:lnTo>
                    <a:lnTo>
                      <a:pt x="36" y="16"/>
                    </a:lnTo>
                    <a:lnTo>
                      <a:pt x="36" y="18"/>
                    </a:lnTo>
                    <a:lnTo>
                      <a:pt x="36" y="18"/>
                    </a:lnTo>
                    <a:lnTo>
                      <a:pt x="36" y="18"/>
                    </a:lnTo>
                    <a:lnTo>
                      <a:pt x="36" y="20"/>
                    </a:lnTo>
                    <a:lnTo>
                      <a:pt x="34" y="20"/>
                    </a:lnTo>
                    <a:lnTo>
                      <a:pt x="34" y="20"/>
                    </a:lnTo>
                    <a:lnTo>
                      <a:pt x="34" y="20"/>
                    </a:lnTo>
                    <a:lnTo>
                      <a:pt x="32" y="20"/>
                    </a:lnTo>
                    <a:lnTo>
                      <a:pt x="32" y="18"/>
                    </a:lnTo>
                    <a:lnTo>
                      <a:pt x="30" y="18"/>
                    </a:lnTo>
                    <a:lnTo>
                      <a:pt x="26" y="16"/>
                    </a:lnTo>
                    <a:lnTo>
                      <a:pt x="24" y="14"/>
                    </a:lnTo>
                    <a:lnTo>
                      <a:pt x="24" y="14"/>
                    </a:lnTo>
                    <a:lnTo>
                      <a:pt x="22" y="14"/>
                    </a:lnTo>
                    <a:lnTo>
                      <a:pt x="18" y="12"/>
                    </a:lnTo>
                    <a:lnTo>
                      <a:pt x="14" y="12"/>
                    </a:lnTo>
                    <a:lnTo>
                      <a:pt x="14" y="12"/>
                    </a:lnTo>
                    <a:lnTo>
                      <a:pt x="12" y="12"/>
                    </a:lnTo>
                    <a:lnTo>
                      <a:pt x="10" y="12"/>
                    </a:lnTo>
                    <a:lnTo>
                      <a:pt x="10" y="12"/>
                    </a:lnTo>
                    <a:lnTo>
                      <a:pt x="6" y="14"/>
                    </a:lnTo>
                    <a:lnTo>
                      <a:pt x="4" y="14"/>
                    </a:lnTo>
                    <a:lnTo>
                      <a:pt x="2" y="14"/>
                    </a:lnTo>
                    <a:lnTo>
                      <a:pt x="2" y="14"/>
                    </a:lnTo>
                    <a:lnTo>
                      <a:pt x="0" y="14"/>
                    </a:lnTo>
                    <a:lnTo>
                      <a:pt x="0" y="14"/>
                    </a:lnTo>
                    <a:lnTo>
                      <a:pt x="0" y="14"/>
                    </a:lnTo>
                    <a:lnTo>
                      <a:pt x="0" y="14"/>
                    </a:lnTo>
                    <a:lnTo>
                      <a:pt x="0" y="14"/>
                    </a:lnTo>
                    <a:lnTo>
                      <a:pt x="0" y="12"/>
                    </a:lnTo>
                    <a:lnTo>
                      <a:pt x="0" y="10"/>
                    </a:lnTo>
                    <a:lnTo>
                      <a:pt x="0" y="10"/>
                    </a:lnTo>
                    <a:lnTo>
                      <a:pt x="2" y="8"/>
                    </a:lnTo>
                    <a:lnTo>
                      <a:pt x="2" y="6"/>
                    </a:lnTo>
                    <a:lnTo>
                      <a:pt x="2" y="6"/>
                    </a:lnTo>
                    <a:lnTo>
                      <a:pt x="4" y="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1" name="Freeform 225">
                <a:extLst>
                  <a:ext uri="{FF2B5EF4-FFF2-40B4-BE49-F238E27FC236}">
                    <a16:creationId xmlns:a16="http://schemas.microsoft.com/office/drawing/2014/main" id="{1D368954-C634-4D7C-84CB-EF7453E84A24}"/>
                  </a:ext>
                </a:extLst>
              </p:cNvPr>
              <p:cNvSpPr>
                <a:spLocks/>
              </p:cNvSpPr>
              <p:nvPr/>
            </p:nvSpPr>
            <p:spPr bwMode="auto">
              <a:xfrm>
                <a:off x="7399628" y="4803942"/>
                <a:ext cx="60325" cy="41275"/>
              </a:xfrm>
              <a:custGeom>
                <a:avLst/>
                <a:gdLst>
                  <a:gd name="T0" fmla="*/ 14 w 38"/>
                  <a:gd name="T1" fmla="*/ 24 h 26"/>
                  <a:gd name="T2" fmla="*/ 14 w 38"/>
                  <a:gd name="T3" fmla="*/ 24 h 26"/>
                  <a:gd name="T4" fmla="*/ 14 w 38"/>
                  <a:gd name="T5" fmla="*/ 24 h 26"/>
                  <a:gd name="T6" fmla="*/ 12 w 38"/>
                  <a:gd name="T7" fmla="*/ 24 h 26"/>
                  <a:gd name="T8" fmla="*/ 8 w 38"/>
                  <a:gd name="T9" fmla="*/ 24 h 26"/>
                  <a:gd name="T10" fmla="*/ 6 w 38"/>
                  <a:gd name="T11" fmla="*/ 26 h 26"/>
                  <a:gd name="T12" fmla="*/ 4 w 38"/>
                  <a:gd name="T13" fmla="*/ 26 h 26"/>
                  <a:gd name="T14" fmla="*/ 4 w 38"/>
                  <a:gd name="T15" fmla="*/ 26 h 26"/>
                  <a:gd name="T16" fmla="*/ 2 w 38"/>
                  <a:gd name="T17" fmla="*/ 26 h 26"/>
                  <a:gd name="T18" fmla="*/ 2 w 38"/>
                  <a:gd name="T19" fmla="*/ 24 h 26"/>
                  <a:gd name="T20" fmla="*/ 2 w 38"/>
                  <a:gd name="T21" fmla="*/ 24 h 26"/>
                  <a:gd name="T22" fmla="*/ 2 w 38"/>
                  <a:gd name="T23" fmla="*/ 24 h 26"/>
                  <a:gd name="T24" fmla="*/ 0 w 38"/>
                  <a:gd name="T25" fmla="*/ 24 h 26"/>
                  <a:gd name="T26" fmla="*/ 0 w 38"/>
                  <a:gd name="T27" fmla="*/ 22 h 26"/>
                  <a:gd name="T28" fmla="*/ 0 w 38"/>
                  <a:gd name="T29" fmla="*/ 22 h 26"/>
                  <a:gd name="T30" fmla="*/ 2 w 38"/>
                  <a:gd name="T31" fmla="*/ 20 h 26"/>
                  <a:gd name="T32" fmla="*/ 2 w 38"/>
                  <a:gd name="T33" fmla="*/ 20 h 26"/>
                  <a:gd name="T34" fmla="*/ 2 w 38"/>
                  <a:gd name="T35" fmla="*/ 16 h 26"/>
                  <a:gd name="T36" fmla="*/ 4 w 38"/>
                  <a:gd name="T37" fmla="*/ 14 h 26"/>
                  <a:gd name="T38" fmla="*/ 4 w 38"/>
                  <a:gd name="T39" fmla="*/ 10 h 26"/>
                  <a:gd name="T40" fmla="*/ 6 w 38"/>
                  <a:gd name="T41" fmla="*/ 6 h 26"/>
                  <a:gd name="T42" fmla="*/ 6 w 38"/>
                  <a:gd name="T43" fmla="*/ 4 h 26"/>
                  <a:gd name="T44" fmla="*/ 8 w 38"/>
                  <a:gd name="T45" fmla="*/ 4 h 26"/>
                  <a:gd name="T46" fmla="*/ 8 w 38"/>
                  <a:gd name="T47" fmla="*/ 2 h 26"/>
                  <a:gd name="T48" fmla="*/ 10 w 38"/>
                  <a:gd name="T49" fmla="*/ 2 h 26"/>
                  <a:gd name="T50" fmla="*/ 10 w 38"/>
                  <a:gd name="T51" fmla="*/ 2 h 26"/>
                  <a:gd name="T52" fmla="*/ 10 w 38"/>
                  <a:gd name="T53" fmla="*/ 2 h 26"/>
                  <a:gd name="T54" fmla="*/ 12 w 38"/>
                  <a:gd name="T55" fmla="*/ 0 h 26"/>
                  <a:gd name="T56" fmla="*/ 14 w 38"/>
                  <a:gd name="T57" fmla="*/ 0 h 26"/>
                  <a:gd name="T58" fmla="*/ 16 w 38"/>
                  <a:gd name="T59" fmla="*/ 2 h 26"/>
                  <a:gd name="T60" fmla="*/ 18 w 38"/>
                  <a:gd name="T61" fmla="*/ 2 h 26"/>
                  <a:gd name="T62" fmla="*/ 22 w 38"/>
                  <a:gd name="T63" fmla="*/ 2 h 26"/>
                  <a:gd name="T64" fmla="*/ 24 w 38"/>
                  <a:gd name="T65" fmla="*/ 4 h 26"/>
                  <a:gd name="T66" fmla="*/ 28 w 38"/>
                  <a:gd name="T67" fmla="*/ 4 h 26"/>
                  <a:gd name="T68" fmla="*/ 32 w 38"/>
                  <a:gd name="T69" fmla="*/ 4 h 26"/>
                  <a:gd name="T70" fmla="*/ 34 w 38"/>
                  <a:gd name="T71" fmla="*/ 6 h 26"/>
                  <a:gd name="T72" fmla="*/ 34 w 38"/>
                  <a:gd name="T73" fmla="*/ 6 h 26"/>
                  <a:gd name="T74" fmla="*/ 36 w 38"/>
                  <a:gd name="T75" fmla="*/ 6 h 26"/>
                  <a:gd name="T76" fmla="*/ 36 w 38"/>
                  <a:gd name="T77" fmla="*/ 6 h 26"/>
                  <a:gd name="T78" fmla="*/ 36 w 38"/>
                  <a:gd name="T79" fmla="*/ 6 h 26"/>
                  <a:gd name="T80" fmla="*/ 38 w 38"/>
                  <a:gd name="T81" fmla="*/ 8 h 26"/>
                  <a:gd name="T82" fmla="*/ 38 w 38"/>
                  <a:gd name="T83" fmla="*/ 8 h 26"/>
                  <a:gd name="T84" fmla="*/ 38 w 38"/>
                  <a:gd name="T85" fmla="*/ 8 h 26"/>
                  <a:gd name="T86" fmla="*/ 38 w 38"/>
                  <a:gd name="T87" fmla="*/ 10 h 26"/>
                  <a:gd name="T88" fmla="*/ 36 w 38"/>
                  <a:gd name="T89" fmla="*/ 10 h 26"/>
                  <a:gd name="T90" fmla="*/ 36 w 38"/>
                  <a:gd name="T91" fmla="*/ 12 h 26"/>
                  <a:gd name="T92" fmla="*/ 34 w 38"/>
                  <a:gd name="T93" fmla="*/ 14 h 26"/>
                  <a:gd name="T94" fmla="*/ 34 w 38"/>
                  <a:gd name="T95" fmla="*/ 16 h 26"/>
                  <a:gd name="T96" fmla="*/ 32 w 38"/>
                  <a:gd name="T97" fmla="*/ 18 h 26"/>
                  <a:gd name="T98" fmla="*/ 28 w 38"/>
                  <a:gd name="T99" fmla="*/ 20 h 26"/>
                  <a:gd name="T100" fmla="*/ 28 w 38"/>
                  <a:gd name="T101" fmla="*/ 22 h 26"/>
                  <a:gd name="T102" fmla="*/ 26 w 38"/>
                  <a:gd name="T103" fmla="*/ 24 h 26"/>
                  <a:gd name="T104" fmla="*/ 24 w 38"/>
                  <a:gd name="T105" fmla="*/ 24 h 26"/>
                  <a:gd name="T106" fmla="*/ 24 w 38"/>
                  <a:gd name="T107" fmla="*/ 24 h 26"/>
                  <a:gd name="T108" fmla="*/ 22 w 38"/>
                  <a:gd name="T109" fmla="*/ 24 h 26"/>
                  <a:gd name="T110" fmla="*/ 22 w 38"/>
                  <a:gd name="T111" fmla="*/ 24 h 26"/>
                  <a:gd name="T112" fmla="*/ 20 w 38"/>
                  <a:gd name="T113" fmla="*/ 24 h 26"/>
                  <a:gd name="T114" fmla="*/ 16 w 38"/>
                  <a:gd name="T115" fmla="*/ 24 h 26"/>
                  <a:gd name="T116" fmla="*/ 16 w 38"/>
                  <a:gd name="T117" fmla="*/ 24 h 26"/>
                  <a:gd name="T118" fmla="*/ 14 w 38"/>
                  <a:gd name="T11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 h="26">
                    <a:moveTo>
                      <a:pt x="14" y="24"/>
                    </a:moveTo>
                    <a:lnTo>
                      <a:pt x="14" y="24"/>
                    </a:lnTo>
                    <a:lnTo>
                      <a:pt x="14" y="24"/>
                    </a:lnTo>
                    <a:lnTo>
                      <a:pt x="12" y="24"/>
                    </a:lnTo>
                    <a:lnTo>
                      <a:pt x="8" y="24"/>
                    </a:lnTo>
                    <a:lnTo>
                      <a:pt x="6" y="26"/>
                    </a:lnTo>
                    <a:lnTo>
                      <a:pt x="4" y="26"/>
                    </a:lnTo>
                    <a:lnTo>
                      <a:pt x="4" y="26"/>
                    </a:lnTo>
                    <a:lnTo>
                      <a:pt x="2" y="26"/>
                    </a:lnTo>
                    <a:lnTo>
                      <a:pt x="2" y="24"/>
                    </a:lnTo>
                    <a:lnTo>
                      <a:pt x="2" y="24"/>
                    </a:lnTo>
                    <a:lnTo>
                      <a:pt x="2" y="24"/>
                    </a:lnTo>
                    <a:lnTo>
                      <a:pt x="0" y="24"/>
                    </a:lnTo>
                    <a:lnTo>
                      <a:pt x="0" y="22"/>
                    </a:lnTo>
                    <a:lnTo>
                      <a:pt x="0" y="22"/>
                    </a:lnTo>
                    <a:lnTo>
                      <a:pt x="2" y="20"/>
                    </a:lnTo>
                    <a:lnTo>
                      <a:pt x="2" y="20"/>
                    </a:lnTo>
                    <a:lnTo>
                      <a:pt x="2" y="16"/>
                    </a:lnTo>
                    <a:lnTo>
                      <a:pt x="4" y="14"/>
                    </a:lnTo>
                    <a:lnTo>
                      <a:pt x="4" y="10"/>
                    </a:lnTo>
                    <a:lnTo>
                      <a:pt x="6" y="6"/>
                    </a:lnTo>
                    <a:lnTo>
                      <a:pt x="6" y="4"/>
                    </a:lnTo>
                    <a:lnTo>
                      <a:pt x="8" y="4"/>
                    </a:lnTo>
                    <a:lnTo>
                      <a:pt x="8" y="2"/>
                    </a:lnTo>
                    <a:lnTo>
                      <a:pt x="10" y="2"/>
                    </a:lnTo>
                    <a:lnTo>
                      <a:pt x="10" y="2"/>
                    </a:lnTo>
                    <a:lnTo>
                      <a:pt x="10" y="2"/>
                    </a:lnTo>
                    <a:lnTo>
                      <a:pt x="12" y="0"/>
                    </a:lnTo>
                    <a:lnTo>
                      <a:pt x="14" y="0"/>
                    </a:lnTo>
                    <a:lnTo>
                      <a:pt x="16" y="2"/>
                    </a:lnTo>
                    <a:lnTo>
                      <a:pt x="18" y="2"/>
                    </a:lnTo>
                    <a:lnTo>
                      <a:pt x="22" y="2"/>
                    </a:lnTo>
                    <a:lnTo>
                      <a:pt x="24" y="4"/>
                    </a:lnTo>
                    <a:lnTo>
                      <a:pt x="28" y="4"/>
                    </a:lnTo>
                    <a:lnTo>
                      <a:pt x="32" y="4"/>
                    </a:lnTo>
                    <a:lnTo>
                      <a:pt x="34" y="6"/>
                    </a:lnTo>
                    <a:lnTo>
                      <a:pt x="34" y="6"/>
                    </a:lnTo>
                    <a:lnTo>
                      <a:pt x="36" y="6"/>
                    </a:lnTo>
                    <a:lnTo>
                      <a:pt x="36" y="6"/>
                    </a:lnTo>
                    <a:lnTo>
                      <a:pt x="36" y="6"/>
                    </a:lnTo>
                    <a:lnTo>
                      <a:pt x="38" y="8"/>
                    </a:lnTo>
                    <a:lnTo>
                      <a:pt x="38" y="8"/>
                    </a:lnTo>
                    <a:lnTo>
                      <a:pt x="38" y="8"/>
                    </a:lnTo>
                    <a:lnTo>
                      <a:pt x="38" y="10"/>
                    </a:lnTo>
                    <a:lnTo>
                      <a:pt x="36" y="10"/>
                    </a:lnTo>
                    <a:lnTo>
                      <a:pt x="36" y="12"/>
                    </a:lnTo>
                    <a:lnTo>
                      <a:pt x="34" y="14"/>
                    </a:lnTo>
                    <a:lnTo>
                      <a:pt x="34" y="16"/>
                    </a:lnTo>
                    <a:lnTo>
                      <a:pt x="32" y="18"/>
                    </a:lnTo>
                    <a:lnTo>
                      <a:pt x="28" y="20"/>
                    </a:lnTo>
                    <a:lnTo>
                      <a:pt x="28" y="22"/>
                    </a:lnTo>
                    <a:lnTo>
                      <a:pt x="26" y="24"/>
                    </a:lnTo>
                    <a:lnTo>
                      <a:pt x="24" y="24"/>
                    </a:lnTo>
                    <a:lnTo>
                      <a:pt x="24" y="24"/>
                    </a:lnTo>
                    <a:lnTo>
                      <a:pt x="22" y="24"/>
                    </a:lnTo>
                    <a:lnTo>
                      <a:pt x="22" y="24"/>
                    </a:lnTo>
                    <a:lnTo>
                      <a:pt x="20" y="24"/>
                    </a:lnTo>
                    <a:lnTo>
                      <a:pt x="16" y="24"/>
                    </a:lnTo>
                    <a:lnTo>
                      <a:pt x="16" y="24"/>
                    </a:lnTo>
                    <a:lnTo>
                      <a:pt x="14" y="2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72" name="Freeform 227">
                <a:extLst>
                  <a:ext uri="{FF2B5EF4-FFF2-40B4-BE49-F238E27FC236}">
                    <a16:creationId xmlns:a16="http://schemas.microsoft.com/office/drawing/2014/main" id="{304860A6-F822-487C-92E9-A9B8AD3AEC4D}"/>
                  </a:ext>
                </a:extLst>
              </p:cNvPr>
              <p:cNvSpPr>
                <a:spLocks/>
              </p:cNvSpPr>
              <p:nvPr/>
            </p:nvSpPr>
            <p:spPr bwMode="auto">
              <a:xfrm>
                <a:off x="7386928" y="4822992"/>
                <a:ext cx="228600" cy="206375"/>
              </a:xfrm>
              <a:custGeom>
                <a:avLst/>
                <a:gdLst>
                  <a:gd name="T0" fmla="*/ 120 w 144"/>
                  <a:gd name="T1" fmla="*/ 22 h 130"/>
                  <a:gd name="T2" fmla="*/ 88 w 144"/>
                  <a:gd name="T3" fmla="*/ 10 h 130"/>
                  <a:gd name="T4" fmla="*/ 80 w 144"/>
                  <a:gd name="T5" fmla="*/ 6 h 130"/>
                  <a:gd name="T6" fmla="*/ 76 w 144"/>
                  <a:gd name="T7" fmla="*/ 2 h 130"/>
                  <a:gd name="T8" fmla="*/ 72 w 144"/>
                  <a:gd name="T9" fmla="*/ 0 h 130"/>
                  <a:gd name="T10" fmla="*/ 66 w 144"/>
                  <a:gd name="T11" fmla="*/ 0 h 130"/>
                  <a:gd name="T12" fmla="*/ 60 w 144"/>
                  <a:gd name="T13" fmla="*/ 2 h 130"/>
                  <a:gd name="T14" fmla="*/ 56 w 144"/>
                  <a:gd name="T15" fmla="*/ 4 h 130"/>
                  <a:gd name="T16" fmla="*/ 50 w 144"/>
                  <a:gd name="T17" fmla="*/ 10 h 130"/>
                  <a:gd name="T18" fmla="*/ 42 w 144"/>
                  <a:gd name="T19" fmla="*/ 18 h 130"/>
                  <a:gd name="T20" fmla="*/ 38 w 144"/>
                  <a:gd name="T21" fmla="*/ 22 h 130"/>
                  <a:gd name="T22" fmla="*/ 26 w 144"/>
                  <a:gd name="T23" fmla="*/ 30 h 130"/>
                  <a:gd name="T24" fmla="*/ 20 w 144"/>
                  <a:gd name="T25" fmla="*/ 32 h 130"/>
                  <a:gd name="T26" fmla="*/ 8 w 144"/>
                  <a:gd name="T27" fmla="*/ 32 h 130"/>
                  <a:gd name="T28" fmla="*/ 4 w 144"/>
                  <a:gd name="T29" fmla="*/ 34 h 130"/>
                  <a:gd name="T30" fmla="*/ 2 w 144"/>
                  <a:gd name="T31" fmla="*/ 34 h 130"/>
                  <a:gd name="T32" fmla="*/ 0 w 144"/>
                  <a:gd name="T33" fmla="*/ 36 h 130"/>
                  <a:gd name="T34" fmla="*/ 2 w 144"/>
                  <a:gd name="T35" fmla="*/ 42 h 130"/>
                  <a:gd name="T36" fmla="*/ 6 w 144"/>
                  <a:gd name="T37" fmla="*/ 46 h 130"/>
                  <a:gd name="T38" fmla="*/ 8 w 144"/>
                  <a:gd name="T39" fmla="*/ 48 h 130"/>
                  <a:gd name="T40" fmla="*/ 12 w 144"/>
                  <a:gd name="T41" fmla="*/ 46 h 130"/>
                  <a:gd name="T42" fmla="*/ 18 w 144"/>
                  <a:gd name="T43" fmla="*/ 44 h 130"/>
                  <a:gd name="T44" fmla="*/ 22 w 144"/>
                  <a:gd name="T45" fmla="*/ 44 h 130"/>
                  <a:gd name="T46" fmla="*/ 28 w 144"/>
                  <a:gd name="T47" fmla="*/ 46 h 130"/>
                  <a:gd name="T48" fmla="*/ 38 w 144"/>
                  <a:gd name="T49" fmla="*/ 52 h 130"/>
                  <a:gd name="T50" fmla="*/ 54 w 144"/>
                  <a:gd name="T51" fmla="*/ 62 h 130"/>
                  <a:gd name="T52" fmla="*/ 64 w 144"/>
                  <a:gd name="T53" fmla="*/ 70 h 130"/>
                  <a:gd name="T54" fmla="*/ 70 w 144"/>
                  <a:gd name="T55" fmla="*/ 76 h 130"/>
                  <a:gd name="T56" fmla="*/ 70 w 144"/>
                  <a:gd name="T57" fmla="*/ 78 h 130"/>
                  <a:gd name="T58" fmla="*/ 72 w 144"/>
                  <a:gd name="T59" fmla="*/ 86 h 130"/>
                  <a:gd name="T60" fmla="*/ 72 w 144"/>
                  <a:gd name="T61" fmla="*/ 92 h 130"/>
                  <a:gd name="T62" fmla="*/ 70 w 144"/>
                  <a:gd name="T63" fmla="*/ 98 h 130"/>
                  <a:gd name="T64" fmla="*/ 68 w 144"/>
                  <a:gd name="T65" fmla="*/ 102 h 130"/>
                  <a:gd name="T66" fmla="*/ 64 w 144"/>
                  <a:gd name="T67" fmla="*/ 102 h 130"/>
                  <a:gd name="T68" fmla="*/ 58 w 144"/>
                  <a:gd name="T69" fmla="*/ 104 h 130"/>
                  <a:gd name="T70" fmla="*/ 56 w 144"/>
                  <a:gd name="T71" fmla="*/ 106 h 130"/>
                  <a:gd name="T72" fmla="*/ 54 w 144"/>
                  <a:gd name="T73" fmla="*/ 108 h 130"/>
                  <a:gd name="T74" fmla="*/ 54 w 144"/>
                  <a:gd name="T75" fmla="*/ 112 h 130"/>
                  <a:gd name="T76" fmla="*/ 56 w 144"/>
                  <a:gd name="T77" fmla="*/ 118 h 130"/>
                  <a:gd name="T78" fmla="*/ 58 w 144"/>
                  <a:gd name="T79" fmla="*/ 120 h 130"/>
                  <a:gd name="T80" fmla="*/ 62 w 144"/>
                  <a:gd name="T81" fmla="*/ 120 h 130"/>
                  <a:gd name="T82" fmla="*/ 72 w 144"/>
                  <a:gd name="T83" fmla="*/ 118 h 130"/>
                  <a:gd name="T84" fmla="*/ 80 w 144"/>
                  <a:gd name="T85" fmla="*/ 118 h 130"/>
                  <a:gd name="T86" fmla="*/ 90 w 144"/>
                  <a:gd name="T87" fmla="*/ 116 h 130"/>
                  <a:gd name="T88" fmla="*/ 94 w 144"/>
                  <a:gd name="T89" fmla="*/ 118 h 130"/>
                  <a:gd name="T90" fmla="*/ 98 w 144"/>
                  <a:gd name="T91" fmla="*/ 122 h 130"/>
                  <a:gd name="T92" fmla="*/ 100 w 144"/>
                  <a:gd name="T93" fmla="*/ 126 h 130"/>
                  <a:gd name="T94" fmla="*/ 106 w 144"/>
                  <a:gd name="T95" fmla="*/ 128 h 130"/>
                  <a:gd name="T96" fmla="*/ 112 w 144"/>
                  <a:gd name="T97" fmla="*/ 130 h 130"/>
                  <a:gd name="T98" fmla="*/ 118 w 144"/>
                  <a:gd name="T99" fmla="*/ 130 h 130"/>
                  <a:gd name="T100" fmla="*/ 124 w 144"/>
                  <a:gd name="T101" fmla="*/ 128 h 130"/>
                  <a:gd name="T102" fmla="*/ 130 w 144"/>
                  <a:gd name="T103" fmla="*/ 124 h 130"/>
                  <a:gd name="T104" fmla="*/ 134 w 144"/>
                  <a:gd name="T105" fmla="*/ 120 h 130"/>
                  <a:gd name="T106" fmla="*/ 138 w 144"/>
                  <a:gd name="T107" fmla="*/ 112 h 130"/>
                  <a:gd name="T108" fmla="*/ 144 w 144"/>
                  <a:gd name="T109" fmla="*/ 10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 h="130">
                    <a:moveTo>
                      <a:pt x="128" y="24"/>
                    </a:moveTo>
                    <a:lnTo>
                      <a:pt x="128" y="24"/>
                    </a:lnTo>
                    <a:lnTo>
                      <a:pt x="120" y="22"/>
                    </a:lnTo>
                    <a:lnTo>
                      <a:pt x="112" y="18"/>
                    </a:lnTo>
                    <a:lnTo>
                      <a:pt x="96" y="12"/>
                    </a:lnTo>
                    <a:lnTo>
                      <a:pt x="88" y="10"/>
                    </a:lnTo>
                    <a:lnTo>
                      <a:pt x="84" y="8"/>
                    </a:lnTo>
                    <a:lnTo>
                      <a:pt x="82" y="6"/>
                    </a:lnTo>
                    <a:lnTo>
                      <a:pt x="80" y="6"/>
                    </a:lnTo>
                    <a:lnTo>
                      <a:pt x="80" y="4"/>
                    </a:lnTo>
                    <a:lnTo>
                      <a:pt x="78" y="2"/>
                    </a:lnTo>
                    <a:lnTo>
                      <a:pt x="76" y="2"/>
                    </a:lnTo>
                    <a:lnTo>
                      <a:pt x="74" y="0"/>
                    </a:lnTo>
                    <a:lnTo>
                      <a:pt x="74" y="0"/>
                    </a:lnTo>
                    <a:lnTo>
                      <a:pt x="72" y="0"/>
                    </a:lnTo>
                    <a:lnTo>
                      <a:pt x="70" y="0"/>
                    </a:lnTo>
                    <a:lnTo>
                      <a:pt x="68" y="0"/>
                    </a:lnTo>
                    <a:lnTo>
                      <a:pt x="66" y="0"/>
                    </a:lnTo>
                    <a:lnTo>
                      <a:pt x="64" y="0"/>
                    </a:lnTo>
                    <a:lnTo>
                      <a:pt x="62" y="2"/>
                    </a:lnTo>
                    <a:lnTo>
                      <a:pt x="60" y="2"/>
                    </a:lnTo>
                    <a:lnTo>
                      <a:pt x="58" y="2"/>
                    </a:lnTo>
                    <a:lnTo>
                      <a:pt x="56" y="4"/>
                    </a:lnTo>
                    <a:lnTo>
                      <a:pt x="56" y="4"/>
                    </a:lnTo>
                    <a:lnTo>
                      <a:pt x="54" y="4"/>
                    </a:lnTo>
                    <a:lnTo>
                      <a:pt x="52" y="6"/>
                    </a:lnTo>
                    <a:lnTo>
                      <a:pt x="50" y="10"/>
                    </a:lnTo>
                    <a:lnTo>
                      <a:pt x="48" y="12"/>
                    </a:lnTo>
                    <a:lnTo>
                      <a:pt x="44" y="16"/>
                    </a:lnTo>
                    <a:lnTo>
                      <a:pt x="42" y="18"/>
                    </a:lnTo>
                    <a:lnTo>
                      <a:pt x="42" y="20"/>
                    </a:lnTo>
                    <a:lnTo>
                      <a:pt x="40" y="22"/>
                    </a:lnTo>
                    <a:lnTo>
                      <a:pt x="38" y="22"/>
                    </a:lnTo>
                    <a:lnTo>
                      <a:pt x="32" y="26"/>
                    </a:lnTo>
                    <a:lnTo>
                      <a:pt x="28" y="28"/>
                    </a:lnTo>
                    <a:lnTo>
                      <a:pt x="26" y="30"/>
                    </a:lnTo>
                    <a:lnTo>
                      <a:pt x="24" y="30"/>
                    </a:lnTo>
                    <a:lnTo>
                      <a:pt x="22" y="30"/>
                    </a:lnTo>
                    <a:lnTo>
                      <a:pt x="20" y="32"/>
                    </a:lnTo>
                    <a:lnTo>
                      <a:pt x="16" y="32"/>
                    </a:lnTo>
                    <a:lnTo>
                      <a:pt x="10" y="32"/>
                    </a:lnTo>
                    <a:lnTo>
                      <a:pt x="8" y="32"/>
                    </a:lnTo>
                    <a:lnTo>
                      <a:pt x="8" y="32"/>
                    </a:lnTo>
                    <a:lnTo>
                      <a:pt x="6" y="34"/>
                    </a:lnTo>
                    <a:lnTo>
                      <a:pt x="4" y="34"/>
                    </a:lnTo>
                    <a:lnTo>
                      <a:pt x="2" y="34"/>
                    </a:lnTo>
                    <a:lnTo>
                      <a:pt x="2" y="34"/>
                    </a:lnTo>
                    <a:lnTo>
                      <a:pt x="2" y="34"/>
                    </a:lnTo>
                    <a:lnTo>
                      <a:pt x="0" y="36"/>
                    </a:lnTo>
                    <a:lnTo>
                      <a:pt x="0" y="36"/>
                    </a:lnTo>
                    <a:lnTo>
                      <a:pt x="0" y="36"/>
                    </a:lnTo>
                    <a:lnTo>
                      <a:pt x="2" y="38"/>
                    </a:lnTo>
                    <a:lnTo>
                      <a:pt x="2" y="40"/>
                    </a:lnTo>
                    <a:lnTo>
                      <a:pt x="2" y="42"/>
                    </a:lnTo>
                    <a:lnTo>
                      <a:pt x="4" y="44"/>
                    </a:lnTo>
                    <a:lnTo>
                      <a:pt x="4" y="44"/>
                    </a:lnTo>
                    <a:lnTo>
                      <a:pt x="6" y="46"/>
                    </a:lnTo>
                    <a:lnTo>
                      <a:pt x="8" y="46"/>
                    </a:lnTo>
                    <a:lnTo>
                      <a:pt x="8" y="46"/>
                    </a:lnTo>
                    <a:lnTo>
                      <a:pt x="8" y="48"/>
                    </a:lnTo>
                    <a:lnTo>
                      <a:pt x="10" y="48"/>
                    </a:lnTo>
                    <a:lnTo>
                      <a:pt x="10" y="46"/>
                    </a:lnTo>
                    <a:lnTo>
                      <a:pt x="12" y="46"/>
                    </a:lnTo>
                    <a:lnTo>
                      <a:pt x="14" y="46"/>
                    </a:lnTo>
                    <a:lnTo>
                      <a:pt x="16" y="46"/>
                    </a:lnTo>
                    <a:lnTo>
                      <a:pt x="18" y="44"/>
                    </a:lnTo>
                    <a:lnTo>
                      <a:pt x="20" y="44"/>
                    </a:lnTo>
                    <a:lnTo>
                      <a:pt x="22" y="44"/>
                    </a:lnTo>
                    <a:lnTo>
                      <a:pt x="22" y="44"/>
                    </a:lnTo>
                    <a:lnTo>
                      <a:pt x="24" y="44"/>
                    </a:lnTo>
                    <a:lnTo>
                      <a:pt x="24" y="44"/>
                    </a:lnTo>
                    <a:lnTo>
                      <a:pt x="28" y="46"/>
                    </a:lnTo>
                    <a:lnTo>
                      <a:pt x="30" y="48"/>
                    </a:lnTo>
                    <a:lnTo>
                      <a:pt x="32" y="50"/>
                    </a:lnTo>
                    <a:lnTo>
                      <a:pt x="38" y="52"/>
                    </a:lnTo>
                    <a:lnTo>
                      <a:pt x="42" y="56"/>
                    </a:lnTo>
                    <a:lnTo>
                      <a:pt x="50" y="60"/>
                    </a:lnTo>
                    <a:lnTo>
                      <a:pt x="54" y="62"/>
                    </a:lnTo>
                    <a:lnTo>
                      <a:pt x="56" y="64"/>
                    </a:lnTo>
                    <a:lnTo>
                      <a:pt x="60" y="68"/>
                    </a:lnTo>
                    <a:lnTo>
                      <a:pt x="64" y="70"/>
                    </a:lnTo>
                    <a:lnTo>
                      <a:pt x="66" y="72"/>
                    </a:lnTo>
                    <a:lnTo>
                      <a:pt x="68" y="74"/>
                    </a:lnTo>
                    <a:lnTo>
                      <a:pt x="70" y="76"/>
                    </a:lnTo>
                    <a:lnTo>
                      <a:pt x="70" y="76"/>
                    </a:lnTo>
                    <a:lnTo>
                      <a:pt x="70" y="78"/>
                    </a:lnTo>
                    <a:lnTo>
                      <a:pt x="70" y="78"/>
                    </a:lnTo>
                    <a:lnTo>
                      <a:pt x="72" y="80"/>
                    </a:lnTo>
                    <a:lnTo>
                      <a:pt x="72" y="84"/>
                    </a:lnTo>
                    <a:lnTo>
                      <a:pt x="72" y="86"/>
                    </a:lnTo>
                    <a:lnTo>
                      <a:pt x="72" y="88"/>
                    </a:lnTo>
                    <a:lnTo>
                      <a:pt x="72" y="90"/>
                    </a:lnTo>
                    <a:lnTo>
                      <a:pt x="72" y="92"/>
                    </a:lnTo>
                    <a:lnTo>
                      <a:pt x="72" y="94"/>
                    </a:lnTo>
                    <a:lnTo>
                      <a:pt x="70" y="96"/>
                    </a:lnTo>
                    <a:lnTo>
                      <a:pt x="70" y="98"/>
                    </a:lnTo>
                    <a:lnTo>
                      <a:pt x="68" y="100"/>
                    </a:lnTo>
                    <a:lnTo>
                      <a:pt x="68" y="100"/>
                    </a:lnTo>
                    <a:lnTo>
                      <a:pt x="68" y="102"/>
                    </a:lnTo>
                    <a:lnTo>
                      <a:pt x="68" y="102"/>
                    </a:lnTo>
                    <a:lnTo>
                      <a:pt x="66" y="102"/>
                    </a:lnTo>
                    <a:lnTo>
                      <a:pt x="64" y="102"/>
                    </a:lnTo>
                    <a:lnTo>
                      <a:pt x="60" y="104"/>
                    </a:lnTo>
                    <a:lnTo>
                      <a:pt x="60" y="104"/>
                    </a:lnTo>
                    <a:lnTo>
                      <a:pt x="58" y="104"/>
                    </a:lnTo>
                    <a:lnTo>
                      <a:pt x="56" y="106"/>
                    </a:lnTo>
                    <a:lnTo>
                      <a:pt x="56" y="106"/>
                    </a:lnTo>
                    <a:lnTo>
                      <a:pt x="56" y="106"/>
                    </a:lnTo>
                    <a:lnTo>
                      <a:pt x="54" y="106"/>
                    </a:lnTo>
                    <a:lnTo>
                      <a:pt x="54" y="108"/>
                    </a:lnTo>
                    <a:lnTo>
                      <a:pt x="54" y="108"/>
                    </a:lnTo>
                    <a:lnTo>
                      <a:pt x="54" y="110"/>
                    </a:lnTo>
                    <a:lnTo>
                      <a:pt x="54" y="112"/>
                    </a:lnTo>
                    <a:lnTo>
                      <a:pt x="54" y="112"/>
                    </a:lnTo>
                    <a:lnTo>
                      <a:pt x="56" y="114"/>
                    </a:lnTo>
                    <a:lnTo>
                      <a:pt x="56" y="116"/>
                    </a:lnTo>
                    <a:lnTo>
                      <a:pt x="56" y="118"/>
                    </a:lnTo>
                    <a:lnTo>
                      <a:pt x="58" y="118"/>
                    </a:lnTo>
                    <a:lnTo>
                      <a:pt x="58" y="118"/>
                    </a:lnTo>
                    <a:lnTo>
                      <a:pt x="58" y="120"/>
                    </a:lnTo>
                    <a:lnTo>
                      <a:pt x="60" y="120"/>
                    </a:lnTo>
                    <a:lnTo>
                      <a:pt x="60" y="120"/>
                    </a:lnTo>
                    <a:lnTo>
                      <a:pt x="62" y="120"/>
                    </a:lnTo>
                    <a:lnTo>
                      <a:pt x="64" y="120"/>
                    </a:lnTo>
                    <a:lnTo>
                      <a:pt x="66" y="120"/>
                    </a:lnTo>
                    <a:lnTo>
                      <a:pt x="72" y="118"/>
                    </a:lnTo>
                    <a:lnTo>
                      <a:pt x="74" y="118"/>
                    </a:lnTo>
                    <a:lnTo>
                      <a:pt x="76" y="118"/>
                    </a:lnTo>
                    <a:lnTo>
                      <a:pt x="80" y="118"/>
                    </a:lnTo>
                    <a:lnTo>
                      <a:pt x="86" y="118"/>
                    </a:lnTo>
                    <a:lnTo>
                      <a:pt x="88" y="116"/>
                    </a:lnTo>
                    <a:lnTo>
                      <a:pt x="90" y="116"/>
                    </a:lnTo>
                    <a:lnTo>
                      <a:pt x="92" y="118"/>
                    </a:lnTo>
                    <a:lnTo>
                      <a:pt x="94" y="118"/>
                    </a:lnTo>
                    <a:lnTo>
                      <a:pt x="94" y="118"/>
                    </a:lnTo>
                    <a:lnTo>
                      <a:pt x="94" y="118"/>
                    </a:lnTo>
                    <a:lnTo>
                      <a:pt x="96" y="120"/>
                    </a:lnTo>
                    <a:lnTo>
                      <a:pt x="98" y="122"/>
                    </a:lnTo>
                    <a:lnTo>
                      <a:pt x="98" y="124"/>
                    </a:lnTo>
                    <a:lnTo>
                      <a:pt x="100" y="124"/>
                    </a:lnTo>
                    <a:lnTo>
                      <a:pt x="100" y="126"/>
                    </a:lnTo>
                    <a:lnTo>
                      <a:pt x="102" y="126"/>
                    </a:lnTo>
                    <a:lnTo>
                      <a:pt x="104" y="128"/>
                    </a:lnTo>
                    <a:lnTo>
                      <a:pt x="106" y="128"/>
                    </a:lnTo>
                    <a:lnTo>
                      <a:pt x="108" y="130"/>
                    </a:lnTo>
                    <a:lnTo>
                      <a:pt x="110" y="130"/>
                    </a:lnTo>
                    <a:lnTo>
                      <a:pt x="112" y="130"/>
                    </a:lnTo>
                    <a:lnTo>
                      <a:pt x="112" y="130"/>
                    </a:lnTo>
                    <a:lnTo>
                      <a:pt x="114" y="130"/>
                    </a:lnTo>
                    <a:lnTo>
                      <a:pt x="118" y="130"/>
                    </a:lnTo>
                    <a:lnTo>
                      <a:pt x="120" y="130"/>
                    </a:lnTo>
                    <a:lnTo>
                      <a:pt x="122" y="128"/>
                    </a:lnTo>
                    <a:lnTo>
                      <a:pt x="124" y="128"/>
                    </a:lnTo>
                    <a:lnTo>
                      <a:pt x="128" y="126"/>
                    </a:lnTo>
                    <a:lnTo>
                      <a:pt x="128" y="126"/>
                    </a:lnTo>
                    <a:lnTo>
                      <a:pt x="130" y="124"/>
                    </a:lnTo>
                    <a:lnTo>
                      <a:pt x="132" y="124"/>
                    </a:lnTo>
                    <a:lnTo>
                      <a:pt x="132" y="122"/>
                    </a:lnTo>
                    <a:lnTo>
                      <a:pt x="134" y="120"/>
                    </a:lnTo>
                    <a:lnTo>
                      <a:pt x="134" y="118"/>
                    </a:lnTo>
                    <a:lnTo>
                      <a:pt x="136" y="114"/>
                    </a:lnTo>
                    <a:lnTo>
                      <a:pt x="138" y="112"/>
                    </a:lnTo>
                    <a:lnTo>
                      <a:pt x="138" y="110"/>
                    </a:lnTo>
                    <a:lnTo>
                      <a:pt x="142" y="104"/>
                    </a:lnTo>
                    <a:lnTo>
                      <a:pt x="144" y="100"/>
                    </a:lnTo>
                    <a:lnTo>
                      <a:pt x="128" y="2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451" name="Freeform 157">
              <a:extLst>
                <a:ext uri="{FF2B5EF4-FFF2-40B4-BE49-F238E27FC236}">
                  <a16:creationId xmlns:a16="http://schemas.microsoft.com/office/drawing/2014/main" id="{0952B3BB-EDCB-45F8-8434-9FF80DDEF74E}"/>
                </a:ext>
              </a:extLst>
            </p:cNvPr>
            <p:cNvSpPr>
              <a:spLocks/>
            </p:cNvSpPr>
            <p:nvPr/>
          </p:nvSpPr>
          <p:spPr bwMode="auto">
            <a:xfrm>
              <a:off x="7161777" y="4466075"/>
              <a:ext cx="27713" cy="41570"/>
            </a:xfrm>
            <a:custGeom>
              <a:avLst/>
              <a:gdLst>
                <a:gd name="T0" fmla="*/ 14 w 16"/>
                <a:gd name="T1" fmla="*/ 0 h 24"/>
                <a:gd name="T2" fmla="*/ 14 w 16"/>
                <a:gd name="T3" fmla="*/ 0 h 24"/>
                <a:gd name="T4" fmla="*/ 12 w 16"/>
                <a:gd name="T5" fmla="*/ 0 h 24"/>
                <a:gd name="T6" fmla="*/ 10 w 16"/>
                <a:gd name="T7" fmla="*/ 2 h 24"/>
                <a:gd name="T8" fmla="*/ 8 w 16"/>
                <a:gd name="T9" fmla="*/ 2 h 24"/>
                <a:gd name="T10" fmla="*/ 6 w 16"/>
                <a:gd name="T11" fmla="*/ 4 h 24"/>
                <a:gd name="T12" fmla="*/ 4 w 16"/>
                <a:gd name="T13" fmla="*/ 6 h 24"/>
                <a:gd name="T14" fmla="*/ 4 w 16"/>
                <a:gd name="T15" fmla="*/ 6 h 24"/>
                <a:gd name="T16" fmla="*/ 2 w 16"/>
                <a:gd name="T17" fmla="*/ 6 h 24"/>
                <a:gd name="T18" fmla="*/ 2 w 16"/>
                <a:gd name="T19" fmla="*/ 6 h 24"/>
                <a:gd name="T20" fmla="*/ 2 w 16"/>
                <a:gd name="T21" fmla="*/ 8 h 24"/>
                <a:gd name="T22" fmla="*/ 2 w 16"/>
                <a:gd name="T23" fmla="*/ 10 h 24"/>
                <a:gd name="T24" fmla="*/ 0 w 16"/>
                <a:gd name="T25" fmla="*/ 14 h 24"/>
                <a:gd name="T26" fmla="*/ 0 w 16"/>
                <a:gd name="T27" fmla="*/ 16 h 24"/>
                <a:gd name="T28" fmla="*/ 0 w 16"/>
                <a:gd name="T29" fmla="*/ 22 h 24"/>
                <a:gd name="T30" fmla="*/ 0 w 16"/>
                <a:gd name="T31" fmla="*/ 24 h 24"/>
                <a:gd name="T32" fmla="*/ 2 w 16"/>
                <a:gd name="T33" fmla="*/ 24 h 24"/>
                <a:gd name="T34" fmla="*/ 6 w 16"/>
                <a:gd name="T35" fmla="*/ 22 h 24"/>
                <a:gd name="T36" fmla="*/ 8 w 16"/>
                <a:gd name="T37" fmla="*/ 20 h 24"/>
                <a:gd name="T38" fmla="*/ 10 w 16"/>
                <a:gd name="T39" fmla="*/ 18 h 24"/>
                <a:gd name="T40" fmla="*/ 12 w 16"/>
                <a:gd name="T41" fmla="*/ 18 h 24"/>
                <a:gd name="T42" fmla="*/ 12 w 16"/>
                <a:gd name="T43" fmla="*/ 16 h 24"/>
                <a:gd name="T44" fmla="*/ 14 w 16"/>
                <a:gd name="T45" fmla="*/ 16 h 24"/>
                <a:gd name="T46" fmla="*/ 14 w 16"/>
                <a:gd name="T47" fmla="*/ 14 h 24"/>
                <a:gd name="T48" fmla="*/ 16 w 16"/>
                <a:gd name="T49" fmla="*/ 12 h 24"/>
                <a:gd name="T50" fmla="*/ 16 w 16"/>
                <a:gd name="T51" fmla="*/ 10 h 24"/>
                <a:gd name="T52" fmla="*/ 16 w 16"/>
                <a:gd name="T53" fmla="*/ 8 h 24"/>
                <a:gd name="T54" fmla="*/ 16 w 16"/>
                <a:gd name="T55" fmla="*/ 8 h 24"/>
                <a:gd name="T56" fmla="*/ 16 w 16"/>
                <a:gd name="T57" fmla="*/ 6 h 24"/>
                <a:gd name="T58" fmla="*/ 16 w 16"/>
                <a:gd name="T59" fmla="*/ 6 h 24"/>
                <a:gd name="T60" fmla="*/ 16 w 16"/>
                <a:gd name="T61" fmla="*/ 2 h 24"/>
                <a:gd name="T62" fmla="*/ 14 w 16"/>
                <a:gd name="T6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24">
                  <a:moveTo>
                    <a:pt x="14" y="0"/>
                  </a:moveTo>
                  <a:lnTo>
                    <a:pt x="14" y="0"/>
                  </a:lnTo>
                  <a:lnTo>
                    <a:pt x="12" y="0"/>
                  </a:lnTo>
                  <a:lnTo>
                    <a:pt x="10" y="2"/>
                  </a:lnTo>
                  <a:lnTo>
                    <a:pt x="8" y="2"/>
                  </a:lnTo>
                  <a:lnTo>
                    <a:pt x="6" y="4"/>
                  </a:lnTo>
                  <a:lnTo>
                    <a:pt x="4" y="6"/>
                  </a:lnTo>
                  <a:lnTo>
                    <a:pt x="4" y="6"/>
                  </a:lnTo>
                  <a:lnTo>
                    <a:pt x="2" y="6"/>
                  </a:lnTo>
                  <a:lnTo>
                    <a:pt x="2" y="6"/>
                  </a:lnTo>
                  <a:lnTo>
                    <a:pt x="2" y="8"/>
                  </a:lnTo>
                  <a:lnTo>
                    <a:pt x="2" y="10"/>
                  </a:lnTo>
                  <a:lnTo>
                    <a:pt x="0" y="14"/>
                  </a:lnTo>
                  <a:lnTo>
                    <a:pt x="0" y="16"/>
                  </a:lnTo>
                  <a:lnTo>
                    <a:pt x="0" y="22"/>
                  </a:lnTo>
                  <a:lnTo>
                    <a:pt x="0" y="24"/>
                  </a:lnTo>
                  <a:lnTo>
                    <a:pt x="2" y="24"/>
                  </a:lnTo>
                  <a:lnTo>
                    <a:pt x="6" y="22"/>
                  </a:lnTo>
                  <a:lnTo>
                    <a:pt x="8" y="20"/>
                  </a:lnTo>
                  <a:lnTo>
                    <a:pt x="10" y="18"/>
                  </a:lnTo>
                  <a:lnTo>
                    <a:pt x="12" y="18"/>
                  </a:lnTo>
                  <a:lnTo>
                    <a:pt x="12" y="16"/>
                  </a:lnTo>
                  <a:lnTo>
                    <a:pt x="14" y="16"/>
                  </a:lnTo>
                  <a:lnTo>
                    <a:pt x="14" y="14"/>
                  </a:lnTo>
                  <a:lnTo>
                    <a:pt x="16" y="12"/>
                  </a:lnTo>
                  <a:lnTo>
                    <a:pt x="16" y="10"/>
                  </a:lnTo>
                  <a:lnTo>
                    <a:pt x="16" y="8"/>
                  </a:lnTo>
                  <a:lnTo>
                    <a:pt x="16" y="8"/>
                  </a:lnTo>
                  <a:lnTo>
                    <a:pt x="16" y="6"/>
                  </a:lnTo>
                  <a:lnTo>
                    <a:pt x="16" y="6"/>
                  </a:lnTo>
                  <a:lnTo>
                    <a:pt x="16" y="2"/>
                  </a:lnTo>
                  <a:lnTo>
                    <a:pt x="14"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2" name="Freeform 158">
              <a:extLst>
                <a:ext uri="{FF2B5EF4-FFF2-40B4-BE49-F238E27FC236}">
                  <a16:creationId xmlns:a16="http://schemas.microsoft.com/office/drawing/2014/main" id="{51E9296F-20E6-4DAE-8F91-E9C25B13A610}"/>
                </a:ext>
              </a:extLst>
            </p:cNvPr>
            <p:cNvSpPr>
              <a:spLocks/>
            </p:cNvSpPr>
            <p:nvPr/>
          </p:nvSpPr>
          <p:spPr bwMode="auto">
            <a:xfrm>
              <a:off x="7161777" y="4466075"/>
              <a:ext cx="27713" cy="41570"/>
            </a:xfrm>
            <a:custGeom>
              <a:avLst/>
              <a:gdLst>
                <a:gd name="T0" fmla="*/ 14 w 16"/>
                <a:gd name="T1" fmla="*/ 0 h 24"/>
                <a:gd name="T2" fmla="*/ 14 w 16"/>
                <a:gd name="T3" fmla="*/ 0 h 24"/>
                <a:gd name="T4" fmla="*/ 12 w 16"/>
                <a:gd name="T5" fmla="*/ 0 h 24"/>
                <a:gd name="T6" fmla="*/ 10 w 16"/>
                <a:gd name="T7" fmla="*/ 2 h 24"/>
                <a:gd name="T8" fmla="*/ 8 w 16"/>
                <a:gd name="T9" fmla="*/ 2 h 24"/>
                <a:gd name="T10" fmla="*/ 6 w 16"/>
                <a:gd name="T11" fmla="*/ 4 h 24"/>
                <a:gd name="T12" fmla="*/ 4 w 16"/>
                <a:gd name="T13" fmla="*/ 6 h 24"/>
                <a:gd name="T14" fmla="*/ 4 w 16"/>
                <a:gd name="T15" fmla="*/ 6 h 24"/>
                <a:gd name="T16" fmla="*/ 2 w 16"/>
                <a:gd name="T17" fmla="*/ 6 h 24"/>
                <a:gd name="T18" fmla="*/ 2 w 16"/>
                <a:gd name="T19" fmla="*/ 6 h 24"/>
                <a:gd name="T20" fmla="*/ 2 w 16"/>
                <a:gd name="T21" fmla="*/ 8 h 24"/>
                <a:gd name="T22" fmla="*/ 2 w 16"/>
                <a:gd name="T23" fmla="*/ 10 h 24"/>
                <a:gd name="T24" fmla="*/ 0 w 16"/>
                <a:gd name="T25" fmla="*/ 14 h 24"/>
                <a:gd name="T26" fmla="*/ 0 w 16"/>
                <a:gd name="T27" fmla="*/ 16 h 24"/>
                <a:gd name="T28" fmla="*/ 0 w 16"/>
                <a:gd name="T29" fmla="*/ 22 h 24"/>
                <a:gd name="T30" fmla="*/ 0 w 16"/>
                <a:gd name="T31" fmla="*/ 24 h 24"/>
                <a:gd name="T32" fmla="*/ 2 w 16"/>
                <a:gd name="T33" fmla="*/ 24 h 24"/>
                <a:gd name="T34" fmla="*/ 6 w 16"/>
                <a:gd name="T35" fmla="*/ 22 h 24"/>
                <a:gd name="T36" fmla="*/ 8 w 16"/>
                <a:gd name="T37" fmla="*/ 20 h 24"/>
                <a:gd name="T38" fmla="*/ 10 w 16"/>
                <a:gd name="T39" fmla="*/ 18 h 24"/>
                <a:gd name="T40" fmla="*/ 12 w 16"/>
                <a:gd name="T41" fmla="*/ 18 h 24"/>
                <a:gd name="T42" fmla="*/ 12 w 16"/>
                <a:gd name="T43" fmla="*/ 16 h 24"/>
                <a:gd name="T44" fmla="*/ 14 w 16"/>
                <a:gd name="T45" fmla="*/ 16 h 24"/>
                <a:gd name="T46" fmla="*/ 14 w 16"/>
                <a:gd name="T47" fmla="*/ 14 h 24"/>
                <a:gd name="T48" fmla="*/ 16 w 16"/>
                <a:gd name="T49" fmla="*/ 12 h 24"/>
                <a:gd name="T50" fmla="*/ 16 w 16"/>
                <a:gd name="T51" fmla="*/ 10 h 24"/>
                <a:gd name="T52" fmla="*/ 16 w 16"/>
                <a:gd name="T53" fmla="*/ 8 h 24"/>
                <a:gd name="T54" fmla="*/ 16 w 16"/>
                <a:gd name="T55" fmla="*/ 8 h 24"/>
                <a:gd name="T56" fmla="*/ 16 w 16"/>
                <a:gd name="T57" fmla="*/ 6 h 24"/>
                <a:gd name="T58" fmla="*/ 16 w 16"/>
                <a:gd name="T59" fmla="*/ 6 h 24"/>
                <a:gd name="T60" fmla="*/ 16 w 16"/>
                <a:gd name="T61" fmla="*/ 2 h 24"/>
                <a:gd name="T62" fmla="*/ 14 w 16"/>
                <a:gd name="T6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24">
                  <a:moveTo>
                    <a:pt x="14" y="0"/>
                  </a:moveTo>
                  <a:lnTo>
                    <a:pt x="14" y="0"/>
                  </a:lnTo>
                  <a:lnTo>
                    <a:pt x="12" y="0"/>
                  </a:lnTo>
                  <a:lnTo>
                    <a:pt x="10" y="2"/>
                  </a:lnTo>
                  <a:lnTo>
                    <a:pt x="8" y="2"/>
                  </a:lnTo>
                  <a:lnTo>
                    <a:pt x="6" y="4"/>
                  </a:lnTo>
                  <a:lnTo>
                    <a:pt x="4" y="6"/>
                  </a:lnTo>
                  <a:lnTo>
                    <a:pt x="4" y="6"/>
                  </a:lnTo>
                  <a:lnTo>
                    <a:pt x="2" y="6"/>
                  </a:lnTo>
                  <a:lnTo>
                    <a:pt x="2" y="6"/>
                  </a:lnTo>
                  <a:lnTo>
                    <a:pt x="2" y="8"/>
                  </a:lnTo>
                  <a:lnTo>
                    <a:pt x="2" y="10"/>
                  </a:lnTo>
                  <a:lnTo>
                    <a:pt x="0" y="14"/>
                  </a:lnTo>
                  <a:lnTo>
                    <a:pt x="0" y="16"/>
                  </a:lnTo>
                  <a:lnTo>
                    <a:pt x="0" y="22"/>
                  </a:lnTo>
                  <a:lnTo>
                    <a:pt x="0" y="24"/>
                  </a:lnTo>
                  <a:lnTo>
                    <a:pt x="2" y="24"/>
                  </a:lnTo>
                  <a:lnTo>
                    <a:pt x="6" y="22"/>
                  </a:lnTo>
                  <a:lnTo>
                    <a:pt x="8" y="20"/>
                  </a:lnTo>
                  <a:lnTo>
                    <a:pt x="10" y="18"/>
                  </a:lnTo>
                  <a:lnTo>
                    <a:pt x="12" y="18"/>
                  </a:lnTo>
                  <a:lnTo>
                    <a:pt x="12" y="16"/>
                  </a:lnTo>
                  <a:lnTo>
                    <a:pt x="14" y="16"/>
                  </a:lnTo>
                  <a:lnTo>
                    <a:pt x="14" y="14"/>
                  </a:lnTo>
                  <a:lnTo>
                    <a:pt x="16" y="12"/>
                  </a:lnTo>
                  <a:lnTo>
                    <a:pt x="16" y="10"/>
                  </a:lnTo>
                  <a:lnTo>
                    <a:pt x="16" y="8"/>
                  </a:lnTo>
                  <a:lnTo>
                    <a:pt x="16" y="8"/>
                  </a:lnTo>
                  <a:lnTo>
                    <a:pt x="16" y="6"/>
                  </a:lnTo>
                  <a:lnTo>
                    <a:pt x="16" y="6"/>
                  </a:lnTo>
                  <a:lnTo>
                    <a:pt x="16" y="2"/>
                  </a:lnTo>
                  <a:lnTo>
                    <a:pt x="14"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3" name="Freeform 233">
              <a:extLst>
                <a:ext uri="{FF2B5EF4-FFF2-40B4-BE49-F238E27FC236}">
                  <a16:creationId xmlns:a16="http://schemas.microsoft.com/office/drawing/2014/main" id="{699570C7-D23C-4168-9312-6088903410DF}"/>
                </a:ext>
              </a:extLst>
            </p:cNvPr>
            <p:cNvSpPr>
              <a:spLocks/>
            </p:cNvSpPr>
            <p:nvPr/>
          </p:nvSpPr>
          <p:spPr bwMode="auto">
            <a:xfrm>
              <a:off x="7054388" y="4441826"/>
              <a:ext cx="221706" cy="169743"/>
            </a:xfrm>
            <a:custGeom>
              <a:avLst/>
              <a:gdLst>
                <a:gd name="T0" fmla="*/ 92 w 128"/>
                <a:gd name="T1" fmla="*/ 44 h 98"/>
                <a:gd name="T2" fmla="*/ 86 w 128"/>
                <a:gd name="T3" fmla="*/ 42 h 98"/>
                <a:gd name="T4" fmla="*/ 82 w 128"/>
                <a:gd name="T5" fmla="*/ 44 h 98"/>
                <a:gd name="T6" fmla="*/ 80 w 128"/>
                <a:gd name="T7" fmla="*/ 46 h 98"/>
                <a:gd name="T8" fmla="*/ 76 w 128"/>
                <a:gd name="T9" fmla="*/ 52 h 98"/>
                <a:gd name="T10" fmla="*/ 68 w 128"/>
                <a:gd name="T11" fmla="*/ 64 h 98"/>
                <a:gd name="T12" fmla="*/ 66 w 128"/>
                <a:gd name="T13" fmla="*/ 70 h 98"/>
                <a:gd name="T14" fmla="*/ 62 w 128"/>
                <a:gd name="T15" fmla="*/ 82 h 98"/>
                <a:gd name="T16" fmla="*/ 62 w 128"/>
                <a:gd name="T17" fmla="*/ 90 h 98"/>
                <a:gd name="T18" fmla="*/ 62 w 128"/>
                <a:gd name="T19" fmla="*/ 94 h 98"/>
                <a:gd name="T20" fmla="*/ 60 w 128"/>
                <a:gd name="T21" fmla="*/ 96 h 98"/>
                <a:gd name="T22" fmla="*/ 54 w 128"/>
                <a:gd name="T23" fmla="*/ 98 h 98"/>
                <a:gd name="T24" fmla="*/ 46 w 128"/>
                <a:gd name="T25" fmla="*/ 98 h 98"/>
                <a:gd name="T26" fmla="*/ 42 w 128"/>
                <a:gd name="T27" fmla="*/ 98 h 98"/>
                <a:gd name="T28" fmla="*/ 38 w 128"/>
                <a:gd name="T29" fmla="*/ 94 h 98"/>
                <a:gd name="T30" fmla="*/ 36 w 128"/>
                <a:gd name="T31" fmla="*/ 90 h 98"/>
                <a:gd name="T32" fmla="*/ 34 w 128"/>
                <a:gd name="T33" fmla="*/ 90 h 98"/>
                <a:gd name="T34" fmla="*/ 32 w 128"/>
                <a:gd name="T35" fmla="*/ 90 h 98"/>
                <a:gd name="T36" fmla="*/ 30 w 128"/>
                <a:gd name="T37" fmla="*/ 92 h 98"/>
                <a:gd name="T38" fmla="*/ 28 w 128"/>
                <a:gd name="T39" fmla="*/ 96 h 98"/>
                <a:gd name="T40" fmla="*/ 26 w 128"/>
                <a:gd name="T41" fmla="*/ 98 h 98"/>
                <a:gd name="T42" fmla="*/ 18 w 128"/>
                <a:gd name="T43" fmla="*/ 98 h 98"/>
                <a:gd name="T44" fmla="*/ 10 w 128"/>
                <a:gd name="T45" fmla="*/ 96 h 98"/>
                <a:gd name="T46" fmla="*/ 4 w 128"/>
                <a:gd name="T47" fmla="*/ 94 h 98"/>
                <a:gd name="T48" fmla="*/ 2 w 128"/>
                <a:gd name="T49" fmla="*/ 86 h 98"/>
                <a:gd name="T50" fmla="*/ 6 w 128"/>
                <a:gd name="T51" fmla="*/ 82 h 98"/>
                <a:gd name="T52" fmla="*/ 6 w 128"/>
                <a:gd name="T53" fmla="*/ 74 h 98"/>
                <a:gd name="T54" fmla="*/ 8 w 128"/>
                <a:gd name="T55" fmla="*/ 68 h 98"/>
                <a:gd name="T56" fmla="*/ 10 w 128"/>
                <a:gd name="T57" fmla="*/ 68 h 98"/>
                <a:gd name="T58" fmla="*/ 12 w 128"/>
                <a:gd name="T59" fmla="*/ 66 h 98"/>
                <a:gd name="T60" fmla="*/ 18 w 128"/>
                <a:gd name="T61" fmla="*/ 68 h 98"/>
                <a:gd name="T62" fmla="*/ 24 w 128"/>
                <a:gd name="T63" fmla="*/ 68 h 98"/>
                <a:gd name="T64" fmla="*/ 28 w 128"/>
                <a:gd name="T65" fmla="*/ 68 h 98"/>
                <a:gd name="T66" fmla="*/ 28 w 128"/>
                <a:gd name="T67" fmla="*/ 66 h 98"/>
                <a:gd name="T68" fmla="*/ 32 w 128"/>
                <a:gd name="T69" fmla="*/ 62 h 98"/>
                <a:gd name="T70" fmla="*/ 34 w 128"/>
                <a:gd name="T71" fmla="*/ 54 h 98"/>
                <a:gd name="T72" fmla="*/ 38 w 128"/>
                <a:gd name="T73" fmla="*/ 50 h 98"/>
                <a:gd name="T74" fmla="*/ 46 w 128"/>
                <a:gd name="T75" fmla="*/ 46 h 98"/>
                <a:gd name="T76" fmla="*/ 56 w 128"/>
                <a:gd name="T77" fmla="*/ 40 h 98"/>
                <a:gd name="T78" fmla="*/ 62 w 128"/>
                <a:gd name="T79" fmla="*/ 30 h 98"/>
                <a:gd name="T80" fmla="*/ 64 w 128"/>
                <a:gd name="T81" fmla="*/ 22 h 98"/>
                <a:gd name="T82" fmla="*/ 66 w 128"/>
                <a:gd name="T83" fmla="*/ 20 h 98"/>
                <a:gd name="T84" fmla="*/ 70 w 128"/>
                <a:gd name="T85" fmla="*/ 16 h 98"/>
                <a:gd name="T86" fmla="*/ 76 w 128"/>
                <a:gd name="T87" fmla="*/ 14 h 98"/>
                <a:gd name="T88" fmla="*/ 76 w 128"/>
                <a:gd name="T89" fmla="*/ 8 h 98"/>
                <a:gd name="T90" fmla="*/ 78 w 128"/>
                <a:gd name="T91" fmla="*/ 2 h 98"/>
                <a:gd name="T92" fmla="*/ 78 w 128"/>
                <a:gd name="T93" fmla="*/ 0 h 98"/>
                <a:gd name="T94" fmla="*/ 82 w 128"/>
                <a:gd name="T95" fmla="*/ 0 h 98"/>
                <a:gd name="T96" fmla="*/ 86 w 128"/>
                <a:gd name="T97" fmla="*/ 2 h 98"/>
                <a:gd name="T98" fmla="*/ 94 w 128"/>
                <a:gd name="T99" fmla="*/ 8 h 98"/>
                <a:gd name="T100" fmla="*/ 104 w 128"/>
                <a:gd name="T101" fmla="*/ 12 h 98"/>
                <a:gd name="T102" fmla="*/ 110 w 128"/>
                <a:gd name="T103" fmla="*/ 14 h 98"/>
                <a:gd name="T104" fmla="*/ 120 w 128"/>
                <a:gd name="T105" fmla="*/ 16 h 98"/>
                <a:gd name="T106" fmla="*/ 124 w 128"/>
                <a:gd name="T107" fmla="*/ 16 h 98"/>
                <a:gd name="T108" fmla="*/ 126 w 128"/>
                <a:gd name="T109" fmla="*/ 20 h 98"/>
                <a:gd name="T110" fmla="*/ 128 w 128"/>
                <a:gd name="T111" fmla="*/ 26 h 98"/>
                <a:gd name="T112" fmla="*/ 128 w 128"/>
                <a:gd name="T113" fmla="*/ 32 h 98"/>
                <a:gd name="T114" fmla="*/ 128 w 128"/>
                <a:gd name="T115" fmla="*/ 34 h 98"/>
                <a:gd name="T116" fmla="*/ 124 w 128"/>
                <a:gd name="T117" fmla="*/ 36 h 98"/>
                <a:gd name="T118" fmla="*/ 116 w 128"/>
                <a:gd name="T119" fmla="*/ 42 h 98"/>
                <a:gd name="T120" fmla="*/ 102 w 128"/>
                <a:gd name="T121" fmla="*/ 52 h 98"/>
                <a:gd name="T122" fmla="*/ 94 w 128"/>
                <a:gd name="T123" fmla="*/ 4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8" h="98">
                  <a:moveTo>
                    <a:pt x="94" y="46"/>
                  </a:moveTo>
                  <a:lnTo>
                    <a:pt x="94" y="46"/>
                  </a:lnTo>
                  <a:lnTo>
                    <a:pt x="92" y="44"/>
                  </a:lnTo>
                  <a:lnTo>
                    <a:pt x="88" y="44"/>
                  </a:lnTo>
                  <a:lnTo>
                    <a:pt x="86" y="42"/>
                  </a:lnTo>
                  <a:lnTo>
                    <a:pt x="86" y="42"/>
                  </a:lnTo>
                  <a:lnTo>
                    <a:pt x="84" y="42"/>
                  </a:lnTo>
                  <a:lnTo>
                    <a:pt x="84" y="42"/>
                  </a:lnTo>
                  <a:lnTo>
                    <a:pt x="82" y="44"/>
                  </a:lnTo>
                  <a:lnTo>
                    <a:pt x="82" y="44"/>
                  </a:lnTo>
                  <a:lnTo>
                    <a:pt x="80" y="44"/>
                  </a:lnTo>
                  <a:lnTo>
                    <a:pt x="80" y="46"/>
                  </a:lnTo>
                  <a:lnTo>
                    <a:pt x="78" y="48"/>
                  </a:lnTo>
                  <a:lnTo>
                    <a:pt x="76" y="50"/>
                  </a:lnTo>
                  <a:lnTo>
                    <a:pt x="76" y="52"/>
                  </a:lnTo>
                  <a:lnTo>
                    <a:pt x="74" y="56"/>
                  </a:lnTo>
                  <a:lnTo>
                    <a:pt x="70" y="60"/>
                  </a:lnTo>
                  <a:lnTo>
                    <a:pt x="68" y="64"/>
                  </a:lnTo>
                  <a:lnTo>
                    <a:pt x="68" y="66"/>
                  </a:lnTo>
                  <a:lnTo>
                    <a:pt x="66" y="68"/>
                  </a:lnTo>
                  <a:lnTo>
                    <a:pt x="66" y="70"/>
                  </a:lnTo>
                  <a:lnTo>
                    <a:pt x="66" y="72"/>
                  </a:lnTo>
                  <a:lnTo>
                    <a:pt x="64" y="76"/>
                  </a:lnTo>
                  <a:lnTo>
                    <a:pt x="62" y="82"/>
                  </a:lnTo>
                  <a:lnTo>
                    <a:pt x="62" y="84"/>
                  </a:lnTo>
                  <a:lnTo>
                    <a:pt x="62" y="86"/>
                  </a:lnTo>
                  <a:lnTo>
                    <a:pt x="62" y="90"/>
                  </a:lnTo>
                  <a:lnTo>
                    <a:pt x="62" y="92"/>
                  </a:lnTo>
                  <a:lnTo>
                    <a:pt x="62" y="94"/>
                  </a:lnTo>
                  <a:lnTo>
                    <a:pt x="62" y="94"/>
                  </a:lnTo>
                  <a:lnTo>
                    <a:pt x="60" y="96"/>
                  </a:lnTo>
                  <a:lnTo>
                    <a:pt x="60" y="96"/>
                  </a:lnTo>
                  <a:lnTo>
                    <a:pt x="60" y="96"/>
                  </a:lnTo>
                  <a:lnTo>
                    <a:pt x="58" y="96"/>
                  </a:lnTo>
                  <a:lnTo>
                    <a:pt x="56" y="98"/>
                  </a:lnTo>
                  <a:lnTo>
                    <a:pt x="54" y="98"/>
                  </a:lnTo>
                  <a:lnTo>
                    <a:pt x="52" y="98"/>
                  </a:lnTo>
                  <a:lnTo>
                    <a:pt x="50" y="98"/>
                  </a:lnTo>
                  <a:lnTo>
                    <a:pt x="46" y="98"/>
                  </a:lnTo>
                  <a:lnTo>
                    <a:pt x="44" y="98"/>
                  </a:lnTo>
                  <a:lnTo>
                    <a:pt x="42" y="98"/>
                  </a:lnTo>
                  <a:lnTo>
                    <a:pt x="42" y="98"/>
                  </a:lnTo>
                  <a:lnTo>
                    <a:pt x="42" y="98"/>
                  </a:lnTo>
                  <a:lnTo>
                    <a:pt x="40" y="96"/>
                  </a:lnTo>
                  <a:lnTo>
                    <a:pt x="38" y="94"/>
                  </a:lnTo>
                  <a:lnTo>
                    <a:pt x="38" y="94"/>
                  </a:lnTo>
                  <a:lnTo>
                    <a:pt x="36" y="92"/>
                  </a:lnTo>
                  <a:lnTo>
                    <a:pt x="36" y="90"/>
                  </a:lnTo>
                  <a:lnTo>
                    <a:pt x="34" y="90"/>
                  </a:lnTo>
                  <a:lnTo>
                    <a:pt x="34" y="90"/>
                  </a:lnTo>
                  <a:lnTo>
                    <a:pt x="34" y="90"/>
                  </a:lnTo>
                  <a:lnTo>
                    <a:pt x="32" y="90"/>
                  </a:lnTo>
                  <a:lnTo>
                    <a:pt x="32" y="90"/>
                  </a:lnTo>
                  <a:lnTo>
                    <a:pt x="32" y="90"/>
                  </a:lnTo>
                  <a:lnTo>
                    <a:pt x="30" y="90"/>
                  </a:lnTo>
                  <a:lnTo>
                    <a:pt x="30" y="92"/>
                  </a:lnTo>
                  <a:lnTo>
                    <a:pt x="30" y="92"/>
                  </a:lnTo>
                  <a:lnTo>
                    <a:pt x="28" y="96"/>
                  </a:lnTo>
                  <a:lnTo>
                    <a:pt x="28" y="96"/>
                  </a:lnTo>
                  <a:lnTo>
                    <a:pt x="28" y="96"/>
                  </a:lnTo>
                  <a:lnTo>
                    <a:pt x="28" y="96"/>
                  </a:lnTo>
                  <a:lnTo>
                    <a:pt x="26" y="98"/>
                  </a:lnTo>
                  <a:lnTo>
                    <a:pt x="26" y="98"/>
                  </a:lnTo>
                  <a:lnTo>
                    <a:pt x="22" y="98"/>
                  </a:lnTo>
                  <a:lnTo>
                    <a:pt x="20" y="98"/>
                  </a:lnTo>
                  <a:lnTo>
                    <a:pt x="18" y="98"/>
                  </a:lnTo>
                  <a:lnTo>
                    <a:pt x="14" y="98"/>
                  </a:lnTo>
                  <a:lnTo>
                    <a:pt x="12" y="96"/>
                  </a:lnTo>
                  <a:lnTo>
                    <a:pt x="10" y="96"/>
                  </a:lnTo>
                  <a:lnTo>
                    <a:pt x="8" y="96"/>
                  </a:lnTo>
                  <a:lnTo>
                    <a:pt x="6" y="96"/>
                  </a:lnTo>
                  <a:lnTo>
                    <a:pt x="4" y="94"/>
                  </a:lnTo>
                  <a:lnTo>
                    <a:pt x="2" y="92"/>
                  </a:lnTo>
                  <a:lnTo>
                    <a:pt x="0" y="90"/>
                  </a:lnTo>
                  <a:lnTo>
                    <a:pt x="2" y="86"/>
                  </a:lnTo>
                  <a:lnTo>
                    <a:pt x="4" y="84"/>
                  </a:lnTo>
                  <a:lnTo>
                    <a:pt x="4" y="82"/>
                  </a:lnTo>
                  <a:lnTo>
                    <a:pt x="6" y="82"/>
                  </a:lnTo>
                  <a:lnTo>
                    <a:pt x="6" y="80"/>
                  </a:lnTo>
                  <a:lnTo>
                    <a:pt x="6" y="78"/>
                  </a:lnTo>
                  <a:lnTo>
                    <a:pt x="6" y="74"/>
                  </a:lnTo>
                  <a:lnTo>
                    <a:pt x="8" y="72"/>
                  </a:lnTo>
                  <a:lnTo>
                    <a:pt x="8" y="70"/>
                  </a:lnTo>
                  <a:lnTo>
                    <a:pt x="8" y="68"/>
                  </a:lnTo>
                  <a:lnTo>
                    <a:pt x="8" y="68"/>
                  </a:lnTo>
                  <a:lnTo>
                    <a:pt x="8" y="68"/>
                  </a:lnTo>
                  <a:lnTo>
                    <a:pt x="10" y="68"/>
                  </a:lnTo>
                  <a:lnTo>
                    <a:pt x="10" y="66"/>
                  </a:lnTo>
                  <a:lnTo>
                    <a:pt x="10" y="66"/>
                  </a:lnTo>
                  <a:lnTo>
                    <a:pt x="12" y="66"/>
                  </a:lnTo>
                  <a:lnTo>
                    <a:pt x="14" y="66"/>
                  </a:lnTo>
                  <a:lnTo>
                    <a:pt x="16" y="66"/>
                  </a:lnTo>
                  <a:lnTo>
                    <a:pt x="18" y="68"/>
                  </a:lnTo>
                  <a:lnTo>
                    <a:pt x="20" y="68"/>
                  </a:lnTo>
                  <a:lnTo>
                    <a:pt x="24" y="68"/>
                  </a:lnTo>
                  <a:lnTo>
                    <a:pt x="24" y="68"/>
                  </a:lnTo>
                  <a:lnTo>
                    <a:pt x="26" y="68"/>
                  </a:lnTo>
                  <a:lnTo>
                    <a:pt x="26" y="68"/>
                  </a:lnTo>
                  <a:lnTo>
                    <a:pt x="28" y="68"/>
                  </a:lnTo>
                  <a:lnTo>
                    <a:pt x="28" y="68"/>
                  </a:lnTo>
                  <a:lnTo>
                    <a:pt x="28" y="68"/>
                  </a:lnTo>
                  <a:lnTo>
                    <a:pt x="28" y="66"/>
                  </a:lnTo>
                  <a:lnTo>
                    <a:pt x="30" y="66"/>
                  </a:lnTo>
                  <a:lnTo>
                    <a:pt x="30" y="64"/>
                  </a:lnTo>
                  <a:lnTo>
                    <a:pt x="32" y="62"/>
                  </a:lnTo>
                  <a:lnTo>
                    <a:pt x="32" y="56"/>
                  </a:lnTo>
                  <a:lnTo>
                    <a:pt x="34" y="54"/>
                  </a:lnTo>
                  <a:lnTo>
                    <a:pt x="34" y="54"/>
                  </a:lnTo>
                  <a:lnTo>
                    <a:pt x="34" y="54"/>
                  </a:lnTo>
                  <a:lnTo>
                    <a:pt x="36" y="52"/>
                  </a:lnTo>
                  <a:lnTo>
                    <a:pt x="38" y="50"/>
                  </a:lnTo>
                  <a:lnTo>
                    <a:pt x="40" y="50"/>
                  </a:lnTo>
                  <a:lnTo>
                    <a:pt x="42" y="48"/>
                  </a:lnTo>
                  <a:lnTo>
                    <a:pt x="46" y="46"/>
                  </a:lnTo>
                  <a:lnTo>
                    <a:pt x="48" y="44"/>
                  </a:lnTo>
                  <a:lnTo>
                    <a:pt x="52" y="42"/>
                  </a:lnTo>
                  <a:lnTo>
                    <a:pt x="56" y="40"/>
                  </a:lnTo>
                  <a:lnTo>
                    <a:pt x="62" y="38"/>
                  </a:lnTo>
                  <a:lnTo>
                    <a:pt x="62" y="34"/>
                  </a:lnTo>
                  <a:lnTo>
                    <a:pt x="62" y="30"/>
                  </a:lnTo>
                  <a:lnTo>
                    <a:pt x="62" y="26"/>
                  </a:lnTo>
                  <a:lnTo>
                    <a:pt x="64" y="24"/>
                  </a:lnTo>
                  <a:lnTo>
                    <a:pt x="64" y="22"/>
                  </a:lnTo>
                  <a:lnTo>
                    <a:pt x="64" y="20"/>
                  </a:lnTo>
                  <a:lnTo>
                    <a:pt x="64" y="20"/>
                  </a:lnTo>
                  <a:lnTo>
                    <a:pt x="66" y="20"/>
                  </a:lnTo>
                  <a:lnTo>
                    <a:pt x="66" y="18"/>
                  </a:lnTo>
                  <a:lnTo>
                    <a:pt x="68" y="18"/>
                  </a:lnTo>
                  <a:lnTo>
                    <a:pt x="70" y="16"/>
                  </a:lnTo>
                  <a:lnTo>
                    <a:pt x="72" y="16"/>
                  </a:lnTo>
                  <a:lnTo>
                    <a:pt x="74" y="14"/>
                  </a:lnTo>
                  <a:lnTo>
                    <a:pt x="76" y="14"/>
                  </a:lnTo>
                  <a:lnTo>
                    <a:pt x="76" y="12"/>
                  </a:lnTo>
                  <a:lnTo>
                    <a:pt x="76" y="10"/>
                  </a:lnTo>
                  <a:lnTo>
                    <a:pt x="76" y="8"/>
                  </a:lnTo>
                  <a:lnTo>
                    <a:pt x="76" y="6"/>
                  </a:lnTo>
                  <a:lnTo>
                    <a:pt x="78" y="4"/>
                  </a:lnTo>
                  <a:lnTo>
                    <a:pt x="78" y="2"/>
                  </a:lnTo>
                  <a:lnTo>
                    <a:pt x="78" y="2"/>
                  </a:lnTo>
                  <a:lnTo>
                    <a:pt x="78" y="0"/>
                  </a:lnTo>
                  <a:lnTo>
                    <a:pt x="78" y="0"/>
                  </a:lnTo>
                  <a:lnTo>
                    <a:pt x="80" y="0"/>
                  </a:lnTo>
                  <a:lnTo>
                    <a:pt x="80" y="0"/>
                  </a:lnTo>
                  <a:lnTo>
                    <a:pt x="82" y="0"/>
                  </a:lnTo>
                  <a:lnTo>
                    <a:pt x="82" y="0"/>
                  </a:lnTo>
                  <a:lnTo>
                    <a:pt x="84" y="2"/>
                  </a:lnTo>
                  <a:lnTo>
                    <a:pt x="86" y="2"/>
                  </a:lnTo>
                  <a:lnTo>
                    <a:pt x="88" y="4"/>
                  </a:lnTo>
                  <a:lnTo>
                    <a:pt x="92" y="6"/>
                  </a:lnTo>
                  <a:lnTo>
                    <a:pt x="94" y="8"/>
                  </a:lnTo>
                  <a:lnTo>
                    <a:pt x="96" y="10"/>
                  </a:lnTo>
                  <a:lnTo>
                    <a:pt x="102" y="12"/>
                  </a:lnTo>
                  <a:lnTo>
                    <a:pt x="104" y="12"/>
                  </a:lnTo>
                  <a:lnTo>
                    <a:pt x="106" y="14"/>
                  </a:lnTo>
                  <a:lnTo>
                    <a:pt x="108" y="14"/>
                  </a:lnTo>
                  <a:lnTo>
                    <a:pt x="110" y="14"/>
                  </a:lnTo>
                  <a:lnTo>
                    <a:pt x="116" y="14"/>
                  </a:lnTo>
                  <a:lnTo>
                    <a:pt x="118" y="14"/>
                  </a:lnTo>
                  <a:lnTo>
                    <a:pt x="120" y="16"/>
                  </a:lnTo>
                  <a:lnTo>
                    <a:pt x="122" y="16"/>
                  </a:lnTo>
                  <a:lnTo>
                    <a:pt x="124" y="16"/>
                  </a:lnTo>
                  <a:lnTo>
                    <a:pt x="124" y="16"/>
                  </a:lnTo>
                  <a:lnTo>
                    <a:pt x="124" y="16"/>
                  </a:lnTo>
                  <a:lnTo>
                    <a:pt x="126" y="18"/>
                  </a:lnTo>
                  <a:lnTo>
                    <a:pt x="126" y="20"/>
                  </a:lnTo>
                  <a:lnTo>
                    <a:pt x="128" y="22"/>
                  </a:lnTo>
                  <a:lnTo>
                    <a:pt x="128" y="24"/>
                  </a:lnTo>
                  <a:lnTo>
                    <a:pt x="128" y="26"/>
                  </a:lnTo>
                  <a:lnTo>
                    <a:pt x="128" y="28"/>
                  </a:lnTo>
                  <a:lnTo>
                    <a:pt x="128" y="30"/>
                  </a:lnTo>
                  <a:lnTo>
                    <a:pt x="128" y="32"/>
                  </a:lnTo>
                  <a:lnTo>
                    <a:pt x="128" y="32"/>
                  </a:lnTo>
                  <a:lnTo>
                    <a:pt x="128" y="32"/>
                  </a:lnTo>
                  <a:lnTo>
                    <a:pt x="128" y="34"/>
                  </a:lnTo>
                  <a:lnTo>
                    <a:pt x="126" y="34"/>
                  </a:lnTo>
                  <a:lnTo>
                    <a:pt x="126" y="36"/>
                  </a:lnTo>
                  <a:lnTo>
                    <a:pt x="124" y="36"/>
                  </a:lnTo>
                  <a:lnTo>
                    <a:pt x="122" y="38"/>
                  </a:lnTo>
                  <a:lnTo>
                    <a:pt x="118" y="40"/>
                  </a:lnTo>
                  <a:lnTo>
                    <a:pt x="116" y="42"/>
                  </a:lnTo>
                  <a:lnTo>
                    <a:pt x="114" y="44"/>
                  </a:lnTo>
                  <a:lnTo>
                    <a:pt x="106" y="48"/>
                  </a:lnTo>
                  <a:lnTo>
                    <a:pt x="102" y="52"/>
                  </a:lnTo>
                  <a:lnTo>
                    <a:pt x="98" y="50"/>
                  </a:lnTo>
                  <a:lnTo>
                    <a:pt x="96" y="46"/>
                  </a:lnTo>
                  <a:lnTo>
                    <a:pt x="94" y="46"/>
                  </a:lnTo>
                  <a:lnTo>
                    <a:pt x="94" y="4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4" name="Freeform 601">
              <a:extLst>
                <a:ext uri="{FF2B5EF4-FFF2-40B4-BE49-F238E27FC236}">
                  <a16:creationId xmlns:a16="http://schemas.microsoft.com/office/drawing/2014/main" id="{7D557C29-3739-4548-8817-B4F5DD71F7BB}"/>
                </a:ext>
              </a:extLst>
            </p:cNvPr>
            <p:cNvSpPr>
              <a:spLocks/>
            </p:cNvSpPr>
            <p:nvPr/>
          </p:nvSpPr>
          <p:spPr bwMode="auto">
            <a:xfrm>
              <a:off x="7054388" y="4441826"/>
              <a:ext cx="221706" cy="169743"/>
            </a:xfrm>
            <a:custGeom>
              <a:avLst/>
              <a:gdLst>
                <a:gd name="T0" fmla="*/ 126 w 128"/>
                <a:gd name="T1" fmla="*/ 20 h 98"/>
                <a:gd name="T2" fmla="*/ 124 w 128"/>
                <a:gd name="T3" fmla="*/ 16 h 98"/>
                <a:gd name="T4" fmla="*/ 116 w 128"/>
                <a:gd name="T5" fmla="*/ 14 h 98"/>
                <a:gd name="T6" fmla="*/ 104 w 128"/>
                <a:gd name="T7" fmla="*/ 12 h 98"/>
                <a:gd name="T8" fmla="*/ 92 w 128"/>
                <a:gd name="T9" fmla="*/ 6 h 98"/>
                <a:gd name="T10" fmla="*/ 82 w 128"/>
                <a:gd name="T11" fmla="*/ 0 h 98"/>
                <a:gd name="T12" fmla="*/ 78 w 128"/>
                <a:gd name="T13" fmla="*/ 0 h 98"/>
                <a:gd name="T14" fmla="*/ 78 w 128"/>
                <a:gd name="T15" fmla="*/ 4 h 98"/>
                <a:gd name="T16" fmla="*/ 76 w 128"/>
                <a:gd name="T17" fmla="*/ 12 h 98"/>
                <a:gd name="T18" fmla="*/ 70 w 128"/>
                <a:gd name="T19" fmla="*/ 16 h 98"/>
                <a:gd name="T20" fmla="*/ 64 w 128"/>
                <a:gd name="T21" fmla="*/ 20 h 98"/>
                <a:gd name="T22" fmla="*/ 62 w 128"/>
                <a:gd name="T23" fmla="*/ 26 h 98"/>
                <a:gd name="T24" fmla="*/ 62 w 128"/>
                <a:gd name="T25" fmla="*/ 36 h 98"/>
                <a:gd name="T26" fmla="*/ 68 w 128"/>
                <a:gd name="T27" fmla="*/ 40 h 98"/>
                <a:gd name="T28" fmla="*/ 70 w 128"/>
                <a:gd name="T29" fmla="*/ 48 h 98"/>
                <a:gd name="T30" fmla="*/ 66 w 128"/>
                <a:gd name="T31" fmla="*/ 46 h 98"/>
                <a:gd name="T32" fmla="*/ 62 w 128"/>
                <a:gd name="T33" fmla="*/ 44 h 98"/>
                <a:gd name="T34" fmla="*/ 60 w 128"/>
                <a:gd name="T35" fmla="*/ 50 h 98"/>
                <a:gd name="T36" fmla="*/ 46 w 128"/>
                <a:gd name="T37" fmla="*/ 44 h 98"/>
                <a:gd name="T38" fmla="*/ 40 w 128"/>
                <a:gd name="T39" fmla="*/ 50 h 98"/>
                <a:gd name="T40" fmla="*/ 34 w 128"/>
                <a:gd name="T41" fmla="*/ 54 h 98"/>
                <a:gd name="T42" fmla="*/ 30 w 128"/>
                <a:gd name="T43" fmla="*/ 64 h 98"/>
                <a:gd name="T44" fmla="*/ 28 w 128"/>
                <a:gd name="T45" fmla="*/ 68 h 98"/>
                <a:gd name="T46" fmla="*/ 24 w 128"/>
                <a:gd name="T47" fmla="*/ 68 h 98"/>
                <a:gd name="T48" fmla="*/ 16 w 128"/>
                <a:gd name="T49" fmla="*/ 66 h 98"/>
                <a:gd name="T50" fmla="*/ 10 w 128"/>
                <a:gd name="T51" fmla="*/ 66 h 98"/>
                <a:gd name="T52" fmla="*/ 8 w 128"/>
                <a:gd name="T53" fmla="*/ 68 h 98"/>
                <a:gd name="T54" fmla="*/ 6 w 128"/>
                <a:gd name="T55" fmla="*/ 78 h 98"/>
                <a:gd name="T56" fmla="*/ 4 w 128"/>
                <a:gd name="T57" fmla="*/ 84 h 98"/>
                <a:gd name="T58" fmla="*/ 4 w 128"/>
                <a:gd name="T59" fmla="*/ 94 h 98"/>
                <a:gd name="T60" fmla="*/ 12 w 128"/>
                <a:gd name="T61" fmla="*/ 96 h 98"/>
                <a:gd name="T62" fmla="*/ 22 w 128"/>
                <a:gd name="T63" fmla="*/ 98 h 98"/>
                <a:gd name="T64" fmla="*/ 28 w 128"/>
                <a:gd name="T65" fmla="*/ 96 h 98"/>
                <a:gd name="T66" fmla="*/ 30 w 128"/>
                <a:gd name="T67" fmla="*/ 92 h 98"/>
                <a:gd name="T68" fmla="*/ 32 w 128"/>
                <a:gd name="T69" fmla="*/ 90 h 98"/>
                <a:gd name="T70" fmla="*/ 36 w 128"/>
                <a:gd name="T71" fmla="*/ 90 h 98"/>
                <a:gd name="T72" fmla="*/ 40 w 128"/>
                <a:gd name="T73" fmla="*/ 96 h 98"/>
                <a:gd name="T74" fmla="*/ 44 w 128"/>
                <a:gd name="T75" fmla="*/ 98 h 98"/>
                <a:gd name="T76" fmla="*/ 54 w 128"/>
                <a:gd name="T77" fmla="*/ 98 h 98"/>
                <a:gd name="T78" fmla="*/ 60 w 128"/>
                <a:gd name="T79" fmla="*/ 96 h 98"/>
                <a:gd name="T80" fmla="*/ 62 w 128"/>
                <a:gd name="T81" fmla="*/ 92 h 98"/>
                <a:gd name="T82" fmla="*/ 62 w 128"/>
                <a:gd name="T83" fmla="*/ 82 h 98"/>
                <a:gd name="T84" fmla="*/ 66 w 128"/>
                <a:gd name="T85" fmla="*/ 68 h 98"/>
                <a:gd name="T86" fmla="*/ 74 w 128"/>
                <a:gd name="T87" fmla="*/ 56 h 98"/>
                <a:gd name="T88" fmla="*/ 80 w 128"/>
                <a:gd name="T89" fmla="*/ 46 h 98"/>
                <a:gd name="T90" fmla="*/ 84 w 128"/>
                <a:gd name="T91" fmla="*/ 42 h 98"/>
                <a:gd name="T92" fmla="*/ 88 w 128"/>
                <a:gd name="T93" fmla="*/ 44 h 98"/>
                <a:gd name="T94" fmla="*/ 96 w 128"/>
                <a:gd name="T95" fmla="*/ 46 h 98"/>
                <a:gd name="T96" fmla="*/ 114 w 128"/>
                <a:gd name="T97" fmla="*/ 44 h 98"/>
                <a:gd name="T98" fmla="*/ 124 w 128"/>
                <a:gd name="T99" fmla="*/ 36 h 98"/>
                <a:gd name="T100" fmla="*/ 128 w 128"/>
                <a:gd name="T101" fmla="*/ 32 h 98"/>
                <a:gd name="T102" fmla="*/ 128 w 128"/>
                <a:gd name="T103" fmla="*/ 2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8" h="98">
                  <a:moveTo>
                    <a:pt x="128" y="26"/>
                  </a:moveTo>
                  <a:lnTo>
                    <a:pt x="128" y="24"/>
                  </a:lnTo>
                  <a:lnTo>
                    <a:pt x="128" y="22"/>
                  </a:lnTo>
                  <a:lnTo>
                    <a:pt x="126" y="20"/>
                  </a:lnTo>
                  <a:lnTo>
                    <a:pt x="126" y="18"/>
                  </a:lnTo>
                  <a:lnTo>
                    <a:pt x="124" y="16"/>
                  </a:lnTo>
                  <a:lnTo>
                    <a:pt x="124" y="16"/>
                  </a:lnTo>
                  <a:lnTo>
                    <a:pt x="124" y="16"/>
                  </a:lnTo>
                  <a:lnTo>
                    <a:pt x="122" y="16"/>
                  </a:lnTo>
                  <a:lnTo>
                    <a:pt x="120" y="16"/>
                  </a:lnTo>
                  <a:lnTo>
                    <a:pt x="118" y="14"/>
                  </a:lnTo>
                  <a:lnTo>
                    <a:pt x="116" y="14"/>
                  </a:lnTo>
                  <a:lnTo>
                    <a:pt x="110" y="14"/>
                  </a:lnTo>
                  <a:lnTo>
                    <a:pt x="108" y="14"/>
                  </a:lnTo>
                  <a:lnTo>
                    <a:pt x="106" y="14"/>
                  </a:lnTo>
                  <a:lnTo>
                    <a:pt x="104" y="12"/>
                  </a:lnTo>
                  <a:lnTo>
                    <a:pt x="102" y="12"/>
                  </a:lnTo>
                  <a:lnTo>
                    <a:pt x="96" y="10"/>
                  </a:lnTo>
                  <a:lnTo>
                    <a:pt x="94" y="8"/>
                  </a:lnTo>
                  <a:lnTo>
                    <a:pt x="92" y="6"/>
                  </a:lnTo>
                  <a:lnTo>
                    <a:pt x="88" y="4"/>
                  </a:lnTo>
                  <a:lnTo>
                    <a:pt x="86" y="2"/>
                  </a:lnTo>
                  <a:lnTo>
                    <a:pt x="84" y="2"/>
                  </a:lnTo>
                  <a:lnTo>
                    <a:pt x="82" y="0"/>
                  </a:lnTo>
                  <a:lnTo>
                    <a:pt x="82" y="0"/>
                  </a:lnTo>
                  <a:lnTo>
                    <a:pt x="80" y="0"/>
                  </a:lnTo>
                  <a:lnTo>
                    <a:pt x="80" y="0"/>
                  </a:lnTo>
                  <a:lnTo>
                    <a:pt x="78" y="0"/>
                  </a:lnTo>
                  <a:lnTo>
                    <a:pt x="78" y="0"/>
                  </a:lnTo>
                  <a:lnTo>
                    <a:pt x="78" y="2"/>
                  </a:lnTo>
                  <a:lnTo>
                    <a:pt x="78" y="2"/>
                  </a:lnTo>
                  <a:lnTo>
                    <a:pt x="78" y="4"/>
                  </a:lnTo>
                  <a:lnTo>
                    <a:pt x="76" y="6"/>
                  </a:lnTo>
                  <a:lnTo>
                    <a:pt x="76" y="8"/>
                  </a:lnTo>
                  <a:lnTo>
                    <a:pt x="76" y="10"/>
                  </a:lnTo>
                  <a:lnTo>
                    <a:pt x="76" y="12"/>
                  </a:lnTo>
                  <a:lnTo>
                    <a:pt x="76" y="14"/>
                  </a:lnTo>
                  <a:lnTo>
                    <a:pt x="74" y="14"/>
                  </a:lnTo>
                  <a:lnTo>
                    <a:pt x="72" y="16"/>
                  </a:lnTo>
                  <a:lnTo>
                    <a:pt x="70" y="16"/>
                  </a:lnTo>
                  <a:lnTo>
                    <a:pt x="68" y="18"/>
                  </a:lnTo>
                  <a:lnTo>
                    <a:pt x="66" y="18"/>
                  </a:lnTo>
                  <a:lnTo>
                    <a:pt x="66" y="20"/>
                  </a:lnTo>
                  <a:lnTo>
                    <a:pt x="64" y="20"/>
                  </a:lnTo>
                  <a:lnTo>
                    <a:pt x="64" y="20"/>
                  </a:lnTo>
                  <a:lnTo>
                    <a:pt x="64" y="22"/>
                  </a:lnTo>
                  <a:lnTo>
                    <a:pt x="64" y="24"/>
                  </a:lnTo>
                  <a:lnTo>
                    <a:pt x="62" y="26"/>
                  </a:lnTo>
                  <a:lnTo>
                    <a:pt x="62" y="30"/>
                  </a:lnTo>
                  <a:lnTo>
                    <a:pt x="62" y="34"/>
                  </a:lnTo>
                  <a:lnTo>
                    <a:pt x="62" y="36"/>
                  </a:lnTo>
                  <a:lnTo>
                    <a:pt x="62" y="36"/>
                  </a:lnTo>
                  <a:lnTo>
                    <a:pt x="66" y="38"/>
                  </a:lnTo>
                  <a:lnTo>
                    <a:pt x="66" y="38"/>
                  </a:lnTo>
                  <a:lnTo>
                    <a:pt x="68" y="40"/>
                  </a:lnTo>
                  <a:lnTo>
                    <a:pt x="68" y="40"/>
                  </a:lnTo>
                  <a:lnTo>
                    <a:pt x="70" y="44"/>
                  </a:lnTo>
                  <a:lnTo>
                    <a:pt x="70" y="44"/>
                  </a:lnTo>
                  <a:lnTo>
                    <a:pt x="70" y="46"/>
                  </a:lnTo>
                  <a:lnTo>
                    <a:pt x="70" y="48"/>
                  </a:lnTo>
                  <a:lnTo>
                    <a:pt x="70" y="48"/>
                  </a:lnTo>
                  <a:lnTo>
                    <a:pt x="68" y="46"/>
                  </a:lnTo>
                  <a:lnTo>
                    <a:pt x="66" y="46"/>
                  </a:lnTo>
                  <a:lnTo>
                    <a:pt x="66" y="46"/>
                  </a:lnTo>
                  <a:lnTo>
                    <a:pt x="64" y="44"/>
                  </a:lnTo>
                  <a:lnTo>
                    <a:pt x="62" y="44"/>
                  </a:lnTo>
                  <a:lnTo>
                    <a:pt x="62" y="44"/>
                  </a:lnTo>
                  <a:lnTo>
                    <a:pt x="62" y="44"/>
                  </a:lnTo>
                  <a:lnTo>
                    <a:pt x="60" y="46"/>
                  </a:lnTo>
                  <a:lnTo>
                    <a:pt x="60" y="46"/>
                  </a:lnTo>
                  <a:lnTo>
                    <a:pt x="60" y="50"/>
                  </a:lnTo>
                  <a:lnTo>
                    <a:pt x="60" y="50"/>
                  </a:lnTo>
                  <a:lnTo>
                    <a:pt x="58" y="52"/>
                  </a:lnTo>
                  <a:lnTo>
                    <a:pt x="58" y="54"/>
                  </a:lnTo>
                  <a:lnTo>
                    <a:pt x="58" y="54"/>
                  </a:lnTo>
                  <a:lnTo>
                    <a:pt x="46" y="44"/>
                  </a:lnTo>
                  <a:lnTo>
                    <a:pt x="48" y="44"/>
                  </a:lnTo>
                  <a:lnTo>
                    <a:pt x="46" y="46"/>
                  </a:lnTo>
                  <a:lnTo>
                    <a:pt x="42" y="48"/>
                  </a:lnTo>
                  <a:lnTo>
                    <a:pt x="40" y="50"/>
                  </a:lnTo>
                  <a:lnTo>
                    <a:pt x="38" y="50"/>
                  </a:lnTo>
                  <a:lnTo>
                    <a:pt x="36" y="52"/>
                  </a:lnTo>
                  <a:lnTo>
                    <a:pt x="34" y="54"/>
                  </a:lnTo>
                  <a:lnTo>
                    <a:pt x="34" y="54"/>
                  </a:lnTo>
                  <a:lnTo>
                    <a:pt x="34" y="54"/>
                  </a:lnTo>
                  <a:lnTo>
                    <a:pt x="32" y="56"/>
                  </a:lnTo>
                  <a:lnTo>
                    <a:pt x="32" y="62"/>
                  </a:lnTo>
                  <a:lnTo>
                    <a:pt x="30" y="64"/>
                  </a:lnTo>
                  <a:lnTo>
                    <a:pt x="30" y="66"/>
                  </a:lnTo>
                  <a:lnTo>
                    <a:pt x="28" y="66"/>
                  </a:lnTo>
                  <a:lnTo>
                    <a:pt x="28" y="68"/>
                  </a:lnTo>
                  <a:lnTo>
                    <a:pt x="28" y="68"/>
                  </a:lnTo>
                  <a:lnTo>
                    <a:pt x="28" y="68"/>
                  </a:lnTo>
                  <a:lnTo>
                    <a:pt x="26" y="68"/>
                  </a:lnTo>
                  <a:lnTo>
                    <a:pt x="26" y="68"/>
                  </a:lnTo>
                  <a:lnTo>
                    <a:pt x="24" y="68"/>
                  </a:lnTo>
                  <a:lnTo>
                    <a:pt x="24" y="68"/>
                  </a:lnTo>
                  <a:lnTo>
                    <a:pt x="20" y="68"/>
                  </a:lnTo>
                  <a:lnTo>
                    <a:pt x="18" y="68"/>
                  </a:lnTo>
                  <a:lnTo>
                    <a:pt x="16" y="66"/>
                  </a:lnTo>
                  <a:lnTo>
                    <a:pt x="14" y="66"/>
                  </a:lnTo>
                  <a:lnTo>
                    <a:pt x="12" y="66"/>
                  </a:lnTo>
                  <a:lnTo>
                    <a:pt x="10" y="66"/>
                  </a:lnTo>
                  <a:lnTo>
                    <a:pt x="10" y="66"/>
                  </a:lnTo>
                  <a:lnTo>
                    <a:pt x="10" y="68"/>
                  </a:lnTo>
                  <a:lnTo>
                    <a:pt x="8" y="68"/>
                  </a:lnTo>
                  <a:lnTo>
                    <a:pt x="8" y="68"/>
                  </a:lnTo>
                  <a:lnTo>
                    <a:pt x="8" y="68"/>
                  </a:lnTo>
                  <a:lnTo>
                    <a:pt x="8" y="70"/>
                  </a:lnTo>
                  <a:lnTo>
                    <a:pt x="8" y="72"/>
                  </a:lnTo>
                  <a:lnTo>
                    <a:pt x="6" y="74"/>
                  </a:lnTo>
                  <a:lnTo>
                    <a:pt x="6" y="78"/>
                  </a:lnTo>
                  <a:lnTo>
                    <a:pt x="6" y="80"/>
                  </a:lnTo>
                  <a:lnTo>
                    <a:pt x="6" y="82"/>
                  </a:lnTo>
                  <a:lnTo>
                    <a:pt x="4" y="82"/>
                  </a:lnTo>
                  <a:lnTo>
                    <a:pt x="4" y="84"/>
                  </a:lnTo>
                  <a:lnTo>
                    <a:pt x="2" y="86"/>
                  </a:lnTo>
                  <a:lnTo>
                    <a:pt x="0" y="90"/>
                  </a:lnTo>
                  <a:lnTo>
                    <a:pt x="2" y="92"/>
                  </a:lnTo>
                  <a:lnTo>
                    <a:pt x="4" y="94"/>
                  </a:lnTo>
                  <a:lnTo>
                    <a:pt x="6" y="96"/>
                  </a:lnTo>
                  <a:lnTo>
                    <a:pt x="8" y="96"/>
                  </a:lnTo>
                  <a:lnTo>
                    <a:pt x="10" y="96"/>
                  </a:lnTo>
                  <a:lnTo>
                    <a:pt x="12" y="96"/>
                  </a:lnTo>
                  <a:lnTo>
                    <a:pt x="14" y="98"/>
                  </a:lnTo>
                  <a:lnTo>
                    <a:pt x="18" y="98"/>
                  </a:lnTo>
                  <a:lnTo>
                    <a:pt x="20" y="98"/>
                  </a:lnTo>
                  <a:lnTo>
                    <a:pt x="22" y="98"/>
                  </a:lnTo>
                  <a:lnTo>
                    <a:pt x="26" y="98"/>
                  </a:lnTo>
                  <a:lnTo>
                    <a:pt x="26" y="98"/>
                  </a:lnTo>
                  <a:lnTo>
                    <a:pt x="28" y="96"/>
                  </a:lnTo>
                  <a:lnTo>
                    <a:pt x="28" y="96"/>
                  </a:lnTo>
                  <a:lnTo>
                    <a:pt x="28" y="96"/>
                  </a:lnTo>
                  <a:lnTo>
                    <a:pt x="28" y="96"/>
                  </a:lnTo>
                  <a:lnTo>
                    <a:pt x="30" y="92"/>
                  </a:lnTo>
                  <a:lnTo>
                    <a:pt x="30" y="92"/>
                  </a:lnTo>
                  <a:lnTo>
                    <a:pt x="30" y="90"/>
                  </a:lnTo>
                  <a:lnTo>
                    <a:pt x="32" y="90"/>
                  </a:lnTo>
                  <a:lnTo>
                    <a:pt x="32" y="90"/>
                  </a:lnTo>
                  <a:lnTo>
                    <a:pt x="32" y="90"/>
                  </a:lnTo>
                  <a:lnTo>
                    <a:pt x="34" y="90"/>
                  </a:lnTo>
                  <a:lnTo>
                    <a:pt x="34" y="90"/>
                  </a:lnTo>
                  <a:lnTo>
                    <a:pt x="34" y="90"/>
                  </a:lnTo>
                  <a:lnTo>
                    <a:pt x="36" y="90"/>
                  </a:lnTo>
                  <a:lnTo>
                    <a:pt x="36" y="92"/>
                  </a:lnTo>
                  <a:lnTo>
                    <a:pt x="38" y="94"/>
                  </a:lnTo>
                  <a:lnTo>
                    <a:pt x="38" y="94"/>
                  </a:lnTo>
                  <a:lnTo>
                    <a:pt x="40" y="96"/>
                  </a:lnTo>
                  <a:lnTo>
                    <a:pt x="42" y="98"/>
                  </a:lnTo>
                  <a:lnTo>
                    <a:pt x="42" y="98"/>
                  </a:lnTo>
                  <a:lnTo>
                    <a:pt x="42" y="98"/>
                  </a:lnTo>
                  <a:lnTo>
                    <a:pt x="44" y="98"/>
                  </a:lnTo>
                  <a:lnTo>
                    <a:pt x="46" y="98"/>
                  </a:lnTo>
                  <a:lnTo>
                    <a:pt x="50" y="98"/>
                  </a:lnTo>
                  <a:lnTo>
                    <a:pt x="52" y="98"/>
                  </a:lnTo>
                  <a:lnTo>
                    <a:pt x="54" y="98"/>
                  </a:lnTo>
                  <a:lnTo>
                    <a:pt x="56" y="98"/>
                  </a:lnTo>
                  <a:lnTo>
                    <a:pt x="58" y="96"/>
                  </a:lnTo>
                  <a:lnTo>
                    <a:pt x="60" y="96"/>
                  </a:lnTo>
                  <a:lnTo>
                    <a:pt x="60" y="96"/>
                  </a:lnTo>
                  <a:lnTo>
                    <a:pt x="60" y="96"/>
                  </a:lnTo>
                  <a:lnTo>
                    <a:pt x="62" y="94"/>
                  </a:lnTo>
                  <a:lnTo>
                    <a:pt x="62" y="94"/>
                  </a:lnTo>
                  <a:lnTo>
                    <a:pt x="62" y="92"/>
                  </a:lnTo>
                  <a:lnTo>
                    <a:pt x="62" y="90"/>
                  </a:lnTo>
                  <a:lnTo>
                    <a:pt x="62" y="86"/>
                  </a:lnTo>
                  <a:lnTo>
                    <a:pt x="62" y="84"/>
                  </a:lnTo>
                  <a:lnTo>
                    <a:pt x="62" y="82"/>
                  </a:lnTo>
                  <a:lnTo>
                    <a:pt x="64" y="76"/>
                  </a:lnTo>
                  <a:lnTo>
                    <a:pt x="66" y="72"/>
                  </a:lnTo>
                  <a:lnTo>
                    <a:pt x="66" y="70"/>
                  </a:lnTo>
                  <a:lnTo>
                    <a:pt x="66" y="68"/>
                  </a:lnTo>
                  <a:lnTo>
                    <a:pt x="68" y="66"/>
                  </a:lnTo>
                  <a:lnTo>
                    <a:pt x="68" y="64"/>
                  </a:lnTo>
                  <a:lnTo>
                    <a:pt x="70" y="60"/>
                  </a:lnTo>
                  <a:lnTo>
                    <a:pt x="74" y="56"/>
                  </a:lnTo>
                  <a:lnTo>
                    <a:pt x="76" y="52"/>
                  </a:lnTo>
                  <a:lnTo>
                    <a:pt x="76" y="50"/>
                  </a:lnTo>
                  <a:lnTo>
                    <a:pt x="78" y="48"/>
                  </a:lnTo>
                  <a:lnTo>
                    <a:pt x="80" y="46"/>
                  </a:lnTo>
                  <a:lnTo>
                    <a:pt x="80" y="44"/>
                  </a:lnTo>
                  <a:lnTo>
                    <a:pt x="82" y="44"/>
                  </a:lnTo>
                  <a:lnTo>
                    <a:pt x="82" y="44"/>
                  </a:lnTo>
                  <a:lnTo>
                    <a:pt x="84" y="42"/>
                  </a:lnTo>
                  <a:lnTo>
                    <a:pt x="84" y="42"/>
                  </a:lnTo>
                  <a:lnTo>
                    <a:pt x="86" y="42"/>
                  </a:lnTo>
                  <a:lnTo>
                    <a:pt x="86" y="42"/>
                  </a:lnTo>
                  <a:lnTo>
                    <a:pt x="88" y="44"/>
                  </a:lnTo>
                  <a:lnTo>
                    <a:pt x="92" y="44"/>
                  </a:lnTo>
                  <a:lnTo>
                    <a:pt x="94" y="46"/>
                  </a:lnTo>
                  <a:lnTo>
                    <a:pt x="94" y="46"/>
                  </a:lnTo>
                  <a:lnTo>
                    <a:pt x="96" y="46"/>
                  </a:lnTo>
                  <a:lnTo>
                    <a:pt x="98" y="50"/>
                  </a:lnTo>
                  <a:lnTo>
                    <a:pt x="102" y="52"/>
                  </a:lnTo>
                  <a:lnTo>
                    <a:pt x="106" y="48"/>
                  </a:lnTo>
                  <a:lnTo>
                    <a:pt x="114" y="44"/>
                  </a:lnTo>
                  <a:lnTo>
                    <a:pt x="116" y="42"/>
                  </a:lnTo>
                  <a:lnTo>
                    <a:pt x="118" y="40"/>
                  </a:lnTo>
                  <a:lnTo>
                    <a:pt x="122" y="38"/>
                  </a:lnTo>
                  <a:lnTo>
                    <a:pt x="124" y="36"/>
                  </a:lnTo>
                  <a:lnTo>
                    <a:pt x="126" y="36"/>
                  </a:lnTo>
                  <a:lnTo>
                    <a:pt x="126" y="34"/>
                  </a:lnTo>
                  <a:lnTo>
                    <a:pt x="128" y="34"/>
                  </a:lnTo>
                  <a:lnTo>
                    <a:pt x="128" y="32"/>
                  </a:lnTo>
                  <a:lnTo>
                    <a:pt x="128" y="32"/>
                  </a:lnTo>
                  <a:lnTo>
                    <a:pt x="128" y="32"/>
                  </a:lnTo>
                  <a:lnTo>
                    <a:pt x="128" y="30"/>
                  </a:lnTo>
                  <a:lnTo>
                    <a:pt x="128" y="28"/>
                  </a:lnTo>
                  <a:lnTo>
                    <a:pt x="128" y="26"/>
                  </a:lnTo>
                  <a:close/>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5" name="Rectangle 602">
              <a:extLst>
                <a:ext uri="{FF2B5EF4-FFF2-40B4-BE49-F238E27FC236}">
                  <a16:creationId xmlns:a16="http://schemas.microsoft.com/office/drawing/2014/main" id="{04F1BB7F-ED75-484D-B196-D93429A58E3F}"/>
                </a:ext>
              </a:extLst>
            </p:cNvPr>
            <p:cNvSpPr>
              <a:spLocks noChangeArrowheads="1"/>
            </p:cNvSpPr>
            <p:nvPr/>
          </p:nvSpPr>
          <p:spPr bwMode="auto">
            <a:xfrm>
              <a:off x="7161777" y="4500717"/>
              <a:ext cx="1733" cy="1733"/>
            </a:xfrm>
            <a:prstGeom prst="rect">
              <a:avLst/>
            </a:prstGeom>
            <a:grpFill/>
            <a:ln w="635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6" name="Freeform 611">
              <a:extLst>
                <a:ext uri="{FF2B5EF4-FFF2-40B4-BE49-F238E27FC236}">
                  <a16:creationId xmlns:a16="http://schemas.microsoft.com/office/drawing/2014/main" id="{EE6C6C8F-E7FE-4790-8481-6DF7878EC1E5}"/>
                </a:ext>
              </a:extLst>
            </p:cNvPr>
            <p:cNvSpPr>
              <a:spLocks/>
            </p:cNvSpPr>
            <p:nvPr/>
          </p:nvSpPr>
          <p:spPr bwMode="auto">
            <a:xfrm>
              <a:off x="7134064" y="4500717"/>
              <a:ext cx="41570" cy="34641"/>
            </a:xfrm>
            <a:custGeom>
              <a:avLst/>
              <a:gdLst>
                <a:gd name="T0" fmla="*/ 12 w 24"/>
                <a:gd name="T1" fmla="*/ 20 h 20"/>
                <a:gd name="T2" fmla="*/ 12 w 24"/>
                <a:gd name="T3" fmla="*/ 20 h 20"/>
                <a:gd name="T4" fmla="*/ 12 w 24"/>
                <a:gd name="T5" fmla="*/ 18 h 20"/>
                <a:gd name="T6" fmla="*/ 14 w 24"/>
                <a:gd name="T7" fmla="*/ 16 h 20"/>
                <a:gd name="T8" fmla="*/ 14 w 24"/>
                <a:gd name="T9" fmla="*/ 16 h 20"/>
                <a:gd name="T10" fmla="*/ 14 w 24"/>
                <a:gd name="T11" fmla="*/ 12 h 20"/>
                <a:gd name="T12" fmla="*/ 14 w 24"/>
                <a:gd name="T13" fmla="*/ 12 h 20"/>
                <a:gd name="T14" fmla="*/ 16 w 24"/>
                <a:gd name="T15" fmla="*/ 10 h 20"/>
                <a:gd name="T16" fmla="*/ 16 w 24"/>
                <a:gd name="T17" fmla="*/ 10 h 20"/>
                <a:gd name="T18" fmla="*/ 16 w 24"/>
                <a:gd name="T19" fmla="*/ 10 h 20"/>
                <a:gd name="T20" fmla="*/ 18 w 24"/>
                <a:gd name="T21" fmla="*/ 10 h 20"/>
                <a:gd name="T22" fmla="*/ 20 w 24"/>
                <a:gd name="T23" fmla="*/ 12 h 20"/>
                <a:gd name="T24" fmla="*/ 20 w 24"/>
                <a:gd name="T25" fmla="*/ 12 h 20"/>
                <a:gd name="T26" fmla="*/ 22 w 24"/>
                <a:gd name="T27" fmla="*/ 12 h 20"/>
                <a:gd name="T28" fmla="*/ 24 w 24"/>
                <a:gd name="T29" fmla="*/ 14 h 20"/>
                <a:gd name="T30" fmla="*/ 24 w 24"/>
                <a:gd name="T31" fmla="*/ 14 h 20"/>
                <a:gd name="T32" fmla="*/ 24 w 24"/>
                <a:gd name="T33" fmla="*/ 12 h 20"/>
                <a:gd name="T34" fmla="*/ 24 w 24"/>
                <a:gd name="T35" fmla="*/ 10 h 20"/>
                <a:gd name="T36" fmla="*/ 24 w 24"/>
                <a:gd name="T37" fmla="*/ 10 h 20"/>
                <a:gd name="T38" fmla="*/ 22 w 24"/>
                <a:gd name="T39" fmla="*/ 6 h 20"/>
                <a:gd name="T40" fmla="*/ 22 w 24"/>
                <a:gd name="T41" fmla="*/ 6 h 20"/>
                <a:gd name="T42" fmla="*/ 20 w 24"/>
                <a:gd name="T43" fmla="*/ 4 h 20"/>
                <a:gd name="T44" fmla="*/ 20 w 24"/>
                <a:gd name="T45" fmla="*/ 4 h 20"/>
                <a:gd name="T46" fmla="*/ 16 w 24"/>
                <a:gd name="T47" fmla="*/ 2 h 20"/>
                <a:gd name="T48" fmla="*/ 16 w 24"/>
                <a:gd name="T49" fmla="*/ 0 h 20"/>
                <a:gd name="T50" fmla="*/ 16 w 24"/>
                <a:gd name="T51" fmla="*/ 0 h 20"/>
                <a:gd name="T52" fmla="*/ 16 w 24"/>
                <a:gd name="T53" fmla="*/ 4 h 20"/>
                <a:gd name="T54" fmla="*/ 10 w 24"/>
                <a:gd name="T55" fmla="*/ 6 h 20"/>
                <a:gd name="T56" fmla="*/ 6 w 24"/>
                <a:gd name="T57" fmla="*/ 8 h 20"/>
                <a:gd name="T58" fmla="*/ 2 w 24"/>
                <a:gd name="T59" fmla="*/ 10 h 20"/>
                <a:gd name="T60" fmla="*/ 0 w 24"/>
                <a:gd name="T61" fmla="*/ 10 h 20"/>
                <a:gd name="T62" fmla="*/ 0 w 24"/>
                <a:gd name="T63" fmla="*/ 10 h 20"/>
                <a:gd name="T64" fmla="*/ 12 w 24"/>
                <a:gd name="T65" fmla="*/ 20 h 20"/>
                <a:gd name="T66" fmla="*/ 12 w 24"/>
                <a:gd name="T6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20">
                  <a:moveTo>
                    <a:pt x="12" y="20"/>
                  </a:moveTo>
                  <a:lnTo>
                    <a:pt x="12" y="20"/>
                  </a:lnTo>
                  <a:lnTo>
                    <a:pt x="12" y="18"/>
                  </a:lnTo>
                  <a:lnTo>
                    <a:pt x="14" y="16"/>
                  </a:lnTo>
                  <a:lnTo>
                    <a:pt x="14" y="16"/>
                  </a:lnTo>
                  <a:lnTo>
                    <a:pt x="14" y="12"/>
                  </a:lnTo>
                  <a:lnTo>
                    <a:pt x="14" y="12"/>
                  </a:lnTo>
                  <a:lnTo>
                    <a:pt x="16" y="10"/>
                  </a:lnTo>
                  <a:lnTo>
                    <a:pt x="16" y="10"/>
                  </a:lnTo>
                  <a:lnTo>
                    <a:pt x="16" y="10"/>
                  </a:lnTo>
                  <a:lnTo>
                    <a:pt x="18" y="10"/>
                  </a:lnTo>
                  <a:lnTo>
                    <a:pt x="20" y="12"/>
                  </a:lnTo>
                  <a:lnTo>
                    <a:pt x="20" y="12"/>
                  </a:lnTo>
                  <a:lnTo>
                    <a:pt x="22" y="12"/>
                  </a:lnTo>
                  <a:lnTo>
                    <a:pt x="24" y="14"/>
                  </a:lnTo>
                  <a:lnTo>
                    <a:pt x="24" y="14"/>
                  </a:lnTo>
                  <a:lnTo>
                    <a:pt x="24" y="12"/>
                  </a:lnTo>
                  <a:lnTo>
                    <a:pt x="24" y="10"/>
                  </a:lnTo>
                  <a:lnTo>
                    <a:pt x="24" y="10"/>
                  </a:lnTo>
                  <a:lnTo>
                    <a:pt x="22" y="6"/>
                  </a:lnTo>
                  <a:lnTo>
                    <a:pt x="22" y="6"/>
                  </a:lnTo>
                  <a:lnTo>
                    <a:pt x="20" y="4"/>
                  </a:lnTo>
                  <a:lnTo>
                    <a:pt x="20" y="4"/>
                  </a:lnTo>
                  <a:lnTo>
                    <a:pt x="16" y="2"/>
                  </a:lnTo>
                  <a:lnTo>
                    <a:pt x="16" y="0"/>
                  </a:lnTo>
                  <a:lnTo>
                    <a:pt x="16" y="0"/>
                  </a:lnTo>
                  <a:lnTo>
                    <a:pt x="16" y="4"/>
                  </a:lnTo>
                  <a:lnTo>
                    <a:pt x="10" y="6"/>
                  </a:lnTo>
                  <a:lnTo>
                    <a:pt x="6" y="8"/>
                  </a:lnTo>
                  <a:lnTo>
                    <a:pt x="2" y="10"/>
                  </a:lnTo>
                  <a:lnTo>
                    <a:pt x="0" y="10"/>
                  </a:lnTo>
                  <a:lnTo>
                    <a:pt x="0" y="10"/>
                  </a:lnTo>
                  <a:lnTo>
                    <a:pt x="12" y="20"/>
                  </a:lnTo>
                  <a:lnTo>
                    <a:pt x="12" y="20"/>
                  </a:lnTo>
                  <a:close/>
                </a:path>
              </a:pathLst>
            </a:custGeom>
            <a:grp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535" name="Group 534">
            <a:extLst>
              <a:ext uri="{FF2B5EF4-FFF2-40B4-BE49-F238E27FC236}">
                <a16:creationId xmlns:a16="http://schemas.microsoft.com/office/drawing/2014/main" id="{107BDAB7-275D-47F9-8B44-F9C4165D7B4B}"/>
              </a:ext>
            </a:extLst>
          </p:cNvPr>
          <p:cNvGrpSpPr/>
          <p:nvPr/>
        </p:nvGrpSpPr>
        <p:grpSpPr>
          <a:xfrm>
            <a:off x="9598073" y="2152434"/>
            <a:ext cx="2114046" cy="916552"/>
            <a:chOff x="9385063" y="3414329"/>
            <a:chExt cx="2114046" cy="916552"/>
          </a:xfrm>
        </p:grpSpPr>
        <p:sp>
          <p:nvSpPr>
            <p:cNvPr id="534" name="Rectangle 533">
              <a:extLst>
                <a:ext uri="{FF2B5EF4-FFF2-40B4-BE49-F238E27FC236}">
                  <a16:creationId xmlns:a16="http://schemas.microsoft.com/office/drawing/2014/main" id="{033B5CF0-0112-48FC-905B-4FDCD1DC30A4}"/>
                </a:ext>
              </a:extLst>
            </p:cNvPr>
            <p:cNvSpPr/>
            <p:nvPr/>
          </p:nvSpPr>
          <p:spPr>
            <a:xfrm>
              <a:off x="9542892" y="3582865"/>
              <a:ext cx="1956217" cy="748016"/>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710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lumMod val="65000"/>
                      <a:lumOff val="35000"/>
                    </a:srgbClr>
                  </a:solidFill>
                  <a:effectLst/>
                  <a:uLnTx/>
                  <a:uFillTx/>
                  <a:latin typeface="Arial" panose="020B0604020202020204"/>
                  <a:ea typeface="+mn-ea"/>
                  <a:cs typeface="+mn-cs"/>
                </a:rPr>
                <a:t>A history of working together in the region</a:t>
              </a:r>
            </a:p>
          </p:txBody>
        </p:sp>
        <p:sp>
          <p:nvSpPr>
            <p:cNvPr id="530" name="Oval 529">
              <a:extLst>
                <a:ext uri="{FF2B5EF4-FFF2-40B4-BE49-F238E27FC236}">
                  <a16:creationId xmlns:a16="http://schemas.microsoft.com/office/drawing/2014/main" id="{88627F92-5F52-4138-9361-D4CC26AE72A8}"/>
                </a:ext>
              </a:extLst>
            </p:cNvPr>
            <p:cNvSpPr/>
            <p:nvPr/>
          </p:nvSpPr>
          <p:spPr>
            <a:xfrm>
              <a:off x="9385063" y="3414329"/>
              <a:ext cx="360000" cy="360000"/>
            </a:xfrm>
            <a:prstGeom prst="ellipse">
              <a:avLst/>
            </a:prstGeom>
            <a:solidFill>
              <a:schemeClr val="bg1"/>
            </a:solid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087106" rtl="0" eaLnBrk="1" fontAlgn="auto" latinLnBrk="0" hangingPunct="1">
                <a:lnSpc>
                  <a:spcPct val="100000"/>
                </a:lnSpc>
                <a:spcBef>
                  <a:spcPts val="0"/>
                </a:spcBef>
                <a:spcAft>
                  <a:spcPts val="0"/>
                </a:spcAft>
                <a:buClrTx/>
                <a:buSzTx/>
                <a:buFontTx/>
                <a:buNone/>
                <a:tabLst/>
                <a:defRPr/>
              </a:pPr>
              <a:r>
                <a:rPr kumimoji="0" lang="en-GB" sz="2173" b="1" i="0" u="none" strike="noStrike" kern="1200" cap="none" spc="0" normalizeH="0" baseline="0" noProof="0" dirty="0">
                  <a:ln>
                    <a:noFill/>
                  </a:ln>
                  <a:solidFill>
                    <a:srgbClr val="FF0000"/>
                  </a:solidFill>
                  <a:effectLst/>
                  <a:uLnTx/>
                  <a:uFillTx/>
                  <a:latin typeface="Arial" panose="020B0604020202020204"/>
                  <a:ea typeface="+mn-ea"/>
                  <a:cs typeface="+mn-cs"/>
                </a:rPr>
                <a:t>1</a:t>
              </a:r>
            </a:p>
          </p:txBody>
        </p:sp>
      </p:grpSp>
      <p:sp>
        <p:nvSpPr>
          <p:cNvPr id="531" name="Oval 530">
            <a:extLst>
              <a:ext uri="{FF2B5EF4-FFF2-40B4-BE49-F238E27FC236}">
                <a16:creationId xmlns:a16="http://schemas.microsoft.com/office/drawing/2014/main" id="{54AA91C2-1199-4B79-BFE2-36986CEFA0EB}"/>
              </a:ext>
            </a:extLst>
          </p:cNvPr>
          <p:cNvSpPr/>
          <p:nvPr/>
        </p:nvSpPr>
        <p:spPr>
          <a:xfrm>
            <a:off x="7755177" y="3763444"/>
            <a:ext cx="360000" cy="360000"/>
          </a:xfrm>
          <a:prstGeom prst="ellipse">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087106" rtl="0" eaLnBrk="1" fontAlgn="auto" latinLnBrk="0" hangingPunct="1">
              <a:lnSpc>
                <a:spcPct val="100000"/>
              </a:lnSpc>
              <a:spcBef>
                <a:spcPts val="0"/>
              </a:spcBef>
              <a:spcAft>
                <a:spcPts val="0"/>
              </a:spcAft>
              <a:buClrTx/>
              <a:buSzTx/>
              <a:buFontTx/>
              <a:buNone/>
              <a:tabLst/>
              <a:defRPr/>
            </a:pPr>
            <a:endParaRPr kumimoji="0" lang="en-GB" sz="2173" b="1" i="0" u="none" strike="noStrike" kern="1200" cap="none" spc="0" normalizeH="0" baseline="0" noProof="0" dirty="0">
              <a:ln>
                <a:noFill/>
              </a:ln>
              <a:solidFill>
                <a:srgbClr val="FF0000"/>
              </a:solidFill>
              <a:effectLst/>
              <a:uLnTx/>
              <a:uFillTx/>
              <a:latin typeface="Arial" panose="020B0604020202020204"/>
              <a:ea typeface="+mn-ea"/>
              <a:cs typeface="+mn-cs"/>
            </a:endParaRPr>
          </a:p>
        </p:txBody>
      </p:sp>
      <p:cxnSp>
        <p:nvCxnSpPr>
          <p:cNvPr id="533" name="Connector: Elbow 532">
            <a:extLst>
              <a:ext uri="{FF2B5EF4-FFF2-40B4-BE49-F238E27FC236}">
                <a16:creationId xmlns:a16="http://schemas.microsoft.com/office/drawing/2014/main" id="{A56A440F-4773-4F13-9E4D-87262852C2B9}"/>
              </a:ext>
            </a:extLst>
          </p:cNvPr>
          <p:cNvCxnSpPr>
            <a:cxnSpLocks/>
            <a:stCxn id="531" idx="6"/>
            <a:endCxn id="534" idx="1"/>
          </p:cNvCxnSpPr>
          <p:nvPr/>
        </p:nvCxnSpPr>
        <p:spPr>
          <a:xfrm flipV="1">
            <a:off x="8115177" y="2694978"/>
            <a:ext cx="1640725" cy="1248466"/>
          </a:xfrm>
          <a:prstGeom prst="bentConnector3">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cxnSp>
      <p:grpSp>
        <p:nvGrpSpPr>
          <p:cNvPr id="537" name="Group 536">
            <a:extLst>
              <a:ext uri="{FF2B5EF4-FFF2-40B4-BE49-F238E27FC236}">
                <a16:creationId xmlns:a16="http://schemas.microsoft.com/office/drawing/2014/main" id="{D2444B7A-2A3D-4498-AAD6-1794EC518390}"/>
              </a:ext>
            </a:extLst>
          </p:cNvPr>
          <p:cNvGrpSpPr/>
          <p:nvPr/>
        </p:nvGrpSpPr>
        <p:grpSpPr>
          <a:xfrm>
            <a:off x="596903" y="1485111"/>
            <a:ext cx="2114046" cy="916552"/>
            <a:chOff x="9385063" y="3414329"/>
            <a:chExt cx="2114046" cy="916552"/>
          </a:xfrm>
        </p:grpSpPr>
        <p:sp>
          <p:nvSpPr>
            <p:cNvPr id="538" name="Rectangle 537">
              <a:extLst>
                <a:ext uri="{FF2B5EF4-FFF2-40B4-BE49-F238E27FC236}">
                  <a16:creationId xmlns:a16="http://schemas.microsoft.com/office/drawing/2014/main" id="{22D4B66E-4EB3-4036-A5FD-4E1509F6F900}"/>
                </a:ext>
              </a:extLst>
            </p:cNvPr>
            <p:cNvSpPr/>
            <p:nvPr/>
          </p:nvSpPr>
          <p:spPr>
            <a:xfrm>
              <a:off x="9542892" y="3582865"/>
              <a:ext cx="1956217" cy="748016"/>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710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lumMod val="65000"/>
                      <a:lumOff val="35000"/>
                    </a:srgbClr>
                  </a:solidFill>
                  <a:effectLst/>
                  <a:uLnTx/>
                  <a:uFillTx/>
                  <a:latin typeface="Arial" panose="020B0604020202020204"/>
                  <a:ea typeface="+mn-ea"/>
                  <a:cs typeface="+mn-cs"/>
                </a:rPr>
                <a:t>An innovation workshop in San Jose, CA</a:t>
              </a:r>
            </a:p>
          </p:txBody>
        </p:sp>
        <p:sp>
          <p:nvSpPr>
            <p:cNvPr id="539" name="Oval 538">
              <a:extLst>
                <a:ext uri="{FF2B5EF4-FFF2-40B4-BE49-F238E27FC236}">
                  <a16:creationId xmlns:a16="http://schemas.microsoft.com/office/drawing/2014/main" id="{F4AE9290-1500-4282-AAAE-F9F6696EBBC8}"/>
                </a:ext>
              </a:extLst>
            </p:cNvPr>
            <p:cNvSpPr/>
            <p:nvPr/>
          </p:nvSpPr>
          <p:spPr>
            <a:xfrm>
              <a:off x="9385063" y="3414329"/>
              <a:ext cx="360000" cy="360000"/>
            </a:xfrm>
            <a:prstGeom prst="ellipse">
              <a:avLst/>
            </a:prstGeom>
            <a:solidFill>
              <a:schemeClr val="bg1"/>
            </a:solid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087106" rtl="0" eaLnBrk="1" fontAlgn="auto" latinLnBrk="0" hangingPunct="1">
                <a:lnSpc>
                  <a:spcPct val="100000"/>
                </a:lnSpc>
                <a:spcBef>
                  <a:spcPts val="0"/>
                </a:spcBef>
                <a:spcAft>
                  <a:spcPts val="0"/>
                </a:spcAft>
                <a:buClrTx/>
                <a:buSzTx/>
                <a:buFontTx/>
                <a:buNone/>
                <a:tabLst/>
                <a:defRPr/>
              </a:pPr>
              <a:r>
                <a:rPr kumimoji="0" lang="en-GB" sz="2173" b="1" i="0" u="none" strike="noStrike" kern="1200" cap="none" spc="0" normalizeH="0" baseline="0" noProof="0" dirty="0">
                  <a:ln>
                    <a:noFill/>
                  </a:ln>
                  <a:solidFill>
                    <a:srgbClr val="FF0000"/>
                  </a:solidFill>
                  <a:effectLst/>
                  <a:uLnTx/>
                  <a:uFillTx/>
                  <a:latin typeface="Arial" panose="020B0604020202020204"/>
                  <a:ea typeface="+mn-ea"/>
                  <a:cs typeface="+mn-cs"/>
                </a:rPr>
                <a:t>2</a:t>
              </a:r>
            </a:p>
          </p:txBody>
        </p:sp>
      </p:grpSp>
      <p:grpSp>
        <p:nvGrpSpPr>
          <p:cNvPr id="540" name="Group 539">
            <a:extLst>
              <a:ext uri="{FF2B5EF4-FFF2-40B4-BE49-F238E27FC236}">
                <a16:creationId xmlns:a16="http://schemas.microsoft.com/office/drawing/2014/main" id="{E2A77DBD-2BD6-4BA8-B4FF-23BF884900BD}"/>
              </a:ext>
            </a:extLst>
          </p:cNvPr>
          <p:cNvGrpSpPr/>
          <p:nvPr/>
        </p:nvGrpSpPr>
        <p:grpSpPr>
          <a:xfrm>
            <a:off x="609235" y="3106277"/>
            <a:ext cx="2114046" cy="916552"/>
            <a:chOff x="9385063" y="3414329"/>
            <a:chExt cx="2114046" cy="916552"/>
          </a:xfrm>
        </p:grpSpPr>
        <p:sp>
          <p:nvSpPr>
            <p:cNvPr id="541" name="Rectangle 540">
              <a:extLst>
                <a:ext uri="{FF2B5EF4-FFF2-40B4-BE49-F238E27FC236}">
                  <a16:creationId xmlns:a16="http://schemas.microsoft.com/office/drawing/2014/main" id="{2B3244E1-A322-4555-8722-A62F12EF1B24}"/>
                </a:ext>
              </a:extLst>
            </p:cNvPr>
            <p:cNvSpPr/>
            <p:nvPr/>
          </p:nvSpPr>
          <p:spPr>
            <a:xfrm>
              <a:off x="9542892" y="3582865"/>
              <a:ext cx="1956217" cy="748016"/>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7106"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lumMod val="65000"/>
                      <a:lumOff val="35000"/>
                    </a:srgbClr>
                  </a:solidFill>
                  <a:effectLst/>
                  <a:uLnTx/>
                  <a:uFillTx/>
                  <a:latin typeface="Arial" panose="020B0604020202020204"/>
                  <a:ea typeface="+mn-ea"/>
                  <a:cs typeface="+mn-cs"/>
                </a:rPr>
                <a:t>Clarification of scope with key stakeholders</a:t>
              </a:r>
            </a:p>
          </p:txBody>
        </p:sp>
        <p:sp>
          <p:nvSpPr>
            <p:cNvPr id="542" name="Oval 541">
              <a:extLst>
                <a:ext uri="{FF2B5EF4-FFF2-40B4-BE49-F238E27FC236}">
                  <a16:creationId xmlns:a16="http://schemas.microsoft.com/office/drawing/2014/main" id="{7224F66A-5A8B-48F9-9AA0-627D8BDB1CE5}"/>
                </a:ext>
              </a:extLst>
            </p:cNvPr>
            <p:cNvSpPr/>
            <p:nvPr/>
          </p:nvSpPr>
          <p:spPr>
            <a:xfrm>
              <a:off x="9385063" y="3414329"/>
              <a:ext cx="360000" cy="360000"/>
            </a:xfrm>
            <a:prstGeom prst="ellipse">
              <a:avLst/>
            </a:prstGeom>
            <a:solidFill>
              <a:schemeClr val="bg1"/>
            </a:solid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087106" rtl="0" eaLnBrk="1" fontAlgn="auto" latinLnBrk="0" hangingPunct="1">
                <a:lnSpc>
                  <a:spcPct val="100000"/>
                </a:lnSpc>
                <a:spcBef>
                  <a:spcPts val="0"/>
                </a:spcBef>
                <a:spcAft>
                  <a:spcPts val="0"/>
                </a:spcAft>
                <a:buClrTx/>
                <a:buSzTx/>
                <a:buFontTx/>
                <a:buNone/>
                <a:tabLst/>
                <a:defRPr/>
              </a:pPr>
              <a:r>
                <a:rPr kumimoji="0" lang="en-GB" sz="2173" b="1" i="0" u="none" strike="noStrike" kern="1200" cap="none" spc="0" normalizeH="0" baseline="0" noProof="0" dirty="0">
                  <a:ln>
                    <a:noFill/>
                  </a:ln>
                  <a:solidFill>
                    <a:srgbClr val="FF0000"/>
                  </a:solidFill>
                  <a:effectLst/>
                  <a:uLnTx/>
                  <a:uFillTx/>
                  <a:latin typeface="Arial" panose="020B0604020202020204"/>
                  <a:ea typeface="+mn-ea"/>
                  <a:cs typeface="+mn-cs"/>
                </a:rPr>
                <a:t>3</a:t>
              </a:r>
            </a:p>
          </p:txBody>
        </p:sp>
      </p:grpSp>
      <p:cxnSp>
        <p:nvCxnSpPr>
          <p:cNvPr id="543" name="Connector: Elbow 542">
            <a:extLst>
              <a:ext uri="{FF2B5EF4-FFF2-40B4-BE49-F238E27FC236}">
                <a16:creationId xmlns:a16="http://schemas.microsoft.com/office/drawing/2014/main" id="{B641A4DF-1BF1-4B29-87C9-DEE02DC2F7F2}"/>
              </a:ext>
            </a:extLst>
          </p:cNvPr>
          <p:cNvCxnSpPr>
            <a:cxnSpLocks/>
            <a:stCxn id="531" idx="2"/>
            <a:endCxn id="541" idx="3"/>
          </p:cNvCxnSpPr>
          <p:nvPr/>
        </p:nvCxnSpPr>
        <p:spPr>
          <a:xfrm rot="10800000">
            <a:off x="2723281" y="3648822"/>
            <a:ext cx="5031896" cy="294623"/>
          </a:xfrm>
          <a:prstGeom prst="bentConnector3">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cxnSp>
      <p:sp>
        <p:nvSpPr>
          <p:cNvPr id="546" name="Oval 545">
            <a:extLst>
              <a:ext uri="{FF2B5EF4-FFF2-40B4-BE49-F238E27FC236}">
                <a16:creationId xmlns:a16="http://schemas.microsoft.com/office/drawing/2014/main" id="{D2299388-D1DB-4803-BFB0-3B60E86EF055}"/>
              </a:ext>
            </a:extLst>
          </p:cNvPr>
          <p:cNvSpPr/>
          <p:nvPr/>
        </p:nvSpPr>
        <p:spPr>
          <a:xfrm>
            <a:off x="4387960" y="2932611"/>
            <a:ext cx="360000" cy="360000"/>
          </a:xfrm>
          <a:prstGeom prst="ellipse">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087106" rtl="0" eaLnBrk="1" fontAlgn="auto" latinLnBrk="0" hangingPunct="1">
              <a:lnSpc>
                <a:spcPct val="100000"/>
              </a:lnSpc>
              <a:spcBef>
                <a:spcPts val="0"/>
              </a:spcBef>
              <a:spcAft>
                <a:spcPts val="0"/>
              </a:spcAft>
              <a:buClrTx/>
              <a:buSzTx/>
              <a:buFontTx/>
              <a:buNone/>
              <a:tabLst/>
              <a:defRPr/>
            </a:pPr>
            <a:endParaRPr kumimoji="0" lang="en-GB" sz="2173" b="1" i="0" u="none" strike="noStrike" kern="1200" cap="none" spc="0" normalizeH="0" baseline="0" noProof="0" dirty="0">
              <a:ln>
                <a:noFill/>
              </a:ln>
              <a:solidFill>
                <a:srgbClr val="FF0000"/>
              </a:solidFill>
              <a:effectLst/>
              <a:uLnTx/>
              <a:uFillTx/>
              <a:latin typeface="Arial" panose="020B0604020202020204"/>
              <a:ea typeface="+mn-ea"/>
              <a:cs typeface="+mn-cs"/>
            </a:endParaRPr>
          </a:p>
        </p:txBody>
      </p:sp>
      <p:cxnSp>
        <p:nvCxnSpPr>
          <p:cNvPr id="547" name="Connector: Elbow 546">
            <a:extLst>
              <a:ext uri="{FF2B5EF4-FFF2-40B4-BE49-F238E27FC236}">
                <a16:creationId xmlns:a16="http://schemas.microsoft.com/office/drawing/2014/main" id="{39AD3D15-5801-45FE-9C69-7A6D26F91467}"/>
              </a:ext>
            </a:extLst>
          </p:cNvPr>
          <p:cNvCxnSpPr>
            <a:cxnSpLocks/>
            <a:stCxn id="546" idx="2"/>
            <a:endCxn id="541" idx="3"/>
          </p:cNvCxnSpPr>
          <p:nvPr/>
        </p:nvCxnSpPr>
        <p:spPr>
          <a:xfrm rot="10800000" flipV="1">
            <a:off x="2723282" y="3112611"/>
            <a:ext cx="1664679" cy="536210"/>
          </a:xfrm>
          <a:prstGeom prst="bentConnector3">
            <a:avLst>
              <a:gd name="adj1" fmla="val 13844"/>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cxnSp>
      <p:sp>
        <p:nvSpPr>
          <p:cNvPr id="552" name="Oval 551">
            <a:extLst>
              <a:ext uri="{FF2B5EF4-FFF2-40B4-BE49-F238E27FC236}">
                <a16:creationId xmlns:a16="http://schemas.microsoft.com/office/drawing/2014/main" id="{80C3510E-B96F-4D2C-8357-98D66838C1F5}"/>
              </a:ext>
            </a:extLst>
          </p:cNvPr>
          <p:cNvSpPr/>
          <p:nvPr/>
        </p:nvSpPr>
        <p:spPr>
          <a:xfrm>
            <a:off x="3649749" y="2978606"/>
            <a:ext cx="360000" cy="360000"/>
          </a:xfrm>
          <a:prstGeom prst="ellipse">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087106" rtl="0" eaLnBrk="1" fontAlgn="auto" latinLnBrk="0" hangingPunct="1">
              <a:lnSpc>
                <a:spcPct val="100000"/>
              </a:lnSpc>
              <a:spcBef>
                <a:spcPts val="0"/>
              </a:spcBef>
              <a:spcAft>
                <a:spcPts val="0"/>
              </a:spcAft>
              <a:buClrTx/>
              <a:buSzTx/>
              <a:buFontTx/>
              <a:buNone/>
              <a:tabLst/>
              <a:defRPr/>
            </a:pPr>
            <a:endParaRPr kumimoji="0" lang="en-GB" sz="2173" b="1" i="0" u="none" strike="noStrike" kern="1200" cap="none" spc="0" normalizeH="0" baseline="0" noProof="0" dirty="0">
              <a:ln>
                <a:noFill/>
              </a:ln>
              <a:solidFill>
                <a:srgbClr val="FF0000"/>
              </a:solidFill>
              <a:effectLst/>
              <a:uLnTx/>
              <a:uFillTx/>
              <a:latin typeface="Arial" panose="020B0604020202020204"/>
              <a:ea typeface="+mn-ea"/>
              <a:cs typeface="+mn-cs"/>
            </a:endParaRPr>
          </a:p>
        </p:txBody>
      </p:sp>
      <p:cxnSp>
        <p:nvCxnSpPr>
          <p:cNvPr id="553" name="Connector: Elbow 552">
            <a:extLst>
              <a:ext uri="{FF2B5EF4-FFF2-40B4-BE49-F238E27FC236}">
                <a16:creationId xmlns:a16="http://schemas.microsoft.com/office/drawing/2014/main" id="{53922D19-6480-4207-8152-0973BA20A492}"/>
              </a:ext>
            </a:extLst>
          </p:cNvPr>
          <p:cNvCxnSpPr>
            <a:cxnSpLocks/>
            <a:stCxn id="552" idx="0"/>
            <a:endCxn id="538" idx="3"/>
          </p:cNvCxnSpPr>
          <p:nvPr/>
        </p:nvCxnSpPr>
        <p:spPr>
          <a:xfrm rot="16200000" flipV="1">
            <a:off x="2794874" y="1943731"/>
            <a:ext cx="950951" cy="1118800"/>
          </a:xfrm>
          <a:prstGeom prst="bentConnector2">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cxnSp>
      <p:grpSp>
        <p:nvGrpSpPr>
          <p:cNvPr id="558" name="Group 557">
            <a:extLst>
              <a:ext uri="{FF2B5EF4-FFF2-40B4-BE49-F238E27FC236}">
                <a16:creationId xmlns:a16="http://schemas.microsoft.com/office/drawing/2014/main" id="{F30A6AF2-6389-422D-9C00-2F092E26A6C5}"/>
              </a:ext>
            </a:extLst>
          </p:cNvPr>
          <p:cNvGrpSpPr/>
          <p:nvPr/>
        </p:nvGrpSpPr>
        <p:grpSpPr>
          <a:xfrm>
            <a:off x="2451978" y="5216716"/>
            <a:ext cx="7328627" cy="1322064"/>
            <a:chOff x="2185753" y="5297741"/>
            <a:chExt cx="7153217" cy="1322064"/>
          </a:xfrm>
        </p:grpSpPr>
        <p:sp>
          <p:nvSpPr>
            <p:cNvPr id="556" name="Rectangle 555">
              <a:extLst>
                <a:ext uri="{FF2B5EF4-FFF2-40B4-BE49-F238E27FC236}">
                  <a16:creationId xmlns:a16="http://schemas.microsoft.com/office/drawing/2014/main" id="{44401A09-76D0-4D3E-8C28-39F1B81E8F0A}"/>
                </a:ext>
              </a:extLst>
            </p:cNvPr>
            <p:cNvSpPr/>
            <p:nvPr/>
          </p:nvSpPr>
          <p:spPr>
            <a:xfrm>
              <a:off x="3242970" y="5297741"/>
              <a:ext cx="6096000" cy="1322064"/>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7106"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Arial" panose="020B0604020202020204"/>
                  <a:ea typeface="+mn-ea"/>
                  <a:cs typeface="+mn-cs"/>
                </a:rPr>
                <a:t>Which digital technologies provide breakthrough solutions for the challenges Save the Children faces in supporting young people develop secure livelihoods? </a:t>
              </a:r>
              <a:endParaRPr kumimoji="0" lang="en-GB" sz="1800" b="1"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57" name="Rectangle 556">
              <a:extLst>
                <a:ext uri="{FF2B5EF4-FFF2-40B4-BE49-F238E27FC236}">
                  <a16:creationId xmlns:a16="http://schemas.microsoft.com/office/drawing/2014/main" id="{C7CD22D8-A0EA-4816-9178-A318899B3165}"/>
                </a:ext>
              </a:extLst>
            </p:cNvPr>
            <p:cNvSpPr/>
            <p:nvPr/>
          </p:nvSpPr>
          <p:spPr>
            <a:xfrm rot="16200000">
              <a:off x="2053330" y="5430165"/>
              <a:ext cx="1322063" cy="1057217"/>
            </a:xfrm>
            <a:prstGeom prst="rect">
              <a:avLst/>
            </a:prstGeom>
            <a:solidFill>
              <a:srgbClr val="FF0000"/>
            </a:solid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7106"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FFFFFF"/>
                  </a:solidFill>
                  <a:effectLst/>
                  <a:uLnTx/>
                  <a:uFillTx/>
                  <a:latin typeface="Arial" panose="020B0604020202020204"/>
                  <a:ea typeface="+mn-ea"/>
                  <a:cs typeface="+mn-cs"/>
                </a:rPr>
                <a:t>Key Question</a:t>
              </a:r>
              <a:endParaRPr kumimoji="0" lang="en-GB" sz="1800" b="1" i="1"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545" name="Oval 544">
            <a:extLst>
              <a:ext uri="{FF2B5EF4-FFF2-40B4-BE49-F238E27FC236}">
                <a16:creationId xmlns:a16="http://schemas.microsoft.com/office/drawing/2014/main" id="{7CEF804F-D616-4F2D-9E51-03C0633E7602}"/>
              </a:ext>
            </a:extLst>
          </p:cNvPr>
          <p:cNvSpPr/>
          <p:nvPr/>
        </p:nvSpPr>
        <p:spPr>
          <a:xfrm>
            <a:off x="5667786" y="2617166"/>
            <a:ext cx="360000" cy="360000"/>
          </a:xfrm>
          <a:prstGeom prst="ellipse">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087106" rtl="0" eaLnBrk="1" fontAlgn="auto" latinLnBrk="0" hangingPunct="1">
              <a:lnSpc>
                <a:spcPct val="100000"/>
              </a:lnSpc>
              <a:spcBef>
                <a:spcPts val="0"/>
              </a:spcBef>
              <a:spcAft>
                <a:spcPts val="0"/>
              </a:spcAft>
              <a:buClrTx/>
              <a:buSzTx/>
              <a:buFontTx/>
              <a:buNone/>
              <a:tabLst/>
              <a:defRPr/>
            </a:pPr>
            <a:endParaRPr kumimoji="0" lang="en-GB" sz="2173" b="1" i="0" u="none" strike="noStrike" kern="1200" cap="none" spc="0" normalizeH="0" baseline="0" noProof="0" dirty="0">
              <a:ln>
                <a:noFill/>
              </a:ln>
              <a:solidFill>
                <a:srgbClr val="FF0000"/>
              </a:solidFill>
              <a:effectLst/>
              <a:uLnTx/>
              <a:uFillTx/>
              <a:latin typeface="Arial" panose="020B0604020202020204"/>
              <a:ea typeface="+mn-ea"/>
              <a:cs typeface="+mn-cs"/>
            </a:endParaRPr>
          </a:p>
        </p:txBody>
      </p:sp>
      <p:cxnSp>
        <p:nvCxnSpPr>
          <p:cNvPr id="548" name="Connector: Elbow 547">
            <a:extLst>
              <a:ext uri="{FF2B5EF4-FFF2-40B4-BE49-F238E27FC236}">
                <a16:creationId xmlns:a16="http://schemas.microsoft.com/office/drawing/2014/main" id="{5411065D-FA3D-4618-A710-3BA8ACBF2486}"/>
              </a:ext>
            </a:extLst>
          </p:cNvPr>
          <p:cNvCxnSpPr>
            <a:cxnSpLocks/>
            <a:stCxn id="545" idx="2"/>
            <a:endCxn id="541" idx="3"/>
          </p:cNvCxnSpPr>
          <p:nvPr/>
        </p:nvCxnSpPr>
        <p:spPr>
          <a:xfrm rot="10800000" flipV="1">
            <a:off x="2723282" y="2797165"/>
            <a:ext cx="2944505" cy="851655"/>
          </a:xfrm>
          <a:prstGeom prst="bentConnector3">
            <a:avLst>
              <a:gd name="adj1" fmla="val 14612"/>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cxnSp>
    </p:spTree>
    <p:extLst>
      <p:ext uri="{BB962C8B-B14F-4D97-AF65-F5344CB8AC3E}">
        <p14:creationId xmlns:p14="http://schemas.microsoft.com/office/powerpoint/2010/main" val="10247777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marL="0" marR="0" lvl="0" indent="0" algn="r" defTabSz="1087106" rtl="0" eaLnBrk="1" fontAlgn="auto" latinLnBrk="0" hangingPunct="1">
              <a:lnSpc>
                <a:spcPct val="100000"/>
              </a:lnSpc>
              <a:spcBef>
                <a:spcPts val="0"/>
              </a:spcBef>
              <a:spcAft>
                <a:spcPts val="0"/>
              </a:spcAft>
              <a:buClrTx/>
              <a:buSzTx/>
              <a:buFontTx/>
              <a:buNone/>
              <a:tabLst/>
              <a:defRPr/>
            </a:pPr>
            <a:fld id="{0D558541-60C9-42A2-8392-FF12533A6B7A}" type="slidenum">
              <a:rPr kumimoji="0" lang="en-US" sz="900" b="0" i="0" u="none" strike="noStrike" kern="1200" cap="none" spc="0" normalizeH="0" baseline="0" noProof="0" smtClean="0">
                <a:ln>
                  <a:noFill/>
                </a:ln>
                <a:solidFill>
                  <a:srgbClr val="919191"/>
                </a:solidFill>
                <a:effectLst/>
                <a:uLnTx/>
                <a:uFillTx/>
                <a:latin typeface="Arial" panose="020B0604020202020204"/>
                <a:ea typeface="+mn-ea"/>
                <a:cs typeface="+mn-cs"/>
              </a:rPr>
              <a:pPr marL="0" marR="0" lvl="0" indent="0" algn="r" defTabSz="1087106" rtl="0" eaLnBrk="1" fontAlgn="auto" latinLnBrk="0" hangingPunct="1">
                <a:lnSpc>
                  <a:spcPct val="100000"/>
                </a:lnSpc>
                <a:spcBef>
                  <a:spcPts val="0"/>
                </a:spcBef>
                <a:spcAft>
                  <a:spcPts val="0"/>
                </a:spcAft>
                <a:buClrTx/>
                <a:buSzTx/>
                <a:buFontTx/>
                <a:buNone/>
                <a:tabLst/>
                <a:defRPr/>
              </a:pPr>
              <a:t>6</a:t>
            </a:fld>
            <a:endParaRPr kumimoji="0" lang="en-US" sz="900" b="0" i="0" u="none" strike="noStrike" kern="1200" cap="none" spc="0" normalizeH="0" baseline="0" noProof="0" dirty="0">
              <a:ln>
                <a:noFill/>
              </a:ln>
              <a:solidFill>
                <a:srgbClr val="919191"/>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CFA8179D-E644-45F1-9DC3-04C2DE54A1E6}"/>
              </a:ext>
            </a:extLst>
          </p:cNvPr>
          <p:cNvGrpSpPr/>
          <p:nvPr/>
        </p:nvGrpSpPr>
        <p:grpSpPr>
          <a:xfrm>
            <a:off x="5320326" y="1389098"/>
            <a:ext cx="936000" cy="1908000"/>
            <a:chOff x="1157984" y="2300572"/>
            <a:chExt cx="1401663" cy="2778711"/>
          </a:xfrm>
        </p:grpSpPr>
        <p:grpSp>
          <p:nvGrpSpPr>
            <p:cNvPr id="6" name="Group 5">
              <a:extLst>
                <a:ext uri="{FF2B5EF4-FFF2-40B4-BE49-F238E27FC236}">
                  <a16:creationId xmlns:a16="http://schemas.microsoft.com/office/drawing/2014/main" id="{C9959B97-DDBC-4450-BF9D-693433BB350B}"/>
                </a:ext>
              </a:extLst>
            </p:cNvPr>
            <p:cNvGrpSpPr/>
            <p:nvPr/>
          </p:nvGrpSpPr>
          <p:grpSpPr>
            <a:xfrm>
              <a:off x="1157984" y="2300572"/>
              <a:ext cx="1401663" cy="2778711"/>
              <a:chOff x="415925" y="1764896"/>
              <a:chExt cx="1514475" cy="3240994"/>
            </a:xfrm>
          </p:grpSpPr>
          <p:sp>
            <p:nvSpPr>
              <p:cNvPr id="8" name="Rounded Rectangle 45">
                <a:extLst>
                  <a:ext uri="{FF2B5EF4-FFF2-40B4-BE49-F238E27FC236}">
                    <a16:creationId xmlns:a16="http://schemas.microsoft.com/office/drawing/2014/main" id="{9D814EEA-520C-405D-8FDA-0FF5A50ADAEF}"/>
                  </a:ext>
                </a:extLst>
              </p:cNvPr>
              <p:cNvSpPr/>
              <p:nvPr/>
            </p:nvSpPr>
            <p:spPr bwMode="gray">
              <a:xfrm>
                <a:off x="415925" y="1764896"/>
                <a:ext cx="1514475" cy="3240994"/>
              </a:xfrm>
              <a:prstGeom prst="roundRect">
                <a:avLst>
                  <a:gd name="adj" fmla="val 7845"/>
                </a:avLst>
              </a:prstGeom>
              <a:solidFill>
                <a:schemeClr val="bg1">
                  <a:lumMod val="85000"/>
                </a:scheme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1087106" rtl="0" eaLnBrk="1" fontAlgn="base" latinLnBrk="0" hangingPunct="1">
                  <a:lnSpc>
                    <a:spcPct val="100000"/>
                  </a:lnSpc>
                  <a:spcBef>
                    <a:spcPts val="0"/>
                  </a:spcBef>
                  <a:spcAft>
                    <a:spcPts val="300"/>
                  </a:spcAft>
                  <a:buClrTx/>
                  <a:buSzTx/>
                  <a:buFontTx/>
                  <a:buNone/>
                  <a:tabLst/>
                  <a:defRPr/>
                </a:pPr>
                <a:endParaRPr kumimoji="0" lang="en-US" sz="1100" b="0" i="0" u="none" strike="noStrike" kern="0" cap="none" spc="0" normalizeH="0" baseline="0" noProof="0" dirty="0">
                  <a:ln>
                    <a:noFill/>
                  </a:ln>
                  <a:solidFill>
                    <a:sysClr val="windowText" lastClr="000000"/>
                  </a:solidFill>
                  <a:effectLst/>
                  <a:uLnTx/>
                  <a:uFillTx/>
                  <a:latin typeface="Arial" panose="020B0604020202020204"/>
                  <a:ea typeface="+mn-ea"/>
                  <a:cs typeface="Arial" pitchFamily="34" charset="0"/>
                </a:endParaRPr>
              </a:p>
            </p:txBody>
          </p:sp>
          <p:sp>
            <p:nvSpPr>
              <p:cNvPr id="9" name="Oval 8">
                <a:extLst>
                  <a:ext uri="{FF2B5EF4-FFF2-40B4-BE49-F238E27FC236}">
                    <a16:creationId xmlns:a16="http://schemas.microsoft.com/office/drawing/2014/main" id="{99EE0420-9B73-471F-8925-F58EEC5BB185}"/>
                  </a:ext>
                </a:extLst>
              </p:cNvPr>
              <p:cNvSpPr/>
              <p:nvPr/>
            </p:nvSpPr>
            <p:spPr bwMode="gray">
              <a:xfrm>
                <a:off x="623997" y="1830013"/>
                <a:ext cx="94634" cy="107812"/>
              </a:xfrm>
              <a:prstGeom prst="ellipse">
                <a:avLst/>
              </a:prstGeom>
              <a:solidFill>
                <a:schemeClr val="bg1"/>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1087106" rtl="0" eaLnBrk="1" fontAlgn="base" latinLnBrk="0" hangingPunct="1">
                  <a:lnSpc>
                    <a:spcPct val="100000"/>
                  </a:lnSpc>
                  <a:spcBef>
                    <a:spcPts val="0"/>
                  </a:spcBef>
                  <a:spcAft>
                    <a:spcPts val="300"/>
                  </a:spcAft>
                  <a:buClrTx/>
                  <a:buSzTx/>
                  <a:buFontTx/>
                  <a:buNone/>
                  <a:tabLst/>
                  <a:defRPr/>
                </a:pPr>
                <a:endParaRPr kumimoji="0" lang="en-US" sz="1100" b="0" i="0" u="none" strike="noStrike" kern="0" cap="none" spc="0" normalizeH="0" baseline="0" noProof="0" dirty="0">
                  <a:ln>
                    <a:noFill/>
                  </a:ln>
                  <a:solidFill>
                    <a:sysClr val="windowText" lastClr="000000"/>
                  </a:solidFill>
                  <a:effectLst/>
                  <a:uLnTx/>
                  <a:uFillTx/>
                  <a:latin typeface="Arial" panose="020B0604020202020204"/>
                  <a:ea typeface="+mn-ea"/>
                  <a:cs typeface="Arial" pitchFamily="34" charset="0"/>
                </a:endParaRPr>
              </a:p>
            </p:txBody>
          </p:sp>
          <p:sp>
            <p:nvSpPr>
              <p:cNvPr id="10" name="Rounded Rectangle 47">
                <a:extLst>
                  <a:ext uri="{FF2B5EF4-FFF2-40B4-BE49-F238E27FC236}">
                    <a16:creationId xmlns:a16="http://schemas.microsoft.com/office/drawing/2014/main" id="{42C659AC-6923-43C6-AFA5-529D4BD54C38}"/>
                  </a:ext>
                </a:extLst>
              </p:cNvPr>
              <p:cNvSpPr/>
              <p:nvPr/>
            </p:nvSpPr>
            <p:spPr bwMode="gray">
              <a:xfrm>
                <a:off x="926703" y="1839024"/>
                <a:ext cx="492918" cy="81989"/>
              </a:xfrm>
              <a:prstGeom prst="roundRect">
                <a:avLst>
                  <a:gd name="adj" fmla="val 34094"/>
                </a:avLst>
              </a:prstGeom>
              <a:solidFill>
                <a:schemeClr val="bg1"/>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1087106" rtl="0" eaLnBrk="1" fontAlgn="base" latinLnBrk="0" hangingPunct="1">
                  <a:lnSpc>
                    <a:spcPct val="100000"/>
                  </a:lnSpc>
                  <a:spcBef>
                    <a:spcPts val="0"/>
                  </a:spcBef>
                  <a:spcAft>
                    <a:spcPts val="300"/>
                  </a:spcAft>
                  <a:buClrTx/>
                  <a:buSzTx/>
                  <a:buFontTx/>
                  <a:buNone/>
                  <a:tabLst/>
                  <a:defRPr/>
                </a:pPr>
                <a:endParaRPr kumimoji="0" lang="en-US" sz="1100" b="0" i="0" u="none" strike="noStrike" kern="0" cap="none" spc="0" normalizeH="0" baseline="0" noProof="0" dirty="0">
                  <a:ln>
                    <a:noFill/>
                  </a:ln>
                  <a:solidFill>
                    <a:sysClr val="windowText" lastClr="000000"/>
                  </a:solidFill>
                  <a:effectLst/>
                  <a:uLnTx/>
                  <a:uFillTx/>
                  <a:latin typeface="Arial" panose="020B0604020202020204"/>
                  <a:ea typeface="+mn-ea"/>
                  <a:cs typeface="Arial" pitchFamily="34" charset="0"/>
                </a:endParaRPr>
              </a:p>
            </p:txBody>
          </p:sp>
          <p:sp>
            <p:nvSpPr>
              <p:cNvPr id="11" name="Oval 10">
                <a:extLst>
                  <a:ext uri="{FF2B5EF4-FFF2-40B4-BE49-F238E27FC236}">
                    <a16:creationId xmlns:a16="http://schemas.microsoft.com/office/drawing/2014/main" id="{04F9ADE5-D0DF-40BC-9B55-1FF6D62C17AB}"/>
                  </a:ext>
                </a:extLst>
              </p:cNvPr>
              <p:cNvSpPr/>
              <p:nvPr/>
            </p:nvSpPr>
            <p:spPr bwMode="gray">
              <a:xfrm>
                <a:off x="1048151" y="4682921"/>
                <a:ext cx="246849" cy="273810"/>
              </a:xfrm>
              <a:prstGeom prst="ellipse">
                <a:avLst/>
              </a:prstGeom>
              <a:solidFill>
                <a:schemeClr val="bg1"/>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1087106" rtl="0" eaLnBrk="1" fontAlgn="base" latinLnBrk="0" hangingPunct="1">
                  <a:lnSpc>
                    <a:spcPct val="100000"/>
                  </a:lnSpc>
                  <a:spcBef>
                    <a:spcPts val="0"/>
                  </a:spcBef>
                  <a:spcAft>
                    <a:spcPts val="300"/>
                  </a:spcAft>
                  <a:buClrTx/>
                  <a:buSzTx/>
                  <a:buFontTx/>
                  <a:buNone/>
                  <a:tabLst/>
                  <a:defRPr/>
                </a:pPr>
                <a:endParaRPr kumimoji="0" lang="en-US" sz="1100" b="0" i="0" u="none" strike="noStrike" kern="0" cap="none" spc="0" normalizeH="0" baseline="0" noProof="0" dirty="0">
                  <a:ln>
                    <a:noFill/>
                  </a:ln>
                  <a:solidFill>
                    <a:sysClr val="windowText" lastClr="000000"/>
                  </a:solidFill>
                  <a:effectLst/>
                  <a:uLnTx/>
                  <a:uFillTx/>
                  <a:latin typeface="Arial" panose="020B0604020202020204"/>
                  <a:ea typeface="+mn-ea"/>
                  <a:cs typeface="Arial" pitchFamily="34" charset="0"/>
                </a:endParaRPr>
              </a:p>
            </p:txBody>
          </p:sp>
          <p:sp>
            <p:nvSpPr>
              <p:cNvPr id="12" name="Rectangle: Rounded Corners 11">
                <a:extLst>
                  <a:ext uri="{FF2B5EF4-FFF2-40B4-BE49-F238E27FC236}">
                    <a16:creationId xmlns:a16="http://schemas.microsoft.com/office/drawing/2014/main" id="{F236D1AA-5334-4406-ADB5-F64FF241155E}"/>
                  </a:ext>
                </a:extLst>
              </p:cNvPr>
              <p:cNvSpPr/>
              <p:nvPr/>
            </p:nvSpPr>
            <p:spPr bwMode="gray">
              <a:xfrm>
                <a:off x="507998" y="1988494"/>
                <a:ext cx="1327155" cy="2607661"/>
              </a:xfrm>
              <a:prstGeom prst="roundRect">
                <a:avLst>
                  <a:gd name="adj" fmla="val 2442"/>
                </a:avLst>
              </a:prstGeom>
              <a:solidFill>
                <a:schemeClr val="bg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1087106" rtl="0" eaLnBrk="1" fontAlgn="base" latinLnBrk="0" hangingPunct="1">
                  <a:lnSpc>
                    <a:spcPct val="100000"/>
                  </a:lnSpc>
                  <a:spcBef>
                    <a:spcPts val="0"/>
                  </a:spcBef>
                  <a:spcAft>
                    <a:spcPts val="300"/>
                  </a:spcAft>
                  <a:buClrTx/>
                  <a:buSzTx/>
                  <a:buFontTx/>
                  <a:buNone/>
                  <a:tabLst/>
                  <a:defRPr/>
                </a:pPr>
                <a:endParaRPr kumimoji="0" lang="en-US" sz="1100" b="0" i="0" u="none" strike="noStrike" kern="0" cap="none" spc="0" normalizeH="0" baseline="0" noProof="0" dirty="0">
                  <a:ln>
                    <a:noFill/>
                  </a:ln>
                  <a:solidFill>
                    <a:sysClr val="windowText" lastClr="000000"/>
                  </a:solidFill>
                  <a:effectLst/>
                  <a:uLnTx/>
                  <a:uFillTx/>
                  <a:latin typeface="Arial" panose="020B0604020202020204"/>
                  <a:ea typeface="+mn-ea"/>
                  <a:cs typeface="Arial" pitchFamily="34" charset="0"/>
                </a:endParaRPr>
              </a:p>
            </p:txBody>
          </p:sp>
        </p:grpSp>
        <p:pic>
          <p:nvPicPr>
            <p:cNvPr id="13" name="Picture 12">
              <a:extLst>
                <a:ext uri="{FF2B5EF4-FFF2-40B4-BE49-F238E27FC236}">
                  <a16:creationId xmlns:a16="http://schemas.microsoft.com/office/drawing/2014/main" id="{F183AD06-6351-4249-B703-30ED850C6F47}"/>
                </a:ext>
              </a:extLst>
            </p:cNvPr>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a:ext>
              </a:extLst>
            </a:blip>
            <a:stretch>
              <a:fillRect/>
            </a:stretch>
          </p:blipFill>
          <p:spPr>
            <a:xfrm>
              <a:off x="1226431" y="2492005"/>
              <a:ext cx="1249787" cy="2239973"/>
            </a:xfrm>
            <a:prstGeom prst="roundRect">
              <a:avLst>
                <a:gd name="adj" fmla="val 2436"/>
              </a:avLst>
            </a:prstGeom>
          </p:spPr>
        </p:pic>
      </p:grpSp>
      <p:grpSp>
        <p:nvGrpSpPr>
          <p:cNvPr id="14" name="Group 13">
            <a:extLst>
              <a:ext uri="{FF2B5EF4-FFF2-40B4-BE49-F238E27FC236}">
                <a16:creationId xmlns:a16="http://schemas.microsoft.com/office/drawing/2014/main" id="{D4C21537-FDB3-4B39-B1E8-42FDD2AF5BC6}"/>
              </a:ext>
            </a:extLst>
          </p:cNvPr>
          <p:cNvGrpSpPr/>
          <p:nvPr/>
        </p:nvGrpSpPr>
        <p:grpSpPr>
          <a:xfrm>
            <a:off x="3577021" y="2124380"/>
            <a:ext cx="936000" cy="1908000"/>
            <a:chOff x="3822525" y="7022007"/>
            <a:chExt cx="1401663" cy="2778711"/>
          </a:xfrm>
        </p:grpSpPr>
        <p:grpSp>
          <p:nvGrpSpPr>
            <p:cNvPr id="18" name="Group 17">
              <a:extLst>
                <a:ext uri="{FF2B5EF4-FFF2-40B4-BE49-F238E27FC236}">
                  <a16:creationId xmlns:a16="http://schemas.microsoft.com/office/drawing/2014/main" id="{15A5F3E9-6FD2-4FF7-8756-41DC407D7C5D}"/>
                </a:ext>
              </a:extLst>
            </p:cNvPr>
            <p:cNvGrpSpPr/>
            <p:nvPr/>
          </p:nvGrpSpPr>
          <p:grpSpPr>
            <a:xfrm>
              <a:off x="3822525" y="7022007"/>
              <a:ext cx="1401663" cy="2778711"/>
              <a:chOff x="415925" y="1764896"/>
              <a:chExt cx="1514475" cy="3240994"/>
            </a:xfrm>
          </p:grpSpPr>
          <p:sp>
            <p:nvSpPr>
              <p:cNvPr id="20" name="Rounded Rectangle 45">
                <a:extLst>
                  <a:ext uri="{FF2B5EF4-FFF2-40B4-BE49-F238E27FC236}">
                    <a16:creationId xmlns:a16="http://schemas.microsoft.com/office/drawing/2014/main" id="{03ABABAB-16A8-4D27-A16D-FBC7C3DB356A}"/>
                  </a:ext>
                </a:extLst>
              </p:cNvPr>
              <p:cNvSpPr/>
              <p:nvPr/>
            </p:nvSpPr>
            <p:spPr bwMode="gray">
              <a:xfrm>
                <a:off x="415925" y="1764896"/>
                <a:ext cx="1514475" cy="3240994"/>
              </a:xfrm>
              <a:prstGeom prst="roundRect">
                <a:avLst>
                  <a:gd name="adj" fmla="val 7845"/>
                </a:avLst>
              </a:prstGeom>
              <a:solidFill>
                <a:schemeClr val="bg1">
                  <a:lumMod val="85000"/>
                </a:scheme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1087106" rtl="0" eaLnBrk="1" fontAlgn="base" latinLnBrk="0" hangingPunct="1">
                  <a:lnSpc>
                    <a:spcPct val="100000"/>
                  </a:lnSpc>
                  <a:spcBef>
                    <a:spcPts val="0"/>
                  </a:spcBef>
                  <a:spcAft>
                    <a:spcPts val="300"/>
                  </a:spcAft>
                  <a:buClrTx/>
                  <a:buSzTx/>
                  <a:buFontTx/>
                  <a:buNone/>
                  <a:tabLst/>
                  <a:defRPr/>
                </a:pPr>
                <a:endParaRPr kumimoji="0" lang="en-US" sz="1100" b="0" i="0" u="none" strike="noStrike" kern="0" cap="none" spc="0" normalizeH="0" baseline="0" noProof="0" dirty="0">
                  <a:ln>
                    <a:noFill/>
                  </a:ln>
                  <a:solidFill>
                    <a:sysClr val="windowText" lastClr="000000"/>
                  </a:solidFill>
                  <a:effectLst/>
                  <a:uLnTx/>
                  <a:uFillTx/>
                  <a:latin typeface="Arial" panose="020B0604020202020204"/>
                  <a:ea typeface="+mn-ea"/>
                  <a:cs typeface="Arial" pitchFamily="34" charset="0"/>
                </a:endParaRPr>
              </a:p>
            </p:txBody>
          </p:sp>
          <p:sp>
            <p:nvSpPr>
              <p:cNvPr id="21" name="Oval 20">
                <a:extLst>
                  <a:ext uri="{FF2B5EF4-FFF2-40B4-BE49-F238E27FC236}">
                    <a16:creationId xmlns:a16="http://schemas.microsoft.com/office/drawing/2014/main" id="{4A1FB215-B287-4D15-B592-E9C6E952B054}"/>
                  </a:ext>
                </a:extLst>
              </p:cNvPr>
              <p:cNvSpPr/>
              <p:nvPr/>
            </p:nvSpPr>
            <p:spPr bwMode="gray">
              <a:xfrm>
                <a:off x="623997" y="1830013"/>
                <a:ext cx="94634" cy="107812"/>
              </a:xfrm>
              <a:prstGeom prst="ellipse">
                <a:avLst/>
              </a:prstGeom>
              <a:solidFill>
                <a:schemeClr val="bg1"/>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1087106" rtl="0" eaLnBrk="1" fontAlgn="base" latinLnBrk="0" hangingPunct="1">
                  <a:lnSpc>
                    <a:spcPct val="100000"/>
                  </a:lnSpc>
                  <a:spcBef>
                    <a:spcPts val="0"/>
                  </a:spcBef>
                  <a:spcAft>
                    <a:spcPts val="300"/>
                  </a:spcAft>
                  <a:buClrTx/>
                  <a:buSzTx/>
                  <a:buFontTx/>
                  <a:buNone/>
                  <a:tabLst/>
                  <a:defRPr/>
                </a:pPr>
                <a:endParaRPr kumimoji="0" lang="en-US" sz="1100" b="0" i="0" u="none" strike="noStrike" kern="0" cap="none" spc="0" normalizeH="0" baseline="0" noProof="0" dirty="0">
                  <a:ln>
                    <a:noFill/>
                  </a:ln>
                  <a:solidFill>
                    <a:sysClr val="windowText" lastClr="000000"/>
                  </a:solidFill>
                  <a:effectLst/>
                  <a:uLnTx/>
                  <a:uFillTx/>
                  <a:latin typeface="Arial" panose="020B0604020202020204"/>
                  <a:ea typeface="+mn-ea"/>
                  <a:cs typeface="Arial" pitchFamily="34" charset="0"/>
                </a:endParaRPr>
              </a:p>
            </p:txBody>
          </p:sp>
          <p:sp>
            <p:nvSpPr>
              <p:cNvPr id="22" name="Rounded Rectangle 47">
                <a:extLst>
                  <a:ext uri="{FF2B5EF4-FFF2-40B4-BE49-F238E27FC236}">
                    <a16:creationId xmlns:a16="http://schemas.microsoft.com/office/drawing/2014/main" id="{129451BB-C67C-4F36-8038-0A93D8BA7331}"/>
                  </a:ext>
                </a:extLst>
              </p:cNvPr>
              <p:cNvSpPr/>
              <p:nvPr/>
            </p:nvSpPr>
            <p:spPr bwMode="gray">
              <a:xfrm>
                <a:off x="926703" y="1839024"/>
                <a:ext cx="492918" cy="81989"/>
              </a:xfrm>
              <a:prstGeom prst="roundRect">
                <a:avLst>
                  <a:gd name="adj" fmla="val 34094"/>
                </a:avLst>
              </a:prstGeom>
              <a:solidFill>
                <a:schemeClr val="bg1"/>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1087106" rtl="0" eaLnBrk="1" fontAlgn="base" latinLnBrk="0" hangingPunct="1">
                  <a:lnSpc>
                    <a:spcPct val="100000"/>
                  </a:lnSpc>
                  <a:spcBef>
                    <a:spcPts val="0"/>
                  </a:spcBef>
                  <a:spcAft>
                    <a:spcPts val="300"/>
                  </a:spcAft>
                  <a:buClrTx/>
                  <a:buSzTx/>
                  <a:buFontTx/>
                  <a:buNone/>
                  <a:tabLst/>
                  <a:defRPr/>
                </a:pPr>
                <a:endParaRPr kumimoji="0" lang="en-US" sz="1100" b="0" i="0" u="none" strike="noStrike" kern="0" cap="none" spc="0" normalizeH="0" baseline="0" noProof="0" dirty="0">
                  <a:ln>
                    <a:noFill/>
                  </a:ln>
                  <a:solidFill>
                    <a:sysClr val="windowText" lastClr="000000"/>
                  </a:solidFill>
                  <a:effectLst/>
                  <a:uLnTx/>
                  <a:uFillTx/>
                  <a:latin typeface="Arial" panose="020B0604020202020204"/>
                  <a:ea typeface="+mn-ea"/>
                  <a:cs typeface="Arial" pitchFamily="34" charset="0"/>
                </a:endParaRPr>
              </a:p>
            </p:txBody>
          </p:sp>
          <p:sp>
            <p:nvSpPr>
              <p:cNvPr id="23" name="Oval 22">
                <a:extLst>
                  <a:ext uri="{FF2B5EF4-FFF2-40B4-BE49-F238E27FC236}">
                    <a16:creationId xmlns:a16="http://schemas.microsoft.com/office/drawing/2014/main" id="{7ED67B76-9345-429C-BC8A-41CDE5DBE776}"/>
                  </a:ext>
                </a:extLst>
              </p:cNvPr>
              <p:cNvSpPr/>
              <p:nvPr/>
            </p:nvSpPr>
            <p:spPr bwMode="gray">
              <a:xfrm>
                <a:off x="1048151" y="4682921"/>
                <a:ext cx="246849" cy="273810"/>
              </a:xfrm>
              <a:prstGeom prst="ellipse">
                <a:avLst/>
              </a:prstGeom>
              <a:solidFill>
                <a:schemeClr val="bg1"/>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1087106" rtl="0" eaLnBrk="1" fontAlgn="base" latinLnBrk="0" hangingPunct="1">
                  <a:lnSpc>
                    <a:spcPct val="100000"/>
                  </a:lnSpc>
                  <a:spcBef>
                    <a:spcPts val="0"/>
                  </a:spcBef>
                  <a:spcAft>
                    <a:spcPts val="300"/>
                  </a:spcAft>
                  <a:buClrTx/>
                  <a:buSzTx/>
                  <a:buFontTx/>
                  <a:buNone/>
                  <a:tabLst/>
                  <a:defRPr/>
                </a:pPr>
                <a:endParaRPr kumimoji="0" lang="en-US" sz="1100" b="0" i="0" u="none" strike="noStrike" kern="0" cap="none" spc="0" normalizeH="0" baseline="0" noProof="0" dirty="0">
                  <a:ln>
                    <a:noFill/>
                  </a:ln>
                  <a:solidFill>
                    <a:sysClr val="windowText" lastClr="000000"/>
                  </a:solidFill>
                  <a:effectLst/>
                  <a:uLnTx/>
                  <a:uFillTx/>
                  <a:latin typeface="Arial" panose="020B0604020202020204"/>
                  <a:ea typeface="+mn-ea"/>
                  <a:cs typeface="Arial" pitchFamily="34" charset="0"/>
                </a:endParaRPr>
              </a:p>
            </p:txBody>
          </p:sp>
          <p:sp>
            <p:nvSpPr>
              <p:cNvPr id="24" name="Rectangle: Rounded Corners 23">
                <a:extLst>
                  <a:ext uri="{FF2B5EF4-FFF2-40B4-BE49-F238E27FC236}">
                    <a16:creationId xmlns:a16="http://schemas.microsoft.com/office/drawing/2014/main" id="{236214FF-47BE-4430-8862-FF90CDF2583E}"/>
                  </a:ext>
                </a:extLst>
              </p:cNvPr>
              <p:cNvSpPr/>
              <p:nvPr/>
            </p:nvSpPr>
            <p:spPr bwMode="gray">
              <a:xfrm>
                <a:off x="507998" y="1988494"/>
                <a:ext cx="1327155" cy="2607661"/>
              </a:xfrm>
              <a:prstGeom prst="roundRect">
                <a:avLst>
                  <a:gd name="adj" fmla="val 2442"/>
                </a:avLst>
              </a:prstGeom>
              <a:solidFill>
                <a:schemeClr val="bg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1087106" rtl="0" eaLnBrk="1" fontAlgn="base" latinLnBrk="0" hangingPunct="1">
                  <a:lnSpc>
                    <a:spcPct val="100000"/>
                  </a:lnSpc>
                  <a:spcBef>
                    <a:spcPts val="0"/>
                  </a:spcBef>
                  <a:spcAft>
                    <a:spcPts val="300"/>
                  </a:spcAft>
                  <a:buClrTx/>
                  <a:buSzTx/>
                  <a:buFontTx/>
                  <a:buNone/>
                  <a:tabLst/>
                  <a:defRPr/>
                </a:pPr>
                <a:endParaRPr kumimoji="0" lang="en-US" sz="1100" b="0" i="0" u="none" strike="noStrike" kern="0" cap="none" spc="0" normalizeH="0" baseline="0" noProof="0" dirty="0">
                  <a:ln>
                    <a:noFill/>
                  </a:ln>
                  <a:solidFill>
                    <a:sysClr val="windowText" lastClr="000000"/>
                  </a:solidFill>
                  <a:effectLst/>
                  <a:uLnTx/>
                  <a:uFillTx/>
                  <a:latin typeface="Arial" panose="020B0604020202020204"/>
                  <a:ea typeface="+mn-ea"/>
                  <a:cs typeface="Arial" pitchFamily="34" charset="0"/>
                </a:endParaRPr>
              </a:p>
            </p:txBody>
          </p:sp>
        </p:grpSp>
        <p:pic>
          <p:nvPicPr>
            <p:cNvPr id="17" name="Picture 16">
              <a:extLst>
                <a:ext uri="{FF2B5EF4-FFF2-40B4-BE49-F238E27FC236}">
                  <a16:creationId xmlns:a16="http://schemas.microsoft.com/office/drawing/2014/main" id="{D5F355CE-5C8D-4017-A498-F0AFD9CF648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05647" y="7213711"/>
              <a:ext cx="1236972" cy="2238451"/>
            </a:xfrm>
            <a:prstGeom prst="roundRect">
              <a:avLst>
                <a:gd name="adj" fmla="val 2436"/>
              </a:avLst>
            </a:prstGeom>
          </p:spPr>
        </p:pic>
      </p:grpSp>
      <p:grpSp>
        <p:nvGrpSpPr>
          <p:cNvPr id="37" name="Group 36">
            <a:extLst>
              <a:ext uri="{FF2B5EF4-FFF2-40B4-BE49-F238E27FC236}">
                <a16:creationId xmlns:a16="http://schemas.microsoft.com/office/drawing/2014/main" id="{C906AAC9-3739-4E06-9156-73FAEC8B4FE5}"/>
              </a:ext>
            </a:extLst>
          </p:cNvPr>
          <p:cNvGrpSpPr/>
          <p:nvPr/>
        </p:nvGrpSpPr>
        <p:grpSpPr>
          <a:xfrm>
            <a:off x="8873714" y="3055884"/>
            <a:ext cx="890425" cy="2187683"/>
            <a:chOff x="5330836" y="1435585"/>
            <a:chExt cx="1399770" cy="2774958"/>
          </a:xfrm>
        </p:grpSpPr>
        <p:grpSp>
          <p:nvGrpSpPr>
            <p:cNvPr id="25" name="Group 24">
              <a:extLst>
                <a:ext uri="{FF2B5EF4-FFF2-40B4-BE49-F238E27FC236}">
                  <a16:creationId xmlns:a16="http://schemas.microsoft.com/office/drawing/2014/main" id="{11641C31-D941-4DDD-B8AE-B09B9E746569}"/>
                </a:ext>
              </a:extLst>
            </p:cNvPr>
            <p:cNvGrpSpPr/>
            <p:nvPr/>
          </p:nvGrpSpPr>
          <p:grpSpPr>
            <a:xfrm>
              <a:off x="5330836" y="1435585"/>
              <a:ext cx="1399770" cy="2774958"/>
              <a:chOff x="3833345" y="2964939"/>
              <a:chExt cx="1399770" cy="2774958"/>
            </a:xfrm>
          </p:grpSpPr>
          <p:grpSp>
            <p:nvGrpSpPr>
              <p:cNvPr id="29" name="Group 28">
                <a:extLst>
                  <a:ext uri="{FF2B5EF4-FFF2-40B4-BE49-F238E27FC236}">
                    <a16:creationId xmlns:a16="http://schemas.microsoft.com/office/drawing/2014/main" id="{28B85A8D-665C-4AD8-BEED-CCBAE3662AA9}"/>
                  </a:ext>
                </a:extLst>
              </p:cNvPr>
              <p:cNvGrpSpPr/>
              <p:nvPr/>
            </p:nvGrpSpPr>
            <p:grpSpPr>
              <a:xfrm>
                <a:off x="3833345" y="2964939"/>
                <a:ext cx="1399770" cy="2774958"/>
                <a:chOff x="415925" y="1764896"/>
                <a:chExt cx="1514475" cy="3240994"/>
              </a:xfrm>
            </p:grpSpPr>
            <p:sp>
              <p:nvSpPr>
                <p:cNvPr id="31" name="Rounded Rectangle 45">
                  <a:extLst>
                    <a:ext uri="{FF2B5EF4-FFF2-40B4-BE49-F238E27FC236}">
                      <a16:creationId xmlns:a16="http://schemas.microsoft.com/office/drawing/2014/main" id="{B074FF40-6C6F-4414-94DB-A1E8361A2950}"/>
                    </a:ext>
                  </a:extLst>
                </p:cNvPr>
                <p:cNvSpPr/>
                <p:nvPr/>
              </p:nvSpPr>
              <p:spPr bwMode="gray">
                <a:xfrm>
                  <a:off x="415925" y="1764896"/>
                  <a:ext cx="1514475" cy="3240994"/>
                </a:xfrm>
                <a:prstGeom prst="roundRect">
                  <a:avLst>
                    <a:gd name="adj" fmla="val 7845"/>
                  </a:avLst>
                </a:prstGeom>
                <a:solidFill>
                  <a:schemeClr val="bg1">
                    <a:lumMod val="85000"/>
                  </a:schemeClr>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1087106" rtl="0" eaLnBrk="1" fontAlgn="base" latinLnBrk="0" hangingPunct="1">
                    <a:lnSpc>
                      <a:spcPct val="100000"/>
                    </a:lnSpc>
                    <a:spcBef>
                      <a:spcPts val="0"/>
                    </a:spcBef>
                    <a:spcAft>
                      <a:spcPts val="300"/>
                    </a:spcAft>
                    <a:buClrTx/>
                    <a:buSzTx/>
                    <a:buFontTx/>
                    <a:buNone/>
                    <a:tabLst/>
                    <a:defRPr/>
                  </a:pPr>
                  <a:endParaRPr kumimoji="0" lang="en-US" sz="1100" b="0" i="0" u="none" strike="noStrike" kern="0" cap="none" spc="0" normalizeH="0" baseline="0" noProof="0" dirty="0">
                    <a:ln>
                      <a:noFill/>
                    </a:ln>
                    <a:solidFill>
                      <a:sysClr val="windowText" lastClr="000000"/>
                    </a:solidFill>
                    <a:effectLst/>
                    <a:uLnTx/>
                    <a:uFillTx/>
                    <a:latin typeface="Arial" panose="020B0604020202020204"/>
                    <a:ea typeface="+mn-ea"/>
                    <a:cs typeface="Arial" pitchFamily="34" charset="0"/>
                  </a:endParaRPr>
                </a:p>
              </p:txBody>
            </p:sp>
            <p:sp>
              <p:nvSpPr>
                <p:cNvPr id="32" name="Oval 31">
                  <a:extLst>
                    <a:ext uri="{FF2B5EF4-FFF2-40B4-BE49-F238E27FC236}">
                      <a16:creationId xmlns:a16="http://schemas.microsoft.com/office/drawing/2014/main" id="{4B188B0E-BC0E-4753-A63A-89312B753CE3}"/>
                    </a:ext>
                  </a:extLst>
                </p:cNvPr>
                <p:cNvSpPr/>
                <p:nvPr/>
              </p:nvSpPr>
              <p:spPr bwMode="gray">
                <a:xfrm>
                  <a:off x="623997" y="1830013"/>
                  <a:ext cx="94634" cy="107812"/>
                </a:xfrm>
                <a:prstGeom prst="ellipse">
                  <a:avLst/>
                </a:prstGeom>
                <a:solidFill>
                  <a:schemeClr val="bg1"/>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1087106" rtl="0" eaLnBrk="1" fontAlgn="base" latinLnBrk="0" hangingPunct="1">
                    <a:lnSpc>
                      <a:spcPct val="100000"/>
                    </a:lnSpc>
                    <a:spcBef>
                      <a:spcPts val="0"/>
                    </a:spcBef>
                    <a:spcAft>
                      <a:spcPts val="300"/>
                    </a:spcAft>
                    <a:buClrTx/>
                    <a:buSzTx/>
                    <a:buFontTx/>
                    <a:buNone/>
                    <a:tabLst/>
                    <a:defRPr/>
                  </a:pPr>
                  <a:endParaRPr kumimoji="0" lang="en-US" sz="1100" b="0" i="0" u="none" strike="noStrike" kern="0" cap="none" spc="0" normalizeH="0" baseline="0" noProof="0" dirty="0">
                    <a:ln>
                      <a:noFill/>
                    </a:ln>
                    <a:solidFill>
                      <a:sysClr val="windowText" lastClr="000000"/>
                    </a:solidFill>
                    <a:effectLst/>
                    <a:uLnTx/>
                    <a:uFillTx/>
                    <a:latin typeface="Arial" panose="020B0604020202020204"/>
                    <a:ea typeface="+mn-ea"/>
                    <a:cs typeface="Arial" pitchFamily="34" charset="0"/>
                  </a:endParaRPr>
                </a:p>
              </p:txBody>
            </p:sp>
            <p:sp>
              <p:nvSpPr>
                <p:cNvPr id="33" name="Rounded Rectangle 47">
                  <a:extLst>
                    <a:ext uri="{FF2B5EF4-FFF2-40B4-BE49-F238E27FC236}">
                      <a16:creationId xmlns:a16="http://schemas.microsoft.com/office/drawing/2014/main" id="{3171AD63-47CB-4433-90CE-516D96483793}"/>
                    </a:ext>
                  </a:extLst>
                </p:cNvPr>
                <p:cNvSpPr/>
                <p:nvPr/>
              </p:nvSpPr>
              <p:spPr bwMode="gray">
                <a:xfrm>
                  <a:off x="926703" y="1839024"/>
                  <a:ext cx="492918" cy="81989"/>
                </a:xfrm>
                <a:prstGeom prst="roundRect">
                  <a:avLst>
                    <a:gd name="adj" fmla="val 34094"/>
                  </a:avLst>
                </a:prstGeom>
                <a:solidFill>
                  <a:schemeClr val="bg1"/>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1087106" rtl="0" eaLnBrk="1" fontAlgn="base" latinLnBrk="0" hangingPunct="1">
                    <a:lnSpc>
                      <a:spcPct val="100000"/>
                    </a:lnSpc>
                    <a:spcBef>
                      <a:spcPts val="0"/>
                    </a:spcBef>
                    <a:spcAft>
                      <a:spcPts val="300"/>
                    </a:spcAft>
                    <a:buClrTx/>
                    <a:buSzTx/>
                    <a:buFontTx/>
                    <a:buNone/>
                    <a:tabLst/>
                    <a:defRPr/>
                  </a:pPr>
                  <a:endParaRPr kumimoji="0" lang="en-US" sz="1100" b="0" i="0" u="none" strike="noStrike" kern="0" cap="none" spc="0" normalizeH="0" baseline="0" noProof="0" dirty="0">
                    <a:ln>
                      <a:noFill/>
                    </a:ln>
                    <a:solidFill>
                      <a:sysClr val="windowText" lastClr="000000"/>
                    </a:solidFill>
                    <a:effectLst/>
                    <a:uLnTx/>
                    <a:uFillTx/>
                    <a:latin typeface="Arial" panose="020B0604020202020204"/>
                    <a:ea typeface="+mn-ea"/>
                    <a:cs typeface="Arial" pitchFamily="34" charset="0"/>
                  </a:endParaRPr>
                </a:p>
              </p:txBody>
            </p:sp>
            <p:sp>
              <p:nvSpPr>
                <p:cNvPr id="34" name="Oval 33">
                  <a:extLst>
                    <a:ext uri="{FF2B5EF4-FFF2-40B4-BE49-F238E27FC236}">
                      <a16:creationId xmlns:a16="http://schemas.microsoft.com/office/drawing/2014/main" id="{E3C9462B-6EC2-4447-AF8C-F98B916DDB15}"/>
                    </a:ext>
                  </a:extLst>
                </p:cNvPr>
                <p:cNvSpPr/>
                <p:nvPr/>
              </p:nvSpPr>
              <p:spPr bwMode="gray">
                <a:xfrm>
                  <a:off x="1048151" y="4682921"/>
                  <a:ext cx="246849" cy="273810"/>
                </a:xfrm>
                <a:prstGeom prst="ellipse">
                  <a:avLst/>
                </a:prstGeom>
                <a:solidFill>
                  <a:schemeClr val="bg1"/>
                </a:solidFill>
                <a:ln w="6350">
                  <a:solidFill>
                    <a:srgbClr val="778888">
                      <a:lumMod val="20000"/>
                      <a:lumOff val="80000"/>
                    </a:srgb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1087106" rtl="0" eaLnBrk="1" fontAlgn="base" latinLnBrk="0" hangingPunct="1">
                    <a:lnSpc>
                      <a:spcPct val="100000"/>
                    </a:lnSpc>
                    <a:spcBef>
                      <a:spcPts val="0"/>
                    </a:spcBef>
                    <a:spcAft>
                      <a:spcPts val="300"/>
                    </a:spcAft>
                    <a:buClrTx/>
                    <a:buSzTx/>
                    <a:buFontTx/>
                    <a:buNone/>
                    <a:tabLst/>
                    <a:defRPr/>
                  </a:pPr>
                  <a:endParaRPr kumimoji="0" lang="en-US" sz="1100" b="0" i="0" u="none" strike="noStrike" kern="0" cap="none" spc="0" normalizeH="0" baseline="0" noProof="0" dirty="0">
                    <a:ln>
                      <a:noFill/>
                    </a:ln>
                    <a:solidFill>
                      <a:sysClr val="windowText" lastClr="000000"/>
                    </a:solidFill>
                    <a:effectLst/>
                    <a:uLnTx/>
                    <a:uFillTx/>
                    <a:latin typeface="Arial" panose="020B0604020202020204"/>
                    <a:ea typeface="+mn-ea"/>
                    <a:cs typeface="Arial" pitchFamily="34" charset="0"/>
                  </a:endParaRPr>
                </a:p>
              </p:txBody>
            </p:sp>
            <p:sp>
              <p:nvSpPr>
                <p:cNvPr id="35" name="Rectangle: Rounded Corners 34">
                  <a:extLst>
                    <a:ext uri="{FF2B5EF4-FFF2-40B4-BE49-F238E27FC236}">
                      <a16:creationId xmlns:a16="http://schemas.microsoft.com/office/drawing/2014/main" id="{8A289F00-2785-4253-B964-FF6B9E169215}"/>
                    </a:ext>
                  </a:extLst>
                </p:cNvPr>
                <p:cNvSpPr/>
                <p:nvPr/>
              </p:nvSpPr>
              <p:spPr bwMode="gray">
                <a:xfrm>
                  <a:off x="507998" y="1988494"/>
                  <a:ext cx="1327155" cy="2607661"/>
                </a:xfrm>
                <a:prstGeom prst="roundRect">
                  <a:avLst>
                    <a:gd name="adj" fmla="val 2442"/>
                  </a:avLst>
                </a:prstGeom>
                <a:solidFill>
                  <a:schemeClr val="bg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1087106" rtl="0" eaLnBrk="1" fontAlgn="base" latinLnBrk="0" hangingPunct="1">
                    <a:lnSpc>
                      <a:spcPct val="100000"/>
                    </a:lnSpc>
                    <a:spcBef>
                      <a:spcPts val="0"/>
                    </a:spcBef>
                    <a:spcAft>
                      <a:spcPts val="300"/>
                    </a:spcAft>
                    <a:buClrTx/>
                    <a:buSzTx/>
                    <a:buFontTx/>
                    <a:buNone/>
                    <a:tabLst/>
                    <a:defRPr/>
                  </a:pPr>
                  <a:endParaRPr kumimoji="0" lang="en-US" sz="1100" b="0" i="0" u="none" strike="noStrike" kern="0" cap="none" spc="0" normalizeH="0" baseline="0" noProof="0" dirty="0">
                    <a:ln>
                      <a:noFill/>
                    </a:ln>
                    <a:solidFill>
                      <a:sysClr val="windowText" lastClr="000000"/>
                    </a:solidFill>
                    <a:effectLst/>
                    <a:uLnTx/>
                    <a:uFillTx/>
                    <a:latin typeface="Arial" panose="020B0604020202020204"/>
                    <a:ea typeface="+mn-ea"/>
                    <a:cs typeface="Arial" pitchFamily="34" charset="0"/>
                  </a:endParaRPr>
                </a:p>
              </p:txBody>
            </p:sp>
          </p:grpSp>
          <p:pic>
            <p:nvPicPr>
              <p:cNvPr id="28" name="Picture 27">
                <a:extLst>
                  <a:ext uri="{FF2B5EF4-FFF2-40B4-BE49-F238E27FC236}">
                    <a16:creationId xmlns:a16="http://schemas.microsoft.com/office/drawing/2014/main" id="{057F95E1-510D-43C3-8E09-CB42B900EAA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15827" y="3148250"/>
                <a:ext cx="1238435" cy="2243563"/>
              </a:xfrm>
              <a:prstGeom prst="roundRect">
                <a:avLst>
                  <a:gd name="adj" fmla="val 2436"/>
                </a:avLst>
              </a:prstGeom>
            </p:spPr>
          </p:pic>
        </p:grpSp>
        <p:pic>
          <p:nvPicPr>
            <p:cNvPr id="36" name="Picture 35">
              <a:extLst>
                <a:ext uri="{FF2B5EF4-FFF2-40B4-BE49-F238E27FC236}">
                  <a16:creationId xmlns:a16="http://schemas.microsoft.com/office/drawing/2014/main" id="{AF2811D7-78C0-408D-A1C4-82F9FAEE2C33}"/>
                </a:ext>
              </a:extLst>
            </p:cNvPr>
            <p:cNvPicPr>
              <a:picLocks noChangeAspect="1"/>
            </p:cNvPicPr>
            <p:nvPr/>
          </p:nvPicPr>
          <p:blipFill>
            <a:blip r:embed="rId6"/>
            <a:stretch>
              <a:fillRect/>
            </a:stretch>
          </p:blipFill>
          <p:spPr>
            <a:xfrm>
              <a:off x="5406844" y="1615531"/>
              <a:ext cx="1244910" cy="2241068"/>
            </a:xfrm>
            <a:prstGeom prst="roundRect">
              <a:avLst>
                <a:gd name="adj" fmla="val 2410"/>
              </a:avLst>
            </a:prstGeom>
          </p:spPr>
        </p:pic>
      </p:grpSp>
      <p:sp>
        <p:nvSpPr>
          <p:cNvPr id="41" name="Freeform: Shape 40">
            <a:extLst>
              <a:ext uri="{FF2B5EF4-FFF2-40B4-BE49-F238E27FC236}">
                <a16:creationId xmlns:a16="http://schemas.microsoft.com/office/drawing/2014/main" id="{A3FC20EB-51E5-49A5-96C2-F83744574C23}"/>
              </a:ext>
            </a:extLst>
          </p:cNvPr>
          <p:cNvSpPr/>
          <p:nvPr/>
        </p:nvSpPr>
        <p:spPr>
          <a:xfrm>
            <a:off x="1552813" y="1376303"/>
            <a:ext cx="8366760" cy="4423727"/>
          </a:xfrm>
          <a:custGeom>
            <a:avLst/>
            <a:gdLst>
              <a:gd name="connsiteX0" fmla="*/ 0 w 8366760"/>
              <a:gd name="connsiteY0" fmla="*/ 4602480 h 4602480"/>
              <a:gd name="connsiteX1" fmla="*/ 4236720 w 8366760"/>
              <a:gd name="connsiteY1" fmla="*/ 3505200 h 4602480"/>
              <a:gd name="connsiteX2" fmla="*/ 8366760 w 8366760"/>
              <a:gd name="connsiteY2" fmla="*/ 0 h 4602480"/>
            </a:gdLst>
            <a:ahLst/>
            <a:cxnLst>
              <a:cxn ang="0">
                <a:pos x="connsiteX0" y="connsiteY0"/>
              </a:cxn>
              <a:cxn ang="0">
                <a:pos x="connsiteX1" y="connsiteY1"/>
              </a:cxn>
              <a:cxn ang="0">
                <a:pos x="connsiteX2" y="connsiteY2"/>
              </a:cxn>
            </a:cxnLst>
            <a:rect l="l" t="t" r="r" b="b"/>
            <a:pathLst>
              <a:path w="8366760" h="4602480">
                <a:moveTo>
                  <a:pt x="0" y="4602480"/>
                </a:moveTo>
                <a:cubicBezTo>
                  <a:pt x="1421130" y="4437380"/>
                  <a:pt x="2842260" y="4272280"/>
                  <a:pt x="4236720" y="3505200"/>
                </a:cubicBezTo>
                <a:cubicBezTo>
                  <a:pt x="5631180" y="2738120"/>
                  <a:pt x="7462520" y="749300"/>
                  <a:pt x="8366760" y="0"/>
                </a:cubicBezTo>
              </a:path>
            </a:pathLst>
          </a:custGeom>
          <a:noFill/>
          <a:ln w="3810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2" name="Oval 41">
            <a:extLst>
              <a:ext uri="{FF2B5EF4-FFF2-40B4-BE49-F238E27FC236}">
                <a16:creationId xmlns:a16="http://schemas.microsoft.com/office/drawing/2014/main" id="{08C85D6C-FDE0-4CCC-8792-27EA3F7EFAD5}"/>
              </a:ext>
            </a:extLst>
          </p:cNvPr>
          <p:cNvSpPr/>
          <p:nvPr/>
        </p:nvSpPr>
        <p:spPr>
          <a:xfrm>
            <a:off x="1326668" y="5674640"/>
            <a:ext cx="216000" cy="216000"/>
          </a:xfrm>
          <a:prstGeom prst="ellipse">
            <a:avLst/>
          </a:prstGeom>
          <a:noFill/>
          <a:ln w="38100">
            <a:solidFill>
              <a:srgbClr val="EF3041"/>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3" name="Oval 42">
            <a:extLst>
              <a:ext uri="{FF2B5EF4-FFF2-40B4-BE49-F238E27FC236}">
                <a16:creationId xmlns:a16="http://schemas.microsoft.com/office/drawing/2014/main" id="{0BEED3BD-8AE1-4190-9DBE-8F73CAFC7554}"/>
              </a:ext>
            </a:extLst>
          </p:cNvPr>
          <p:cNvSpPr/>
          <p:nvPr/>
        </p:nvSpPr>
        <p:spPr>
          <a:xfrm>
            <a:off x="3947657" y="5510600"/>
            <a:ext cx="216000" cy="216000"/>
          </a:xfrm>
          <a:prstGeom prst="ellipse">
            <a:avLst/>
          </a:prstGeom>
          <a:solidFill>
            <a:schemeClr val="bg1"/>
          </a:solidFill>
          <a:ln w="38100">
            <a:solidFill>
              <a:srgbClr val="EF3041"/>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4" name="Oval 43">
            <a:extLst>
              <a:ext uri="{FF2B5EF4-FFF2-40B4-BE49-F238E27FC236}">
                <a16:creationId xmlns:a16="http://schemas.microsoft.com/office/drawing/2014/main" id="{FD94CB01-CE19-4304-B9FD-D4BCC8041A0B}"/>
              </a:ext>
            </a:extLst>
          </p:cNvPr>
          <p:cNvSpPr/>
          <p:nvPr/>
        </p:nvSpPr>
        <p:spPr>
          <a:xfrm>
            <a:off x="5679345" y="4635435"/>
            <a:ext cx="216000" cy="216000"/>
          </a:xfrm>
          <a:prstGeom prst="ellipse">
            <a:avLst/>
          </a:prstGeom>
          <a:solidFill>
            <a:schemeClr val="bg1"/>
          </a:solidFill>
          <a:ln w="38100">
            <a:solidFill>
              <a:srgbClr val="EF3041"/>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49" name="Connector: Elbow 48">
            <a:extLst>
              <a:ext uri="{FF2B5EF4-FFF2-40B4-BE49-F238E27FC236}">
                <a16:creationId xmlns:a16="http://schemas.microsoft.com/office/drawing/2014/main" id="{7D5EB50E-C3F2-49A7-8D98-473E95747E1D}"/>
              </a:ext>
            </a:extLst>
          </p:cNvPr>
          <p:cNvCxnSpPr>
            <a:stCxn id="43" idx="0"/>
            <a:endCxn id="23" idx="4"/>
          </p:cNvCxnSpPr>
          <p:nvPr/>
        </p:nvCxnSpPr>
        <p:spPr>
          <a:xfrm rot="16200000" flipV="1">
            <a:off x="3296269" y="4751211"/>
            <a:ext cx="1507161" cy="11617"/>
          </a:xfrm>
          <a:prstGeom prst="bentConnector3">
            <a:avLst/>
          </a:prstGeom>
          <a:solidFill>
            <a:schemeClr val="bg1"/>
          </a:solidFill>
          <a:ln w="38100">
            <a:solidFill>
              <a:srgbClr val="EF3041"/>
            </a:solidFill>
            <a:prstDash val="sysDot"/>
          </a:ln>
          <a:effectLst/>
        </p:spPr>
        <p:style>
          <a:lnRef idx="1">
            <a:schemeClr val="accent1"/>
          </a:lnRef>
          <a:fillRef idx="3">
            <a:schemeClr val="accent1"/>
          </a:fillRef>
          <a:effectRef idx="2">
            <a:schemeClr val="accent1"/>
          </a:effectRef>
          <a:fontRef idx="minor">
            <a:schemeClr val="lt1"/>
          </a:fontRef>
        </p:style>
      </p:cxnSp>
      <p:sp>
        <p:nvSpPr>
          <p:cNvPr id="50" name="Rectangle 49">
            <a:extLst>
              <a:ext uri="{FF2B5EF4-FFF2-40B4-BE49-F238E27FC236}">
                <a16:creationId xmlns:a16="http://schemas.microsoft.com/office/drawing/2014/main" id="{E50C6F07-9C8B-4C7E-B4F7-0AEB47AE8D3E}"/>
              </a:ext>
            </a:extLst>
          </p:cNvPr>
          <p:cNvSpPr/>
          <p:nvPr/>
        </p:nvSpPr>
        <p:spPr>
          <a:xfrm>
            <a:off x="1147661" y="1739048"/>
            <a:ext cx="2396175" cy="166682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087106"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rgbClr val="000000"/>
                </a:solidFill>
                <a:effectLst/>
                <a:uLnTx/>
                <a:uFillTx/>
                <a:latin typeface="Arial" panose="020B0604020202020204"/>
                <a:ea typeface="+mn-ea"/>
                <a:cs typeface="+mn-cs"/>
              </a:rPr>
              <a:t>Develop </a:t>
            </a:r>
            <a:r>
              <a:rPr kumimoji="0" lang="en-GB" b="1" i="0" u="none" strike="noStrike" kern="1200" cap="none" spc="0" normalizeH="0" baseline="0" noProof="0" dirty="0">
                <a:ln>
                  <a:noFill/>
                </a:ln>
                <a:solidFill>
                  <a:srgbClr val="000000"/>
                </a:solidFill>
                <a:effectLst/>
                <a:uLnTx/>
                <a:uFillTx/>
                <a:latin typeface="Arial" panose="020B0604020202020204"/>
                <a:ea typeface="+mn-ea"/>
                <a:cs typeface="+mn-cs"/>
              </a:rPr>
              <a:t>VOLO/  </a:t>
            </a:r>
            <a:r>
              <a:rPr kumimoji="0" lang="en-GB" b="1" i="0" u="none" strike="noStrike" kern="1200" cap="none" spc="0" normalizeH="0" baseline="0" noProof="0" dirty="0" err="1">
                <a:ln>
                  <a:noFill/>
                </a:ln>
                <a:solidFill>
                  <a:srgbClr val="000000"/>
                </a:solidFill>
                <a:effectLst/>
                <a:uLnTx/>
                <a:uFillTx/>
                <a:latin typeface="Arial" panose="020B0604020202020204"/>
                <a:ea typeface="+mn-ea"/>
                <a:cs typeface="+mn-cs"/>
              </a:rPr>
              <a:t>Kolorob</a:t>
            </a:r>
            <a:r>
              <a:rPr kumimoji="0" lang="en-GB" b="1" i="0" u="none" strike="noStrike" kern="1200" cap="none" spc="0" normalizeH="0" baseline="0" noProof="0" dirty="0">
                <a:ln>
                  <a:noFill/>
                </a:ln>
                <a:solidFill>
                  <a:srgbClr val="000000"/>
                </a:solidFill>
                <a:effectLst/>
                <a:uLnTx/>
                <a:uFillTx/>
                <a:latin typeface="Arial" panose="020B0604020202020204"/>
                <a:ea typeface="+mn-ea"/>
                <a:cs typeface="+mn-cs"/>
              </a:rPr>
              <a:t> Jobs </a:t>
            </a:r>
            <a:r>
              <a:rPr kumimoji="0" lang="en-GB" b="0" i="0" u="none" strike="noStrike" kern="1200" cap="none" spc="0" normalizeH="0" baseline="0" noProof="0" dirty="0">
                <a:ln>
                  <a:noFill/>
                </a:ln>
                <a:solidFill>
                  <a:srgbClr val="000000"/>
                </a:solidFill>
                <a:effectLst/>
                <a:uLnTx/>
                <a:uFillTx/>
                <a:latin typeface="Arial" panose="020B0604020202020204"/>
                <a:ea typeface="+mn-ea"/>
                <a:cs typeface="+mn-cs"/>
              </a:rPr>
              <a:t>for Bangladesh has been </a:t>
            </a:r>
            <a:r>
              <a:rPr kumimoji="0" lang="en-GB" b="1" i="0" u="none" strike="noStrike" kern="1200" cap="none" spc="0" normalizeH="0" baseline="0" noProof="0" dirty="0">
                <a:ln>
                  <a:noFill/>
                </a:ln>
                <a:solidFill>
                  <a:srgbClr val="000000"/>
                </a:solidFill>
                <a:effectLst/>
                <a:uLnTx/>
                <a:uFillTx/>
                <a:latin typeface="Arial" panose="020B0604020202020204"/>
                <a:ea typeface="+mn-ea"/>
                <a:cs typeface="+mn-cs"/>
              </a:rPr>
              <a:t>funded </a:t>
            </a:r>
            <a:r>
              <a:rPr kumimoji="0" lang="en-GB" b="0" i="0" u="none" strike="noStrike" kern="1200" cap="none" spc="0" normalizeH="0" baseline="0" noProof="0" dirty="0">
                <a:ln>
                  <a:noFill/>
                </a:ln>
                <a:solidFill>
                  <a:srgbClr val="000000"/>
                </a:solidFill>
                <a:effectLst/>
                <a:uLnTx/>
                <a:uFillTx/>
                <a:latin typeface="Arial" panose="020B0604020202020204"/>
                <a:ea typeface="+mn-ea"/>
                <a:cs typeface="+mn-cs"/>
              </a:rPr>
              <a:t>through an MIT innovation challenge</a:t>
            </a:r>
          </a:p>
        </p:txBody>
      </p:sp>
      <p:sp>
        <p:nvSpPr>
          <p:cNvPr id="51" name="Rectangle 50">
            <a:extLst>
              <a:ext uri="{FF2B5EF4-FFF2-40B4-BE49-F238E27FC236}">
                <a16:creationId xmlns:a16="http://schemas.microsoft.com/office/drawing/2014/main" id="{195AEB0B-ED05-44A9-BE3A-A85F6C72550D}"/>
              </a:ext>
            </a:extLst>
          </p:cNvPr>
          <p:cNvSpPr/>
          <p:nvPr/>
        </p:nvSpPr>
        <p:spPr>
          <a:xfrm>
            <a:off x="240922" y="4070715"/>
            <a:ext cx="2396175" cy="15614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087106"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rgbClr val="000000"/>
                </a:solidFill>
                <a:effectLst/>
                <a:uLnTx/>
                <a:uFillTx/>
                <a:latin typeface="Arial" panose="020B0604020202020204"/>
                <a:ea typeface="+mn-ea"/>
                <a:cs typeface="+mn-cs"/>
              </a:rPr>
              <a:t>F</a:t>
            </a:r>
            <a:r>
              <a:rPr kumimoji="0" lang="en-GB" b="1" i="0" u="none" strike="noStrike" kern="1200" cap="none" spc="0" normalizeH="0" baseline="0" noProof="0" dirty="0">
                <a:ln>
                  <a:noFill/>
                </a:ln>
                <a:solidFill>
                  <a:srgbClr val="000000"/>
                </a:solidFill>
                <a:effectLst/>
                <a:uLnTx/>
                <a:uFillTx/>
                <a:latin typeface="Arial" panose="020B0604020202020204"/>
                <a:ea typeface="+mn-ea"/>
                <a:cs typeface="+mn-cs"/>
              </a:rPr>
              <a:t>inalise a roadmap </a:t>
            </a:r>
            <a:r>
              <a:rPr kumimoji="0" lang="en-GB" b="0" i="0" u="none" strike="noStrike" kern="1200" cap="none" spc="0" normalizeH="0" baseline="0" noProof="0" dirty="0">
                <a:ln>
                  <a:noFill/>
                </a:ln>
                <a:solidFill>
                  <a:srgbClr val="000000"/>
                </a:solidFill>
                <a:effectLst/>
                <a:uLnTx/>
                <a:uFillTx/>
                <a:latin typeface="Arial" panose="020B0604020202020204"/>
                <a:ea typeface="+mn-ea"/>
                <a:cs typeface="+mn-cs"/>
              </a:rPr>
              <a:t>defining how the prototypes fit into the new grant within 6 weeks</a:t>
            </a:r>
          </a:p>
        </p:txBody>
      </p:sp>
      <p:cxnSp>
        <p:nvCxnSpPr>
          <p:cNvPr id="52" name="Connector: Elbow 51">
            <a:extLst>
              <a:ext uri="{FF2B5EF4-FFF2-40B4-BE49-F238E27FC236}">
                <a16:creationId xmlns:a16="http://schemas.microsoft.com/office/drawing/2014/main" id="{EFAC3E39-B1C3-45E5-A3E7-FD608650B73C}"/>
              </a:ext>
            </a:extLst>
          </p:cNvPr>
          <p:cNvCxnSpPr>
            <a:cxnSpLocks/>
            <a:stCxn id="44" idx="0"/>
            <a:endCxn id="11" idx="4"/>
          </p:cNvCxnSpPr>
          <p:nvPr/>
        </p:nvCxnSpPr>
        <p:spPr>
          <a:xfrm rot="5400000" flipH="1" flipV="1">
            <a:off x="5103706" y="3951796"/>
            <a:ext cx="1367278" cy="12700"/>
          </a:xfrm>
          <a:prstGeom prst="bentConnector3">
            <a:avLst/>
          </a:prstGeom>
          <a:solidFill>
            <a:schemeClr val="bg1"/>
          </a:solidFill>
          <a:ln w="38100">
            <a:solidFill>
              <a:srgbClr val="EF3041"/>
            </a:solidFill>
            <a:prstDash val="sysDot"/>
          </a:ln>
          <a:effectLst/>
        </p:spPr>
        <p:style>
          <a:lnRef idx="1">
            <a:schemeClr val="accent1"/>
          </a:lnRef>
          <a:fillRef idx="3">
            <a:schemeClr val="accent1"/>
          </a:fillRef>
          <a:effectRef idx="2">
            <a:schemeClr val="accent1"/>
          </a:effectRef>
          <a:fontRef idx="minor">
            <a:schemeClr val="lt1"/>
          </a:fontRef>
        </p:style>
      </p:cxnSp>
      <p:sp>
        <p:nvSpPr>
          <p:cNvPr id="55" name="Rectangle 54">
            <a:extLst>
              <a:ext uri="{FF2B5EF4-FFF2-40B4-BE49-F238E27FC236}">
                <a16:creationId xmlns:a16="http://schemas.microsoft.com/office/drawing/2014/main" id="{26D368A9-2765-4A8B-9FD0-403DBC5DCB08}"/>
              </a:ext>
            </a:extLst>
          </p:cNvPr>
          <p:cNvSpPr/>
          <p:nvPr/>
        </p:nvSpPr>
        <p:spPr>
          <a:xfrm>
            <a:off x="6167964" y="711465"/>
            <a:ext cx="1704407" cy="27237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087106" rtl="0" eaLnBrk="1" fontAlgn="auto" latinLnBrk="0" hangingPunct="1">
              <a:lnSpc>
                <a:spcPct val="100000"/>
              </a:lnSpc>
              <a:spcBef>
                <a:spcPts val="0"/>
              </a:spcBef>
              <a:spcAft>
                <a:spcPts val="0"/>
              </a:spcAft>
              <a:buClrTx/>
              <a:buSzTx/>
              <a:buFontTx/>
              <a:buNone/>
              <a:tabLst/>
              <a:defRPr/>
            </a:pPr>
            <a:r>
              <a:rPr lang="en-GB" dirty="0">
                <a:solidFill>
                  <a:srgbClr val="000000"/>
                </a:solidFill>
                <a:latin typeface="Arial" panose="020B0604020202020204"/>
              </a:rPr>
              <a:t>D</a:t>
            </a:r>
            <a:r>
              <a:rPr kumimoji="0" lang="en-GB" b="1" i="0" u="none" strike="noStrike" kern="1200" cap="none" spc="0" normalizeH="0" baseline="0" noProof="0" dirty="0" err="1">
                <a:ln>
                  <a:noFill/>
                </a:ln>
                <a:solidFill>
                  <a:srgbClr val="000000"/>
                </a:solidFill>
                <a:effectLst/>
                <a:uLnTx/>
                <a:uFillTx/>
                <a:latin typeface="Arial" panose="020B0604020202020204"/>
                <a:ea typeface="+mn-ea"/>
                <a:cs typeface="+mn-cs"/>
              </a:rPr>
              <a:t>evelop</a:t>
            </a:r>
            <a:r>
              <a:rPr kumimoji="0" lang="en-GB" b="1" i="0" u="none" strike="noStrike" kern="1200" cap="none" spc="0" normalizeH="0" baseline="0" noProof="0" dirty="0">
                <a:ln>
                  <a:noFill/>
                </a:ln>
                <a:solidFill>
                  <a:srgbClr val="000000"/>
                </a:solidFill>
                <a:effectLst/>
                <a:uLnTx/>
                <a:uFillTx/>
                <a:latin typeface="Arial" panose="020B0604020202020204"/>
                <a:ea typeface="+mn-ea"/>
                <a:cs typeface="+mn-cs"/>
              </a:rPr>
              <a:t> and integrate the AR/VR Learner </a:t>
            </a:r>
            <a:r>
              <a:rPr kumimoji="0" lang="en-GB" b="0" i="0" u="none" strike="noStrike" kern="1200" cap="none" spc="0" normalizeH="0" baseline="0" noProof="0" dirty="0">
                <a:ln>
                  <a:noFill/>
                </a:ln>
                <a:solidFill>
                  <a:srgbClr val="000000"/>
                </a:solidFill>
                <a:effectLst/>
                <a:uLnTx/>
                <a:uFillTx/>
                <a:latin typeface="Arial" panose="020B0604020202020204"/>
                <a:ea typeface="+mn-ea"/>
                <a:cs typeface="+mn-cs"/>
              </a:rPr>
              <a:t>in mainstream programme</a:t>
            </a:r>
            <a:endParaRPr kumimoji="0" lang="en-GB"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6" name="Oval 55">
            <a:extLst>
              <a:ext uri="{FF2B5EF4-FFF2-40B4-BE49-F238E27FC236}">
                <a16:creationId xmlns:a16="http://schemas.microsoft.com/office/drawing/2014/main" id="{08A7F803-B32E-49EA-A63E-FAE64009006F}"/>
              </a:ext>
            </a:extLst>
          </p:cNvPr>
          <p:cNvSpPr/>
          <p:nvPr/>
        </p:nvSpPr>
        <p:spPr>
          <a:xfrm>
            <a:off x="8012722" y="2864766"/>
            <a:ext cx="216000" cy="216000"/>
          </a:xfrm>
          <a:prstGeom prst="ellipse">
            <a:avLst/>
          </a:prstGeom>
          <a:solidFill>
            <a:schemeClr val="bg1"/>
          </a:solidFill>
          <a:ln w="38100">
            <a:solidFill>
              <a:srgbClr val="EF3041"/>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087106" rtl="0" eaLnBrk="1" fontAlgn="auto" latinLnBrk="0" hangingPunct="1">
              <a:lnSpc>
                <a:spcPct val="100000"/>
              </a:lnSpc>
              <a:spcBef>
                <a:spcPts val="0"/>
              </a:spcBef>
              <a:spcAft>
                <a:spcPts val="0"/>
              </a:spcAft>
              <a:buClrTx/>
              <a:buSzTx/>
              <a:buFontTx/>
              <a:buNone/>
              <a:tabLst/>
              <a:defRPr/>
            </a:pPr>
            <a:endParaRPr kumimoji="0" lang="en-GB" sz="2173"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57" name="Connector: Elbow 56">
            <a:extLst>
              <a:ext uri="{FF2B5EF4-FFF2-40B4-BE49-F238E27FC236}">
                <a16:creationId xmlns:a16="http://schemas.microsoft.com/office/drawing/2014/main" id="{F50614B8-EEB1-4D37-9586-53E80DFFF577}"/>
              </a:ext>
            </a:extLst>
          </p:cNvPr>
          <p:cNvCxnSpPr>
            <a:cxnSpLocks/>
            <a:endCxn id="31" idx="0"/>
          </p:cNvCxnSpPr>
          <p:nvPr/>
        </p:nvCxnSpPr>
        <p:spPr>
          <a:xfrm>
            <a:off x="8125794" y="2972766"/>
            <a:ext cx="1193133" cy="83118"/>
          </a:xfrm>
          <a:prstGeom prst="bentConnector2">
            <a:avLst/>
          </a:prstGeom>
          <a:solidFill>
            <a:schemeClr val="bg1"/>
          </a:solidFill>
          <a:ln w="38100">
            <a:solidFill>
              <a:srgbClr val="EF3041"/>
            </a:solidFill>
            <a:prstDash val="sysDot"/>
          </a:ln>
          <a:effectLst/>
        </p:spPr>
        <p:style>
          <a:lnRef idx="1">
            <a:schemeClr val="accent1"/>
          </a:lnRef>
          <a:fillRef idx="3">
            <a:schemeClr val="accent1"/>
          </a:fillRef>
          <a:effectRef idx="2">
            <a:schemeClr val="accent1"/>
          </a:effectRef>
          <a:fontRef idx="minor">
            <a:schemeClr val="lt1"/>
          </a:fontRef>
        </p:style>
      </p:cxnSp>
      <p:sp>
        <p:nvSpPr>
          <p:cNvPr id="62" name="Rectangle 61">
            <a:extLst>
              <a:ext uri="{FF2B5EF4-FFF2-40B4-BE49-F238E27FC236}">
                <a16:creationId xmlns:a16="http://schemas.microsoft.com/office/drawing/2014/main" id="{4CB2D653-3209-4A07-9D16-31966FE8CF74}"/>
              </a:ext>
            </a:extLst>
          </p:cNvPr>
          <p:cNvSpPr/>
          <p:nvPr/>
        </p:nvSpPr>
        <p:spPr>
          <a:xfrm>
            <a:off x="9747164" y="3435227"/>
            <a:ext cx="1774116" cy="166682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087106"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rgbClr val="000000"/>
                </a:solidFill>
                <a:effectLst/>
                <a:uLnTx/>
                <a:uFillTx/>
                <a:latin typeface="Arial" panose="020B0604020202020204"/>
                <a:ea typeface="+mn-ea"/>
                <a:cs typeface="+mn-cs"/>
              </a:rPr>
              <a:t>Explore roles of all partners in supporting digital innovation</a:t>
            </a:r>
          </a:p>
        </p:txBody>
      </p:sp>
      <p:cxnSp>
        <p:nvCxnSpPr>
          <p:cNvPr id="67" name="Straight Arrow Connector 66">
            <a:extLst>
              <a:ext uri="{FF2B5EF4-FFF2-40B4-BE49-F238E27FC236}">
                <a16:creationId xmlns:a16="http://schemas.microsoft.com/office/drawing/2014/main" id="{1A3EF3F0-8EE9-4C24-903C-ACB32ED7D912}"/>
              </a:ext>
            </a:extLst>
          </p:cNvPr>
          <p:cNvCxnSpPr>
            <a:cxnSpLocks/>
          </p:cNvCxnSpPr>
          <p:nvPr/>
        </p:nvCxnSpPr>
        <p:spPr>
          <a:xfrm flipV="1">
            <a:off x="9674542" y="1253718"/>
            <a:ext cx="378793" cy="325104"/>
          </a:xfrm>
          <a:prstGeom prst="straightConnector1">
            <a:avLst/>
          </a:prstGeom>
          <a:ln w="38100">
            <a:solidFill>
              <a:srgbClr val="EF3041"/>
            </a:solidFill>
            <a:tailEnd type="triangle"/>
          </a:ln>
        </p:spPr>
        <p:style>
          <a:lnRef idx="1">
            <a:schemeClr val="accent1"/>
          </a:lnRef>
          <a:fillRef idx="0">
            <a:schemeClr val="accent1"/>
          </a:fillRef>
          <a:effectRef idx="0">
            <a:schemeClr val="accent1"/>
          </a:effectRef>
          <a:fontRef idx="minor">
            <a:schemeClr val="tx1"/>
          </a:fontRef>
        </p:style>
      </p:cxnSp>
      <p:sp>
        <p:nvSpPr>
          <p:cNvPr id="48" name="Title 4">
            <a:extLst>
              <a:ext uri="{FF2B5EF4-FFF2-40B4-BE49-F238E27FC236}">
                <a16:creationId xmlns:a16="http://schemas.microsoft.com/office/drawing/2014/main" id="{0461BFBD-C468-4E6E-A758-DF2121F16F46}"/>
              </a:ext>
            </a:extLst>
          </p:cNvPr>
          <p:cNvSpPr>
            <a:spLocks noGrp="1"/>
          </p:cNvSpPr>
          <p:nvPr>
            <p:ph type="title"/>
          </p:nvPr>
        </p:nvSpPr>
        <p:spPr>
          <a:xfrm>
            <a:off x="345017" y="332077"/>
            <a:ext cx="10334009" cy="379388"/>
          </a:xfrm>
        </p:spPr>
        <p:txBody>
          <a:bodyPr>
            <a:noAutofit/>
          </a:bodyPr>
          <a:lstStyle/>
          <a:p>
            <a:r>
              <a:rPr lang="en-GB" sz="3600" b="1" cap="all" spc="-133" dirty="0">
                <a:solidFill>
                  <a:srgbClr val="7030A0"/>
                </a:solidFill>
                <a:latin typeface="Graphik" panose="020B0503030202060203" pitchFamily="34" charset="0"/>
              </a:rPr>
              <a:t>Example</a:t>
            </a:r>
          </a:p>
        </p:txBody>
      </p:sp>
    </p:spTree>
    <p:extLst>
      <p:ext uri="{BB962C8B-B14F-4D97-AF65-F5344CB8AC3E}">
        <p14:creationId xmlns:p14="http://schemas.microsoft.com/office/powerpoint/2010/main" val="5851265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2"/>
          <a:stretch>
            <a:fillRect/>
          </a:stretch>
        </p:blipFill>
        <p:spPr>
          <a:xfrm>
            <a:off x="93518" y="1488156"/>
            <a:ext cx="12004964" cy="4184587"/>
          </a:xfrm>
          <a:prstGeom prst="rect">
            <a:avLst/>
          </a:prstGeom>
        </p:spPr>
      </p:pic>
      <p:sp>
        <p:nvSpPr>
          <p:cNvPr id="3" name="Title 4">
            <a:extLst>
              <a:ext uri="{FF2B5EF4-FFF2-40B4-BE49-F238E27FC236}">
                <a16:creationId xmlns:a16="http://schemas.microsoft.com/office/drawing/2014/main" id="{CB13B1EE-3CCF-4DAC-9D6B-203DAE0ED7AC}"/>
              </a:ext>
            </a:extLst>
          </p:cNvPr>
          <p:cNvSpPr txBox="1">
            <a:spLocks/>
          </p:cNvSpPr>
          <p:nvPr/>
        </p:nvSpPr>
        <p:spPr>
          <a:xfrm>
            <a:off x="345017" y="332077"/>
            <a:ext cx="10334009" cy="379388"/>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600" b="1" cap="all" spc="-133">
                <a:solidFill>
                  <a:srgbClr val="7030A0"/>
                </a:solidFill>
                <a:latin typeface="Graphik" panose="020B0503030202060203" pitchFamily="34" charset="0"/>
              </a:rPr>
              <a:t>Example</a:t>
            </a:r>
            <a:endParaRPr lang="en-GB" sz="3600" b="1" cap="all" spc="-133" dirty="0">
              <a:solidFill>
                <a:srgbClr val="7030A0"/>
              </a:solidFill>
              <a:latin typeface="Graphik" panose="020B0503030202060203" pitchFamily="34" charset="0"/>
            </a:endParaRPr>
          </a:p>
        </p:txBody>
      </p:sp>
    </p:spTree>
    <p:extLst>
      <p:ext uri="{BB962C8B-B14F-4D97-AF65-F5344CB8AC3E}">
        <p14:creationId xmlns:p14="http://schemas.microsoft.com/office/powerpoint/2010/main" val="32241477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772400" y="5904734"/>
            <a:ext cx="2590800" cy="369332"/>
          </a:xfrm>
          <a:prstGeom prst="rect">
            <a:avLst/>
          </a:prstGeom>
        </p:spPr>
        <p:txBody>
          <a:bodyPr wrap="square">
            <a:spAutoFit/>
          </a:bodyPr>
          <a:lstStyle/>
          <a:p>
            <a:pPr lvl="0">
              <a:spcAft>
                <a:spcPts val="800"/>
              </a:spcAft>
            </a:pPr>
            <a:r>
              <a:rPr lang="en-GB" dirty="0"/>
              <a:t>Just do it</a:t>
            </a:r>
          </a:p>
        </p:txBody>
      </p:sp>
      <p:pic>
        <p:nvPicPr>
          <p:cNvPr id="6146" name="Picture 2" descr="Image result for Nike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5977" y="5637566"/>
            <a:ext cx="1115662" cy="11156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4"/>
          <a:stretch>
            <a:fillRect/>
          </a:stretch>
        </p:blipFill>
        <p:spPr>
          <a:xfrm>
            <a:off x="6435977" y="3182349"/>
            <a:ext cx="1080000" cy="1198081"/>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41572" y="2342267"/>
            <a:ext cx="540133" cy="540133"/>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71639" y="1118912"/>
            <a:ext cx="1080000" cy="1080000"/>
          </a:xfrm>
          <a:prstGeom prst="rect">
            <a:avLst/>
          </a:prstGeom>
        </p:spPr>
      </p:pic>
      <p:pic>
        <p:nvPicPr>
          <p:cNvPr id="29" name="Picture 28"/>
          <p:cNvPicPr>
            <a:picLocks noChangeAspect="1"/>
          </p:cNvPicPr>
          <p:nvPr/>
        </p:nvPicPr>
        <p:blipFill>
          <a:blip r:embed="rId7"/>
          <a:stretch>
            <a:fillRect/>
          </a:stretch>
        </p:blipFill>
        <p:spPr>
          <a:xfrm>
            <a:off x="651231" y="1152768"/>
            <a:ext cx="1080000" cy="1012289"/>
          </a:xfrm>
          <a:prstGeom prst="rect">
            <a:avLst/>
          </a:prstGeom>
          <a:solidFill>
            <a:srgbClr val="E6E6E4"/>
          </a:solidFill>
        </p:spPr>
      </p:pic>
      <p:pic>
        <p:nvPicPr>
          <p:cNvPr id="30" name="Picture 29"/>
          <p:cNvPicPr>
            <a:picLocks noChangeAspect="1"/>
          </p:cNvPicPr>
          <p:nvPr/>
        </p:nvPicPr>
        <p:blipFill>
          <a:blip r:embed="rId8"/>
          <a:stretch>
            <a:fillRect/>
          </a:stretch>
        </p:blipFill>
        <p:spPr>
          <a:xfrm>
            <a:off x="651231" y="2278685"/>
            <a:ext cx="1080000" cy="529700"/>
          </a:xfrm>
          <a:prstGeom prst="rect">
            <a:avLst/>
          </a:prstGeom>
        </p:spPr>
      </p:pic>
      <p:pic>
        <p:nvPicPr>
          <p:cNvPr id="31" name="Picture 30"/>
          <p:cNvPicPr>
            <a:picLocks noChangeAspect="1"/>
          </p:cNvPicPr>
          <p:nvPr/>
        </p:nvPicPr>
        <p:blipFill>
          <a:blip r:embed="rId9"/>
          <a:stretch>
            <a:fillRect/>
          </a:stretch>
        </p:blipFill>
        <p:spPr>
          <a:xfrm>
            <a:off x="615569" y="3300587"/>
            <a:ext cx="1080000" cy="961604"/>
          </a:xfrm>
          <a:prstGeom prst="rect">
            <a:avLst/>
          </a:prstGeom>
        </p:spPr>
      </p:pic>
      <p:pic>
        <p:nvPicPr>
          <p:cNvPr id="32" name="Picture 31"/>
          <p:cNvPicPr>
            <a:picLocks noChangeAspect="1"/>
          </p:cNvPicPr>
          <p:nvPr/>
        </p:nvPicPr>
        <p:blipFill>
          <a:blip r:embed="rId10"/>
          <a:stretch>
            <a:fillRect/>
          </a:stretch>
        </p:blipFill>
        <p:spPr>
          <a:xfrm>
            <a:off x="651231" y="5801846"/>
            <a:ext cx="1080000" cy="575108"/>
          </a:xfrm>
          <a:prstGeom prst="rect">
            <a:avLst/>
          </a:prstGeom>
        </p:spPr>
      </p:pic>
      <p:sp>
        <p:nvSpPr>
          <p:cNvPr id="5" name="Rectangle 4"/>
          <p:cNvSpPr/>
          <p:nvPr/>
        </p:nvSpPr>
        <p:spPr>
          <a:xfrm>
            <a:off x="1784822" y="1335747"/>
            <a:ext cx="4326805" cy="646331"/>
          </a:xfrm>
          <a:prstGeom prst="rect">
            <a:avLst/>
          </a:prstGeom>
        </p:spPr>
        <p:txBody>
          <a:bodyPr wrap="square">
            <a:spAutoFit/>
          </a:bodyPr>
          <a:lstStyle/>
          <a:p>
            <a:r>
              <a:rPr lang="en-GB" dirty="0"/>
              <a:t>The biggest barrier to innovation is BAU</a:t>
            </a:r>
          </a:p>
        </p:txBody>
      </p:sp>
      <p:sp>
        <p:nvSpPr>
          <p:cNvPr id="7" name="Rectangle 6"/>
          <p:cNvSpPr/>
          <p:nvPr/>
        </p:nvSpPr>
        <p:spPr>
          <a:xfrm>
            <a:off x="1784822" y="2308335"/>
            <a:ext cx="3244378" cy="369332"/>
          </a:xfrm>
          <a:prstGeom prst="rect">
            <a:avLst/>
          </a:prstGeom>
        </p:spPr>
        <p:txBody>
          <a:bodyPr wrap="square">
            <a:spAutoFit/>
          </a:bodyPr>
          <a:lstStyle/>
          <a:p>
            <a:r>
              <a:rPr lang="en-GB" dirty="0"/>
              <a:t>Failure is part of success</a:t>
            </a:r>
          </a:p>
        </p:txBody>
      </p:sp>
      <p:sp>
        <p:nvSpPr>
          <p:cNvPr id="8" name="Rectangle 7"/>
          <p:cNvSpPr/>
          <p:nvPr/>
        </p:nvSpPr>
        <p:spPr>
          <a:xfrm>
            <a:off x="1749160" y="3319724"/>
            <a:ext cx="4006378" cy="923330"/>
          </a:xfrm>
          <a:prstGeom prst="rect">
            <a:avLst/>
          </a:prstGeom>
        </p:spPr>
        <p:txBody>
          <a:bodyPr wrap="square">
            <a:spAutoFit/>
          </a:bodyPr>
          <a:lstStyle/>
          <a:p>
            <a:pPr lvl="0">
              <a:spcAft>
                <a:spcPts val="0"/>
              </a:spcAft>
            </a:pPr>
            <a:r>
              <a:rPr lang="en-GB" dirty="0"/>
              <a:t>There is no correlation between how much you spend and how innovative you are</a:t>
            </a:r>
          </a:p>
        </p:txBody>
      </p:sp>
      <p:sp>
        <p:nvSpPr>
          <p:cNvPr id="11" name="Rectangle 10"/>
          <p:cNvSpPr/>
          <p:nvPr/>
        </p:nvSpPr>
        <p:spPr>
          <a:xfrm>
            <a:off x="1784822" y="5766235"/>
            <a:ext cx="4006378" cy="646331"/>
          </a:xfrm>
          <a:prstGeom prst="rect">
            <a:avLst/>
          </a:prstGeom>
        </p:spPr>
        <p:txBody>
          <a:bodyPr wrap="square">
            <a:spAutoFit/>
          </a:bodyPr>
          <a:lstStyle/>
          <a:p>
            <a:pPr lvl="0">
              <a:spcAft>
                <a:spcPts val="0"/>
              </a:spcAft>
            </a:pPr>
            <a:r>
              <a:rPr lang="en-GB" dirty="0"/>
              <a:t>‘Give me a very tight brief to allow me to be creative’ - David Ogilvy </a:t>
            </a:r>
          </a:p>
        </p:txBody>
      </p:sp>
      <p:sp>
        <p:nvSpPr>
          <p:cNvPr id="12" name="Rectangle 11"/>
          <p:cNvSpPr/>
          <p:nvPr/>
        </p:nvSpPr>
        <p:spPr>
          <a:xfrm>
            <a:off x="7795428" y="1335747"/>
            <a:ext cx="4396572" cy="646331"/>
          </a:xfrm>
          <a:prstGeom prst="rect">
            <a:avLst/>
          </a:prstGeom>
        </p:spPr>
        <p:txBody>
          <a:bodyPr wrap="square">
            <a:spAutoFit/>
          </a:bodyPr>
          <a:lstStyle/>
          <a:p>
            <a:pPr lvl="0">
              <a:spcAft>
                <a:spcPts val="0"/>
              </a:spcAft>
            </a:pPr>
            <a:r>
              <a:rPr lang="en-GB" dirty="0"/>
              <a:t>The bigger you are the further away you get from your ‘customer’ </a:t>
            </a:r>
          </a:p>
        </p:txBody>
      </p:sp>
      <p:sp>
        <p:nvSpPr>
          <p:cNvPr id="13" name="Rectangle 12"/>
          <p:cNvSpPr/>
          <p:nvPr/>
        </p:nvSpPr>
        <p:spPr>
          <a:xfrm>
            <a:off x="7787361" y="2426635"/>
            <a:ext cx="4023639" cy="646331"/>
          </a:xfrm>
          <a:prstGeom prst="rect">
            <a:avLst/>
          </a:prstGeom>
        </p:spPr>
        <p:txBody>
          <a:bodyPr wrap="square">
            <a:spAutoFit/>
          </a:bodyPr>
          <a:lstStyle/>
          <a:p>
            <a:pPr lvl="0">
              <a:spcAft>
                <a:spcPts val="0"/>
              </a:spcAft>
            </a:pPr>
            <a:r>
              <a:rPr lang="en-GB" dirty="0"/>
              <a:t>The age of convergence is driving the need for more co-creation </a:t>
            </a:r>
          </a:p>
        </p:txBody>
      </p:sp>
      <p:sp>
        <p:nvSpPr>
          <p:cNvPr id="16" name="Rectangle 15"/>
          <p:cNvSpPr/>
          <p:nvPr/>
        </p:nvSpPr>
        <p:spPr>
          <a:xfrm>
            <a:off x="7759766" y="3596723"/>
            <a:ext cx="1806905" cy="369332"/>
          </a:xfrm>
          <a:prstGeom prst="rect">
            <a:avLst/>
          </a:prstGeom>
        </p:spPr>
        <p:txBody>
          <a:bodyPr wrap="none">
            <a:spAutoFit/>
          </a:bodyPr>
          <a:lstStyle/>
          <a:p>
            <a:pPr lvl="0">
              <a:spcAft>
                <a:spcPts val="0"/>
              </a:spcAft>
            </a:pPr>
            <a:r>
              <a:rPr lang="en-GB" dirty="0"/>
              <a:t>Hire the rebels</a:t>
            </a:r>
          </a:p>
        </p:txBody>
      </p:sp>
      <p:sp>
        <p:nvSpPr>
          <p:cNvPr id="20" name="Rectangle 19"/>
          <p:cNvSpPr/>
          <p:nvPr/>
        </p:nvSpPr>
        <p:spPr>
          <a:xfrm>
            <a:off x="1749160" y="4800600"/>
            <a:ext cx="4006378" cy="646331"/>
          </a:xfrm>
          <a:prstGeom prst="rect">
            <a:avLst/>
          </a:prstGeom>
        </p:spPr>
        <p:txBody>
          <a:bodyPr wrap="square">
            <a:spAutoFit/>
          </a:bodyPr>
          <a:lstStyle/>
          <a:p>
            <a:pPr lvl="0">
              <a:spcAft>
                <a:spcPts val="0"/>
              </a:spcAft>
            </a:pPr>
            <a:r>
              <a:rPr lang="en-GB" dirty="0"/>
              <a:t>Innovation is 1% ideas and 99% blood, sweat and tears </a:t>
            </a:r>
          </a:p>
        </p:txBody>
      </p:sp>
      <p:sp>
        <p:nvSpPr>
          <p:cNvPr id="21" name="Rectangle 20"/>
          <p:cNvSpPr/>
          <p:nvPr/>
        </p:nvSpPr>
        <p:spPr>
          <a:xfrm>
            <a:off x="7750411" y="4800600"/>
            <a:ext cx="4006378" cy="646331"/>
          </a:xfrm>
          <a:prstGeom prst="rect">
            <a:avLst/>
          </a:prstGeom>
        </p:spPr>
        <p:txBody>
          <a:bodyPr wrap="square">
            <a:spAutoFit/>
          </a:bodyPr>
          <a:lstStyle/>
          <a:p>
            <a:pPr lvl="0">
              <a:spcAft>
                <a:spcPts val="0"/>
              </a:spcAft>
            </a:pPr>
            <a:r>
              <a:rPr lang="en-GB" dirty="0"/>
              <a:t>Change is the only constant so agility is key </a:t>
            </a:r>
          </a:p>
        </p:txBody>
      </p:sp>
      <p:pic>
        <p:nvPicPr>
          <p:cNvPr id="3" name="Picture 2"/>
          <p:cNvPicPr>
            <a:picLocks noChangeAspect="1"/>
          </p:cNvPicPr>
          <p:nvPr/>
        </p:nvPicPr>
        <p:blipFill>
          <a:blip r:embed="rId11"/>
          <a:stretch>
            <a:fillRect/>
          </a:stretch>
        </p:blipFill>
        <p:spPr>
          <a:xfrm>
            <a:off x="773757" y="4734475"/>
            <a:ext cx="834948" cy="778892"/>
          </a:xfrm>
          <a:prstGeom prst="rect">
            <a:avLst/>
          </a:prstGeom>
        </p:spPr>
      </p:pic>
      <p:pic>
        <p:nvPicPr>
          <p:cNvPr id="19" name="Picture 18"/>
          <p:cNvPicPr>
            <a:picLocks noChangeAspect="1"/>
          </p:cNvPicPr>
          <p:nvPr/>
        </p:nvPicPr>
        <p:blipFill>
          <a:blip r:embed="rId12"/>
          <a:stretch>
            <a:fillRect/>
          </a:stretch>
        </p:blipFill>
        <p:spPr>
          <a:xfrm>
            <a:off x="6435977" y="4680379"/>
            <a:ext cx="1080000" cy="954356"/>
          </a:xfrm>
          <a:prstGeom prst="rect">
            <a:avLst/>
          </a:prstGeom>
        </p:spPr>
      </p:pic>
      <p:sp>
        <p:nvSpPr>
          <p:cNvPr id="33" name="Rectangle 32"/>
          <p:cNvSpPr/>
          <p:nvPr/>
        </p:nvSpPr>
        <p:spPr>
          <a:xfrm>
            <a:off x="381000" y="357990"/>
            <a:ext cx="10698480" cy="535531"/>
          </a:xfrm>
          <a:prstGeom prst="rect">
            <a:avLst/>
          </a:prstGeom>
        </p:spPr>
        <p:txBody>
          <a:bodyPr wrap="square">
            <a:spAutoFit/>
          </a:bodyPr>
          <a:lstStyle/>
          <a:p>
            <a:pPr defTabSz="1734634">
              <a:lnSpc>
                <a:spcPct val="80000"/>
              </a:lnSpc>
              <a:spcBef>
                <a:spcPct val="0"/>
              </a:spcBef>
              <a:defRPr/>
            </a:pPr>
            <a:r>
              <a:rPr lang="en-US" sz="3600" b="1" cap="all" spc="-133" dirty="0">
                <a:solidFill>
                  <a:srgbClr val="7030A0"/>
                </a:solidFill>
                <a:latin typeface="Graphik" panose="020B0503030202060203" pitchFamily="34" charset="0"/>
              </a:rPr>
              <a:t>INNOVATION INSIGHTS</a:t>
            </a:r>
          </a:p>
        </p:txBody>
      </p:sp>
    </p:spTree>
    <p:extLst>
      <p:ext uri="{BB962C8B-B14F-4D97-AF65-F5344CB8AC3E}">
        <p14:creationId xmlns:p14="http://schemas.microsoft.com/office/powerpoint/2010/main" val="5919298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ccenture New Template">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enture New Template" id="{0AD95EC5-91A3-4E27-A414-A4D4E3595367}" vid="{DDA24179-6C2D-4556-8415-30537D3CC569}"/>
    </a:ext>
  </a:extLst>
</a:theme>
</file>

<file path=ppt/theme/theme3.xml><?xml version="1.0" encoding="utf-8"?>
<a:theme xmlns:a="http://schemas.openxmlformats.org/drawingml/2006/main" name="2_16-3406 Accenture Security Template 16x9">
  <a:themeElements>
    <a:clrScheme name="Innovation Navigator">
      <a:dk1>
        <a:srgbClr val="000000"/>
      </a:dk1>
      <a:lt1>
        <a:srgbClr val="FFFFFF"/>
      </a:lt1>
      <a:dk2>
        <a:srgbClr val="919191"/>
      </a:dk2>
      <a:lt2>
        <a:srgbClr val="6C6C6C"/>
      </a:lt2>
      <a:accent1>
        <a:srgbClr val="EBECEB"/>
      </a:accent1>
      <a:accent2>
        <a:srgbClr val="6B6C6B"/>
      </a:accent2>
      <a:accent3>
        <a:srgbClr val="000000"/>
      </a:accent3>
      <a:accent4>
        <a:srgbClr val="A000FE"/>
      </a:accent4>
      <a:accent5>
        <a:srgbClr val="5F0095"/>
      </a:accent5>
      <a:accent6>
        <a:srgbClr val="7E00FE"/>
      </a:accent6>
      <a:hlink>
        <a:srgbClr val="7E00FE"/>
      </a:hlink>
      <a:folHlink>
        <a:srgbClr val="A9A9A9"/>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effectLst/>
      </a:spPr>
      <a:bodyPr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txDef>
      <a:spPr/>
      <a:bodyPr vert="horz" lIns="0" tIns="0" rIns="0" bIns="0" rtlCol="0">
        <a:noAutofit/>
      </a:bodyPr>
      <a:lstStyle>
        <a:defPPr>
          <a:defRPr dirty="0" err="1"/>
        </a:defPPr>
      </a:lstStyle>
    </a:txDef>
  </a:objectDefaults>
  <a:extraClrSchemeLst/>
  <a:extLst>
    <a:ext uri="{05A4C25C-085E-4340-85A3-A5531E510DB2}">
      <thm15:themeFamily xmlns:thm15="http://schemas.microsoft.com/office/thememl/2012/main" name="17-1143 Accenture Technology Brand PPT (002) [Read-Only]" id="{3DF19122-EAFB-4EB2-A5CF-D0BBC7E1244B}" vid="{4B9FB44B-5063-4951-9157-8DCE94C9B8E9}"/>
    </a:ext>
  </a:extLst>
</a:theme>
</file>

<file path=ppt/theme/theme4.xml><?xml version="1.0" encoding="utf-8"?>
<a:theme xmlns:a="http://schemas.openxmlformats.org/drawingml/2006/main" name="Nexus Navigator">
  <a:themeElements>
    <a:clrScheme name="Innovation Navigator">
      <a:dk1>
        <a:srgbClr val="000000"/>
      </a:dk1>
      <a:lt1>
        <a:srgbClr val="FFFFFF"/>
      </a:lt1>
      <a:dk2>
        <a:srgbClr val="919191"/>
      </a:dk2>
      <a:lt2>
        <a:srgbClr val="6C6C6C"/>
      </a:lt2>
      <a:accent1>
        <a:srgbClr val="EBECEB"/>
      </a:accent1>
      <a:accent2>
        <a:srgbClr val="6B6C6B"/>
      </a:accent2>
      <a:accent3>
        <a:srgbClr val="000000"/>
      </a:accent3>
      <a:accent4>
        <a:srgbClr val="A000FE"/>
      </a:accent4>
      <a:accent5>
        <a:srgbClr val="5F0095"/>
      </a:accent5>
      <a:accent6>
        <a:srgbClr val="7E00FE"/>
      </a:accent6>
      <a:hlink>
        <a:srgbClr val="7E00FE"/>
      </a:hlink>
      <a:folHlink>
        <a:srgbClr val="A9A9A9"/>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effectLst/>
      </a:spPr>
      <a:bodyPr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txDef>
      <a:spPr/>
      <a:bodyPr vert="horz" lIns="0" tIns="0" rIns="0" bIns="0" rtlCol="0">
        <a:noAutofit/>
      </a:bodyPr>
      <a:lstStyle>
        <a:defPPr>
          <a:defRPr dirty="0" err="1"/>
        </a:defPPr>
      </a:lstStyle>
    </a:txDef>
  </a:objectDefaults>
  <a:extraClrSchemeLst/>
  <a:extLst>
    <a:ext uri="{05A4C25C-085E-4340-85A3-A5531E510DB2}">
      <thm15:themeFamily xmlns:thm15="http://schemas.microsoft.com/office/thememl/2012/main" name="Nexus Navigator" id="{0511DD9B-29A8-4F57-9294-3CE458A5E643}" vid="{FBA36D3C-E71A-4156-B1EE-441D2EB06BDF}"/>
    </a:ext>
  </a:extLst>
</a:theme>
</file>

<file path=ppt/theme/theme5.xml><?xml version="1.0" encoding="utf-8"?>
<a:theme xmlns:a="http://schemas.openxmlformats.org/drawingml/2006/main" name="Section Divider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 id="{3AF425F2-D110-4AD7-9186-046FD1A1BA59}" vid="{1AD00407-CA2A-4F95-9CC2-A1685F536058}"/>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355</TotalTime>
  <Words>941</Words>
  <Application>Microsoft Office PowerPoint</Application>
  <PresentationFormat>Widescreen</PresentationFormat>
  <Paragraphs>117</Paragraphs>
  <Slides>8</Slides>
  <Notes>5</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8</vt:i4>
      </vt:variant>
    </vt:vector>
  </HeadingPairs>
  <TitlesOfParts>
    <vt:vector size="23" baseType="lpstr">
      <vt:lpstr>等线</vt:lpstr>
      <vt:lpstr>Arial</vt:lpstr>
      <vt:lpstr>Arial Black</vt:lpstr>
      <vt:lpstr>Arial Bold</vt:lpstr>
      <vt:lpstr>Calibri</vt:lpstr>
      <vt:lpstr>Calibri Light</vt:lpstr>
      <vt:lpstr>Graphik</vt:lpstr>
      <vt:lpstr>Graphik Black</vt:lpstr>
      <vt:lpstr>Wingdings</vt:lpstr>
      <vt:lpstr>Office Theme</vt:lpstr>
      <vt:lpstr>Accenture New Template</vt:lpstr>
      <vt:lpstr>2_16-3406 Accenture Security Template 16x9</vt:lpstr>
      <vt:lpstr>Nexus Navigator</vt:lpstr>
      <vt:lpstr>Section Dividers</vt:lpstr>
      <vt:lpstr>think-cell Slide</vt:lpstr>
      <vt:lpstr>Creating space  for  INNOVATION </vt:lpstr>
      <vt:lpstr>PowerPoint Presentation</vt:lpstr>
      <vt:lpstr>PowerPoint Presentation</vt:lpstr>
      <vt:lpstr>PowerPoint Presentation</vt:lpstr>
      <vt:lpstr>Example</vt:lpstr>
      <vt:lpstr>Exampl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lly, David J.</dc:creator>
  <cp:lastModifiedBy>Strawson, Heidi</cp:lastModifiedBy>
  <cp:revision>577</cp:revision>
  <dcterms:created xsi:type="dcterms:W3CDTF">2017-12-01T16:09:31Z</dcterms:created>
  <dcterms:modified xsi:type="dcterms:W3CDTF">2018-05-01T11:39:54Z</dcterms:modified>
</cp:coreProperties>
</file>